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slides/slide145.xml" ContentType="application/vnd.openxmlformats-officedocument.presentationml.slide+xml"/>
  <Override PartName="/ppt/slides/slide146.xml" ContentType="application/vnd.openxmlformats-officedocument.presentationml.slide+xml"/>
  <Override PartName="/ppt/slides/slide147.xml" ContentType="application/vnd.openxmlformats-officedocument.presentationml.slide+xml"/>
  <Override PartName="/ppt/slides/slide148.xml" ContentType="application/vnd.openxmlformats-officedocument.presentationml.slide+xml"/>
  <Override PartName="/ppt/slides/slide149.xml" ContentType="application/vnd.openxmlformats-officedocument.presentationml.slide+xml"/>
  <Override PartName="/ppt/slides/slide150.xml" ContentType="application/vnd.openxmlformats-officedocument.presentationml.slide+xml"/>
  <Override PartName="/ppt/slides/slide151.xml" ContentType="application/vnd.openxmlformats-officedocument.presentationml.slide+xml"/>
  <Override PartName="/ppt/slides/slide152.xml" ContentType="application/vnd.openxmlformats-officedocument.presentationml.slide+xml"/>
  <Override PartName="/ppt/slides/slide153.xml" ContentType="application/vnd.openxmlformats-officedocument.presentationml.slide+xml"/>
  <Override PartName="/ppt/slides/slide154.xml" ContentType="application/vnd.openxmlformats-officedocument.presentationml.slide+xml"/>
  <Override PartName="/ppt/slides/slide155.xml" ContentType="application/vnd.openxmlformats-officedocument.presentationml.slide+xml"/>
  <Override PartName="/ppt/slides/slide156.xml" ContentType="application/vnd.openxmlformats-officedocument.presentationml.slide+xml"/>
  <Override PartName="/ppt/slides/slide157.xml" ContentType="application/vnd.openxmlformats-officedocument.presentationml.slide+xml"/>
  <Override PartName="/ppt/slides/slide158.xml" ContentType="application/vnd.openxmlformats-officedocument.presentationml.slide+xml"/>
  <Override PartName="/ppt/slides/slide159.xml" ContentType="application/vnd.openxmlformats-officedocument.presentationml.slide+xml"/>
  <Override PartName="/ppt/slides/slide160.xml" ContentType="application/vnd.openxmlformats-officedocument.presentationml.slide+xml"/>
  <Override PartName="/ppt/slides/slide161.xml" ContentType="application/vnd.openxmlformats-officedocument.presentationml.slide+xml"/>
  <Override PartName="/ppt/slides/slide162.xml" ContentType="application/vnd.openxmlformats-officedocument.presentationml.slide+xml"/>
  <Override PartName="/ppt/slides/slide163.xml" ContentType="application/vnd.openxmlformats-officedocument.presentationml.slide+xml"/>
  <Override PartName="/ppt/slides/slide164.xml" ContentType="application/vnd.openxmlformats-officedocument.presentationml.slide+xml"/>
  <Override PartName="/ppt/slides/slide165.xml" ContentType="application/vnd.openxmlformats-officedocument.presentationml.slide+xml"/>
  <Override PartName="/ppt/slides/slide166.xml" ContentType="application/vnd.openxmlformats-officedocument.presentationml.slide+xml"/>
  <Override PartName="/ppt/slides/slide167.xml" ContentType="application/vnd.openxmlformats-officedocument.presentationml.slide+xml"/>
  <Override PartName="/ppt/slides/slide168.xml" ContentType="application/vnd.openxmlformats-officedocument.presentationml.slide+xml"/>
  <Override PartName="/ppt/slides/slide169.xml" ContentType="application/vnd.openxmlformats-officedocument.presentationml.slide+xml"/>
  <Override PartName="/ppt/slides/slide170.xml" ContentType="application/vnd.openxmlformats-officedocument.presentationml.slide+xml"/>
  <Override PartName="/ppt/slides/slide171.xml" ContentType="application/vnd.openxmlformats-officedocument.presentationml.slide+xml"/>
  <Override PartName="/ppt/slides/slide172.xml" ContentType="application/vnd.openxmlformats-officedocument.presentationml.slide+xml"/>
  <Override PartName="/ppt/slides/slide173.xml" ContentType="application/vnd.openxmlformats-officedocument.presentationml.slide+xml"/>
  <Override PartName="/ppt/slides/slide174.xml" ContentType="application/vnd.openxmlformats-officedocument.presentationml.slide+xml"/>
  <Override PartName="/ppt/slides/slide175.xml" ContentType="application/vnd.openxmlformats-officedocument.presentationml.slide+xml"/>
  <Override PartName="/ppt/slides/slide176.xml" ContentType="application/vnd.openxmlformats-officedocument.presentationml.slide+xml"/>
  <Override PartName="/ppt/slides/slide177.xml" ContentType="application/vnd.openxmlformats-officedocument.presentationml.slide+xml"/>
  <Override PartName="/ppt/slides/slide178.xml" ContentType="application/vnd.openxmlformats-officedocument.presentationml.slide+xml"/>
  <Override PartName="/ppt/slides/slide179.xml" ContentType="application/vnd.openxmlformats-officedocument.presentationml.slide+xml"/>
  <Override PartName="/ppt/slides/slide180.xml" ContentType="application/vnd.openxmlformats-officedocument.presentationml.slide+xml"/>
  <Override PartName="/ppt/slides/slide181.xml" ContentType="application/vnd.openxmlformats-officedocument.presentationml.slide+xml"/>
  <Override PartName="/ppt/slides/slide182.xml" ContentType="application/vnd.openxmlformats-officedocument.presentationml.slide+xml"/>
  <Override PartName="/ppt/slides/slide183.xml" ContentType="application/vnd.openxmlformats-officedocument.presentationml.slide+xml"/>
  <Override PartName="/ppt/slides/slide184.xml" ContentType="application/vnd.openxmlformats-officedocument.presentationml.slide+xml"/>
  <Override PartName="/ppt/slides/slide185.xml" ContentType="application/vnd.openxmlformats-officedocument.presentationml.slide+xml"/>
  <Override PartName="/ppt/slides/slide186.xml" ContentType="application/vnd.openxmlformats-officedocument.presentationml.slide+xml"/>
  <Override PartName="/ppt/slides/slide187.xml" ContentType="application/vnd.openxmlformats-officedocument.presentationml.slide+xml"/>
  <Override PartName="/ppt/slides/slide188.xml" ContentType="application/vnd.openxmlformats-officedocument.presentationml.slide+xml"/>
  <Override PartName="/ppt/slides/slide189.xml" ContentType="application/vnd.openxmlformats-officedocument.presentationml.slide+xml"/>
  <Override PartName="/ppt/slides/slide190.xml" ContentType="application/vnd.openxmlformats-officedocument.presentationml.slide+xml"/>
  <Override PartName="/ppt/slides/slide191.xml" ContentType="application/vnd.openxmlformats-officedocument.presentationml.slide+xml"/>
  <Override PartName="/ppt/slides/slide192.xml" ContentType="application/vnd.openxmlformats-officedocument.presentationml.slide+xml"/>
  <Override PartName="/ppt/slides/slide193.xml" ContentType="application/vnd.openxmlformats-officedocument.presentationml.slide+xml"/>
  <Override PartName="/ppt/slides/slide194.xml" ContentType="application/vnd.openxmlformats-officedocument.presentationml.slide+xml"/>
  <Override PartName="/ppt/slides/slide195.xml" ContentType="application/vnd.openxmlformats-officedocument.presentationml.slide+xml"/>
  <Override PartName="/ppt/slides/slide196.xml" ContentType="application/vnd.openxmlformats-officedocument.presentationml.slide+xml"/>
  <Override PartName="/ppt/slides/slide197.xml" ContentType="application/vnd.openxmlformats-officedocument.presentationml.slide+xml"/>
  <Override PartName="/ppt/slides/slide198.xml" ContentType="application/vnd.openxmlformats-officedocument.presentationml.slide+xml"/>
  <Override PartName="/ppt/slides/slide199.xml" ContentType="application/vnd.openxmlformats-officedocument.presentationml.slide+xml"/>
  <Override PartName="/ppt/slides/slide200.xml" ContentType="application/vnd.openxmlformats-officedocument.presentationml.slide+xml"/>
  <Override PartName="/ppt/slides/slide201.xml" ContentType="application/vnd.openxmlformats-officedocument.presentationml.slide+xml"/>
  <Override PartName="/ppt/slides/slide202.xml" ContentType="application/vnd.openxmlformats-officedocument.presentationml.slide+xml"/>
  <Override PartName="/ppt/slides/slide203.xml" ContentType="application/vnd.openxmlformats-officedocument.presentationml.slide+xml"/>
  <Override PartName="/ppt/slides/slide204.xml" ContentType="application/vnd.openxmlformats-officedocument.presentationml.slide+xml"/>
  <Override PartName="/ppt/slides/slide205.xml" ContentType="application/vnd.openxmlformats-officedocument.presentationml.slide+xml"/>
  <Override PartName="/ppt/slides/slide206.xml" ContentType="application/vnd.openxmlformats-officedocument.presentationml.slide+xml"/>
  <Override PartName="/ppt/slides/slide207.xml" ContentType="application/vnd.openxmlformats-officedocument.presentationml.slide+xml"/>
  <Override PartName="/ppt/slides/slide208.xml" ContentType="application/vnd.openxmlformats-officedocument.presentationml.slide+xml"/>
  <Override PartName="/ppt/slides/slide209.xml" ContentType="application/vnd.openxmlformats-officedocument.presentationml.slide+xml"/>
  <Override PartName="/ppt/slides/slide210.xml" ContentType="application/vnd.openxmlformats-officedocument.presentationml.slide+xml"/>
  <Override PartName="/ppt/slides/slide211.xml" ContentType="application/vnd.openxmlformats-officedocument.presentationml.slide+xml"/>
  <Override PartName="/ppt/slides/slide212.xml" ContentType="application/vnd.openxmlformats-officedocument.presentationml.slide+xml"/>
  <Override PartName="/ppt/slides/slide213.xml" ContentType="application/vnd.openxmlformats-officedocument.presentationml.slide+xml"/>
  <Override PartName="/ppt/slides/slide214.xml" ContentType="application/vnd.openxmlformats-officedocument.presentationml.slide+xml"/>
  <Override PartName="/ppt/slides/slide215.xml" ContentType="application/vnd.openxmlformats-officedocument.presentationml.slide+xml"/>
  <Override PartName="/ppt/slides/slide216.xml" ContentType="application/vnd.openxmlformats-officedocument.presentationml.slide+xml"/>
  <Override PartName="/ppt/slides/slide217.xml" ContentType="application/vnd.openxmlformats-officedocument.presentationml.slide+xml"/>
  <Override PartName="/ppt/slides/slide218.xml" ContentType="application/vnd.openxmlformats-officedocument.presentationml.slide+xml"/>
  <Override PartName="/ppt/slides/slide219.xml" ContentType="application/vnd.openxmlformats-officedocument.presentationml.slide+xml"/>
  <Override PartName="/ppt/slides/slide220.xml" ContentType="application/vnd.openxmlformats-officedocument.presentationml.slide+xml"/>
  <Override PartName="/ppt/slides/slide221.xml" ContentType="application/vnd.openxmlformats-officedocument.presentationml.slide+xml"/>
  <Override PartName="/ppt/slides/slide222.xml" ContentType="application/vnd.openxmlformats-officedocument.presentationml.slide+xml"/>
  <Override PartName="/ppt/slides/slide223.xml" ContentType="application/vnd.openxmlformats-officedocument.presentationml.slide+xml"/>
  <Override PartName="/ppt/slides/slide224.xml" ContentType="application/vnd.openxmlformats-officedocument.presentationml.slide+xml"/>
  <Override PartName="/ppt/slides/slide225.xml" ContentType="application/vnd.openxmlformats-officedocument.presentationml.slide+xml"/>
  <Override PartName="/ppt/slides/slide226.xml" ContentType="application/vnd.openxmlformats-officedocument.presentationml.slide+xml"/>
  <Override PartName="/ppt/slides/slide227.xml" ContentType="application/vnd.openxmlformats-officedocument.presentationml.slide+xml"/>
  <Override PartName="/ppt/slides/slide228.xml" ContentType="application/vnd.openxmlformats-officedocument.presentationml.slide+xml"/>
  <Override PartName="/ppt/slides/slide229.xml" ContentType="application/vnd.openxmlformats-officedocument.presentationml.slide+xml"/>
  <Override PartName="/ppt/slides/slide230.xml" ContentType="application/vnd.openxmlformats-officedocument.presentationml.slide+xml"/>
  <Override PartName="/ppt/slides/slide231.xml" ContentType="application/vnd.openxmlformats-officedocument.presentationml.slide+xml"/>
  <Override PartName="/ppt/slides/slide232.xml" ContentType="application/vnd.openxmlformats-officedocument.presentationml.slide+xml"/>
  <Override PartName="/ppt/slides/slide233.xml" ContentType="application/vnd.openxmlformats-officedocument.presentationml.slide+xml"/>
  <Override PartName="/ppt/slides/slide234.xml" ContentType="application/vnd.openxmlformats-officedocument.presentationml.slide+xml"/>
  <Override PartName="/ppt/slides/slide235.xml" ContentType="application/vnd.openxmlformats-officedocument.presentationml.slide+xml"/>
  <Override PartName="/ppt/slides/slide236.xml" ContentType="application/vnd.openxmlformats-officedocument.presentationml.slide+xml"/>
  <Override PartName="/ppt/slides/slide237.xml" ContentType="application/vnd.openxmlformats-officedocument.presentationml.slide+xml"/>
  <Override PartName="/ppt/slides/slide238.xml" ContentType="application/vnd.openxmlformats-officedocument.presentationml.slide+xml"/>
  <Override PartName="/ppt/slides/slide239.xml" ContentType="application/vnd.openxmlformats-officedocument.presentationml.slide+xml"/>
  <Override PartName="/ppt/slides/slide240.xml" ContentType="application/vnd.openxmlformats-officedocument.presentationml.slide+xml"/>
  <Override PartName="/ppt/slides/slide241.xml" ContentType="application/vnd.openxmlformats-officedocument.presentationml.slide+xml"/>
  <Override PartName="/ppt/slides/slide242.xml" ContentType="application/vnd.openxmlformats-officedocument.presentationml.slide+xml"/>
  <Override PartName="/ppt/slides/slide243.xml" ContentType="application/vnd.openxmlformats-officedocument.presentationml.slide+xml"/>
  <Override PartName="/ppt/slides/slide244.xml" ContentType="application/vnd.openxmlformats-officedocument.presentationml.slide+xml"/>
  <Override PartName="/ppt/slides/slide245.xml" ContentType="application/vnd.openxmlformats-officedocument.presentationml.slide+xml"/>
  <Override PartName="/ppt/slides/slide246.xml" ContentType="application/vnd.openxmlformats-officedocument.presentationml.slide+xml"/>
  <Override PartName="/ppt/slides/slide247.xml" ContentType="application/vnd.openxmlformats-officedocument.presentationml.slide+xml"/>
  <Override PartName="/ppt/slides/slide248.xml" ContentType="application/vnd.openxmlformats-officedocument.presentationml.slide+xml"/>
  <Override PartName="/ppt/slides/slide249.xml" ContentType="application/vnd.openxmlformats-officedocument.presentationml.slide+xml"/>
  <Override PartName="/ppt/slides/slide250.xml" ContentType="application/vnd.openxmlformats-officedocument.presentationml.slide+xml"/>
  <Override PartName="/ppt/slides/slide251.xml" ContentType="application/vnd.openxmlformats-officedocument.presentationml.slide+xml"/>
  <Override PartName="/ppt/slides/slide252.xml" ContentType="application/vnd.openxmlformats-officedocument.presentationml.slide+xml"/>
  <Override PartName="/ppt/slides/slide253.xml" ContentType="application/vnd.openxmlformats-officedocument.presentationml.slide+xml"/>
  <Override PartName="/ppt/slides/slide254.xml" ContentType="application/vnd.openxmlformats-officedocument.presentationml.slide+xml"/>
  <Override PartName="/ppt/slides/slide255.xml" ContentType="application/vnd.openxmlformats-officedocument.presentationml.slide+xml"/>
  <Override PartName="/ppt/slides/slide256.xml" ContentType="application/vnd.openxmlformats-officedocument.presentationml.slide+xml"/>
  <Override PartName="/ppt/slides/slide257.xml" ContentType="application/vnd.openxmlformats-officedocument.presentationml.slide+xml"/>
  <Override PartName="/ppt/slides/slide258.xml" ContentType="application/vnd.openxmlformats-officedocument.presentationml.slide+xml"/>
  <Override PartName="/ppt/slides/slide259.xml" ContentType="application/vnd.openxmlformats-officedocument.presentationml.slide+xml"/>
  <Override PartName="/ppt/slides/slide260.xml" ContentType="application/vnd.openxmlformats-officedocument.presentationml.slide+xml"/>
  <Override PartName="/ppt/slides/slide261.xml" ContentType="application/vnd.openxmlformats-officedocument.presentationml.slide+xml"/>
  <Override PartName="/ppt/slides/slide262.xml" ContentType="application/vnd.openxmlformats-officedocument.presentationml.slide+xml"/>
  <Override PartName="/ppt/slides/slide263.xml" ContentType="application/vnd.openxmlformats-officedocument.presentationml.slide+xml"/>
  <Override PartName="/ppt/slides/slide264.xml" ContentType="application/vnd.openxmlformats-officedocument.presentationml.slide+xml"/>
  <Override PartName="/ppt/slides/slide265.xml" ContentType="application/vnd.openxmlformats-officedocument.presentationml.slide+xml"/>
  <Override PartName="/ppt/slides/slide266.xml" ContentType="application/vnd.openxmlformats-officedocument.presentationml.slide+xml"/>
  <Override PartName="/ppt/slides/slide267.xml" ContentType="application/vnd.openxmlformats-officedocument.presentationml.slide+xml"/>
  <Override PartName="/ppt/slides/slide268.xml" ContentType="application/vnd.openxmlformats-officedocument.presentationml.slide+xml"/>
  <Override PartName="/ppt/slides/slide269.xml" ContentType="application/vnd.openxmlformats-officedocument.presentationml.slide+xml"/>
  <Override PartName="/ppt/slides/slide270.xml" ContentType="application/vnd.openxmlformats-officedocument.presentationml.slide+xml"/>
  <Override PartName="/ppt/slides/slide271.xml" ContentType="application/vnd.openxmlformats-officedocument.presentationml.slide+xml"/>
  <Override PartName="/ppt/slides/slide272.xml" ContentType="application/vnd.openxmlformats-officedocument.presentationml.slide+xml"/>
  <Override PartName="/ppt/slides/slide273.xml" ContentType="application/vnd.openxmlformats-officedocument.presentationml.slide+xml"/>
  <Override PartName="/ppt/slides/slide274.xml" ContentType="application/vnd.openxmlformats-officedocument.presentationml.slide+xml"/>
  <Override PartName="/ppt/slides/slide275.xml" ContentType="application/vnd.openxmlformats-officedocument.presentationml.slide+xml"/>
  <Override PartName="/ppt/slides/slide276.xml" ContentType="application/vnd.openxmlformats-officedocument.presentationml.slide+xml"/>
  <Override PartName="/ppt/slides/slide277.xml" ContentType="application/vnd.openxmlformats-officedocument.presentationml.slide+xml"/>
  <Override PartName="/ppt/slides/slide278.xml" ContentType="application/vnd.openxmlformats-officedocument.presentationml.slide+xml"/>
  <Override PartName="/ppt/slides/slide279.xml" ContentType="application/vnd.openxmlformats-officedocument.presentationml.slide+xml"/>
  <Override PartName="/ppt/slides/slide280.xml" ContentType="application/vnd.openxmlformats-officedocument.presentationml.slide+xml"/>
  <Override PartName="/ppt/slides/slide281.xml" ContentType="application/vnd.openxmlformats-officedocument.presentationml.slide+xml"/>
  <Override PartName="/ppt/slides/slide282.xml" ContentType="application/vnd.openxmlformats-officedocument.presentationml.slide+xml"/>
  <Override PartName="/ppt/slides/slide283.xml" ContentType="application/vnd.openxmlformats-officedocument.presentationml.slide+xml"/>
  <Override PartName="/ppt/slides/slide284.xml" ContentType="application/vnd.openxmlformats-officedocument.presentationml.slide+xml"/>
  <Override PartName="/ppt/slides/slide285.xml" ContentType="application/vnd.openxmlformats-officedocument.presentationml.slide+xml"/>
  <Override PartName="/ppt/slides/slide286.xml" ContentType="application/vnd.openxmlformats-officedocument.presentationml.slide+xml"/>
  <Override PartName="/ppt/slides/slide287.xml" ContentType="application/vnd.openxmlformats-officedocument.presentationml.slide+xml"/>
  <Override PartName="/ppt/slides/slide288.xml" ContentType="application/vnd.openxmlformats-officedocument.presentationml.slide+xml"/>
  <Override PartName="/ppt/slides/slide289.xml" ContentType="application/vnd.openxmlformats-officedocument.presentationml.slide+xml"/>
  <Override PartName="/ppt/slides/slide290.xml" ContentType="application/vnd.openxmlformats-officedocument.presentationml.slide+xml"/>
  <Override PartName="/ppt/slides/slide291.xml" ContentType="application/vnd.openxmlformats-officedocument.presentationml.slide+xml"/>
  <Override PartName="/ppt/slides/slide292.xml" ContentType="application/vnd.openxmlformats-officedocument.presentationml.slide+xml"/>
  <Override PartName="/ppt/slides/slide293.xml" ContentType="application/vnd.openxmlformats-officedocument.presentationml.slide+xml"/>
  <Override PartName="/ppt/slides/slide294.xml" ContentType="application/vnd.openxmlformats-officedocument.presentationml.slide+xml"/>
  <Override PartName="/ppt/slides/slide295.xml" ContentType="application/vnd.openxmlformats-officedocument.presentationml.slide+xml"/>
  <Override PartName="/ppt/slides/slide296.xml" ContentType="application/vnd.openxmlformats-officedocument.presentationml.slide+xml"/>
  <Override PartName="/ppt/slides/slide297.xml" ContentType="application/vnd.openxmlformats-officedocument.presentationml.slide+xml"/>
  <Override PartName="/ppt/slides/slide298.xml" ContentType="application/vnd.openxmlformats-officedocument.presentationml.slide+xml"/>
  <Override PartName="/ppt/slides/slide299.xml" ContentType="application/vnd.openxmlformats-officedocument.presentationml.slide+xml"/>
  <Override PartName="/ppt/slides/slide300.xml" ContentType="application/vnd.openxmlformats-officedocument.presentationml.slide+xml"/>
  <Override PartName="/ppt/slides/slide301.xml" ContentType="application/vnd.openxmlformats-officedocument.presentationml.slide+xml"/>
  <Override PartName="/ppt/slides/slide302.xml" ContentType="application/vnd.openxmlformats-officedocument.presentationml.slide+xml"/>
  <Override PartName="/ppt/slides/slide303.xml" ContentType="application/vnd.openxmlformats-officedocument.presentationml.slide+xml"/>
  <Override PartName="/ppt/slides/slide304.xml" ContentType="application/vnd.openxmlformats-officedocument.presentationml.slide+xml"/>
  <Override PartName="/ppt/slides/slide305.xml" ContentType="application/vnd.openxmlformats-officedocument.presentationml.slide+xml"/>
  <Override PartName="/ppt/slides/slide306.xml" ContentType="application/vnd.openxmlformats-officedocument.presentationml.slide+xml"/>
  <Override PartName="/ppt/slides/slide307.xml" ContentType="application/vnd.openxmlformats-officedocument.presentationml.slide+xml"/>
  <Override PartName="/ppt/slides/slide308.xml" ContentType="application/vnd.openxmlformats-officedocument.presentationml.slide+xml"/>
  <Override PartName="/ppt/slides/slide309.xml" ContentType="application/vnd.openxmlformats-officedocument.presentationml.slide+xml"/>
  <Override PartName="/ppt/slides/slide310.xml" ContentType="application/vnd.openxmlformats-officedocument.presentationml.slide+xml"/>
  <Override PartName="/ppt/slides/slide311.xml" ContentType="application/vnd.openxmlformats-officedocument.presentationml.slide+xml"/>
  <Override PartName="/ppt/slides/slide312.xml" ContentType="application/vnd.openxmlformats-officedocument.presentationml.slide+xml"/>
  <Override PartName="/ppt/slides/slide313.xml" ContentType="application/vnd.openxmlformats-officedocument.presentationml.slide+xml"/>
  <Override PartName="/ppt/slides/slide314.xml" ContentType="application/vnd.openxmlformats-officedocument.presentationml.slide+xml"/>
  <Override PartName="/ppt/slides/slide315.xml" ContentType="application/vnd.openxmlformats-officedocument.presentationml.slide+xml"/>
  <Override PartName="/ppt/slides/slide316.xml" ContentType="application/vnd.openxmlformats-officedocument.presentationml.slide+xml"/>
  <Override PartName="/ppt/slides/slide317.xml" ContentType="application/vnd.openxmlformats-officedocument.presentationml.slide+xml"/>
  <Override PartName="/ppt/slides/slide318.xml" ContentType="application/vnd.openxmlformats-officedocument.presentationml.slide+xml"/>
  <Override PartName="/ppt/slides/slide319.xml" ContentType="application/vnd.openxmlformats-officedocument.presentationml.slide+xml"/>
  <Override PartName="/ppt/slides/slide320.xml" ContentType="application/vnd.openxmlformats-officedocument.presentationml.slide+xml"/>
  <Override PartName="/ppt/slides/slide321.xml" ContentType="application/vnd.openxmlformats-officedocument.presentationml.slide+xml"/>
  <Override PartName="/ppt/slides/slide322.xml" ContentType="application/vnd.openxmlformats-officedocument.presentationml.slide+xml"/>
  <Override PartName="/ppt/slides/slide323.xml" ContentType="application/vnd.openxmlformats-officedocument.presentationml.slide+xml"/>
  <Override PartName="/ppt/slides/slide324.xml" ContentType="application/vnd.openxmlformats-officedocument.presentationml.slide+xml"/>
  <Override PartName="/ppt/slides/slide325.xml" ContentType="application/vnd.openxmlformats-officedocument.presentationml.slide+xml"/>
  <Override PartName="/ppt/slides/slide326.xml" ContentType="application/vnd.openxmlformats-officedocument.presentationml.slide+xml"/>
  <Override PartName="/ppt/slides/slide327.xml" ContentType="application/vnd.openxmlformats-officedocument.presentationml.slide+xml"/>
  <Override PartName="/ppt/slides/slide328.xml" ContentType="application/vnd.openxmlformats-officedocument.presentationml.slide+xml"/>
  <Override PartName="/ppt/slides/slide329.xml" ContentType="application/vnd.openxmlformats-officedocument.presentationml.slide+xml"/>
  <Override PartName="/ppt/slides/slide330.xml" ContentType="application/vnd.openxmlformats-officedocument.presentationml.slide+xml"/>
  <Override PartName="/ppt/slides/slide331.xml" ContentType="application/vnd.openxmlformats-officedocument.presentationml.slide+xml"/>
  <Override PartName="/ppt/slides/slide332.xml" ContentType="application/vnd.openxmlformats-officedocument.presentationml.slide+xml"/>
  <Override PartName="/ppt/slides/slide333.xml" ContentType="application/vnd.openxmlformats-officedocument.presentationml.slide+xml"/>
  <Override PartName="/ppt/slides/slide334.xml" ContentType="application/vnd.openxmlformats-officedocument.presentationml.slide+xml"/>
  <Override PartName="/ppt/slides/slide335.xml" ContentType="application/vnd.openxmlformats-officedocument.presentationml.slide+xml"/>
  <Override PartName="/ppt/slides/slide336.xml" ContentType="application/vnd.openxmlformats-officedocument.presentationml.slide+xml"/>
  <Override PartName="/ppt/slides/slide337.xml" ContentType="application/vnd.openxmlformats-officedocument.presentationml.slide+xml"/>
  <Override PartName="/ppt/slides/slide338.xml" ContentType="application/vnd.openxmlformats-officedocument.presentationml.slide+xml"/>
  <Override PartName="/ppt/slides/slide339.xml" ContentType="application/vnd.openxmlformats-officedocument.presentationml.slide+xml"/>
  <Override PartName="/ppt/slides/slide340.xml" ContentType="application/vnd.openxmlformats-officedocument.presentationml.slide+xml"/>
  <Override PartName="/ppt/slides/slide341.xml" ContentType="application/vnd.openxmlformats-officedocument.presentationml.slide+xml"/>
  <Override PartName="/ppt/slides/slide342.xml" ContentType="application/vnd.openxmlformats-officedocument.presentationml.slide+xml"/>
  <Override PartName="/ppt/slides/slide343.xml" ContentType="application/vnd.openxmlformats-officedocument.presentationml.slide+xml"/>
  <Override PartName="/ppt/slides/slide344.xml" ContentType="application/vnd.openxmlformats-officedocument.presentationml.slide+xml"/>
  <Override PartName="/ppt/slides/slide345.xml" ContentType="application/vnd.openxmlformats-officedocument.presentationml.slide+xml"/>
  <Override PartName="/ppt/slides/slide346.xml" ContentType="application/vnd.openxmlformats-officedocument.presentationml.slide+xml"/>
  <Override PartName="/ppt/slides/slide347.xml" ContentType="application/vnd.openxmlformats-officedocument.presentationml.slide+xml"/>
  <Override PartName="/ppt/slides/slide348.xml" ContentType="application/vnd.openxmlformats-officedocument.presentationml.slide+xml"/>
  <Override PartName="/ppt/slides/slide349.xml" ContentType="application/vnd.openxmlformats-officedocument.presentationml.slide+xml"/>
  <Override PartName="/ppt/slides/slide350.xml" ContentType="application/vnd.openxmlformats-officedocument.presentationml.slide+xml"/>
  <Override PartName="/ppt/slides/slide351.xml" ContentType="application/vnd.openxmlformats-officedocument.presentationml.slide+xml"/>
  <Override PartName="/ppt/slides/slide352.xml" ContentType="application/vnd.openxmlformats-officedocument.presentationml.slide+xml"/>
  <Override PartName="/ppt/slides/slide353.xml" ContentType="application/vnd.openxmlformats-officedocument.presentationml.slide+xml"/>
  <Override PartName="/ppt/slides/slide354.xml" ContentType="application/vnd.openxmlformats-officedocument.presentationml.slide+xml"/>
  <Override PartName="/ppt/slides/slide355.xml" ContentType="application/vnd.openxmlformats-officedocument.presentationml.slide+xml"/>
  <Override PartName="/ppt/slides/slide356.xml" ContentType="application/vnd.openxmlformats-officedocument.presentationml.slide+xml"/>
  <Override PartName="/ppt/slides/slide357.xml" ContentType="application/vnd.openxmlformats-officedocument.presentationml.slide+xml"/>
  <Override PartName="/ppt/slides/slide358.xml" ContentType="application/vnd.openxmlformats-officedocument.presentationml.slide+xml"/>
  <Override PartName="/ppt/slides/slide359.xml" ContentType="application/vnd.openxmlformats-officedocument.presentationml.slide+xml"/>
  <Override PartName="/ppt/slides/slide360.xml" ContentType="application/vnd.openxmlformats-officedocument.presentationml.slide+xml"/>
  <Override PartName="/ppt/slides/slide361.xml" ContentType="application/vnd.openxmlformats-officedocument.presentationml.slide+xml"/>
  <Override PartName="/ppt/slides/slide362.xml" ContentType="application/vnd.openxmlformats-officedocument.presentationml.slide+xml"/>
  <Override PartName="/ppt/slides/slide363.xml" ContentType="application/vnd.openxmlformats-officedocument.presentationml.slide+xml"/>
  <Override PartName="/ppt/slides/slide364.xml" ContentType="application/vnd.openxmlformats-officedocument.presentationml.slide+xml"/>
  <Override PartName="/ppt/slides/slide365.xml" ContentType="application/vnd.openxmlformats-officedocument.presentationml.slide+xml"/>
  <Override PartName="/ppt/slides/slide366.xml" ContentType="application/vnd.openxmlformats-officedocument.presentationml.slide+xml"/>
  <Override PartName="/ppt/slides/slide367.xml" ContentType="application/vnd.openxmlformats-officedocument.presentationml.slide+xml"/>
  <Override PartName="/ppt/slides/slide368.xml" ContentType="application/vnd.openxmlformats-officedocument.presentationml.slide+xml"/>
  <Override PartName="/ppt/slides/slide369.xml" ContentType="application/vnd.openxmlformats-officedocument.presentationml.slide+xml"/>
  <Override PartName="/ppt/slides/slide370.xml" ContentType="application/vnd.openxmlformats-officedocument.presentationml.slide+xml"/>
  <Override PartName="/ppt/slides/slide371.xml" ContentType="application/vnd.openxmlformats-officedocument.presentationml.slide+xml"/>
  <Override PartName="/ppt/slides/slide372.xml" ContentType="application/vnd.openxmlformats-officedocument.presentationml.slide+xml"/>
  <Override PartName="/ppt/slides/slide373.xml" ContentType="application/vnd.openxmlformats-officedocument.presentationml.slide+xml"/>
  <Override PartName="/ppt/slides/slide374.xml" ContentType="application/vnd.openxmlformats-officedocument.presentationml.slide+xml"/>
  <Override PartName="/ppt/slides/slide375.xml" ContentType="application/vnd.openxmlformats-officedocument.presentationml.slide+xml"/>
  <Override PartName="/ppt/slides/slide376.xml" ContentType="application/vnd.openxmlformats-officedocument.presentationml.slide+xml"/>
  <Override PartName="/ppt/slides/slide377.xml" ContentType="application/vnd.openxmlformats-officedocument.presentationml.slide+xml"/>
  <Override PartName="/ppt/slides/slide378.xml" ContentType="application/vnd.openxmlformats-officedocument.presentationml.slide+xml"/>
  <Override PartName="/ppt/slides/slide379.xml" ContentType="application/vnd.openxmlformats-officedocument.presentationml.slide+xml"/>
  <Override PartName="/ppt/slides/slide380.xml" ContentType="application/vnd.openxmlformats-officedocument.presentationml.slide+xml"/>
  <Override PartName="/ppt/slides/slide381.xml" ContentType="application/vnd.openxmlformats-officedocument.presentationml.slide+xml"/>
  <Override PartName="/ppt/slides/slide382.xml" ContentType="application/vnd.openxmlformats-officedocument.presentationml.slide+xml"/>
  <Override PartName="/ppt/slides/slide383.xml" ContentType="application/vnd.openxmlformats-officedocument.presentationml.slide+xml"/>
  <Override PartName="/ppt/slides/slide384.xml" ContentType="application/vnd.openxmlformats-officedocument.presentationml.slide+xml"/>
  <Override PartName="/ppt/slides/slide385.xml" ContentType="application/vnd.openxmlformats-officedocument.presentationml.slide+xml"/>
  <Override PartName="/ppt/slides/slide386.xml" ContentType="application/vnd.openxmlformats-officedocument.presentationml.slide+xml"/>
  <Override PartName="/ppt/slides/slide387.xml" ContentType="application/vnd.openxmlformats-officedocument.presentationml.slide+xml"/>
  <Override PartName="/ppt/slides/slide388.xml" ContentType="application/vnd.openxmlformats-officedocument.presentationml.slide+xml"/>
  <Override PartName="/ppt/slides/slide389.xml" ContentType="application/vnd.openxmlformats-officedocument.presentationml.slide+xml"/>
  <Override PartName="/ppt/slides/slide390.xml" ContentType="application/vnd.openxmlformats-officedocument.presentationml.slide+xml"/>
  <Override PartName="/ppt/slides/slide391.xml" ContentType="application/vnd.openxmlformats-officedocument.presentationml.slide+xml"/>
  <Override PartName="/ppt/slides/slide392.xml" ContentType="application/vnd.openxmlformats-officedocument.presentationml.slide+xml"/>
  <Override PartName="/ppt/slides/slide393.xml" ContentType="application/vnd.openxmlformats-officedocument.presentationml.slide+xml"/>
  <Override PartName="/ppt/slides/slide394.xml" ContentType="application/vnd.openxmlformats-officedocument.presentationml.slide+xml"/>
  <Override PartName="/ppt/slides/slide395.xml" ContentType="application/vnd.openxmlformats-officedocument.presentationml.slide+xml"/>
  <Override PartName="/ppt/slides/slide396.xml" ContentType="application/vnd.openxmlformats-officedocument.presentationml.slide+xml"/>
  <Override PartName="/ppt/slides/slide397.xml" ContentType="application/vnd.openxmlformats-officedocument.presentationml.slide+xml"/>
  <Override PartName="/ppt/slides/slide398.xml" ContentType="application/vnd.openxmlformats-officedocument.presentationml.slide+xml"/>
  <Override PartName="/ppt/slides/slide399.xml" ContentType="application/vnd.openxmlformats-officedocument.presentationml.slide+xml"/>
  <Override PartName="/ppt/slides/slide400.xml" ContentType="application/vnd.openxmlformats-officedocument.presentationml.slide+xml"/>
  <Override PartName="/ppt/slides/slide401.xml" ContentType="application/vnd.openxmlformats-officedocument.presentationml.slide+xml"/>
  <Override PartName="/ppt/slides/slide402.xml" ContentType="application/vnd.openxmlformats-officedocument.presentationml.slide+xml"/>
  <Override PartName="/ppt/slides/slide403.xml" ContentType="application/vnd.openxmlformats-officedocument.presentationml.slide+xml"/>
  <Override PartName="/ppt/slides/slide404.xml" ContentType="application/vnd.openxmlformats-officedocument.presentationml.slide+xml"/>
  <Override PartName="/ppt/slides/slide405.xml" ContentType="application/vnd.openxmlformats-officedocument.presentationml.slide+xml"/>
  <Override PartName="/ppt/slides/slide406.xml" ContentType="application/vnd.openxmlformats-officedocument.presentationml.slide+xml"/>
  <Override PartName="/ppt/slides/slide407.xml" ContentType="application/vnd.openxmlformats-officedocument.presentationml.slide+xml"/>
  <Override PartName="/ppt/slides/slide408.xml" ContentType="application/vnd.openxmlformats-officedocument.presentationml.slide+xml"/>
  <Override PartName="/ppt/slides/slide409.xml" ContentType="application/vnd.openxmlformats-officedocument.presentationml.slide+xml"/>
  <Override PartName="/ppt/slides/slide410.xml" ContentType="application/vnd.openxmlformats-officedocument.presentationml.slide+xml"/>
  <Override PartName="/ppt/slides/slide411.xml" ContentType="application/vnd.openxmlformats-officedocument.presentationml.slide+xml"/>
  <Override PartName="/ppt/slides/slide412.xml" ContentType="application/vnd.openxmlformats-officedocument.presentationml.slide+xml"/>
  <Override PartName="/ppt/slides/slide413.xml" ContentType="application/vnd.openxmlformats-officedocument.presentationml.slide+xml"/>
  <Override PartName="/ppt/slides/slide414.xml" ContentType="application/vnd.openxmlformats-officedocument.presentationml.slide+xml"/>
  <Override PartName="/ppt/slides/slide415.xml" ContentType="application/vnd.openxmlformats-officedocument.presentationml.slide+xml"/>
  <Override PartName="/ppt/slides/slide416.xml" ContentType="application/vnd.openxmlformats-officedocument.presentationml.slide+xml"/>
  <Override PartName="/ppt/slides/slide417.xml" ContentType="application/vnd.openxmlformats-officedocument.presentationml.slide+xml"/>
  <Override PartName="/ppt/slides/slide418.xml" ContentType="application/vnd.openxmlformats-officedocument.presentationml.slide+xml"/>
  <Override PartName="/ppt/slides/slide419.xml" ContentType="application/vnd.openxmlformats-officedocument.presentationml.slide+xml"/>
  <Override PartName="/ppt/slides/slide420.xml" ContentType="application/vnd.openxmlformats-officedocument.presentationml.slide+xml"/>
  <Override PartName="/ppt/slides/slide421.xml" ContentType="application/vnd.openxmlformats-officedocument.presentationml.slide+xml"/>
  <Override PartName="/ppt/slides/slide422.xml" ContentType="application/vnd.openxmlformats-officedocument.presentationml.slide+xml"/>
  <Override PartName="/ppt/slides/slide423.xml" ContentType="application/vnd.openxmlformats-officedocument.presentationml.slide+xml"/>
  <Override PartName="/ppt/slides/slide424.xml" ContentType="application/vnd.openxmlformats-officedocument.presentationml.slide+xml"/>
  <Override PartName="/ppt/slides/slide425.xml" ContentType="application/vnd.openxmlformats-officedocument.presentationml.slide+xml"/>
  <Override PartName="/ppt/slides/slide426.xml" ContentType="application/vnd.openxmlformats-officedocument.presentationml.slide+xml"/>
  <Override PartName="/ppt/slides/slide427.xml" ContentType="application/vnd.openxmlformats-officedocument.presentationml.slide+xml"/>
  <Override PartName="/ppt/slides/slide428.xml" ContentType="application/vnd.openxmlformats-officedocument.presentationml.slide+xml"/>
  <Override PartName="/ppt/slides/slide429.xml" ContentType="application/vnd.openxmlformats-officedocument.presentationml.slide+xml"/>
  <Override PartName="/ppt/slides/slide430.xml" ContentType="application/vnd.openxmlformats-officedocument.presentationml.slide+xml"/>
  <Override PartName="/ppt/slides/slide431.xml" ContentType="application/vnd.openxmlformats-officedocument.presentationml.slide+xml"/>
  <Override PartName="/ppt/slides/slide432.xml" ContentType="application/vnd.openxmlformats-officedocument.presentationml.slide+xml"/>
  <Override PartName="/ppt/slides/slide433.xml" ContentType="application/vnd.openxmlformats-officedocument.presentationml.slide+xml"/>
  <Override PartName="/ppt/slides/slide434.xml" ContentType="application/vnd.openxmlformats-officedocument.presentationml.slide+xml"/>
  <Override PartName="/ppt/slides/slide435.xml" ContentType="application/vnd.openxmlformats-officedocument.presentationml.slide+xml"/>
  <Override PartName="/ppt/slides/slide436.xml" ContentType="application/vnd.openxmlformats-officedocument.presentationml.slide+xml"/>
  <Override PartName="/ppt/slides/slide437.xml" ContentType="application/vnd.openxmlformats-officedocument.presentationml.slide+xml"/>
  <Override PartName="/ppt/slides/slide438.xml" ContentType="application/vnd.openxmlformats-officedocument.presentationml.slide+xml"/>
  <Override PartName="/ppt/slides/slide439.xml" ContentType="application/vnd.openxmlformats-officedocument.presentationml.slide+xml"/>
  <Override PartName="/ppt/slides/slide440.xml" ContentType="application/vnd.openxmlformats-officedocument.presentationml.slide+xml"/>
  <Override PartName="/ppt/slides/slide441.xml" ContentType="application/vnd.openxmlformats-officedocument.presentationml.slide+xml"/>
  <Override PartName="/ppt/slides/slide442.xml" ContentType="application/vnd.openxmlformats-officedocument.presentationml.slide+xml"/>
  <Override PartName="/ppt/slides/slide443.xml" ContentType="application/vnd.openxmlformats-officedocument.presentationml.slide+xml"/>
  <Override PartName="/ppt/slides/slide444.xml" ContentType="application/vnd.openxmlformats-officedocument.presentationml.slide+xml"/>
  <Override PartName="/ppt/slides/slide445.xml" ContentType="application/vnd.openxmlformats-officedocument.presentationml.slide+xml"/>
  <Override PartName="/ppt/slides/slide446.xml" ContentType="application/vnd.openxmlformats-officedocument.presentationml.slide+xml"/>
  <Override PartName="/ppt/slides/slide447.xml" ContentType="application/vnd.openxmlformats-officedocument.presentationml.slide+xml"/>
  <Override PartName="/ppt/slides/slide448.xml" ContentType="application/vnd.openxmlformats-officedocument.presentationml.slide+xml"/>
  <Override PartName="/ppt/slides/slide449.xml" ContentType="application/vnd.openxmlformats-officedocument.presentationml.slide+xml"/>
  <Override PartName="/ppt/slides/slide450.xml" ContentType="application/vnd.openxmlformats-officedocument.presentationml.slide+xml"/>
  <Override PartName="/ppt/slides/slide451.xml" ContentType="application/vnd.openxmlformats-officedocument.presentationml.slide+xml"/>
  <Override PartName="/ppt/slides/slide452.xml" ContentType="application/vnd.openxmlformats-officedocument.presentationml.slide+xml"/>
  <Override PartName="/ppt/slides/slide453.xml" ContentType="application/vnd.openxmlformats-officedocument.presentationml.slide+xml"/>
  <Override PartName="/ppt/slides/slide454.xml" ContentType="application/vnd.openxmlformats-officedocument.presentationml.slide+xml"/>
  <Override PartName="/ppt/slides/slide455.xml" ContentType="application/vnd.openxmlformats-officedocument.presentationml.slide+xml"/>
  <Override PartName="/ppt/slides/slide456.xml" ContentType="application/vnd.openxmlformats-officedocument.presentationml.slide+xml"/>
  <Override PartName="/ppt/slides/slide457.xml" ContentType="application/vnd.openxmlformats-officedocument.presentationml.slide+xml"/>
  <Override PartName="/ppt/slides/slide458.xml" ContentType="application/vnd.openxmlformats-officedocument.presentationml.slide+xml"/>
  <Override PartName="/ppt/slides/slide459.xml" ContentType="application/vnd.openxmlformats-officedocument.presentationml.slide+xml"/>
  <Override PartName="/ppt/slides/slide460.xml" ContentType="application/vnd.openxmlformats-officedocument.presentationml.slide+xml"/>
  <Override PartName="/ppt/slides/slide461.xml" ContentType="application/vnd.openxmlformats-officedocument.presentationml.slide+xml"/>
  <Override PartName="/ppt/slides/slide462.xml" ContentType="application/vnd.openxmlformats-officedocument.presentationml.slide+xml"/>
  <Override PartName="/ppt/slides/slide463.xml" ContentType="application/vnd.openxmlformats-officedocument.presentationml.slide+xml"/>
  <Override PartName="/ppt/slides/slide464.xml" ContentType="application/vnd.openxmlformats-officedocument.presentationml.slide+xml"/>
  <Override PartName="/ppt/slides/slide465.xml" ContentType="application/vnd.openxmlformats-officedocument.presentationml.slide+xml"/>
  <Override PartName="/ppt/slides/slide466.xml" ContentType="application/vnd.openxmlformats-officedocument.presentationml.slide+xml"/>
  <Override PartName="/ppt/slides/slide467.xml" ContentType="application/vnd.openxmlformats-officedocument.presentationml.slide+xml"/>
  <Override PartName="/ppt/slides/slide468.xml" ContentType="application/vnd.openxmlformats-officedocument.presentationml.slide+xml"/>
  <Override PartName="/ppt/slides/slide469.xml" ContentType="application/vnd.openxmlformats-officedocument.presentationml.slide+xml"/>
  <Override PartName="/ppt/slides/slide470.xml" ContentType="application/vnd.openxmlformats-officedocument.presentationml.slide+xml"/>
  <Override PartName="/ppt/slides/slide471.xml" ContentType="application/vnd.openxmlformats-officedocument.presentationml.slide+xml"/>
  <Override PartName="/ppt/slides/slide472.xml" ContentType="application/vnd.openxmlformats-officedocument.presentationml.slide+xml"/>
  <Override PartName="/ppt/slides/slide473.xml" ContentType="application/vnd.openxmlformats-officedocument.presentationml.slide+xml"/>
  <Override PartName="/ppt/slides/slide474.xml" ContentType="application/vnd.openxmlformats-officedocument.presentationml.slide+xml"/>
  <Override PartName="/ppt/slides/slide475.xml" ContentType="application/vnd.openxmlformats-officedocument.presentationml.slide+xml"/>
  <Override PartName="/ppt/slides/slide476.xml" ContentType="application/vnd.openxmlformats-officedocument.presentationml.slide+xml"/>
  <Override PartName="/ppt/slides/slide477.xml" ContentType="application/vnd.openxmlformats-officedocument.presentationml.slide+xml"/>
  <Override PartName="/ppt/slides/slide478.xml" ContentType="application/vnd.openxmlformats-officedocument.presentationml.slide+xml"/>
  <Override PartName="/ppt/slides/slide479.xml" ContentType="application/vnd.openxmlformats-officedocument.presentationml.slide+xml"/>
  <Override PartName="/ppt/slides/slide480.xml" ContentType="application/vnd.openxmlformats-officedocument.presentationml.slide+xml"/>
  <Override PartName="/ppt/slides/slide481.xml" ContentType="application/vnd.openxmlformats-officedocument.presentationml.slide+xml"/>
  <Override PartName="/ppt/slides/slide482.xml" ContentType="application/vnd.openxmlformats-officedocument.presentationml.slide+xml"/>
  <Override PartName="/ppt/slides/slide483.xml" ContentType="application/vnd.openxmlformats-officedocument.presentationml.slide+xml"/>
  <Override PartName="/ppt/slides/slide484.xml" ContentType="application/vnd.openxmlformats-officedocument.presentationml.slide+xml"/>
  <Override PartName="/ppt/slides/slide485.xml" ContentType="application/vnd.openxmlformats-officedocument.presentationml.slide+xml"/>
  <Override PartName="/ppt/slides/slide486.xml" ContentType="application/vnd.openxmlformats-officedocument.presentationml.slide+xml"/>
  <Override PartName="/ppt/slides/slide487.xml" ContentType="application/vnd.openxmlformats-officedocument.presentationml.slide+xml"/>
  <Override PartName="/ppt/slides/slide488.xml" ContentType="application/vnd.openxmlformats-officedocument.presentationml.slide+xml"/>
  <Override PartName="/ppt/slides/slide489.xml" ContentType="application/vnd.openxmlformats-officedocument.presentationml.slide+xml"/>
  <Override PartName="/ppt/slides/slide490.xml" ContentType="application/vnd.openxmlformats-officedocument.presentationml.slide+xml"/>
  <Override PartName="/ppt/slides/slide491.xml" ContentType="application/vnd.openxmlformats-officedocument.presentationml.slide+xml"/>
  <Override PartName="/ppt/slides/slide492.xml" ContentType="application/vnd.openxmlformats-officedocument.presentationml.slide+xml"/>
  <Override PartName="/ppt/slides/slide493.xml" ContentType="application/vnd.openxmlformats-officedocument.presentationml.slide+xml"/>
  <Override PartName="/ppt/slides/slide494.xml" ContentType="application/vnd.openxmlformats-officedocument.presentationml.slide+xml"/>
  <Override PartName="/ppt/slides/slide495.xml" ContentType="application/vnd.openxmlformats-officedocument.presentationml.slide+xml"/>
  <Override PartName="/ppt/slides/slide496.xml" ContentType="application/vnd.openxmlformats-officedocument.presentationml.slide+xml"/>
  <Override PartName="/ppt/slides/slide497.xml" ContentType="application/vnd.openxmlformats-officedocument.presentationml.slide+xml"/>
  <Override PartName="/ppt/slides/slide498.xml" ContentType="application/vnd.openxmlformats-officedocument.presentationml.slide+xml"/>
  <Override PartName="/ppt/slides/slide499.xml" ContentType="application/vnd.openxmlformats-officedocument.presentationml.slide+xml"/>
  <Override PartName="/ppt/slides/slide500.xml" ContentType="application/vnd.openxmlformats-officedocument.presentationml.slide+xml"/>
  <Override PartName="/ppt/slides/slide501.xml" ContentType="application/vnd.openxmlformats-officedocument.presentationml.slide+xml"/>
  <Override PartName="/ppt/slides/slide502.xml" ContentType="application/vnd.openxmlformats-officedocument.presentationml.slide+xml"/>
  <Override PartName="/ppt/slides/slide503.xml" ContentType="application/vnd.openxmlformats-officedocument.presentationml.slide+xml"/>
  <Override PartName="/ppt/slides/slide504.xml" ContentType="application/vnd.openxmlformats-officedocument.presentationml.slide+xml"/>
  <Override PartName="/ppt/slides/slide505.xml" ContentType="application/vnd.openxmlformats-officedocument.presentationml.slide+xml"/>
  <Override PartName="/ppt/slides/slide506.xml" ContentType="application/vnd.openxmlformats-officedocument.presentationml.slide+xml"/>
  <Override PartName="/ppt/slides/slide507.xml" ContentType="application/vnd.openxmlformats-officedocument.presentationml.slide+xml"/>
  <Override PartName="/ppt/slides/slide508.xml" ContentType="application/vnd.openxmlformats-officedocument.presentationml.slide+xml"/>
  <Override PartName="/ppt/slides/slide509.xml" ContentType="application/vnd.openxmlformats-officedocument.presentationml.slide+xml"/>
  <Override PartName="/ppt/slides/slide510.xml" ContentType="application/vnd.openxmlformats-officedocument.presentationml.slide+xml"/>
  <Override PartName="/ppt/slides/slide511.xml" ContentType="application/vnd.openxmlformats-officedocument.presentationml.slide+xml"/>
  <Override PartName="/ppt/slides/slide512.xml" ContentType="application/vnd.openxmlformats-officedocument.presentationml.slide+xml"/>
  <Override PartName="/ppt/slides/slide513.xml" ContentType="application/vnd.openxmlformats-officedocument.presentationml.slide+xml"/>
  <Override PartName="/ppt/slides/slide514.xml" ContentType="application/vnd.openxmlformats-officedocument.presentationml.slide+xml"/>
  <Override PartName="/ppt/slides/slide515.xml" ContentType="application/vnd.openxmlformats-officedocument.presentationml.slide+xml"/>
  <Override PartName="/ppt/slides/slide516.xml" ContentType="application/vnd.openxmlformats-officedocument.presentationml.slide+xml"/>
  <Override PartName="/ppt/slides/slide517.xml" ContentType="application/vnd.openxmlformats-officedocument.presentationml.slide+xml"/>
  <Override PartName="/ppt/slides/slide518.xml" ContentType="application/vnd.openxmlformats-officedocument.presentationml.slide+xml"/>
  <Override PartName="/ppt/slides/slide519.xml" ContentType="application/vnd.openxmlformats-officedocument.presentationml.slide+xml"/>
  <Override PartName="/ppt/slides/slide520.xml" ContentType="application/vnd.openxmlformats-officedocument.presentationml.slide+xml"/>
  <Override PartName="/ppt/slides/slide521.xml" ContentType="application/vnd.openxmlformats-officedocument.presentationml.slide+xml"/>
  <Override PartName="/ppt/slides/slide522.xml" ContentType="application/vnd.openxmlformats-officedocument.presentationml.slide+xml"/>
  <Override PartName="/ppt/slides/slide523.xml" ContentType="application/vnd.openxmlformats-officedocument.presentationml.slide+xml"/>
  <Override PartName="/ppt/slides/slide524.xml" ContentType="application/vnd.openxmlformats-officedocument.presentationml.slide+xml"/>
  <Override PartName="/ppt/slides/slide525.xml" ContentType="application/vnd.openxmlformats-officedocument.presentationml.slide+xml"/>
  <Override PartName="/ppt/slides/slide526.xml" ContentType="application/vnd.openxmlformats-officedocument.presentationml.slide+xml"/>
  <Override PartName="/ppt/slides/slide527.xml" ContentType="application/vnd.openxmlformats-officedocument.presentationml.slide+xml"/>
  <Override PartName="/ppt/slides/slide528.xml" ContentType="application/vnd.openxmlformats-officedocument.presentationml.slide+xml"/>
  <Override PartName="/ppt/slides/slide529.xml" ContentType="application/vnd.openxmlformats-officedocument.presentationml.slide+xml"/>
  <Override PartName="/ppt/slides/slide530.xml" ContentType="application/vnd.openxmlformats-officedocument.presentationml.slide+xml"/>
  <Override PartName="/ppt/slides/slide531.xml" ContentType="application/vnd.openxmlformats-officedocument.presentationml.slide+xml"/>
  <Override PartName="/ppt/slides/slide532.xml" ContentType="application/vnd.openxmlformats-officedocument.presentationml.slide+xml"/>
  <Override PartName="/ppt/slides/slide533.xml" ContentType="application/vnd.openxmlformats-officedocument.presentationml.slide+xml"/>
  <Override PartName="/ppt/slides/slide534.xml" ContentType="application/vnd.openxmlformats-officedocument.presentationml.slide+xml"/>
  <Override PartName="/ppt/slides/slide535.xml" ContentType="application/vnd.openxmlformats-officedocument.presentationml.slide+xml"/>
  <Override PartName="/ppt/slides/slide536.xml" ContentType="application/vnd.openxmlformats-officedocument.presentationml.slide+xml"/>
  <Override PartName="/ppt/slides/slide537.xml" ContentType="application/vnd.openxmlformats-officedocument.presentationml.slide+xml"/>
  <Override PartName="/ppt/slides/slide538.xml" ContentType="application/vnd.openxmlformats-officedocument.presentationml.slide+xml"/>
  <Override PartName="/ppt/slides/slide539.xml" ContentType="application/vnd.openxmlformats-officedocument.presentationml.slide+xml"/>
  <Override PartName="/ppt/slides/slide540.xml" ContentType="application/vnd.openxmlformats-officedocument.presentationml.slide+xml"/>
  <Override PartName="/ppt/slides/slide541.xml" ContentType="application/vnd.openxmlformats-officedocument.presentationml.slide+xml"/>
  <Override PartName="/ppt/slides/slide542.xml" ContentType="application/vnd.openxmlformats-officedocument.presentationml.slide+xml"/>
  <Override PartName="/ppt/slides/slide543.xml" ContentType="application/vnd.openxmlformats-officedocument.presentationml.slide+xml"/>
  <Override PartName="/ppt/slides/slide544.xml" ContentType="application/vnd.openxmlformats-officedocument.presentationml.slide+xml"/>
  <Override PartName="/ppt/slides/slide545.xml" ContentType="application/vnd.openxmlformats-officedocument.presentationml.slide+xml"/>
  <Override PartName="/ppt/slides/slide546.xml" ContentType="application/vnd.openxmlformats-officedocument.presentationml.slide+xml"/>
  <Override PartName="/ppt/slides/slide547.xml" ContentType="application/vnd.openxmlformats-officedocument.presentationml.slide+xml"/>
  <Override PartName="/ppt/slides/slide548.xml" ContentType="application/vnd.openxmlformats-officedocument.presentationml.slide+xml"/>
  <Override PartName="/ppt/slides/slide549.xml" ContentType="application/vnd.openxmlformats-officedocument.presentationml.slide+xml"/>
  <Override PartName="/ppt/slides/slide550.xml" ContentType="application/vnd.openxmlformats-officedocument.presentationml.slide+xml"/>
  <Override PartName="/ppt/slides/slide551.xml" ContentType="application/vnd.openxmlformats-officedocument.presentationml.slide+xml"/>
  <Override PartName="/ppt/slides/slide552.xml" ContentType="application/vnd.openxmlformats-officedocument.presentationml.slide+xml"/>
  <Override PartName="/ppt/slides/slide553.xml" ContentType="application/vnd.openxmlformats-officedocument.presentationml.slide+xml"/>
  <Override PartName="/ppt/slides/slide554.xml" ContentType="application/vnd.openxmlformats-officedocument.presentationml.slide+xml"/>
  <Override PartName="/ppt/slides/slide555.xml" ContentType="application/vnd.openxmlformats-officedocument.presentationml.slide+xml"/>
  <Override PartName="/ppt/slides/slide556.xml" ContentType="application/vnd.openxmlformats-officedocument.presentationml.slide+xml"/>
  <Override PartName="/ppt/slides/slide557.xml" ContentType="application/vnd.openxmlformats-officedocument.presentationml.slide+xml"/>
  <Override PartName="/ppt/slides/slide558.xml" ContentType="application/vnd.openxmlformats-officedocument.presentationml.slide+xml"/>
  <Override PartName="/ppt/slides/slide559.xml" ContentType="application/vnd.openxmlformats-officedocument.presentationml.slide+xml"/>
  <Override PartName="/ppt/slides/slide560.xml" ContentType="application/vnd.openxmlformats-officedocument.presentationml.slide+xml"/>
  <Override PartName="/ppt/slides/slide561.xml" ContentType="application/vnd.openxmlformats-officedocument.presentationml.slide+xml"/>
  <Override PartName="/ppt/slides/slide562.xml" ContentType="application/vnd.openxmlformats-officedocument.presentationml.slide+xml"/>
  <Override PartName="/ppt/slides/slide563.xml" ContentType="application/vnd.openxmlformats-officedocument.presentationml.slide+xml"/>
  <Override PartName="/ppt/slides/slide564.xml" ContentType="application/vnd.openxmlformats-officedocument.presentationml.slide+xml"/>
  <Override PartName="/ppt/slides/slide565.xml" ContentType="application/vnd.openxmlformats-officedocument.presentationml.slide+xml"/>
  <Override PartName="/ppt/slides/slide566.xml" ContentType="application/vnd.openxmlformats-officedocument.presentationml.slide+xml"/>
  <Override PartName="/ppt/slides/slide567.xml" ContentType="application/vnd.openxmlformats-officedocument.presentationml.slide+xml"/>
  <Override PartName="/ppt/slides/slide568.xml" ContentType="application/vnd.openxmlformats-officedocument.presentationml.slide+xml"/>
  <Override PartName="/ppt/slides/slide569.xml" ContentType="application/vnd.openxmlformats-officedocument.presentationml.slide+xml"/>
  <Override PartName="/ppt/slides/slide570.xml" ContentType="application/vnd.openxmlformats-officedocument.presentationml.slide+xml"/>
  <Override PartName="/ppt/slides/slide571.xml" ContentType="application/vnd.openxmlformats-officedocument.presentationml.slide+xml"/>
  <Override PartName="/ppt/slides/slide572.xml" ContentType="application/vnd.openxmlformats-officedocument.presentationml.slide+xml"/>
  <Override PartName="/ppt/slides/slide573.xml" ContentType="application/vnd.openxmlformats-officedocument.presentationml.slide+xml"/>
  <Override PartName="/ppt/slides/slide574.xml" ContentType="application/vnd.openxmlformats-officedocument.presentationml.slide+xml"/>
  <Override PartName="/ppt/slides/slide575.xml" ContentType="application/vnd.openxmlformats-officedocument.presentationml.slide+xml"/>
  <Override PartName="/ppt/slides/slide576.xml" ContentType="application/vnd.openxmlformats-officedocument.presentationml.slide+xml"/>
  <Override PartName="/ppt/slides/slide577.xml" ContentType="application/vnd.openxmlformats-officedocument.presentationml.slide+xml"/>
  <Override PartName="/ppt/slides/slide578.xml" ContentType="application/vnd.openxmlformats-officedocument.presentationml.slide+xml"/>
  <Override PartName="/ppt/slides/slide579.xml" ContentType="application/vnd.openxmlformats-officedocument.presentationml.slide+xml"/>
  <Override PartName="/ppt/slides/slide580.xml" ContentType="application/vnd.openxmlformats-officedocument.presentationml.slide+xml"/>
  <Override PartName="/ppt/slides/slide581.xml" ContentType="application/vnd.openxmlformats-officedocument.presentationml.slide+xml"/>
  <Override PartName="/ppt/slides/slide582.xml" ContentType="application/vnd.openxmlformats-officedocument.presentationml.slide+xml"/>
  <Override PartName="/ppt/slides/slide583.xml" ContentType="application/vnd.openxmlformats-officedocument.presentationml.slide+xml"/>
  <Override PartName="/ppt/slides/slide584.xml" ContentType="application/vnd.openxmlformats-officedocument.presentationml.slide+xml"/>
  <Override PartName="/ppt/slides/slide585.xml" ContentType="application/vnd.openxmlformats-officedocument.presentationml.slide+xml"/>
  <Override PartName="/ppt/slides/slide586.xml" ContentType="application/vnd.openxmlformats-officedocument.presentationml.slide+xml"/>
  <Override PartName="/ppt/slides/slide587.xml" ContentType="application/vnd.openxmlformats-officedocument.presentationml.slide+xml"/>
  <Override PartName="/ppt/slides/slide588.xml" ContentType="application/vnd.openxmlformats-officedocument.presentationml.slide+xml"/>
  <Override PartName="/ppt/slides/slide589.xml" ContentType="application/vnd.openxmlformats-officedocument.presentationml.slide+xml"/>
  <Override PartName="/ppt/slides/slide590.xml" ContentType="application/vnd.openxmlformats-officedocument.presentationml.slide+xml"/>
  <Override PartName="/ppt/slides/slide591.xml" ContentType="application/vnd.openxmlformats-officedocument.presentationml.slide+xml"/>
  <Override PartName="/ppt/slides/slide592.xml" ContentType="application/vnd.openxmlformats-officedocument.presentationml.slide+xml"/>
  <Override PartName="/ppt/slides/slide593.xml" ContentType="application/vnd.openxmlformats-officedocument.presentationml.slide+xml"/>
  <Override PartName="/ppt/slides/slide594.xml" ContentType="application/vnd.openxmlformats-officedocument.presentationml.slide+xml"/>
  <Override PartName="/ppt/slides/slide595.xml" ContentType="application/vnd.openxmlformats-officedocument.presentationml.slide+xml"/>
  <Override PartName="/ppt/slides/slide596.xml" ContentType="application/vnd.openxmlformats-officedocument.presentationml.slide+xml"/>
  <Override PartName="/ppt/slides/slide597.xml" ContentType="application/vnd.openxmlformats-officedocument.presentationml.slide+xml"/>
  <Override PartName="/ppt/slides/slide598.xml" ContentType="application/vnd.openxmlformats-officedocument.presentationml.slide+xml"/>
  <Override PartName="/ppt/slides/slide599.xml" ContentType="application/vnd.openxmlformats-officedocument.presentationml.slide+xml"/>
  <Override PartName="/ppt/slides/slide600.xml" ContentType="application/vnd.openxmlformats-officedocument.presentationml.slide+xml"/>
  <Override PartName="/ppt/slides/slide601.xml" ContentType="application/vnd.openxmlformats-officedocument.presentationml.slide+xml"/>
  <Override PartName="/ppt/slides/slide602.xml" ContentType="application/vnd.openxmlformats-officedocument.presentationml.slide+xml"/>
  <Override PartName="/ppt/slides/slide603.xml" ContentType="application/vnd.openxmlformats-officedocument.presentationml.slide+xml"/>
  <Override PartName="/ppt/slides/slide604.xml" ContentType="application/vnd.openxmlformats-officedocument.presentationml.slide+xml"/>
  <Override PartName="/ppt/slides/slide605.xml" ContentType="application/vnd.openxmlformats-officedocument.presentationml.slide+xml"/>
  <Override PartName="/ppt/slides/slide606.xml" ContentType="application/vnd.openxmlformats-officedocument.presentationml.slide+xml"/>
  <Override PartName="/ppt/slides/slide607.xml" ContentType="application/vnd.openxmlformats-officedocument.presentationml.slide+xml"/>
  <Override PartName="/ppt/slides/slide608.xml" ContentType="application/vnd.openxmlformats-officedocument.presentationml.slide+xml"/>
  <Override PartName="/ppt/slides/slide609.xml" ContentType="application/vnd.openxmlformats-officedocument.presentationml.slide+xml"/>
  <Override PartName="/ppt/slides/slide610.xml" ContentType="application/vnd.openxmlformats-officedocument.presentationml.slide+xml"/>
  <Override PartName="/ppt/slides/slide611.xml" ContentType="application/vnd.openxmlformats-officedocument.presentationml.slide+xml"/>
  <Override PartName="/ppt/slides/slide612.xml" ContentType="application/vnd.openxmlformats-officedocument.presentationml.slide+xml"/>
  <Override PartName="/ppt/slides/slide613.xml" ContentType="application/vnd.openxmlformats-officedocument.presentationml.slide+xml"/>
  <Override PartName="/ppt/slides/slide614.xml" ContentType="application/vnd.openxmlformats-officedocument.presentationml.slide+xml"/>
  <Override PartName="/ppt/slides/slide615.xml" ContentType="application/vnd.openxmlformats-officedocument.presentationml.slide+xml"/>
  <Override PartName="/ppt/slides/slide616.xml" ContentType="application/vnd.openxmlformats-officedocument.presentationml.slide+xml"/>
  <Override PartName="/ppt/slides/slide617.xml" ContentType="application/vnd.openxmlformats-officedocument.presentationml.slide+xml"/>
  <Override PartName="/ppt/slides/slide618.xml" ContentType="application/vnd.openxmlformats-officedocument.presentationml.slide+xml"/>
  <Override PartName="/ppt/slides/slide619.xml" ContentType="application/vnd.openxmlformats-officedocument.presentationml.slide+xml"/>
  <Override PartName="/ppt/slides/slide620.xml" ContentType="application/vnd.openxmlformats-officedocument.presentationml.slide+xml"/>
  <Override PartName="/ppt/slides/slide621.xml" ContentType="application/vnd.openxmlformats-officedocument.presentationml.slide+xml"/>
  <Override PartName="/ppt/slides/slide622.xml" ContentType="application/vnd.openxmlformats-officedocument.presentationml.slide+xml"/>
  <Override PartName="/ppt/slides/slide623.xml" ContentType="application/vnd.openxmlformats-officedocument.presentationml.slide+xml"/>
  <Override PartName="/ppt/slides/slide624.xml" ContentType="application/vnd.openxmlformats-officedocument.presentationml.slide+xml"/>
  <Override PartName="/ppt/slides/slide625.xml" ContentType="application/vnd.openxmlformats-officedocument.presentationml.slide+xml"/>
  <Override PartName="/ppt/slides/slide626.xml" ContentType="application/vnd.openxmlformats-officedocument.presentationml.slide+xml"/>
  <Override PartName="/ppt/slides/slide627.xml" ContentType="application/vnd.openxmlformats-officedocument.presentationml.slide+xml"/>
  <Override PartName="/ppt/slides/slide628.xml" ContentType="application/vnd.openxmlformats-officedocument.presentationml.slide+xml"/>
  <Override PartName="/ppt/slides/slide629.xml" ContentType="application/vnd.openxmlformats-officedocument.presentationml.slide+xml"/>
  <Override PartName="/ppt/slides/slide630.xml" ContentType="application/vnd.openxmlformats-officedocument.presentationml.slide+xml"/>
  <Override PartName="/ppt/slides/slide631.xml" ContentType="application/vnd.openxmlformats-officedocument.presentationml.slide+xml"/>
  <Override PartName="/ppt/slides/slide632.xml" ContentType="application/vnd.openxmlformats-officedocument.presentationml.slide+xml"/>
  <Override PartName="/ppt/slides/slide633.xml" ContentType="application/vnd.openxmlformats-officedocument.presentationml.slide+xml"/>
  <Override PartName="/ppt/slides/slide634.xml" ContentType="application/vnd.openxmlformats-officedocument.presentationml.slide+xml"/>
  <Override PartName="/ppt/slides/slide635.xml" ContentType="application/vnd.openxmlformats-officedocument.presentationml.slide+xml"/>
  <Override PartName="/ppt/slides/slide636.xml" ContentType="application/vnd.openxmlformats-officedocument.presentationml.slide+xml"/>
  <Override PartName="/ppt/slides/slide637.xml" ContentType="application/vnd.openxmlformats-officedocument.presentationml.slide+xml"/>
  <Override PartName="/ppt/slides/slide638.xml" ContentType="application/vnd.openxmlformats-officedocument.presentationml.slide+xml"/>
  <Override PartName="/ppt/slides/slide639.xml" ContentType="application/vnd.openxmlformats-officedocument.presentationml.slide+xml"/>
  <Override PartName="/ppt/slides/slide640.xml" ContentType="application/vnd.openxmlformats-officedocument.presentationml.slide+xml"/>
  <Override PartName="/ppt/slides/slide641.xml" ContentType="application/vnd.openxmlformats-officedocument.presentationml.slide+xml"/>
  <Override PartName="/ppt/slides/slide642.xml" ContentType="application/vnd.openxmlformats-officedocument.presentationml.slide+xml"/>
  <Override PartName="/ppt/slides/slide643.xml" ContentType="application/vnd.openxmlformats-officedocument.presentationml.slide+xml"/>
  <Override PartName="/ppt/slides/slide644.xml" ContentType="application/vnd.openxmlformats-officedocument.presentationml.slide+xml"/>
  <Override PartName="/ppt/slides/slide645.xml" ContentType="application/vnd.openxmlformats-officedocument.presentationml.slide+xml"/>
  <Override PartName="/ppt/slides/slide646.xml" ContentType="application/vnd.openxmlformats-officedocument.presentationml.slide+xml"/>
  <Override PartName="/ppt/slides/slide647.xml" ContentType="application/vnd.openxmlformats-officedocument.presentationml.slide+xml"/>
  <Override PartName="/ppt/slides/slide648.xml" ContentType="application/vnd.openxmlformats-officedocument.presentationml.slide+xml"/>
  <Override PartName="/ppt/slides/slide649.xml" ContentType="application/vnd.openxmlformats-officedocument.presentationml.slide+xml"/>
  <Override PartName="/ppt/slides/slide650.xml" ContentType="application/vnd.openxmlformats-officedocument.presentationml.slide+xml"/>
  <Override PartName="/ppt/slides/slide651.xml" ContentType="application/vnd.openxmlformats-officedocument.presentationml.slide+xml"/>
  <Override PartName="/ppt/slides/slide652.xml" ContentType="application/vnd.openxmlformats-officedocument.presentationml.slide+xml"/>
  <Override PartName="/ppt/slides/slide653.xml" ContentType="application/vnd.openxmlformats-officedocument.presentationml.slide+xml"/>
  <Override PartName="/ppt/slides/slide654.xml" ContentType="application/vnd.openxmlformats-officedocument.presentationml.slide+xml"/>
  <Override PartName="/ppt/slides/slide655.xml" ContentType="application/vnd.openxmlformats-officedocument.presentationml.slide+xml"/>
  <Override PartName="/ppt/slides/slide656.xml" ContentType="application/vnd.openxmlformats-officedocument.presentationml.slide+xml"/>
  <Override PartName="/ppt/slides/slide657.xml" ContentType="application/vnd.openxmlformats-officedocument.presentationml.slide+xml"/>
  <Override PartName="/ppt/slides/slide658.xml" ContentType="application/vnd.openxmlformats-officedocument.presentationml.slide+xml"/>
  <Override PartName="/ppt/slides/slide659.xml" ContentType="application/vnd.openxmlformats-officedocument.presentationml.slide+xml"/>
  <Override PartName="/ppt/slides/slide660.xml" ContentType="application/vnd.openxmlformats-officedocument.presentationml.slide+xml"/>
  <Override PartName="/ppt/slides/slide661.xml" ContentType="application/vnd.openxmlformats-officedocument.presentationml.slide+xml"/>
  <Override PartName="/ppt/slides/slide662.xml" ContentType="application/vnd.openxmlformats-officedocument.presentationml.slide+xml"/>
  <Override PartName="/ppt/slides/slide663.xml" ContentType="application/vnd.openxmlformats-officedocument.presentationml.slide+xml"/>
  <Override PartName="/ppt/slides/slide664.xml" ContentType="application/vnd.openxmlformats-officedocument.presentationml.slide+xml"/>
  <Override PartName="/ppt/slides/slide665.xml" ContentType="application/vnd.openxmlformats-officedocument.presentationml.slide+xml"/>
  <Override PartName="/ppt/slides/slide666.xml" ContentType="application/vnd.openxmlformats-officedocument.presentationml.slide+xml"/>
  <Override PartName="/ppt/slides/slide667.xml" ContentType="application/vnd.openxmlformats-officedocument.presentationml.slide+xml"/>
  <Override PartName="/ppt/slides/slide668.xml" ContentType="application/vnd.openxmlformats-officedocument.presentationml.slide+xml"/>
  <Override PartName="/ppt/slides/slide669.xml" ContentType="application/vnd.openxmlformats-officedocument.presentationml.slide+xml"/>
  <Override PartName="/ppt/slides/slide670.xml" ContentType="application/vnd.openxmlformats-officedocument.presentationml.slide+xml"/>
  <Override PartName="/ppt/slides/slide671.xml" ContentType="application/vnd.openxmlformats-officedocument.presentationml.slide+xml"/>
  <Override PartName="/ppt/slides/slide672.xml" ContentType="application/vnd.openxmlformats-officedocument.presentationml.slide+xml"/>
  <Override PartName="/ppt/slides/slide673.xml" ContentType="application/vnd.openxmlformats-officedocument.presentationml.slide+xml"/>
  <Override PartName="/ppt/slides/slide674.xml" ContentType="application/vnd.openxmlformats-officedocument.presentationml.slide+xml"/>
  <Override PartName="/ppt/slides/slide675.xml" ContentType="application/vnd.openxmlformats-officedocument.presentationml.slide+xml"/>
  <Override PartName="/ppt/slides/slide676.xml" ContentType="application/vnd.openxmlformats-officedocument.presentationml.slide+xml"/>
  <Override PartName="/ppt/slides/slide677.xml" ContentType="application/vnd.openxmlformats-officedocument.presentationml.slide+xml"/>
  <Override PartName="/ppt/slides/slide678.xml" ContentType="application/vnd.openxmlformats-officedocument.presentationml.slide+xml"/>
  <Override PartName="/ppt/slides/slide679.xml" ContentType="application/vnd.openxmlformats-officedocument.presentationml.slide+xml"/>
  <Override PartName="/ppt/slides/slide680.xml" ContentType="application/vnd.openxmlformats-officedocument.presentationml.slide+xml"/>
  <Override PartName="/ppt/slides/slide681.xml" ContentType="application/vnd.openxmlformats-officedocument.presentationml.slide+xml"/>
  <Override PartName="/ppt/slides/slide682.xml" ContentType="application/vnd.openxmlformats-officedocument.presentationml.slide+xml"/>
  <Override PartName="/ppt/slides/slide683.xml" ContentType="application/vnd.openxmlformats-officedocument.presentationml.slide+xml"/>
  <Override PartName="/ppt/slides/slide684.xml" ContentType="application/vnd.openxmlformats-officedocument.presentationml.slide+xml"/>
  <Override PartName="/ppt/slides/slide685.xml" ContentType="application/vnd.openxmlformats-officedocument.presentationml.slide+xml"/>
  <Override PartName="/ppt/slides/slide686.xml" ContentType="application/vnd.openxmlformats-officedocument.presentationml.slide+xml"/>
  <Override PartName="/ppt/slides/slide687.xml" ContentType="application/vnd.openxmlformats-officedocument.presentationml.slide+xml"/>
  <Override PartName="/ppt/slides/slide688.xml" ContentType="application/vnd.openxmlformats-officedocument.presentationml.slide+xml"/>
  <Override PartName="/ppt/slides/slide689.xml" ContentType="application/vnd.openxmlformats-officedocument.presentationml.slide+xml"/>
  <Override PartName="/ppt/slides/slide690.xml" ContentType="application/vnd.openxmlformats-officedocument.presentationml.slide+xml"/>
  <Override PartName="/ppt/slides/slide691.xml" ContentType="application/vnd.openxmlformats-officedocument.presentationml.slide+xml"/>
  <Override PartName="/ppt/slides/slide692.xml" ContentType="application/vnd.openxmlformats-officedocument.presentationml.slide+xml"/>
  <Override PartName="/ppt/slides/slide693.xml" ContentType="application/vnd.openxmlformats-officedocument.presentationml.slide+xml"/>
  <Override PartName="/ppt/slides/slide694.xml" ContentType="application/vnd.openxmlformats-officedocument.presentationml.slide+xml"/>
  <Override PartName="/ppt/slides/slide695.xml" ContentType="application/vnd.openxmlformats-officedocument.presentationml.slide+xml"/>
  <Override PartName="/ppt/slides/slide696.xml" ContentType="application/vnd.openxmlformats-officedocument.presentationml.slide+xml"/>
  <Override PartName="/ppt/slides/slide697.xml" ContentType="application/vnd.openxmlformats-officedocument.presentationml.slide+xml"/>
  <Override PartName="/ppt/slides/slide698.xml" ContentType="application/vnd.openxmlformats-officedocument.presentationml.slide+xml"/>
  <Override PartName="/ppt/slides/slide699.xml" ContentType="application/vnd.openxmlformats-officedocument.presentationml.slide+xml"/>
  <Override PartName="/ppt/slides/slide700.xml" ContentType="application/vnd.openxmlformats-officedocument.presentationml.slide+xml"/>
  <Override PartName="/ppt/slides/slide701.xml" ContentType="application/vnd.openxmlformats-officedocument.presentationml.slide+xml"/>
  <Override PartName="/ppt/slides/slide702.xml" ContentType="application/vnd.openxmlformats-officedocument.presentationml.slide+xml"/>
  <Override PartName="/ppt/slides/slide703.xml" ContentType="application/vnd.openxmlformats-officedocument.presentationml.slide+xml"/>
  <Override PartName="/ppt/slides/slide704.xml" ContentType="application/vnd.openxmlformats-officedocument.presentationml.slide+xml"/>
  <Override PartName="/ppt/slides/slide705.xml" ContentType="application/vnd.openxmlformats-officedocument.presentationml.slide+xml"/>
  <Override PartName="/ppt/slides/slide706.xml" ContentType="application/vnd.openxmlformats-officedocument.presentationml.slide+xml"/>
  <Override PartName="/ppt/slides/slide707.xml" ContentType="application/vnd.openxmlformats-officedocument.presentationml.slide+xml"/>
  <Override PartName="/ppt/slides/slide708.xml" ContentType="application/vnd.openxmlformats-officedocument.presentationml.slide+xml"/>
  <Override PartName="/ppt/slides/slide709.xml" ContentType="application/vnd.openxmlformats-officedocument.presentationml.slide+xml"/>
  <Override PartName="/ppt/slides/slide710.xml" ContentType="application/vnd.openxmlformats-officedocument.presentationml.slide+xml"/>
  <Override PartName="/ppt/slides/slide711.xml" ContentType="application/vnd.openxmlformats-officedocument.presentationml.slide+xml"/>
  <Override PartName="/ppt/slides/slide712.xml" ContentType="application/vnd.openxmlformats-officedocument.presentationml.slide+xml"/>
  <Override PartName="/ppt/slides/slide713.xml" ContentType="application/vnd.openxmlformats-officedocument.presentationml.slide+xml"/>
  <Override PartName="/ppt/slides/slide714.xml" ContentType="application/vnd.openxmlformats-officedocument.presentationml.slide+xml"/>
  <Override PartName="/ppt/slides/slide715.xml" ContentType="application/vnd.openxmlformats-officedocument.presentationml.slide+xml"/>
  <Override PartName="/ppt/slides/slide716.xml" ContentType="application/vnd.openxmlformats-officedocument.presentationml.slide+xml"/>
  <Override PartName="/ppt/slides/slide717.xml" ContentType="application/vnd.openxmlformats-officedocument.presentationml.slide+xml"/>
  <Override PartName="/ppt/slides/slide718.xml" ContentType="application/vnd.openxmlformats-officedocument.presentationml.slide+xml"/>
  <Override PartName="/ppt/slides/slide719.xml" ContentType="application/vnd.openxmlformats-officedocument.presentationml.slide+xml"/>
  <Override PartName="/ppt/slides/slide720.xml" ContentType="application/vnd.openxmlformats-officedocument.presentationml.slide+xml"/>
  <Override PartName="/ppt/slides/slide721.xml" ContentType="application/vnd.openxmlformats-officedocument.presentationml.slide+xml"/>
  <Override PartName="/ppt/slides/slide722.xml" ContentType="application/vnd.openxmlformats-officedocument.presentationml.slide+xml"/>
  <Override PartName="/ppt/slides/slide723.xml" ContentType="application/vnd.openxmlformats-officedocument.presentationml.slide+xml"/>
  <Override PartName="/ppt/slides/slide724.xml" ContentType="application/vnd.openxmlformats-officedocument.presentationml.slide+xml"/>
  <Override PartName="/ppt/slides/slide725.xml" ContentType="application/vnd.openxmlformats-officedocument.presentationml.slide+xml"/>
  <Override PartName="/ppt/slides/slide726.xml" ContentType="application/vnd.openxmlformats-officedocument.presentationml.slide+xml"/>
  <Override PartName="/ppt/slides/slide727.xml" ContentType="application/vnd.openxmlformats-officedocument.presentationml.slide+xml"/>
  <Override PartName="/ppt/slides/slide728.xml" ContentType="application/vnd.openxmlformats-officedocument.presentationml.slide+xml"/>
  <Override PartName="/ppt/slides/slide729.xml" ContentType="application/vnd.openxmlformats-officedocument.presentationml.slide+xml"/>
  <Override PartName="/ppt/slides/slide730.xml" ContentType="application/vnd.openxmlformats-officedocument.presentationml.slide+xml"/>
  <Override PartName="/ppt/slides/slide731.xml" ContentType="application/vnd.openxmlformats-officedocument.presentationml.slide+xml"/>
  <Override PartName="/ppt/slides/slide732.xml" ContentType="application/vnd.openxmlformats-officedocument.presentationml.slide+xml"/>
  <Override PartName="/ppt/slides/slide733.xml" ContentType="application/vnd.openxmlformats-officedocument.presentationml.slide+xml"/>
  <Override PartName="/ppt/slides/slide734.xml" ContentType="application/vnd.openxmlformats-officedocument.presentationml.slide+xml"/>
  <Override PartName="/ppt/slides/slide735.xml" ContentType="application/vnd.openxmlformats-officedocument.presentationml.slide+xml"/>
  <Override PartName="/ppt/slides/slide736.xml" ContentType="application/vnd.openxmlformats-officedocument.presentationml.slide+xml"/>
  <Override PartName="/ppt/slides/slide737.xml" ContentType="application/vnd.openxmlformats-officedocument.presentationml.slide+xml"/>
  <Override PartName="/ppt/slides/slide738.xml" ContentType="application/vnd.openxmlformats-officedocument.presentationml.slide+xml"/>
  <Override PartName="/ppt/slides/slide739.xml" ContentType="application/vnd.openxmlformats-officedocument.presentationml.slide+xml"/>
  <Override PartName="/ppt/slides/slide740.xml" ContentType="application/vnd.openxmlformats-officedocument.presentationml.slide+xml"/>
  <Override PartName="/ppt/slides/slide741.xml" ContentType="application/vnd.openxmlformats-officedocument.presentationml.slide+xml"/>
  <Override PartName="/ppt/slides/slide742.xml" ContentType="application/vnd.openxmlformats-officedocument.presentationml.slide+xml"/>
  <Override PartName="/ppt/slides/slide743.xml" ContentType="application/vnd.openxmlformats-officedocument.presentationml.slide+xml"/>
  <Override PartName="/ppt/slides/slide744.xml" ContentType="application/vnd.openxmlformats-officedocument.presentationml.slide+xml"/>
  <Override PartName="/ppt/slides/slide745.xml" ContentType="application/vnd.openxmlformats-officedocument.presentationml.slide+xml"/>
  <Override PartName="/ppt/slides/slide746.xml" ContentType="application/vnd.openxmlformats-officedocument.presentationml.slide+xml"/>
  <Override PartName="/ppt/slides/slide747.xml" ContentType="application/vnd.openxmlformats-officedocument.presentationml.slide+xml"/>
  <Override PartName="/ppt/slides/slide748.xml" ContentType="application/vnd.openxmlformats-officedocument.presentationml.slide+xml"/>
  <Override PartName="/ppt/slides/slide749.xml" ContentType="application/vnd.openxmlformats-officedocument.presentationml.slide+xml"/>
  <Override PartName="/ppt/slides/slide750.xml" ContentType="application/vnd.openxmlformats-officedocument.presentationml.slide+xml"/>
  <Override PartName="/ppt/slides/slide751.xml" ContentType="application/vnd.openxmlformats-officedocument.presentationml.slide+xml"/>
  <Override PartName="/ppt/slides/slide752.xml" ContentType="application/vnd.openxmlformats-officedocument.presentationml.slide+xml"/>
  <Override PartName="/ppt/slides/slide753.xml" ContentType="application/vnd.openxmlformats-officedocument.presentationml.slide+xml"/>
  <Override PartName="/ppt/slides/slide754.xml" ContentType="application/vnd.openxmlformats-officedocument.presentationml.slide+xml"/>
  <Override PartName="/ppt/slides/slide755.xml" ContentType="application/vnd.openxmlformats-officedocument.presentationml.slide+xml"/>
  <Override PartName="/ppt/slides/slide756.xml" ContentType="application/vnd.openxmlformats-officedocument.presentationml.slide+xml"/>
  <Override PartName="/ppt/slides/slide757.xml" ContentType="application/vnd.openxmlformats-officedocument.presentationml.slide+xml"/>
  <Override PartName="/ppt/slides/slide758.xml" ContentType="application/vnd.openxmlformats-officedocument.presentationml.slide+xml"/>
  <Override PartName="/ppt/slides/slide759.xml" ContentType="application/vnd.openxmlformats-officedocument.presentationml.slide+xml"/>
  <Override PartName="/ppt/slides/slide760.xml" ContentType="application/vnd.openxmlformats-officedocument.presentationml.slide+xml"/>
  <Override PartName="/ppt/slides/slide761.xml" ContentType="application/vnd.openxmlformats-officedocument.presentationml.slide+xml"/>
  <Override PartName="/ppt/slides/slide762.xml" ContentType="application/vnd.openxmlformats-officedocument.presentationml.slide+xml"/>
  <Override PartName="/ppt/slides/slide763.xml" ContentType="application/vnd.openxmlformats-officedocument.presentationml.slide+xml"/>
  <Override PartName="/ppt/slides/slide764.xml" ContentType="application/vnd.openxmlformats-officedocument.presentationml.slide+xml"/>
  <Override PartName="/ppt/slides/slide765.xml" ContentType="application/vnd.openxmlformats-officedocument.presentationml.slide+xml"/>
  <Override PartName="/ppt/slides/slide766.xml" ContentType="application/vnd.openxmlformats-officedocument.presentationml.slide+xml"/>
  <Override PartName="/ppt/slides/slide767.xml" ContentType="application/vnd.openxmlformats-officedocument.presentationml.slide+xml"/>
  <Override PartName="/ppt/slides/slide768.xml" ContentType="application/vnd.openxmlformats-officedocument.presentationml.slide+xml"/>
  <Override PartName="/ppt/slides/slide769.xml" ContentType="application/vnd.openxmlformats-officedocument.presentationml.slide+xml"/>
  <Override PartName="/ppt/slides/slide770.xml" ContentType="application/vnd.openxmlformats-officedocument.presentationml.slide+xml"/>
  <Override PartName="/ppt/slides/slide771.xml" ContentType="application/vnd.openxmlformats-officedocument.presentationml.slide+xml"/>
  <Override PartName="/ppt/slides/slide772.xml" ContentType="application/vnd.openxmlformats-officedocument.presentationml.slide+xml"/>
  <Override PartName="/ppt/slides/slide773.xml" ContentType="application/vnd.openxmlformats-officedocument.presentationml.slide+xml"/>
  <Override PartName="/ppt/slides/slide774.xml" ContentType="application/vnd.openxmlformats-officedocument.presentationml.slide+xml"/>
  <Override PartName="/ppt/slides/slide775.xml" ContentType="application/vnd.openxmlformats-officedocument.presentationml.slide+xml"/>
  <Override PartName="/ppt/slides/slide776.xml" ContentType="application/vnd.openxmlformats-officedocument.presentationml.slide+xml"/>
  <Override PartName="/ppt/slides/slide777.xml" ContentType="application/vnd.openxmlformats-officedocument.presentationml.slide+xml"/>
  <Override PartName="/ppt/slides/slide778.xml" ContentType="application/vnd.openxmlformats-officedocument.presentationml.slide+xml"/>
  <Override PartName="/ppt/slides/slide779.xml" ContentType="application/vnd.openxmlformats-officedocument.presentationml.slide+xml"/>
  <Override PartName="/ppt/slides/slide780.xml" ContentType="application/vnd.openxmlformats-officedocument.presentationml.slide+xml"/>
  <Override PartName="/ppt/slides/slide781.xml" ContentType="application/vnd.openxmlformats-officedocument.presentationml.slide+xml"/>
  <Override PartName="/ppt/slides/slide782.xml" ContentType="application/vnd.openxmlformats-officedocument.presentationml.slide+xml"/>
  <Override PartName="/ppt/slides/slide783.xml" ContentType="application/vnd.openxmlformats-officedocument.presentationml.slide+xml"/>
  <Override PartName="/ppt/slides/slide784.xml" ContentType="application/vnd.openxmlformats-officedocument.presentationml.slide+xml"/>
  <Override PartName="/ppt/slides/slide785.xml" ContentType="application/vnd.openxmlformats-officedocument.presentationml.slide+xml"/>
  <Override PartName="/ppt/slides/slide786.xml" ContentType="application/vnd.openxmlformats-officedocument.presentationml.slide+xml"/>
  <Override PartName="/ppt/slides/slide787.xml" ContentType="application/vnd.openxmlformats-officedocument.presentationml.slide+xml"/>
  <Override PartName="/ppt/slides/slide788.xml" ContentType="application/vnd.openxmlformats-officedocument.presentationml.slide+xml"/>
  <Override PartName="/ppt/slides/slide789.xml" ContentType="application/vnd.openxmlformats-officedocument.presentationml.slide+xml"/>
  <Override PartName="/ppt/slides/slide790.xml" ContentType="application/vnd.openxmlformats-officedocument.presentationml.slide+xml"/>
  <Override PartName="/ppt/slides/slide791.xml" ContentType="application/vnd.openxmlformats-officedocument.presentationml.slide+xml"/>
  <Override PartName="/ppt/slides/slide792.xml" ContentType="application/vnd.openxmlformats-officedocument.presentationml.slide+xml"/>
  <Override PartName="/ppt/slides/slide793.xml" ContentType="application/vnd.openxmlformats-officedocument.presentationml.slide+xml"/>
  <Override PartName="/ppt/slides/slide794.xml" ContentType="application/vnd.openxmlformats-officedocument.presentationml.slide+xml"/>
  <Override PartName="/ppt/slides/slide795.xml" ContentType="application/vnd.openxmlformats-officedocument.presentationml.slide+xml"/>
  <Override PartName="/ppt/slides/slide796.xml" ContentType="application/vnd.openxmlformats-officedocument.presentationml.slide+xml"/>
  <Override PartName="/ppt/slides/slide797.xml" ContentType="application/vnd.openxmlformats-officedocument.presentationml.slide+xml"/>
  <Override PartName="/ppt/slides/slide798.xml" ContentType="application/vnd.openxmlformats-officedocument.presentationml.slide+xml"/>
  <Override PartName="/ppt/slides/slide799.xml" ContentType="application/vnd.openxmlformats-officedocument.presentationml.slide+xml"/>
  <Override PartName="/ppt/slides/slide800.xml" ContentType="application/vnd.openxmlformats-officedocument.presentationml.slide+xml"/>
  <Override PartName="/ppt/slides/slide801.xml" ContentType="application/vnd.openxmlformats-officedocument.presentationml.slide+xml"/>
  <Override PartName="/ppt/slides/slide802.xml" ContentType="application/vnd.openxmlformats-officedocument.presentationml.slide+xml"/>
  <Override PartName="/ppt/slides/slide803.xml" ContentType="application/vnd.openxmlformats-officedocument.presentationml.slide+xml"/>
  <Override PartName="/ppt/slides/slide804.xml" ContentType="application/vnd.openxmlformats-officedocument.presentationml.slide+xml"/>
  <Override PartName="/ppt/slides/slide805.xml" ContentType="application/vnd.openxmlformats-officedocument.presentationml.slide+xml"/>
  <Override PartName="/ppt/slides/slide806.xml" ContentType="application/vnd.openxmlformats-officedocument.presentationml.slide+xml"/>
  <Override PartName="/ppt/slides/slide807.xml" ContentType="application/vnd.openxmlformats-officedocument.presentationml.slide+xml"/>
  <Override PartName="/ppt/slides/slide808.xml" ContentType="application/vnd.openxmlformats-officedocument.presentationml.slide+xml"/>
  <Override PartName="/ppt/slides/slide809.xml" ContentType="application/vnd.openxmlformats-officedocument.presentationml.slide+xml"/>
  <Override PartName="/ppt/slides/slide810.xml" ContentType="application/vnd.openxmlformats-officedocument.presentationml.slide+xml"/>
  <Override PartName="/ppt/slides/slide811.xml" ContentType="application/vnd.openxmlformats-officedocument.presentationml.slide+xml"/>
  <Override PartName="/ppt/slides/slide812.xml" ContentType="application/vnd.openxmlformats-officedocument.presentationml.slide+xml"/>
  <Override PartName="/ppt/slides/slide813.xml" ContentType="application/vnd.openxmlformats-officedocument.presentationml.slide+xml"/>
  <Override PartName="/ppt/slides/slide814.xml" ContentType="application/vnd.openxmlformats-officedocument.presentationml.slide+xml"/>
  <Override PartName="/ppt/slides/slide815.xml" ContentType="application/vnd.openxmlformats-officedocument.presentationml.slide+xml"/>
  <Override PartName="/ppt/slides/slide816.xml" ContentType="application/vnd.openxmlformats-officedocument.presentationml.slide+xml"/>
  <Override PartName="/ppt/slides/slide817.xml" ContentType="application/vnd.openxmlformats-officedocument.presentationml.slide+xml"/>
  <Override PartName="/ppt/slides/slide818.xml" ContentType="application/vnd.openxmlformats-officedocument.presentationml.slide+xml"/>
  <Override PartName="/ppt/slides/slide819.xml" ContentType="application/vnd.openxmlformats-officedocument.presentationml.slide+xml"/>
  <Override PartName="/ppt/slides/slide820.xml" ContentType="application/vnd.openxmlformats-officedocument.presentationml.slide+xml"/>
  <Override PartName="/ppt/slides/slide821.xml" ContentType="application/vnd.openxmlformats-officedocument.presentationml.slide+xml"/>
  <Override PartName="/ppt/slides/slide822.xml" ContentType="application/vnd.openxmlformats-officedocument.presentationml.slide+xml"/>
  <Override PartName="/ppt/slides/slide823.xml" ContentType="application/vnd.openxmlformats-officedocument.presentationml.slide+xml"/>
  <Override PartName="/ppt/slides/slide824.xml" ContentType="application/vnd.openxmlformats-officedocument.presentationml.slide+xml"/>
  <Override PartName="/ppt/slides/slide825.xml" ContentType="application/vnd.openxmlformats-officedocument.presentationml.slide+xml"/>
  <Override PartName="/ppt/slides/slide826.xml" ContentType="application/vnd.openxmlformats-officedocument.presentationml.slide+xml"/>
  <Override PartName="/ppt/slides/slide827.xml" ContentType="application/vnd.openxmlformats-officedocument.presentationml.slide+xml"/>
  <Override PartName="/ppt/slides/slide828.xml" ContentType="application/vnd.openxmlformats-officedocument.presentationml.slide+xml"/>
  <Override PartName="/ppt/slides/slide829.xml" ContentType="application/vnd.openxmlformats-officedocument.presentationml.slide+xml"/>
  <Override PartName="/ppt/slides/slide830.xml" ContentType="application/vnd.openxmlformats-officedocument.presentationml.slide+xml"/>
  <Override PartName="/ppt/slides/slide831.xml" ContentType="application/vnd.openxmlformats-officedocument.presentationml.slide+xml"/>
  <Override PartName="/ppt/slides/slide832.xml" ContentType="application/vnd.openxmlformats-officedocument.presentationml.slide+xml"/>
  <Override PartName="/ppt/slides/slide833.xml" ContentType="application/vnd.openxmlformats-officedocument.presentationml.slide+xml"/>
  <Override PartName="/ppt/slides/slide834.xml" ContentType="application/vnd.openxmlformats-officedocument.presentationml.slide+xml"/>
  <Override PartName="/ppt/slides/slide835.xml" ContentType="application/vnd.openxmlformats-officedocument.presentationml.slide+xml"/>
  <Override PartName="/ppt/slides/slide836.xml" ContentType="application/vnd.openxmlformats-officedocument.presentationml.slide+xml"/>
  <Override PartName="/ppt/slides/slide837.xml" ContentType="application/vnd.openxmlformats-officedocument.presentationml.slide+xml"/>
  <Override PartName="/ppt/slides/slide838.xml" ContentType="application/vnd.openxmlformats-officedocument.presentationml.slide+xml"/>
  <Override PartName="/ppt/slides/slide839.xml" ContentType="application/vnd.openxmlformats-officedocument.presentationml.slide+xml"/>
  <Override PartName="/ppt/slides/slide840.xml" ContentType="application/vnd.openxmlformats-officedocument.presentationml.slide+xml"/>
  <Override PartName="/ppt/slides/slide841.xml" ContentType="application/vnd.openxmlformats-officedocument.presentationml.slide+xml"/>
  <Override PartName="/ppt/slides/slide842.xml" ContentType="application/vnd.openxmlformats-officedocument.presentationml.slide+xml"/>
  <Override PartName="/ppt/slides/slide843.xml" ContentType="application/vnd.openxmlformats-officedocument.presentationml.slide+xml"/>
  <Override PartName="/ppt/slides/slide844.xml" ContentType="application/vnd.openxmlformats-officedocument.presentationml.slide+xml"/>
  <Override PartName="/ppt/slides/slide845.xml" ContentType="application/vnd.openxmlformats-officedocument.presentationml.slide+xml"/>
  <Override PartName="/ppt/slides/slide846.xml" ContentType="application/vnd.openxmlformats-officedocument.presentationml.slide+xml"/>
  <Override PartName="/ppt/slides/slide847.xml" ContentType="application/vnd.openxmlformats-officedocument.presentationml.slide+xml"/>
  <Override PartName="/ppt/slides/slide848.xml" ContentType="application/vnd.openxmlformats-officedocument.presentationml.slide+xml"/>
  <Override PartName="/ppt/slides/slide849.xml" ContentType="application/vnd.openxmlformats-officedocument.presentationml.slide+xml"/>
  <Override PartName="/ppt/slides/slide850.xml" ContentType="application/vnd.openxmlformats-officedocument.presentationml.slide+xml"/>
  <Override PartName="/ppt/slides/slide851.xml" ContentType="application/vnd.openxmlformats-officedocument.presentationml.slide+xml"/>
  <Override PartName="/ppt/slides/slide852.xml" ContentType="application/vnd.openxmlformats-officedocument.presentationml.slide+xml"/>
  <Override PartName="/ppt/slides/slide853.xml" ContentType="application/vnd.openxmlformats-officedocument.presentationml.slide+xml"/>
  <Override PartName="/ppt/slides/slide854.xml" ContentType="application/vnd.openxmlformats-officedocument.presentationml.slide+xml"/>
  <Override PartName="/ppt/slides/slide855.xml" ContentType="application/vnd.openxmlformats-officedocument.presentationml.slide+xml"/>
  <Override PartName="/ppt/slides/slide856.xml" ContentType="application/vnd.openxmlformats-officedocument.presentationml.slide+xml"/>
  <Override PartName="/ppt/slides/slide857.xml" ContentType="application/vnd.openxmlformats-officedocument.presentationml.slide+xml"/>
  <Override PartName="/ppt/slides/slide858.xml" ContentType="application/vnd.openxmlformats-officedocument.presentationml.slide+xml"/>
  <Override PartName="/ppt/slides/slide859.xml" ContentType="application/vnd.openxmlformats-officedocument.presentationml.slide+xml"/>
  <Override PartName="/ppt/slides/slide860.xml" ContentType="application/vnd.openxmlformats-officedocument.presentationml.slide+xml"/>
  <Override PartName="/ppt/slides/slide861.xml" ContentType="application/vnd.openxmlformats-officedocument.presentationml.slide+xml"/>
  <Override PartName="/ppt/slides/slide862.xml" ContentType="application/vnd.openxmlformats-officedocument.presentationml.slide+xml"/>
  <Override PartName="/ppt/slides/slide863.xml" ContentType="application/vnd.openxmlformats-officedocument.presentationml.slide+xml"/>
  <Override PartName="/ppt/slides/slide864.xml" ContentType="application/vnd.openxmlformats-officedocument.presentationml.slide+xml"/>
  <Override PartName="/ppt/slides/slide865.xml" ContentType="application/vnd.openxmlformats-officedocument.presentationml.slide+xml"/>
  <Override PartName="/ppt/slides/slide866.xml" ContentType="application/vnd.openxmlformats-officedocument.presentationml.slide+xml"/>
  <Override PartName="/ppt/slides/slide867.xml" ContentType="application/vnd.openxmlformats-officedocument.presentationml.slide+xml"/>
  <Override PartName="/ppt/slides/slide868.xml" ContentType="application/vnd.openxmlformats-officedocument.presentationml.slide+xml"/>
  <Override PartName="/ppt/slides/slide869.xml" ContentType="application/vnd.openxmlformats-officedocument.presentationml.slide+xml"/>
  <Override PartName="/ppt/slides/slide870.xml" ContentType="application/vnd.openxmlformats-officedocument.presentationml.slide+xml"/>
  <Override PartName="/ppt/slides/slide871.xml" ContentType="application/vnd.openxmlformats-officedocument.presentationml.slide+xml"/>
  <Override PartName="/ppt/slides/slide872.xml" ContentType="application/vnd.openxmlformats-officedocument.presentationml.slide+xml"/>
  <Override PartName="/ppt/slides/slide873.xml" ContentType="application/vnd.openxmlformats-officedocument.presentationml.slide+xml"/>
  <Override PartName="/ppt/slides/slide874.xml" ContentType="application/vnd.openxmlformats-officedocument.presentationml.slide+xml"/>
  <Override PartName="/ppt/slides/slide875.xml" ContentType="application/vnd.openxmlformats-officedocument.presentationml.slide+xml"/>
  <Override PartName="/ppt/slides/slide876.xml" ContentType="application/vnd.openxmlformats-officedocument.presentationml.slide+xml"/>
  <Override PartName="/ppt/slides/slide877.xml" ContentType="application/vnd.openxmlformats-officedocument.presentationml.slide+xml"/>
  <Override PartName="/ppt/slides/slide878.xml" ContentType="application/vnd.openxmlformats-officedocument.presentationml.slide+xml"/>
  <Override PartName="/ppt/slides/slide879.xml" ContentType="application/vnd.openxmlformats-officedocument.presentationml.slide+xml"/>
  <Override PartName="/ppt/slides/slide880.xml" ContentType="application/vnd.openxmlformats-officedocument.presentationml.slide+xml"/>
  <Override PartName="/ppt/slides/slide881.xml" ContentType="application/vnd.openxmlformats-officedocument.presentationml.slide+xml"/>
  <Override PartName="/ppt/slides/slide882.xml" ContentType="application/vnd.openxmlformats-officedocument.presentationml.slide+xml"/>
  <Override PartName="/ppt/slides/slide883.xml" ContentType="application/vnd.openxmlformats-officedocument.presentationml.slide+xml"/>
  <Override PartName="/ppt/slides/slide884.xml" ContentType="application/vnd.openxmlformats-officedocument.presentationml.slide+xml"/>
  <Override PartName="/ppt/slides/slide885.xml" ContentType="application/vnd.openxmlformats-officedocument.presentationml.slide+xml"/>
  <Override PartName="/ppt/slides/slide886.xml" ContentType="application/vnd.openxmlformats-officedocument.presentationml.slide+xml"/>
  <Override PartName="/ppt/slides/slide887.xml" ContentType="application/vnd.openxmlformats-officedocument.presentationml.slide+xml"/>
  <Override PartName="/ppt/slides/slide888.xml" ContentType="application/vnd.openxmlformats-officedocument.presentationml.slide+xml"/>
  <Override PartName="/ppt/slides/slide889.xml" ContentType="application/vnd.openxmlformats-officedocument.presentationml.slide+xml"/>
  <Override PartName="/ppt/slides/slide890.xml" ContentType="application/vnd.openxmlformats-officedocument.presentationml.slide+xml"/>
  <Override PartName="/ppt/slides/slide891.xml" ContentType="application/vnd.openxmlformats-officedocument.presentationml.slide+xml"/>
  <Override PartName="/ppt/slides/slide892.xml" ContentType="application/vnd.openxmlformats-officedocument.presentationml.slide+xml"/>
  <Override PartName="/ppt/slides/slide893.xml" ContentType="application/vnd.openxmlformats-officedocument.presentationml.slide+xml"/>
  <Override PartName="/ppt/slides/slide894.xml" ContentType="application/vnd.openxmlformats-officedocument.presentationml.slide+xml"/>
  <Override PartName="/ppt/slides/slide895.xml" ContentType="application/vnd.openxmlformats-officedocument.presentationml.slide+xml"/>
  <Override PartName="/ppt/slides/slide896.xml" ContentType="application/vnd.openxmlformats-officedocument.presentationml.slide+xml"/>
  <Override PartName="/ppt/slides/slide897.xml" ContentType="application/vnd.openxmlformats-officedocument.presentationml.slide+xml"/>
  <Override PartName="/ppt/slides/slide898.xml" ContentType="application/vnd.openxmlformats-officedocument.presentationml.slide+xml"/>
  <Override PartName="/ppt/slides/slide899.xml" ContentType="application/vnd.openxmlformats-officedocument.presentationml.slide+xml"/>
  <Override PartName="/ppt/slides/slide900.xml" ContentType="application/vnd.openxmlformats-officedocument.presentationml.slide+xml"/>
  <Override PartName="/ppt/slides/slide901.xml" ContentType="application/vnd.openxmlformats-officedocument.presentationml.slide+xml"/>
  <Override PartName="/ppt/slides/slide902.xml" ContentType="application/vnd.openxmlformats-officedocument.presentationml.slide+xml"/>
  <Override PartName="/ppt/slides/slide903.xml" ContentType="application/vnd.openxmlformats-officedocument.presentationml.slide+xml"/>
  <Override PartName="/ppt/slides/slide904.xml" ContentType="application/vnd.openxmlformats-officedocument.presentationml.slide+xml"/>
  <Override PartName="/ppt/slides/slide905.xml" ContentType="application/vnd.openxmlformats-officedocument.presentationml.slide+xml"/>
  <Override PartName="/ppt/slides/slide906.xml" ContentType="application/vnd.openxmlformats-officedocument.presentationml.slide+xml"/>
  <Override PartName="/ppt/slides/slide907.xml" ContentType="application/vnd.openxmlformats-officedocument.presentationml.slide+xml"/>
  <Override PartName="/ppt/slides/slide908.xml" ContentType="application/vnd.openxmlformats-officedocument.presentationml.slide+xml"/>
  <Override PartName="/ppt/slides/slide909.xml" ContentType="application/vnd.openxmlformats-officedocument.presentationml.slide+xml"/>
  <Override PartName="/ppt/slides/slide910.xml" ContentType="application/vnd.openxmlformats-officedocument.presentationml.slide+xml"/>
  <Override PartName="/ppt/slides/slide911.xml" ContentType="application/vnd.openxmlformats-officedocument.presentationml.slide+xml"/>
  <Override PartName="/ppt/slides/slide912.xml" ContentType="application/vnd.openxmlformats-officedocument.presentationml.slide+xml"/>
  <Override PartName="/ppt/slides/slide913.xml" ContentType="application/vnd.openxmlformats-officedocument.presentationml.slide+xml"/>
  <Override PartName="/ppt/slides/slide914.xml" ContentType="application/vnd.openxmlformats-officedocument.presentationml.slide+xml"/>
  <Override PartName="/ppt/slides/slide915.xml" ContentType="application/vnd.openxmlformats-officedocument.presentationml.slide+xml"/>
  <Override PartName="/ppt/slides/slide916.xml" ContentType="application/vnd.openxmlformats-officedocument.presentationml.slide+xml"/>
  <Override PartName="/ppt/slides/slide917.xml" ContentType="application/vnd.openxmlformats-officedocument.presentationml.slide+xml"/>
  <Override PartName="/ppt/slides/slide918.xml" ContentType="application/vnd.openxmlformats-officedocument.presentationml.slide+xml"/>
  <Override PartName="/ppt/slides/slide919.xml" ContentType="application/vnd.openxmlformats-officedocument.presentationml.slide+xml"/>
  <Override PartName="/ppt/slides/slide920.xml" ContentType="application/vnd.openxmlformats-officedocument.presentationml.slide+xml"/>
  <Override PartName="/ppt/slides/slide921.xml" ContentType="application/vnd.openxmlformats-officedocument.presentationml.slide+xml"/>
  <Override PartName="/ppt/slides/slide922.xml" ContentType="application/vnd.openxmlformats-officedocument.presentationml.slide+xml"/>
  <Override PartName="/ppt/slides/slide923.xml" ContentType="application/vnd.openxmlformats-officedocument.presentationml.slide+xml"/>
  <Override PartName="/ppt/slides/slide924.xml" ContentType="application/vnd.openxmlformats-officedocument.presentationml.slide+xml"/>
  <Override PartName="/ppt/slides/slide925.xml" ContentType="application/vnd.openxmlformats-officedocument.presentationml.slide+xml"/>
  <Override PartName="/ppt/slides/slide926.xml" ContentType="application/vnd.openxmlformats-officedocument.presentationml.slide+xml"/>
  <Override PartName="/ppt/slides/slide927.xml" ContentType="application/vnd.openxmlformats-officedocument.presentationml.slide+xml"/>
  <Override PartName="/ppt/slides/slide928.xml" ContentType="application/vnd.openxmlformats-officedocument.presentationml.slide+xml"/>
  <Override PartName="/ppt/slides/slide929.xml" ContentType="application/vnd.openxmlformats-officedocument.presentationml.slide+xml"/>
  <Override PartName="/ppt/slides/slide930.xml" ContentType="application/vnd.openxmlformats-officedocument.presentationml.slide+xml"/>
  <Override PartName="/ppt/slides/slide931.xml" ContentType="application/vnd.openxmlformats-officedocument.presentationml.slide+xml"/>
  <Override PartName="/ppt/slides/slide932.xml" ContentType="application/vnd.openxmlformats-officedocument.presentationml.slide+xml"/>
  <Override PartName="/ppt/slides/slide933.xml" ContentType="application/vnd.openxmlformats-officedocument.presentationml.slide+xml"/>
  <Override PartName="/ppt/slides/slide934.xml" ContentType="application/vnd.openxmlformats-officedocument.presentationml.slide+xml"/>
  <Override PartName="/ppt/slides/slide935.xml" ContentType="application/vnd.openxmlformats-officedocument.presentationml.slide+xml"/>
  <Override PartName="/ppt/slides/slide936.xml" ContentType="application/vnd.openxmlformats-officedocument.presentationml.slide+xml"/>
  <Override PartName="/ppt/slides/slide937.xml" ContentType="application/vnd.openxmlformats-officedocument.presentationml.slide+xml"/>
  <Override PartName="/ppt/slides/slide938.xml" ContentType="application/vnd.openxmlformats-officedocument.presentationml.slide+xml"/>
  <Override PartName="/ppt/slides/slide939.xml" ContentType="application/vnd.openxmlformats-officedocument.presentationml.slide+xml"/>
  <Override PartName="/ppt/slides/slide940.xml" ContentType="application/vnd.openxmlformats-officedocument.presentationml.slide+xml"/>
  <Override PartName="/ppt/slides/slide941.xml" ContentType="application/vnd.openxmlformats-officedocument.presentationml.slide+xml"/>
  <Override PartName="/ppt/slides/slide942.xml" ContentType="application/vnd.openxmlformats-officedocument.presentationml.slide+xml"/>
  <Override PartName="/ppt/slides/slide943.xml" ContentType="application/vnd.openxmlformats-officedocument.presentationml.slide+xml"/>
  <Override PartName="/ppt/slides/slide944.xml" ContentType="application/vnd.openxmlformats-officedocument.presentationml.slide+xml"/>
  <Override PartName="/ppt/slides/slide945.xml" ContentType="application/vnd.openxmlformats-officedocument.presentationml.slide+xml"/>
  <Override PartName="/ppt/slides/slide946.xml" ContentType="application/vnd.openxmlformats-officedocument.presentationml.slide+xml"/>
  <Override PartName="/ppt/slides/slide947.xml" ContentType="application/vnd.openxmlformats-officedocument.presentationml.slide+xml"/>
  <Override PartName="/ppt/slides/slide948.xml" ContentType="application/vnd.openxmlformats-officedocument.presentationml.slide+xml"/>
  <Override PartName="/ppt/slides/slide949.xml" ContentType="application/vnd.openxmlformats-officedocument.presentationml.slide+xml"/>
  <Override PartName="/ppt/slides/slide950.xml" ContentType="application/vnd.openxmlformats-officedocument.presentationml.slide+xml"/>
  <Override PartName="/ppt/slides/slide951.xml" ContentType="application/vnd.openxmlformats-officedocument.presentationml.slide+xml"/>
  <Override PartName="/ppt/slides/slide952.xml" ContentType="application/vnd.openxmlformats-officedocument.presentationml.slide+xml"/>
  <Override PartName="/ppt/slides/slide953.xml" ContentType="application/vnd.openxmlformats-officedocument.presentationml.slide+xml"/>
  <Override PartName="/ppt/slides/slide954.xml" ContentType="application/vnd.openxmlformats-officedocument.presentationml.slide+xml"/>
  <Override PartName="/ppt/slides/slide955.xml" ContentType="application/vnd.openxmlformats-officedocument.presentationml.slide+xml"/>
  <Override PartName="/ppt/slides/slide956.xml" ContentType="application/vnd.openxmlformats-officedocument.presentationml.slide+xml"/>
  <Override PartName="/ppt/slides/slide957.xml" ContentType="application/vnd.openxmlformats-officedocument.presentationml.slide+xml"/>
  <Override PartName="/ppt/slides/slide958.xml" ContentType="application/vnd.openxmlformats-officedocument.presentationml.slide+xml"/>
  <Override PartName="/ppt/slides/slide959.xml" ContentType="application/vnd.openxmlformats-officedocument.presentationml.slide+xml"/>
  <Override PartName="/ppt/slides/slide960.xml" ContentType="application/vnd.openxmlformats-officedocument.presentationml.slide+xml"/>
  <Override PartName="/ppt/slides/slide961.xml" ContentType="application/vnd.openxmlformats-officedocument.presentationml.slide+xml"/>
  <Override PartName="/ppt/slides/slide962.xml" ContentType="application/vnd.openxmlformats-officedocument.presentationml.slide+xml"/>
  <Override PartName="/ppt/slides/slide963.xml" ContentType="application/vnd.openxmlformats-officedocument.presentationml.slide+xml"/>
  <Override PartName="/ppt/slides/slide964.xml" ContentType="application/vnd.openxmlformats-officedocument.presentationml.slide+xml"/>
  <Override PartName="/ppt/slides/slide965.xml" ContentType="application/vnd.openxmlformats-officedocument.presentationml.slide+xml"/>
  <Override PartName="/ppt/slides/slide966.xml" ContentType="application/vnd.openxmlformats-officedocument.presentationml.slide+xml"/>
  <Override PartName="/ppt/slides/slide967.xml" ContentType="application/vnd.openxmlformats-officedocument.presentationml.slide+xml"/>
  <Override PartName="/ppt/slides/slide968.xml" ContentType="application/vnd.openxmlformats-officedocument.presentationml.slide+xml"/>
  <Override PartName="/ppt/slides/slide969.xml" ContentType="application/vnd.openxmlformats-officedocument.presentationml.slide+xml"/>
  <Override PartName="/ppt/slides/slide970.xml" ContentType="application/vnd.openxmlformats-officedocument.presentationml.slide+xml"/>
  <Override PartName="/ppt/slides/slide971.xml" ContentType="application/vnd.openxmlformats-officedocument.presentationml.slide+xml"/>
  <Override PartName="/ppt/slides/slide972.xml" ContentType="application/vnd.openxmlformats-officedocument.presentationml.slide+xml"/>
  <Override PartName="/ppt/slides/slide973.xml" ContentType="application/vnd.openxmlformats-officedocument.presentationml.slide+xml"/>
  <Override PartName="/ppt/slides/slide974.xml" ContentType="application/vnd.openxmlformats-officedocument.presentationml.slide+xml"/>
  <Override PartName="/ppt/slides/slide975.xml" ContentType="application/vnd.openxmlformats-officedocument.presentationml.slide+xml"/>
  <Override PartName="/ppt/slides/slide976.xml" ContentType="application/vnd.openxmlformats-officedocument.presentationml.slide+xml"/>
  <Override PartName="/ppt/slides/slide977.xml" ContentType="application/vnd.openxmlformats-officedocument.presentationml.slide+xml"/>
  <Override PartName="/ppt/slides/slide978.xml" ContentType="application/vnd.openxmlformats-officedocument.presentationml.slide+xml"/>
  <Override PartName="/ppt/slides/slide979.xml" ContentType="application/vnd.openxmlformats-officedocument.presentationml.slide+xml"/>
  <Override PartName="/ppt/slides/slide980.xml" ContentType="application/vnd.openxmlformats-officedocument.presentationml.slide+xml"/>
  <Override PartName="/ppt/slides/slide981.xml" ContentType="application/vnd.openxmlformats-officedocument.presentationml.slide+xml"/>
  <Override PartName="/ppt/slides/slide982.xml" ContentType="application/vnd.openxmlformats-officedocument.presentationml.slide+xml"/>
  <Override PartName="/ppt/slides/slide983.xml" ContentType="application/vnd.openxmlformats-officedocument.presentationml.slide+xml"/>
  <Override PartName="/ppt/slides/slide984.xml" ContentType="application/vnd.openxmlformats-officedocument.presentationml.slide+xml"/>
  <Override PartName="/ppt/slides/slide985.xml" ContentType="application/vnd.openxmlformats-officedocument.presentationml.slide+xml"/>
  <Override PartName="/ppt/slides/slide986.xml" ContentType="application/vnd.openxmlformats-officedocument.presentationml.slide+xml"/>
  <Override PartName="/ppt/slides/slide987.xml" ContentType="application/vnd.openxmlformats-officedocument.presentationml.slide+xml"/>
  <Override PartName="/ppt/slides/slide988.xml" ContentType="application/vnd.openxmlformats-officedocument.presentationml.slide+xml"/>
  <Override PartName="/ppt/slides/slide989.xml" ContentType="application/vnd.openxmlformats-officedocument.presentationml.slide+xml"/>
  <Override PartName="/ppt/slides/slide990.xml" ContentType="application/vnd.openxmlformats-officedocument.presentationml.slide+xml"/>
  <Override PartName="/ppt/slides/slide991.xml" ContentType="application/vnd.openxmlformats-officedocument.presentationml.slide+xml"/>
  <Override PartName="/ppt/slides/slide992.xml" ContentType="application/vnd.openxmlformats-officedocument.presentationml.slide+xml"/>
  <Override PartName="/ppt/slides/slide993.xml" ContentType="application/vnd.openxmlformats-officedocument.presentationml.slide+xml"/>
  <Override PartName="/ppt/slides/slide994.xml" ContentType="application/vnd.openxmlformats-officedocument.presentationml.slide+xml"/>
  <Override PartName="/ppt/slides/slide995.xml" ContentType="application/vnd.openxmlformats-officedocument.presentationml.slide+xml"/>
  <Override PartName="/ppt/slides/slide996.xml" ContentType="application/vnd.openxmlformats-officedocument.presentationml.slide+xml"/>
  <Override PartName="/ppt/slides/slide997.xml" ContentType="application/vnd.openxmlformats-officedocument.presentationml.slide+xml"/>
  <Override PartName="/ppt/slides/slide998.xml" ContentType="application/vnd.openxmlformats-officedocument.presentationml.slide+xml"/>
  <Override PartName="/ppt/slides/slide999.xml" ContentType="application/vnd.openxmlformats-officedocument.presentationml.slide+xml"/>
  <Override PartName="/ppt/slides/slide1000.xml" ContentType="application/vnd.openxmlformats-officedocument.presentationml.slide+xml"/>
  <Override PartName="/ppt/slides/slide1001.xml" ContentType="application/vnd.openxmlformats-officedocument.presentationml.slide+xml"/>
  <Override PartName="/ppt/slides/slide1002.xml" ContentType="application/vnd.openxmlformats-officedocument.presentationml.slide+xml"/>
  <Override PartName="/ppt/slides/slide1003.xml" ContentType="application/vnd.openxmlformats-officedocument.presentationml.slide+xml"/>
  <Override PartName="/ppt/slides/slide1004.xml" ContentType="application/vnd.openxmlformats-officedocument.presentationml.slide+xml"/>
  <Override PartName="/ppt/slides/slide1005.xml" ContentType="application/vnd.openxmlformats-officedocument.presentationml.slide+xml"/>
  <Override PartName="/ppt/slides/slide1006.xml" ContentType="application/vnd.openxmlformats-officedocument.presentationml.slide+xml"/>
  <Override PartName="/ppt/slides/slide1007.xml" ContentType="application/vnd.openxmlformats-officedocument.presentationml.slide+xml"/>
  <Override PartName="/ppt/slides/slide1008.xml" ContentType="application/vnd.openxmlformats-officedocument.presentationml.slide+xml"/>
  <Override PartName="/ppt/slides/slide1009.xml" ContentType="application/vnd.openxmlformats-officedocument.presentationml.slide+xml"/>
  <Override PartName="/ppt/slides/slide1010.xml" ContentType="application/vnd.openxmlformats-officedocument.presentationml.slide+xml"/>
  <Override PartName="/ppt/slides/slide1011.xml" ContentType="application/vnd.openxmlformats-officedocument.presentationml.slide+xml"/>
  <Override PartName="/ppt/slides/slide1012.xml" ContentType="application/vnd.openxmlformats-officedocument.presentationml.slide+xml"/>
  <Override PartName="/ppt/slides/slide1013.xml" ContentType="application/vnd.openxmlformats-officedocument.presentationml.slide+xml"/>
  <Override PartName="/ppt/slides/slide1014.xml" ContentType="application/vnd.openxmlformats-officedocument.presentationml.slide+xml"/>
  <Override PartName="/ppt/slides/slide1015.xml" ContentType="application/vnd.openxmlformats-officedocument.presentationml.slide+xml"/>
  <Override PartName="/ppt/slides/slide1016.xml" ContentType="application/vnd.openxmlformats-officedocument.presentationml.slide+xml"/>
  <Override PartName="/ppt/slides/slide1017.xml" ContentType="application/vnd.openxmlformats-officedocument.presentationml.slide+xml"/>
  <Override PartName="/ppt/slides/slide1018.xml" ContentType="application/vnd.openxmlformats-officedocument.presentationml.slide+xml"/>
  <Override PartName="/ppt/slides/slide1019.xml" ContentType="application/vnd.openxmlformats-officedocument.presentationml.slide+xml"/>
  <Override PartName="/ppt/slides/slide1020.xml" ContentType="application/vnd.openxmlformats-officedocument.presentationml.slide+xml"/>
  <Override PartName="/ppt/slides/slide1021.xml" ContentType="application/vnd.openxmlformats-officedocument.presentationml.slide+xml"/>
  <Override PartName="/ppt/slides/slide1022.xml" ContentType="application/vnd.openxmlformats-officedocument.presentationml.slide+xml"/>
  <Override PartName="/ppt/slides/slide1023.xml" ContentType="application/vnd.openxmlformats-officedocument.presentationml.slide+xml"/>
  <Override PartName="/ppt/slides/slide1024.xml" ContentType="application/vnd.openxmlformats-officedocument.presentationml.slide+xml"/>
  <Override PartName="/ppt/slides/slide1025.xml" ContentType="application/vnd.openxmlformats-officedocument.presentationml.slide+xml"/>
  <Override PartName="/ppt/slides/slide1026.xml" ContentType="application/vnd.openxmlformats-officedocument.presentationml.slide+xml"/>
  <Override PartName="/ppt/slides/slide1027.xml" ContentType="application/vnd.openxmlformats-officedocument.presentationml.slide+xml"/>
  <Override PartName="/ppt/slides/slide1028.xml" ContentType="application/vnd.openxmlformats-officedocument.presentationml.slide+xml"/>
  <Override PartName="/ppt/slides/slide1029.xml" ContentType="application/vnd.openxmlformats-officedocument.presentationml.slide+xml"/>
  <Override PartName="/ppt/slides/slide1030.xml" ContentType="application/vnd.openxmlformats-officedocument.presentationml.slide+xml"/>
  <Override PartName="/ppt/slides/slide1031.xml" ContentType="application/vnd.openxmlformats-officedocument.presentationml.slide+xml"/>
  <Override PartName="/ppt/slides/slide1032.xml" ContentType="application/vnd.openxmlformats-officedocument.presentationml.slide+xml"/>
  <Override PartName="/ppt/slides/slide1033.xml" ContentType="application/vnd.openxmlformats-officedocument.presentationml.slide+xml"/>
  <Override PartName="/ppt/slides/slide1034.xml" ContentType="application/vnd.openxmlformats-officedocument.presentationml.slide+xml"/>
  <Override PartName="/ppt/slides/slide1035.xml" ContentType="application/vnd.openxmlformats-officedocument.presentationml.slide+xml"/>
  <Override PartName="/ppt/slides/slide1036.xml" ContentType="application/vnd.openxmlformats-officedocument.presentationml.slide+xml"/>
  <Override PartName="/ppt/slides/slide1037.xml" ContentType="application/vnd.openxmlformats-officedocument.presentationml.slide+xml"/>
  <Override PartName="/ppt/slides/slide1038.xml" ContentType="application/vnd.openxmlformats-officedocument.presentationml.slide+xml"/>
  <Override PartName="/ppt/slides/slide1039.xml" ContentType="application/vnd.openxmlformats-officedocument.presentationml.slide+xml"/>
  <Override PartName="/ppt/slides/slide1040.xml" ContentType="application/vnd.openxmlformats-officedocument.presentationml.slide+xml"/>
  <Override PartName="/ppt/slides/slide1041.xml" ContentType="application/vnd.openxmlformats-officedocument.presentationml.slide+xml"/>
  <Override PartName="/ppt/slides/slide1042.xml" ContentType="application/vnd.openxmlformats-officedocument.presentationml.slide+xml"/>
  <Override PartName="/ppt/slides/slide1043.xml" ContentType="application/vnd.openxmlformats-officedocument.presentationml.slide+xml"/>
  <Override PartName="/ppt/slides/slide1044.xml" ContentType="application/vnd.openxmlformats-officedocument.presentationml.slide+xml"/>
  <Override PartName="/ppt/slides/slide1045.xml" ContentType="application/vnd.openxmlformats-officedocument.presentationml.slide+xml"/>
  <Override PartName="/ppt/slides/slide1046.xml" ContentType="application/vnd.openxmlformats-officedocument.presentationml.slide+xml"/>
  <Override PartName="/ppt/slides/slide1047.xml" ContentType="application/vnd.openxmlformats-officedocument.presentationml.slide+xml"/>
  <Override PartName="/ppt/slides/slide1048.xml" ContentType="application/vnd.openxmlformats-officedocument.presentationml.slide+xml"/>
  <Override PartName="/ppt/slides/slide1049.xml" ContentType="application/vnd.openxmlformats-officedocument.presentationml.slide+xml"/>
  <Override PartName="/ppt/slides/slide1050.xml" ContentType="application/vnd.openxmlformats-officedocument.presentationml.slide+xml"/>
  <Override PartName="/ppt/slides/slide1051.xml" ContentType="application/vnd.openxmlformats-officedocument.presentationml.slide+xml"/>
  <Override PartName="/ppt/slides/slide1052.xml" ContentType="application/vnd.openxmlformats-officedocument.presentationml.slide+xml"/>
  <Override PartName="/ppt/slides/slide1053.xml" ContentType="application/vnd.openxmlformats-officedocument.presentationml.slide+xml"/>
  <Override PartName="/ppt/slides/slide1054.xml" ContentType="application/vnd.openxmlformats-officedocument.presentationml.slide+xml"/>
  <Override PartName="/ppt/slides/slide1055.xml" ContentType="application/vnd.openxmlformats-officedocument.presentationml.slide+xml"/>
  <Override PartName="/ppt/slides/slide1056.xml" ContentType="application/vnd.openxmlformats-officedocument.presentationml.slide+xml"/>
  <Override PartName="/ppt/slides/slide1057.xml" ContentType="application/vnd.openxmlformats-officedocument.presentationml.slide+xml"/>
  <Override PartName="/ppt/slides/slide1058.xml" ContentType="application/vnd.openxmlformats-officedocument.presentationml.slide+xml"/>
  <Override PartName="/ppt/slides/slide1059.xml" ContentType="application/vnd.openxmlformats-officedocument.presentationml.slide+xml"/>
  <Override PartName="/ppt/slides/slide1060.xml" ContentType="application/vnd.openxmlformats-officedocument.presentationml.slide+xml"/>
  <Override PartName="/ppt/slides/slide1061.xml" ContentType="application/vnd.openxmlformats-officedocument.presentationml.slide+xml"/>
  <Override PartName="/ppt/slides/slide1062.xml" ContentType="application/vnd.openxmlformats-officedocument.presentationml.slide+xml"/>
  <Override PartName="/ppt/slides/slide1063.xml" ContentType="application/vnd.openxmlformats-officedocument.presentationml.slide+xml"/>
  <Override PartName="/ppt/slides/slide1064.xml" ContentType="application/vnd.openxmlformats-officedocument.presentationml.slide+xml"/>
  <Override PartName="/ppt/slides/slide1065.xml" ContentType="application/vnd.openxmlformats-officedocument.presentationml.slide+xml"/>
  <Override PartName="/ppt/slides/slide1066.xml" ContentType="application/vnd.openxmlformats-officedocument.presentationml.slide+xml"/>
  <Override PartName="/ppt/slides/slide1067.xml" ContentType="application/vnd.openxmlformats-officedocument.presentationml.slide+xml"/>
  <Override PartName="/ppt/slides/slide1068.xml" ContentType="application/vnd.openxmlformats-officedocument.presentationml.slide+xml"/>
  <Override PartName="/ppt/slides/slide1069.xml" ContentType="application/vnd.openxmlformats-officedocument.presentationml.slide+xml"/>
  <Override PartName="/ppt/slides/slide1070.xml" ContentType="application/vnd.openxmlformats-officedocument.presentationml.slide+xml"/>
  <Override PartName="/ppt/slides/slide1071.xml" ContentType="application/vnd.openxmlformats-officedocument.presentationml.slide+xml"/>
  <Override PartName="/ppt/slides/slide1072.xml" ContentType="application/vnd.openxmlformats-officedocument.presentationml.slide+xml"/>
  <Override PartName="/ppt/slides/slide1073.xml" ContentType="application/vnd.openxmlformats-officedocument.presentationml.slide+xml"/>
  <Override PartName="/ppt/slides/slide1074.xml" ContentType="application/vnd.openxmlformats-officedocument.presentationml.slide+xml"/>
  <Override PartName="/ppt/slides/slide1075.xml" ContentType="application/vnd.openxmlformats-officedocument.presentationml.slide+xml"/>
  <Override PartName="/ppt/slides/slide1076.xml" ContentType="application/vnd.openxmlformats-officedocument.presentationml.slide+xml"/>
  <Override PartName="/ppt/slides/slide1077.xml" ContentType="application/vnd.openxmlformats-officedocument.presentationml.slide+xml"/>
  <Override PartName="/ppt/slides/slide1078.xml" ContentType="application/vnd.openxmlformats-officedocument.presentationml.slide+xml"/>
  <Override PartName="/ppt/slides/slide1079.xml" ContentType="application/vnd.openxmlformats-officedocument.presentationml.slide+xml"/>
  <Override PartName="/ppt/slides/slide1080.xml" ContentType="application/vnd.openxmlformats-officedocument.presentationml.slide+xml"/>
  <Override PartName="/ppt/slides/slide1081.xml" ContentType="application/vnd.openxmlformats-officedocument.presentationml.slide+xml"/>
  <Override PartName="/ppt/slides/slide1082.xml" ContentType="application/vnd.openxmlformats-officedocument.presentationml.slide+xml"/>
  <Override PartName="/ppt/slides/slide1083.xml" ContentType="application/vnd.openxmlformats-officedocument.presentationml.slide+xml"/>
  <Override PartName="/ppt/slides/slide1084.xml" ContentType="application/vnd.openxmlformats-officedocument.presentationml.slide+xml"/>
  <Override PartName="/ppt/slides/slide1085.xml" ContentType="application/vnd.openxmlformats-officedocument.presentationml.slide+xml"/>
  <Override PartName="/ppt/slides/slide1086.xml" ContentType="application/vnd.openxmlformats-officedocument.presentationml.slide+xml"/>
  <Override PartName="/ppt/slides/slide1087.xml" ContentType="application/vnd.openxmlformats-officedocument.presentationml.slide+xml"/>
  <Override PartName="/ppt/slides/slide1088.xml" ContentType="application/vnd.openxmlformats-officedocument.presentationml.slide+xml"/>
  <Override PartName="/ppt/slides/slide1089.xml" ContentType="application/vnd.openxmlformats-officedocument.presentationml.slide+xml"/>
  <Override PartName="/ppt/slides/slide1090.xml" ContentType="application/vnd.openxmlformats-officedocument.presentationml.slide+xml"/>
  <Override PartName="/ppt/slides/slide1091.xml" ContentType="application/vnd.openxmlformats-officedocument.presentationml.slide+xml"/>
  <Override PartName="/ppt/slides/slide1092.xml" ContentType="application/vnd.openxmlformats-officedocument.presentationml.slide+xml"/>
  <Override PartName="/ppt/slides/slide1093.xml" ContentType="application/vnd.openxmlformats-officedocument.presentationml.slide+xml"/>
  <Override PartName="/ppt/slides/slide1094.xml" ContentType="application/vnd.openxmlformats-officedocument.presentationml.slide+xml"/>
  <Override PartName="/ppt/slides/slide1095.xml" ContentType="application/vnd.openxmlformats-officedocument.presentationml.slide+xml"/>
  <Override PartName="/ppt/slides/slide1096.xml" ContentType="application/vnd.openxmlformats-officedocument.presentationml.slide+xml"/>
  <Override PartName="/ppt/slides/slide1097.xml" ContentType="application/vnd.openxmlformats-officedocument.presentationml.slide+xml"/>
  <Override PartName="/ppt/slides/slide1098.xml" ContentType="application/vnd.openxmlformats-officedocument.presentationml.slide+xml"/>
  <Override PartName="/ppt/slides/slide1099.xml" ContentType="application/vnd.openxmlformats-officedocument.presentationml.slide+xml"/>
  <Override PartName="/ppt/slides/slide1100.xml" ContentType="application/vnd.openxmlformats-officedocument.presentationml.slide+xml"/>
  <Override PartName="/ppt/slides/slide1101.xml" ContentType="application/vnd.openxmlformats-officedocument.presentationml.slide+xml"/>
  <Override PartName="/ppt/slides/slide1102.xml" ContentType="application/vnd.openxmlformats-officedocument.presentationml.slide+xml"/>
  <Override PartName="/ppt/slides/slide1103.xml" ContentType="application/vnd.openxmlformats-officedocument.presentationml.slide+xml"/>
  <Override PartName="/ppt/slides/slide1104.xml" ContentType="application/vnd.openxmlformats-officedocument.presentationml.slide+xml"/>
  <Override PartName="/ppt/slides/slide1105.xml" ContentType="application/vnd.openxmlformats-officedocument.presentationml.slide+xml"/>
  <Override PartName="/ppt/slides/slide1106.xml" ContentType="application/vnd.openxmlformats-officedocument.presentationml.slide+xml"/>
  <Override PartName="/ppt/slides/slide1107.xml" ContentType="application/vnd.openxmlformats-officedocument.presentationml.slide+xml"/>
  <Override PartName="/ppt/slides/slide1108.xml" ContentType="application/vnd.openxmlformats-officedocument.presentationml.slide+xml"/>
  <Override PartName="/ppt/slides/slide1109.xml" ContentType="application/vnd.openxmlformats-officedocument.presentationml.slide+xml"/>
  <Override PartName="/ppt/slides/slide1110.xml" ContentType="application/vnd.openxmlformats-officedocument.presentationml.slide+xml"/>
  <Override PartName="/ppt/slides/slide1111.xml" ContentType="application/vnd.openxmlformats-officedocument.presentationml.slide+xml"/>
  <Override PartName="/ppt/slides/slide1112.xml" ContentType="application/vnd.openxmlformats-officedocument.presentationml.slide+xml"/>
  <Override PartName="/ppt/slides/slide1113.xml" ContentType="application/vnd.openxmlformats-officedocument.presentationml.slide+xml"/>
  <Override PartName="/ppt/slides/slide1114.xml" ContentType="application/vnd.openxmlformats-officedocument.presentationml.slide+xml"/>
  <Override PartName="/ppt/slides/slide1115.xml" ContentType="application/vnd.openxmlformats-officedocument.presentationml.slide+xml"/>
  <Override PartName="/ppt/slides/slide1116.xml" ContentType="application/vnd.openxmlformats-officedocument.presentationml.slide+xml"/>
  <Override PartName="/ppt/slides/slide1117.xml" ContentType="application/vnd.openxmlformats-officedocument.presentationml.slide+xml"/>
  <Override PartName="/ppt/slides/slide1118.xml" ContentType="application/vnd.openxmlformats-officedocument.presentationml.slide+xml"/>
  <Override PartName="/ppt/slides/slide1119.xml" ContentType="application/vnd.openxmlformats-officedocument.presentationml.slide+xml"/>
  <Override PartName="/ppt/slides/slide1120.xml" ContentType="application/vnd.openxmlformats-officedocument.presentationml.slide+xml"/>
  <Override PartName="/ppt/slides/slide1121.xml" ContentType="application/vnd.openxmlformats-officedocument.presentationml.slide+xml"/>
  <Override PartName="/ppt/slides/slide1122.xml" ContentType="application/vnd.openxmlformats-officedocument.presentationml.slide+xml"/>
  <Override PartName="/ppt/slides/slide1123.xml" ContentType="application/vnd.openxmlformats-officedocument.presentationml.slide+xml"/>
  <Override PartName="/ppt/slides/slide1124.xml" ContentType="application/vnd.openxmlformats-officedocument.presentationml.slide+xml"/>
  <Override PartName="/ppt/slides/slide1125.xml" ContentType="application/vnd.openxmlformats-officedocument.presentationml.slide+xml"/>
  <Override PartName="/ppt/slides/slide1126.xml" ContentType="application/vnd.openxmlformats-officedocument.presentationml.slide+xml"/>
  <Override PartName="/ppt/slides/slide1127.xml" ContentType="application/vnd.openxmlformats-officedocument.presentationml.slide+xml"/>
  <Override PartName="/ppt/slides/slide1128.xml" ContentType="application/vnd.openxmlformats-officedocument.presentationml.slide+xml"/>
  <Override PartName="/ppt/slides/slide1129.xml" ContentType="application/vnd.openxmlformats-officedocument.presentationml.slide+xml"/>
  <Override PartName="/ppt/slides/slide1130.xml" ContentType="application/vnd.openxmlformats-officedocument.presentationml.slide+xml"/>
  <Override PartName="/ppt/slides/slide1131.xml" ContentType="application/vnd.openxmlformats-officedocument.presentationml.slide+xml"/>
  <Override PartName="/ppt/slides/slide1132.xml" ContentType="application/vnd.openxmlformats-officedocument.presentationml.slide+xml"/>
  <Override PartName="/ppt/slides/slide1133.xml" ContentType="application/vnd.openxmlformats-officedocument.presentationml.slide+xml"/>
  <Override PartName="/ppt/slides/slide1134.xml" ContentType="application/vnd.openxmlformats-officedocument.presentationml.slide+xml"/>
  <Override PartName="/ppt/slides/slide1135.xml" ContentType="application/vnd.openxmlformats-officedocument.presentationml.slide+xml"/>
  <Override PartName="/ppt/slides/slide1136.xml" ContentType="application/vnd.openxmlformats-officedocument.presentationml.slide+xml"/>
  <Override PartName="/ppt/slides/slide1137.xml" ContentType="application/vnd.openxmlformats-officedocument.presentationml.slide+xml"/>
  <Override PartName="/ppt/slides/slide1138.xml" ContentType="application/vnd.openxmlformats-officedocument.presentationml.slide+xml"/>
  <Override PartName="/ppt/slides/slide1139.xml" ContentType="application/vnd.openxmlformats-officedocument.presentationml.slide+xml"/>
  <Override PartName="/ppt/slides/slide1140.xml" ContentType="application/vnd.openxmlformats-officedocument.presentationml.slide+xml"/>
  <Override PartName="/ppt/slides/slide1141.xml" ContentType="application/vnd.openxmlformats-officedocument.presentationml.slide+xml"/>
  <Override PartName="/ppt/slides/slide1142.xml" ContentType="application/vnd.openxmlformats-officedocument.presentationml.slide+xml"/>
  <Override PartName="/ppt/slides/slide1143.xml" ContentType="application/vnd.openxmlformats-officedocument.presentationml.slide+xml"/>
  <Override PartName="/ppt/slides/slide1144.xml" ContentType="application/vnd.openxmlformats-officedocument.presentationml.slide+xml"/>
  <Override PartName="/ppt/slides/slide1145.xml" ContentType="application/vnd.openxmlformats-officedocument.presentationml.slide+xml"/>
  <Override PartName="/ppt/slides/slide1146.xml" ContentType="application/vnd.openxmlformats-officedocument.presentationml.slide+xml"/>
  <Override PartName="/ppt/slides/slide1147.xml" ContentType="application/vnd.openxmlformats-officedocument.presentationml.slide+xml"/>
  <Override PartName="/ppt/slides/slide1148.xml" ContentType="application/vnd.openxmlformats-officedocument.presentationml.slide+xml"/>
  <Override PartName="/ppt/slides/slide1149.xml" ContentType="application/vnd.openxmlformats-officedocument.presentationml.slide+xml"/>
  <Override PartName="/ppt/slides/slide1150.xml" ContentType="application/vnd.openxmlformats-officedocument.presentationml.slide+xml"/>
  <Override PartName="/ppt/slides/slide1151.xml" ContentType="application/vnd.openxmlformats-officedocument.presentationml.slide+xml"/>
  <Override PartName="/ppt/slides/slide1152.xml" ContentType="application/vnd.openxmlformats-officedocument.presentationml.slide+xml"/>
  <Override PartName="/ppt/slides/slide1153.xml" ContentType="application/vnd.openxmlformats-officedocument.presentationml.slide+xml"/>
  <Override PartName="/ppt/slides/slide1154.xml" ContentType="application/vnd.openxmlformats-officedocument.presentationml.slide+xml"/>
  <Override PartName="/ppt/slides/slide1155.xml" ContentType="application/vnd.openxmlformats-officedocument.presentationml.slide+xml"/>
  <Override PartName="/ppt/slides/slide1156.xml" ContentType="application/vnd.openxmlformats-officedocument.presentationml.slide+xml"/>
  <Override PartName="/ppt/slides/slide1157.xml" ContentType="application/vnd.openxmlformats-officedocument.presentationml.slide+xml"/>
  <Override PartName="/ppt/slides/slide1158.xml" ContentType="application/vnd.openxmlformats-officedocument.presentationml.slide+xml"/>
  <Override PartName="/ppt/slides/slide1159.xml" ContentType="application/vnd.openxmlformats-officedocument.presentationml.slide+xml"/>
  <Override PartName="/ppt/slides/slide1160.xml" ContentType="application/vnd.openxmlformats-officedocument.presentationml.slide+xml"/>
  <Override PartName="/ppt/slides/slide1161.xml" ContentType="application/vnd.openxmlformats-officedocument.presentationml.slide+xml"/>
  <Override PartName="/ppt/slides/slide1162.xml" ContentType="application/vnd.openxmlformats-officedocument.presentationml.slide+xml"/>
  <Override PartName="/ppt/slides/slide1163.xml" ContentType="application/vnd.openxmlformats-officedocument.presentationml.slide+xml"/>
  <Override PartName="/ppt/slides/slide116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heme/theme2.xml" ContentType="application/vnd.openxmlformats-officedocument.theme+xml"/>
  <Override PartName="/ppt/tags/tag28.xml" ContentType="application/vnd.openxmlformats-officedocument.presentationml.tags+xml"/>
  <Override PartName="/ppt/charts/chart1.xml" ContentType="application/vnd.openxmlformats-officedocument.drawingml.chart+xml"/>
  <Override PartName="/ppt/tags/tag29.xml" ContentType="application/vnd.openxmlformats-officedocument.presentationml.tags+xml"/>
  <Override PartName="/ppt/charts/chart2.xml" ContentType="application/vnd.openxmlformats-officedocument.drawingml.chart+xml"/>
  <Override PartName="/ppt/tags/tag30.xml" ContentType="application/vnd.openxmlformats-officedocument.presentationml.tags+xml"/>
  <Override PartName="/ppt/charts/chart3.xml" ContentType="application/vnd.openxmlformats-officedocument.drawingml.chart+xml"/>
  <Override PartName="/ppt/tags/tag31.xml" ContentType="application/vnd.openxmlformats-officedocument.presentationml.tags+xml"/>
  <Override PartName="/ppt/charts/chart4.xml" ContentType="application/vnd.openxmlformats-officedocument.drawingml.chart+xml"/>
  <Override PartName="/ppt/tags/tag32.xml" ContentType="application/vnd.openxmlformats-officedocument.presentationml.tags+xml"/>
  <Override PartName="/ppt/charts/chart5.xml" ContentType="application/vnd.openxmlformats-officedocument.drawingml.chart+xml"/>
  <Override PartName="/ppt/tags/tag33.xml" ContentType="application/vnd.openxmlformats-officedocument.presentationml.tags+xml"/>
  <Override PartName="/ppt/charts/chart6.xml" ContentType="application/vnd.openxmlformats-officedocument.drawingml.chart+xml"/>
  <Override PartName="/ppt/tags/tag34.xml" ContentType="application/vnd.openxmlformats-officedocument.presentationml.tags+xml"/>
  <Override PartName="/ppt/charts/chart7.xml" ContentType="application/vnd.openxmlformats-officedocument.drawingml.chart+xml"/>
  <Override PartName="/ppt/tags/tag35.xml" ContentType="application/vnd.openxmlformats-officedocument.presentationml.tags+xml"/>
  <Override PartName="/ppt/charts/chart8.xml" ContentType="application/vnd.openxmlformats-officedocument.drawingml.chart+xml"/>
  <Override PartName="/ppt/tags/tag36.xml" ContentType="application/vnd.openxmlformats-officedocument.presentationml.tags+xml"/>
  <Override PartName="/ppt/charts/chart9.xml" ContentType="application/vnd.openxmlformats-officedocument.drawingml.chart+xml"/>
  <Override PartName="/ppt/tags/tag37.xml" ContentType="application/vnd.openxmlformats-officedocument.presentationml.tags+xml"/>
  <Override PartName="/ppt/charts/chart10.xml" ContentType="application/vnd.openxmlformats-officedocument.drawingml.chart+xml"/>
  <Override PartName="/ppt/tags/tag38.xml" ContentType="application/vnd.openxmlformats-officedocument.presentationml.tags+xml"/>
  <Override PartName="/ppt/charts/chart11.xml" ContentType="application/vnd.openxmlformats-officedocument.drawingml.chart+xml"/>
  <Override PartName="/ppt/tags/tag39.xml" ContentType="application/vnd.openxmlformats-officedocument.presentationml.tags+xml"/>
  <Override PartName="/ppt/charts/chart12.xml" ContentType="application/vnd.openxmlformats-officedocument.drawingml.chart+xml"/>
  <Override PartName="/ppt/tags/tag40.xml" ContentType="application/vnd.openxmlformats-officedocument.presentationml.tags+xml"/>
  <Override PartName="/ppt/charts/chart13.xml" ContentType="application/vnd.openxmlformats-officedocument.drawingml.chart+xml"/>
  <Override PartName="/ppt/tags/tag41.xml" ContentType="application/vnd.openxmlformats-officedocument.presentationml.tags+xml"/>
  <Override PartName="/ppt/charts/chart14.xml" ContentType="application/vnd.openxmlformats-officedocument.drawingml.chart+xml"/>
  <Override PartName="/ppt/tags/tag42.xml" ContentType="application/vnd.openxmlformats-officedocument.presentationml.tags+xml"/>
  <Override PartName="/ppt/charts/chart15.xml" ContentType="application/vnd.openxmlformats-officedocument.drawingml.chart+xml"/>
  <Override PartName="/ppt/tags/tag43.xml" ContentType="application/vnd.openxmlformats-officedocument.presentationml.tags+xml"/>
  <Override PartName="/ppt/charts/chart16.xml" ContentType="application/vnd.openxmlformats-officedocument.drawingml.chart+xml"/>
  <Override PartName="/ppt/tags/tag44.xml" ContentType="application/vnd.openxmlformats-officedocument.presentationml.tags+xml"/>
  <Override PartName="/ppt/charts/chart17.xml" ContentType="application/vnd.openxmlformats-officedocument.drawingml.chart+xml"/>
  <Override PartName="/ppt/tags/tag45.xml" ContentType="application/vnd.openxmlformats-officedocument.presentationml.tags+xml"/>
  <Override PartName="/ppt/charts/chart18.xml" ContentType="application/vnd.openxmlformats-officedocument.drawingml.chart+xml"/>
  <Override PartName="/ppt/tags/tag46.xml" ContentType="application/vnd.openxmlformats-officedocument.presentationml.tags+xml"/>
  <Override PartName="/ppt/charts/chart19.xml" ContentType="application/vnd.openxmlformats-officedocument.drawingml.chart+xml"/>
  <Override PartName="/ppt/tags/tag47.xml" ContentType="application/vnd.openxmlformats-officedocument.presentationml.tags+xml"/>
  <Override PartName="/ppt/charts/chart20.xml" ContentType="application/vnd.openxmlformats-officedocument.drawingml.chart+xml"/>
  <Override PartName="/ppt/tags/tag48.xml" ContentType="application/vnd.openxmlformats-officedocument.presentationml.tags+xml"/>
  <Override PartName="/ppt/charts/chart21.xml" ContentType="application/vnd.openxmlformats-officedocument.drawingml.chart+xml"/>
  <Override PartName="/ppt/tags/tag49.xml" ContentType="application/vnd.openxmlformats-officedocument.presentationml.tags+xml"/>
  <Override PartName="/ppt/charts/chart22.xml" ContentType="application/vnd.openxmlformats-officedocument.drawingml.chart+xml"/>
  <Override PartName="/ppt/tags/tag50.xml" ContentType="application/vnd.openxmlformats-officedocument.presentationml.tags+xml"/>
  <Override PartName="/ppt/charts/chart23.xml" ContentType="application/vnd.openxmlformats-officedocument.drawingml.chart+xml"/>
  <Override PartName="/ppt/tags/tag51.xml" ContentType="application/vnd.openxmlformats-officedocument.presentationml.tags+xml"/>
  <Override PartName="/ppt/charts/chart24.xml" ContentType="application/vnd.openxmlformats-officedocument.drawingml.chart+xml"/>
  <Override PartName="/ppt/tags/tag52.xml" ContentType="application/vnd.openxmlformats-officedocument.presentationml.tags+xml"/>
  <Override PartName="/ppt/charts/chart25.xml" ContentType="application/vnd.openxmlformats-officedocument.drawingml.chart+xml"/>
  <Override PartName="/ppt/tags/tag53.xml" ContentType="application/vnd.openxmlformats-officedocument.presentationml.tags+xml"/>
  <Override PartName="/ppt/charts/chart26.xml" ContentType="application/vnd.openxmlformats-officedocument.drawingml.chart+xml"/>
  <Override PartName="/ppt/tags/tag54.xml" ContentType="application/vnd.openxmlformats-officedocument.presentationml.tags+xml"/>
  <Override PartName="/ppt/charts/chart27.xml" ContentType="application/vnd.openxmlformats-officedocument.drawingml.chart+xml"/>
  <Override PartName="/ppt/tags/tag55.xml" ContentType="application/vnd.openxmlformats-officedocument.presentationml.tags+xml"/>
  <Override PartName="/ppt/charts/chart28.xml" ContentType="application/vnd.openxmlformats-officedocument.drawingml.chart+xml"/>
  <Override PartName="/ppt/tags/tag56.xml" ContentType="application/vnd.openxmlformats-officedocument.presentationml.tags+xml"/>
  <Override PartName="/ppt/charts/chart29.xml" ContentType="application/vnd.openxmlformats-officedocument.drawingml.chart+xml"/>
  <Override PartName="/ppt/tags/tag57.xml" ContentType="application/vnd.openxmlformats-officedocument.presentationml.tags+xml"/>
  <Override PartName="/ppt/charts/chart30.xml" ContentType="application/vnd.openxmlformats-officedocument.drawingml.chart+xml"/>
  <Override PartName="/ppt/tags/tag58.xml" ContentType="application/vnd.openxmlformats-officedocument.presentationml.tags+xml"/>
  <Override PartName="/ppt/charts/chart31.xml" ContentType="application/vnd.openxmlformats-officedocument.drawingml.chart+xml"/>
  <Override PartName="/ppt/tags/tag59.xml" ContentType="application/vnd.openxmlformats-officedocument.presentationml.tags+xml"/>
  <Override PartName="/ppt/charts/chart32.xml" ContentType="application/vnd.openxmlformats-officedocument.drawingml.chart+xml"/>
  <Override PartName="/ppt/tags/tag60.xml" ContentType="application/vnd.openxmlformats-officedocument.presentationml.tags+xml"/>
  <Override PartName="/ppt/charts/chart33.xml" ContentType="application/vnd.openxmlformats-officedocument.drawingml.chart+xml"/>
  <Override PartName="/ppt/tags/tag61.xml" ContentType="application/vnd.openxmlformats-officedocument.presentationml.tags+xml"/>
  <Override PartName="/ppt/charts/chart34.xml" ContentType="application/vnd.openxmlformats-officedocument.drawingml.chart+xml"/>
  <Override PartName="/ppt/tags/tag62.xml" ContentType="application/vnd.openxmlformats-officedocument.presentationml.tags+xml"/>
  <Override PartName="/ppt/charts/chart35.xml" ContentType="application/vnd.openxmlformats-officedocument.drawingml.chart+xml"/>
  <Override PartName="/ppt/tags/tag63.xml" ContentType="application/vnd.openxmlformats-officedocument.presentationml.tags+xml"/>
  <Override PartName="/ppt/charts/chart36.xml" ContentType="application/vnd.openxmlformats-officedocument.drawingml.chart+xml"/>
  <Override PartName="/ppt/tags/tag64.xml" ContentType="application/vnd.openxmlformats-officedocument.presentationml.tags+xml"/>
  <Override PartName="/ppt/charts/chart37.xml" ContentType="application/vnd.openxmlformats-officedocument.drawingml.chart+xml"/>
  <Override PartName="/ppt/tags/tag65.xml" ContentType="application/vnd.openxmlformats-officedocument.presentationml.tags+xml"/>
  <Override PartName="/ppt/charts/chart38.xml" ContentType="application/vnd.openxmlformats-officedocument.drawingml.chart+xml"/>
  <Override PartName="/ppt/tags/tag66.xml" ContentType="application/vnd.openxmlformats-officedocument.presentationml.tags+xml"/>
  <Override PartName="/ppt/charts/chart39.xml" ContentType="application/vnd.openxmlformats-officedocument.drawingml.chart+xml"/>
  <Override PartName="/ppt/tags/tag67.xml" ContentType="application/vnd.openxmlformats-officedocument.presentationml.tags+xml"/>
  <Override PartName="/ppt/charts/chart40.xml" ContentType="application/vnd.openxmlformats-officedocument.drawingml.chart+xml"/>
  <Override PartName="/ppt/tags/tag68.xml" ContentType="application/vnd.openxmlformats-officedocument.presentationml.tags+xml"/>
  <Override PartName="/ppt/charts/chart41.xml" ContentType="application/vnd.openxmlformats-officedocument.drawingml.chart+xml"/>
  <Override PartName="/ppt/tags/tag69.xml" ContentType="application/vnd.openxmlformats-officedocument.presentationml.tags+xml"/>
  <Override PartName="/ppt/charts/chart42.xml" ContentType="application/vnd.openxmlformats-officedocument.drawingml.chart+xml"/>
  <Override PartName="/ppt/tags/tag70.xml" ContentType="application/vnd.openxmlformats-officedocument.presentationml.tags+xml"/>
  <Override PartName="/ppt/charts/chart43.xml" ContentType="application/vnd.openxmlformats-officedocument.drawingml.chart+xml"/>
  <Override PartName="/ppt/tags/tag71.xml" ContentType="application/vnd.openxmlformats-officedocument.presentationml.tags+xml"/>
  <Override PartName="/ppt/charts/chart44.xml" ContentType="application/vnd.openxmlformats-officedocument.drawingml.chart+xml"/>
  <Override PartName="/ppt/tags/tag72.xml" ContentType="application/vnd.openxmlformats-officedocument.presentationml.tags+xml"/>
  <Override PartName="/ppt/charts/chart45.xml" ContentType="application/vnd.openxmlformats-officedocument.drawingml.chart+xml"/>
  <Override PartName="/ppt/tags/tag73.xml" ContentType="application/vnd.openxmlformats-officedocument.presentationml.tags+xml"/>
  <Override PartName="/ppt/charts/chart46.xml" ContentType="application/vnd.openxmlformats-officedocument.drawingml.chart+xml"/>
  <Override PartName="/ppt/tags/tag74.xml" ContentType="application/vnd.openxmlformats-officedocument.presentationml.tags+xml"/>
  <Override PartName="/ppt/charts/chart47.xml" ContentType="application/vnd.openxmlformats-officedocument.drawingml.chart+xml"/>
  <Override PartName="/ppt/tags/tag75.xml" ContentType="application/vnd.openxmlformats-officedocument.presentationml.tags+xml"/>
  <Override PartName="/ppt/charts/chart48.xml" ContentType="application/vnd.openxmlformats-officedocument.drawingml.chart+xml"/>
  <Override PartName="/ppt/tags/tag76.xml" ContentType="application/vnd.openxmlformats-officedocument.presentationml.tags+xml"/>
  <Override PartName="/ppt/charts/chart49.xml" ContentType="application/vnd.openxmlformats-officedocument.drawingml.chart+xml"/>
  <Override PartName="/ppt/tags/tag77.xml" ContentType="application/vnd.openxmlformats-officedocument.presentationml.tags+xml"/>
  <Override PartName="/ppt/charts/chart50.xml" ContentType="application/vnd.openxmlformats-officedocument.drawingml.chart+xml"/>
  <Override PartName="/ppt/tags/tag78.xml" ContentType="application/vnd.openxmlformats-officedocument.presentationml.tags+xml"/>
  <Override PartName="/ppt/charts/chart51.xml" ContentType="application/vnd.openxmlformats-officedocument.drawingml.chart+xml"/>
  <Override PartName="/ppt/tags/tag79.xml" ContentType="application/vnd.openxmlformats-officedocument.presentationml.tags+xml"/>
  <Override PartName="/ppt/charts/chart52.xml" ContentType="application/vnd.openxmlformats-officedocument.drawingml.chart+xml"/>
  <Override PartName="/ppt/tags/tag80.xml" ContentType="application/vnd.openxmlformats-officedocument.presentationml.tags+xml"/>
  <Override PartName="/ppt/charts/chart53.xml" ContentType="application/vnd.openxmlformats-officedocument.drawingml.chart+xml"/>
  <Override PartName="/ppt/tags/tag81.xml" ContentType="application/vnd.openxmlformats-officedocument.presentationml.tags+xml"/>
  <Override PartName="/ppt/charts/chart54.xml" ContentType="application/vnd.openxmlformats-officedocument.drawingml.chart+xml"/>
  <Override PartName="/ppt/tags/tag82.xml" ContentType="application/vnd.openxmlformats-officedocument.presentationml.tags+xml"/>
  <Override PartName="/ppt/charts/chart55.xml" ContentType="application/vnd.openxmlformats-officedocument.drawingml.chart+xml"/>
  <Override PartName="/ppt/tags/tag83.xml" ContentType="application/vnd.openxmlformats-officedocument.presentationml.tags+xml"/>
  <Override PartName="/ppt/charts/chart56.xml" ContentType="application/vnd.openxmlformats-officedocument.drawingml.chart+xml"/>
  <Override PartName="/ppt/tags/tag84.xml" ContentType="application/vnd.openxmlformats-officedocument.presentationml.tags+xml"/>
  <Override PartName="/ppt/charts/chart57.xml" ContentType="application/vnd.openxmlformats-officedocument.drawingml.chart+xml"/>
  <Override PartName="/ppt/tags/tag85.xml" ContentType="application/vnd.openxmlformats-officedocument.presentationml.tags+xml"/>
  <Override PartName="/ppt/charts/chart58.xml" ContentType="application/vnd.openxmlformats-officedocument.drawingml.chart+xml"/>
  <Override PartName="/ppt/tags/tag86.xml" ContentType="application/vnd.openxmlformats-officedocument.presentationml.tags+xml"/>
  <Override PartName="/ppt/charts/chart59.xml" ContentType="application/vnd.openxmlformats-officedocument.drawingml.chart+xml"/>
  <Override PartName="/ppt/tags/tag87.xml" ContentType="application/vnd.openxmlformats-officedocument.presentationml.tags+xml"/>
  <Override PartName="/ppt/charts/chart60.xml" ContentType="application/vnd.openxmlformats-officedocument.drawingml.chart+xml"/>
  <Override PartName="/ppt/tags/tag88.xml" ContentType="application/vnd.openxmlformats-officedocument.presentationml.tags+xml"/>
  <Override PartName="/ppt/charts/chart61.xml" ContentType="application/vnd.openxmlformats-officedocument.drawingml.chart+xml"/>
  <Override PartName="/ppt/tags/tag89.xml" ContentType="application/vnd.openxmlformats-officedocument.presentationml.tags+xml"/>
  <Override PartName="/ppt/charts/chart62.xml" ContentType="application/vnd.openxmlformats-officedocument.drawingml.chart+xml"/>
  <Override PartName="/ppt/tags/tag90.xml" ContentType="application/vnd.openxmlformats-officedocument.presentationml.tags+xml"/>
  <Override PartName="/ppt/charts/chart63.xml" ContentType="application/vnd.openxmlformats-officedocument.drawingml.chart+xml"/>
  <Override PartName="/ppt/tags/tag91.xml" ContentType="application/vnd.openxmlformats-officedocument.presentationml.tags+xml"/>
  <Override PartName="/ppt/charts/chart64.xml" ContentType="application/vnd.openxmlformats-officedocument.drawingml.chart+xml"/>
  <Override PartName="/ppt/tags/tag92.xml" ContentType="application/vnd.openxmlformats-officedocument.presentationml.tags+xml"/>
  <Override PartName="/ppt/charts/chart65.xml" ContentType="application/vnd.openxmlformats-officedocument.drawingml.chart+xml"/>
  <Override PartName="/ppt/tags/tag93.xml" ContentType="application/vnd.openxmlformats-officedocument.presentationml.tags+xml"/>
  <Override PartName="/ppt/charts/chart66.xml" ContentType="application/vnd.openxmlformats-officedocument.drawingml.chart+xml"/>
  <Override PartName="/ppt/tags/tag94.xml" ContentType="application/vnd.openxmlformats-officedocument.presentationml.tags+xml"/>
  <Override PartName="/ppt/charts/chart67.xml" ContentType="application/vnd.openxmlformats-officedocument.drawingml.chart+xml"/>
  <Override PartName="/ppt/tags/tag95.xml" ContentType="application/vnd.openxmlformats-officedocument.presentationml.tags+xml"/>
  <Override PartName="/ppt/charts/chart68.xml" ContentType="application/vnd.openxmlformats-officedocument.drawingml.chart+xml"/>
  <Override PartName="/ppt/tags/tag96.xml" ContentType="application/vnd.openxmlformats-officedocument.presentationml.tags+xml"/>
  <Override PartName="/ppt/charts/chart69.xml" ContentType="application/vnd.openxmlformats-officedocument.drawingml.chart+xml"/>
  <Override PartName="/ppt/tags/tag97.xml" ContentType="application/vnd.openxmlformats-officedocument.presentationml.tags+xml"/>
  <Override PartName="/ppt/charts/chart70.xml" ContentType="application/vnd.openxmlformats-officedocument.drawingml.chart+xml"/>
  <Override PartName="/ppt/tags/tag98.xml" ContentType="application/vnd.openxmlformats-officedocument.presentationml.tags+xml"/>
  <Override PartName="/ppt/charts/chart71.xml" ContentType="application/vnd.openxmlformats-officedocument.drawingml.chart+xml"/>
  <Override PartName="/ppt/tags/tag99.xml" ContentType="application/vnd.openxmlformats-officedocument.presentationml.tags+xml"/>
  <Override PartName="/ppt/charts/chart72.xml" ContentType="application/vnd.openxmlformats-officedocument.drawingml.chart+xml"/>
  <Override PartName="/ppt/tags/tag100.xml" ContentType="application/vnd.openxmlformats-officedocument.presentationml.tags+xml"/>
  <Override PartName="/ppt/charts/chart73.xml" ContentType="application/vnd.openxmlformats-officedocument.drawingml.chart+xml"/>
  <Override PartName="/ppt/tags/tag101.xml" ContentType="application/vnd.openxmlformats-officedocument.presentationml.tags+xml"/>
  <Override PartName="/ppt/charts/chart74.xml" ContentType="application/vnd.openxmlformats-officedocument.drawingml.chart+xml"/>
  <Override PartName="/ppt/tags/tag102.xml" ContentType="application/vnd.openxmlformats-officedocument.presentationml.tags+xml"/>
  <Override PartName="/ppt/charts/chart75.xml" ContentType="application/vnd.openxmlformats-officedocument.drawingml.chart+xml"/>
  <Override PartName="/ppt/tags/tag103.xml" ContentType="application/vnd.openxmlformats-officedocument.presentationml.tags+xml"/>
  <Override PartName="/ppt/charts/chart76.xml" ContentType="application/vnd.openxmlformats-officedocument.drawingml.chart+xml"/>
  <Override PartName="/ppt/tags/tag104.xml" ContentType="application/vnd.openxmlformats-officedocument.presentationml.tags+xml"/>
  <Override PartName="/ppt/charts/chart77.xml" ContentType="application/vnd.openxmlformats-officedocument.drawingml.chart+xml"/>
  <Override PartName="/ppt/tags/tag105.xml" ContentType="application/vnd.openxmlformats-officedocument.presentationml.tags+xml"/>
  <Override PartName="/ppt/charts/chart78.xml" ContentType="application/vnd.openxmlformats-officedocument.drawingml.chart+xml"/>
  <Override PartName="/ppt/tags/tag106.xml" ContentType="application/vnd.openxmlformats-officedocument.presentationml.tags+xml"/>
  <Override PartName="/ppt/charts/chart79.xml" ContentType="application/vnd.openxmlformats-officedocument.drawingml.chart+xml"/>
  <Override PartName="/ppt/tags/tag107.xml" ContentType="application/vnd.openxmlformats-officedocument.presentationml.tags+xml"/>
  <Override PartName="/ppt/charts/chart80.xml" ContentType="application/vnd.openxmlformats-officedocument.drawingml.chart+xml"/>
  <Override PartName="/ppt/tags/tag108.xml" ContentType="application/vnd.openxmlformats-officedocument.presentationml.tags+xml"/>
  <Override PartName="/ppt/charts/chart81.xml" ContentType="application/vnd.openxmlformats-officedocument.drawingml.chart+xml"/>
  <Override PartName="/ppt/tags/tag109.xml" ContentType="application/vnd.openxmlformats-officedocument.presentationml.tags+xml"/>
  <Override PartName="/ppt/charts/chart82.xml" ContentType="application/vnd.openxmlformats-officedocument.drawingml.chart+xml"/>
  <Override PartName="/ppt/tags/tag110.xml" ContentType="application/vnd.openxmlformats-officedocument.presentationml.tags+xml"/>
  <Override PartName="/ppt/charts/chart83.xml" ContentType="application/vnd.openxmlformats-officedocument.drawingml.chart+xml"/>
  <Override PartName="/ppt/tags/tag111.xml" ContentType="application/vnd.openxmlformats-officedocument.presentationml.tags+xml"/>
  <Override PartName="/ppt/charts/chart84.xml" ContentType="application/vnd.openxmlformats-officedocument.drawingml.chart+xml"/>
  <Override PartName="/ppt/tags/tag112.xml" ContentType="application/vnd.openxmlformats-officedocument.presentationml.tags+xml"/>
  <Override PartName="/ppt/charts/chart85.xml" ContentType="application/vnd.openxmlformats-officedocument.drawingml.chart+xml"/>
  <Override PartName="/ppt/tags/tag113.xml" ContentType="application/vnd.openxmlformats-officedocument.presentationml.tags+xml"/>
  <Override PartName="/ppt/charts/chart86.xml" ContentType="application/vnd.openxmlformats-officedocument.drawingml.chart+xml"/>
  <Override PartName="/ppt/tags/tag114.xml" ContentType="application/vnd.openxmlformats-officedocument.presentationml.tags+xml"/>
  <Override PartName="/ppt/charts/chart87.xml" ContentType="application/vnd.openxmlformats-officedocument.drawingml.chart+xml"/>
  <Override PartName="/ppt/tags/tag115.xml" ContentType="application/vnd.openxmlformats-officedocument.presentationml.tags+xml"/>
  <Override PartName="/ppt/charts/chart88.xml" ContentType="application/vnd.openxmlformats-officedocument.drawingml.chart+xml"/>
  <Override PartName="/ppt/tags/tag116.xml" ContentType="application/vnd.openxmlformats-officedocument.presentationml.tags+xml"/>
  <Override PartName="/ppt/charts/chart89.xml" ContentType="application/vnd.openxmlformats-officedocument.drawingml.chart+xml"/>
  <Override PartName="/ppt/tags/tag117.xml" ContentType="application/vnd.openxmlformats-officedocument.presentationml.tags+xml"/>
  <Override PartName="/ppt/charts/chart90.xml" ContentType="application/vnd.openxmlformats-officedocument.drawingml.chart+xml"/>
  <Override PartName="/ppt/tags/tag118.xml" ContentType="application/vnd.openxmlformats-officedocument.presentationml.tags+xml"/>
  <Override PartName="/ppt/charts/chart91.xml" ContentType="application/vnd.openxmlformats-officedocument.drawingml.chart+xml"/>
  <Override PartName="/ppt/tags/tag119.xml" ContentType="application/vnd.openxmlformats-officedocument.presentationml.tags+xml"/>
  <Override PartName="/ppt/charts/chart92.xml" ContentType="application/vnd.openxmlformats-officedocument.drawingml.chart+xml"/>
  <Override PartName="/ppt/tags/tag120.xml" ContentType="application/vnd.openxmlformats-officedocument.presentationml.tags+xml"/>
  <Override PartName="/ppt/charts/chart93.xml" ContentType="application/vnd.openxmlformats-officedocument.drawingml.chart+xml"/>
  <Override PartName="/ppt/tags/tag121.xml" ContentType="application/vnd.openxmlformats-officedocument.presentationml.tags+xml"/>
  <Override PartName="/ppt/charts/chart94.xml" ContentType="application/vnd.openxmlformats-officedocument.drawingml.chart+xml"/>
  <Override PartName="/ppt/tags/tag122.xml" ContentType="application/vnd.openxmlformats-officedocument.presentationml.tags+xml"/>
  <Override PartName="/ppt/charts/chart95.xml" ContentType="application/vnd.openxmlformats-officedocument.drawingml.chart+xml"/>
  <Override PartName="/ppt/tags/tag123.xml" ContentType="application/vnd.openxmlformats-officedocument.presentationml.tags+xml"/>
  <Override PartName="/ppt/charts/chart96.xml" ContentType="application/vnd.openxmlformats-officedocument.drawingml.chart+xml"/>
  <Override PartName="/ppt/tags/tag124.xml" ContentType="application/vnd.openxmlformats-officedocument.presentationml.tags+xml"/>
  <Override PartName="/ppt/charts/chart97.xml" ContentType="application/vnd.openxmlformats-officedocument.drawingml.chart+xml"/>
  <Override PartName="/ppt/tags/tag125.xml" ContentType="application/vnd.openxmlformats-officedocument.presentationml.tags+xml"/>
  <Override PartName="/ppt/charts/chart98.xml" ContentType="application/vnd.openxmlformats-officedocument.drawingml.chart+xml"/>
  <Override PartName="/ppt/tags/tag126.xml" ContentType="application/vnd.openxmlformats-officedocument.presentationml.tags+xml"/>
  <Override PartName="/ppt/charts/chart99.xml" ContentType="application/vnd.openxmlformats-officedocument.drawingml.chart+xml"/>
  <Override PartName="/ppt/tags/tag127.xml" ContentType="application/vnd.openxmlformats-officedocument.presentationml.tags+xml"/>
  <Override PartName="/ppt/charts/chart100.xml" ContentType="application/vnd.openxmlformats-officedocument.drawingml.chart+xml"/>
  <Override PartName="/ppt/tags/tag128.xml" ContentType="application/vnd.openxmlformats-officedocument.presentationml.tags+xml"/>
  <Override PartName="/ppt/charts/chart101.xml" ContentType="application/vnd.openxmlformats-officedocument.drawingml.chart+xml"/>
  <Override PartName="/ppt/tags/tag129.xml" ContentType="application/vnd.openxmlformats-officedocument.presentationml.tags+xml"/>
  <Override PartName="/ppt/charts/chart102.xml" ContentType="application/vnd.openxmlformats-officedocument.drawingml.chart+xml"/>
  <Override PartName="/ppt/tags/tag130.xml" ContentType="application/vnd.openxmlformats-officedocument.presentationml.tags+xml"/>
  <Override PartName="/ppt/charts/chart103.xml" ContentType="application/vnd.openxmlformats-officedocument.drawingml.chart+xml"/>
  <Override PartName="/ppt/tags/tag131.xml" ContentType="application/vnd.openxmlformats-officedocument.presentationml.tags+xml"/>
  <Override PartName="/ppt/charts/chart104.xml" ContentType="application/vnd.openxmlformats-officedocument.drawingml.chart+xml"/>
  <Override PartName="/ppt/tags/tag132.xml" ContentType="application/vnd.openxmlformats-officedocument.presentationml.tags+xml"/>
  <Override PartName="/ppt/charts/chart105.xml" ContentType="application/vnd.openxmlformats-officedocument.drawingml.chart+xml"/>
  <Override PartName="/ppt/tags/tag133.xml" ContentType="application/vnd.openxmlformats-officedocument.presentationml.tags+xml"/>
  <Override PartName="/ppt/charts/chart106.xml" ContentType="application/vnd.openxmlformats-officedocument.drawingml.chart+xml"/>
  <Override PartName="/ppt/tags/tag134.xml" ContentType="application/vnd.openxmlformats-officedocument.presentationml.tags+xml"/>
  <Override PartName="/ppt/charts/chart107.xml" ContentType="application/vnd.openxmlformats-officedocument.drawingml.chart+xml"/>
  <Override PartName="/ppt/tags/tag135.xml" ContentType="application/vnd.openxmlformats-officedocument.presentationml.tags+xml"/>
  <Override PartName="/ppt/charts/chart108.xml" ContentType="application/vnd.openxmlformats-officedocument.drawingml.chart+xml"/>
  <Override PartName="/ppt/tags/tag136.xml" ContentType="application/vnd.openxmlformats-officedocument.presentationml.tags+xml"/>
  <Override PartName="/ppt/charts/chart109.xml" ContentType="application/vnd.openxmlformats-officedocument.drawingml.chart+xml"/>
  <Override PartName="/ppt/tags/tag137.xml" ContentType="application/vnd.openxmlformats-officedocument.presentationml.tags+xml"/>
  <Override PartName="/ppt/charts/chart110.xml" ContentType="application/vnd.openxmlformats-officedocument.drawingml.chart+xml"/>
  <Override PartName="/ppt/tags/tag138.xml" ContentType="application/vnd.openxmlformats-officedocument.presentationml.tags+xml"/>
  <Override PartName="/ppt/charts/chart111.xml" ContentType="application/vnd.openxmlformats-officedocument.drawingml.chart+xml"/>
  <Override PartName="/ppt/tags/tag139.xml" ContentType="application/vnd.openxmlformats-officedocument.presentationml.tags+xml"/>
  <Override PartName="/ppt/charts/chart112.xml" ContentType="application/vnd.openxmlformats-officedocument.drawingml.chart+xml"/>
  <Override PartName="/ppt/tags/tag140.xml" ContentType="application/vnd.openxmlformats-officedocument.presentationml.tags+xml"/>
  <Override PartName="/ppt/charts/chart113.xml" ContentType="application/vnd.openxmlformats-officedocument.drawingml.chart+xml"/>
  <Override PartName="/ppt/tags/tag141.xml" ContentType="application/vnd.openxmlformats-officedocument.presentationml.tags+xml"/>
  <Override PartName="/ppt/charts/chart114.xml" ContentType="application/vnd.openxmlformats-officedocument.drawingml.chart+xml"/>
  <Override PartName="/ppt/tags/tag142.xml" ContentType="application/vnd.openxmlformats-officedocument.presentationml.tags+xml"/>
  <Override PartName="/ppt/charts/chart115.xml" ContentType="application/vnd.openxmlformats-officedocument.drawingml.chart+xml"/>
  <Override PartName="/ppt/tags/tag143.xml" ContentType="application/vnd.openxmlformats-officedocument.presentationml.tags+xml"/>
  <Override PartName="/ppt/charts/chart116.xml" ContentType="application/vnd.openxmlformats-officedocument.drawingml.chart+xml"/>
  <Override PartName="/ppt/tags/tag144.xml" ContentType="application/vnd.openxmlformats-officedocument.presentationml.tags+xml"/>
  <Override PartName="/ppt/charts/chart117.xml" ContentType="application/vnd.openxmlformats-officedocument.drawingml.chart+xml"/>
  <Override PartName="/ppt/tags/tag145.xml" ContentType="application/vnd.openxmlformats-officedocument.presentationml.tags+xml"/>
  <Override PartName="/ppt/charts/chart118.xml" ContentType="application/vnd.openxmlformats-officedocument.drawingml.chart+xml"/>
  <Override PartName="/ppt/tags/tag146.xml" ContentType="application/vnd.openxmlformats-officedocument.presentationml.tags+xml"/>
  <Override PartName="/ppt/charts/chart119.xml" ContentType="application/vnd.openxmlformats-officedocument.drawingml.chart+xml"/>
  <Override PartName="/ppt/tags/tag147.xml" ContentType="application/vnd.openxmlformats-officedocument.presentationml.tags+xml"/>
  <Override PartName="/ppt/charts/chart120.xml" ContentType="application/vnd.openxmlformats-officedocument.drawingml.chart+xml"/>
  <Override PartName="/ppt/tags/tag148.xml" ContentType="application/vnd.openxmlformats-officedocument.presentationml.tags+xml"/>
  <Override PartName="/ppt/charts/chart121.xml" ContentType="application/vnd.openxmlformats-officedocument.drawingml.chart+xml"/>
  <Override PartName="/ppt/tags/tag149.xml" ContentType="application/vnd.openxmlformats-officedocument.presentationml.tags+xml"/>
  <Override PartName="/ppt/charts/chart122.xml" ContentType="application/vnd.openxmlformats-officedocument.drawingml.chart+xml"/>
  <Override PartName="/ppt/tags/tag150.xml" ContentType="application/vnd.openxmlformats-officedocument.presentationml.tags+xml"/>
  <Override PartName="/ppt/charts/chart123.xml" ContentType="application/vnd.openxmlformats-officedocument.drawingml.chart+xml"/>
  <Override PartName="/ppt/tags/tag151.xml" ContentType="application/vnd.openxmlformats-officedocument.presentationml.tags+xml"/>
  <Override PartName="/ppt/charts/chart124.xml" ContentType="application/vnd.openxmlformats-officedocument.drawingml.chart+xml"/>
  <Override PartName="/ppt/tags/tag152.xml" ContentType="application/vnd.openxmlformats-officedocument.presentationml.tags+xml"/>
  <Override PartName="/ppt/charts/chart125.xml" ContentType="application/vnd.openxmlformats-officedocument.drawingml.chart+xml"/>
  <Override PartName="/ppt/tags/tag153.xml" ContentType="application/vnd.openxmlformats-officedocument.presentationml.tags+xml"/>
  <Override PartName="/ppt/charts/chart126.xml" ContentType="application/vnd.openxmlformats-officedocument.drawingml.chart+xml"/>
  <Override PartName="/ppt/tags/tag154.xml" ContentType="application/vnd.openxmlformats-officedocument.presentationml.tags+xml"/>
  <Override PartName="/ppt/charts/chart127.xml" ContentType="application/vnd.openxmlformats-officedocument.drawingml.chart+xml"/>
  <Override PartName="/ppt/tags/tag155.xml" ContentType="application/vnd.openxmlformats-officedocument.presentationml.tags+xml"/>
  <Override PartName="/ppt/charts/chart128.xml" ContentType="application/vnd.openxmlformats-officedocument.drawingml.chart+xml"/>
  <Override PartName="/ppt/tags/tag156.xml" ContentType="application/vnd.openxmlformats-officedocument.presentationml.tags+xml"/>
  <Override PartName="/ppt/charts/chart129.xml" ContentType="application/vnd.openxmlformats-officedocument.drawingml.chart+xml"/>
  <Override PartName="/ppt/tags/tag157.xml" ContentType="application/vnd.openxmlformats-officedocument.presentationml.tags+xml"/>
  <Override PartName="/ppt/charts/chart130.xml" ContentType="application/vnd.openxmlformats-officedocument.drawingml.chart+xml"/>
  <Override PartName="/ppt/tags/tag158.xml" ContentType="application/vnd.openxmlformats-officedocument.presentationml.tags+xml"/>
  <Override PartName="/ppt/charts/chart131.xml" ContentType="application/vnd.openxmlformats-officedocument.drawingml.chart+xml"/>
  <Override PartName="/ppt/tags/tag159.xml" ContentType="application/vnd.openxmlformats-officedocument.presentationml.tags+xml"/>
  <Override PartName="/ppt/charts/chart132.xml" ContentType="application/vnd.openxmlformats-officedocument.drawingml.chart+xml"/>
  <Override PartName="/ppt/tags/tag160.xml" ContentType="application/vnd.openxmlformats-officedocument.presentationml.tags+xml"/>
  <Override PartName="/ppt/charts/chart133.xml" ContentType="application/vnd.openxmlformats-officedocument.drawingml.chart+xml"/>
  <Override PartName="/ppt/tags/tag161.xml" ContentType="application/vnd.openxmlformats-officedocument.presentationml.tags+xml"/>
  <Override PartName="/ppt/charts/chart134.xml" ContentType="application/vnd.openxmlformats-officedocument.drawingml.chart+xml"/>
  <Override PartName="/ppt/tags/tag162.xml" ContentType="application/vnd.openxmlformats-officedocument.presentationml.tags+xml"/>
  <Override PartName="/ppt/charts/chart135.xml" ContentType="application/vnd.openxmlformats-officedocument.drawingml.chart+xml"/>
  <Override PartName="/ppt/tags/tag163.xml" ContentType="application/vnd.openxmlformats-officedocument.presentationml.tags+xml"/>
  <Override PartName="/ppt/charts/chart136.xml" ContentType="application/vnd.openxmlformats-officedocument.drawingml.chart+xml"/>
  <Override PartName="/ppt/tags/tag164.xml" ContentType="application/vnd.openxmlformats-officedocument.presentationml.tags+xml"/>
  <Override PartName="/ppt/charts/chart137.xml" ContentType="application/vnd.openxmlformats-officedocument.drawingml.chart+xml"/>
  <Override PartName="/ppt/tags/tag165.xml" ContentType="application/vnd.openxmlformats-officedocument.presentationml.tags+xml"/>
  <Override PartName="/ppt/charts/chart138.xml" ContentType="application/vnd.openxmlformats-officedocument.drawingml.chart+xml"/>
  <Override PartName="/ppt/tags/tag166.xml" ContentType="application/vnd.openxmlformats-officedocument.presentationml.tags+xml"/>
  <Override PartName="/ppt/charts/chart139.xml" ContentType="application/vnd.openxmlformats-officedocument.drawingml.chart+xml"/>
  <Override PartName="/ppt/tags/tag167.xml" ContentType="application/vnd.openxmlformats-officedocument.presentationml.tags+xml"/>
  <Override PartName="/ppt/charts/chart140.xml" ContentType="application/vnd.openxmlformats-officedocument.drawingml.chart+xml"/>
  <Override PartName="/ppt/tags/tag168.xml" ContentType="application/vnd.openxmlformats-officedocument.presentationml.tags+xml"/>
  <Override PartName="/ppt/charts/chart141.xml" ContentType="application/vnd.openxmlformats-officedocument.drawingml.chart+xml"/>
  <Override PartName="/ppt/tags/tag169.xml" ContentType="application/vnd.openxmlformats-officedocument.presentationml.tags+xml"/>
  <Override PartName="/ppt/charts/chart142.xml" ContentType="application/vnd.openxmlformats-officedocument.drawingml.chart+xml"/>
  <Override PartName="/ppt/tags/tag170.xml" ContentType="application/vnd.openxmlformats-officedocument.presentationml.tags+xml"/>
  <Override PartName="/ppt/charts/chart143.xml" ContentType="application/vnd.openxmlformats-officedocument.drawingml.chart+xml"/>
  <Override PartName="/ppt/tags/tag171.xml" ContentType="application/vnd.openxmlformats-officedocument.presentationml.tags+xml"/>
  <Override PartName="/ppt/charts/chart144.xml" ContentType="application/vnd.openxmlformats-officedocument.drawingml.chart+xml"/>
  <Override PartName="/ppt/tags/tag172.xml" ContentType="application/vnd.openxmlformats-officedocument.presentationml.tags+xml"/>
  <Override PartName="/ppt/charts/chart145.xml" ContentType="application/vnd.openxmlformats-officedocument.drawingml.chart+xml"/>
  <Override PartName="/ppt/tags/tag173.xml" ContentType="application/vnd.openxmlformats-officedocument.presentationml.tags+xml"/>
  <Override PartName="/ppt/charts/chart146.xml" ContentType="application/vnd.openxmlformats-officedocument.drawingml.chart+xml"/>
  <Override PartName="/ppt/tags/tag174.xml" ContentType="application/vnd.openxmlformats-officedocument.presentationml.tags+xml"/>
  <Override PartName="/ppt/charts/chart147.xml" ContentType="application/vnd.openxmlformats-officedocument.drawingml.chart+xml"/>
  <Override PartName="/ppt/tags/tag175.xml" ContentType="application/vnd.openxmlformats-officedocument.presentationml.tags+xml"/>
  <Override PartName="/ppt/charts/chart148.xml" ContentType="application/vnd.openxmlformats-officedocument.drawingml.chart+xml"/>
  <Override PartName="/ppt/tags/tag176.xml" ContentType="application/vnd.openxmlformats-officedocument.presentationml.tags+xml"/>
  <Override PartName="/ppt/charts/chart149.xml" ContentType="application/vnd.openxmlformats-officedocument.drawingml.chart+xml"/>
  <Override PartName="/ppt/tags/tag177.xml" ContentType="application/vnd.openxmlformats-officedocument.presentationml.tags+xml"/>
  <Override PartName="/ppt/charts/chart150.xml" ContentType="application/vnd.openxmlformats-officedocument.drawingml.chart+xml"/>
  <Override PartName="/ppt/tags/tag178.xml" ContentType="application/vnd.openxmlformats-officedocument.presentationml.tags+xml"/>
  <Override PartName="/ppt/charts/chart151.xml" ContentType="application/vnd.openxmlformats-officedocument.drawingml.chart+xml"/>
  <Override PartName="/ppt/tags/tag179.xml" ContentType="application/vnd.openxmlformats-officedocument.presentationml.tags+xml"/>
  <Override PartName="/ppt/charts/chart152.xml" ContentType="application/vnd.openxmlformats-officedocument.drawingml.chart+xml"/>
  <Override PartName="/ppt/tags/tag180.xml" ContentType="application/vnd.openxmlformats-officedocument.presentationml.tags+xml"/>
  <Override PartName="/ppt/charts/chart153.xml" ContentType="application/vnd.openxmlformats-officedocument.drawingml.chart+xml"/>
  <Override PartName="/ppt/tags/tag181.xml" ContentType="application/vnd.openxmlformats-officedocument.presentationml.tags+xml"/>
  <Override PartName="/ppt/charts/chart154.xml" ContentType="application/vnd.openxmlformats-officedocument.drawingml.chart+xml"/>
  <Override PartName="/ppt/tags/tag182.xml" ContentType="application/vnd.openxmlformats-officedocument.presentationml.tags+xml"/>
  <Override PartName="/ppt/charts/chart155.xml" ContentType="application/vnd.openxmlformats-officedocument.drawingml.chart+xml"/>
  <Override PartName="/ppt/tags/tag183.xml" ContentType="application/vnd.openxmlformats-officedocument.presentationml.tags+xml"/>
  <Override PartName="/ppt/charts/chart156.xml" ContentType="application/vnd.openxmlformats-officedocument.drawingml.chart+xml"/>
  <Override PartName="/ppt/tags/tag184.xml" ContentType="application/vnd.openxmlformats-officedocument.presentationml.tags+xml"/>
  <Override PartName="/ppt/charts/chart157.xml" ContentType="application/vnd.openxmlformats-officedocument.drawingml.chart+xml"/>
  <Override PartName="/ppt/tags/tag185.xml" ContentType="application/vnd.openxmlformats-officedocument.presentationml.tags+xml"/>
  <Override PartName="/ppt/charts/chart158.xml" ContentType="application/vnd.openxmlformats-officedocument.drawingml.chart+xml"/>
  <Override PartName="/ppt/tags/tag186.xml" ContentType="application/vnd.openxmlformats-officedocument.presentationml.tags+xml"/>
  <Override PartName="/ppt/charts/chart159.xml" ContentType="application/vnd.openxmlformats-officedocument.drawingml.chart+xml"/>
  <Override PartName="/ppt/tags/tag187.xml" ContentType="application/vnd.openxmlformats-officedocument.presentationml.tags+xml"/>
  <Override PartName="/ppt/charts/chart160.xml" ContentType="application/vnd.openxmlformats-officedocument.drawingml.chart+xml"/>
  <Override PartName="/ppt/tags/tag188.xml" ContentType="application/vnd.openxmlformats-officedocument.presentationml.tags+xml"/>
  <Override PartName="/ppt/charts/chart161.xml" ContentType="application/vnd.openxmlformats-officedocument.drawingml.chart+xml"/>
  <Override PartName="/ppt/tags/tag189.xml" ContentType="application/vnd.openxmlformats-officedocument.presentationml.tags+xml"/>
  <Override PartName="/ppt/charts/chart162.xml" ContentType="application/vnd.openxmlformats-officedocument.drawingml.chart+xml"/>
  <Override PartName="/ppt/tags/tag190.xml" ContentType="application/vnd.openxmlformats-officedocument.presentationml.tags+xml"/>
  <Override PartName="/ppt/charts/chart163.xml" ContentType="application/vnd.openxmlformats-officedocument.drawingml.chart+xml"/>
  <Override PartName="/ppt/tags/tag191.xml" ContentType="application/vnd.openxmlformats-officedocument.presentationml.tags+xml"/>
  <Override PartName="/ppt/charts/chart164.xml" ContentType="application/vnd.openxmlformats-officedocument.drawingml.chart+xml"/>
  <Override PartName="/ppt/tags/tag192.xml" ContentType="application/vnd.openxmlformats-officedocument.presentationml.tags+xml"/>
  <Override PartName="/ppt/charts/chart165.xml" ContentType="application/vnd.openxmlformats-officedocument.drawingml.chart+xml"/>
  <Override PartName="/ppt/tags/tag193.xml" ContentType="application/vnd.openxmlformats-officedocument.presentationml.tags+xml"/>
  <Override PartName="/ppt/charts/chart166.xml" ContentType="application/vnd.openxmlformats-officedocument.drawingml.chart+xml"/>
  <Override PartName="/ppt/tags/tag194.xml" ContentType="application/vnd.openxmlformats-officedocument.presentationml.tags+xml"/>
  <Override PartName="/ppt/charts/chart167.xml" ContentType="application/vnd.openxmlformats-officedocument.drawingml.chart+xml"/>
  <Override PartName="/ppt/tags/tag195.xml" ContentType="application/vnd.openxmlformats-officedocument.presentationml.tags+xml"/>
  <Override PartName="/ppt/charts/chart168.xml" ContentType="application/vnd.openxmlformats-officedocument.drawingml.chart+xml"/>
  <Override PartName="/ppt/tags/tag196.xml" ContentType="application/vnd.openxmlformats-officedocument.presentationml.tags+xml"/>
  <Override PartName="/ppt/charts/chart169.xml" ContentType="application/vnd.openxmlformats-officedocument.drawingml.chart+xml"/>
  <Override PartName="/ppt/tags/tag197.xml" ContentType="application/vnd.openxmlformats-officedocument.presentationml.tags+xml"/>
  <Override PartName="/ppt/charts/chart170.xml" ContentType="application/vnd.openxmlformats-officedocument.drawingml.chart+xml"/>
  <Override PartName="/ppt/tags/tag198.xml" ContentType="application/vnd.openxmlformats-officedocument.presentationml.tags+xml"/>
  <Override PartName="/ppt/charts/chart171.xml" ContentType="application/vnd.openxmlformats-officedocument.drawingml.chart+xml"/>
  <Override PartName="/ppt/tags/tag199.xml" ContentType="application/vnd.openxmlformats-officedocument.presentationml.tags+xml"/>
  <Override PartName="/ppt/charts/chart172.xml" ContentType="application/vnd.openxmlformats-officedocument.drawingml.chart+xml"/>
  <Override PartName="/ppt/tags/tag200.xml" ContentType="application/vnd.openxmlformats-officedocument.presentationml.tags+xml"/>
  <Override PartName="/ppt/charts/chart173.xml" ContentType="application/vnd.openxmlformats-officedocument.drawingml.chart+xml"/>
  <Override PartName="/ppt/tags/tag201.xml" ContentType="application/vnd.openxmlformats-officedocument.presentationml.tags+xml"/>
  <Override PartName="/ppt/charts/chart174.xml" ContentType="application/vnd.openxmlformats-officedocument.drawingml.chart+xml"/>
  <Override PartName="/ppt/tags/tag202.xml" ContentType="application/vnd.openxmlformats-officedocument.presentationml.tags+xml"/>
  <Override PartName="/ppt/charts/chart175.xml" ContentType="application/vnd.openxmlformats-officedocument.drawingml.chart+xml"/>
  <Override PartName="/ppt/tags/tag203.xml" ContentType="application/vnd.openxmlformats-officedocument.presentationml.tags+xml"/>
  <Override PartName="/ppt/charts/chart176.xml" ContentType="application/vnd.openxmlformats-officedocument.drawingml.chart+xml"/>
  <Override PartName="/ppt/tags/tag204.xml" ContentType="application/vnd.openxmlformats-officedocument.presentationml.tags+xml"/>
  <Override PartName="/ppt/charts/chart177.xml" ContentType="application/vnd.openxmlformats-officedocument.drawingml.chart+xml"/>
  <Override PartName="/ppt/tags/tag205.xml" ContentType="application/vnd.openxmlformats-officedocument.presentationml.tags+xml"/>
  <Override PartName="/ppt/charts/chart178.xml" ContentType="application/vnd.openxmlformats-officedocument.drawingml.chart+xml"/>
  <Override PartName="/ppt/tags/tag206.xml" ContentType="application/vnd.openxmlformats-officedocument.presentationml.tags+xml"/>
  <Override PartName="/ppt/charts/chart179.xml" ContentType="application/vnd.openxmlformats-officedocument.drawingml.chart+xml"/>
  <Override PartName="/ppt/tags/tag207.xml" ContentType="application/vnd.openxmlformats-officedocument.presentationml.tags+xml"/>
  <Override PartName="/ppt/charts/chart180.xml" ContentType="application/vnd.openxmlformats-officedocument.drawingml.chart+xml"/>
  <Override PartName="/ppt/tags/tag208.xml" ContentType="application/vnd.openxmlformats-officedocument.presentationml.tags+xml"/>
  <Override PartName="/ppt/charts/chart181.xml" ContentType="application/vnd.openxmlformats-officedocument.drawingml.chart+xml"/>
  <Override PartName="/ppt/tags/tag209.xml" ContentType="application/vnd.openxmlformats-officedocument.presentationml.tags+xml"/>
  <Override PartName="/ppt/charts/chart182.xml" ContentType="application/vnd.openxmlformats-officedocument.drawingml.chart+xml"/>
  <Override PartName="/ppt/tags/tag210.xml" ContentType="application/vnd.openxmlformats-officedocument.presentationml.tags+xml"/>
  <Override PartName="/ppt/charts/chart183.xml" ContentType="application/vnd.openxmlformats-officedocument.drawingml.chart+xml"/>
  <Override PartName="/ppt/tags/tag211.xml" ContentType="application/vnd.openxmlformats-officedocument.presentationml.tags+xml"/>
  <Override PartName="/ppt/charts/chart184.xml" ContentType="application/vnd.openxmlformats-officedocument.drawingml.chart+xml"/>
  <Override PartName="/ppt/tags/tag212.xml" ContentType="application/vnd.openxmlformats-officedocument.presentationml.tags+xml"/>
  <Override PartName="/ppt/charts/chart185.xml" ContentType="application/vnd.openxmlformats-officedocument.drawingml.chart+xml"/>
  <Override PartName="/ppt/tags/tag213.xml" ContentType="application/vnd.openxmlformats-officedocument.presentationml.tags+xml"/>
  <Override PartName="/ppt/charts/chart186.xml" ContentType="application/vnd.openxmlformats-officedocument.drawingml.chart+xml"/>
  <Override PartName="/ppt/tags/tag214.xml" ContentType="application/vnd.openxmlformats-officedocument.presentationml.tags+xml"/>
  <Override PartName="/ppt/charts/chart187.xml" ContentType="application/vnd.openxmlformats-officedocument.drawingml.chart+xml"/>
  <Override PartName="/ppt/tags/tag215.xml" ContentType="application/vnd.openxmlformats-officedocument.presentationml.tags+xml"/>
  <Override PartName="/ppt/charts/chart188.xml" ContentType="application/vnd.openxmlformats-officedocument.drawingml.chart+xml"/>
  <Override PartName="/ppt/tags/tag216.xml" ContentType="application/vnd.openxmlformats-officedocument.presentationml.tags+xml"/>
  <Override PartName="/ppt/charts/chart189.xml" ContentType="application/vnd.openxmlformats-officedocument.drawingml.chart+xml"/>
  <Override PartName="/ppt/tags/tag217.xml" ContentType="application/vnd.openxmlformats-officedocument.presentationml.tags+xml"/>
  <Override PartName="/ppt/charts/chart190.xml" ContentType="application/vnd.openxmlformats-officedocument.drawingml.chart+xml"/>
  <Override PartName="/ppt/tags/tag218.xml" ContentType="application/vnd.openxmlformats-officedocument.presentationml.tags+xml"/>
  <Override PartName="/ppt/charts/chart191.xml" ContentType="application/vnd.openxmlformats-officedocument.drawingml.chart+xml"/>
  <Override PartName="/ppt/tags/tag219.xml" ContentType="application/vnd.openxmlformats-officedocument.presentationml.tags+xml"/>
  <Override PartName="/ppt/charts/chart192.xml" ContentType="application/vnd.openxmlformats-officedocument.drawingml.chart+xml"/>
  <Override PartName="/ppt/tags/tag220.xml" ContentType="application/vnd.openxmlformats-officedocument.presentationml.tags+xml"/>
  <Override PartName="/ppt/charts/chart193.xml" ContentType="application/vnd.openxmlformats-officedocument.drawingml.chart+xml"/>
  <Override PartName="/ppt/tags/tag221.xml" ContentType="application/vnd.openxmlformats-officedocument.presentationml.tags+xml"/>
  <Override PartName="/ppt/charts/chart194.xml" ContentType="application/vnd.openxmlformats-officedocument.drawingml.chart+xml"/>
  <Override PartName="/ppt/tags/tag222.xml" ContentType="application/vnd.openxmlformats-officedocument.presentationml.tags+xml"/>
  <Override PartName="/ppt/charts/chart195.xml" ContentType="application/vnd.openxmlformats-officedocument.drawingml.chart+xml"/>
  <Override PartName="/ppt/tags/tag223.xml" ContentType="application/vnd.openxmlformats-officedocument.presentationml.tags+xml"/>
  <Override PartName="/ppt/charts/chart196.xml" ContentType="application/vnd.openxmlformats-officedocument.drawingml.chart+xml"/>
  <Override PartName="/ppt/tags/tag224.xml" ContentType="application/vnd.openxmlformats-officedocument.presentationml.tags+xml"/>
  <Override PartName="/ppt/charts/chart197.xml" ContentType="application/vnd.openxmlformats-officedocument.drawingml.chart+xml"/>
  <Override PartName="/ppt/tags/tag225.xml" ContentType="application/vnd.openxmlformats-officedocument.presentationml.tags+xml"/>
  <Override PartName="/ppt/charts/chart198.xml" ContentType="application/vnd.openxmlformats-officedocument.drawingml.chart+xml"/>
  <Override PartName="/ppt/tags/tag226.xml" ContentType="application/vnd.openxmlformats-officedocument.presentationml.tags+xml"/>
  <Override PartName="/ppt/charts/chart199.xml" ContentType="application/vnd.openxmlformats-officedocument.drawingml.chart+xml"/>
  <Override PartName="/ppt/tags/tag227.xml" ContentType="application/vnd.openxmlformats-officedocument.presentationml.tags+xml"/>
  <Override PartName="/ppt/charts/chart200.xml" ContentType="application/vnd.openxmlformats-officedocument.drawingml.chart+xml"/>
  <Override PartName="/ppt/tags/tag228.xml" ContentType="application/vnd.openxmlformats-officedocument.presentationml.tags+xml"/>
  <Override PartName="/ppt/charts/chart201.xml" ContentType="application/vnd.openxmlformats-officedocument.drawingml.chart+xml"/>
  <Override PartName="/ppt/tags/tag229.xml" ContentType="application/vnd.openxmlformats-officedocument.presentationml.tags+xml"/>
  <Override PartName="/ppt/charts/chart202.xml" ContentType="application/vnd.openxmlformats-officedocument.drawingml.chart+xml"/>
  <Override PartName="/ppt/tags/tag230.xml" ContentType="application/vnd.openxmlformats-officedocument.presentationml.tags+xml"/>
  <Override PartName="/ppt/charts/chart203.xml" ContentType="application/vnd.openxmlformats-officedocument.drawingml.chart+xml"/>
  <Override PartName="/ppt/tags/tag231.xml" ContentType="application/vnd.openxmlformats-officedocument.presentationml.tags+xml"/>
  <Override PartName="/ppt/charts/chart204.xml" ContentType="application/vnd.openxmlformats-officedocument.drawingml.chart+xml"/>
  <Override PartName="/ppt/tags/tag232.xml" ContentType="application/vnd.openxmlformats-officedocument.presentationml.tags+xml"/>
  <Override PartName="/ppt/charts/chart205.xml" ContentType="application/vnd.openxmlformats-officedocument.drawingml.chart+xml"/>
  <Override PartName="/ppt/tags/tag233.xml" ContentType="application/vnd.openxmlformats-officedocument.presentationml.tags+xml"/>
  <Override PartName="/ppt/charts/chart206.xml" ContentType="application/vnd.openxmlformats-officedocument.drawingml.chart+xml"/>
  <Override PartName="/ppt/tags/tag234.xml" ContentType="application/vnd.openxmlformats-officedocument.presentationml.tags+xml"/>
  <Override PartName="/ppt/charts/chart207.xml" ContentType="application/vnd.openxmlformats-officedocument.drawingml.chart+xml"/>
  <Override PartName="/ppt/tags/tag235.xml" ContentType="application/vnd.openxmlformats-officedocument.presentationml.tags+xml"/>
  <Override PartName="/ppt/charts/chart208.xml" ContentType="application/vnd.openxmlformats-officedocument.drawingml.chart+xml"/>
  <Override PartName="/ppt/tags/tag236.xml" ContentType="application/vnd.openxmlformats-officedocument.presentationml.tags+xml"/>
  <Override PartName="/ppt/charts/chart209.xml" ContentType="application/vnd.openxmlformats-officedocument.drawingml.chart+xml"/>
  <Override PartName="/ppt/tags/tag237.xml" ContentType="application/vnd.openxmlformats-officedocument.presentationml.tags+xml"/>
  <Override PartName="/ppt/charts/chart210.xml" ContentType="application/vnd.openxmlformats-officedocument.drawingml.chart+xml"/>
  <Override PartName="/ppt/tags/tag238.xml" ContentType="application/vnd.openxmlformats-officedocument.presentationml.tags+xml"/>
  <Override PartName="/ppt/charts/chart211.xml" ContentType="application/vnd.openxmlformats-officedocument.drawingml.chart+xml"/>
  <Override PartName="/ppt/tags/tag239.xml" ContentType="application/vnd.openxmlformats-officedocument.presentationml.tags+xml"/>
  <Override PartName="/ppt/charts/chart212.xml" ContentType="application/vnd.openxmlformats-officedocument.drawingml.chart+xml"/>
  <Override PartName="/ppt/tags/tag240.xml" ContentType="application/vnd.openxmlformats-officedocument.presentationml.tags+xml"/>
  <Override PartName="/ppt/charts/chart213.xml" ContentType="application/vnd.openxmlformats-officedocument.drawingml.chart+xml"/>
  <Override PartName="/ppt/tags/tag241.xml" ContentType="application/vnd.openxmlformats-officedocument.presentationml.tags+xml"/>
  <Override PartName="/ppt/charts/chart214.xml" ContentType="application/vnd.openxmlformats-officedocument.drawingml.chart+xml"/>
  <Override PartName="/ppt/tags/tag242.xml" ContentType="application/vnd.openxmlformats-officedocument.presentationml.tags+xml"/>
  <Override PartName="/ppt/charts/chart215.xml" ContentType="application/vnd.openxmlformats-officedocument.drawingml.chart+xml"/>
  <Override PartName="/ppt/tags/tag243.xml" ContentType="application/vnd.openxmlformats-officedocument.presentationml.tags+xml"/>
  <Override PartName="/ppt/charts/chart216.xml" ContentType="application/vnd.openxmlformats-officedocument.drawingml.chart+xml"/>
  <Override PartName="/ppt/tags/tag244.xml" ContentType="application/vnd.openxmlformats-officedocument.presentationml.tags+xml"/>
  <Override PartName="/ppt/charts/chart217.xml" ContentType="application/vnd.openxmlformats-officedocument.drawingml.chart+xml"/>
  <Override PartName="/ppt/tags/tag245.xml" ContentType="application/vnd.openxmlformats-officedocument.presentationml.tags+xml"/>
  <Override PartName="/ppt/charts/chart218.xml" ContentType="application/vnd.openxmlformats-officedocument.drawingml.chart+xml"/>
  <Override PartName="/ppt/tags/tag246.xml" ContentType="application/vnd.openxmlformats-officedocument.presentationml.tags+xml"/>
  <Override PartName="/ppt/charts/chart219.xml" ContentType="application/vnd.openxmlformats-officedocument.drawingml.chart+xml"/>
  <Override PartName="/ppt/tags/tag247.xml" ContentType="application/vnd.openxmlformats-officedocument.presentationml.tags+xml"/>
  <Override PartName="/ppt/charts/chart220.xml" ContentType="application/vnd.openxmlformats-officedocument.drawingml.chart+xml"/>
  <Override PartName="/ppt/tags/tag248.xml" ContentType="application/vnd.openxmlformats-officedocument.presentationml.tags+xml"/>
  <Override PartName="/ppt/charts/chart221.xml" ContentType="application/vnd.openxmlformats-officedocument.drawingml.chart+xml"/>
  <Override PartName="/ppt/tags/tag249.xml" ContentType="application/vnd.openxmlformats-officedocument.presentationml.tags+xml"/>
  <Override PartName="/ppt/charts/chart222.xml" ContentType="application/vnd.openxmlformats-officedocument.drawingml.chart+xml"/>
  <Override PartName="/ppt/tags/tag250.xml" ContentType="application/vnd.openxmlformats-officedocument.presentationml.tags+xml"/>
  <Override PartName="/ppt/charts/chart223.xml" ContentType="application/vnd.openxmlformats-officedocument.drawingml.chart+xml"/>
  <Override PartName="/ppt/tags/tag251.xml" ContentType="application/vnd.openxmlformats-officedocument.presentationml.tags+xml"/>
  <Override PartName="/ppt/charts/chart224.xml" ContentType="application/vnd.openxmlformats-officedocument.drawingml.chart+xml"/>
  <Override PartName="/ppt/tags/tag252.xml" ContentType="application/vnd.openxmlformats-officedocument.presentationml.tags+xml"/>
  <Override PartName="/ppt/charts/chart225.xml" ContentType="application/vnd.openxmlformats-officedocument.drawingml.chart+xml"/>
  <Override PartName="/ppt/tags/tag253.xml" ContentType="application/vnd.openxmlformats-officedocument.presentationml.tags+xml"/>
  <Override PartName="/ppt/charts/chart226.xml" ContentType="application/vnd.openxmlformats-officedocument.drawingml.chart+xml"/>
  <Override PartName="/ppt/tags/tag254.xml" ContentType="application/vnd.openxmlformats-officedocument.presentationml.tags+xml"/>
  <Override PartName="/ppt/charts/chart227.xml" ContentType="application/vnd.openxmlformats-officedocument.drawingml.chart+xml"/>
  <Override PartName="/ppt/tags/tag255.xml" ContentType="application/vnd.openxmlformats-officedocument.presentationml.tags+xml"/>
  <Override PartName="/ppt/charts/chart228.xml" ContentType="application/vnd.openxmlformats-officedocument.drawingml.chart+xml"/>
  <Override PartName="/ppt/tags/tag256.xml" ContentType="application/vnd.openxmlformats-officedocument.presentationml.tags+xml"/>
  <Override PartName="/ppt/charts/chart229.xml" ContentType="application/vnd.openxmlformats-officedocument.drawingml.chart+xml"/>
  <Override PartName="/ppt/tags/tag257.xml" ContentType="application/vnd.openxmlformats-officedocument.presentationml.tags+xml"/>
  <Override PartName="/ppt/charts/chart230.xml" ContentType="application/vnd.openxmlformats-officedocument.drawingml.chart+xml"/>
  <Override PartName="/ppt/tags/tag258.xml" ContentType="application/vnd.openxmlformats-officedocument.presentationml.tags+xml"/>
  <Override PartName="/ppt/charts/chart231.xml" ContentType="application/vnd.openxmlformats-officedocument.drawingml.chart+xml"/>
  <Override PartName="/ppt/tags/tag259.xml" ContentType="application/vnd.openxmlformats-officedocument.presentationml.tags+xml"/>
  <Override PartName="/ppt/charts/chart232.xml" ContentType="application/vnd.openxmlformats-officedocument.drawingml.chart+xml"/>
  <Override PartName="/ppt/tags/tag260.xml" ContentType="application/vnd.openxmlformats-officedocument.presentationml.tags+xml"/>
  <Override PartName="/ppt/charts/chart233.xml" ContentType="application/vnd.openxmlformats-officedocument.drawingml.chart+xml"/>
  <Override PartName="/ppt/tags/tag261.xml" ContentType="application/vnd.openxmlformats-officedocument.presentationml.tags+xml"/>
  <Override PartName="/ppt/charts/chart234.xml" ContentType="application/vnd.openxmlformats-officedocument.drawingml.chart+xml"/>
  <Override PartName="/ppt/tags/tag262.xml" ContentType="application/vnd.openxmlformats-officedocument.presentationml.tags+xml"/>
  <Override PartName="/ppt/charts/chart235.xml" ContentType="application/vnd.openxmlformats-officedocument.drawingml.chart+xml"/>
  <Override PartName="/ppt/tags/tag263.xml" ContentType="application/vnd.openxmlformats-officedocument.presentationml.tags+xml"/>
  <Override PartName="/ppt/charts/chart236.xml" ContentType="application/vnd.openxmlformats-officedocument.drawingml.chart+xml"/>
  <Override PartName="/ppt/tags/tag264.xml" ContentType="application/vnd.openxmlformats-officedocument.presentationml.tags+xml"/>
  <Override PartName="/ppt/charts/chart237.xml" ContentType="application/vnd.openxmlformats-officedocument.drawingml.chart+xml"/>
  <Override PartName="/ppt/tags/tag265.xml" ContentType="application/vnd.openxmlformats-officedocument.presentationml.tags+xml"/>
  <Override PartName="/ppt/charts/chart238.xml" ContentType="application/vnd.openxmlformats-officedocument.drawingml.chart+xml"/>
  <Override PartName="/ppt/tags/tag266.xml" ContentType="application/vnd.openxmlformats-officedocument.presentationml.tags+xml"/>
  <Override PartName="/ppt/charts/chart239.xml" ContentType="application/vnd.openxmlformats-officedocument.drawingml.chart+xml"/>
  <Override PartName="/ppt/tags/tag267.xml" ContentType="application/vnd.openxmlformats-officedocument.presentationml.tags+xml"/>
  <Override PartName="/ppt/charts/chart240.xml" ContentType="application/vnd.openxmlformats-officedocument.drawingml.chart+xml"/>
  <Override PartName="/ppt/tags/tag268.xml" ContentType="application/vnd.openxmlformats-officedocument.presentationml.tags+xml"/>
  <Override PartName="/ppt/charts/chart241.xml" ContentType="application/vnd.openxmlformats-officedocument.drawingml.chart+xml"/>
  <Override PartName="/ppt/tags/tag269.xml" ContentType="application/vnd.openxmlformats-officedocument.presentationml.tags+xml"/>
  <Override PartName="/ppt/charts/chart242.xml" ContentType="application/vnd.openxmlformats-officedocument.drawingml.chart+xml"/>
  <Override PartName="/ppt/tags/tag270.xml" ContentType="application/vnd.openxmlformats-officedocument.presentationml.tags+xml"/>
  <Override PartName="/ppt/charts/chart243.xml" ContentType="application/vnd.openxmlformats-officedocument.drawingml.chart+xml"/>
  <Override PartName="/ppt/tags/tag271.xml" ContentType="application/vnd.openxmlformats-officedocument.presentationml.tags+xml"/>
  <Override PartName="/ppt/charts/chart244.xml" ContentType="application/vnd.openxmlformats-officedocument.drawingml.chart+xml"/>
  <Override PartName="/ppt/tags/tag272.xml" ContentType="application/vnd.openxmlformats-officedocument.presentationml.tags+xml"/>
  <Override PartName="/ppt/charts/chart245.xml" ContentType="application/vnd.openxmlformats-officedocument.drawingml.chart+xml"/>
  <Override PartName="/ppt/tags/tag273.xml" ContentType="application/vnd.openxmlformats-officedocument.presentationml.tags+xml"/>
  <Override PartName="/ppt/charts/chart246.xml" ContentType="application/vnd.openxmlformats-officedocument.drawingml.chart+xml"/>
  <Override PartName="/ppt/tags/tag274.xml" ContentType="application/vnd.openxmlformats-officedocument.presentationml.tags+xml"/>
  <Override PartName="/ppt/charts/chart247.xml" ContentType="application/vnd.openxmlformats-officedocument.drawingml.chart+xml"/>
  <Override PartName="/ppt/tags/tag275.xml" ContentType="application/vnd.openxmlformats-officedocument.presentationml.tags+xml"/>
  <Override PartName="/ppt/charts/chart248.xml" ContentType="application/vnd.openxmlformats-officedocument.drawingml.chart+xml"/>
  <Override PartName="/ppt/tags/tag276.xml" ContentType="application/vnd.openxmlformats-officedocument.presentationml.tags+xml"/>
  <Override PartName="/ppt/charts/chart249.xml" ContentType="application/vnd.openxmlformats-officedocument.drawingml.chart+xml"/>
  <Override PartName="/ppt/tags/tag277.xml" ContentType="application/vnd.openxmlformats-officedocument.presentationml.tags+xml"/>
  <Override PartName="/ppt/charts/chart250.xml" ContentType="application/vnd.openxmlformats-officedocument.drawingml.chart+xml"/>
  <Override PartName="/ppt/tags/tag278.xml" ContentType="application/vnd.openxmlformats-officedocument.presentationml.tags+xml"/>
  <Override PartName="/ppt/charts/chart251.xml" ContentType="application/vnd.openxmlformats-officedocument.drawingml.chart+xml"/>
  <Override PartName="/ppt/tags/tag279.xml" ContentType="application/vnd.openxmlformats-officedocument.presentationml.tags+xml"/>
  <Override PartName="/ppt/charts/chart252.xml" ContentType="application/vnd.openxmlformats-officedocument.drawingml.chart+xml"/>
  <Override PartName="/ppt/tags/tag280.xml" ContentType="application/vnd.openxmlformats-officedocument.presentationml.tags+xml"/>
  <Override PartName="/ppt/charts/chart253.xml" ContentType="application/vnd.openxmlformats-officedocument.drawingml.chart+xml"/>
  <Override PartName="/ppt/tags/tag281.xml" ContentType="application/vnd.openxmlformats-officedocument.presentationml.tags+xml"/>
  <Override PartName="/ppt/charts/chart254.xml" ContentType="application/vnd.openxmlformats-officedocument.drawingml.chart+xml"/>
  <Override PartName="/ppt/tags/tag282.xml" ContentType="application/vnd.openxmlformats-officedocument.presentationml.tags+xml"/>
  <Override PartName="/ppt/charts/chart255.xml" ContentType="application/vnd.openxmlformats-officedocument.drawingml.chart+xml"/>
  <Override PartName="/ppt/tags/tag283.xml" ContentType="application/vnd.openxmlformats-officedocument.presentationml.tags+xml"/>
  <Override PartName="/ppt/charts/chart256.xml" ContentType="application/vnd.openxmlformats-officedocument.drawingml.chart+xml"/>
  <Override PartName="/ppt/tags/tag284.xml" ContentType="application/vnd.openxmlformats-officedocument.presentationml.tags+xml"/>
  <Override PartName="/ppt/charts/chart257.xml" ContentType="application/vnd.openxmlformats-officedocument.drawingml.chart+xml"/>
  <Override PartName="/ppt/tags/tag285.xml" ContentType="application/vnd.openxmlformats-officedocument.presentationml.tags+xml"/>
  <Override PartName="/ppt/charts/chart258.xml" ContentType="application/vnd.openxmlformats-officedocument.drawingml.chart+xml"/>
  <Override PartName="/ppt/tags/tag286.xml" ContentType="application/vnd.openxmlformats-officedocument.presentationml.tags+xml"/>
  <Override PartName="/ppt/charts/chart259.xml" ContentType="application/vnd.openxmlformats-officedocument.drawingml.chart+xml"/>
  <Override PartName="/ppt/tags/tag287.xml" ContentType="application/vnd.openxmlformats-officedocument.presentationml.tags+xml"/>
  <Override PartName="/ppt/charts/chart260.xml" ContentType="application/vnd.openxmlformats-officedocument.drawingml.chart+xml"/>
  <Override PartName="/ppt/tags/tag288.xml" ContentType="application/vnd.openxmlformats-officedocument.presentationml.tags+xml"/>
  <Override PartName="/ppt/charts/chart261.xml" ContentType="application/vnd.openxmlformats-officedocument.drawingml.chart+xml"/>
  <Override PartName="/ppt/tags/tag289.xml" ContentType="application/vnd.openxmlformats-officedocument.presentationml.tags+xml"/>
  <Override PartName="/ppt/charts/chart262.xml" ContentType="application/vnd.openxmlformats-officedocument.drawingml.chart+xml"/>
  <Override PartName="/ppt/tags/tag290.xml" ContentType="application/vnd.openxmlformats-officedocument.presentationml.tags+xml"/>
  <Override PartName="/ppt/charts/chart263.xml" ContentType="application/vnd.openxmlformats-officedocument.drawingml.chart+xml"/>
  <Override PartName="/ppt/tags/tag291.xml" ContentType="application/vnd.openxmlformats-officedocument.presentationml.tags+xml"/>
  <Override PartName="/ppt/charts/chart264.xml" ContentType="application/vnd.openxmlformats-officedocument.drawingml.chart+xml"/>
  <Override PartName="/ppt/tags/tag292.xml" ContentType="application/vnd.openxmlformats-officedocument.presentationml.tags+xml"/>
  <Override PartName="/ppt/charts/chart265.xml" ContentType="application/vnd.openxmlformats-officedocument.drawingml.chart+xml"/>
  <Override PartName="/ppt/tags/tag293.xml" ContentType="application/vnd.openxmlformats-officedocument.presentationml.tags+xml"/>
  <Override PartName="/ppt/charts/chart266.xml" ContentType="application/vnd.openxmlformats-officedocument.drawingml.chart+xml"/>
  <Override PartName="/ppt/tags/tag294.xml" ContentType="application/vnd.openxmlformats-officedocument.presentationml.tags+xml"/>
  <Override PartName="/ppt/charts/chart267.xml" ContentType="application/vnd.openxmlformats-officedocument.drawingml.chart+xml"/>
  <Override PartName="/ppt/tags/tag295.xml" ContentType="application/vnd.openxmlformats-officedocument.presentationml.tags+xml"/>
  <Override PartName="/ppt/charts/chart268.xml" ContentType="application/vnd.openxmlformats-officedocument.drawingml.chart+xml"/>
  <Override PartName="/ppt/tags/tag296.xml" ContentType="application/vnd.openxmlformats-officedocument.presentationml.tags+xml"/>
  <Override PartName="/ppt/charts/chart269.xml" ContentType="application/vnd.openxmlformats-officedocument.drawingml.chart+xml"/>
  <Override PartName="/ppt/tags/tag297.xml" ContentType="application/vnd.openxmlformats-officedocument.presentationml.tags+xml"/>
  <Override PartName="/ppt/charts/chart270.xml" ContentType="application/vnd.openxmlformats-officedocument.drawingml.chart+xml"/>
  <Override PartName="/ppt/tags/tag298.xml" ContentType="application/vnd.openxmlformats-officedocument.presentationml.tags+xml"/>
  <Override PartName="/ppt/charts/chart271.xml" ContentType="application/vnd.openxmlformats-officedocument.drawingml.chart+xml"/>
  <Override PartName="/ppt/tags/tag299.xml" ContentType="application/vnd.openxmlformats-officedocument.presentationml.tags+xml"/>
  <Override PartName="/ppt/charts/chart272.xml" ContentType="application/vnd.openxmlformats-officedocument.drawingml.chart+xml"/>
  <Override PartName="/ppt/tags/tag300.xml" ContentType="application/vnd.openxmlformats-officedocument.presentationml.tags+xml"/>
  <Override PartName="/ppt/charts/chart273.xml" ContentType="application/vnd.openxmlformats-officedocument.drawingml.chart+xml"/>
  <Override PartName="/ppt/tags/tag301.xml" ContentType="application/vnd.openxmlformats-officedocument.presentationml.tags+xml"/>
  <Override PartName="/ppt/charts/chart274.xml" ContentType="application/vnd.openxmlformats-officedocument.drawingml.chart+xml"/>
  <Override PartName="/ppt/tags/tag302.xml" ContentType="application/vnd.openxmlformats-officedocument.presentationml.tags+xml"/>
  <Override PartName="/ppt/charts/chart275.xml" ContentType="application/vnd.openxmlformats-officedocument.drawingml.chart+xml"/>
  <Override PartName="/ppt/tags/tag303.xml" ContentType="application/vnd.openxmlformats-officedocument.presentationml.tags+xml"/>
  <Override PartName="/ppt/charts/chart276.xml" ContentType="application/vnd.openxmlformats-officedocument.drawingml.chart+xml"/>
  <Override PartName="/ppt/tags/tag304.xml" ContentType="application/vnd.openxmlformats-officedocument.presentationml.tags+xml"/>
  <Override PartName="/ppt/charts/chart277.xml" ContentType="application/vnd.openxmlformats-officedocument.drawingml.chart+xml"/>
  <Override PartName="/ppt/tags/tag305.xml" ContentType="application/vnd.openxmlformats-officedocument.presentationml.tags+xml"/>
  <Override PartName="/ppt/charts/chart278.xml" ContentType="application/vnd.openxmlformats-officedocument.drawingml.chart+xml"/>
  <Override PartName="/ppt/tags/tag306.xml" ContentType="application/vnd.openxmlformats-officedocument.presentationml.tags+xml"/>
  <Override PartName="/ppt/charts/chart279.xml" ContentType="application/vnd.openxmlformats-officedocument.drawingml.chart+xml"/>
  <Override PartName="/ppt/tags/tag307.xml" ContentType="application/vnd.openxmlformats-officedocument.presentationml.tags+xml"/>
  <Override PartName="/ppt/charts/chart280.xml" ContentType="application/vnd.openxmlformats-officedocument.drawingml.chart+xml"/>
  <Override PartName="/ppt/tags/tag308.xml" ContentType="application/vnd.openxmlformats-officedocument.presentationml.tags+xml"/>
  <Override PartName="/ppt/charts/chart281.xml" ContentType="application/vnd.openxmlformats-officedocument.drawingml.chart+xml"/>
  <Override PartName="/ppt/tags/tag309.xml" ContentType="application/vnd.openxmlformats-officedocument.presentationml.tags+xml"/>
  <Override PartName="/ppt/charts/chart282.xml" ContentType="application/vnd.openxmlformats-officedocument.drawingml.chart+xml"/>
  <Override PartName="/ppt/tags/tag310.xml" ContentType="application/vnd.openxmlformats-officedocument.presentationml.tags+xml"/>
  <Override PartName="/ppt/charts/chart283.xml" ContentType="application/vnd.openxmlformats-officedocument.drawingml.chart+xml"/>
  <Override PartName="/ppt/tags/tag311.xml" ContentType="application/vnd.openxmlformats-officedocument.presentationml.tags+xml"/>
  <Override PartName="/ppt/charts/chart284.xml" ContentType="application/vnd.openxmlformats-officedocument.drawingml.chart+xml"/>
  <Override PartName="/ppt/tags/tag312.xml" ContentType="application/vnd.openxmlformats-officedocument.presentationml.tags+xml"/>
  <Override PartName="/ppt/charts/chart285.xml" ContentType="application/vnd.openxmlformats-officedocument.drawingml.chart+xml"/>
  <Override PartName="/ppt/tags/tag313.xml" ContentType="application/vnd.openxmlformats-officedocument.presentationml.tags+xml"/>
  <Override PartName="/ppt/charts/chart286.xml" ContentType="application/vnd.openxmlformats-officedocument.drawingml.chart+xml"/>
  <Override PartName="/ppt/tags/tag314.xml" ContentType="application/vnd.openxmlformats-officedocument.presentationml.tags+xml"/>
  <Override PartName="/ppt/charts/chart287.xml" ContentType="application/vnd.openxmlformats-officedocument.drawingml.chart+xml"/>
  <Override PartName="/ppt/tags/tag315.xml" ContentType="application/vnd.openxmlformats-officedocument.presentationml.tags+xml"/>
  <Override PartName="/ppt/charts/chart288.xml" ContentType="application/vnd.openxmlformats-officedocument.drawingml.chart+xml"/>
  <Override PartName="/ppt/tags/tag316.xml" ContentType="application/vnd.openxmlformats-officedocument.presentationml.tags+xml"/>
  <Override PartName="/ppt/charts/chart289.xml" ContentType="application/vnd.openxmlformats-officedocument.drawingml.chart+xml"/>
  <Override PartName="/ppt/tags/tag317.xml" ContentType="application/vnd.openxmlformats-officedocument.presentationml.tags+xml"/>
  <Override PartName="/ppt/charts/chart290.xml" ContentType="application/vnd.openxmlformats-officedocument.drawingml.chart+xml"/>
  <Override PartName="/ppt/tags/tag318.xml" ContentType="application/vnd.openxmlformats-officedocument.presentationml.tags+xml"/>
  <Override PartName="/ppt/charts/chart291.xml" ContentType="application/vnd.openxmlformats-officedocument.drawingml.chart+xml"/>
  <Override PartName="/ppt/tags/tag319.xml" ContentType="application/vnd.openxmlformats-officedocument.presentationml.tags+xml"/>
  <Override PartName="/ppt/charts/chart292.xml" ContentType="application/vnd.openxmlformats-officedocument.drawingml.chart+xml"/>
  <Override PartName="/ppt/tags/tag320.xml" ContentType="application/vnd.openxmlformats-officedocument.presentationml.tags+xml"/>
  <Override PartName="/ppt/charts/chart293.xml" ContentType="application/vnd.openxmlformats-officedocument.drawingml.chart+xml"/>
  <Override PartName="/ppt/tags/tag321.xml" ContentType="application/vnd.openxmlformats-officedocument.presentationml.tags+xml"/>
  <Override PartName="/ppt/charts/chart294.xml" ContentType="application/vnd.openxmlformats-officedocument.drawingml.chart+xml"/>
  <Override PartName="/ppt/tags/tag322.xml" ContentType="application/vnd.openxmlformats-officedocument.presentationml.tags+xml"/>
  <Override PartName="/ppt/charts/chart295.xml" ContentType="application/vnd.openxmlformats-officedocument.drawingml.chart+xml"/>
  <Override PartName="/ppt/tags/tag323.xml" ContentType="application/vnd.openxmlformats-officedocument.presentationml.tags+xml"/>
  <Override PartName="/ppt/charts/chart296.xml" ContentType="application/vnd.openxmlformats-officedocument.drawingml.chart+xml"/>
  <Override PartName="/ppt/tags/tag324.xml" ContentType="application/vnd.openxmlformats-officedocument.presentationml.tags+xml"/>
  <Override PartName="/ppt/charts/chart297.xml" ContentType="application/vnd.openxmlformats-officedocument.drawingml.chart+xml"/>
  <Override PartName="/ppt/tags/tag325.xml" ContentType="application/vnd.openxmlformats-officedocument.presentationml.tags+xml"/>
  <Override PartName="/ppt/charts/chart298.xml" ContentType="application/vnd.openxmlformats-officedocument.drawingml.chart+xml"/>
  <Override PartName="/ppt/tags/tag326.xml" ContentType="application/vnd.openxmlformats-officedocument.presentationml.tags+xml"/>
  <Override PartName="/ppt/charts/chart299.xml" ContentType="application/vnd.openxmlformats-officedocument.drawingml.chart+xml"/>
  <Override PartName="/ppt/tags/tag327.xml" ContentType="application/vnd.openxmlformats-officedocument.presentationml.tags+xml"/>
  <Override PartName="/ppt/charts/chart300.xml" ContentType="application/vnd.openxmlformats-officedocument.drawingml.chart+xml"/>
  <Override PartName="/ppt/tags/tag328.xml" ContentType="application/vnd.openxmlformats-officedocument.presentationml.tags+xml"/>
  <Override PartName="/ppt/charts/chart301.xml" ContentType="application/vnd.openxmlformats-officedocument.drawingml.chart+xml"/>
  <Override PartName="/ppt/tags/tag329.xml" ContentType="application/vnd.openxmlformats-officedocument.presentationml.tags+xml"/>
  <Override PartName="/ppt/charts/chart302.xml" ContentType="application/vnd.openxmlformats-officedocument.drawingml.chart+xml"/>
  <Override PartName="/ppt/tags/tag330.xml" ContentType="application/vnd.openxmlformats-officedocument.presentationml.tags+xml"/>
  <Override PartName="/ppt/charts/chart303.xml" ContentType="application/vnd.openxmlformats-officedocument.drawingml.chart+xml"/>
  <Override PartName="/ppt/tags/tag331.xml" ContentType="application/vnd.openxmlformats-officedocument.presentationml.tags+xml"/>
  <Override PartName="/ppt/charts/chart304.xml" ContentType="application/vnd.openxmlformats-officedocument.drawingml.chart+xml"/>
  <Override PartName="/ppt/tags/tag332.xml" ContentType="application/vnd.openxmlformats-officedocument.presentationml.tags+xml"/>
  <Override PartName="/ppt/charts/chart305.xml" ContentType="application/vnd.openxmlformats-officedocument.drawingml.chart+xml"/>
  <Override PartName="/ppt/tags/tag333.xml" ContentType="application/vnd.openxmlformats-officedocument.presentationml.tags+xml"/>
  <Override PartName="/ppt/charts/chart306.xml" ContentType="application/vnd.openxmlformats-officedocument.drawingml.chart+xml"/>
  <Override PartName="/ppt/tags/tag334.xml" ContentType="application/vnd.openxmlformats-officedocument.presentationml.tags+xml"/>
  <Override PartName="/ppt/charts/chart307.xml" ContentType="application/vnd.openxmlformats-officedocument.drawingml.chart+xml"/>
  <Override PartName="/ppt/tags/tag335.xml" ContentType="application/vnd.openxmlformats-officedocument.presentationml.tags+xml"/>
  <Override PartName="/ppt/charts/chart308.xml" ContentType="application/vnd.openxmlformats-officedocument.drawingml.chart+xml"/>
  <Override PartName="/ppt/tags/tag336.xml" ContentType="application/vnd.openxmlformats-officedocument.presentationml.tags+xml"/>
  <Override PartName="/ppt/charts/chart309.xml" ContentType="application/vnd.openxmlformats-officedocument.drawingml.chart+xml"/>
  <Override PartName="/ppt/tags/tag337.xml" ContentType="application/vnd.openxmlformats-officedocument.presentationml.tags+xml"/>
  <Override PartName="/ppt/charts/chart310.xml" ContentType="application/vnd.openxmlformats-officedocument.drawingml.chart+xml"/>
  <Override PartName="/ppt/tags/tag338.xml" ContentType="application/vnd.openxmlformats-officedocument.presentationml.tags+xml"/>
  <Override PartName="/ppt/charts/chart311.xml" ContentType="application/vnd.openxmlformats-officedocument.drawingml.chart+xml"/>
  <Override PartName="/ppt/tags/tag339.xml" ContentType="application/vnd.openxmlformats-officedocument.presentationml.tags+xml"/>
  <Override PartName="/ppt/charts/chart312.xml" ContentType="application/vnd.openxmlformats-officedocument.drawingml.chart+xml"/>
  <Override PartName="/ppt/tags/tag340.xml" ContentType="application/vnd.openxmlformats-officedocument.presentationml.tags+xml"/>
  <Override PartName="/ppt/charts/chart313.xml" ContentType="application/vnd.openxmlformats-officedocument.drawingml.chart+xml"/>
  <Override PartName="/ppt/tags/tag341.xml" ContentType="application/vnd.openxmlformats-officedocument.presentationml.tags+xml"/>
  <Override PartName="/ppt/charts/chart314.xml" ContentType="application/vnd.openxmlformats-officedocument.drawingml.chart+xml"/>
  <Override PartName="/ppt/tags/tag342.xml" ContentType="application/vnd.openxmlformats-officedocument.presentationml.tags+xml"/>
  <Override PartName="/ppt/charts/chart315.xml" ContentType="application/vnd.openxmlformats-officedocument.drawingml.chart+xml"/>
  <Override PartName="/ppt/tags/tag343.xml" ContentType="application/vnd.openxmlformats-officedocument.presentationml.tags+xml"/>
  <Override PartName="/ppt/charts/chart316.xml" ContentType="application/vnd.openxmlformats-officedocument.drawingml.chart+xml"/>
  <Override PartName="/ppt/tags/tag344.xml" ContentType="application/vnd.openxmlformats-officedocument.presentationml.tags+xml"/>
  <Override PartName="/ppt/charts/chart317.xml" ContentType="application/vnd.openxmlformats-officedocument.drawingml.chart+xml"/>
  <Override PartName="/ppt/tags/tag345.xml" ContentType="application/vnd.openxmlformats-officedocument.presentationml.tags+xml"/>
  <Override PartName="/ppt/charts/chart318.xml" ContentType="application/vnd.openxmlformats-officedocument.drawingml.chart+xml"/>
  <Override PartName="/ppt/tags/tag346.xml" ContentType="application/vnd.openxmlformats-officedocument.presentationml.tags+xml"/>
  <Override PartName="/ppt/charts/chart319.xml" ContentType="application/vnd.openxmlformats-officedocument.drawingml.chart+xml"/>
  <Override PartName="/ppt/tags/tag347.xml" ContentType="application/vnd.openxmlformats-officedocument.presentationml.tags+xml"/>
  <Override PartName="/ppt/charts/chart320.xml" ContentType="application/vnd.openxmlformats-officedocument.drawingml.chart+xml"/>
  <Override PartName="/ppt/tags/tag348.xml" ContentType="application/vnd.openxmlformats-officedocument.presentationml.tags+xml"/>
  <Override PartName="/ppt/charts/chart321.xml" ContentType="application/vnd.openxmlformats-officedocument.drawingml.chart+xml"/>
  <Override PartName="/ppt/tags/tag349.xml" ContentType="application/vnd.openxmlformats-officedocument.presentationml.tags+xml"/>
  <Override PartName="/ppt/charts/chart322.xml" ContentType="application/vnd.openxmlformats-officedocument.drawingml.chart+xml"/>
  <Override PartName="/ppt/tags/tag350.xml" ContentType="application/vnd.openxmlformats-officedocument.presentationml.tags+xml"/>
  <Override PartName="/ppt/charts/chart323.xml" ContentType="application/vnd.openxmlformats-officedocument.drawingml.chart+xml"/>
  <Override PartName="/ppt/tags/tag351.xml" ContentType="application/vnd.openxmlformats-officedocument.presentationml.tags+xml"/>
  <Override PartName="/ppt/charts/chart324.xml" ContentType="application/vnd.openxmlformats-officedocument.drawingml.chart+xml"/>
  <Override PartName="/ppt/tags/tag352.xml" ContentType="application/vnd.openxmlformats-officedocument.presentationml.tags+xml"/>
  <Override PartName="/ppt/charts/chart325.xml" ContentType="application/vnd.openxmlformats-officedocument.drawingml.chart+xml"/>
  <Override PartName="/ppt/tags/tag353.xml" ContentType="application/vnd.openxmlformats-officedocument.presentationml.tags+xml"/>
  <Override PartName="/ppt/charts/chart326.xml" ContentType="application/vnd.openxmlformats-officedocument.drawingml.chart+xml"/>
  <Override PartName="/ppt/tags/tag354.xml" ContentType="application/vnd.openxmlformats-officedocument.presentationml.tags+xml"/>
  <Override PartName="/ppt/charts/chart327.xml" ContentType="application/vnd.openxmlformats-officedocument.drawingml.chart+xml"/>
  <Override PartName="/ppt/tags/tag355.xml" ContentType="application/vnd.openxmlformats-officedocument.presentationml.tags+xml"/>
  <Override PartName="/ppt/charts/chart328.xml" ContentType="application/vnd.openxmlformats-officedocument.drawingml.chart+xml"/>
  <Override PartName="/ppt/tags/tag356.xml" ContentType="application/vnd.openxmlformats-officedocument.presentationml.tags+xml"/>
  <Override PartName="/ppt/charts/chart329.xml" ContentType="application/vnd.openxmlformats-officedocument.drawingml.chart+xml"/>
  <Override PartName="/ppt/tags/tag357.xml" ContentType="application/vnd.openxmlformats-officedocument.presentationml.tags+xml"/>
  <Override PartName="/ppt/charts/chart330.xml" ContentType="application/vnd.openxmlformats-officedocument.drawingml.chart+xml"/>
  <Override PartName="/ppt/tags/tag358.xml" ContentType="application/vnd.openxmlformats-officedocument.presentationml.tags+xml"/>
  <Override PartName="/ppt/charts/chart331.xml" ContentType="application/vnd.openxmlformats-officedocument.drawingml.chart+xml"/>
  <Override PartName="/ppt/tags/tag359.xml" ContentType="application/vnd.openxmlformats-officedocument.presentationml.tags+xml"/>
  <Override PartName="/ppt/charts/chart332.xml" ContentType="application/vnd.openxmlformats-officedocument.drawingml.chart+xml"/>
  <Override PartName="/ppt/tags/tag360.xml" ContentType="application/vnd.openxmlformats-officedocument.presentationml.tags+xml"/>
  <Override PartName="/ppt/charts/chart333.xml" ContentType="application/vnd.openxmlformats-officedocument.drawingml.chart+xml"/>
  <Override PartName="/ppt/tags/tag361.xml" ContentType="application/vnd.openxmlformats-officedocument.presentationml.tags+xml"/>
  <Override PartName="/ppt/charts/chart334.xml" ContentType="application/vnd.openxmlformats-officedocument.drawingml.chart+xml"/>
  <Override PartName="/ppt/tags/tag362.xml" ContentType="application/vnd.openxmlformats-officedocument.presentationml.tags+xml"/>
  <Override PartName="/ppt/charts/chart335.xml" ContentType="application/vnd.openxmlformats-officedocument.drawingml.chart+xml"/>
  <Override PartName="/ppt/tags/tag363.xml" ContentType="application/vnd.openxmlformats-officedocument.presentationml.tags+xml"/>
  <Override PartName="/ppt/charts/chart336.xml" ContentType="application/vnd.openxmlformats-officedocument.drawingml.chart+xml"/>
  <Override PartName="/ppt/tags/tag364.xml" ContentType="application/vnd.openxmlformats-officedocument.presentationml.tags+xml"/>
  <Override PartName="/ppt/charts/chart337.xml" ContentType="application/vnd.openxmlformats-officedocument.drawingml.chart+xml"/>
  <Override PartName="/ppt/tags/tag365.xml" ContentType="application/vnd.openxmlformats-officedocument.presentationml.tags+xml"/>
  <Override PartName="/ppt/charts/chart338.xml" ContentType="application/vnd.openxmlformats-officedocument.drawingml.chart+xml"/>
  <Override PartName="/ppt/tags/tag366.xml" ContentType="application/vnd.openxmlformats-officedocument.presentationml.tags+xml"/>
  <Override PartName="/ppt/charts/chart339.xml" ContentType="application/vnd.openxmlformats-officedocument.drawingml.chart+xml"/>
  <Override PartName="/ppt/tags/tag367.xml" ContentType="application/vnd.openxmlformats-officedocument.presentationml.tags+xml"/>
  <Override PartName="/ppt/charts/chart340.xml" ContentType="application/vnd.openxmlformats-officedocument.drawingml.chart+xml"/>
  <Override PartName="/ppt/tags/tag368.xml" ContentType="application/vnd.openxmlformats-officedocument.presentationml.tags+xml"/>
  <Override PartName="/ppt/charts/chart341.xml" ContentType="application/vnd.openxmlformats-officedocument.drawingml.chart+xml"/>
  <Override PartName="/ppt/tags/tag369.xml" ContentType="application/vnd.openxmlformats-officedocument.presentationml.tags+xml"/>
  <Override PartName="/ppt/charts/chart342.xml" ContentType="application/vnd.openxmlformats-officedocument.drawingml.chart+xml"/>
  <Override PartName="/ppt/tags/tag370.xml" ContentType="application/vnd.openxmlformats-officedocument.presentationml.tags+xml"/>
  <Override PartName="/ppt/charts/chart343.xml" ContentType="application/vnd.openxmlformats-officedocument.drawingml.chart+xml"/>
  <Override PartName="/ppt/tags/tag371.xml" ContentType="application/vnd.openxmlformats-officedocument.presentationml.tags+xml"/>
  <Override PartName="/ppt/charts/chart344.xml" ContentType="application/vnd.openxmlformats-officedocument.drawingml.chart+xml"/>
  <Override PartName="/ppt/tags/tag372.xml" ContentType="application/vnd.openxmlformats-officedocument.presentationml.tags+xml"/>
  <Override PartName="/ppt/charts/chart345.xml" ContentType="application/vnd.openxmlformats-officedocument.drawingml.chart+xml"/>
  <Override PartName="/ppt/tags/tag373.xml" ContentType="application/vnd.openxmlformats-officedocument.presentationml.tags+xml"/>
  <Override PartName="/ppt/charts/chart346.xml" ContentType="application/vnd.openxmlformats-officedocument.drawingml.chart+xml"/>
  <Override PartName="/ppt/tags/tag374.xml" ContentType="application/vnd.openxmlformats-officedocument.presentationml.tags+xml"/>
  <Override PartName="/ppt/charts/chart347.xml" ContentType="application/vnd.openxmlformats-officedocument.drawingml.chart+xml"/>
  <Override PartName="/ppt/tags/tag375.xml" ContentType="application/vnd.openxmlformats-officedocument.presentationml.tags+xml"/>
  <Override PartName="/ppt/charts/chart348.xml" ContentType="application/vnd.openxmlformats-officedocument.drawingml.chart+xml"/>
  <Override PartName="/ppt/tags/tag376.xml" ContentType="application/vnd.openxmlformats-officedocument.presentationml.tags+xml"/>
  <Override PartName="/ppt/charts/chart349.xml" ContentType="application/vnd.openxmlformats-officedocument.drawingml.chart+xml"/>
  <Override PartName="/ppt/tags/tag377.xml" ContentType="application/vnd.openxmlformats-officedocument.presentationml.tags+xml"/>
  <Override PartName="/ppt/charts/chart350.xml" ContentType="application/vnd.openxmlformats-officedocument.drawingml.chart+xml"/>
  <Override PartName="/ppt/tags/tag378.xml" ContentType="application/vnd.openxmlformats-officedocument.presentationml.tags+xml"/>
  <Override PartName="/ppt/charts/chart351.xml" ContentType="application/vnd.openxmlformats-officedocument.drawingml.chart+xml"/>
  <Override PartName="/ppt/tags/tag379.xml" ContentType="application/vnd.openxmlformats-officedocument.presentationml.tags+xml"/>
  <Override PartName="/ppt/charts/chart352.xml" ContentType="application/vnd.openxmlformats-officedocument.drawingml.chart+xml"/>
  <Override PartName="/ppt/tags/tag380.xml" ContentType="application/vnd.openxmlformats-officedocument.presentationml.tags+xml"/>
  <Override PartName="/ppt/charts/chart353.xml" ContentType="application/vnd.openxmlformats-officedocument.drawingml.chart+xml"/>
  <Override PartName="/ppt/tags/tag381.xml" ContentType="application/vnd.openxmlformats-officedocument.presentationml.tags+xml"/>
  <Override PartName="/ppt/charts/chart354.xml" ContentType="application/vnd.openxmlformats-officedocument.drawingml.chart+xml"/>
  <Override PartName="/ppt/tags/tag382.xml" ContentType="application/vnd.openxmlformats-officedocument.presentationml.tags+xml"/>
  <Override PartName="/ppt/charts/chart355.xml" ContentType="application/vnd.openxmlformats-officedocument.drawingml.chart+xml"/>
  <Override PartName="/ppt/tags/tag383.xml" ContentType="application/vnd.openxmlformats-officedocument.presentationml.tags+xml"/>
  <Override PartName="/ppt/charts/chart356.xml" ContentType="application/vnd.openxmlformats-officedocument.drawingml.chart+xml"/>
  <Override PartName="/ppt/tags/tag384.xml" ContentType="application/vnd.openxmlformats-officedocument.presentationml.tags+xml"/>
  <Override PartName="/ppt/charts/chart357.xml" ContentType="application/vnd.openxmlformats-officedocument.drawingml.chart+xml"/>
  <Override PartName="/ppt/tags/tag385.xml" ContentType="application/vnd.openxmlformats-officedocument.presentationml.tags+xml"/>
  <Override PartName="/ppt/charts/chart358.xml" ContentType="application/vnd.openxmlformats-officedocument.drawingml.chart+xml"/>
  <Override PartName="/ppt/tags/tag386.xml" ContentType="application/vnd.openxmlformats-officedocument.presentationml.tags+xml"/>
  <Override PartName="/ppt/charts/chart359.xml" ContentType="application/vnd.openxmlformats-officedocument.drawingml.chart+xml"/>
  <Override PartName="/ppt/tags/tag387.xml" ContentType="application/vnd.openxmlformats-officedocument.presentationml.tags+xml"/>
  <Override PartName="/ppt/charts/chart360.xml" ContentType="application/vnd.openxmlformats-officedocument.drawingml.chart+xml"/>
  <Override PartName="/ppt/tags/tag388.xml" ContentType="application/vnd.openxmlformats-officedocument.presentationml.tags+xml"/>
  <Override PartName="/ppt/charts/chart361.xml" ContentType="application/vnd.openxmlformats-officedocument.drawingml.chart+xml"/>
  <Override PartName="/ppt/tags/tag389.xml" ContentType="application/vnd.openxmlformats-officedocument.presentationml.tags+xml"/>
  <Override PartName="/ppt/charts/chart362.xml" ContentType="application/vnd.openxmlformats-officedocument.drawingml.chart+xml"/>
  <Override PartName="/ppt/tags/tag390.xml" ContentType="application/vnd.openxmlformats-officedocument.presentationml.tags+xml"/>
  <Override PartName="/ppt/charts/chart363.xml" ContentType="application/vnd.openxmlformats-officedocument.drawingml.chart+xml"/>
  <Override PartName="/ppt/tags/tag391.xml" ContentType="application/vnd.openxmlformats-officedocument.presentationml.tags+xml"/>
  <Override PartName="/ppt/charts/chart364.xml" ContentType="application/vnd.openxmlformats-officedocument.drawingml.chart+xml"/>
  <Override PartName="/ppt/tags/tag392.xml" ContentType="application/vnd.openxmlformats-officedocument.presentationml.tags+xml"/>
  <Override PartName="/ppt/charts/chart365.xml" ContentType="application/vnd.openxmlformats-officedocument.drawingml.chart+xml"/>
  <Override PartName="/ppt/tags/tag393.xml" ContentType="application/vnd.openxmlformats-officedocument.presentationml.tags+xml"/>
  <Override PartName="/ppt/charts/chart366.xml" ContentType="application/vnd.openxmlformats-officedocument.drawingml.chart+xml"/>
  <Override PartName="/ppt/tags/tag394.xml" ContentType="application/vnd.openxmlformats-officedocument.presentationml.tags+xml"/>
  <Override PartName="/ppt/charts/chart367.xml" ContentType="application/vnd.openxmlformats-officedocument.drawingml.chart+xml"/>
  <Override PartName="/ppt/tags/tag395.xml" ContentType="application/vnd.openxmlformats-officedocument.presentationml.tags+xml"/>
  <Override PartName="/ppt/charts/chart368.xml" ContentType="application/vnd.openxmlformats-officedocument.drawingml.chart+xml"/>
  <Override PartName="/ppt/tags/tag396.xml" ContentType="application/vnd.openxmlformats-officedocument.presentationml.tags+xml"/>
  <Override PartName="/ppt/charts/chart369.xml" ContentType="application/vnd.openxmlformats-officedocument.drawingml.chart+xml"/>
  <Override PartName="/ppt/tags/tag397.xml" ContentType="application/vnd.openxmlformats-officedocument.presentationml.tags+xml"/>
  <Override PartName="/ppt/charts/chart370.xml" ContentType="application/vnd.openxmlformats-officedocument.drawingml.chart+xml"/>
  <Override PartName="/ppt/tags/tag398.xml" ContentType="application/vnd.openxmlformats-officedocument.presentationml.tags+xml"/>
  <Override PartName="/ppt/charts/chart371.xml" ContentType="application/vnd.openxmlformats-officedocument.drawingml.chart+xml"/>
  <Override PartName="/ppt/tags/tag399.xml" ContentType="application/vnd.openxmlformats-officedocument.presentationml.tags+xml"/>
  <Override PartName="/ppt/charts/chart372.xml" ContentType="application/vnd.openxmlformats-officedocument.drawingml.chart+xml"/>
  <Override PartName="/ppt/tags/tag400.xml" ContentType="application/vnd.openxmlformats-officedocument.presentationml.tags+xml"/>
  <Override PartName="/ppt/charts/chart373.xml" ContentType="application/vnd.openxmlformats-officedocument.drawingml.chart+xml"/>
  <Override PartName="/ppt/tags/tag401.xml" ContentType="application/vnd.openxmlformats-officedocument.presentationml.tags+xml"/>
  <Override PartName="/ppt/charts/chart374.xml" ContentType="application/vnd.openxmlformats-officedocument.drawingml.chart+xml"/>
  <Override PartName="/ppt/tags/tag402.xml" ContentType="application/vnd.openxmlformats-officedocument.presentationml.tags+xml"/>
  <Override PartName="/ppt/charts/chart375.xml" ContentType="application/vnd.openxmlformats-officedocument.drawingml.chart+xml"/>
  <Override PartName="/ppt/tags/tag403.xml" ContentType="application/vnd.openxmlformats-officedocument.presentationml.tags+xml"/>
  <Override PartName="/ppt/charts/chart376.xml" ContentType="application/vnd.openxmlformats-officedocument.drawingml.chart+xml"/>
  <Override PartName="/ppt/tags/tag404.xml" ContentType="application/vnd.openxmlformats-officedocument.presentationml.tags+xml"/>
  <Override PartName="/ppt/charts/chart377.xml" ContentType="application/vnd.openxmlformats-officedocument.drawingml.chart+xml"/>
  <Override PartName="/ppt/tags/tag405.xml" ContentType="application/vnd.openxmlformats-officedocument.presentationml.tags+xml"/>
  <Override PartName="/ppt/charts/chart378.xml" ContentType="application/vnd.openxmlformats-officedocument.drawingml.chart+xml"/>
  <Override PartName="/ppt/tags/tag406.xml" ContentType="application/vnd.openxmlformats-officedocument.presentationml.tags+xml"/>
  <Override PartName="/ppt/charts/chart379.xml" ContentType="application/vnd.openxmlformats-officedocument.drawingml.chart+xml"/>
  <Override PartName="/ppt/tags/tag407.xml" ContentType="application/vnd.openxmlformats-officedocument.presentationml.tags+xml"/>
  <Override PartName="/ppt/charts/chart380.xml" ContentType="application/vnd.openxmlformats-officedocument.drawingml.chart+xml"/>
  <Override PartName="/ppt/tags/tag408.xml" ContentType="application/vnd.openxmlformats-officedocument.presentationml.tags+xml"/>
  <Override PartName="/ppt/charts/chart381.xml" ContentType="application/vnd.openxmlformats-officedocument.drawingml.chart+xml"/>
  <Override PartName="/ppt/tags/tag409.xml" ContentType="application/vnd.openxmlformats-officedocument.presentationml.tags+xml"/>
  <Override PartName="/ppt/charts/chart382.xml" ContentType="application/vnd.openxmlformats-officedocument.drawingml.chart+xml"/>
  <Override PartName="/ppt/tags/tag410.xml" ContentType="application/vnd.openxmlformats-officedocument.presentationml.tags+xml"/>
  <Override PartName="/ppt/charts/chart383.xml" ContentType="application/vnd.openxmlformats-officedocument.drawingml.chart+xml"/>
  <Override PartName="/ppt/tags/tag411.xml" ContentType="application/vnd.openxmlformats-officedocument.presentationml.tags+xml"/>
  <Override PartName="/ppt/charts/chart384.xml" ContentType="application/vnd.openxmlformats-officedocument.drawingml.chart+xml"/>
  <Override PartName="/ppt/tags/tag412.xml" ContentType="application/vnd.openxmlformats-officedocument.presentationml.tags+xml"/>
  <Override PartName="/ppt/charts/chart385.xml" ContentType="application/vnd.openxmlformats-officedocument.drawingml.chart+xml"/>
  <Override PartName="/ppt/tags/tag413.xml" ContentType="application/vnd.openxmlformats-officedocument.presentationml.tags+xml"/>
  <Override PartName="/ppt/charts/chart386.xml" ContentType="application/vnd.openxmlformats-officedocument.drawingml.chart+xml"/>
  <Override PartName="/ppt/tags/tag414.xml" ContentType="application/vnd.openxmlformats-officedocument.presentationml.tags+xml"/>
  <Override PartName="/ppt/charts/chart387.xml" ContentType="application/vnd.openxmlformats-officedocument.drawingml.chart+xml"/>
  <Override PartName="/ppt/tags/tag415.xml" ContentType="application/vnd.openxmlformats-officedocument.presentationml.tags+xml"/>
  <Override PartName="/ppt/charts/chart388.xml" ContentType="application/vnd.openxmlformats-officedocument.drawingml.chart+xml"/>
  <Override PartName="/ppt/tags/tag416.xml" ContentType="application/vnd.openxmlformats-officedocument.presentationml.tags+xml"/>
  <Override PartName="/ppt/charts/chart389.xml" ContentType="application/vnd.openxmlformats-officedocument.drawingml.chart+xml"/>
  <Override PartName="/ppt/tags/tag417.xml" ContentType="application/vnd.openxmlformats-officedocument.presentationml.tags+xml"/>
  <Override PartName="/ppt/charts/chart390.xml" ContentType="application/vnd.openxmlformats-officedocument.drawingml.chart+xml"/>
  <Override PartName="/ppt/tags/tag418.xml" ContentType="application/vnd.openxmlformats-officedocument.presentationml.tags+xml"/>
  <Override PartName="/ppt/charts/chart391.xml" ContentType="application/vnd.openxmlformats-officedocument.drawingml.chart+xml"/>
  <Override PartName="/ppt/tags/tag419.xml" ContentType="application/vnd.openxmlformats-officedocument.presentationml.tags+xml"/>
  <Override PartName="/ppt/charts/chart392.xml" ContentType="application/vnd.openxmlformats-officedocument.drawingml.chart+xml"/>
  <Override PartName="/ppt/tags/tag420.xml" ContentType="application/vnd.openxmlformats-officedocument.presentationml.tags+xml"/>
  <Override PartName="/ppt/charts/chart393.xml" ContentType="application/vnd.openxmlformats-officedocument.drawingml.chart+xml"/>
  <Override PartName="/ppt/tags/tag421.xml" ContentType="application/vnd.openxmlformats-officedocument.presentationml.tags+xml"/>
  <Override PartName="/ppt/charts/chart394.xml" ContentType="application/vnd.openxmlformats-officedocument.drawingml.chart+xml"/>
  <Override PartName="/ppt/tags/tag422.xml" ContentType="application/vnd.openxmlformats-officedocument.presentationml.tags+xml"/>
  <Override PartName="/ppt/charts/chart395.xml" ContentType="application/vnd.openxmlformats-officedocument.drawingml.chart+xml"/>
  <Override PartName="/ppt/tags/tag423.xml" ContentType="application/vnd.openxmlformats-officedocument.presentationml.tags+xml"/>
  <Override PartName="/ppt/charts/chart396.xml" ContentType="application/vnd.openxmlformats-officedocument.drawingml.chart+xml"/>
  <Override PartName="/ppt/tags/tag424.xml" ContentType="application/vnd.openxmlformats-officedocument.presentationml.tags+xml"/>
  <Override PartName="/ppt/charts/chart397.xml" ContentType="application/vnd.openxmlformats-officedocument.drawingml.chart+xml"/>
  <Override PartName="/ppt/tags/tag425.xml" ContentType="application/vnd.openxmlformats-officedocument.presentationml.tags+xml"/>
  <Override PartName="/ppt/charts/chart398.xml" ContentType="application/vnd.openxmlformats-officedocument.drawingml.chart+xml"/>
  <Override PartName="/ppt/tags/tag426.xml" ContentType="application/vnd.openxmlformats-officedocument.presentationml.tags+xml"/>
  <Override PartName="/ppt/charts/chart399.xml" ContentType="application/vnd.openxmlformats-officedocument.drawingml.chart+xml"/>
  <Override PartName="/ppt/tags/tag427.xml" ContentType="application/vnd.openxmlformats-officedocument.presentationml.tags+xml"/>
  <Override PartName="/ppt/charts/chart400.xml" ContentType="application/vnd.openxmlformats-officedocument.drawingml.chart+xml"/>
  <Override PartName="/ppt/tags/tag428.xml" ContentType="application/vnd.openxmlformats-officedocument.presentationml.tags+xml"/>
  <Override PartName="/ppt/charts/chart401.xml" ContentType="application/vnd.openxmlformats-officedocument.drawingml.chart+xml"/>
  <Override PartName="/ppt/tags/tag429.xml" ContentType="application/vnd.openxmlformats-officedocument.presentationml.tags+xml"/>
  <Override PartName="/ppt/charts/chart402.xml" ContentType="application/vnd.openxmlformats-officedocument.drawingml.chart+xml"/>
  <Override PartName="/ppt/tags/tag430.xml" ContentType="application/vnd.openxmlformats-officedocument.presentationml.tags+xml"/>
  <Override PartName="/ppt/charts/chart403.xml" ContentType="application/vnd.openxmlformats-officedocument.drawingml.chart+xml"/>
  <Override PartName="/ppt/tags/tag431.xml" ContentType="application/vnd.openxmlformats-officedocument.presentationml.tags+xml"/>
  <Override PartName="/ppt/charts/chart404.xml" ContentType="application/vnd.openxmlformats-officedocument.drawingml.chart+xml"/>
  <Override PartName="/ppt/tags/tag432.xml" ContentType="application/vnd.openxmlformats-officedocument.presentationml.tags+xml"/>
  <Override PartName="/ppt/charts/chart405.xml" ContentType="application/vnd.openxmlformats-officedocument.drawingml.chart+xml"/>
  <Override PartName="/ppt/tags/tag433.xml" ContentType="application/vnd.openxmlformats-officedocument.presentationml.tags+xml"/>
  <Override PartName="/ppt/charts/chart406.xml" ContentType="application/vnd.openxmlformats-officedocument.drawingml.chart+xml"/>
  <Override PartName="/ppt/tags/tag434.xml" ContentType="application/vnd.openxmlformats-officedocument.presentationml.tags+xml"/>
  <Override PartName="/ppt/charts/chart407.xml" ContentType="application/vnd.openxmlformats-officedocument.drawingml.chart+xml"/>
  <Override PartName="/ppt/tags/tag435.xml" ContentType="application/vnd.openxmlformats-officedocument.presentationml.tags+xml"/>
  <Override PartName="/ppt/charts/chart408.xml" ContentType="application/vnd.openxmlformats-officedocument.drawingml.chart+xml"/>
  <Override PartName="/ppt/tags/tag436.xml" ContentType="application/vnd.openxmlformats-officedocument.presentationml.tags+xml"/>
  <Override PartName="/ppt/charts/chart409.xml" ContentType="application/vnd.openxmlformats-officedocument.drawingml.chart+xml"/>
  <Override PartName="/ppt/tags/tag437.xml" ContentType="application/vnd.openxmlformats-officedocument.presentationml.tags+xml"/>
  <Override PartName="/ppt/charts/chart410.xml" ContentType="application/vnd.openxmlformats-officedocument.drawingml.chart+xml"/>
  <Override PartName="/ppt/tags/tag438.xml" ContentType="application/vnd.openxmlformats-officedocument.presentationml.tags+xml"/>
  <Override PartName="/ppt/charts/chart411.xml" ContentType="application/vnd.openxmlformats-officedocument.drawingml.chart+xml"/>
  <Override PartName="/ppt/tags/tag439.xml" ContentType="application/vnd.openxmlformats-officedocument.presentationml.tags+xml"/>
  <Override PartName="/ppt/charts/chart412.xml" ContentType="application/vnd.openxmlformats-officedocument.drawingml.chart+xml"/>
  <Override PartName="/ppt/tags/tag440.xml" ContentType="application/vnd.openxmlformats-officedocument.presentationml.tags+xml"/>
  <Override PartName="/ppt/charts/chart413.xml" ContentType="application/vnd.openxmlformats-officedocument.drawingml.chart+xml"/>
  <Override PartName="/ppt/tags/tag441.xml" ContentType="application/vnd.openxmlformats-officedocument.presentationml.tags+xml"/>
  <Override PartName="/ppt/charts/chart414.xml" ContentType="application/vnd.openxmlformats-officedocument.drawingml.chart+xml"/>
  <Override PartName="/ppt/tags/tag442.xml" ContentType="application/vnd.openxmlformats-officedocument.presentationml.tags+xml"/>
  <Override PartName="/ppt/charts/chart415.xml" ContentType="application/vnd.openxmlformats-officedocument.drawingml.chart+xml"/>
  <Override PartName="/ppt/tags/tag443.xml" ContentType="application/vnd.openxmlformats-officedocument.presentationml.tags+xml"/>
  <Override PartName="/ppt/charts/chart416.xml" ContentType="application/vnd.openxmlformats-officedocument.drawingml.chart+xml"/>
  <Override PartName="/ppt/tags/tag444.xml" ContentType="application/vnd.openxmlformats-officedocument.presentationml.tags+xml"/>
  <Override PartName="/ppt/charts/chart417.xml" ContentType="application/vnd.openxmlformats-officedocument.drawingml.chart+xml"/>
  <Override PartName="/ppt/tags/tag445.xml" ContentType="application/vnd.openxmlformats-officedocument.presentationml.tags+xml"/>
  <Override PartName="/ppt/charts/chart418.xml" ContentType="application/vnd.openxmlformats-officedocument.drawingml.chart+xml"/>
  <Override PartName="/ppt/tags/tag446.xml" ContentType="application/vnd.openxmlformats-officedocument.presentationml.tags+xml"/>
  <Override PartName="/ppt/charts/chart419.xml" ContentType="application/vnd.openxmlformats-officedocument.drawingml.chart+xml"/>
  <Override PartName="/ppt/tags/tag447.xml" ContentType="application/vnd.openxmlformats-officedocument.presentationml.tags+xml"/>
  <Override PartName="/ppt/charts/chart420.xml" ContentType="application/vnd.openxmlformats-officedocument.drawingml.chart+xml"/>
  <Override PartName="/ppt/tags/tag448.xml" ContentType="application/vnd.openxmlformats-officedocument.presentationml.tags+xml"/>
  <Override PartName="/ppt/charts/chart421.xml" ContentType="application/vnd.openxmlformats-officedocument.drawingml.chart+xml"/>
  <Override PartName="/ppt/tags/tag449.xml" ContentType="application/vnd.openxmlformats-officedocument.presentationml.tags+xml"/>
  <Override PartName="/ppt/charts/chart422.xml" ContentType="application/vnd.openxmlformats-officedocument.drawingml.chart+xml"/>
  <Override PartName="/ppt/tags/tag450.xml" ContentType="application/vnd.openxmlformats-officedocument.presentationml.tags+xml"/>
  <Override PartName="/ppt/charts/chart423.xml" ContentType="application/vnd.openxmlformats-officedocument.drawingml.chart+xml"/>
  <Override PartName="/ppt/tags/tag451.xml" ContentType="application/vnd.openxmlformats-officedocument.presentationml.tags+xml"/>
  <Override PartName="/ppt/charts/chart424.xml" ContentType="application/vnd.openxmlformats-officedocument.drawingml.chart+xml"/>
  <Override PartName="/ppt/tags/tag452.xml" ContentType="application/vnd.openxmlformats-officedocument.presentationml.tags+xml"/>
  <Override PartName="/ppt/charts/chart425.xml" ContentType="application/vnd.openxmlformats-officedocument.drawingml.chart+xml"/>
  <Override PartName="/ppt/tags/tag453.xml" ContentType="application/vnd.openxmlformats-officedocument.presentationml.tags+xml"/>
  <Override PartName="/ppt/charts/chart426.xml" ContentType="application/vnd.openxmlformats-officedocument.drawingml.chart+xml"/>
  <Override PartName="/ppt/tags/tag454.xml" ContentType="application/vnd.openxmlformats-officedocument.presentationml.tags+xml"/>
  <Override PartName="/ppt/charts/chart427.xml" ContentType="application/vnd.openxmlformats-officedocument.drawingml.chart+xml"/>
  <Override PartName="/ppt/tags/tag455.xml" ContentType="application/vnd.openxmlformats-officedocument.presentationml.tags+xml"/>
  <Override PartName="/ppt/charts/chart428.xml" ContentType="application/vnd.openxmlformats-officedocument.drawingml.chart+xml"/>
  <Override PartName="/ppt/tags/tag456.xml" ContentType="application/vnd.openxmlformats-officedocument.presentationml.tags+xml"/>
  <Override PartName="/ppt/charts/chart429.xml" ContentType="application/vnd.openxmlformats-officedocument.drawingml.chart+xml"/>
  <Override PartName="/ppt/tags/tag457.xml" ContentType="application/vnd.openxmlformats-officedocument.presentationml.tags+xml"/>
  <Override PartName="/ppt/charts/chart430.xml" ContentType="application/vnd.openxmlformats-officedocument.drawingml.chart+xml"/>
  <Override PartName="/ppt/tags/tag458.xml" ContentType="application/vnd.openxmlformats-officedocument.presentationml.tags+xml"/>
  <Override PartName="/ppt/charts/chart431.xml" ContentType="application/vnd.openxmlformats-officedocument.drawingml.chart+xml"/>
  <Override PartName="/ppt/tags/tag459.xml" ContentType="application/vnd.openxmlformats-officedocument.presentationml.tags+xml"/>
  <Override PartName="/ppt/charts/chart432.xml" ContentType="application/vnd.openxmlformats-officedocument.drawingml.chart+xml"/>
  <Override PartName="/ppt/tags/tag460.xml" ContentType="application/vnd.openxmlformats-officedocument.presentationml.tags+xml"/>
  <Override PartName="/ppt/charts/chart433.xml" ContentType="application/vnd.openxmlformats-officedocument.drawingml.chart+xml"/>
  <Override PartName="/ppt/tags/tag461.xml" ContentType="application/vnd.openxmlformats-officedocument.presentationml.tags+xml"/>
  <Override PartName="/ppt/charts/chart434.xml" ContentType="application/vnd.openxmlformats-officedocument.drawingml.chart+xml"/>
  <Override PartName="/ppt/tags/tag462.xml" ContentType="application/vnd.openxmlformats-officedocument.presentationml.tags+xml"/>
  <Override PartName="/ppt/charts/chart435.xml" ContentType="application/vnd.openxmlformats-officedocument.drawingml.chart+xml"/>
  <Override PartName="/ppt/tags/tag463.xml" ContentType="application/vnd.openxmlformats-officedocument.presentationml.tags+xml"/>
  <Override PartName="/ppt/charts/chart436.xml" ContentType="application/vnd.openxmlformats-officedocument.drawingml.chart+xml"/>
  <Override PartName="/ppt/tags/tag464.xml" ContentType="application/vnd.openxmlformats-officedocument.presentationml.tags+xml"/>
  <Override PartName="/ppt/charts/chart437.xml" ContentType="application/vnd.openxmlformats-officedocument.drawingml.chart+xml"/>
  <Override PartName="/ppt/tags/tag465.xml" ContentType="application/vnd.openxmlformats-officedocument.presentationml.tags+xml"/>
  <Override PartName="/ppt/charts/chart438.xml" ContentType="application/vnd.openxmlformats-officedocument.drawingml.chart+xml"/>
  <Override PartName="/ppt/tags/tag466.xml" ContentType="application/vnd.openxmlformats-officedocument.presentationml.tags+xml"/>
  <Override PartName="/ppt/charts/chart439.xml" ContentType="application/vnd.openxmlformats-officedocument.drawingml.chart+xml"/>
  <Override PartName="/ppt/tags/tag467.xml" ContentType="application/vnd.openxmlformats-officedocument.presentationml.tags+xml"/>
  <Override PartName="/ppt/charts/chart440.xml" ContentType="application/vnd.openxmlformats-officedocument.drawingml.chart+xml"/>
  <Override PartName="/ppt/tags/tag468.xml" ContentType="application/vnd.openxmlformats-officedocument.presentationml.tags+xml"/>
  <Override PartName="/ppt/charts/chart441.xml" ContentType="application/vnd.openxmlformats-officedocument.drawingml.chart+xml"/>
  <Override PartName="/ppt/tags/tag469.xml" ContentType="application/vnd.openxmlformats-officedocument.presentationml.tags+xml"/>
  <Override PartName="/ppt/charts/chart442.xml" ContentType="application/vnd.openxmlformats-officedocument.drawingml.chart+xml"/>
  <Override PartName="/ppt/tags/tag470.xml" ContentType="application/vnd.openxmlformats-officedocument.presentationml.tags+xml"/>
  <Override PartName="/ppt/charts/chart443.xml" ContentType="application/vnd.openxmlformats-officedocument.drawingml.chart+xml"/>
  <Override PartName="/ppt/tags/tag471.xml" ContentType="application/vnd.openxmlformats-officedocument.presentationml.tags+xml"/>
  <Override PartName="/ppt/charts/chart444.xml" ContentType="application/vnd.openxmlformats-officedocument.drawingml.chart+xml"/>
  <Override PartName="/ppt/tags/tag472.xml" ContentType="application/vnd.openxmlformats-officedocument.presentationml.tags+xml"/>
  <Override PartName="/ppt/charts/chart445.xml" ContentType="application/vnd.openxmlformats-officedocument.drawingml.chart+xml"/>
  <Override PartName="/ppt/tags/tag473.xml" ContentType="application/vnd.openxmlformats-officedocument.presentationml.tags+xml"/>
  <Override PartName="/ppt/charts/chart446.xml" ContentType="application/vnd.openxmlformats-officedocument.drawingml.chart+xml"/>
  <Override PartName="/ppt/tags/tag474.xml" ContentType="application/vnd.openxmlformats-officedocument.presentationml.tags+xml"/>
  <Override PartName="/ppt/charts/chart447.xml" ContentType="application/vnd.openxmlformats-officedocument.drawingml.chart+xml"/>
  <Override PartName="/ppt/tags/tag475.xml" ContentType="application/vnd.openxmlformats-officedocument.presentationml.tags+xml"/>
  <Override PartName="/ppt/charts/chart448.xml" ContentType="application/vnd.openxmlformats-officedocument.drawingml.chart+xml"/>
  <Override PartName="/ppt/tags/tag476.xml" ContentType="application/vnd.openxmlformats-officedocument.presentationml.tags+xml"/>
  <Override PartName="/ppt/charts/chart449.xml" ContentType="application/vnd.openxmlformats-officedocument.drawingml.chart+xml"/>
  <Override PartName="/ppt/tags/tag477.xml" ContentType="application/vnd.openxmlformats-officedocument.presentationml.tags+xml"/>
  <Override PartName="/ppt/charts/chart450.xml" ContentType="application/vnd.openxmlformats-officedocument.drawingml.chart+xml"/>
  <Override PartName="/ppt/tags/tag478.xml" ContentType="application/vnd.openxmlformats-officedocument.presentationml.tags+xml"/>
  <Override PartName="/ppt/charts/chart451.xml" ContentType="application/vnd.openxmlformats-officedocument.drawingml.chart+xml"/>
  <Override PartName="/ppt/tags/tag479.xml" ContentType="application/vnd.openxmlformats-officedocument.presentationml.tags+xml"/>
  <Override PartName="/ppt/charts/chart452.xml" ContentType="application/vnd.openxmlformats-officedocument.drawingml.chart+xml"/>
  <Override PartName="/ppt/tags/tag480.xml" ContentType="application/vnd.openxmlformats-officedocument.presentationml.tags+xml"/>
  <Override PartName="/ppt/charts/chart453.xml" ContentType="application/vnd.openxmlformats-officedocument.drawingml.chart+xml"/>
  <Override PartName="/ppt/tags/tag481.xml" ContentType="application/vnd.openxmlformats-officedocument.presentationml.tags+xml"/>
  <Override PartName="/ppt/charts/chart454.xml" ContentType="application/vnd.openxmlformats-officedocument.drawingml.chart+xml"/>
  <Override PartName="/ppt/tags/tag482.xml" ContentType="application/vnd.openxmlformats-officedocument.presentationml.tags+xml"/>
  <Override PartName="/ppt/charts/chart455.xml" ContentType="application/vnd.openxmlformats-officedocument.drawingml.chart+xml"/>
  <Override PartName="/ppt/tags/tag483.xml" ContentType="application/vnd.openxmlformats-officedocument.presentationml.tags+xml"/>
  <Override PartName="/ppt/charts/chart456.xml" ContentType="application/vnd.openxmlformats-officedocument.drawingml.chart+xml"/>
  <Override PartName="/ppt/tags/tag484.xml" ContentType="application/vnd.openxmlformats-officedocument.presentationml.tags+xml"/>
  <Override PartName="/ppt/charts/chart457.xml" ContentType="application/vnd.openxmlformats-officedocument.drawingml.chart+xml"/>
  <Override PartName="/ppt/tags/tag485.xml" ContentType="application/vnd.openxmlformats-officedocument.presentationml.tags+xml"/>
  <Override PartName="/ppt/charts/chart458.xml" ContentType="application/vnd.openxmlformats-officedocument.drawingml.chart+xml"/>
  <Override PartName="/ppt/tags/tag486.xml" ContentType="application/vnd.openxmlformats-officedocument.presentationml.tags+xml"/>
  <Override PartName="/ppt/charts/chart459.xml" ContentType="application/vnd.openxmlformats-officedocument.drawingml.chart+xml"/>
  <Override PartName="/ppt/tags/tag487.xml" ContentType="application/vnd.openxmlformats-officedocument.presentationml.tags+xml"/>
  <Override PartName="/ppt/charts/chart460.xml" ContentType="application/vnd.openxmlformats-officedocument.drawingml.chart+xml"/>
  <Override PartName="/ppt/tags/tag488.xml" ContentType="application/vnd.openxmlformats-officedocument.presentationml.tags+xml"/>
  <Override PartName="/ppt/charts/chart461.xml" ContentType="application/vnd.openxmlformats-officedocument.drawingml.chart+xml"/>
  <Override PartName="/ppt/tags/tag489.xml" ContentType="application/vnd.openxmlformats-officedocument.presentationml.tags+xml"/>
  <Override PartName="/ppt/charts/chart462.xml" ContentType="application/vnd.openxmlformats-officedocument.drawingml.chart+xml"/>
  <Override PartName="/ppt/tags/tag490.xml" ContentType="application/vnd.openxmlformats-officedocument.presentationml.tags+xml"/>
  <Override PartName="/ppt/charts/chart463.xml" ContentType="application/vnd.openxmlformats-officedocument.drawingml.chart+xml"/>
  <Override PartName="/ppt/tags/tag491.xml" ContentType="application/vnd.openxmlformats-officedocument.presentationml.tags+xml"/>
  <Override PartName="/ppt/charts/chart464.xml" ContentType="application/vnd.openxmlformats-officedocument.drawingml.chart+xml"/>
  <Override PartName="/ppt/tags/tag492.xml" ContentType="application/vnd.openxmlformats-officedocument.presentationml.tags+xml"/>
  <Override PartName="/ppt/charts/chart465.xml" ContentType="application/vnd.openxmlformats-officedocument.drawingml.chart+xml"/>
  <Override PartName="/ppt/tags/tag493.xml" ContentType="application/vnd.openxmlformats-officedocument.presentationml.tags+xml"/>
  <Override PartName="/ppt/charts/chart466.xml" ContentType="application/vnd.openxmlformats-officedocument.drawingml.chart+xml"/>
  <Override PartName="/ppt/tags/tag494.xml" ContentType="application/vnd.openxmlformats-officedocument.presentationml.tags+xml"/>
  <Override PartName="/ppt/charts/chart467.xml" ContentType="application/vnd.openxmlformats-officedocument.drawingml.chart+xml"/>
  <Override PartName="/ppt/tags/tag495.xml" ContentType="application/vnd.openxmlformats-officedocument.presentationml.tags+xml"/>
  <Override PartName="/ppt/charts/chart468.xml" ContentType="application/vnd.openxmlformats-officedocument.drawingml.chart+xml"/>
  <Override PartName="/ppt/tags/tag496.xml" ContentType="application/vnd.openxmlformats-officedocument.presentationml.tags+xml"/>
  <Override PartName="/ppt/charts/chart469.xml" ContentType="application/vnd.openxmlformats-officedocument.drawingml.chart+xml"/>
  <Override PartName="/ppt/tags/tag497.xml" ContentType="application/vnd.openxmlformats-officedocument.presentationml.tags+xml"/>
  <Override PartName="/ppt/charts/chart470.xml" ContentType="application/vnd.openxmlformats-officedocument.drawingml.chart+xml"/>
  <Override PartName="/ppt/tags/tag498.xml" ContentType="application/vnd.openxmlformats-officedocument.presentationml.tags+xml"/>
  <Override PartName="/ppt/charts/chart471.xml" ContentType="application/vnd.openxmlformats-officedocument.drawingml.chart+xml"/>
  <Override PartName="/ppt/tags/tag499.xml" ContentType="application/vnd.openxmlformats-officedocument.presentationml.tags+xml"/>
  <Override PartName="/ppt/charts/chart472.xml" ContentType="application/vnd.openxmlformats-officedocument.drawingml.chart+xml"/>
  <Override PartName="/ppt/tags/tag500.xml" ContentType="application/vnd.openxmlformats-officedocument.presentationml.tags+xml"/>
  <Override PartName="/ppt/charts/chart473.xml" ContentType="application/vnd.openxmlformats-officedocument.drawingml.chart+xml"/>
  <Override PartName="/ppt/tags/tag501.xml" ContentType="application/vnd.openxmlformats-officedocument.presentationml.tags+xml"/>
  <Override PartName="/ppt/charts/chart474.xml" ContentType="application/vnd.openxmlformats-officedocument.drawingml.chart+xml"/>
  <Override PartName="/ppt/tags/tag502.xml" ContentType="application/vnd.openxmlformats-officedocument.presentationml.tags+xml"/>
  <Override PartName="/ppt/charts/chart475.xml" ContentType="application/vnd.openxmlformats-officedocument.drawingml.chart+xml"/>
  <Override PartName="/ppt/tags/tag503.xml" ContentType="application/vnd.openxmlformats-officedocument.presentationml.tags+xml"/>
  <Override PartName="/ppt/charts/chart476.xml" ContentType="application/vnd.openxmlformats-officedocument.drawingml.chart+xml"/>
  <Override PartName="/ppt/tags/tag504.xml" ContentType="application/vnd.openxmlformats-officedocument.presentationml.tags+xml"/>
  <Override PartName="/ppt/charts/chart477.xml" ContentType="application/vnd.openxmlformats-officedocument.drawingml.chart+xml"/>
  <Override PartName="/ppt/tags/tag505.xml" ContentType="application/vnd.openxmlformats-officedocument.presentationml.tags+xml"/>
  <Override PartName="/ppt/charts/chart478.xml" ContentType="application/vnd.openxmlformats-officedocument.drawingml.chart+xml"/>
  <Override PartName="/ppt/tags/tag506.xml" ContentType="application/vnd.openxmlformats-officedocument.presentationml.tags+xml"/>
  <Override PartName="/ppt/charts/chart479.xml" ContentType="application/vnd.openxmlformats-officedocument.drawingml.chart+xml"/>
  <Override PartName="/ppt/tags/tag507.xml" ContentType="application/vnd.openxmlformats-officedocument.presentationml.tags+xml"/>
  <Override PartName="/ppt/charts/chart480.xml" ContentType="application/vnd.openxmlformats-officedocument.drawingml.chart+xml"/>
  <Override PartName="/ppt/tags/tag508.xml" ContentType="application/vnd.openxmlformats-officedocument.presentationml.tags+xml"/>
  <Override PartName="/ppt/charts/chart481.xml" ContentType="application/vnd.openxmlformats-officedocument.drawingml.chart+xml"/>
  <Override PartName="/ppt/tags/tag509.xml" ContentType="application/vnd.openxmlformats-officedocument.presentationml.tags+xml"/>
  <Override PartName="/ppt/charts/chart482.xml" ContentType="application/vnd.openxmlformats-officedocument.drawingml.chart+xml"/>
  <Override PartName="/ppt/tags/tag510.xml" ContentType="application/vnd.openxmlformats-officedocument.presentationml.tags+xml"/>
  <Override PartName="/ppt/charts/chart483.xml" ContentType="application/vnd.openxmlformats-officedocument.drawingml.chart+xml"/>
  <Override PartName="/ppt/tags/tag511.xml" ContentType="application/vnd.openxmlformats-officedocument.presentationml.tags+xml"/>
  <Override PartName="/ppt/charts/chart484.xml" ContentType="application/vnd.openxmlformats-officedocument.drawingml.chart+xml"/>
  <Override PartName="/ppt/tags/tag512.xml" ContentType="application/vnd.openxmlformats-officedocument.presentationml.tags+xml"/>
  <Override PartName="/ppt/charts/chart485.xml" ContentType="application/vnd.openxmlformats-officedocument.drawingml.chart+xml"/>
  <Override PartName="/ppt/tags/tag513.xml" ContentType="application/vnd.openxmlformats-officedocument.presentationml.tags+xml"/>
  <Override PartName="/ppt/charts/chart486.xml" ContentType="application/vnd.openxmlformats-officedocument.drawingml.chart+xml"/>
  <Override PartName="/ppt/tags/tag514.xml" ContentType="application/vnd.openxmlformats-officedocument.presentationml.tags+xml"/>
  <Override PartName="/ppt/charts/chart487.xml" ContentType="application/vnd.openxmlformats-officedocument.drawingml.chart+xml"/>
  <Override PartName="/ppt/tags/tag515.xml" ContentType="application/vnd.openxmlformats-officedocument.presentationml.tags+xml"/>
  <Override PartName="/ppt/charts/chart488.xml" ContentType="application/vnd.openxmlformats-officedocument.drawingml.chart+xml"/>
  <Override PartName="/ppt/tags/tag516.xml" ContentType="application/vnd.openxmlformats-officedocument.presentationml.tags+xml"/>
  <Override PartName="/ppt/charts/chart489.xml" ContentType="application/vnd.openxmlformats-officedocument.drawingml.chart+xml"/>
  <Override PartName="/ppt/tags/tag517.xml" ContentType="application/vnd.openxmlformats-officedocument.presentationml.tags+xml"/>
  <Override PartName="/ppt/charts/chart490.xml" ContentType="application/vnd.openxmlformats-officedocument.drawingml.chart+xml"/>
  <Override PartName="/ppt/tags/tag518.xml" ContentType="application/vnd.openxmlformats-officedocument.presentationml.tags+xml"/>
  <Override PartName="/ppt/charts/chart491.xml" ContentType="application/vnd.openxmlformats-officedocument.drawingml.chart+xml"/>
  <Override PartName="/ppt/tags/tag519.xml" ContentType="application/vnd.openxmlformats-officedocument.presentationml.tags+xml"/>
  <Override PartName="/ppt/charts/chart492.xml" ContentType="application/vnd.openxmlformats-officedocument.drawingml.chart+xml"/>
  <Override PartName="/ppt/tags/tag520.xml" ContentType="application/vnd.openxmlformats-officedocument.presentationml.tags+xml"/>
  <Override PartName="/ppt/charts/chart493.xml" ContentType="application/vnd.openxmlformats-officedocument.drawingml.chart+xml"/>
  <Override PartName="/ppt/tags/tag521.xml" ContentType="application/vnd.openxmlformats-officedocument.presentationml.tags+xml"/>
  <Override PartName="/ppt/charts/chart494.xml" ContentType="application/vnd.openxmlformats-officedocument.drawingml.chart+xml"/>
  <Override PartName="/ppt/tags/tag522.xml" ContentType="application/vnd.openxmlformats-officedocument.presentationml.tags+xml"/>
  <Override PartName="/ppt/charts/chart495.xml" ContentType="application/vnd.openxmlformats-officedocument.drawingml.chart+xml"/>
  <Override PartName="/ppt/tags/tag523.xml" ContentType="application/vnd.openxmlformats-officedocument.presentationml.tags+xml"/>
  <Override PartName="/ppt/charts/chart496.xml" ContentType="application/vnd.openxmlformats-officedocument.drawingml.chart+xml"/>
  <Override PartName="/ppt/tags/tag524.xml" ContentType="application/vnd.openxmlformats-officedocument.presentationml.tags+xml"/>
  <Override PartName="/ppt/charts/chart497.xml" ContentType="application/vnd.openxmlformats-officedocument.drawingml.chart+xml"/>
  <Override PartName="/ppt/tags/tag525.xml" ContentType="application/vnd.openxmlformats-officedocument.presentationml.tags+xml"/>
  <Override PartName="/ppt/charts/chart498.xml" ContentType="application/vnd.openxmlformats-officedocument.drawingml.chart+xml"/>
  <Override PartName="/ppt/tags/tag526.xml" ContentType="application/vnd.openxmlformats-officedocument.presentationml.tags+xml"/>
  <Override PartName="/ppt/charts/chart499.xml" ContentType="application/vnd.openxmlformats-officedocument.drawingml.chart+xml"/>
  <Override PartName="/ppt/tags/tag527.xml" ContentType="application/vnd.openxmlformats-officedocument.presentationml.tags+xml"/>
  <Override PartName="/ppt/charts/chart500.xml" ContentType="application/vnd.openxmlformats-officedocument.drawingml.chart+xml"/>
  <Override PartName="/ppt/tags/tag528.xml" ContentType="application/vnd.openxmlformats-officedocument.presentationml.tags+xml"/>
  <Override PartName="/ppt/charts/chart501.xml" ContentType="application/vnd.openxmlformats-officedocument.drawingml.chart+xml"/>
  <Override PartName="/ppt/tags/tag529.xml" ContentType="application/vnd.openxmlformats-officedocument.presentationml.tags+xml"/>
  <Override PartName="/ppt/charts/chart502.xml" ContentType="application/vnd.openxmlformats-officedocument.drawingml.chart+xml"/>
  <Override PartName="/ppt/tags/tag530.xml" ContentType="application/vnd.openxmlformats-officedocument.presentationml.tags+xml"/>
  <Override PartName="/ppt/charts/chart503.xml" ContentType="application/vnd.openxmlformats-officedocument.drawingml.chart+xml"/>
  <Override PartName="/ppt/tags/tag531.xml" ContentType="application/vnd.openxmlformats-officedocument.presentationml.tags+xml"/>
  <Override PartName="/ppt/charts/chart504.xml" ContentType="application/vnd.openxmlformats-officedocument.drawingml.chart+xml"/>
  <Override PartName="/ppt/tags/tag532.xml" ContentType="application/vnd.openxmlformats-officedocument.presentationml.tags+xml"/>
  <Override PartName="/ppt/charts/chart505.xml" ContentType="application/vnd.openxmlformats-officedocument.drawingml.chart+xml"/>
  <Override PartName="/ppt/tags/tag533.xml" ContentType="application/vnd.openxmlformats-officedocument.presentationml.tags+xml"/>
  <Override PartName="/ppt/charts/chart506.xml" ContentType="application/vnd.openxmlformats-officedocument.drawingml.chart+xml"/>
  <Override PartName="/ppt/tags/tag534.xml" ContentType="application/vnd.openxmlformats-officedocument.presentationml.tags+xml"/>
  <Override PartName="/ppt/charts/chart507.xml" ContentType="application/vnd.openxmlformats-officedocument.drawingml.chart+xml"/>
  <Override PartName="/ppt/tags/tag535.xml" ContentType="application/vnd.openxmlformats-officedocument.presentationml.tags+xml"/>
  <Override PartName="/ppt/charts/chart508.xml" ContentType="application/vnd.openxmlformats-officedocument.drawingml.chart+xml"/>
  <Override PartName="/ppt/tags/tag536.xml" ContentType="application/vnd.openxmlformats-officedocument.presentationml.tags+xml"/>
  <Override PartName="/ppt/charts/chart509.xml" ContentType="application/vnd.openxmlformats-officedocument.drawingml.chart+xml"/>
  <Override PartName="/ppt/tags/tag537.xml" ContentType="application/vnd.openxmlformats-officedocument.presentationml.tags+xml"/>
  <Override PartName="/ppt/charts/chart510.xml" ContentType="application/vnd.openxmlformats-officedocument.drawingml.chart+xml"/>
  <Override PartName="/ppt/tags/tag538.xml" ContentType="application/vnd.openxmlformats-officedocument.presentationml.tags+xml"/>
  <Override PartName="/ppt/charts/chart511.xml" ContentType="application/vnd.openxmlformats-officedocument.drawingml.chart+xml"/>
  <Override PartName="/ppt/tags/tag539.xml" ContentType="application/vnd.openxmlformats-officedocument.presentationml.tags+xml"/>
  <Override PartName="/ppt/charts/chart512.xml" ContentType="application/vnd.openxmlformats-officedocument.drawingml.chart+xml"/>
  <Override PartName="/ppt/tags/tag540.xml" ContentType="application/vnd.openxmlformats-officedocument.presentationml.tags+xml"/>
  <Override PartName="/ppt/charts/chart513.xml" ContentType="application/vnd.openxmlformats-officedocument.drawingml.chart+xml"/>
  <Override PartName="/ppt/tags/tag541.xml" ContentType="application/vnd.openxmlformats-officedocument.presentationml.tags+xml"/>
  <Override PartName="/ppt/charts/chart514.xml" ContentType="application/vnd.openxmlformats-officedocument.drawingml.chart+xml"/>
  <Override PartName="/ppt/tags/tag542.xml" ContentType="application/vnd.openxmlformats-officedocument.presentationml.tags+xml"/>
  <Override PartName="/ppt/charts/chart515.xml" ContentType="application/vnd.openxmlformats-officedocument.drawingml.chart+xml"/>
  <Override PartName="/ppt/tags/tag543.xml" ContentType="application/vnd.openxmlformats-officedocument.presentationml.tags+xml"/>
  <Override PartName="/ppt/charts/chart516.xml" ContentType="application/vnd.openxmlformats-officedocument.drawingml.chart+xml"/>
  <Override PartName="/ppt/tags/tag544.xml" ContentType="application/vnd.openxmlformats-officedocument.presentationml.tags+xml"/>
  <Override PartName="/ppt/charts/chart517.xml" ContentType="application/vnd.openxmlformats-officedocument.drawingml.chart+xml"/>
  <Override PartName="/ppt/tags/tag545.xml" ContentType="application/vnd.openxmlformats-officedocument.presentationml.tags+xml"/>
  <Override PartName="/ppt/charts/chart518.xml" ContentType="application/vnd.openxmlformats-officedocument.drawingml.chart+xml"/>
  <Override PartName="/ppt/tags/tag546.xml" ContentType="application/vnd.openxmlformats-officedocument.presentationml.tags+xml"/>
  <Override PartName="/ppt/charts/chart519.xml" ContentType="application/vnd.openxmlformats-officedocument.drawingml.chart+xml"/>
  <Override PartName="/ppt/tags/tag547.xml" ContentType="application/vnd.openxmlformats-officedocument.presentationml.tags+xml"/>
  <Override PartName="/ppt/charts/chart520.xml" ContentType="application/vnd.openxmlformats-officedocument.drawingml.chart+xml"/>
  <Override PartName="/ppt/tags/tag548.xml" ContentType="application/vnd.openxmlformats-officedocument.presentationml.tags+xml"/>
  <Override PartName="/ppt/charts/chart521.xml" ContentType="application/vnd.openxmlformats-officedocument.drawingml.chart+xml"/>
  <Override PartName="/ppt/tags/tag549.xml" ContentType="application/vnd.openxmlformats-officedocument.presentationml.tags+xml"/>
  <Override PartName="/ppt/charts/chart522.xml" ContentType="application/vnd.openxmlformats-officedocument.drawingml.chart+xml"/>
  <Override PartName="/ppt/tags/tag550.xml" ContentType="application/vnd.openxmlformats-officedocument.presentationml.tags+xml"/>
  <Override PartName="/ppt/charts/chart523.xml" ContentType="application/vnd.openxmlformats-officedocument.drawingml.chart+xml"/>
  <Override PartName="/ppt/tags/tag551.xml" ContentType="application/vnd.openxmlformats-officedocument.presentationml.tags+xml"/>
  <Override PartName="/ppt/charts/chart524.xml" ContentType="application/vnd.openxmlformats-officedocument.drawingml.chart+xml"/>
  <Override PartName="/ppt/tags/tag552.xml" ContentType="application/vnd.openxmlformats-officedocument.presentationml.tags+xml"/>
  <Override PartName="/ppt/charts/chart525.xml" ContentType="application/vnd.openxmlformats-officedocument.drawingml.chart+xml"/>
  <Override PartName="/ppt/tags/tag553.xml" ContentType="application/vnd.openxmlformats-officedocument.presentationml.tags+xml"/>
  <Override PartName="/ppt/charts/chart526.xml" ContentType="application/vnd.openxmlformats-officedocument.drawingml.chart+xml"/>
  <Override PartName="/ppt/tags/tag554.xml" ContentType="application/vnd.openxmlformats-officedocument.presentationml.tags+xml"/>
  <Override PartName="/ppt/charts/chart527.xml" ContentType="application/vnd.openxmlformats-officedocument.drawingml.chart+xml"/>
  <Override PartName="/ppt/tags/tag555.xml" ContentType="application/vnd.openxmlformats-officedocument.presentationml.tags+xml"/>
  <Override PartName="/ppt/charts/chart528.xml" ContentType="application/vnd.openxmlformats-officedocument.drawingml.chart+xml"/>
  <Override PartName="/ppt/tags/tag556.xml" ContentType="application/vnd.openxmlformats-officedocument.presentationml.tags+xml"/>
  <Override PartName="/ppt/charts/chart529.xml" ContentType="application/vnd.openxmlformats-officedocument.drawingml.chart+xml"/>
  <Override PartName="/ppt/tags/tag557.xml" ContentType="application/vnd.openxmlformats-officedocument.presentationml.tags+xml"/>
  <Override PartName="/ppt/charts/chart530.xml" ContentType="application/vnd.openxmlformats-officedocument.drawingml.chart+xml"/>
  <Override PartName="/ppt/tags/tag558.xml" ContentType="application/vnd.openxmlformats-officedocument.presentationml.tags+xml"/>
  <Override PartName="/ppt/charts/chart531.xml" ContentType="application/vnd.openxmlformats-officedocument.drawingml.chart+xml"/>
  <Override PartName="/ppt/tags/tag559.xml" ContentType="application/vnd.openxmlformats-officedocument.presentationml.tags+xml"/>
  <Override PartName="/ppt/charts/chart532.xml" ContentType="application/vnd.openxmlformats-officedocument.drawingml.chart+xml"/>
  <Override PartName="/ppt/tags/tag560.xml" ContentType="application/vnd.openxmlformats-officedocument.presentationml.tags+xml"/>
  <Override PartName="/ppt/charts/chart533.xml" ContentType="application/vnd.openxmlformats-officedocument.drawingml.chart+xml"/>
  <Override PartName="/ppt/tags/tag561.xml" ContentType="application/vnd.openxmlformats-officedocument.presentationml.tags+xml"/>
  <Override PartName="/ppt/charts/chart534.xml" ContentType="application/vnd.openxmlformats-officedocument.drawingml.chart+xml"/>
  <Override PartName="/ppt/tags/tag562.xml" ContentType="application/vnd.openxmlformats-officedocument.presentationml.tags+xml"/>
  <Override PartName="/ppt/charts/chart535.xml" ContentType="application/vnd.openxmlformats-officedocument.drawingml.chart+xml"/>
  <Override PartName="/ppt/tags/tag563.xml" ContentType="application/vnd.openxmlformats-officedocument.presentationml.tags+xml"/>
  <Override PartName="/ppt/charts/chart536.xml" ContentType="application/vnd.openxmlformats-officedocument.drawingml.chart+xml"/>
  <Override PartName="/ppt/tags/tag564.xml" ContentType="application/vnd.openxmlformats-officedocument.presentationml.tags+xml"/>
  <Override PartName="/ppt/charts/chart537.xml" ContentType="application/vnd.openxmlformats-officedocument.drawingml.chart+xml"/>
  <Override PartName="/ppt/tags/tag565.xml" ContentType="application/vnd.openxmlformats-officedocument.presentationml.tags+xml"/>
  <Override PartName="/ppt/charts/chart538.xml" ContentType="application/vnd.openxmlformats-officedocument.drawingml.chart+xml"/>
  <Override PartName="/ppt/tags/tag566.xml" ContentType="application/vnd.openxmlformats-officedocument.presentationml.tags+xml"/>
  <Override PartName="/ppt/charts/chart539.xml" ContentType="application/vnd.openxmlformats-officedocument.drawingml.chart+xml"/>
  <Override PartName="/ppt/tags/tag567.xml" ContentType="application/vnd.openxmlformats-officedocument.presentationml.tags+xml"/>
  <Override PartName="/ppt/charts/chart540.xml" ContentType="application/vnd.openxmlformats-officedocument.drawingml.chart+xml"/>
  <Override PartName="/ppt/tags/tag568.xml" ContentType="application/vnd.openxmlformats-officedocument.presentationml.tags+xml"/>
  <Override PartName="/ppt/charts/chart541.xml" ContentType="application/vnd.openxmlformats-officedocument.drawingml.chart+xml"/>
  <Override PartName="/ppt/tags/tag569.xml" ContentType="application/vnd.openxmlformats-officedocument.presentationml.tags+xml"/>
  <Override PartName="/ppt/charts/chart542.xml" ContentType="application/vnd.openxmlformats-officedocument.drawingml.chart+xml"/>
  <Override PartName="/ppt/tags/tag570.xml" ContentType="application/vnd.openxmlformats-officedocument.presentationml.tags+xml"/>
  <Override PartName="/ppt/charts/chart543.xml" ContentType="application/vnd.openxmlformats-officedocument.drawingml.chart+xml"/>
  <Override PartName="/ppt/tags/tag571.xml" ContentType="application/vnd.openxmlformats-officedocument.presentationml.tags+xml"/>
  <Override PartName="/ppt/charts/chart544.xml" ContentType="application/vnd.openxmlformats-officedocument.drawingml.chart+xml"/>
  <Override PartName="/ppt/tags/tag572.xml" ContentType="application/vnd.openxmlformats-officedocument.presentationml.tags+xml"/>
  <Override PartName="/ppt/charts/chart545.xml" ContentType="application/vnd.openxmlformats-officedocument.drawingml.chart+xml"/>
  <Override PartName="/ppt/tags/tag573.xml" ContentType="application/vnd.openxmlformats-officedocument.presentationml.tags+xml"/>
  <Override PartName="/ppt/charts/chart546.xml" ContentType="application/vnd.openxmlformats-officedocument.drawingml.chart+xml"/>
  <Override PartName="/ppt/tags/tag574.xml" ContentType="application/vnd.openxmlformats-officedocument.presentationml.tags+xml"/>
  <Override PartName="/ppt/charts/chart547.xml" ContentType="application/vnd.openxmlformats-officedocument.drawingml.chart+xml"/>
  <Override PartName="/ppt/tags/tag575.xml" ContentType="application/vnd.openxmlformats-officedocument.presentationml.tags+xml"/>
  <Override PartName="/ppt/charts/chart548.xml" ContentType="application/vnd.openxmlformats-officedocument.drawingml.chart+xml"/>
  <Override PartName="/ppt/tags/tag576.xml" ContentType="application/vnd.openxmlformats-officedocument.presentationml.tags+xml"/>
  <Override PartName="/ppt/charts/chart549.xml" ContentType="application/vnd.openxmlformats-officedocument.drawingml.chart+xml"/>
  <Override PartName="/ppt/tags/tag577.xml" ContentType="application/vnd.openxmlformats-officedocument.presentationml.tags+xml"/>
  <Override PartName="/ppt/charts/chart550.xml" ContentType="application/vnd.openxmlformats-officedocument.drawingml.chart+xml"/>
  <Override PartName="/ppt/tags/tag578.xml" ContentType="application/vnd.openxmlformats-officedocument.presentationml.tags+xml"/>
  <Override PartName="/ppt/charts/chart551.xml" ContentType="application/vnd.openxmlformats-officedocument.drawingml.chart+xml"/>
  <Override PartName="/ppt/tags/tag579.xml" ContentType="application/vnd.openxmlformats-officedocument.presentationml.tags+xml"/>
  <Override PartName="/ppt/charts/chart552.xml" ContentType="application/vnd.openxmlformats-officedocument.drawingml.chart+xml"/>
  <Override PartName="/ppt/tags/tag580.xml" ContentType="application/vnd.openxmlformats-officedocument.presentationml.tags+xml"/>
  <Override PartName="/ppt/charts/chart553.xml" ContentType="application/vnd.openxmlformats-officedocument.drawingml.chart+xml"/>
  <Override PartName="/ppt/tags/tag581.xml" ContentType="application/vnd.openxmlformats-officedocument.presentationml.tags+xml"/>
  <Override PartName="/ppt/charts/chart554.xml" ContentType="application/vnd.openxmlformats-officedocument.drawingml.chart+xml"/>
  <Override PartName="/ppt/tags/tag582.xml" ContentType="application/vnd.openxmlformats-officedocument.presentationml.tags+xml"/>
  <Override PartName="/ppt/charts/chart555.xml" ContentType="application/vnd.openxmlformats-officedocument.drawingml.chart+xml"/>
  <Override PartName="/ppt/tags/tag583.xml" ContentType="application/vnd.openxmlformats-officedocument.presentationml.tags+xml"/>
  <Override PartName="/ppt/charts/chart556.xml" ContentType="application/vnd.openxmlformats-officedocument.drawingml.chart+xml"/>
  <Override PartName="/ppt/tags/tag584.xml" ContentType="application/vnd.openxmlformats-officedocument.presentationml.tags+xml"/>
  <Override PartName="/ppt/charts/chart557.xml" ContentType="application/vnd.openxmlformats-officedocument.drawingml.chart+xml"/>
  <Override PartName="/ppt/tags/tag585.xml" ContentType="application/vnd.openxmlformats-officedocument.presentationml.tags+xml"/>
  <Override PartName="/ppt/charts/chart558.xml" ContentType="application/vnd.openxmlformats-officedocument.drawingml.chart+xml"/>
  <Override PartName="/ppt/tags/tag586.xml" ContentType="application/vnd.openxmlformats-officedocument.presentationml.tags+xml"/>
  <Override PartName="/ppt/charts/chart559.xml" ContentType="application/vnd.openxmlformats-officedocument.drawingml.chart+xml"/>
  <Override PartName="/ppt/tags/tag587.xml" ContentType="application/vnd.openxmlformats-officedocument.presentationml.tags+xml"/>
  <Override PartName="/ppt/charts/chart560.xml" ContentType="application/vnd.openxmlformats-officedocument.drawingml.chart+xml"/>
  <Override PartName="/ppt/tags/tag588.xml" ContentType="application/vnd.openxmlformats-officedocument.presentationml.tags+xml"/>
  <Override PartName="/ppt/charts/chart561.xml" ContentType="application/vnd.openxmlformats-officedocument.drawingml.chart+xml"/>
  <Override PartName="/ppt/tags/tag589.xml" ContentType="application/vnd.openxmlformats-officedocument.presentationml.tags+xml"/>
  <Override PartName="/ppt/charts/chart562.xml" ContentType="application/vnd.openxmlformats-officedocument.drawingml.chart+xml"/>
  <Override PartName="/ppt/tags/tag590.xml" ContentType="application/vnd.openxmlformats-officedocument.presentationml.tags+xml"/>
  <Override PartName="/ppt/charts/chart563.xml" ContentType="application/vnd.openxmlformats-officedocument.drawingml.chart+xml"/>
  <Override PartName="/ppt/tags/tag591.xml" ContentType="application/vnd.openxmlformats-officedocument.presentationml.tags+xml"/>
  <Override PartName="/ppt/charts/chart564.xml" ContentType="application/vnd.openxmlformats-officedocument.drawingml.chart+xml"/>
  <Override PartName="/ppt/tags/tag592.xml" ContentType="application/vnd.openxmlformats-officedocument.presentationml.tags+xml"/>
  <Override PartName="/ppt/charts/chart565.xml" ContentType="application/vnd.openxmlformats-officedocument.drawingml.chart+xml"/>
  <Override PartName="/ppt/tags/tag593.xml" ContentType="application/vnd.openxmlformats-officedocument.presentationml.tags+xml"/>
  <Override PartName="/ppt/charts/chart566.xml" ContentType="application/vnd.openxmlformats-officedocument.drawingml.chart+xml"/>
  <Override PartName="/ppt/tags/tag594.xml" ContentType="application/vnd.openxmlformats-officedocument.presentationml.tags+xml"/>
  <Override PartName="/ppt/charts/chart567.xml" ContentType="application/vnd.openxmlformats-officedocument.drawingml.chart+xml"/>
  <Override PartName="/ppt/tags/tag595.xml" ContentType="application/vnd.openxmlformats-officedocument.presentationml.tags+xml"/>
  <Override PartName="/ppt/charts/chart568.xml" ContentType="application/vnd.openxmlformats-officedocument.drawingml.chart+xml"/>
  <Override PartName="/ppt/tags/tag596.xml" ContentType="application/vnd.openxmlformats-officedocument.presentationml.tags+xml"/>
  <Override PartName="/ppt/charts/chart569.xml" ContentType="application/vnd.openxmlformats-officedocument.drawingml.chart+xml"/>
  <Override PartName="/ppt/tags/tag597.xml" ContentType="application/vnd.openxmlformats-officedocument.presentationml.tags+xml"/>
  <Override PartName="/ppt/charts/chart570.xml" ContentType="application/vnd.openxmlformats-officedocument.drawingml.chart+xml"/>
  <Override PartName="/ppt/tags/tag598.xml" ContentType="application/vnd.openxmlformats-officedocument.presentationml.tags+xml"/>
  <Override PartName="/ppt/charts/chart571.xml" ContentType="application/vnd.openxmlformats-officedocument.drawingml.chart+xml"/>
  <Override PartName="/ppt/tags/tag599.xml" ContentType="application/vnd.openxmlformats-officedocument.presentationml.tags+xml"/>
  <Override PartName="/ppt/charts/chart572.xml" ContentType="application/vnd.openxmlformats-officedocument.drawingml.chart+xml"/>
  <Override PartName="/ppt/tags/tag600.xml" ContentType="application/vnd.openxmlformats-officedocument.presentationml.tags+xml"/>
  <Override PartName="/ppt/charts/chart573.xml" ContentType="application/vnd.openxmlformats-officedocument.drawingml.chart+xml"/>
  <Override PartName="/ppt/tags/tag601.xml" ContentType="application/vnd.openxmlformats-officedocument.presentationml.tags+xml"/>
  <Override PartName="/ppt/charts/chart574.xml" ContentType="application/vnd.openxmlformats-officedocument.drawingml.chart+xml"/>
  <Override PartName="/ppt/tags/tag602.xml" ContentType="application/vnd.openxmlformats-officedocument.presentationml.tags+xml"/>
  <Override PartName="/ppt/charts/chart575.xml" ContentType="application/vnd.openxmlformats-officedocument.drawingml.chart+xml"/>
  <Override PartName="/ppt/tags/tag603.xml" ContentType="application/vnd.openxmlformats-officedocument.presentationml.tags+xml"/>
  <Override PartName="/ppt/charts/chart576.xml" ContentType="application/vnd.openxmlformats-officedocument.drawingml.chart+xml"/>
  <Override PartName="/ppt/tags/tag604.xml" ContentType="application/vnd.openxmlformats-officedocument.presentationml.tags+xml"/>
  <Override PartName="/ppt/charts/chart577.xml" ContentType="application/vnd.openxmlformats-officedocument.drawingml.chart+xml"/>
  <Override PartName="/ppt/tags/tag605.xml" ContentType="application/vnd.openxmlformats-officedocument.presentationml.tags+xml"/>
  <Override PartName="/ppt/charts/chart578.xml" ContentType="application/vnd.openxmlformats-officedocument.drawingml.chart+xml"/>
  <Override PartName="/ppt/tags/tag606.xml" ContentType="application/vnd.openxmlformats-officedocument.presentationml.tags+xml"/>
  <Override PartName="/ppt/charts/chart579.xml" ContentType="application/vnd.openxmlformats-officedocument.drawingml.chart+xml"/>
  <Override PartName="/ppt/tags/tag607.xml" ContentType="application/vnd.openxmlformats-officedocument.presentationml.tags+xml"/>
  <Override PartName="/ppt/charts/chart580.xml" ContentType="application/vnd.openxmlformats-officedocument.drawingml.chart+xml"/>
  <Override PartName="/ppt/tags/tag608.xml" ContentType="application/vnd.openxmlformats-officedocument.presentationml.tags+xml"/>
  <Override PartName="/ppt/charts/chart581.xml" ContentType="application/vnd.openxmlformats-officedocument.drawingml.chart+xml"/>
  <Override PartName="/ppt/tags/tag609.xml" ContentType="application/vnd.openxmlformats-officedocument.presentationml.tags+xml"/>
  <Override PartName="/ppt/charts/chart582.xml" ContentType="application/vnd.openxmlformats-officedocument.drawingml.chart+xml"/>
  <Override PartName="/ppt/tags/tag610.xml" ContentType="application/vnd.openxmlformats-officedocument.presentationml.tags+xml"/>
  <Override PartName="/ppt/charts/chart583.xml" ContentType="application/vnd.openxmlformats-officedocument.drawingml.chart+xml"/>
  <Override PartName="/ppt/tags/tag611.xml" ContentType="application/vnd.openxmlformats-officedocument.presentationml.tags+xml"/>
  <Override PartName="/ppt/charts/chart584.xml" ContentType="application/vnd.openxmlformats-officedocument.drawingml.chart+xml"/>
  <Override PartName="/ppt/tags/tag612.xml" ContentType="application/vnd.openxmlformats-officedocument.presentationml.tags+xml"/>
  <Override PartName="/ppt/charts/chart585.xml" ContentType="application/vnd.openxmlformats-officedocument.drawingml.chart+xml"/>
  <Override PartName="/ppt/tags/tag613.xml" ContentType="application/vnd.openxmlformats-officedocument.presentationml.tags+xml"/>
  <Override PartName="/ppt/charts/chart586.xml" ContentType="application/vnd.openxmlformats-officedocument.drawingml.chart+xml"/>
  <Override PartName="/ppt/tags/tag614.xml" ContentType="application/vnd.openxmlformats-officedocument.presentationml.tags+xml"/>
  <Override PartName="/ppt/charts/chart587.xml" ContentType="application/vnd.openxmlformats-officedocument.drawingml.chart+xml"/>
  <Override PartName="/ppt/tags/tag615.xml" ContentType="application/vnd.openxmlformats-officedocument.presentationml.tags+xml"/>
  <Override PartName="/ppt/charts/chart588.xml" ContentType="application/vnd.openxmlformats-officedocument.drawingml.chart+xml"/>
  <Override PartName="/ppt/tags/tag616.xml" ContentType="application/vnd.openxmlformats-officedocument.presentationml.tags+xml"/>
  <Override PartName="/ppt/charts/chart589.xml" ContentType="application/vnd.openxmlformats-officedocument.drawingml.chart+xml"/>
  <Override PartName="/ppt/tags/tag617.xml" ContentType="application/vnd.openxmlformats-officedocument.presentationml.tags+xml"/>
  <Override PartName="/ppt/charts/chart590.xml" ContentType="application/vnd.openxmlformats-officedocument.drawingml.chart+xml"/>
  <Override PartName="/ppt/tags/tag618.xml" ContentType="application/vnd.openxmlformats-officedocument.presentationml.tags+xml"/>
  <Override PartName="/ppt/charts/chart591.xml" ContentType="application/vnd.openxmlformats-officedocument.drawingml.chart+xml"/>
  <Override PartName="/ppt/tags/tag619.xml" ContentType="application/vnd.openxmlformats-officedocument.presentationml.tags+xml"/>
  <Override PartName="/ppt/charts/chart592.xml" ContentType="application/vnd.openxmlformats-officedocument.drawingml.chart+xml"/>
  <Override PartName="/ppt/tags/tag620.xml" ContentType="application/vnd.openxmlformats-officedocument.presentationml.tags+xml"/>
  <Override PartName="/ppt/charts/chart593.xml" ContentType="application/vnd.openxmlformats-officedocument.drawingml.chart+xml"/>
  <Override PartName="/ppt/tags/tag621.xml" ContentType="application/vnd.openxmlformats-officedocument.presentationml.tags+xml"/>
  <Override PartName="/ppt/charts/chart594.xml" ContentType="application/vnd.openxmlformats-officedocument.drawingml.chart+xml"/>
  <Override PartName="/ppt/tags/tag622.xml" ContentType="application/vnd.openxmlformats-officedocument.presentationml.tags+xml"/>
  <Override PartName="/ppt/charts/chart595.xml" ContentType="application/vnd.openxmlformats-officedocument.drawingml.chart+xml"/>
  <Override PartName="/ppt/tags/tag623.xml" ContentType="application/vnd.openxmlformats-officedocument.presentationml.tags+xml"/>
  <Override PartName="/ppt/charts/chart596.xml" ContentType="application/vnd.openxmlformats-officedocument.drawingml.chart+xml"/>
  <Override PartName="/ppt/tags/tag624.xml" ContentType="application/vnd.openxmlformats-officedocument.presentationml.tags+xml"/>
  <Override PartName="/ppt/charts/chart597.xml" ContentType="application/vnd.openxmlformats-officedocument.drawingml.chart+xml"/>
  <Override PartName="/ppt/tags/tag625.xml" ContentType="application/vnd.openxmlformats-officedocument.presentationml.tags+xml"/>
  <Override PartName="/ppt/charts/chart598.xml" ContentType="application/vnd.openxmlformats-officedocument.drawingml.chart+xml"/>
  <Override PartName="/ppt/tags/tag626.xml" ContentType="application/vnd.openxmlformats-officedocument.presentationml.tags+xml"/>
  <Override PartName="/ppt/charts/chart599.xml" ContentType="application/vnd.openxmlformats-officedocument.drawingml.chart+xml"/>
  <Override PartName="/ppt/tags/tag627.xml" ContentType="application/vnd.openxmlformats-officedocument.presentationml.tags+xml"/>
  <Override PartName="/ppt/charts/chart600.xml" ContentType="application/vnd.openxmlformats-officedocument.drawingml.chart+xml"/>
  <Override PartName="/ppt/tags/tag628.xml" ContentType="application/vnd.openxmlformats-officedocument.presentationml.tags+xml"/>
  <Override PartName="/ppt/charts/chart601.xml" ContentType="application/vnd.openxmlformats-officedocument.drawingml.chart+xml"/>
  <Override PartName="/ppt/tags/tag629.xml" ContentType="application/vnd.openxmlformats-officedocument.presentationml.tags+xml"/>
  <Override PartName="/ppt/charts/chart602.xml" ContentType="application/vnd.openxmlformats-officedocument.drawingml.chart+xml"/>
  <Override PartName="/ppt/tags/tag630.xml" ContentType="application/vnd.openxmlformats-officedocument.presentationml.tags+xml"/>
  <Override PartName="/ppt/charts/chart603.xml" ContentType="application/vnd.openxmlformats-officedocument.drawingml.chart+xml"/>
  <Override PartName="/ppt/tags/tag631.xml" ContentType="application/vnd.openxmlformats-officedocument.presentationml.tags+xml"/>
  <Override PartName="/ppt/charts/chart604.xml" ContentType="application/vnd.openxmlformats-officedocument.drawingml.chart+xml"/>
  <Override PartName="/ppt/tags/tag632.xml" ContentType="application/vnd.openxmlformats-officedocument.presentationml.tags+xml"/>
  <Override PartName="/ppt/charts/chart605.xml" ContentType="application/vnd.openxmlformats-officedocument.drawingml.chart+xml"/>
  <Override PartName="/ppt/tags/tag633.xml" ContentType="application/vnd.openxmlformats-officedocument.presentationml.tags+xml"/>
  <Override PartName="/ppt/charts/chart606.xml" ContentType="application/vnd.openxmlformats-officedocument.drawingml.chart+xml"/>
  <Override PartName="/ppt/tags/tag634.xml" ContentType="application/vnd.openxmlformats-officedocument.presentationml.tags+xml"/>
  <Override PartName="/ppt/charts/chart607.xml" ContentType="application/vnd.openxmlformats-officedocument.drawingml.chart+xml"/>
  <Override PartName="/ppt/tags/tag635.xml" ContentType="application/vnd.openxmlformats-officedocument.presentationml.tags+xml"/>
  <Override PartName="/ppt/charts/chart608.xml" ContentType="application/vnd.openxmlformats-officedocument.drawingml.chart+xml"/>
  <Override PartName="/ppt/tags/tag636.xml" ContentType="application/vnd.openxmlformats-officedocument.presentationml.tags+xml"/>
  <Override PartName="/ppt/charts/chart609.xml" ContentType="application/vnd.openxmlformats-officedocument.drawingml.chart+xml"/>
  <Override PartName="/ppt/tags/tag637.xml" ContentType="application/vnd.openxmlformats-officedocument.presentationml.tags+xml"/>
  <Override PartName="/ppt/charts/chart610.xml" ContentType="application/vnd.openxmlformats-officedocument.drawingml.chart+xml"/>
  <Override PartName="/ppt/tags/tag638.xml" ContentType="application/vnd.openxmlformats-officedocument.presentationml.tags+xml"/>
  <Override PartName="/ppt/charts/chart611.xml" ContentType="application/vnd.openxmlformats-officedocument.drawingml.chart+xml"/>
  <Override PartName="/ppt/tags/tag639.xml" ContentType="application/vnd.openxmlformats-officedocument.presentationml.tags+xml"/>
  <Override PartName="/ppt/charts/chart612.xml" ContentType="application/vnd.openxmlformats-officedocument.drawingml.chart+xml"/>
  <Override PartName="/ppt/tags/tag640.xml" ContentType="application/vnd.openxmlformats-officedocument.presentationml.tags+xml"/>
  <Override PartName="/ppt/charts/chart613.xml" ContentType="application/vnd.openxmlformats-officedocument.drawingml.chart+xml"/>
  <Override PartName="/ppt/tags/tag641.xml" ContentType="application/vnd.openxmlformats-officedocument.presentationml.tags+xml"/>
  <Override PartName="/ppt/charts/chart614.xml" ContentType="application/vnd.openxmlformats-officedocument.drawingml.chart+xml"/>
  <Override PartName="/ppt/tags/tag642.xml" ContentType="application/vnd.openxmlformats-officedocument.presentationml.tags+xml"/>
  <Override PartName="/ppt/charts/chart615.xml" ContentType="application/vnd.openxmlformats-officedocument.drawingml.chart+xml"/>
  <Override PartName="/ppt/tags/tag643.xml" ContentType="application/vnd.openxmlformats-officedocument.presentationml.tags+xml"/>
  <Override PartName="/ppt/charts/chart616.xml" ContentType="application/vnd.openxmlformats-officedocument.drawingml.chart+xml"/>
  <Override PartName="/ppt/tags/tag644.xml" ContentType="application/vnd.openxmlformats-officedocument.presentationml.tags+xml"/>
  <Override PartName="/ppt/charts/chart617.xml" ContentType="application/vnd.openxmlformats-officedocument.drawingml.chart+xml"/>
  <Override PartName="/ppt/tags/tag645.xml" ContentType="application/vnd.openxmlformats-officedocument.presentationml.tags+xml"/>
  <Override PartName="/ppt/charts/chart618.xml" ContentType="application/vnd.openxmlformats-officedocument.drawingml.chart+xml"/>
  <Override PartName="/ppt/tags/tag646.xml" ContentType="application/vnd.openxmlformats-officedocument.presentationml.tags+xml"/>
  <Override PartName="/ppt/charts/chart619.xml" ContentType="application/vnd.openxmlformats-officedocument.drawingml.chart+xml"/>
  <Override PartName="/ppt/tags/tag647.xml" ContentType="application/vnd.openxmlformats-officedocument.presentationml.tags+xml"/>
  <Override PartName="/ppt/charts/chart620.xml" ContentType="application/vnd.openxmlformats-officedocument.drawingml.chart+xml"/>
  <Override PartName="/ppt/tags/tag648.xml" ContentType="application/vnd.openxmlformats-officedocument.presentationml.tags+xml"/>
  <Override PartName="/ppt/charts/chart621.xml" ContentType="application/vnd.openxmlformats-officedocument.drawingml.chart+xml"/>
  <Override PartName="/ppt/tags/tag649.xml" ContentType="application/vnd.openxmlformats-officedocument.presentationml.tags+xml"/>
  <Override PartName="/ppt/charts/chart622.xml" ContentType="application/vnd.openxmlformats-officedocument.drawingml.chart+xml"/>
  <Override PartName="/ppt/tags/tag650.xml" ContentType="application/vnd.openxmlformats-officedocument.presentationml.tags+xml"/>
  <Override PartName="/ppt/charts/chart623.xml" ContentType="application/vnd.openxmlformats-officedocument.drawingml.chart+xml"/>
  <Override PartName="/ppt/tags/tag651.xml" ContentType="application/vnd.openxmlformats-officedocument.presentationml.tags+xml"/>
  <Override PartName="/ppt/charts/chart624.xml" ContentType="application/vnd.openxmlformats-officedocument.drawingml.chart+xml"/>
  <Override PartName="/ppt/tags/tag652.xml" ContentType="application/vnd.openxmlformats-officedocument.presentationml.tags+xml"/>
  <Override PartName="/ppt/charts/chart625.xml" ContentType="application/vnd.openxmlformats-officedocument.drawingml.chart+xml"/>
  <Override PartName="/ppt/tags/tag653.xml" ContentType="application/vnd.openxmlformats-officedocument.presentationml.tags+xml"/>
  <Override PartName="/ppt/charts/chart626.xml" ContentType="application/vnd.openxmlformats-officedocument.drawingml.chart+xml"/>
  <Override PartName="/ppt/tags/tag654.xml" ContentType="application/vnd.openxmlformats-officedocument.presentationml.tags+xml"/>
  <Override PartName="/ppt/charts/chart627.xml" ContentType="application/vnd.openxmlformats-officedocument.drawingml.chart+xml"/>
  <Override PartName="/ppt/tags/tag655.xml" ContentType="application/vnd.openxmlformats-officedocument.presentationml.tags+xml"/>
  <Override PartName="/ppt/charts/chart628.xml" ContentType="application/vnd.openxmlformats-officedocument.drawingml.chart+xml"/>
  <Override PartName="/ppt/tags/tag656.xml" ContentType="application/vnd.openxmlformats-officedocument.presentationml.tags+xml"/>
  <Override PartName="/ppt/charts/chart629.xml" ContentType="application/vnd.openxmlformats-officedocument.drawingml.chart+xml"/>
  <Override PartName="/ppt/tags/tag657.xml" ContentType="application/vnd.openxmlformats-officedocument.presentationml.tags+xml"/>
  <Override PartName="/ppt/charts/chart630.xml" ContentType="application/vnd.openxmlformats-officedocument.drawingml.chart+xml"/>
  <Override PartName="/ppt/tags/tag658.xml" ContentType="application/vnd.openxmlformats-officedocument.presentationml.tags+xml"/>
  <Override PartName="/ppt/charts/chart631.xml" ContentType="application/vnd.openxmlformats-officedocument.drawingml.chart+xml"/>
  <Override PartName="/ppt/tags/tag659.xml" ContentType="application/vnd.openxmlformats-officedocument.presentationml.tags+xml"/>
  <Override PartName="/ppt/charts/chart632.xml" ContentType="application/vnd.openxmlformats-officedocument.drawingml.chart+xml"/>
  <Override PartName="/ppt/tags/tag660.xml" ContentType="application/vnd.openxmlformats-officedocument.presentationml.tags+xml"/>
  <Override PartName="/ppt/charts/chart633.xml" ContentType="application/vnd.openxmlformats-officedocument.drawingml.chart+xml"/>
  <Override PartName="/ppt/tags/tag661.xml" ContentType="application/vnd.openxmlformats-officedocument.presentationml.tags+xml"/>
  <Override PartName="/ppt/charts/chart634.xml" ContentType="application/vnd.openxmlformats-officedocument.drawingml.chart+xml"/>
  <Override PartName="/ppt/tags/tag662.xml" ContentType="application/vnd.openxmlformats-officedocument.presentationml.tags+xml"/>
  <Override PartName="/ppt/charts/chart635.xml" ContentType="application/vnd.openxmlformats-officedocument.drawingml.chart+xml"/>
  <Override PartName="/ppt/tags/tag663.xml" ContentType="application/vnd.openxmlformats-officedocument.presentationml.tags+xml"/>
  <Override PartName="/ppt/charts/chart636.xml" ContentType="application/vnd.openxmlformats-officedocument.drawingml.chart+xml"/>
  <Override PartName="/ppt/tags/tag664.xml" ContentType="application/vnd.openxmlformats-officedocument.presentationml.tags+xml"/>
  <Override PartName="/ppt/charts/chart637.xml" ContentType="application/vnd.openxmlformats-officedocument.drawingml.chart+xml"/>
  <Override PartName="/ppt/tags/tag665.xml" ContentType="application/vnd.openxmlformats-officedocument.presentationml.tags+xml"/>
  <Override PartName="/ppt/charts/chart638.xml" ContentType="application/vnd.openxmlformats-officedocument.drawingml.chart+xml"/>
  <Override PartName="/ppt/tags/tag666.xml" ContentType="application/vnd.openxmlformats-officedocument.presentationml.tags+xml"/>
  <Override PartName="/ppt/charts/chart639.xml" ContentType="application/vnd.openxmlformats-officedocument.drawingml.chart+xml"/>
  <Override PartName="/ppt/tags/tag667.xml" ContentType="application/vnd.openxmlformats-officedocument.presentationml.tags+xml"/>
  <Override PartName="/ppt/charts/chart640.xml" ContentType="application/vnd.openxmlformats-officedocument.drawingml.chart+xml"/>
  <Override PartName="/ppt/tags/tag668.xml" ContentType="application/vnd.openxmlformats-officedocument.presentationml.tags+xml"/>
  <Override PartName="/ppt/charts/chart641.xml" ContentType="application/vnd.openxmlformats-officedocument.drawingml.chart+xml"/>
  <Override PartName="/ppt/tags/tag669.xml" ContentType="application/vnd.openxmlformats-officedocument.presentationml.tags+xml"/>
  <Override PartName="/ppt/charts/chart642.xml" ContentType="application/vnd.openxmlformats-officedocument.drawingml.chart+xml"/>
  <Override PartName="/ppt/tags/tag670.xml" ContentType="application/vnd.openxmlformats-officedocument.presentationml.tags+xml"/>
  <Override PartName="/ppt/charts/chart643.xml" ContentType="application/vnd.openxmlformats-officedocument.drawingml.chart+xml"/>
  <Override PartName="/ppt/tags/tag671.xml" ContentType="application/vnd.openxmlformats-officedocument.presentationml.tags+xml"/>
  <Override PartName="/ppt/charts/chart644.xml" ContentType="application/vnd.openxmlformats-officedocument.drawingml.chart+xml"/>
  <Override PartName="/ppt/tags/tag672.xml" ContentType="application/vnd.openxmlformats-officedocument.presentationml.tags+xml"/>
  <Override PartName="/ppt/charts/chart645.xml" ContentType="application/vnd.openxmlformats-officedocument.drawingml.chart+xml"/>
  <Override PartName="/ppt/tags/tag673.xml" ContentType="application/vnd.openxmlformats-officedocument.presentationml.tags+xml"/>
  <Override PartName="/ppt/charts/chart646.xml" ContentType="application/vnd.openxmlformats-officedocument.drawingml.chart+xml"/>
  <Override PartName="/ppt/tags/tag674.xml" ContentType="application/vnd.openxmlformats-officedocument.presentationml.tags+xml"/>
  <Override PartName="/ppt/charts/chart647.xml" ContentType="application/vnd.openxmlformats-officedocument.drawingml.chart+xml"/>
  <Override PartName="/ppt/tags/tag675.xml" ContentType="application/vnd.openxmlformats-officedocument.presentationml.tags+xml"/>
  <Override PartName="/ppt/charts/chart648.xml" ContentType="application/vnd.openxmlformats-officedocument.drawingml.chart+xml"/>
  <Override PartName="/ppt/tags/tag676.xml" ContentType="application/vnd.openxmlformats-officedocument.presentationml.tags+xml"/>
  <Override PartName="/ppt/charts/chart649.xml" ContentType="application/vnd.openxmlformats-officedocument.drawingml.chart+xml"/>
  <Override PartName="/ppt/tags/tag677.xml" ContentType="application/vnd.openxmlformats-officedocument.presentationml.tags+xml"/>
  <Override PartName="/ppt/charts/chart650.xml" ContentType="application/vnd.openxmlformats-officedocument.drawingml.chart+xml"/>
  <Override PartName="/ppt/tags/tag678.xml" ContentType="application/vnd.openxmlformats-officedocument.presentationml.tags+xml"/>
  <Override PartName="/ppt/charts/chart651.xml" ContentType="application/vnd.openxmlformats-officedocument.drawingml.chart+xml"/>
  <Override PartName="/ppt/tags/tag679.xml" ContentType="application/vnd.openxmlformats-officedocument.presentationml.tags+xml"/>
  <Override PartName="/ppt/charts/chart652.xml" ContentType="application/vnd.openxmlformats-officedocument.drawingml.chart+xml"/>
  <Override PartName="/ppt/tags/tag680.xml" ContentType="application/vnd.openxmlformats-officedocument.presentationml.tags+xml"/>
  <Override PartName="/ppt/charts/chart653.xml" ContentType="application/vnd.openxmlformats-officedocument.drawingml.chart+xml"/>
  <Override PartName="/ppt/tags/tag681.xml" ContentType="application/vnd.openxmlformats-officedocument.presentationml.tags+xml"/>
  <Override PartName="/ppt/charts/chart654.xml" ContentType="application/vnd.openxmlformats-officedocument.drawingml.chart+xml"/>
  <Override PartName="/ppt/tags/tag682.xml" ContentType="application/vnd.openxmlformats-officedocument.presentationml.tags+xml"/>
  <Override PartName="/ppt/charts/chart655.xml" ContentType="application/vnd.openxmlformats-officedocument.drawingml.chart+xml"/>
  <Override PartName="/ppt/tags/tag683.xml" ContentType="application/vnd.openxmlformats-officedocument.presentationml.tags+xml"/>
  <Override PartName="/ppt/charts/chart656.xml" ContentType="application/vnd.openxmlformats-officedocument.drawingml.chart+xml"/>
  <Override PartName="/ppt/tags/tag684.xml" ContentType="application/vnd.openxmlformats-officedocument.presentationml.tags+xml"/>
  <Override PartName="/ppt/charts/chart657.xml" ContentType="application/vnd.openxmlformats-officedocument.drawingml.chart+xml"/>
  <Override PartName="/ppt/tags/tag685.xml" ContentType="application/vnd.openxmlformats-officedocument.presentationml.tags+xml"/>
  <Override PartName="/ppt/charts/chart658.xml" ContentType="application/vnd.openxmlformats-officedocument.drawingml.chart+xml"/>
  <Override PartName="/ppt/tags/tag686.xml" ContentType="application/vnd.openxmlformats-officedocument.presentationml.tags+xml"/>
  <Override PartName="/ppt/charts/chart659.xml" ContentType="application/vnd.openxmlformats-officedocument.drawingml.chart+xml"/>
  <Override PartName="/ppt/tags/tag687.xml" ContentType="application/vnd.openxmlformats-officedocument.presentationml.tags+xml"/>
  <Override PartName="/ppt/charts/chart660.xml" ContentType="application/vnd.openxmlformats-officedocument.drawingml.chart+xml"/>
  <Override PartName="/ppt/tags/tag688.xml" ContentType="application/vnd.openxmlformats-officedocument.presentationml.tags+xml"/>
  <Override PartName="/ppt/charts/chart661.xml" ContentType="application/vnd.openxmlformats-officedocument.drawingml.chart+xml"/>
  <Override PartName="/ppt/tags/tag689.xml" ContentType="application/vnd.openxmlformats-officedocument.presentationml.tags+xml"/>
  <Override PartName="/ppt/charts/chart662.xml" ContentType="application/vnd.openxmlformats-officedocument.drawingml.chart+xml"/>
  <Override PartName="/ppt/tags/tag690.xml" ContentType="application/vnd.openxmlformats-officedocument.presentationml.tags+xml"/>
  <Override PartName="/ppt/charts/chart663.xml" ContentType="application/vnd.openxmlformats-officedocument.drawingml.chart+xml"/>
  <Override PartName="/ppt/tags/tag691.xml" ContentType="application/vnd.openxmlformats-officedocument.presentationml.tags+xml"/>
  <Override PartName="/ppt/charts/chart664.xml" ContentType="application/vnd.openxmlformats-officedocument.drawingml.chart+xml"/>
  <Override PartName="/ppt/tags/tag692.xml" ContentType="application/vnd.openxmlformats-officedocument.presentationml.tags+xml"/>
  <Override PartName="/ppt/charts/chart665.xml" ContentType="application/vnd.openxmlformats-officedocument.drawingml.chart+xml"/>
  <Override PartName="/ppt/tags/tag693.xml" ContentType="application/vnd.openxmlformats-officedocument.presentationml.tags+xml"/>
  <Override PartName="/ppt/charts/chart666.xml" ContentType="application/vnd.openxmlformats-officedocument.drawingml.chart+xml"/>
  <Override PartName="/ppt/tags/tag694.xml" ContentType="application/vnd.openxmlformats-officedocument.presentationml.tags+xml"/>
  <Override PartName="/ppt/charts/chart667.xml" ContentType="application/vnd.openxmlformats-officedocument.drawingml.chart+xml"/>
  <Override PartName="/ppt/tags/tag695.xml" ContentType="application/vnd.openxmlformats-officedocument.presentationml.tags+xml"/>
  <Override PartName="/ppt/charts/chart668.xml" ContentType="application/vnd.openxmlformats-officedocument.drawingml.chart+xml"/>
  <Override PartName="/ppt/tags/tag696.xml" ContentType="application/vnd.openxmlformats-officedocument.presentationml.tags+xml"/>
  <Override PartName="/ppt/charts/chart669.xml" ContentType="application/vnd.openxmlformats-officedocument.drawingml.chart+xml"/>
  <Override PartName="/ppt/tags/tag697.xml" ContentType="application/vnd.openxmlformats-officedocument.presentationml.tags+xml"/>
  <Override PartName="/ppt/charts/chart670.xml" ContentType="application/vnd.openxmlformats-officedocument.drawingml.chart+xml"/>
  <Override PartName="/ppt/tags/tag698.xml" ContentType="application/vnd.openxmlformats-officedocument.presentationml.tags+xml"/>
  <Override PartName="/ppt/charts/chart671.xml" ContentType="application/vnd.openxmlformats-officedocument.drawingml.chart+xml"/>
  <Override PartName="/ppt/tags/tag699.xml" ContentType="application/vnd.openxmlformats-officedocument.presentationml.tags+xml"/>
  <Override PartName="/ppt/charts/chart672.xml" ContentType="application/vnd.openxmlformats-officedocument.drawingml.chart+xml"/>
  <Override PartName="/ppt/tags/tag700.xml" ContentType="application/vnd.openxmlformats-officedocument.presentationml.tags+xml"/>
  <Override PartName="/ppt/tags/tag701.xml" ContentType="application/vnd.openxmlformats-officedocument.presentationml.tags+xml"/>
  <Override PartName="/ppt/tags/tag702.xml" ContentType="application/vnd.openxmlformats-officedocument.presentationml.tags+xml"/>
  <Override PartName="/ppt/tags/tag703.xml" ContentType="application/vnd.openxmlformats-officedocument.presentationml.tags+xml"/>
  <Override PartName="/ppt/tags/tag704.xml" ContentType="application/vnd.openxmlformats-officedocument.presentationml.tags+xml"/>
  <Override PartName="/ppt/tags/tag705.xml" ContentType="application/vnd.openxmlformats-officedocument.presentationml.tags+xml"/>
  <Override PartName="/ppt/tags/tag706.xml" ContentType="application/vnd.openxmlformats-officedocument.presentationml.tags+xml"/>
  <Override PartName="/ppt/tags/tag707.xml" ContentType="application/vnd.openxmlformats-officedocument.presentationml.tags+xml"/>
  <Override PartName="/ppt/tags/tag708.xml" ContentType="application/vnd.openxmlformats-officedocument.presentationml.tags+xml"/>
  <Override PartName="/ppt/tags/tag709.xml" ContentType="application/vnd.openxmlformats-officedocument.presentationml.tags+xml"/>
  <Override PartName="/ppt/tags/tag710.xml" ContentType="application/vnd.openxmlformats-officedocument.presentationml.tags+xml"/>
  <Override PartName="/ppt/tags/tag711.xml" ContentType="application/vnd.openxmlformats-officedocument.presentationml.tags+xml"/>
  <Override PartName="/ppt/tags/tag712.xml" ContentType="application/vnd.openxmlformats-officedocument.presentationml.tags+xml"/>
  <Override PartName="/ppt/tags/tag713.xml" ContentType="application/vnd.openxmlformats-officedocument.presentationml.tags+xml"/>
  <Override PartName="/ppt/tags/tag714.xml" ContentType="application/vnd.openxmlformats-officedocument.presentationml.tags+xml"/>
  <Override PartName="/ppt/tags/tag715.xml" ContentType="application/vnd.openxmlformats-officedocument.presentationml.tags+xml"/>
  <Override PartName="/ppt/tags/tag716.xml" ContentType="application/vnd.openxmlformats-officedocument.presentationml.tags+xml"/>
  <Override PartName="/ppt/tags/tag717.xml" ContentType="application/vnd.openxmlformats-officedocument.presentationml.tags+xml"/>
  <Override PartName="/ppt/tags/tag718.xml" ContentType="application/vnd.openxmlformats-officedocument.presentationml.tags+xml"/>
  <Override PartName="/ppt/tags/tag719.xml" ContentType="application/vnd.openxmlformats-officedocument.presentationml.tags+xml"/>
  <Override PartName="/ppt/tags/tag720.xml" ContentType="application/vnd.openxmlformats-officedocument.presentationml.tags+xml"/>
  <Override PartName="/ppt/tags/tag721.xml" ContentType="application/vnd.openxmlformats-officedocument.presentationml.tags+xml"/>
  <Override PartName="/ppt/tags/tag722.xml" ContentType="application/vnd.openxmlformats-officedocument.presentationml.tags+xml"/>
  <Override PartName="/ppt/tags/tag723.xml" ContentType="application/vnd.openxmlformats-officedocument.presentationml.tags+xml"/>
  <Override PartName="/ppt/tags/tag724.xml" ContentType="application/vnd.openxmlformats-officedocument.presentationml.tags+xml"/>
  <Override PartName="/ppt/tags/tag725.xml" ContentType="application/vnd.openxmlformats-officedocument.presentationml.tags+xml"/>
  <Override PartName="/ppt/tags/tag726.xml" ContentType="application/vnd.openxmlformats-officedocument.presentationml.tags+xml"/>
  <Override PartName="/ppt/tags/tag727.xml" ContentType="application/vnd.openxmlformats-officedocument.presentationml.tags+xml"/>
  <Override PartName="/ppt/tags/tag728.xml" ContentType="application/vnd.openxmlformats-officedocument.presentationml.tags+xml"/>
  <Override PartName="/ppt/tags/tag729.xml" ContentType="application/vnd.openxmlformats-officedocument.presentationml.tags+xml"/>
  <Override PartName="/ppt/tags/tag730.xml" ContentType="application/vnd.openxmlformats-officedocument.presentationml.tags+xml"/>
  <Override PartName="/ppt/tags/tag731.xml" ContentType="application/vnd.openxmlformats-officedocument.presentationml.tags+xml"/>
  <Override PartName="/ppt/tags/tag732.xml" ContentType="application/vnd.openxmlformats-officedocument.presentationml.tags+xml"/>
  <Override PartName="/ppt/tags/tag733.xml" ContentType="application/vnd.openxmlformats-officedocument.presentationml.tags+xml"/>
  <Override PartName="/ppt/tags/tag734.xml" ContentType="application/vnd.openxmlformats-officedocument.presentationml.tags+xml"/>
  <Override PartName="/ppt/tags/tag735.xml" ContentType="application/vnd.openxmlformats-officedocument.presentationml.tags+xml"/>
  <Override PartName="/ppt/tags/tag736.xml" ContentType="application/vnd.openxmlformats-officedocument.presentationml.tags+xml"/>
  <Override PartName="/ppt/tags/tag737.xml" ContentType="application/vnd.openxmlformats-officedocument.presentationml.tags+xml"/>
  <Override PartName="/ppt/tags/tag738.xml" ContentType="application/vnd.openxmlformats-officedocument.presentationml.tags+xml"/>
  <Override PartName="/ppt/tags/tag739.xml" ContentType="application/vnd.openxmlformats-officedocument.presentationml.tags+xml"/>
  <Override PartName="/ppt/tags/tag740.xml" ContentType="application/vnd.openxmlformats-officedocument.presentationml.tags+xml"/>
  <Override PartName="/ppt/tags/tag741.xml" ContentType="application/vnd.openxmlformats-officedocument.presentationml.tags+xml"/>
  <Override PartName="/ppt/tags/tag742.xml" ContentType="application/vnd.openxmlformats-officedocument.presentationml.tags+xml"/>
  <Override PartName="/ppt/tags/tag743.xml" ContentType="application/vnd.openxmlformats-officedocument.presentationml.tags+xml"/>
  <Override PartName="/ppt/tags/tag744.xml" ContentType="application/vnd.openxmlformats-officedocument.presentationml.tags+xml"/>
  <Override PartName="/ppt/tags/tag745.xml" ContentType="application/vnd.openxmlformats-officedocument.presentationml.tags+xml"/>
  <Override PartName="/ppt/tags/tag746.xml" ContentType="application/vnd.openxmlformats-officedocument.presentationml.tags+xml"/>
  <Override PartName="/ppt/tags/tag747.xml" ContentType="application/vnd.openxmlformats-officedocument.presentationml.tags+xml"/>
  <Override PartName="/ppt/tags/tag748.xml" ContentType="application/vnd.openxmlformats-officedocument.presentationml.tags+xml"/>
  <Override PartName="/ppt/tags/tag749.xml" ContentType="application/vnd.openxmlformats-officedocument.presentationml.tags+xml"/>
  <Override PartName="/ppt/tags/tag750.xml" ContentType="application/vnd.openxmlformats-officedocument.presentationml.tags+xml"/>
  <Override PartName="/ppt/tags/tag751.xml" ContentType="application/vnd.openxmlformats-officedocument.presentationml.tags+xml"/>
  <Override PartName="/ppt/tags/tag752.xml" ContentType="application/vnd.openxmlformats-officedocument.presentationml.tags+xml"/>
  <Override PartName="/ppt/tags/tag753.xml" ContentType="application/vnd.openxmlformats-officedocument.presentationml.tags+xml"/>
  <Override PartName="/ppt/tags/tag754.xml" ContentType="application/vnd.openxmlformats-officedocument.presentationml.tags+xml"/>
  <Override PartName="/ppt/tags/tag755.xml" ContentType="application/vnd.openxmlformats-officedocument.presentationml.tags+xml"/>
  <Override PartName="/ppt/tags/tag756.xml" ContentType="application/vnd.openxmlformats-officedocument.presentationml.tags+xml"/>
  <Override PartName="/ppt/tags/tag757.xml" ContentType="application/vnd.openxmlformats-officedocument.presentationml.tags+xml"/>
  <Override PartName="/ppt/tags/tag758.xml" ContentType="application/vnd.openxmlformats-officedocument.presentationml.tags+xml"/>
  <Override PartName="/ppt/tags/tag759.xml" ContentType="application/vnd.openxmlformats-officedocument.presentationml.tags+xml"/>
  <Override PartName="/ppt/tags/tag760.xml" ContentType="application/vnd.openxmlformats-officedocument.presentationml.tags+xml"/>
  <Override PartName="/ppt/tags/tag761.xml" ContentType="application/vnd.openxmlformats-officedocument.presentationml.tags+xml"/>
  <Override PartName="/ppt/tags/tag762.xml" ContentType="application/vnd.openxmlformats-officedocument.presentationml.tags+xml"/>
  <Override PartName="/ppt/tags/tag763.xml" ContentType="application/vnd.openxmlformats-officedocument.presentationml.tags+xml"/>
  <Override PartName="/ppt/tags/tag764.xml" ContentType="application/vnd.openxmlformats-officedocument.presentationml.tags+xml"/>
  <Override PartName="/ppt/tags/tag765.xml" ContentType="application/vnd.openxmlformats-officedocument.presentationml.tags+xml"/>
  <Override PartName="/ppt/tags/tag766.xml" ContentType="application/vnd.openxmlformats-officedocument.presentationml.tags+xml"/>
  <Override PartName="/ppt/tags/tag767.xml" ContentType="application/vnd.openxmlformats-officedocument.presentationml.tags+xml"/>
  <Override PartName="/ppt/tags/tag768.xml" ContentType="application/vnd.openxmlformats-officedocument.presentationml.tags+xml"/>
  <Override PartName="/ppt/tags/tag769.xml" ContentType="application/vnd.openxmlformats-officedocument.presentationml.tags+xml"/>
  <Override PartName="/ppt/tags/tag770.xml" ContentType="application/vnd.openxmlformats-officedocument.presentationml.tags+xml"/>
  <Override PartName="/ppt/tags/tag771.xml" ContentType="application/vnd.openxmlformats-officedocument.presentationml.tags+xml"/>
  <Override PartName="/ppt/tags/tag772.xml" ContentType="application/vnd.openxmlformats-officedocument.presentationml.tags+xml"/>
  <Override PartName="/ppt/tags/tag773.xml" ContentType="application/vnd.openxmlformats-officedocument.presentationml.tags+xml"/>
  <Override PartName="/ppt/tags/tag774.xml" ContentType="application/vnd.openxmlformats-officedocument.presentationml.tags+xml"/>
  <Override PartName="/ppt/tags/tag775.xml" ContentType="application/vnd.openxmlformats-officedocument.presentationml.tags+xml"/>
  <Override PartName="/ppt/tags/tag776.xml" ContentType="application/vnd.openxmlformats-officedocument.presentationml.tags+xml"/>
  <Override PartName="/ppt/tags/tag777.xml" ContentType="application/vnd.openxmlformats-officedocument.presentationml.tags+xml"/>
  <Override PartName="/ppt/tags/tag778.xml" ContentType="application/vnd.openxmlformats-officedocument.presentationml.tags+xml"/>
  <Override PartName="/ppt/tags/tag779.xml" ContentType="application/vnd.openxmlformats-officedocument.presentationml.tags+xml"/>
  <Override PartName="/ppt/tags/tag780.xml" ContentType="application/vnd.openxmlformats-officedocument.presentationml.tags+xml"/>
  <Override PartName="/ppt/tags/tag781.xml" ContentType="application/vnd.openxmlformats-officedocument.presentationml.tags+xml"/>
  <Override PartName="/ppt/tags/tag782.xml" ContentType="application/vnd.openxmlformats-officedocument.presentationml.tags+xml"/>
  <Override PartName="/ppt/tags/tag783.xml" ContentType="application/vnd.openxmlformats-officedocument.presentationml.tags+xml"/>
  <Override PartName="/ppt/tags/tag784.xml" ContentType="application/vnd.openxmlformats-officedocument.presentationml.tags+xml"/>
  <Override PartName="/ppt/tags/tag785.xml" ContentType="application/vnd.openxmlformats-officedocument.presentationml.tags+xml"/>
  <Override PartName="/ppt/tags/tag786.xml" ContentType="application/vnd.openxmlformats-officedocument.presentationml.tags+xml"/>
  <Override PartName="/ppt/tags/tag787.xml" ContentType="application/vnd.openxmlformats-officedocument.presentationml.tags+xml"/>
  <Override PartName="/ppt/tags/tag788.xml" ContentType="application/vnd.openxmlformats-officedocument.presentationml.tags+xml"/>
  <Override PartName="/ppt/tags/tag789.xml" ContentType="application/vnd.openxmlformats-officedocument.presentationml.tags+xml"/>
  <Override PartName="/ppt/tags/tag790.xml" ContentType="application/vnd.openxmlformats-officedocument.presentationml.tags+xml"/>
  <Override PartName="/ppt/tags/tag791.xml" ContentType="application/vnd.openxmlformats-officedocument.presentationml.tags+xml"/>
  <Override PartName="/ppt/tags/tag792.xml" ContentType="application/vnd.openxmlformats-officedocument.presentationml.tags+xml"/>
  <Override PartName="/ppt/tags/tag793.xml" ContentType="application/vnd.openxmlformats-officedocument.presentationml.tags+xml"/>
  <Override PartName="/ppt/tags/tag794.xml" ContentType="application/vnd.openxmlformats-officedocument.presentationml.tags+xml"/>
  <Override PartName="/ppt/tags/tag795.xml" ContentType="application/vnd.openxmlformats-officedocument.presentationml.tags+xml"/>
  <Override PartName="/ppt/tags/tag796.xml" ContentType="application/vnd.openxmlformats-officedocument.presentationml.tags+xml"/>
  <Override PartName="/ppt/tags/tag797.xml" ContentType="application/vnd.openxmlformats-officedocument.presentationml.tags+xml"/>
  <Override PartName="/ppt/tags/tag798.xml" ContentType="application/vnd.openxmlformats-officedocument.presentationml.tags+xml"/>
  <Override PartName="/ppt/tags/tag799.xml" ContentType="application/vnd.openxmlformats-officedocument.presentationml.tags+xml"/>
  <Override PartName="/ppt/tags/tag800.xml" ContentType="application/vnd.openxmlformats-officedocument.presentationml.tags+xml"/>
  <Override PartName="/ppt/tags/tag801.xml" ContentType="application/vnd.openxmlformats-officedocument.presentationml.tags+xml"/>
  <Override PartName="/ppt/tags/tag802.xml" ContentType="application/vnd.openxmlformats-officedocument.presentationml.tags+xml"/>
  <Override PartName="/ppt/tags/tag803.xml" ContentType="application/vnd.openxmlformats-officedocument.presentationml.tags+xml"/>
  <Override PartName="/ppt/tags/tag804.xml" ContentType="application/vnd.openxmlformats-officedocument.presentationml.tags+xml"/>
  <Override PartName="/ppt/tags/tag805.xml" ContentType="application/vnd.openxmlformats-officedocument.presentationml.tags+xml"/>
  <Override PartName="/ppt/tags/tag806.xml" ContentType="application/vnd.openxmlformats-officedocument.presentationml.tags+xml"/>
  <Override PartName="/ppt/tags/tag807.xml" ContentType="application/vnd.openxmlformats-officedocument.presentationml.tags+xml"/>
  <Override PartName="/ppt/tags/tag808.xml" ContentType="application/vnd.openxmlformats-officedocument.presentationml.tags+xml"/>
  <Override PartName="/ppt/tags/tag809.xml" ContentType="application/vnd.openxmlformats-officedocument.presentationml.tags+xml"/>
  <Override PartName="/ppt/tags/tag810.xml" ContentType="application/vnd.openxmlformats-officedocument.presentationml.tags+xml"/>
  <Override PartName="/ppt/tags/tag811.xml" ContentType="application/vnd.openxmlformats-officedocument.presentationml.tags+xml"/>
  <Override PartName="/ppt/tags/tag812.xml" ContentType="application/vnd.openxmlformats-officedocument.presentationml.tags+xml"/>
  <Override PartName="/ppt/tags/tag813.xml" ContentType="application/vnd.openxmlformats-officedocument.presentationml.tags+xml"/>
  <Override PartName="/ppt/tags/tag814.xml" ContentType="application/vnd.openxmlformats-officedocument.presentationml.tags+xml"/>
  <Override PartName="/ppt/tags/tag815.xml" ContentType="application/vnd.openxmlformats-officedocument.presentationml.tags+xml"/>
  <Override PartName="/ppt/tags/tag816.xml" ContentType="application/vnd.openxmlformats-officedocument.presentationml.tags+xml"/>
  <Override PartName="/ppt/tags/tag817.xml" ContentType="application/vnd.openxmlformats-officedocument.presentationml.tags+xml"/>
  <Override PartName="/ppt/tags/tag818.xml" ContentType="application/vnd.openxmlformats-officedocument.presentationml.tags+xml"/>
  <Override PartName="/ppt/tags/tag819.xml" ContentType="application/vnd.openxmlformats-officedocument.presentationml.tags+xml"/>
  <Override PartName="/ppt/tags/tag820.xml" ContentType="application/vnd.openxmlformats-officedocument.presentationml.tags+xml"/>
  <Override PartName="/ppt/tags/tag821.xml" ContentType="application/vnd.openxmlformats-officedocument.presentationml.tags+xml"/>
  <Override PartName="/ppt/tags/tag822.xml" ContentType="application/vnd.openxmlformats-officedocument.presentationml.tags+xml"/>
  <Override PartName="/ppt/tags/tag823.xml" ContentType="application/vnd.openxmlformats-officedocument.presentationml.tags+xml"/>
  <Override PartName="/ppt/tags/tag824.xml" ContentType="application/vnd.openxmlformats-officedocument.presentationml.tags+xml"/>
  <Override PartName="/ppt/tags/tag825.xml" ContentType="application/vnd.openxmlformats-officedocument.presentationml.tags+xml"/>
  <Override PartName="/ppt/tags/tag826.xml" ContentType="application/vnd.openxmlformats-officedocument.presentationml.tags+xml"/>
  <Override PartName="/ppt/tags/tag827.xml" ContentType="application/vnd.openxmlformats-officedocument.presentationml.tags+xml"/>
  <Override PartName="/ppt/tags/tag828.xml" ContentType="application/vnd.openxmlformats-officedocument.presentationml.tags+xml"/>
  <Override PartName="/ppt/tags/tag829.xml" ContentType="application/vnd.openxmlformats-officedocument.presentationml.tags+xml"/>
  <Override PartName="/ppt/tags/tag830.xml" ContentType="application/vnd.openxmlformats-officedocument.presentationml.tags+xml"/>
  <Override PartName="/ppt/tags/tag831.xml" ContentType="application/vnd.openxmlformats-officedocument.presentationml.tags+xml"/>
  <Override PartName="/ppt/tags/tag832.xml" ContentType="application/vnd.openxmlformats-officedocument.presentationml.tags+xml"/>
  <Override PartName="/ppt/tags/tag833.xml" ContentType="application/vnd.openxmlformats-officedocument.presentationml.tags+xml"/>
  <Override PartName="/ppt/tags/tag834.xml" ContentType="application/vnd.openxmlformats-officedocument.presentationml.tags+xml"/>
  <Override PartName="/ppt/tags/tag835.xml" ContentType="application/vnd.openxmlformats-officedocument.presentationml.tags+xml"/>
  <Override PartName="/ppt/tags/tag836.xml" ContentType="application/vnd.openxmlformats-officedocument.presentationml.tags+xml"/>
  <Override PartName="/ppt/tags/tag837.xml" ContentType="application/vnd.openxmlformats-officedocument.presentationml.tags+xml"/>
  <Override PartName="/ppt/tags/tag838.xml" ContentType="application/vnd.openxmlformats-officedocument.presentationml.tags+xml"/>
  <Override PartName="/ppt/tags/tag839.xml" ContentType="application/vnd.openxmlformats-officedocument.presentationml.tags+xml"/>
  <Override PartName="/ppt/tags/tag840.xml" ContentType="application/vnd.openxmlformats-officedocument.presentationml.tags+xml"/>
  <Override PartName="/ppt/tags/tag841.xml" ContentType="application/vnd.openxmlformats-officedocument.presentationml.tags+xml"/>
  <Override PartName="/ppt/tags/tag842.xml" ContentType="application/vnd.openxmlformats-officedocument.presentationml.tags+xml"/>
  <Override PartName="/ppt/tags/tag843.xml" ContentType="application/vnd.openxmlformats-officedocument.presentationml.tags+xml"/>
  <Override PartName="/ppt/tags/tag844.xml" ContentType="application/vnd.openxmlformats-officedocument.presentationml.tags+xml"/>
  <Override PartName="/ppt/tags/tag845.xml" ContentType="application/vnd.openxmlformats-officedocument.presentationml.tags+xml"/>
  <Override PartName="/ppt/tags/tag846.xml" ContentType="application/vnd.openxmlformats-officedocument.presentationml.tags+xml"/>
  <Override PartName="/ppt/tags/tag847.xml" ContentType="application/vnd.openxmlformats-officedocument.presentationml.tags+xml"/>
  <Override PartName="/ppt/tags/tag848.xml" ContentType="application/vnd.openxmlformats-officedocument.presentationml.tags+xml"/>
  <Override PartName="/ppt/tags/tag849.xml" ContentType="application/vnd.openxmlformats-officedocument.presentationml.tags+xml"/>
  <Override PartName="/ppt/tags/tag850.xml" ContentType="application/vnd.openxmlformats-officedocument.presentationml.tags+xml"/>
  <Override PartName="/ppt/tags/tag851.xml" ContentType="application/vnd.openxmlformats-officedocument.presentationml.tags+xml"/>
  <Override PartName="/ppt/tags/tag852.xml" ContentType="application/vnd.openxmlformats-officedocument.presentationml.tags+xml"/>
  <Override PartName="/ppt/tags/tag853.xml" ContentType="application/vnd.openxmlformats-officedocument.presentationml.tags+xml"/>
  <Override PartName="/ppt/tags/tag854.xml" ContentType="application/vnd.openxmlformats-officedocument.presentationml.tags+xml"/>
  <Override PartName="/ppt/tags/tag855.xml" ContentType="application/vnd.openxmlformats-officedocument.presentationml.tags+xml"/>
  <Override PartName="/ppt/tags/tag856.xml" ContentType="application/vnd.openxmlformats-officedocument.presentationml.tags+xml"/>
  <Override PartName="/ppt/tags/tag857.xml" ContentType="application/vnd.openxmlformats-officedocument.presentationml.tags+xml"/>
  <Override PartName="/ppt/tags/tag858.xml" ContentType="application/vnd.openxmlformats-officedocument.presentationml.tags+xml"/>
  <Override PartName="/ppt/tags/tag859.xml" ContentType="application/vnd.openxmlformats-officedocument.presentationml.tags+xml"/>
  <Override PartName="/ppt/tags/tag860.xml" ContentType="application/vnd.openxmlformats-officedocument.presentationml.tags+xml"/>
  <Override PartName="/ppt/tags/tag861.xml" ContentType="application/vnd.openxmlformats-officedocument.presentationml.tags+xml"/>
  <Override PartName="/ppt/tags/tag862.xml" ContentType="application/vnd.openxmlformats-officedocument.presentationml.tags+xml"/>
  <Override PartName="/ppt/tags/tag863.xml" ContentType="application/vnd.openxmlformats-officedocument.presentationml.tags+xml"/>
  <Override PartName="/ppt/tags/tag864.xml" ContentType="application/vnd.openxmlformats-officedocument.presentationml.tags+xml"/>
  <Override PartName="/ppt/tags/tag865.xml" ContentType="application/vnd.openxmlformats-officedocument.presentationml.tags+xml"/>
  <Override PartName="/ppt/tags/tag866.xml" ContentType="application/vnd.openxmlformats-officedocument.presentationml.tags+xml"/>
  <Override PartName="/ppt/tags/tag867.xml" ContentType="application/vnd.openxmlformats-officedocument.presentationml.tags+xml"/>
  <Override PartName="/ppt/tags/tag868.xml" ContentType="application/vnd.openxmlformats-officedocument.presentationml.tags+xml"/>
  <Override PartName="/ppt/tags/tag869.xml" ContentType="application/vnd.openxmlformats-officedocument.presentationml.tags+xml"/>
  <Override PartName="/ppt/tags/tag870.xml" ContentType="application/vnd.openxmlformats-officedocument.presentationml.tags+xml"/>
  <Override PartName="/ppt/tags/tag871.xml" ContentType="application/vnd.openxmlformats-officedocument.presentationml.tags+xml"/>
  <Override PartName="/ppt/tags/tag872.xml" ContentType="application/vnd.openxmlformats-officedocument.presentationml.tags+xml"/>
  <Override PartName="/ppt/tags/tag873.xml" ContentType="application/vnd.openxmlformats-officedocument.presentationml.tags+xml"/>
  <Override PartName="/ppt/tags/tag874.xml" ContentType="application/vnd.openxmlformats-officedocument.presentationml.tags+xml"/>
  <Override PartName="/ppt/tags/tag875.xml" ContentType="application/vnd.openxmlformats-officedocument.presentationml.tags+xml"/>
  <Override PartName="/ppt/tags/tag876.xml" ContentType="application/vnd.openxmlformats-officedocument.presentationml.tags+xml"/>
  <Override PartName="/ppt/tags/tag877.xml" ContentType="application/vnd.openxmlformats-officedocument.presentationml.tags+xml"/>
  <Override PartName="/ppt/tags/tag878.xml" ContentType="application/vnd.openxmlformats-officedocument.presentationml.tags+xml"/>
  <Override PartName="/ppt/tags/tag879.xml" ContentType="application/vnd.openxmlformats-officedocument.presentationml.tags+xml"/>
  <Override PartName="/ppt/tags/tag880.xml" ContentType="application/vnd.openxmlformats-officedocument.presentationml.tags+xml"/>
  <Override PartName="/ppt/tags/tag881.xml" ContentType="application/vnd.openxmlformats-officedocument.presentationml.tags+xml"/>
  <Override PartName="/ppt/tags/tag882.xml" ContentType="application/vnd.openxmlformats-officedocument.presentationml.tags+xml"/>
  <Override PartName="/ppt/tags/tag883.xml" ContentType="application/vnd.openxmlformats-officedocument.presentationml.tags+xml"/>
  <Override PartName="/ppt/tags/tag884.xml" ContentType="application/vnd.openxmlformats-officedocument.presentationml.tags+xml"/>
  <Override PartName="/ppt/tags/tag885.xml" ContentType="application/vnd.openxmlformats-officedocument.presentationml.tags+xml"/>
  <Override PartName="/ppt/tags/tag886.xml" ContentType="application/vnd.openxmlformats-officedocument.presentationml.tags+xml"/>
  <Override PartName="/ppt/tags/tag887.xml" ContentType="application/vnd.openxmlformats-officedocument.presentationml.tags+xml"/>
  <Override PartName="/ppt/tags/tag888.xml" ContentType="application/vnd.openxmlformats-officedocument.presentationml.tags+xml"/>
  <Override PartName="/ppt/tags/tag889.xml" ContentType="application/vnd.openxmlformats-officedocument.presentationml.tags+xml"/>
  <Override PartName="/ppt/tags/tag890.xml" ContentType="application/vnd.openxmlformats-officedocument.presentationml.tags+xml"/>
  <Override PartName="/ppt/tags/tag891.xml" ContentType="application/vnd.openxmlformats-officedocument.presentationml.tags+xml"/>
  <Override PartName="/ppt/tags/tag892.xml" ContentType="application/vnd.openxmlformats-officedocument.presentationml.tags+xml"/>
  <Override PartName="/ppt/tags/tag893.xml" ContentType="application/vnd.openxmlformats-officedocument.presentationml.tags+xml"/>
  <Override PartName="/ppt/tags/tag894.xml" ContentType="application/vnd.openxmlformats-officedocument.presentationml.tags+xml"/>
  <Override PartName="/ppt/tags/tag895.xml" ContentType="application/vnd.openxmlformats-officedocument.presentationml.tags+xml"/>
  <Override PartName="/ppt/tags/tag896.xml" ContentType="application/vnd.openxmlformats-officedocument.presentationml.tags+xml"/>
  <Override PartName="/ppt/tags/tag897.xml" ContentType="application/vnd.openxmlformats-officedocument.presentationml.tags+xml"/>
  <Override PartName="/ppt/tags/tag898.xml" ContentType="application/vnd.openxmlformats-officedocument.presentationml.tags+xml"/>
  <Override PartName="/ppt/tags/tag899.xml" ContentType="application/vnd.openxmlformats-officedocument.presentationml.tags+xml"/>
  <Override PartName="/ppt/tags/tag900.xml" ContentType="application/vnd.openxmlformats-officedocument.presentationml.tags+xml"/>
  <Override PartName="/ppt/tags/tag901.xml" ContentType="application/vnd.openxmlformats-officedocument.presentationml.tags+xml"/>
  <Override PartName="/ppt/tags/tag902.xml" ContentType="application/vnd.openxmlformats-officedocument.presentationml.tags+xml"/>
  <Override PartName="/ppt/tags/tag903.xml" ContentType="application/vnd.openxmlformats-officedocument.presentationml.tags+xml"/>
  <Override PartName="/ppt/tags/tag904.xml" ContentType="application/vnd.openxmlformats-officedocument.presentationml.tags+xml"/>
  <Override PartName="/ppt/tags/tag905.xml" ContentType="application/vnd.openxmlformats-officedocument.presentationml.tags+xml"/>
  <Override PartName="/ppt/tags/tag906.xml" ContentType="application/vnd.openxmlformats-officedocument.presentationml.tags+xml"/>
  <Override PartName="/ppt/tags/tag907.xml" ContentType="application/vnd.openxmlformats-officedocument.presentationml.tags+xml"/>
  <Override PartName="/ppt/tags/tag908.xml" ContentType="application/vnd.openxmlformats-officedocument.presentationml.tags+xml"/>
  <Override PartName="/ppt/tags/tag909.xml" ContentType="application/vnd.openxmlformats-officedocument.presentationml.tags+xml"/>
  <Override PartName="/ppt/tags/tag910.xml" ContentType="application/vnd.openxmlformats-officedocument.presentationml.tags+xml"/>
  <Override PartName="/ppt/tags/tag911.xml" ContentType="application/vnd.openxmlformats-officedocument.presentationml.tags+xml"/>
  <Override PartName="/ppt/tags/tag912.xml" ContentType="application/vnd.openxmlformats-officedocument.presentationml.tags+xml"/>
  <Override PartName="/ppt/tags/tag913.xml" ContentType="application/vnd.openxmlformats-officedocument.presentationml.tags+xml"/>
  <Override PartName="/ppt/tags/tag914.xml" ContentType="application/vnd.openxmlformats-officedocument.presentationml.tags+xml"/>
  <Override PartName="/ppt/tags/tag915.xml" ContentType="application/vnd.openxmlformats-officedocument.presentationml.tags+xml"/>
  <Override PartName="/ppt/tags/tag916.xml" ContentType="application/vnd.openxmlformats-officedocument.presentationml.tags+xml"/>
  <Override PartName="/ppt/tags/tag917.xml" ContentType="application/vnd.openxmlformats-officedocument.presentationml.tags+xml"/>
  <Override PartName="/ppt/tags/tag918.xml" ContentType="application/vnd.openxmlformats-officedocument.presentationml.tags+xml"/>
  <Override PartName="/ppt/tags/tag919.xml" ContentType="application/vnd.openxmlformats-officedocument.presentationml.tags+xml"/>
  <Override PartName="/ppt/tags/tag920.xml" ContentType="application/vnd.openxmlformats-officedocument.presentationml.tags+xml"/>
  <Override PartName="/ppt/tags/tag921.xml" ContentType="application/vnd.openxmlformats-officedocument.presentationml.tags+xml"/>
  <Override PartName="/ppt/tags/tag922.xml" ContentType="application/vnd.openxmlformats-officedocument.presentationml.tags+xml"/>
  <Override PartName="/ppt/tags/tag923.xml" ContentType="application/vnd.openxmlformats-officedocument.presentationml.tags+xml"/>
  <Override PartName="/ppt/tags/tag924.xml" ContentType="application/vnd.openxmlformats-officedocument.presentationml.tags+xml"/>
  <Override PartName="/ppt/tags/tag925.xml" ContentType="application/vnd.openxmlformats-officedocument.presentationml.tags+xml"/>
  <Override PartName="/ppt/tags/tag926.xml" ContentType="application/vnd.openxmlformats-officedocument.presentationml.tags+xml"/>
  <Override PartName="/ppt/tags/tag927.xml" ContentType="application/vnd.openxmlformats-officedocument.presentationml.tags+xml"/>
  <Override PartName="/ppt/tags/tag928.xml" ContentType="application/vnd.openxmlformats-officedocument.presentationml.tags+xml"/>
  <Override PartName="/ppt/tags/tag929.xml" ContentType="application/vnd.openxmlformats-officedocument.presentationml.tags+xml"/>
  <Override PartName="/ppt/tags/tag930.xml" ContentType="application/vnd.openxmlformats-officedocument.presentationml.tags+xml"/>
  <Override PartName="/ppt/tags/tag931.xml" ContentType="application/vnd.openxmlformats-officedocument.presentationml.tags+xml"/>
  <Override PartName="/ppt/tags/tag932.xml" ContentType="application/vnd.openxmlformats-officedocument.presentationml.tags+xml"/>
  <Override PartName="/ppt/tags/tag933.xml" ContentType="application/vnd.openxmlformats-officedocument.presentationml.tags+xml"/>
  <Override PartName="/ppt/tags/tag934.xml" ContentType="application/vnd.openxmlformats-officedocument.presentationml.tags+xml"/>
  <Override PartName="/ppt/tags/tag935.xml" ContentType="application/vnd.openxmlformats-officedocument.presentationml.tags+xml"/>
  <Override PartName="/ppt/tags/tag936.xml" ContentType="application/vnd.openxmlformats-officedocument.presentationml.tags+xml"/>
  <Override PartName="/ppt/tags/tag937.xml" ContentType="application/vnd.openxmlformats-officedocument.presentationml.tags+xml"/>
  <Override PartName="/ppt/tags/tag938.xml" ContentType="application/vnd.openxmlformats-officedocument.presentationml.tags+xml"/>
  <Override PartName="/ppt/tags/tag939.xml" ContentType="application/vnd.openxmlformats-officedocument.presentationml.tags+xml"/>
  <Override PartName="/ppt/tags/tag940.xml" ContentType="application/vnd.openxmlformats-officedocument.presentationml.tags+xml"/>
  <Override PartName="/ppt/notesSlides/notesSlide1.xml" ContentType="application/vnd.openxmlformats-officedocument.presentationml.notesSlide+xml"/>
  <Override PartName="/ppt/charts/chart673.xml" ContentType="application/vnd.openxmlformats-officedocument.drawingml.chart+xml"/>
  <Override PartName="/ppt/tags/tag941.xml" ContentType="application/vnd.openxmlformats-officedocument.presentationml.tags+xml"/>
  <Override PartName="/ppt/notesSlides/notesSlide2.xml" ContentType="application/vnd.openxmlformats-officedocument.presentationml.notesSlide+xml"/>
  <Override PartName="/ppt/charts/chart674.xml" ContentType="application/vnd.openxmlformats-officedocument.drawingml.chart+xml"/>
  <Override PartName="/ppt/tags/tag942.xml" ContentType="application/vnd.openxmlformats-officedocument.presentationml.tags+xml"/>
  <Override PartName="/ppt/notesSlides/notesSlide3.xml" ContentType="application/vnd.openxmlformats-officedocument.presentationml.notesSlide+xml"/>
  <Override PartName="/ppt/charts/chart675.xml" ContentType="application/vnd.openxmlformats-officedocument.drawingml.chart+xml"/>
  <Override PartName="/ppt/tags/tag943.xml" ContentType="application/vnd.openxmlformats-officedocument.presentationml.tags+xml"/>
  <Override PartName="/ppt/notesSlides/notesSlide4.xml" ContentType="application/vnd.openxmlformats-officedocument.presentationml.notesSlide+xml"/>
  <Override PartName="/ppt/charts/chart676.xml" ContentType="application/vnd.openxmlformats-officedocument.drawingml.chart+xml"/>
  <Override PartName="/ppt/tags/tag944.xml" ContentType="application/vnd.openxmlformats-officedocument.presentationml.tags+xml"/>
  <Override PartName="/ppt/notesSlides/notesSlide5.xml" ContentType="application/vnd.openxmlformats-officedocument.presentationml.notesSlide+xml"/>
  <Override PartName="/ppt/charts/chart677.xml" ContentType="application/vnd.openxmlformats-officedocument.drawingml.chart+xml"/>
  <Override PartName="/ppt/tags/tag945.xml" ContentType="application/vnd.openxmlformats-officedocument.presentationml.tags+xml"/>
  <Override PartName="/ppt/notesSlides/notesSlide6.xml" ContentType="application/vnd.openxmlformats-officedocument.presentationml.notesSlide+xml"/>
  <Override PartName="/ppt/charts/chart678.xml" ContentType="application/vnd.openxmlformats-officedocument.drawingml.chart+xml"/>
  <Override PartName="/ppt/tags/tag946.xml" ContentType="application/vnd.openxmlformats-officedocument.presentationml.tags+xml"/>
  <Override PartName="/ppt/notesSlides/notesSlide7.xml" ContentType="application/vnd.openxmlformats-officedocument.presentationml.notesSlide+xml"/>
  <Override PartName="/ppt/charts/chart679.xml" ContentType="application/vnd.openxmlformats-officedocument.drawingml.chart+xml"/>
  <Override PartName="/ppt/tags/tag947.xml" ContentType="application/vnd.openxmlformats-officedocument.presentationml.tags+xml"/>
  <Override PartName="/ppt/notesSlides/notesSlide8.xml" ContentType="application/vnd.openxmlformats-officedocument.presentationml.notesSlide+xml"/>
  <Override PartName="/ppt/charts/chart680.xml" ContentType="application/vnd.openxmlformats-officedocument.drawingml.chart+xml"/>
  <Override PartName="/ppt/tags/tag948.xml" ContentType="application/vnd.openxmlformats-officedocument.presentationml.tags+xml"/>
  <Override PartName="/ppt/notesSlides/notesSlide9.xml" ContentType="application/vnd.openxmlformats-officedocument.presentationml.notesSlide+xml"/>
  <Override PartName="/ppt/charts/chart681.xml" ContentType="application/vnd.openxmlformats-officedocument.drawingml.chart+xml"/>
  <Override PartName="/ppt/tags/tag949.xml" ContentType="application/vnd.openxmlformats-officedocument.presentationml.tags+xml"/>
  <Override PartName="/ppt/notesSlides/notesSlide10.xml" ContentType="application/vnd.openxmlformats-officedocument.presentationml.notesSlide+xml"/>
  <Override PartName="/ppt/charts/chart682.xml" ContentType="application/vnd.openxmlformats-officedocument.drawingml.chart+xml"/>
  <Override PartName="/ppt/tags/tag950.xml" ContentType="application/vnd.openxmlformats-officedocument.presentationml.tags+xml"/>
  <Override PartName="/ppt/notesSlides/notesSlide11.xml" ContentType="application/vnd.openxmlformats-officedocument.presentationml.notesSlide+xml"/>
  <Override PartName="/ppt/charts/chart683.xml" ContentType="application/vnd.openxmlformats-officedocument.drawingml.chart+xml"/>
  <Override PartName="/ppt/tags/tag951.xml" ContentType="application/vnd.openxmlformats-officedocument.presentationml.tags+xml"/>
  <Override PartName="/ppt/notesSlides/notesSlide12.xml" ContentType="application/vnd.openxmlformats-officedocument.presentationml.notesSlide+xml"/>
  <Override PartName="/ppt/charts/chart684.xml" ContentType="application/vnd.openxmlformats-officedocument.drawingml.chart+xml"/>
  <Override PartName="/ppt/tags/tag952.xml" ContentType="application/vnd.openxmlformats-officedocument.presentationml.tags+xml"/>
  <Override PartName="/ppt/notesSlides/notesSlide13.xml" ContentType="application/vnd.openxmlformats-officedocument.presentationml.notesSlide+xml"/>
  <Override PartName="/ppt/charts/chart685.xml" ContentType="application/vnd.openxmlformats-officedocument.drawingml.chart+xml"/>
  <Override PartName="/ppt/tags/tag953.xml" ContentType="application/vnd.openxmlformats-officedocument.presentationml.tags+xml"/>
  <Override PartName="/ppt/notesSlides/notesSlide14.xml" ContentType="application/vnd.openxmlformats-officedocument.presentationml.notesSlide+xml"/>
  <Override PartName="/ppt/charts/chart686.xml" ContentType="application/vnd.openxmlformats-officedocument.drawingml.chart+xml"/>
  <Override PartName="/ppt/tags/tag954.xml" ContentType="application/vnd.openxmlformats-officedocument.presentationml.tags+xml"/>
  <Override PartName="/ppt/notesSlides/notesSlide15.xml" ContentType="application/vnd.openxmlformats-officedocument.presentationml.notesSlide+xml"/>
  <Override PartName="/ppt/charts/chart687.xml" ContentType="application/vnd.openxmlformats-officedocument.drawingml.chart+xml"/>
  <Override PartName="/ppt/tags/tag955.xml" ContentType="application/vnd.openxmlformats-officedocument.presentationml.tags+xml"/>
  <Override PartName="/ppt/notesSlides/notesSlide16.xml" ContentType="application/vnd.openxmlformats-officedocument.presentationml.notesSlide+xml"/>
  <Override PartName="/ppt/charts/chart688.xml" ContentType="application/vnd.openxmlformats-officedocument.drawingml.chart+xml"/>
  <Override PartName="/ppt/tags/tag956.xml" ContentType="application/vnd.openxmlformats-officedocument.presentationml.tags+xml"/>
  <Override PartName="/ppt/notesSlides/notesSlide17.xml" ContentType="application/vnd.openxmlformats-officedocument.presentationml.notesSlide+xml"/>
  <Override PartName="/ppt/charts/chart689.xml" ContentType="application/vnd.openxmlformats-officedocument.drawingml.chart+xml"/>
  <Override PartName="/ppt/tags/tag957.xml" ContentType="application/vnd.openxmlformats-officedocument.presentationml.tags+xml"/>
  <Override PartName="/ppt/notesSlides/notesSlide18.xml" ContentType="application/vnd.openxmlformats-officedocument.presentationml.notesSlide+xml"/>
  <Override PartName="/ppt/charts/chart690.xml" ContentType="application/vnd.openxmlformats-officedocument.drawingml.chart+xml"/>
  <Override PartName="/ppt/tags/tag958.xml" ContentType="application/vnd.openxmlformats-officedocument.presentationml.tags+xml"/>
  <Override PartName="/ppt/notesSlides/notesSlide19.xml" ContentType="application/vnd.openxmlformats-officedocument.presentationml.notesSlide+xml"/>
  <Override PartName="/ppt/charts/chart691.xml" ContentType="application/vnd.openxmlformats-officedocument.drawingml.chart+xml"/>
  <Override PartName="/ppt/tags/tag959.xml" ContentType="application/vnd.openxmlformats-officedocument.presentationml.tags+xml"/>
  <Override PartName="/ppt/notesSlides/notesSlide20.xml" ContentType="application/vnd.openxmlformats-officedocument.presentationml.notesSlide+xml"/>
  <Override PartName="/ppt/charts/chart692.xml" ContentType="application/vnd.openxmlformats-officedocument.drawingml.chart+xml"/>
  <Override PartName="/ppt/tags/tag960.xml" ContentType="application/vnd.openxmlformats-officedocument.presentationml.tags+xml"/>
  <Override PartName="/ppt/notesSlides/notesSlide21.xml" ContentType="application/vnd.openxmlformats-officedocument.presentationml.notesSlide+xml"/>
  <Override PartName="/ppt/charts/chart693.xml" ContentType="application/vnd.openxmlformats-officedocument.drawingml.chart+xml"/>
  <Override PartName="/ppt/tags/tag961.xml" ContentType="application/vnd.openxmlformats-officedocument.presentationml.tags+xml"/>
  <Override PartName="/ppt/notesSlides/notesSlide22.xml" ContentType="application/vnd.openxmlformats-officedocument.presentationml.notesSlide+xml"/>
  <Override PartName="/ppt/charts/chart694.xml" ContentType="application/vnd.openxmlformats-officedocument.drawingml.chart+xml"/>
  <Override PartName="/ppt/tags/tag962.xml" ContentType="application/vnd.openxmlformats-officedocument.presentationml.tags+xml"/>
  <Override PartName="/ppt/notesSlides/notesSlide23.xml" ContentType="application/vnd.openxmlformats-officedocument.presentationml.notesSlide+xml"/>
  <Override PartName="/ppt/charts/chart695.xml" ContentType="application/vnd.openxmlformats-officedocument.drawingml.chart+xml"/>
  <Override PartName="/ppt/tags/tag963.xml" ContentType="application/vnd.openxmlformats-officedocument.presentationml.tags+xml"/>
  <Override PartName="/ppt/notesSlides/notesSlide24.xml" ContentType="application/vnd.openxmlformats-officedocument.presentationml.notesSlide+xml"/>
  <Override PartName="/ppt/charts/chart696.xml" ContentType="application/vnd.openxmlformats-officedocument.drawingml.chart+xml"/>
  <Override PartName="/ppt/tags/tag964.xml" ContentType="application/vnd.openxmlformats-officedocument.presentationml.tags+xml"/>
  <Override PartName="/ppt/notesSlides/notesSlide25.xml" ContentType="application/vnd.openxmlformats-officedocument.presentationml.notesSlide+xml"/>
  <Override PartName="/ppt/charts/chart697.xml" ContentType="application/vnd.openxmlformats-officedocument.drawingml.chart+xml"/>
  <Override PartName="/ppt/tags/tag965.xml" ContentType="application/vnd.openxmlformats-officedocument.presentationml.tags+xml"/>
  <Override PartName="/ppt/notesSlides/notesSlide26.xml" ContentType="application/vnd.openxmlformats-officedocument.presentationml.notesSlide+xml"/>
  <Override PartName="/ppt/charts/chart698.xml" ContentType="application/vnd.openxmlformats-officedocument.drawingml.chart+xml"/>
  <Override PartName="/ppt/tags/tag966.xml" ContentType="application/vnd.openxmlformats-officedocument.presentationml.tags+xml"/>
  <Override PartName="/ppt/notesSlides/notesSlide27.xml" ContentType="application/vnd.openxmlformats-officedocument.presentationml.notesSlide+xml"/>
  <Override PartName="/ppt/charts/chart699.xml" ContentType="application/vnd.openxmlformats-officedocument.drawingml.chart+xml"/>
  <Override PartName="/ppt/tags/tag967.xml" ContentType="application/vnd.openxmlformats-officedocument.presentationml.tags+xml"/>
  <Override PartName="/ppt/notesSlides/notesSlide28.xml" ContentType="application/vnd.openxmlformats-officedocument.presentationml.notesSlide+xml"/>
  <Override PartName="/ppt/charts/chart700.xml" ContentType="application/vnd.openxmlformats-officedocument.drawingml.chart+xml"/>
  <Override PartName="/ppt/tags/tag968.xml" ContentType="application/vnd.openxmlformats-officedocument.presentationml.tags+xml"/>
  <Override PartName="/ppt/notesSlides/notesSlide29.xml" ContentType="application/vnd.openxmlformats-officedocument.presentationml.notesSlide+xml"/>
  <Override PartName="/ppt/charts/chart701.xml" ContentType="application/vnd.openxmlformats-officedocument.drawingml.chart+xml"/>
  <Override PartName="/ppt/tags/tag969.xml" ContentType="application/vnd.openxmlformats-officedocument.presentationml.tags+xml"/>
  <Override PartName="/ppt/notesSlides/notesSlide30.xml" ContentType="application/vnd.openxmlformats-officedocument.presentationml.notesSlide+xml"/>
  <Override PartName="/ppt/charts/chart702.xml" ContentType="application/vnd.openxmlformats-officedocument.drawingml.chart+xml"/>
  <Override PartName="/ppt/tags/tag970.xml" ContentType="application/vnd.openxmlformats-officedocument.presentationml.tags+xml"/>
  <Override PartName="/ppt/notesSlides/notesSlide31.xml" ContentType="application/vnd.openxmlformats-officedocument.presentationml.notesSlide+xml"/>
  <Override PartName="/ppt/charts/chart703.xml" ContentType="application/vnd.openxmlformats-officedocument.drawingml.chart+xml"/>
  <Override PartName="/ppt/tags/tag971.xml" ContentType="application/vnd.openxmlformats-officedocument.presentationml.tags+xml"/>
  <Override PartName="/ppt/notesSlides/notesSlide32.xml" ContentType="application/vnd.openxmlformats-officedocument.presentationml.notesSlide+xml"/>
  <Override PartName="/ppt/charts/chart704.xml" ContentType="application/vnd.openxmlformats-officedocument.drawingml.chart+xml"/>
  <Override PartName="/ppt/tags/tag972.xml" ContentType="application/vnd.openxmlformats-officedocument.presentationml.tags+xml"/>
  <Override PartName="/ppt/notesSlides/notesSlide33.xml" ContentType="application/vnd.openxmlformats-officedocument.presentationml.notesSlide+xml"/>
  <Override PartName="/ppt/charts/chart705.xml" ContentType="application/vnd.openxmlformats-officedocument.drawingml.chart+xml"/>
  <Override PartName="/ppt/tags/tag973.xml" ContentType="application/vnd.openxmlformats-officedocument.presentationml.tags+xml"/>
  <Override PartName="/ppt/notesSlides/notesSlide34.xml" ContentType="application/vnd.openxmlformats-officedocument.presentationml.notesSlide+xml"/>
  <Override PartName="/ppt/charts/chart706.xml" ContentType="application/vnd.openxmlformats-officedocument.drawingml.chart+xml"/>
  <Override PartName="/ppt/tags/tag974.xml" ContentType="application/vnd.openxmlformats-officedocument.presentationml.tags+xml"/>
  <Override PartName="/ppt/notesSlides/notesSlide35.xml" ContentType="application/vnd.openxmlformats-officedocument.presentationml.notesSlide+xml"/>
  <Override PartName="/ppt/charts/chart707.xml" ContentType="application/vnd.openxmlformats-officedocument.drawingml.chart+xml"/>
  <Override PartName="/ppt/tags/tag975.xml" ContentType="application/vnd.openxmlformats-officedocument.presentationml.tags+xml"/>
  <Override PartName="/ppt/notesSlides/notesSlide36.xml" ContentType="application/vnd.openxmlformats-officedocument.presentationml.notesSlide+xml"/>
  <Override PartName="/ppt/charts/chart708.xml" ContentType="application/vnd.openxmlformats-officedocument.drawingml.chart+xml"/>
  <Override PartName="/ppt/tags/tag976.xml" ContentType="application/vnd.openxmlformats-officedocument.presentationml.tags+xml"/>
  <Override PartName="/ppt/notesSlides/notesSlide37.xml" ContentType="application/vnd.openxmlformats-officedocument.presentationml.notesSlide+xml"/>
  <Override PartName="/ppt/charts/chart709.xml" ContentType="application/vnd.openxmlformats-officedocument.drawingml.chart+xml"/>
  <Override PartName="/ppt/tags/tag977.xml" ContentType="application/vnd.openxmlformats-officedocument.presentationml.tags+xml"/>
  <Override PartName="/ppt/notesSlides/notesSlide38.xml" ContentType="application/vnd.openxmlformats-officedocument.presentationml.notesSlide+xml"/>
  <Override PartName="/ppt/charts/chart710.xml" ContentType="application/vnd.openxmlformats-officedocument.drawingml.chart+xml"/>
  <Override PartName="/ppt/tags/tag978.xml" ContentType="application/vnd.openxmlformats-officedocument.presentationml.tags+xml"/>
  <Override PartName="/ppt/notesSlides/notesSlide39.xml" ContentType="application/vnd.openxmlformats-officedocument.presentationml.notesSlide+xml"/>
  <Override PartName="/ppt/charts/chart711.xml" ContentType="application/vnd.openxmlformats-officedocument.drawingml.chart+xml"/>
  <Override PartName="/ppt/tags/tag979.xml" ContentType="application/vnd.openxmlformats-officedocument.presentationml.tags+xml"/>
  <Override PartName="/ppt/notesSlides/notesSlide40.xml" ContentType="application/vnd.openxmlformats-officedocument.presentationml.notesSlide+xml"/>
  <Override PartName="/ppt/charts/chart712.xml" ContentType="application/vnd.openxmlformats-officedocument.drawingml.chart+xml"/>
  <Override PartName="/ppt/tags/tag980.xml" ContentType="application/vnd.openxmlformats-officedocument.presentationml.tags+xml"/>
  <Override PartName="/ppt/notesSlides/notesSlide41.xml" ContentType="application/vnd.openxmlformats-officedocument.presentationml.notesSlide+xml"/>
  <Override PartName="/ppt/charts/chart713.xml" ContentType="application/vnd.openxmlformats-officedocument.drawingml.chart+xml"/>
  <Override PartName="/ppt/tags/tag981.xml" ContentType="application/vnd.openxmlformats-officedocument.presentationml.tags+xml"/>
  <Override PartName="/ppt/notesSlides/notesSlide42.xml" ContentType="application/vnd.openxmlformats-officedocument.presentationml.notesSlide+xml"/>
  <Override PartName="/ppt/charts/chart714.xml" ContentType="application/vnd.openxmlformats-officedocument.drawingml.chart+xml"/>
  <Override PartName="/ppt/tags/tag982.xml" ContentType="application/vnd.openxmlformats-officedocument.presentationml.tags+xml"/>
  <Override PartName="/ppt/notesSlides/notesSlide43.xml" ContentType="application/vnd.openxmlformats-officedocument.presentationml.notesSlide+xml"/>
  <Override PartName="/ppt/charts/chart715.xml" ContentType="application/vnd.openxmlformats-officedocument.drawingml.chart+xml"/>
  <Override PartName="/ppt/tags/tag983.xml" ContentType="application/vnd.openxmlformats-officedocument.presentationml.tags+xml"/>
  <Override PartName="/ppt/notesSlides/notesSlide44.xml" ContentType="application/vnd.openxmlformats-officedocument.presentationml.notesSlide+xml"/>
  <Override PartName="/ppt/charts/chart716.xml" ContentType="application/vnd.openxmlformats-officedocument.drawingml.chart+xml"/>
  <Override PartName="/ppt/tags/tag984.xml" ContentType="application/vnd.openxmlformats-officedocument.presentationml.tags+xml"/>
  <Override PartName="/ppt/notesSlides/notesSlide45.xml" ContentType="application/vnd.openxmlformats-officedocument.presentationml.notesSlide+xml"/>
  <Override PartName="/ppt/charts/chart717.xml" ContentType="application/vnd.openxmlformats-officedocument.drawingml.chart+xml"/>
  <Override PartName="/ppt/tags/tag985.xml" ContentType="application/vnd.openxmlformats-officedocument.presentationml.tags+xml"/>
  <Override PartName="/ppt/notesSlides/notesSlide46.xml" ContentType="application/vnd.openxmlformats-officedocument.presentationml.notesSlide+xml"/>
  <Override PartName="/ppt/charts/chart718.xml" ContentType="application/vnd.openxmlformats-officedocument.drawingml.chart+xml"/>
  <Override PartName="/ppt/tags/tag986.xml" ContentType="application/vnd.openxmlformats-officedocument.presentationml.tags+xml"/>
  <Override PartName="/ppt/notesSlides/notesSlide47.xml" ContentType="application/vnd.openxmlformats-officedocument.presentationml.notesSlide+xml"/>
  <Override PartName="/ppt/charts/chart719.xml" ContentType="application/vnd.openxmlformats-officedocument.drawingml.chart+xml"/>
  <Override PartName="/ppt/tags/tag987.xml" ContentType="application/vnd.openxmlformats-officedocument.presentationml.tags+xml"/>
  <Override PartName="/ppt/notesSlides/notesSlide48.xml" ContentType="application/vnd.openxmlformats-officedocument.presentationml.notesSlide+xml"/>
  <Override PartName="/ppt/charts/chart720.xml" ContentType="application/vnd.openxmlformats-officedocument.drawingml.chart+xml"/>
  <Override PartName="/ppt/tags/tag988.xml" ContentType="application/vnd.openxmlformats-officedocument.presentationml.tags+xml"/>
  <Override PartName="/ppt/notesSlides/notesSlide49.xml" ContentType="application/vnd.openxmlformats-officedocument.presentationml.notesSlide+xml"/>
  <Override PartName="/ppt/charts/chart721.xml" ContentType="application/vnd.openxmlformats-officedocument.drawingml.chart+xml"/>
  <Override PartName="/ppt/tags/tag989.xml" ContentType="application/vnd.openxmlformats-officedocument.presentationml.tags+xml"/>
  <Override PartName="/ppt/notesSlides/notesSlide50.xml" ContentType="application/vnd.openxmlformats-officedocument.presentationml.notesSlide+xml"/>
  <Override PartName="/ppt/charts/chart722.xml" ContentType="application/vnd.openxmlformats-officedocument.drawingml.chart+xml"/>
  <Override PartName="/ppt/tags/tag990.xml" ContentType="application/vnd.openxmlformats-officedocument.presentationml.tags+xml"/>
  <Override PartName="/ppt/notesSlides/notesSlide51.xml" ContentType="application/vnd.openxmlformats-officedocument.presentationml.notesSlide+xml"/>
  <Override PartName="/ppt/charts/chart723.xml" ContentType="application/vnd.openxmlformats-officedocument.drawingml.chart+xml"/>
  <Override PartName="/ppt/tags/tag991.xml" ContentType="application/vnd.openxmlformats-officedocument.presentationml.tags+xml"/>
  <Override PartName="/ppt/notesSlides/notesSlide52.xml" ContentType="application/vnd.openxmlformats-officedocument.presentationml.notesSlide+xml"/>
  <Override PartName="/ppt/charts/chart724.xml" ContentType="application/vnd.openxmlformats-officedocument.drawingml.chart+xml"/>
  <Override PartName="/ppt/tags/tag992.xml" ContentType="application/vnd.openxmlformats-officedocument.presentationml.tags+xml"/>
  <Override PartName="/ppt/notesSlides/notesSlide53.xml" ContentType="application/vnd.openxmlformats-officedocument.presentationml.notesSlide+xml"/>
  <Override PartName="/ppt/charts/chart725.xml" ContentType="application/vnd.openxmlformats-officedocument.drawingml.chart+xml"/>
  <Override PartName="/ppt/tags/tag993.xml" ContentType="application/vnd.openxmlformats-officedocument.presentationml.tags+xml"/>
  <Override PartName="/ppt/notesSlides/notesSlide54.xml" ContentType="application/vnd.openxmlformats-officedocument.presentationml.notesSlide+xml"/>
  <Override PartName="/ppt/charts/chart726.xml" ContentType="application/vnd.openxmlformats-officedocument.drawingml.chart+xml"/>
  <Override PartName="/ppt/tags/tag994.xml" ContentType="application/vnd.openxmlformats-officedocument.presentationml.tags+xml"/>
  <Override PartName="/ppt/notesSlides/notesSlide55.xml" ContentType="application/vnd.openxmlformats-officedocument.presentationml.notesSlide+xml"/>
  <Override PartName="/ppt/charts/chart727.xml" ContentType="application/vnd.openxmlformats-officedocument.drawingml.chart+xml"/>
  <Override PartName="/ppt/tags/tag995.xml" ContentType="application/vnd.openxmlformats-officedocument.presentationml.tags+xml"/>
  <Override PartName="/ppt/notesSlides/notesSlide56.xml" ContentType="application/vnd.openxmlformats-officedocument.presentationml.notesSlide+xml"/>
  <Override PartName="/ppt/charts/chart728.xml" ContentType="application/vnd.openxmlformats-officedocument.drawingml.chart+xml"/>
  <Override PartName="/ppt/tags/tag996.xml" ContentType="application/vnd.openxmlformats-officedocument.presentationml.tags+xml"/>
  <Override PartName="/ppt/notesSlides/notesSlide57.xml" ContentType="application/vnd.openxmlformats-officedocument.presentationml.notesSlide+xml"/>
  <Override PartName="/ppt/charts/chart729.xml" ContentType="application/vnd.openxmlformats-officedocument.drawingml.chart+xml"/>
  <Override PartName="/ppt/tags/tag997.xml" ContentType="application/vnd.openxmlformats-officedocument.presentationml.tags+xml"/>
  <Override PartName="/ppt/notesSlides/notesSlide58.xml" ContentType="application/vnd.openxmlformats-officedocument.presentationml.notesSlide+xml"/>
  <Override PartName="/ppt/charts/chart730.xml" ContentType="application/vnd.openxmlformats-officedocument.drawingml.chart+xml"/>
  <Override PartName="/ppt/tags/tag998.xml" ContentType="application/vnd.openxmlformats-officedocument.presentationml.tags+xml"/>
  <Override PartName="/ppt/notesSlides/notesSlide59.xml" ContentType="application/vnd.openxmlformats-officedocument.presentationml.notesSlide+xml"/>
  <Override PartName="/ppt/charts/chart731.xml" ContentType="application/vnd.openxmlformats-officedocument.drawingml.chart+xml"/>
  <Override PartName="/ppt/tags/tag999.xml" ContentType="application/vnd.openxmlformats-officedocument.presentationml.tags+xml"/>
  <Override PartName="/ppt/notesSlides/notesSlide60.xml" ContentType="application/vnd.openxmlformats-officedocument.presentationml.notesSlide+xml"/>
  <Override PartName="/ppt/charts/chart732.xml" ContentType="application/vnd.openxmlformats-officedocument.drawingml.chart+xml"/>
  <Override PartName="/ppt/tags/tag1000.xml" ContentType="application/vnd.openxmlformats-officedocument.presentationml.tags+xml"/>
  <Override PartName="/ppt/notesSlides/notesSlide61.xml" ContentType="application/vnd.openxmlformats-officedocument.presentationml.notesSlide+xml"/>
  <Override PartName="/ppt/charts/chart733.xml" ContentType="application/vnd.openxmlformats-officedocument.drawingml.chart+xml"/>
  <Override PartName="/ppt/tags/tag1001.xml" ContentType="application/vnd.openxmlformats-officedocument.presentationml.tags+xml"/>
  <Override PartName="/ppt/notesSlides/notesSlide62.xml" ContentType="application/vnd.openxmlformats-officedocument.presentationml.notesSlide+xml"/>
  <Override PartName="/ppt/charts/chart734.xml" ContentType="application/vnd.openxmlformats-officedocument.drawingml.chart+xml"/>
  <Override PartName="/ppt/tags/tag1002.xml" ContentType="application/vnd.openxmlformats-officedocument.presentationml.tags+xml"/>
  <Override PartName="/ppt/notesSlides/notesSlide63.xml" ContentType="application/vnd.openxmlformats-officedocument.presentationml.notesSlide+xml"/>
  <Override PartName="/ppt/charts/chart735.xml" ContentType="application/vnd.openxmlformats-officedocument.drawingml.chart+xml"/>
  <Override PartName="/ppt/tags/tag1003.xml" ContentType="application/vnd.openxmlformats-officedocument.presentationml.tags+xml"/>
  <Override PartName="/ppt/notesSlides/notesSlide64.xml" ContentType="application/vnd.openxmlformats-officedocument.presentationml.notesSlide+xml"/>
  <Override PartName="/ppt/charts/chart736.xml" ContentType="application/vnd.openxmlformats-officedocument.drawingml.chart+xml"/>
  <Override PartName="/ppt/tags/tag1004.xml" ContentType="application/vnd.openxmlformats-officedocument.presentationml.tags+xml"/>
  <Override PartName="/ppt/notesSlides/notesSlide65.xml" ContentType="application/vnd.openxmlformats-officedocument.presentationml.notesSlide+xml"/>
  <Override PartName="/ppt/charts/chart737.xml" ContentType="application/vnd.openxmlformats-officedocument.drawingml.chart+xml"/>
  <Override PartName="/ppt/tags/tag1005.xml" ContentType="application/vnd.openxmlformats-officedocument.presentationml.tags+xml"/>
  <Override PartName="/ppt/notesSlides/notesSlide66.xml" ContentType="application/vnd.openxmlformats-officedocument.presentationml.notesSlide+xml"/>
  <Override PartName="/ppt/charts/chart738.xml" ContentType="application/vnd.openxmlformats-officedocument.drawingml.chart+xml"/>
  <Override PartName="/ppt/tags/tag1006.xml" ContentType="application/vnd.openxmlformats-officedocument.presentationml.tags+xml"/>
  <Override PartName="/ppt/notesSlides/notesSlide67.xml" ContentType="application/vnd.openxmlformats-officedocument.presentationml.notesSlide+xml"/>
  <Override PartName="/ppt/charts/chart739.xml" ContentType="application/vnd.openxmlformats-officedocument.drawingml.chart+xml"/>
  <Override PartName="/ppt/tags/tag1007.xml" ContentType="application/vnd.openxmlformats-officedocument.presentationml.tags+xml"/>
  <Override PartName="/ppt/notesSlides/notesSlide68.xml" ContentType="application/vnd.openxmlformats-officedocument.presentationml.notesSlide+xml"/>
  <Override PartName="/ppt/charts/chart740.xml" ContentType="application/vnd.openxmlformats-officedocument.drawingml.chart+xml"/>
  <Override PartName="/ppt/tags/tag1008.xml" ContentType="application/vnd.openxmlformats-officedocument.presentationml.tags+xml"/>
  <Override PartName="/ppt/notesSlides/notesSlide69.xml" ContentType="application/vnd.openxmlformats-officedocument.presentationml.notesSlide+xml"/>
  <Override PartName="/ppt/charts/chart741.xml" ContentType="application/vnd.openxmlformats-officedocument.drawingml.chart+xml"/>
  <Override PartName="/ppt/tags/tag1009.xml" ContentType="application/vnd.openxmlformats-officedocument.presentationml.tags+xml"/>
  <Override PartName="/ppt/notesSlides/notesSlide70.xml" ContentType="application/vnd.openxmlformats-officedocument.presentationml.notesSlide+xml"/>
  <Override PartName="/ppt/charts/chart742.xml" ContentType="application/vnd.openxmlformats-officedocument.drawingml.chart+xml"/>
  <Override PartName="/ppt/tags/tag1010.xml" ContentType="application/vnd.openxmlformats-officedocument.presentationml.tags+xml"/>
  <Override PartName="/ppt/notesSlides/notesSlide71.xml" ContentType="application/vnd.openxmlformats-officedocument.presentationml.notesSlide+xml"/>
  <Override PartName="/ppt/charts/chart743.xml" ContentType="application/vnd.openxmlformats-officedocument.drawingml.chart+xml"/>
  <Override PartName="/ppt/tags/tag1011.xml" ContentType="application/vnd.openxmlformats-officedocument.presentationml.tags+xml"/>
  <Override PartName="/ppt/notesSlides/notesSlide72.xml" ContentType="application/vnd.openxmlformats-officedocument.presentationml.notesSlide+xml"/>
  <Override PartName="/ppt/charts/chart744.xml" ContentType="application/vnd.openxmlformats-officedocument.drawingml.chart+xml"/>
  <Override PartName="/ppt/tags/tag1012.xml" ContentType="application/vnd.openxmlformats-officedocument.presentationml.tags+xml"/>
  <Override PartName="/ppt/notesSlides/notesSlide73.xml" ContentType="application/vnd.openxmlformats-officedocument.presentationml.notesSlide+xml"/>
  <Override PartName="/ppt/charts/chart745.xml" ContentType="application/vnd.openxmlformats-officedocument.drawingml.chart+xml"/>
  <Override PartName="/ppt/tags/tag1013.xml" ContentType="application/vnd.openxmlformats-officedocument.presentationml.tags+xml"/>
  <Override PartName="/ppt/notesSlides/notesSlide74.xml" ContentType="application/vnd.openxmlformats-officedocument.presentationml.notesSlide+xml"/>
  <Override PartName="/ppt/charts/chart746.xml" ContentType="application/vnd.openxmlformats-officedocument.drawingml.chart+xml"/>
  <Override PartName="/ppt/tags/tag1014.xml" ContentType="application/vnd.openxmlformats-officedocument.presentationml.tags+xml"/>
  <Override PartName="/ppt/notesSlides/notesSlide75.xml" ContentType="application/vnd.openxmlformats-officedocument.presentationml.notesSlide+xml"/>
  <Override PartName="/ppt/charts/chart747.xml" ContentType="application/vnd.openxmlformats-officedocument.drawingml.chart+xml"/>
  <Override PartName="/ppt/tags/tag1015.xml" ContentType="application/vnd.openxmlformats-officedocument.presentationml.tags+xml"/>
  <Override PartName="/ppt/notesSlides/notesSlide76.xml" ContentType="application/vnd.openxmlformats-officedocument.presentationml.notesSlide+xml"/>
  <Override PartName="/ppt/charts/chart748.xml" ContentType="application/vnd.openxmlformats-officedocument.drawingml.chart+xml"/>
  <Override PartName="/ppt/tags/tag1016.xml" ContentType="application/vnd.openxmlformats-officedocument.presentationml.tags+xml"/>
  <Override PartName="/ppt/notesSlides/notesSlide77.xml" ContentType="application/vnd.openxmlformats-officedocument.presentationml.notesSlide+xml"/>
  <Override PartName="/ppt/charts/chart749.xml" ContentType="application/vnd.openxmlformats-officedocument.drawingml.chart+xml"/>
  <Override PartName="/ppt/tags/tag1017.xml" ContentType="application/vnd.openxmlformats-officedocument.presentationml.tags+xml"/>
  <Override PartName="/ppt/notesSlides/notesSlide78.xml" ContentType="application/vnd.openxmlformats-officedocument.presentationml.notesSlide+xml"/>
  <Override PartName="/ppt/charts/chart750.xml" ContentType="application/vnd.openxmlformats-officedocument.drawingml.chart+xml"/>
  <Override PartName="/ppt/tags/tag1018.xml" ContentType="application/vnd.openxmlformats-officedocument.presentationml.tags+xml"/>
  <Override PartName="/ppt/notesSlides/notesSlide79.xml" ContentType="application/vnd.openxmlformats-officedocument.presentationml.notesSlide+xml"/>
  <Override PartName="/ppt/charts/chart751.xml" ContentType="application/vnd.openxmlformats-officedocument.drawingml.chart+xml"/>
  <Override PartName="/ppt/tags/tag1019.xml" ContentType="application/vnd.openxmlformats-officedocument.presentationml.tags+xml"/>
  <Override PartName="/ppt/notesSlides/notesSlide80.xml" ContentType="application/vnd.openxmlformats-officedocument.presentationml.notesSlide+xml"/>
  <Override PartName="/ppt/charts/chart752.xml" ContentType="application/vnd.openxmlformats-officedocument.drawingml.chart+xml"/>
  <Override PartName="/ppt/tags/tag1020.xml" ContentType="application/vnd.openxmlformats-officedocument.presentationml.tags+xml"/>
  <Override PartName="/ppt/notesSlides/notesSlide81.xml" ContentType="application/vnd.openxmlformats-officedocument.presentationml.notesSlide+xml"/>
  <Override PartName="/ppt/charts/chart753.xml" ContentType="application/vnd.openxmlformats-officedocument.drawingml.chart+xml"/>
  <Override PartName="/ppt/tags/tag1021.xml" ContentType="application/vnd.openxmlformats-officedocument.presentationml.tags+xml"/>
  <Override PartName="/ppt/notesSlides/notesSlide82.xml" ContentType="application/vnd.openxmlformats-officedocument.presentationml.notesSlide+xml"/>
  <Override PartName="/ppt/charts/chart754.xml" ContentType="application/vnd.openxmlformats-officedocument.drawingml.chart+xml"/>
  <Override PartName="/ppt/tags/tag1022.xml" ContentType="application/vnd.openxmlformats-officedocument.presentationml.tags+xml"/>
  <Override PartName="/ppt/notesSlides/notesSlide83.xml" ContentType="application/vnd.openxmlformats-officedocument.presentationml.notesSlide+xml"/>
  <Override PartName="/ppt/charts/chart755.xml" ContentType="application/vnd.openxmlformats-officedocument.drawingml.chart+xml"/>
  <Override PartName="/ppt/tags/tag1023.xml" ContentType="application/vnd.openxmlformats-officedocument.presentationml.tags+xml"/>
  <Override PartName="/ppt/notesSlides/notesSlide84.xml" ContentType="application/vnd.openxmlformats-officedocument.presentationml.notesSlide+xml"/>
  <Override PartName="/ppt/charts/chart756.xml" ContentType="application/vnd.openxmlformats-officedocument.drawingml.chart+xml"/>
  <Override PartName="/ppt/tags/tag1024.xml" ContentType="application/vnd.openxmlformats-officedocument.presentationml.tags+xml"/>
  <Override PartName="/ppt/notesSlides/notesSlide85.xml" ContentType="application/vnd.openxmlformats-officedocument.presentationml.notesSlide+xml"/>
  <Override PartName="/ppt/charts/chart757.xml" ContentType="application/vnd.openxmlformats-officedocument.drawingml.chart+xml"/>
  <Override PartName="/ppt/tags/tag1025.xml" ContentType="application/vnd.openxmlformats-officedocument.presentationml.tags+xml"/>
  <Override PartName="/ppt/notesSlides/notesSlide86.xml" ContentType="application/vnd.openxmlformats-officedocument.presentationml.notesSlide+xml"/>
  <Override PartName="/ppt/charts/chart758.xml" ContentType="application/vnd.openxmlformats-officedocument.drawingml.chart+xml"/>
  <Override PartName="/ppt/tags/tag1026.xml" ContentType="application/vnd.openxmlformats-officedocument.presentationml.tags+xml"/>
  <Override PartName="/ppt/notesSlides/notesSlide87.xml" ContentType="application/vnd.openxmlformats-officedocument.presentationml.notesSlide+xml"/>
  <Override PartName="/ppt/charts/chart759.xml" ContentType="application/vnd.openxmlformats-officedocument.drawingml.chart+xml"/>
  <Override PartName="/ppt/tags/tag1027.xml" ContentType="application/vnd.openxmlformats-officedocument.presentationml.tags+xml"/>
  <Override PartName="/ppt/notesSlides/notesSlide88.xml" ContentType="application/vnd.openxmlformats-officedocument.presentationml.notesSlide+xml"/>
  <Override PartName="/ppt/charts/chart760.xml" ContentType="application/vnd.openxmlformats-officedocument.drawingml.chart+xml"/>
  <Override PartName="/ppt/tags/tag1028.xml" ContentType="application/vnd.openxmlformats-officedocument.presentationml.tags+xml"/>
  <Override PartName="/ppt/notesSlides/notesSlide89.xml" ContentType="application/vnd.openxmlformats-officedocument.presentationml.notesSlide+xml"/>
  <Override PartName="/ppt/charts/chart761.xml" ContentType="application/vnd.openxmlformats-officedocument.drawingml.chart+xml"/>
  <Override PartName="/ppt/tags/tag1029.xml" ContentType="application/vnd.openxmlformats-officedocument.presentationml.tags+xml"/>
  <Override PartName="/ppt/notesSlides/notesSlide90.xml" ContentType="application/vnd.openxmlformats-officedocument.presentationml.notesSlide+xml"/>
  <Override PartName="/ppt/charts/chart762.xml" ContentType="application/vnd.openxmlformats-officedocument.drawingml.chart+xml"/>
  <Override PartName="/ppt/tags/tag1030.xml" ContentType="application/vnd.openxmlformats-officedocument.presentationml.tags+xml"/>
  <Override PartName="/ppt/notesSlides/notesSlide91.xml" ContentType="application/vnd.openxmlformats-officedocument.presentationml.notesSlide+xml"/>
  <Override PartName="/ppt/charts/chart763.xml" ContentType="application/vnd.openxmlformats-officedocument.drawingml.chart+xml"/>
  <Override PartName="/ppt/tags/tag1031.xml" ContentType="application/vnd.openxmlformats-officedocument.presentationml.tags+xml"/>
  <Override PartName="/ppt/notesSlides/notesSlide92.xml" ContentType="application/vnd.openxmlformats-officedocument.presentationml.notesSlide+xml"/>
  <Override PartName="/ppt/charts/chart764.xml" ContentType="application/vnd.openxmlformats-officedocument.drawingml.chart+xml"/>
  <Override PartName="/ppt/tags/tag1032.xml" ContentType="application/vnd.openxmlformats-officedocument.presentationml.tags+xml"/>
  <Override PartName="/ppt/notesSlides/notesSlide93.xml" ContentType="application/vnd.openxmlformats-officedocument.presentationml.notesSlide+xml"/>
  <Override PartName="/ppt/charts/chart765.xml" ContentType="application/vnd.openxmlformats-officedocument.drawingml.chart+xml"/>
  <Override PartName="/ppt/tags/tag1033.xml" ContentType="application/vnd.openxmlformats-officedocument.presentationml.tags+xml"/>
  <Override PartName="/ppt/notesSlides/notesSlide94.xml" ContentType="application/vnd.openxmlformats-officedocument.presentationml.notesSlide+xml"/>
  <Override PartName="/ppt/charts/chart766.xml" ContentType="application/vnd.openxmlformats-officedocument.drawingml.chart+xml"/>
  <Override PartName="/ppt/tags/tag1034.xml" ContentType="application/vnd.openxmlformats-officedocument.presentationml.tags+xml"/>
  <Override PartName="/ppt/charts/chart767.xml" ContentType="application/vnd.openxmlformats-officedocument.drawingml.chart+xml"/>
  <Override PartName="/ppt/tags/tag1035.xml" ContentType="application/vnd.openxmlformats-officedocument.presentationml.tags+xml"/>
  <Override PartName="/ppt/charts/chart768.xml" ContentType="application/vnd.openxmlformats-officedocument.drawingml.chart+xml"/>
  <Override PartName="/ppt/tags/tag1036.xml" ContentType="application/vnd.openxmlformats-officedocument.presentationml.tags+xml"/>
  <Override PartName="/ppt/charts/chart769.xml" ContentType="application/vnd.openxmlformats-officedocument.drawingml.chart+xml"/>
  <Override PartName="/ppt/tags/tag1037.xml" ContentType="application/vnd.openxmlformats-officedocument.presentationml.tags+xml"/>
  <Override PartName="/ppt/charts/chart770.xml" ContentType="application/vnd.openxmlformats-officedocument.drawingml.chart+xml"/>
  <Override PartName="/ppt/tags/tag1038.xml" ContentType="application/vnd.openxmlformats-officedocument.presentationml.tags+xml"/>
  <Override PartName="/ppt/charts/chart771.xml" ContentType="application/vnd.openxmlformats-officedocument.drawingml.chart+xml"/>
  <Override PartName="/ppt/tags/tag1039.xml" ContentType="application/vnd.openxmlformats-officedocument.presentationml.tags+xml"/>
  <Override PartName="/ppt/charts/chart772.xml" ContentType="application/vnd.openxmlformats-officedocument.drawingml.chart+xml"/>
  <Override PartName="/ppt/tags/tag1040.xml" ContentType="application/vnd.openxmlformats-officedocument.presentationml.tags+xml"/>
  <Override PartName="/ppt/charts/chart773.xml" ContentType="application/vnd.openxmlformats-officedocument.drawingml.chart+xml"/>
  <Override PartName="/ppt/tags/tag1041.xml" ContentType="application/vnd.openxmlformats-officedocument.presentationml.tags+xml"/>
  <Override PartName="/ppt/charts/chart774.xml" ContentType="application/vnd.openxmlformats-officedocument.drawingml.chart+xml"/>
  <Override PartName="/ppt/tags/tag1042.xml" ContentType="application/vnd.openxmlformats-officedocument.presentationml.tags+xml"/>
  <Override PartName="/ppt/charts/chart775.xml" ContentType="application/vnd.openxmlformats-officedocument.drawingml.chart+xml"/>
  <Override PartName="/ppt/tags/tag1043.xml" ContentType="application/vnd.openxmlformats-officedocument.presentationml.tags+xml"/>
  <Override PartName="/ppt/charts/chart776.xml" ContentType="application/vnd.openxmlformats-officedocument.drawingml.chart+xml"/>
  <Override PartName="/ppt/tags/tag1044.xml" ContentType="application/vnd.openxmlformats-officedocument.presentationml.tags+xml"/>
  <Override PartName="/ppt/charts/chart777.xml" ContentType="application/vnd.openxmlformats-officedocument.drawingml.chart+xml"/>
  <Override PartName="/ppt/tags/tag1045.xml" ContentType="application/vnd.openxmlformats-officedocument.presentationml.tags+xml"/>
  <Override PartName="/ppt/charts/chart778.xml" ContentType="application/vnd.openxmlformats-officedocument.drawingml.chart+xml"/>
  <Override PartName="/ppt/tags/tag1046.xml" ContentType="application/vnd.openxmlformats-officedocument.presentationml.tags+xml"/>
  <Override PartName="/ppt/charts/chart779.xml" ContentType="application/vnd.openxmlformats-officedocument.drawingml.chart+xml"/>
  <Override PartName="/ppt/tags/tag1047.xml" ContentType="application/vnd.openxmlformats-officedocument.presentationml.tags+xml"/>
  <Override PartName="/ppt/charts/chart780.xml" ContentType="application/vnd.openxmlformats-officedocument.drawingml.chart+xml"/>
  <Override PartName="/ppt/tags/tag1048.xml" ContentType="application/vnd.openxmlformats-officedocument.presentationml.tags+xml"/>
  <Override PartName="/ppt/charts/chart781.xml" ContentType="application/vnd.openxmlformats-officedocument.drawingml.chart+xml"/>
  <Override PartName="/ppt/tags/tag1049.xml" ContentType="application/vnd.openxmlformats-officedocument.presentationml.tags+xml"/>
  <Override PartName="/ppt/charts/chart782.xml" ContentType="application/vnd.openxmlformats-officedocument.drawingml.chart+xml"/>
  <Override PartName="/ppt/tags/tag1050.xml" ContentType="application/vnd.openxmlformats-officedocument.presentationml.tags+xml"/>
  <Override PartName="/ppt/charts/chart783.xml" ContentType="application/vnd.openxmlformats-officedocument.drawingml.chart+xml"/>
  <Override PartName="/ppt/tags/tag1051.xml" ContentType="application/vnd.openxmlformats-officedocument.presentationml.tags+xml"/>
  <Override PartName="/ppt/charts/chart784.xml" ContentType="application/vnd.openxmlformats-officedocument.drawingml.chart+xml"/>
  <Override PartName="/ppt/tags/tag1052.xml" ContentType="application/vnd.openxmlformats-officedocument.presentationml.tags+xml"/>
  <Override PartName="/ppt/charts/chart785.xml" ContentType="application/vnd.openxmlformats-officedocument.drawingml.chart+xml"/>
  <Override PartName="/ppt/tags/tag1053.xml" ContentType="application/vnd.openxmlformats-officedocument.presentationml.tags+xml"/>
  <Override PartName="/ppt/charts/chart786.xml" ContentType="application/vnd.openxmlformats-officedocument.drawingml.chart+xml"/>
  <Override PartName="/ppt/tags/tag1054.xml" ContentType="application/vnd.openxmlformats-officedocument.presentationml.tags+xml"/>
  <Override PartName="/ppt/charts/chart787.xml" ContentType="application/vnd.openxmlformats-officedocument.drawingml.chart+xml"/>
  <Override PartName="/ppt/tags/tag1055.xml" ContentType="application/vnd.openxmlformats-officedocument.presentationml.tags+xml"/>
  <Override PartName="/ppt/charts/chart788.xml" ContentType="application/vnd.openxmlformats-officedocument.drawingml.chart+xml"/>
  <Override PartName="/ppt/tags/tag1056.xml" ContentType="application/vnd.openxmlformats-officedocument.presentationml.tags+xml"/>
  <Override PartName="/ppt/charts/chart789.xml" ContentType="application/vnd.openxmlformats-officedocument.drawingml.chart+xml"/>
  <Override PartName="/ppt/tags/tag1057.xml" ContentType="application/vnd.openxmlformats-officedocument.presentationml.tags+xml"/>
  <Override PartName="/ppt/charts/chart790.xml" ContentType="application/vnd.openxmlformats-officedocument.drawingml.chart+xml"/>
  <Override PartName="/ppt/tags/tag1058.xml" ContentType="application/vnd.openxmlformats-officedocument.presentationml.tags+xml"/>
  <Override PartName="/ppt/charts/chart791.xml" ContentType="application/vnd.openxmlformats-officedocument.drawingml.chart+xml"/>
  <Override PartName="/ppt/tags/tag1059.xml" ContentType="application/vnd.openxmlformats-officedocument.presentationml.tags+xml"/>
  <Override PartName="/ppt/charts/chart792.xml" ContentType="application/vnd.openxmlformats-officedocument.drawingml.chart+xml"/>
  <Override PartName="/ppt/tags/tag1060.xml" ContentType="application/vnd.openxmlformats-officedocument.presentationml.tags+xml"/>
  <Override PartName="/ppt/charts/chart793.xml" ContentType="application/vnd.openxmlformats-officedocument.drawingml.chart+xml"/>
  <Override PartName="/ppt/tags/tag1061.xml" ContentType="application/vnd.openxmlformats-officedocument.presentationml.tags+xml"/>
  <Override PartName="/ppt/charts/chart794.xml" ContentType="application/vnd.openxmlformats-officedocument.drawingml.chart+xml"/>
  <Override PartName="/ppt/tags/tag1062.xml" ContentType="application/vnd.openxmlformats-officedocument.presentationml.tags+xml"/>
  <Override PartName="/ppt/charts/chart795.xml" ContentType="application/vnd.openxmlformats-officedocument.drawingml.chart+xml"/>
  <Override PartName="/ppt/tags/tag1063.xml" ContentType="application/vnd.openxmlformats-officedocument.presentationml.tags+xml"/>
  <Override PartName="/ppt/charts/chart796.xml" ContentType="application/vnd.openxmlformats-officedocument.drawingml.chart+xml"/>
  <Override PartName="/ppt/tags/tag1064.xml" ContentType="application/vnd.openxmlformats-officedocument.presentationml.tags+xml"/>
  <Override PartName="/ppt/charts/chart797.xml" ContentType="application/vnd.openxmlformats-officedocument.drawingml.chart+xml"/>
  <Override PartName="/ppt/tags/tag1065.xml" ContentType="application/vnd.openxmlformats-officedocument.presentationml.tags+xml"/>
  <Override PartName="/ppt/charts/chart798.xml" ContentType="application/vnd.openxmlformats-officedocument.drawingml.chart+xml"/>
  <Override PartName="/ppt/tags/tag1066.xml" ContentType="application/vnd.openxmlformats-officedocument.presentationml.tags+xml"/>
  <Override PartName="/ppt/charts/chart799.xml" ContentType="application/vnd.openxmlformats-officedocument.drawingml.chart+xml"/>
  <Override PartName="/ppt/tags/tag1067.xml" ContentType="application/vnd.openxmlformats-officedocument.presentationml.tags+xml"/>
  <Override PartName="/ppt/charts/chart800.xml" ContentType="application/vnd.openxmlformats-officedocument.drawingml.chart+xml"/>
  <Override PartName="/ppt/tags/tag1068.xml" ContentType="application/vnd.openxmlformats-officedocument.presentationml.tags+xml"/>
  <Override PartName="/ppt/charts/chart801.xml" ContentType="application/vnd.openxmlformats-officedocument.drawingml.chart+xml"/>
  <Override PartName="/ppt/tags/tag1069.xml" ContentType="application/vnd.openxmlformats-officedocument.presentationml.tags+xml"/>
  <Override PartName="/ppt/charts/chart802.xml" ContentType="application/vnd.openxmlformats-officedocument.drawingml.chart+xml"/>
  <Override PartName="/ppt/tags/tag1070.xml" ContentType="application/vnd.openxmlformats-officedocument.presentationml.tags+xml"/>
  <Override PartName="/ppt/charts/chart803.xml" ContentType="application/vnd.openxmlformats-officedocument.drawingml.chart+xml"/>
  <Override PartName="/ppt/tags/tag1071.xml" ContentType="application/vnd.openxmlformats-officedocument.presentationml.tags+xml"/>
  <Override PartName="/ppt/charts/chart804.xml" ContentType="application/vnd.openxmlformats-officedocument.drawingml.chart+xml"/>
  <Override PartName="/ppt/tags/tag1072.xml" ContentType="application/vnd.openxmlformats-officedocument.presentationml.tags+xml"/>
  <Override PartName="/ppt/charts/chart805.xml" ContentType="application/vnd.openxmlformats-officedocument.drawingml.chart+xml"/>
  <Override PartName="/ppt/tags/tag1073.xml" ContentType="application/vnd.openxmlformats-officedocument.presentationml.tags+xml"/>
  <Override PartName="/ppt/charts/chart806.xml" ContentType="application/vnd.openxmlformats-officedocument.drawingml.chart+xml"/>
  <Override PartName="/ppt/tags/tag1074.xml" ContentType="application/vnd.openxmlformats-officedocument.presentationml.tags+xml"/>
  <Override PartName="/ppt/charts/chart807.xml" ContentType="application/vnd.openxmlformats-officedocument.drawingml.chart+xml"/>
  <Override PartName="/ppt/tags/tag1075.xml" ContentType="application/vnd.openxmlformats-officedocument.presentationml.tags+xml"/>
  <Override PartName="/ppt/charts/chart808.xml" ContentType="application/vnd.openxmlformats-officedocument.drawingml.chart+xml"/>
  <Override PartName="/ppt/tags/tag1076.xml" ContentType="application/vnd.openxmlformats-officedocument.presentationml.tags+xml"/>
  <Override PartName="/ppt/charts/chart809.xml" ContentType="application/vnd.openxmlformats-officedocument.drawingml.chart+xml"/>
  <Override PartName="/ppt/tags/tag1077.xml" ContentType="application/vnd.openxmlformats-officedocument.presentationml.tags+xml"/>
  <Override PartName="/ppt/charts/chart810.xml" ContentType="application/vnd.openxmlformats-officedocument.drawingml.chart+xml"/>
  <Override PartName="/ppt/tags/tag1078.xml" ContentType="application/vnd.openxmlformats-officedocument.presentationml.tags+xml"/>
  <Override PartName="/ppt/charts/chart811.xml" ContentType="application/vnd.openxmlformats-officedocument.drawingml.chart+xml"/>
  <Override PartName="/ppt/tags/tag1079.xml" ContentType="application/vnd.openxmlformats-officedocument.presentationml.tags+xml"/>
  <Override PartName="/ppt/charts/chart812.xml" ContentType="application/vnd.openxmlformats-officedocument.drawingml.chart+xml"/>
  <Override PartName="/ppt/tags/tag1080.xml" ContentType="application/vnd.openxmlformats-officedocument.presentationml.tags+xml"/>
  <Override PartName="/ppt/charts/chart813.xml" ContentType="application/vnd.openxmlformats-officedocument.drawingml.chart+xml"/>
  <Override PartName="/ppt/tags/tag1081.xml" ContentType="application/vnd.openxmlformats-officedocument.presentationml.tags+xml"/>
  <Override PartName="/ppt/charts/chart814.xml" ContentType="application/vnd.openxmlformats-officedocument.drawingml.chart+xml"/>
  <Override PartName="/ppt/tags/tag1082.xml" ContentType="application/vnd.openxmlformats-officedocument.presentationml.tags+xml"/>
  <Override PartName="/ppt/charts/chart815.xml" ContentType="application/vnd.openxmlformats-officedocument.drawingml.chart+xml"/>
  <Override PartName="/ppt/tags/tag1083.xml" ContentType="application/vnd.openxmlformats-officedocument.presentationml.tags+xml"/>
  <Override PartName="/ppt/charts/chart816.xml" ContentType="application/vnd.openxmlformats-officedocument.drawingml.chart+xml"/>
  <Override PartName="/ppt/tags/tag1084.xml" ContentType="application/vnd.openxmlformats-officedocument.presentationml.tags+xml"/>
  <Override PartName="/ppt/charts/chart817.xml" ContentType="application/vnd.openxmlformats-officedocument.drawingml.chart+xml"/>
  <Override PartName="/ppt/tags/tag1085.xml" ContentType="application/vnd.openxmlformats-officedocument.presentationml.tags+xml"/>
  <Override PartName="/ppt/charts/chart818.xml" ContentType="application/vnd.openxmlformats-officedocument.drawingml.chart+xml"/>
  <Override PartName="/ppt/tags/tag1086.xml" ContentType="application/vnd.openxmlformats-officedocument.presentationml.tags+xml"/>
  <Override PartName="/ppt/charts/chart819.xml" ContentType="application/vnd.openxmlformats-officedocument.drawingml.chart+xml"/>
  <Override PartName="/ppt/tags/tag1087.xml" ContentType="application/vnd.openxmlformats-officedocument.presentationml.tags+xml"/>
  <Override PartName="/ppt/charts/chart820.xml" ContentType="application/vnd.openxmlformats-officedocument.drawingml.chart+xml"/>
  <Override PartName="/ppt/tags/tag1088.xml" ContentType="application/vnd.openxmlformats-officedocument.presentationml.tags+xml"/>
  <Override PartName="/ppt/charts/chart821.xml" ContentType="application/vnd.openxmlformats-officedocument.drawingml.chart+xml"/>
  <Override PartName="/ppt/tags/tag1089.xml" ContentType="application/vnd.openxmlformats-officedocument.presentationml.tags+xml"/>
  <Override PartName="/ppt/charts/chart822.xml" ContentType="application/vnd.openxmlformats-officedocument.drawingml.chart+xml"/>
  <Override PartName="/ppt/tags/tag1090.xml" ContentType="application/vnd.openxmlformats-officedocument.presentationml.tags+xml"/>
  <Override PartName="/ppt/charts/chart823.xml" ContentType="application/vnd.openxmlformats-officedocument.drawingml.chart+xml"/>
  <Override PartName="/ppt/tags/tag1091.xml" ContentType="application/vnd.openxmlformats-officedocument.presentationml.tags+xml"/>
  <Override PartName="/ppt/charts/chart824.xml" ContentType="application/vnd.openxmlformats-officedocument.drawingml.chart+xml"/>
  <Override PartName="/ppt/tags/tag1092.xml" ContentType="application/vnd.openxmlformats-officedocument.presentationml.tags+xml"/>
  <Override PartName="/ppt/charts/chart825.xml" ContentType="application/vnd.openxmlformats-officedocument.drawingml.chart+xml"/>
  <Override PartName="/ppt/tags/tag1093.xml" ContentType="application/vnd.openxmlformats-officedocument.presentationml.tags+xml"/>
  <Override PartName="/ppt/charts/chart826.xml" ContentType="application/vnd.openxmlformats-officedocument.drawingml.chart+xml"/>
  <Override PartName="/ppt/tags/tag1094.xml" ContentType="application/vnd.openxmlformats-officedocument.presentationml.tags+xml"/>
  <Override PartName="/ppt/charts/chart827.xml" ContentType="application/vnd.openxmlformats-officedocument.drawingml.chart+xml"/>
  <Override PartName="/ppt/tags/tag1095.xml" ContentType="application/vnd.openxmlformats-officedocument.presentationml.tags+xml"/>
  <Override PartName="/ppt/charts/chart828.xml" ContentType="application/vnd.openxmlformats-officedocument.drawingml.chart+xml"/>
  <Override PartName="/ppt/tags/tag1096.xml" ContentType="application/vnd.openxmlformats-officedocument.presentationml.tags+xml"/>
  <Override PartName="/ppt/charts/chart829.xml" ContentType="application/vnd.openxmlformats-officedocument.drawingml.chart+xml"/>
  <Override PartName="/ppt/tags/tag1097.xml" ContentType="application/vnd.openxmlformats-officedocument.presentationml.tags+xml"/>
  <Override PartName="/ppt/charts/chart830.xml" ContentType="application/vnd.openxmlformats-officedocument.drawingml.chart+xml"/>
  <Override PartName="/ppt/tags/tag1098.xml" ContentType="application/vnd.openxmlformats-officedocument.presentationml.tags+xml"/>
  <Override PartName="/ppt/charts/chart831.xml" ContentType="application/vnd.openxmlformats-officedocument.drawingml.chart+xml"/>
  <Override PartName="/ppt/tags/tag1099.xml" ContentType="application/vnd.openxmlformats-officedocument.presentationml.tags+xml"/>
  <Override PartName="/ppt/charts/chart832.xml" ContentType="application/vnd.openxmlformats-officedocument.drawingml.chart+xml"/>
  <Override PartName="/ppt/tags/tag1100.xml" ContentType="application/vnd.openxmlformats-officedocument.presentationml.tags+xml"/>
  <Override PartName="/ppt/charts/chart833.xml" ContentType="application/vnd.openxmlformats-officedocument.drawingml.chart+xml"/>
  <Override PartName="/ppt/tags/tag1101.xml" ContentType="application/vnd.openxmlformats-officedocument.presentationml.tags+xml"/>
  <Override PartName="/ppt/charts/chart834.xml" ContentType="application/vnd.openxmlformats-officedocument.drawingml.chart+xml"/>
  <Override PartName="/ppt/tags/tag1102.xml" ContentType="application/vnd.openxmlformats-officedocument.presentationml.tags+xml"/>
  <Override PartName="/ppt/charts/chart835.xml" ContentType="application/vnd.openxmlformats-officedocument.drawingml.chart+xml"/>
  <Override PartName="/ppt/tags/tag1103.xml" ContentType="application/vnd.openxmlformats-officedocument.presentationml.tags+xml"/>
  <Override PartName="/ppt/charts/chart836.xml" ContentType="application/vnd.openxmlformats-officedocument.drawingml.chart+xml"/>
  <Override PartName="/ppt/tags/tag1104.xml" ContentType="application/vnd.openxmlformats-officedocument.presentationml.tags+xml"/>
  <Override PartName="/ppt/charts/chart837.xml" ContentType="application/vnd.openxmlformats-officedocument.drawingml.chart+xml"/>
  <Override PartName="/ppt/tags/tag1105.xml" ContentType="application/vnd.openxmlformats-officedocument.presentationml.tags+xml"/>
  <Override PartName="/ppt/charts/chart838.xml" ContentType="application/vnd.openxmlformats-officedocument.drawingml.chart+xml"/>
  <Override PartName="/ppt/tags/tag1106.xml" ContentType="application/vnd.openxmlformats-officedocument.presentationml.tags+xml"/>
  <Override PartName="/ppt/charts/chart839.xml" ContentType="application/vnd.openxmlformats-officedocument.drawingml.chart+xml"/>
  <Override PartName="/ppt/tags/tag1107.xml" ContentType="application/vnd.openxmlformats-officedocument.presentationml.tags+xml"/>
  <Override PartName="/ppt/charts/chart840.xml" ContentType="application/vnd.openxmlformats-officedocument.drawingml.chart+xml"/>
  <Override PartName="/ppt/tags/tag1108.xml" ContentType="application/vnd.openxmlformats-officedocument.presentationml.tags+xml"/>
  <Override PartName="/ppt/charts/chart841.xml" ContentType="application/vnd.openxmlformats-officedocument.drawingml.chart+xml"/>
  <Override PartName="/ppt/tags/tag1109.xml" ContentType="application/vnd.openxmlformats-officedocument.presentationml.tags+xml"/>
  <Override PartName="/ppt/charts/chart842.xml" ContentType="application/vnd.openxmlformats-officedocument.drawingml.chart+xml"/>
  <Override PartName="/ppt/tags/tag1110.xml" ContentType="application/vnd.openxmlformats-officedocument.presentationml.tags+xml"/>
  <Override PartName="/ppt/charts/chart843.xml" ContentType="application/vnd.openxmlformats-officedocument.drawingml.chart+xml"/>
  <Override PartName="/ppt/tags/tag1111.xml" ContentType="application/vnd.openxmlformats-officedocument.presentationml.tags+xml"/>
  <Override PartName="/ppt/charts/chart844.xml" ContentType="application/vnd.openxmlformats-officedocument.drawingml.chart+xml"/>
  <Override PartName="/ppt/tags/tag1112.xml" ContentType="application/vnd.openxmlformats-officedocument.presentationml.tags+xml"/>
  <Override PartName="/ppt/charts/chart845.xml" ContentType="application/vnd.openxmlformats-officedocument.drawingml.chart+xml"/>
  <Override PartName="/ppt/tags/tag1113.xml" ContentType="application/vnd.openxmlformats-officedocument.presentationml.tags+xml"/>
  <Override PartName="/ppt/charts/chart846.xml" ContentType="application/vnd.openxmlformats-officedocument.drawingml.chart+xml"/>
  <Override PartName="/ppt/tags/tag1114.xml" ContentType="application/vnd.openxmlformats-officedocument.presentationml.tags+xml"/>
  <Override PartName="/ppt/charts/chart847.xml" ContentType="application/vnd.openxmlformats-officedocument.drawingml.chart+xml"/>
  <Override PartName="/ppt/tags/tag1115.xml" ContentType="application/vnd.openxmlformats-officedocument.presentationml.tags+xml"/>
  <Override PartName="/ppt/charts/chart848.xml" ContentType="application/vnd.openxmlformats-officedocument.drawingml.chart+xml"/>
  <Override PartName="/ppt/tags/tag1116.xml" ContentType="application/vnd.openxmlformats-officedocument.presentationml.tags+xml"/>
  <Override PartName="/ppt/charts/chart849.xml" ContentType="application/vnd.openxmlformats-officedocument.drawingml.chart+xml"/>
  <Override PartName="/ppt/tags/tag1117.xml" ContentType="application/vnd.openxmlformats-officedocument.presentationml.tags+xml"/>
  <Override PartName="/ppt/charts/chart850.xml" ContentType="application/vnd.openxmlformats-officedocument.drawingml.chart+xml"/>
  <Override PartName="/ppt/tags/tag1118.xml" ContentType="application/vnd.openxmlformats-officedocument.presentationml.tags+xml"/>
  <Override PartName="/ppt/charts/chart851.xml" ContentType="application/vnd.openxmlformats-officedocument.drawingml.chart+xml"/>
  <Override PartName="/ppt/tags/tag1119.xml" ContentType="application/vnd.openxmlformats-officedocument.presentationml.tags+xml"/>
  <Override PartName="/ppt/charts/chart852.xml" ContentType="application/vnd.openxmlformats-officedocument.drawingml.chart+xml"/>
  <Override PartName="/ppt/tags/tag1120.xml" ContentType="application/vnd.openxmlformats-officedocument.presentationml.tags+xml"/>
  <Override PartName="/ppt/charts/chart853.xml" ContentType="application/vnd.openxmlformats-officedocument.drawingml.chart+xml"/>
  <Override PartName="/ppt/tags/tag1121.xml" ContentType="application/vnd.openxmlformats-officedocument.presentationml.tags+xml"/>
  <Override PartName="/ppt/charts/chart854.xml" ContentType="application/vnd.openxmlformats-officedocument.drawingml.chart+xml"/>
  <Override PartName="/ppt/tags/tag1122.xml" ContentType="application/vnd.openxmlformats-officedocument.presentationml.tags+xml"/>
  <Override PartName="/ppt/charts/chart855.xml" ContentType="application/vnd.openxmlformats-officedocument.drawingml.chart+xml"/>
  <Override PartName="/ppt/tags/tag1123.xml" ContentType="application/vnd.openxmlformats-officedocument.presentationml.tags+xml"/>
  <Override PartName="/ppt/charts/chart856.xml" ContentType="application/vnd.openxmlformats-officedocument.drawingml.chart+xml"/>
  <Override PartName="/ppt/tags/tag1124.xml" ContentType="application/vnd.openxmlformats-officedocument.presentationml.tags+xml"/>
  <Override PartName="/ppt/charts/chart857.xml" ContentType="application/vnd.openxmlformats-officedocument.drawingml.chart+xml"/>
  <Override PartName="/ppt/tags/tag1125.xml" ContentType="application/vnd.openxmlformats-officedocument.presentationml.tags+xml"/>
  <Override PartName="/ppt/charts/chart858.xml" ContentType="application/vnd.openxmlformats-officedocument.drawingml.chart+xml"/>
  <Override PartName="/ppt/tags/tag1126.xml" ContentType="application/vnd.openxmlformats-officedocument.presentationml.tags+xml"/>
  <Override PartName="/ppt/charts/chart859.xml" ContentType="application/vnd.openxmlformats-officedocument.drawingml.chart+xml"/>
  <Override PartName="/ppt/tags/tag1127.xml" ContentType="application/vnd.openxmlformats-officedocument.presentationml.tags+xml"/>
  <Override PartName="/ppt/charts/chart860.xml" ContentType="application/vnd.openxmlformats-officedocument.drawingml.chart+xml"/>
  <Override PartName="/ppt/tags/tag1128.xml" ContentType="application/vnd.openxmlformats-officedocument.presentationml.tags+xml"/>
  <Override PartName="/ppt/notesSlides/notesSlide95.xml" ContentType="application/vnd.openxmlformats-officedocument.presentationml.notesSlide+xml"/>
  <Override PartName="/ppt/tags/tag1129.xml" ContentType="application/vnd.openxmlformats-officedocument.presentationml.tags+xml"/>
  <Override PartName="/ppt/notesSlides/notesSlide96.xml" ContentType="application/vnd.openxmlformats-officedocument.presentationml.notesSlide+xml"/>
  <Override PartName="/ppt/tags/tag1130.xml" ContentType="application/vnd.openxmlformats-officedocument.presentationml.tags+xml"/>
  <Override PartName="/ppt/notesSlides/notesSlide97.xml" ContentType="application/vnd.openxmlformats-officedocument.presentationml.notesSlide+xml"/>
  <Override PartName="/ppt/tags/tag1131.xml" ContentType="application/vnd.openxmlformats-officedocument.presentationml.tags+xml"/>
  <Override PartName="/ppt/notesSlides/notesSlide98.xml" ContentType="application/vnd.openxmlformats-officedocument.presentationml.notesSlide+xml"/>
  <Override PartName="/ppt/tags/tag1132.xml" ContentType="application/vnd.openxmlformats-officedocument.presentationml.tags+xml"/>
  <Override PartName="/ppt/notesSlides/notesSlide99.xml" ContentType="application/vnd.openxmlformats-officedocument.presentationml.notesSlide+xml"/>
  <Override PartName="/ppt/tags/tag1133.xml" ContentType="application/vnd.openxmlformats-officedocument.presentationml.tags+xml"/>
  <Override PartName="/ppt/notesSlides/notesSlide100.xml" ContentType="application/vnd.openxmlformats-officedocument.presentationml.notesSlide+xml"/>
  <Override PartName="/ppt/tags/tag1134.xml" ContentType="application/vnd.openxmlformats-officedocument.presentationml.tags+xml"/>
  <Override PartName="/ppt/notesSlides/notesSlide101.xml" ContentType="application/vnd.openxmlformats-officedocument.presentationml.notesSlide+xml"/>
  <Override PartName="/ppt/tags/tag1135.xml" ContentType="application/vnd.openxmlformats-officedocument.presentationml.tags+xml"/>
  <Override PartName="/ppt/notesSlides/notesSlide102.xml" ContentType="application/vnd.openxmlformats-officedocument.presentationml.notesSlide+xml"/>
  <Override PartName="/ppt/tags/tag1136.xml" ContentType="application/vnd.openxmlformats-officedocument.presentationml.tags+xml"/>
  <Override PartName="/ppt/notesSlides/notesSlide103.xml" ContentType="application/vnd.openxmlformats-officedocument.presentationml.notesSlide+xml"/>
  <Override PartName="/ppt/tags/tag1137.xml" ContentType="application/vnd.openxmlformats-officedocument.presentationml.tags+xml"/>
  <Override PartName="/ppt/notesSlides/notesSlide104.xml" ContentType="application/vnd.openxmlformats-officedocument.presentationml.notesSlide+xml"/>
  <Override PartName="/ppt/tags/tag1138.xml" ContentType="application/vnd.openxmlformats-officedocument.presentationml.tags+xml"/>
  <Override PartName="/ppt/notesSlides/notesSlide105.xml" ContentType="application/vnd.openxmlformats-officedocument.presentationml.notesSlide+xml"/>
  <Override PartName="/ppt/tags/tag1139.xml" ContentType="application/vnd.openxmlformats-officedocument.presentationml.tags+xml"/>
  <Override PartName="/ppt/notesSlides/notesSlide106.xml" ContentType="application/vnd.openxmlformats-officedocument.presentationml.notesSlide+xml"/>
  <Override PartName="/ppt/tags/tag1140.xml" ContentType="application/vnd.openxmlformats-officedocument.presentationml.tags+xml"/>
  <Override PartName="/ppt/notesSlides/notesSlide107.xml" ContentType="application/vnd.openxmlformats-officedocument.presentationml.notesSlide+xml"/>
  <Override PartName="/ppt/tags/tag1141.xml" ContentType="application/vnd.openxmlformats-officedocument.presentationml.tags+xml"/>
  <Override PartName="/ppt/notesSlides/notesSlide108.xml" ContentType="application/vnd.openxmlformats-officedocument.presentationml.notesSlide+xml"/>
  <Override PartName="/ppt/tags/tag1142.xml" ContentType="application/vnd.openxmlformats-officedocument.presentationml.tags+xml"/>
  <Override PartName="/ppt/notesSlides/notesSlide109.xml" ContentType="application/vnd.openxmlformats-officedocument.presentationml.notesSlide+xml"/>
  <Override PartName="/ppt/tags/tag1143.xml" ContentType="application/vnd.openxmlformats-officedocument.presentationml.tags+xml"/>
  <Override PartName="/ppt/notesSlides/notesSlide110.xml" ContentType="application/vnd.openxmlformats-officedocument.presentationml.notesSlide+xml"/>
  <Override PartName="/ppt/tags/tag1144.xml" ContentType="application/vnd.openxmlformats-officedocument.presentationml.tags+xml"/>
  <Override PartName="/ppt/notesSlides/notesSlide111.xml" ContentType="application/vnd.openxmlformats-officedocument.presentationml.notesSlide+xml"/>
  <Override PartName="/ppt/tags/tag1145.xml" ContentType="application/vnd.openxmlformats-officedocument.presentationml.tags+xml"/>
  <Override PartName="/ppt/notesSlides/notesSlide112.xml" ContentType="application/vnd.openxmlformats-officedocument.presentationml.notesSlide+xml"/>
  <Override PartName="/ppt/tags/tag1146.xml" ContentType="application/vnd.openxmlformats-officedocument.presentationml.tags+xml"/>
  <Override PartName="/ppt/notesSlides/notesSlide113.xml" ContentType="application/vnd.openxmlformats-officedocument.presentationml.notesSlide+xml"/>
  <Override PartName="/ppt/tags/tag1147.xml" ContentType="application/vnd.openxmlformats-officedocument.presentationml.tags+xml"/>
  <Override PartName="/ppt/notesSlides/notesSlide114.xml" ContentType="application/vnd.openxmlformats-officedocument.presentationml.notesSlide+xml"/>
  <Override PartName="/ppt/tags/tag1148.xml" ContentType="application/vnd.openxmlformats-officedocument.presentationml.tags+xml"/>
  <Override PartName="/ppt/notesSlides/notesSlide115.xml" ContentType="application/vnd.openxmlformats-officedocument.presentationml.notesSlide+xml"/>
  <Override PartName="/ppt/tags/tag1149.xml" ContentType="application/vnd.openxmlformats-officedocument.presentationml.tags+xml"/>
  <Override PartName="/ppt/notesSlides/notesSlide116.xml" ContentType="application/vnd.openxmlformats-officedocument.presentationml.notesSlide+xml"/>
  <Override PartName="/ppt/tags/tag1150.xml" ContentType="application/vnd.openxmlformats-officedocument.presentationml.tags+xml"/>
  <Override PartName="/ppt/notesSlides/notesSlide117.xml" ContentType="application/vnd.openxmlformats-officedocument.presentationml.notesSlide+xml"/>
  <Override PartName="/ppt/tags/tag1151.xml" ContentType="application/vnd.openxmlformats-officedocument.presentationml.tags+xml"/>
  <Override PartName="/ppt/notesSlides/notesSlide118.xml" ContentType="application/vnd.openxmlformats-officedocument.presentationml.notesSlide+xml"/>
  <Override PartName="/ppt/tags/tag1152.xml" ContentType="application/vnd.openxmlformats-officedocument.presentationml.tags+xml"/>
  <Override PartName="/ppt/notesSlides/notesSlide119.xml" ContentType="application/vnd.openxmlformats-officedocument.presentationml.notesSlide+xml"/>
  <Override PartName="/ppt/tags/tag1153.xml" ContentType="application/vnd.openxmlformats-officedocument.presentationml.tags+xml"/>
  <Override PartName="/ppt/notesSlides/notesSlide120.xml" ContentType="application/vnd.openxmlformats-officedocument.presentationml.notesSlide+xml"/>
  <Override PartName="/ppt/tags/tag1154.xml" ContentType="application/vnd.openxmlformats-officedocument.presentationml.tags+xml"/>
  <Override PartName="/ppt/notesSlides/notesSlide121.xml" ContentType="application/vnd.openxmlformats-officedocument.presentationml.notesSlide+xml"/>
  <Override PartName="/ppt/tags/tag1155.xml" ContentType="application/vnd.openxmlformats-officedocument.presentationml.tags+xml"/>
  <Override PartName="/ppt/notesSlides/notesSlide122.xml" ContentType="application/vnd.openxmlformats-officedocument.presentationml.notesSlide+xml"/>
  <Override PartName="/ppt/tags/tag1156.xml" ContentType="application/vnd.openxmlformats-officedocument.presentationml.tags+xml"/>
  <Override PartName="/ppt/notesSlides/notesSlide123.xml" ContentType="application/vnd.openxmlformats-officedocument.presentationml.notesSlide+xml"/>
  <Override PartName="/ppt/tags/tag1157.xml" ContentType="application/vnd.openxmlformats-officedocument.presentationml.tags+xml"/>
  <Override PartName="/ppt/notesSlides/notesSlide124.xml" ContentType="application/vnd.openxmlformats-officedocument.presentationml.notesSlide+xml"/>
  <Override PartName="/ppt/tags/tag1158.xml" ContentType="application/vnd.openxmlformats-officedocument.presentationml.tags+xml"/>
  <Override PartName="/ppt/notesSlides/notesSlide125.xml" ContentType="application/vnd.openxmlformats-officedocument.presentationml.notesSlide+xml"/>
  <Override PartName="/ppt/tags/tag1159.xml" ContentType="application/vnd.openxmlformats-officedocument.presentationml.tags+xml"/>
  <Override PartName="/ppt/notesSlides/notesSlide126.xml" ContentType="application/vnd.openxmlformats-officedocument.presentationml.notesSlide+xml"/>
  <Override PartName="/ppt/tags/tag1160.xml" ContentType="application/vnd.openxmlformats-officedocument.presentationml.tags+xml"/>
  <Override PartName="/ppt/notesSlides/notesSlide127.xml" ContentType="application/vnd.openxmlformats-officedocument.presentationml.notesSlide+xml"/>
  <Override PartName="/ppt/tags/tag1161.xml" ContentType="application/vnd.openxmlformats-officedocument.presentationml.tags+xml"/>
  <Override PartName="/ppt/notesSlides/notesSlide128.xml" ContentType="application/vnd.openxmlformats-officedocument.presentationml.notesSlide+xml"/>
  <Override PartName="/ppt/tags/tag1162.xml" ContentType="application/vnd.openxmlformats-officedocument.presentationml.tags+xml"/>
  <Override PartName="/ppt/notesSlides/notesSlide129.xml" ContentType="application/vnd.openxmlformats-officedocument.presentationml.notesSlide+xml"/>
  <Override PartName="/ppt/tags/tag1163.xml" ContentType="application/vnd.openxmlformats-officedocument.presentationml.tags+xml"/>
  <Override PartName="/ppt/notesSlides/notesSlide130.xml" ContentType="application/vnd.openxmlformats-officedocument.presentationml.notesSlide+xml"/>
  <Override PartName="/ppt/tags/tag1164.xml" ContentType="application/vnd.openxmlformats-officedocument.presentationml.tags+xml"/>
  <Override PartName="/ppt/notesSlides/notesSlide131.xml" ContentType="application/vnd.openxmlformats-officedocument.presentationml.notesSlide+xml"/>
  <Override PartName="/ppt/tags/tag1165.xml" ContentType="application/vnd.openxmlformats-officedocument.presentationml.tags+xml"/>
  <Override PartName="/ppt/notesSlides/notesSlide132.xml" ContentType="application/vnd.openxmlformats-officedocument.presentationml.notesSlide+xml"/>
  <Override PartName="/ppt/tags/tag1166.xml" ContentType="application/vnd.openxmlformats-officedocument.presentationml.tags+xml"/>
  <Override PartName="/ppt/notesSlides/notesSlide133.xml" ContentType="application/vnd.openxmlformats-officedocument.presentationml.notesSlide+xml"/>
  <Override PartName="/ppt/tags/tag1167.xml" ContentType="application/vnd.openxmlformats-officedocument.presentationml.tags+xml"/>
  <Override PartName="/ppt/notesSlides/notesSlide134.xml" ContentType="application/vnd.openxmlformats-officedocument.presentationml.notesSlide+xml"/>
  <Override PartName="/ppt/tags/tag1168.xml" ContentType="application/vnd.openxmlformats-officedocument.presentationml.tags+xml"/>
  <Override PartName="/ppt/notesSlides/notesSlide135.xml" ContentType="application/vnd.openxmlformats-officedocument.presentationml.notesSlide+xml"/>
  <Override PartName="/ppt/tags/tag1169.xml" ContentType="application/vnd.openxmlformats-officedocument.presentationml.tags+xml"/>
  <Override PartName="/ppt/notesSlides/notesSlide136.xml" ContentType="application/vnd.openxmlformats-officedocument.presentationml.notesSlide+xml"/>
  <Override PartName="/ppt/tags/tag1170.xml" ContentType="application/vnd.openxmlformats-officedocument.presentationml.tags+xml"/>
  <Override PartName="/ppt/notesSlides/notesSlide137.xml" ContentType="application/vnd.openxmlformats-officedocument.presentationml.notesSlide+xml"/>
  <Override PartName="/ppt/tags/tag1171.xml" ContentType="application/vnd.openxmlformats-officedocument.presentationml.tags+xml"/>
  <Override PartName="/ppt/notesSlides/notesSlide138.xml" ContentType="application/vnd.openxmlformats-officedocument.presentationml.notesSlide+xml"/>
  <Override PartName="/ppt/tags/tag1172.xml" ContentType="application/vnd.openxmlformats-officedocument.presentationml.tags+xml"/>
  <Override PartName="/ppt/notesSlides/notesSlide139.xml" ContentType="application/vnd.openxmlformats-officedocument.presentationml.notesSlide+xml"/>
  <Override PartName="/ppt/tags/tag1173.xml" ContentType="application/vnd.openxmlformats-officedocument.presentationml.tags+xml"/>
  <Override PartName="/ppt/notesSlides/notesSlide140.xml" ContentType="application/vnd.openxmlformats-officedocument.presentationml.notesSlide+xml"/>
  <Override PartName="/ppt/tags/tag1174.xml" ContentType="application/vnd.openxmlformats-officedocument.presentationml.tags+xml"/>
  <Override PartName="/ppt/notesSlides/notesSlide141.xml" ContentType="application/vnd.openxmlformats-officedocument.presentationml.notesSlide+xml"/>
  <Override PartName="/ppt/tags/tag1175.xml" ContentType="application/vnd.openxmlformats-officedocument.presentationml.tags+xml"/>
  <Override PartName="/ppt/notesSlides/notesSlide142.xml" ContentType="application/vnd.openxmlformats-officedocument.presentationml.notesSlide+xml"/>
  <Override PartName="/ppt/tags/tag1176.xml" ContentType="application/vnd.openxmlformats-officedocument.presentationml.tags+xml"/>
  <Override PartName="/ppt/notesSlides/notesSlide143.xml" ContentType="application/vnd.openxmlformats-officedocument.presentationml.notesSlide+xml"/>
  <Override PartName="/ppt/tags/tag1177.xml" ContentType="application/vnd.openxmlformats-officedocument.presentationml.tags+xml"/>
  <Override PartName="/ppt/notesSlides/notesSlide144.xml" ContentType="application/vnd.openxmlformats-officedocument.presentationml.notesSlide+xml"/>
  <Override PartName="/ppt/tags/tag1178.xml" ContentType="application/vnd.openxmlformats-officedocument.presentationml.tags+xml"/>
  <Override PartName="/ppt/notesSlides/notesSlide145.xml" ContentType="application/vnd.openxmlformats-officedocument.presentationml.notesSlide+xml"/>
  <Override PartName="/ppt/tags/tag1179.xml" ContentType="application/vnd.openxmlformats-officedocument.presentationml.tags+xml"/>
  <Override PartName="/ppt/notesSlides/notesSlide146.xml" ContentType="application/vnd.openxmlformats-officedocument.presentationml.notesSlide+xml"/>
  <Override PartName="/ppt/tags/tag1180.xml" ContentType="application/vnd.openxmlformats-officedocument.presentationml.tags+xml"/>
  <Override PartName="/ppt/notesSlides/notesSlide147.xml" ContentType="application/vnd.openxmlformats-officedocument.presentationml.notesSlide+xml"/>
  <Override PartName="/ppt/tags/tag1181.xml" ContentType="application/vnd.openxmlformats-officedocument.presentationml.tags+xml"/>
  <Override PartName="/ppt/notesSlides/notesSlide148.xml" ContentType="application/vnd.openxmlformats-officedocument.presentationml.notesSlide+xml"/>
  <Override PartName="/ppt/tags/tag1182.xml" ContentType="application/vnd.openxmlformats-officedocument.presentationml.tags+xml"/>
  <Override PartName="/ppt/notesSlides/notesSlide149.xml" ContentType="application/vnd.openxmlformats-officedocument.presentationml.notesSlide+xml"/>
  <Override PartName="/ppt/tags/tag1183.xml" ContentType="application/vnd.openxmlformats-officedocument.presentationml.tags+xml"/>
  <Override PartName="/ppt/notesSlides/notesSlide150.xml" ContentType="application/vnd.openxmlformats-officedocument.presentationml.notesSlide+xml"/>
  <Override PartName="/ppt/tags/tag1184.xml" ContentType="application/vnd.openxmlformats-officedocument.presentationml.tags+xml"/>
  <Override PartName="/ppt/notesSlides/notesSlide151.xml" ContentType="application/vnd.openxmlformats-officedocument.presentationml.notesSlide+xml"/>
  <Override PartName="/ppt/tags/tag1185.xml" ContentType="application/vnd.openxmlformats-officedocument.presentationml.tags+xml"/>
  <Override PartName="/ppt/notesSlides/notesSlide152.xml" ContentType="application/vnd.openxmlformats-officedocument.presentationml.notesSlide+xml"/>
  <Override PartName="/ppt/tags/tag1186.xml" ContentType="application/vnd.openxmlformats-officedocument.presentationml.tags+xml"/>
  <Override PartName="/ppt/notesSlides/notesSlide153.xml" ContentType="application/vnd.openxmlformats-officedocument.presentationml.notesSlide+xml"/>
  <Override PartName="/ppt/tags/tag1187.xml" ContentType="application/vnd.openxmlformats-officedocument.presentationml.tags+xml"/>
  <Override PartName="/ppt/notesSlides/notesSlide154.xml" ContentType="application/vnd.openxmlformats-officedocument.presentationml.notesSlide+xml"/>
  <Override PartName="/ppt/tags/tag1188.xml" ContentType="application/vnd.openxmlformats-officedocument.presentationml.tags+xml"/>
  <Override PartName="/ppt/notesSlides/notesSlide155.xml" ContentType="application/vnd.openxmlformats-officedocument.presentationml.notesSlide+xml"/>
  <Override PartName="/ppt/tags/tag1189.xml" ContentType="application/vnd.openxmlformats-officedocument.presentationml.tags+xml"/>
  <Override PartName="/ppt/notesSlides/notesSlide156.xml" ContentType="application/vnd.openxmlformats-officedocument.presentationml.notesSlide+xml"/>
  <Override PartName="/ppt/tags/tag1190.xml" ContentType="application/vnd.openxmlformats-officedocument.presentationml.tags+xml"/>
  <Override PartName="/ppt/notesSlides/notesSlide157.xml" ContentType="application/vnd.openxmlformats-officedocument.presentationml.notesSlide+xml"/>
  <Override PartName="/ppt/tags/tag1191.xml" ContentType="application/vnd.openxmlformats-officedocument.presentationml.tags+xml"/>
  <Override PartName="/ppt/notesSlides/notesSlide158.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43" r:id="rId4"/>
  </p:sldMasterIdLst>
  <p:notesMasterIdLst>
    <p:notesMasterId r:id="rId1169"/>
  </p:notesMasterIdLst>
  <p:sldIdLst>
    <p:sldId id="2147475169" r:id="rId5"/>
    <p:sldId id="2147475170" r:id="rId6"/>
    <p:sldId id="2147475171" r:id="rId7"/>
    <p:sldId id="2147475172" r:id="rId8"/>
    <p:sldId id="2147475173" r:id="rId9"/>
    <p:sldId id="2147475174" r:id="rId10"/>
    <p:sldId id="2147475175" r:id="rId11"/>
    <p:sldId id="2147475176" r:id="rId12"/>
    <p:sldId id="2147475177" r:id="rId13"/>
    <p:sldId id="2147475178" r:id="rId14"/>
    <p:sldId id="2147475179" r:id="rId15"/>
    <p:sldId id="2147475180" r:id="rId16"/>
    <p:sldId id="2147475181" r:id="rId17"/>
    <p:sldId id="2147475182" r:id="rId18"/>
    <p:sldId id="2147475183" r:id="rId19"/>
    <p:sldId id="2147475184" r:id="rId20"/>
    <p:sldId id="2147475185" r:id="rId21"/>
    <p:sldId id="2147475186" r:id="rId22"/>
    <p:sldId id="2147475187" r:id="rId23"/>
    <p:sldId id="2147475188" r:id="rId24"/>
    <p:sldId id="2147475189" r:id="rId25"/>
    <p:sldId id="2147475190" r:id="rId26"/>
    <p:sldId id="2147475191" r:id="rId27"/>
    <p:sldId id="2147475192" r:id="rId28"/>
    <p:sldId id="2147475193" r:id="rId29"/>
    <p:sldId id="2147475194" r:id="rId30"/>
    <p:sldId id="2147475195" r:id="rId31"/>
    <p:sldId id="2147475196" r:id="rId32"/>
    <p:sldId id="2147475197" r:id="rId33"/>
    <p:sldId id="2147475198" r:id="rId34"/>
    <p:sldId id="2147475199" r:id="rId35"/>
    <p:sldId id="2147475200" r:id="rId36"/>
    <p:sldId id="2147475201" r:id="rId37"/>
    <p:sldId id="2147475202" r:id="rId38"/>
    <p:sldId id="2147475203" r:id="rId39"/>
    <p:sldId id="2147475204" r:id="rId40"/>
    <p:sldId id="2147475205" r:id="rId41"/>
    <p:sldId id="2147475206" r:id="rId42"/>
    <p:sldId id="2147475207" r:id="rId43"/>
    <p:sldId id="2147475208" r:id="rId44"/>
    <p:sldId id="2147475209" r:id="rId45"/>
    <p:sldId id="2147475210" r:id="rId46"/>
    <p:sldId id="2147475211" r:id="rId47"/>
    <p:sldId id="2147475212" r:id="rId48"/>
    <p:sldId id="2147475213" r:id="rId49"/>
    <p:sldId id="2147475214" r:id="rId50"/>
    <p:sldId id="2147475215" r:id="rId51"/>
    <p:sldId id="2147475216" r:id="rId52"/>
    <p:sldId id="2147475217" r:id="rId53"/>
    <p:sldId id="2147475218" r:id="rId54"/>
    <p:sldId id="2147475219" r:id="rId55"/>
    <p:sldId id="2147475220" r:id="rId56"/>
    <p:sldId id="2147475221" r:id="rId57"/>
    <p:sldId id="2147475222" r:id="rId58"/>
    <p:sldId id="2147475223" r:id="rId59"/>
    <p:sldId id="2147475224" r:id="rId60"/>
    <p:sldId id="2147475225" r:id="rId61"/>
    <p:sldId id="2147475226" r:id="rId62"/>
    <p:sldId id="2147475227" r:id="rId63"/>
    <p:sldId id="2147475228" r:id="rId64"/>
    <p:sldId id="2147475229" r:id="rId65"/>
    <p:sldId id="2147475230" r:id="rId66"/>
    <p:sldId id="2147475231" r:id="rId67"/>
    <p:sldId id="2147475232" r:id="rId68"/>
    <p:sldId id="2147475233" r:id="rId69"/>
    <p:sldId id="2147475234" r:id="rId70"/>
    <p:sldId id="2147475235" r:id="rId71"/>
    <p:sldId id="2147475236" r:id="rId72"/>
    <p:sldId id="2147475237" r:id="rId73"/>
    <p:sldId id="2147475238" r:id="rId74"/>
    <p:sldId id="2147475239" r:id="rId75"/>
    <p:sldId id="2147475240" r:id="rId76"/>
    <p:sldId id="2147475241" r:id="rId77"/>
    <p:sldId id="2147475242" r:id="rId78"/>
    <p:sldId id="2147475243" r:id="rId79"/>
    <p:sldId id="2147475244" r:id="rId80"/>
    <p:sldId id="2147475245" r:id="rId81"/>
    <p:sldId id="2147475246" r:id="rId82"/>
    <p:sldId id="2147475247" r:id="rId83"/>
    <p:sldId id="2147475248" r:id="rId84"/>
    <p:sldId id="2147475249" r:id="rId85"/>
    <p:sldId id="2147475250" r:id="rId86"/>
    <p:sldId id="2147475251" r:id="rId87"/>
    <p:sldId id="2147475252" r:id="rId88"/>
    <p:sldId id="2147475253" r:id="rId89"/>
    <p:sldId id="2147475254" r:id="rId90"/>
    <p:sldId id="2147475255" r:id="rId91"/>
    <p:sldId id="2147475256" r:id="rId92"/>
    <p:sldId id="2147475257" r:id="rId93"/>
    <p:sldId id="2147475258" r:id="rId94"/>
    <p:sldId id="2147475259" r:id="rId95"/>
    <p:sldId id="2147475260" r:id="rId96"/>
    <p:sldId id="2147475261" r:id="rId97"/>
    <p:sldId id="2147475262" r:id="rId98"/>
    <p:sldId id="2147475263" r:id="rId99"/>
    <p:sldId id="2147475264" r:id="rId100"/>
    <p:sldId id="2147475265" r:id="rId101"/>
    <p:sldId id="2147475266" r:id="rId102"/>
    <p:sldId id="2147475267" r:id="rId103"/>
    <p:sldId id="2147475268" r:id="rId104"/>
    <p:sldId id="2147475269" r:id="rId105"/>
    <p:sldId id="2147475270" r:id="rId106"/>
    <p:sldId id="2147475271" r:id="rId107"/>
    <p:sldId id="2147475272" r:id="rId108"/>
    <p:sldId id="2147475273" r:id="rId109"/>
    <p:sldId id="2147475274" r:id="rId110"/>
    <p:sldId id="2147475275" r:id="rId111"/>
    <p:sldId id="2147475276" r:id="rId112"/>
    <p:sldId id="2147475277" r:id="rId113"/>
    <p:sldId id="2147475278" r:id="rId114"/>
    <p:sldId id="2147475279" r:id="rId115"/>
    <p:sldId id="2147475280" r:id="rId116"/>
    <p:sldId id="2147475281" r:id="rId117"/>
    <p:sldId id="2147475282" r:id="rId118"/>
    <p:sldId id="2147475283" r:id="rId119"/>
    <p:sldId id="2147475284" r:id="rId120"/>
    <p:sldId id="2147475285" r:id="rId121"/>
    <p:sldId id="2147475286" r:id="rId122"/>
    <p:sldId id="2147475287" r:id="rId123"/>
    <p:sldId id="2147475288" r:id="rId124"/>
    <p:sldId id="2147475289" r:id="rId125"/>
    <p:sldId id="2147475290" r:id="rId126"/>
    <p:sldId id="2147475291" r:id="rId127"/>
    <p:sldId id="2147475292" r:id="rId128"/>
    <p:sldId id="2147475293" r:id="rId129"/>
    <p:sldId id="2147475294" r:id="rId130"/>
    <p:sldId id="2147475295" r:id="rId131"/>
    <p:sldId id="2147475296" r:id="rId132"/>
    <p:sldId id="2147475297" r:id="rId133"/>
    <p:sldId id="2147475298" r:id="rId134"/>
    <p:sldId id="2147475299" r:id="rId135"/>
    <p:sldId id="2147475300" r:id="rId136"/>
    <p:sldId id="2147475301" r:id="rId137"/>
    <p:sldId id="2147475302" r:id="rId138"/>
    <p:sldId id="2147475303" r:id="rId139"/>
    <p:sldId id="2147475304" r:id="rId140"/>
    <p:sldId id="2147475305" r:id="rId141"/>
    <p:sldId id="2147475306" r:id="rId142"/>
    <p:sldId id="2147475307" r:id="rId143"/>
    <p:sldId id="2147475308" r:id="rId144"/>
    <p:sldId id="2147475309" r:id="rId145"/>
    <p:sldId id="2147475310" r:id="rId146"/>
    <p:sldId id="2147475311" r:id="rId147"/>
    <p:sldId id="2147475312" r:id="rId148"/>
    <p:sldId id="2147475313" r:id="rId149"/>
    <p:sldId id="2147475314" r:id="rId150"/>
    <p:sldId id="2147475315" r:id="rId151"/>
    <p:sldId id="2147475316" r:id="rId152"/>
    <p:sldId id="2147475317" r:id="rId153"/>
    <p:sldId id="2147475318" r:id="rId154"/>
    <p:sldId id="2147475319" r:id="rId155"/>
    <p:sldId id="2147475320" r:id="rId156"/>
    <p:sldId id="2147475321" r:id="rId157"/>
    <p:sldId id="2147475322" r:id="rId158"/>
    <p:sldId id="2147475323" r:id="rId159"/>
    <p:sldId id="2147475324" r:id="rId160"/>
    <p:sldId id="2147475325" r:id="rId161"/>
    <p:sldId id="2147475326" r:id="rId162"/>
    <p:sldId id="2147475327" r:id="rId163"/>
    <p:sldId id="2147475328" r:id="rId164"/>
    <p:sldId id="2147475329" r:id="rId165"/>
    <p:sldId id="2147475330" r:id="rId166"/>
    <p:sldId id="2147475331" r:id="rId167"/>
    <p:sldId id="2147475332" r:id="rId168"/>
    <p:sldId id="2147475333" r:id="rId169"/>
    <p:sldId id="2147475334" r:id="rId170"/>
    <p:sldId id="2147475335" r:id="rId171"/>
    <p:sldId id="2147475336" r:id="rId172"/>
    <p:sldId id="2147475337" r:id="rId173"/>
    <p:sldId id="2147475338" r:id="rId174"/>
    <p:sldId id="2147475339" r:id="rId175"/>
    <p:sldId id="2147475340" r:id="rId176"/>
    <p:sldId id="2147475341" r:id="rId177"/>
    <p:sldId id="2147475342" r:id="rId178"/>
    <p:sldId id="2147475343" r:id="rId179"/>
    <p:sldId id="2147475344" r:id="rId180"/>
    <p:sldId id="2147475345" r:id="rId181"/>
    <p:sldId id="2147475346" r:id="rId182"/>
    <p:sldId id="2147475347" r:id="rId183"/>
    <p:sldId id="2147475348" r:id="rId184"/>
    <p:sldId id="2147475349" r:id="rId185"/>
    <p:sldId id="2147475350" r:id="rId186"/>
    <p:sldId id="2147475351" r:id="rId187"/>
    <p:sldId id="2147475352" r:id="rId188"/>
    <p:sldId id="2147475353" r:id="rId189"/>
    <p:sldId id="2147475354" r:id="rId190"/>
    <p:sldId id="2147475355" r:id="rId191"/>
    <p:sldId id="2147475356" r:id="rId192"/>
    <p:sldId id="2147475357" r:id="rId193"/>
    <p:sldId id="2147475358" r:id="rId194"/>
    <p:sldId id="2147475359" r:id="rId195"/>
    <p:sldId id="2147475360" r:id="rId196"/>
    <p:sldId id="2147475361" r:id="rId197"/>
    <p:sldId id="2147475362" r:id="rId198"/>
    <p:sldId id="2147475363" r:id="rId199"/>
    <p:sldId id="2147475364" r:id="rId200"/>
    <p:sldId id="2147475365" r:id="rId201"/>
    <p:sldId id="2147475366" r:id="rId202"/>
    <p:sldId id="2147475367" r:id="rId203"/>
    <p:sldId id="2147475368" r:id="rId204"/>
    <p:sldId id="2147475369" r:id="rId205"/>
    <p:sldId id="2147475370" r:id="rId206"/>
    <p:sldId id="2147475371" r:id="rId207"/>
    <p:sldId id="2147475372" r:id="rId208"/>
    <p:sldId id="2147475373" r:id="rId209"/>
    <p:sldId id="2147475374" r:id="rId210"/>
    <p:sldId id="2147475375" r:id="rId211"/>
    <p:sldId id="2147475376" r:id="rId212"/>
    <p:sldId id="2147475377" r:id="rId213"/>
    <p:sldId id="2147475378" r:id="rId214"/>
    <p:sldId id="2147475379" r:id="rId215"/>
    <p:sldId id="2147475380" r:id="rId216"/>
    <p:sldId id="2147475381" r:id="rId217"/>
    <p:sldId id="2147475382" r:id="rId218"/>
    <p:sldId id="2147475383" r:id="rId219"/>
    <p:sldId id="2147475384" r:id="rId220"/>
    <p:sldId id="2147475385" r:id="rId221"/>
    <p:sldId id="2147475386" r:id="rId222"/>
    <p:sldId id="2147475387" r:id="rId223"/>
    <p:sldId id="2147475388" r:id="rId224"/>
    <p:sldId id="2147475389" r:id="rId225"/>
    <p:sldId id="2147475390" r:id="rId226"/>
    <p:sldId id="2147475391" r:id="rId227"/>
    <p:sldId id="2147475392" r:id="rId228"/>
    <p:sldId id="2147475393" r:id="rId229"/>
    <p:sldId id="2147475394" r:id="rId230"/>
    <p:sldId id="2147475395" r:id="rId231"/>
    <p:sldId id="2147475396" r:id="rId232"/>
    <p:sldId id="2147475397" r:id="rId233"/>
    <p:sldId id="2147475398" r:id="rId234"/>
    <p:sldId id="2147475399" r:id="rId235"/>
    <p:sldId id="2147475400" r:id="rId236"/>
    <p:sldId id="2147475401" r:id="rId237"/>
    <p:sldId id="2147475402" r:id="rId238"/>
    <p:sldId id="2147475403" r:id="rId239"/>
    <p:sldId id="2147475404" r:id="rId240"/>
    <p:sldId id="2147475405" r:id="rId241"/>
    <p:sldId id="2147475406" r:id="rId242"/>
    <p:sldId id="2147475407" r:id="rId243"/>
    <p:sldId id="2147475408" r:id="rId244"/>
    <p:sldId id="2147475409" r:id="rId245"/>
    <p:sldId id="2147475410" r:id="rId246"/>
    <p:sldId id="2147475411" r:id="rId247"/>
    <p:sldId id="2147475412" r:id="rId248"/>
    <p:sldId id="2147475413" r:id="rId249"/>
    <p:sldId id="2147475414" r:id="rId250"/>
    <p:sldId id="2147475415" r:id="rId251"/>
    <p:sldId id="2147475416" r:id="rId252"/>
    <p:sldId id="2147475417" r:id="rId253"/>
    <p:sldId id="2147475418" r:id="rId254"/>
    <p:sldId id="2147475419" r:id="rId255"/>
    <p:sldId id="2147475420" r:id="rId256"/>
    <p:sldId id="2147475421" r:id="rId257"/>
    <p:sldId id="2147475422" r:id="rId258"/>
    <p:sldId id="2147475423" r:id="rId259"/>
    <p:sldId id="2147475424" r:id="rId260"/>
    <p:sldId id="2147475425" r:id="rId261"/>
    <p:sldId id="2147475426" r:id="rId262"/>
    <p:sldId id="2147475427" r:id="rId263"/>
    <p:sldId id="2147475428" r:id="rId264"/>
    <p:sldId id="2147475429" r:id="rId265"/>
    <p:sldId id="2147475430" r:id="rId266"/>
    <p:sldId id="2147475431" r:id="rId267"/>
    <p:sldId id="2147475432" r:id="rId268"/>
    <p:sldId id="2147475433" r:id="rId269"/>
    <p:sldId id="2147475434" r:id="rId270"/>
    <p:sldId id="2147475435" r:id="rId271"/>
    <p:sldId id="2147475436" r:id="rId272"/>
    <p:sldId id="2147475437" r:id="rId273"/>
    <p:sldId id="2147475438" r:id="rId274"/>
    <p:sldId id="2147475439" r:id="rId275"/>
    <p:sldId id="2147475440" r:id="rId276"/>
    <p:sldId id="2147475441" r:id="rId277"/>
    <p:sldId id="2147475442" r:id="rId278"/>
    <p:sldId id="2147475443" r:id="rId279"/>
    <p:sldId id="2147475444" r:id="rId280"/>
    <p:sldId id="2147475445" r:id="rId281"/>
    <p:sldId id="2147475446" r:id="rId282"/>
    <p:sldId id="2147475447" r:id="rId283"/>
    <p:sldId id="2147475448" r:id="rId284"/>
    <p:sldId id="2147475449" r:id="rId285"/>
    <p:sldId id="2147475450" r:id="rId286"/>
    <p:sldId id="2147475451" r:id="rId287"/>
    <p:sldId id="2147475452" r:id="rId288"/>
    <p:sldId id="2147475453" r:id="rId289"/>
    <p:sldId id="2147475454" r:id="rId290"/>
    <p:sldId id="2147475455" r:id="rId291"/>
    <p:sldId id="2147475456" r:id="rId292"/>
    <p:sldId id="2147475457" r:id="rId293"/>
    <p:sldId id="2147475458" r:id="rId294"/>
    <p:sldId id="2147475459" r:id="rId295"/>
    <p:sldId id="2147475460" r:id="rId296"/>
    <p:sldId id="2147475461" r:id="rId297"/>
    <p:sldId id="2147475462" r:id="rId298"/>
    <p:sldId id="2147475463" r:id="rId299"/>
    <p:sldId id="2147475464" r:id="rId300"/>
    <p:sldId id="2147475465" r:id="rId301"/>
    <p:sldId id="2147475466" r:id="rId302"/>
    <p:sldId id="2147475467" r:id="rId303"/>
    <p:sldId id="2147475468" r:id="rId304"/>
    <p:sldId id="2147475469" r:id="rId305"/>
    <p:sldId id="2147475470" r:id="rId306"/>
    <p:sldId id="2147475471" r:id="rId307"/>
    <p:sldId id="2147475472" r:id="rId308"/>
    <p:sldId id="2147475473" r:id="rId309"/>
    <p:sldId id="2147475474" r:id="rId310"/>
    <p:sldId id="2147475475" r:id="rId311"/>
    <p:sldId id="2147475476" r:id="rId312"/>
    <p:sldId id="2147475477" r:id="rId313"/>
    <p:sldId id="2147475478" r:id="rId314"/>
    <p:sldId id="2147475479" r:id="rId315"/>
    <p:sldId id="2147475480" r:id="rId316"/>
    <p:sldId id="2147475481" r:id="rId317"/>
    <p:sldId id="2147475482" r:id="rId318"/>
    <p:sldId id="2147475483" r:id="rId319"/>
    <p:sldId id="2147475484" r:id="rId320"/>
    <p:sldId id="2147475485" r:id="rId321"/>
    <p:sldId id="2147475486" r:id="rId322"/>
    <p:sldId id="2147475487" r:id="rId323"/>
    <p:sldId id="2147475488" r:id="rId324"/>
    <p:sldId id="2147475489" r:id="rId325"/>
    <p:sldId id="2147475490" r:id="rId326"/>
    <p:sldId id="2147475491" r:id="rId327"/>
    <p:sldId id="2147475492" r:id="rId328"/>
    <p:sldId id="2147475493" r:id="rId329"/>
    <p:sldId id="2147475494" r:id="rId330"/>
    <p:sldId id="2147475495" r:id="rId331"/>
    <p:sldId id="2147475496" r:id="rId332"/>
    <p:sldId id="2147475497" r:id="rId333"/>
    <p:sldId id="2147475498" r:id="rId334"/>
    <p:sldId id="2147475499" r:id="rId335"/>
    <p:sldId id="2147475500" r:id="rId336"/>
    <p:sldId id="2147475501" r:id="rId337"/>
    <p:sldId id="2147475502" r:id="rId338"/>
    <p:sldId id="2147475503" r:id="rId339"/>
    <p:sldId id="2147475504" r:id="rId340"/>
    <p:sldId id="2147475505" r:id="rId341"/>
    <p:sldId id="2147475506" r:id="rId342"/>
    <p:sldId id="2147475507" r:id="rId343"/>
    <p:sldId id="2147475508" r:id="rId344"/>
    <p:sldId id="2147475509" r:id="rId345"/>
    <p:sldId id="2147475510" r:id="rId346"/>
    <p:sldId id="2147475511" r:id="rId347"/>
    <p:sldId id="2147475512" r:id="rId348"/>
    <p:sldId id="2147475513" r:id="rId349"/>
    <p:sldId id="2147475514" r:id="rId350"/>
    <p:sldId id="2147475515" r:id="rId351"/>
    <p:sldId id="2147475516" r:id="rId352"/>
    <p:sldId id="2147475517" r:id="rId353"/>
    <p:sldId id="2147475518" r:id="rId354"/>
    <p:sldId id="2147475519" r:id="rId355"/>
    <p:sldId id="2147475520" r:id="rId356"/>
    <p:sldId id="2147475521" r:id="rId357"/>
    <p:sldId id="2147475522" r:id="rId358"/>
    <p:sldId id="2147475523" r:id="rId359"/>
    <p:sldId id="2147475524" r:id="rId360"/>
    <p:sldId id="2147475525" r:id="rId361"/>
    <p:sldId id="2147475526" r:id="rId362"/>
    <p:sldId id="2147475527" r:id="rId363"/>
    <p:sldId id="2147475528" r:id="rId364"/>
    <p:sldId id="2147475529" r:id="rId365"/>
    <p:sldId id="2147475530" r:id="rId366"/>
    <p:sldId id="2147475531" r:id="rId367"/>
    <p:sldId id="2147475532" r:id="rId368"/>
    <p:sldId id="2147475533" r:id="rId369"/>
    <p:sldId id="2147475534" r:id="rId370"/>
    <p:sldId id="2147475535" r:id="rId371"/>
    <p:sldId id="2147475536" r:id="rId372"/>
    <p:sldId id="2147475537" r:id="rId373"/>
    <p:sldId id="2147475538" r:id="rId374"/>
    <p:sldId id="2147475539" r:id="rId375"/>
    <p:sldId id="2147475540" r:id="rId376"/>
    <p:sldId id="2147475541" r:id="rId377"/>
    <p:sldId id="2147475542" r:id="rId378"/>
    <p:sldId id="2147475543" r:id="rId379"/>
    <p:sldId id="2147475544" r:id="rId380"/>
    <p:sldId id="2147475545" r:id="rId381"/>
    <p:sldId id="2147475546" r:id="rId382"/>
    <p:sldId id="2147475547" r:id="rId383"/>
    <p:sldId id="2147475548" r:id="rId384"/>
    <p:sldId id="2147475549" r:id="rId385"/>
    <p:sldId id="2147475550" r:id="rId386"/>
    <p:sldId id="2147475551" r:id="rId387"/>
    <p:sldId id="2147475552" r:id="rId388"/>
    <p:sldId id="2147475553" r:id="rId389"/>
    <p:sldId id="2147475554" r:id="rId390"/>
    <p:sldId id="2147475555" r:id="rId391"/>
    <p:sldId id="2147475556" r:id="rId392"/>
    <p:sldId id="2147475557" r:id="rId393"/>
    <p:sldId id="2147475558" r:id="rId394"/>
    <p:sldId id="2147475559" r:id="rId395"/>
    <p:sldId id="2147475560" r:id="rId396"/>
    <p:sldId id="2147475561" r:id="rId397"/>
    <p:sldId id="2147475562" r:id="rId398"/>
    <p:sldId id="2147475563" r:id="rId399"/>
    <p:sldId id="2147475564" r:id="rId400"/>
    <p:sldId id="2147475565" r:id="rId401"/>
    <p:sldId id="2147475566" r:id="rId402"/>
    <p:sldId id="2147475567" r:id="rId403"/>
    <p:sldId id="2147475568" r:id="rId404"/>
    <p:sldId id="2147475569" r:id="rId405"/>
    <p:sldId id="2147475570" r:id="rId406"/>
    <p:sldId id="2147475571" r:id="rId407"/>
    <p:sldId id="2147475572" r:id="rId408"/>
    <p:sldId id="2147475573" r:id="rId409"/>
    <p:sldId id="2147475574" r:id="rId410"/>
    <p:sldId id="2147475575" r:id="rId411"/>
    <p:sldId id="2147475576" r:id="rId412"/>
    <p:sldId id="2147475577" r:id="rId413"/>
    <p:sldId id="2147475578" r:id="rId414"/>
    <p:sldId id="2147475579" r:id="rId415"/>
    <p:sldId id="2147475580" r:id="rId416"/>
    <p:sldId id="2147475581" r:id="rId417"/>
    <p:sldId id="2147475582" r:id="rId418"/>
    <p:sldId id="2147475583" r:id="rId419"/>
    <p:sldId id="2147475584" r:id="rId420"/>
    <p:sldId id="2147475585" r:id="rId421"/>
    <p:sldId id="2147475586" r:id="rId422"/>
    <p:sldId id="2147475587" r:id="rId423"/>
    <p:sldId id="2147475588" r:id="rId424"/>
    <p:sldId id="2147475589" r:id="rId425"/>
    <p:sldId id="2147475590" r:id="rId426"/>
    <p:sldId id="2147475591" r:id="rId427"/>
    <p:sldId id="2147475592" r:id="rId428"/>
    <p:sldId id="2147475593" r:id="rId429"/>
    <p:sldId id="2147475594" r:id="rId430"/>
    <p:sldId id="2147475595" r:id="rId431"/>
    <p:sldId id="2147475596" r:id="rId432"/>
    <p:sldId id="2147475597" r:id="rId433"/>
    <p:sldId id="2147475598" r:id="rId434"/>
    <p:sldId id="2147475599" r:id="rId435"/>
    <p:sldId id="2147475600" r:id="rId436"/>
    <p:sldId id="2147475601" r:id="rId437"/>
    <p:sldId id="2147475602" r:id="rId438"/>
    <p:sldId id="2147475603" r:id="rId439"/>
    <p:sldId id="2147475604" r:id="rId440"/>
    <p:sldId id="2147475605" r:id="rId441"/>
    <p:sldId id="2147475606" r:id="rId442"/>
    <p:sldId id="2147475607" r:id="rId443"/>
    <p:sldId id="2147475608" r:id="rId444"/>
    <p:sldId id="2147475609" r:id="rId445"/>
    <p:sldId id="2147475610" r:id="rId446"/>
    <p:sldId id="2147475611" r:id="rId447"/>
    <p:sldId id="2147475612" r:id="rId448"/>
    <p:sldId id="2147475613" r:id="rId449"/>
    <p:sldId id="2147475614" r:id="rId450"/>
    <p:sldId id="2147475615" r:id="rId451"/>
    <p:sldId id="2147475616" r:id="rId452"/>
    <p:sldId id="2147475617" r:id="rId453"/>
    <p:sldId id="2147475618" r:id="rId454"/>
    <p:sldId id="2147475619" r:id="rId455"/>
    <p:sldId id="2147475620" r:id="rId456"/>
    <p:sldId id="2147475621" r:id="rId457"/>
    <p:sldId id="2147475622" r:id="rId458"/>
    <p:sldId id="2147475623" r:id="rId459"/>
    <p:sldId id="2147475624" r:id="rId460"/>
    <p:sldId id="2147475625" r:id="rId461"/>
    <p:sldId id="2147475626" r:id="rId462"/>
    <p:sldId id="2147475627" r:id="rId463"/>
    <p:sldId id="2147475628" r:id="rId464"/>
    <p:sldId id="2147475629" r:id="rId465"/>
    <p:sldId id="2147475630" r:id="rId466"/>
    <p:sldId id="2147475631" r:id="rId467"/>
    <p:sldId id="2147475632" r:id="rId468"/>
    <p:sldId id="2147475633" r:id="rId469"/>
    <p:sldId id="2147475634" r:id="rId470"/>
    <p:sldId id="2147475635" r:id="rId471"/>
    <p:sldId id="2147475636" r:id="rId472"/>
    <p:sldId id="2147475637" r:id="rId473"/>
    <p:sldId id="2147475638" r:id="rId474"/>
    <p:sldId id="2147475639" r:id="rId475"/>
    <p:sldId id="2147475640" r:id="rId476"/>
    <p:sldId id="2147475641" r:id="rId477"/>
    <p:sldId id="2147475642" r:id="rId478"/>
    <p:sldId id="2147475643" r:id="rId479"/>
    <p:sldId id="2147475644" r:id="rId480"/>
    <p:sldId id="2147475645" r:id="rId481"/>
    <p:sldId id="2147475646" r:id="rId482"/>
    <p:sldId id="2147475647" r:id="rId483"/>
    <p:sldId id="2147475648" r:id="rId484"/>
    <p:sldId id="2147475649" r:id="rId485"/>
    <p:sldId id="2147475650" r:id="rId486"/>
    <p:sldId id="2147475651" r:id="rId487"/>
    <p:sldId id="2147475652" r:id="rId488"/>
    <p:sldId id="2147475653" r:id="rId489"/>
    <p:sldId id="2147475654" r:id="rId490"/>
    <p:sldId id="2147475655" r:id="rId491"/>
    <p:sldId id="2147475656" r:id="rId492"/>
    <p:sldId id="2147475657" r:id="rId493"/>
    <p:sldId id="2147475658" r:id="rId494"/>
    <p:sldId id="2147475659" r:id="rId495"/>
    <p:sldId id="2147475660" r:id="rId496"/>
    <p:sldId id="2147475661" r:id="rId497"/>
    <p:sldId id="2147475662" r:id="rId498"/>
    <p:sldId id="2147475663" r:id="rId499"/>
    <p:sldId id="2147475664" r:id="rId500"/>
    <p:sldId id="2147475665" r:id="rId501"/>
    <p:sldId id="2147475666" r:id="rId502"/>
    <p:sldId id="2147475667" r:id="rId503"/>
    <p:sldId id="2147475668" r:id="rId504"/>
    <p:sldId id="2147475669" r:id="rId505"/>
    <p:sldId id="2147475670" r:id="rId506"/>
    <p:sldId id="2147475671" r:id="rId507"/>
    <p:sldId id="2147475672" r:id="rId508"/>
    <p:sldId id="2147475673" r:id="rId509"/>
    <p:sldId id="2147475674" r:id="rId510"/>
    <p:sldId id="2147475675" r:id="rId511"/>
    <p:sldId id="2147475676" r:id="rId512"/>
    <p:sldId id="2147475677" r:id="rId513"/>
    <p:sldId id="2147475678" r:id="rId514"/>
    <p:sldId id="2147475679" r:id="rId515"/>
    <p:sldId id="2147475680" r:id="rId516"/>
    <p:sldId id="2147475681" r:id="rId517"/>
    <p:sldId id="2147475682" r:id="rId518"/>
    <p:sldId id="2147475683" r:id="rId519"/>
    <p:sldId id="2147475684" r:id="rId520"/>
    <p:sldId id="2147475685" r:id="rId521"/>
    <p:sldId id="2147475686" r:id="rId522"/>
    <p:sldId id="2147475687" r:id="rId523"/>
    <p:sldId id="2147475688" r:id="rId524"/>
    <p:sldId id="2147475689" r:id="rId525"/>
    <p:sldId id="2147475690" r:id="rId526"/>
    <p:sldId id="2147475691" r:id="rId527"/>
    <p:sldId id="2147475692" r:id="rId528"/>
    <p:sldId id="2147475693" r:id="rId529"/>
    <p:sldId id="2147475694" r:id="rId530"/>
    <p:sldId id="2147475695" r:id="rId531"/>
    <p:sldId id="2147475696" r:id="rId532"/>
    <p:sldId id="2147475697" r:id="rId533"/>
    <p:sldId id="2147475698" r:id="rId534"/>
    <p:sldId id="2147475699" r:id="rId535"/>
    <p:sldId id="2147475700" r:id="rId536"/>
    <p:sldId id="2147475701" r:id="rId537"/>
    <p:sldId id="2147475702" r:id="rId538"/>
    <p:sldId id="2147475703" r:id="rId539"/>
    <p:sldId id="2147475704" r:id="rId540"/>
    <p:sldId id="2147475705" r:id="rId541"/>
    <p:sldId id="2147475706" r:id="rId542"/>
    <p:sldId id="2147475707" r:id="rId543"/>
    <p:sldId id="2147475708" r:id="rId544"/>
    <p:sldId id="2147475709" r:id="rId545"/>
    <p:sldId id="2147475710" r:id="rId546"/>
    <p:sldId id="2147475711" r:id="rId547"/>
    <p:sldId id="2147475712" r:id="rId548"/>
    <p:sldId id="2147475713" r:id="rId549"/>
    <p:sldId id="2147475714" r:id="rId550"/>
    <p:sldId id="2147475715" r:id="rId551"/>
    <p:sldId id="2147475716" r:id="rId552"/>
    <p:sldId id="2147475717" r:id="rId553"/>
    <p:sldId id="2147475718" r:id="rId554"/>
    <p:sldId id="2147475719" r:id="rId555"/>
    <p:sldId id="2147475720" r:id="rId556"/>
    <p:sldId id="2147475721" r:id="rId557"/>
    <p:sldId id="2147475722" r:id="rId558"/>
    <p:sldId id="2147475723" r:id="rId559"/>
    <p:sldId id="2147475724" r:id="rId560"/>
    <p:sldId id="2147475725" r:id="rId561"/>
    <p:sldId id="2147475726" r:id="rId562"/>
    <p:sldId id="2147475727" r:id="rId563"/>
    <p:sldId id="2147475728" r:id="rId564"/>
    <p:sldId id="2147475729" r:id="rId565"/>
    <p:sldId id="2147475730" r:id="rId566"/>
    <p:sldId id="2147475731" r:id="rId567"/>
    <p:sldId id="2147475732" r:id="rId568"/>
    <p:sldId id="2147475733" r:id="rId569"/>
    <p:sldId id="2147475734" r:id="rId570"/>
    <p:sldId id="2147475735" r:id="rId571"/>
    <p:sldId id="2147475736" r:id="rId572"/>
    <p:sldId id="2147475737" r:id="rId573"/>
    <p:sldId id="2147475738" r:id="rId574"/>
    <p:sldId id="2147475739" r:id="rId575"/>
    <p:sldId id="2147475740" r:id="rId576"/>
    <p:sldId id="2147475741" r:id="rId577"/>
    <p:sldId id="2147475742" r:id="rId578"/>
    <p:sldId id="2147475743" r:id="rId579"/>
    <p:sldId id="2147475744" r:id="rId580"/>
    <p:sldId id="2147475745" r:id="rId581"/>
    <p:sldId id="2147475746" r:id="rId582"/>
    <p:sldId id="2147475747" r:id="rId583"/>
    <p:sldId id="2147475748" r:id="rId584"/>
    <p:sldId id="2147475749" r:id="rId585"/>
    <p:sldId id="2147475750" r:id="rId586"/>
    <p:sldId id="2147475751" r:id="rId587"/>
    <p:sldId id="2147475752" r:id="rId588"/>
    <p:sldId id="2147475753" r:id="rId589"/>
    <p:sldId id="2147475754" r:id="rId590"/>
    <p:sldId id="2147475755" r:id="rId591"/>
    <p:sldId id="2147475756" r:id="rId592"/>
    <p:sldId id="2147475757" r:id="rId593"/>
    <p:sldId id="2147475758" r:id="rId594"/>
    <p:sldId id="2147475759" r:id="rId595"/>
    <p:sldId id="2147475760" r:id="rId596"/>
    <p:sldId id="2147475761" r:id="rId597"/>
    <p:sldId id="2147475762" r:id="rId598"/>
    <p:sldId id="2147475763" r:id="rId599"/>
    <p:sldId id="2147475764" r:id="rId600"/>
    <p:sldId id="2147475765" r:id="rId601"/>
    <p:sldId id="2147475766" r:id="rId602"/>
    <p:sldId id="2147475767" r:id="rId603"/>
    <p:sldId id="2147475768" r:id="rId604"/>
    <p:sldId id="2147475769" r:id="rId605"/>
    <p:sldId id="2147475770" r:id="rId606"/>
    <p:sldId id="2147475771" r:id="rId607"/>
    <p:sldId id="2147475772" r:id="rId608"/>
    <p:sldId id="2147475773" r:id="rId609"/>
    <p:sldId id="2147475774" r:id="rId610"/>
    <p:sldId id="2147475775" r:id="rId611"/>
    <p:sldId id="2147475776" r:id="rId612"/>
    <p:sldId id="2147475777" r:id="rId613"/>
    <p:sldId id="2147475778" r:id="rId614"/>
    <p:sldId id="2147475779" r:id="rId615"/>
    <p:sldId id="2147475780" r:id="rId616"/>
    <p:sldId id="2147475781" r:id="rId617"/>
    <p:sldId id="2147475782" r:id="rId618"/>
    <p:sldId id="2147475783" r:id="rId619"/>
    <p:sldId id="2147475784" r:id="rId620"/>
    <p:sldId id="2147475785" r:id="rId621"/>
    <p:sldId id="2147475786" r:id="rId622"/>
    <p:sldId id="2147475787" r:id="rId623"/>
    <p:sldId id="2147475788" r:id="rId624"/>
    <p:sldId id="2147475789" r:id="rId625"/>
    <p:sldId id="2147475790" r:id="rId626"/>
    <p:sldId id="2147475791" r:id="rId627"/>
    <p:sldId id="2147475792" r:id="rId628"/>
    <p:sldId id="2147475793" r:id="rId629"/>
    <p:sldId id="2147475794" r:id="rId630"/>
    <p:sldId id="2147475795" r:id="rId631"/>
    <p:sldId id="2147475796" r:id="rId632"/>
    <p:sldId id="2147475797" r:id="rId633"/>
    <p:sldId id="2147475798" r:id="rId634"/>
    <p:sldId id="2147475799" r:id="rId635"/>
    <p:sldId id="2147475800" r:id="rId636"/>
    <p:sldId id="2147475801" r:id="rId637"/>
    <p:sldId id="2147475802" r:id="rId638"/>
    <p:sldId id="2147475803" r:id="rId639"/>
    <p:sldId id="2147475804" r:id="rId640"/>
    <p:sldId id="2147475805" r:id="rId641"/>
    <p:sldId id="2147475806" r:id="rId642"/>
    <p:sldId id="2147475807" r:id="rId643"/>
    <p:sldId id="2147475808" r:id="rId644"/>
    <p:sldId id="2147475809" r:id="rId645"/>
    <p:sldId id="2147475810" r:id="rId646"/>
    <p:sldId id="2147475811" r:id="rId647"/>
    <p:sldId id="2147475812" r:id="rId648"/>
    <p:sldId id="2147475813" r:id="rId649"/>
    <p:sldId id="2147475814" r:id="rId650"/>
    <p:sldId id="2147475815" r:id="rId651"/>
    <p:sldId id="2147475816" r:id="rId652"/>
    <p:sldId id="2147475817" r:id="rId653"/>
    <p:sldId id="2147475818" r:id="rId654"/>
    <p:sldId id="2147475819" r:id="rId655"/>
    <p:sldId id="2147475820" r:id="rId656"/>
    <p:sldId id="2147475821" r:id="rId657"/>
    <p:sldId id="2147475822" r:id="rId658"/>
    <p:sldId id="2147475823" r:id="rId659"/>
    <p:sldId id="2147475824" r:id="rId660"/>
    <p:sldId id="2147475825" r:id="rId661"/>
    <p:sldId id="2147475826" r:id="rId662"/>
    <p:sldId id="2147475827" r:id="rId663"/>
    <p:sldId id="2147475828" r:id="rId664"/>
    <p:sldId id="2147475829" r:id="rId665"/>
    <p:sldId id="2147475830" r:id="rId666"/>
    <p:sldId id="2147475831" r:id="rId667"/>
    <p:sldId id="2147475832" r:id="rId668"/>
    <p:sldId id="2147475833" r:id="rId669"/>
    <p:sldId id="2147475834" r:id="rId670"/>
    <p:sldId id="2147475835" r:id="rId671"/>
    <p:sldId id="2147475836" r:id="rId672"/>
    <p:sldId id="2147475837" r:id="rId673"/>
    <p:sldId id="2147475838" r:id="rId674"/>
    <p:sldId id="2147475839" r:id="rId675"/>
    <p:sldId id="2147475840" r:id="rId676"/>
    <p:sldId id="2147475841" r:id="rId677"/>
    <p:sldId id="2147475842" r:id="rId678"/>
    <p:sldId id="2147475843" r:id="rId679"/>
    <p:sldId id="2147475844" r:id="rId680"/>
    <p:sldId id="2147475845" r:id="rId681"/>
    <p:sldId id="2147475846" r:id="rId682"/>
    <p:sldId id="2147475847" r:id="rId683"/>
    <p:sldId id="2147475848" r:id="rId684"/>
    <p:sldId id="2147475849" r:id="rId685"/>
    <p:sldId id="2147475850" r:id="rId686"/>
    <p:sldId id="2147475851" r:id="rId687"/>
    <p:sldId id="2147475852" r:id="rId688"/>
    <p:sldId id="2147475853" r:id="rId689"/>
    <p:sldId id="2147475854" r:id="rId690"/>
    <p:sldId id="2147475855" r:id="rId691"/>
    <p:sldId id="2147475856" r:id="rId692"/>
    <p:sldId id="2147475857" r:id="rId693"/>
    <p:sldId id="2147475858" r:id="rId694"/>
    <p:sldId id="2147475859" r:id="rId695"/>
    <p:sldId id="2147475860" r:id="rId696"/>
    <p:sldId id="2147475861" r:id="rId697"/>
    <p:sldId id="2147475862" r:id="rId698"/>
    <p:sldId id="2147475863" r:id="rId699"/>
    <p:sldId id="2147475864" r:id="rId700"/>
    <p:sldId id="2147475865" r:id="rId701"/>
    <p:sldId id="2147475866" r:id="rId702"/>
    <p:sldId id="2147475867" r:id="rId703"/>
    <p:sldId id="2147475868" r:id="rId704"/>
    <p:sldId id="2147475869" r:id="rId705"/>
    <p:sldId id="2147475870" r:id="rId706"/>
    <p:sldId id="2147475871" r:id="rId707"/>
    <p:sldId id="2147475872" r:id="rId708"/>
    <p:sldId id="2147475873" r:id="rId709"/>
    <p:sldId id="2147475874" r:id="rId710"/>
    <p:sldId id="2147475875" r:id="rId711"/>
    <p:sldId id="2147475876" r:id="rId712"/>
    <p:sldId id="2147475877" r:id="rId713"/>
    <p:sldId id="2147475878" r:id="rId714"/>
    <p:sldId id="2147475879" r:id="rId715"/>
    <p:sldId id="2147475880" r:id="rId716"/>
    <p:sldId id="2147475881" r:id="rId717"/>
    <p:sldId id="2147475882" r:id="rId718"/>
    <p:sldId id="2147475883" r:id="rId719"/>
    <p:sldId id="2147475884" r:id="rId720"/>
    <p:sldId id="2147475885" r:id="rId721"/>
    <p:sldId id="2147475886" r:id="rId722"/>
    <p:sldId id="2147475887" r:id="rId723"/>
    <p:sldId id="2147475888" r:id="rId724"/>
    <p:sldId id="2147475889" r:id="rId725"/>
    <p:sldId id="2147475890" r:id="rId726"/>
    <p:sldId id="2147475891" r:id="rId727"/>
    <p:sldId id="2147475892" r:id="rId728"/>
    <p:sldId id="2147475893" r:id="rId729"/>
    <p:sldId id="2147475894" r:id="rId730"/>
    <p:sldId id="2147475895" r:id="rId731"/>
    <p:sldId id="2147475896" r:id="rId732"/>
    <p:sldId id="2147475897" r:id="rId733"/>
    <p:sldId id="2147475898" r:id="rId734"/>
    <p:sldId id="2147475899" r:id="rId735"/>
    <p:sldId id="2147475900" r:id="rId736"/>
    <p:sldId id="2147475901" r:id="rId737"/>
    <p:sldId id="2147475902" r:id="rId738"/>
    <p:sldId id="2147475903" r:id="rId739"/>
    <p:sldId id="2147475904" r:id="rId740"/>
    <p:sldId id="2147475905" r:id="rId741"/>
    <p:sldId id="2147475906" r:id="rId742"/>
    <p:sldId id="2147475907" r:id="rId743"/>
    <p:sldId id="2147475908" r:id="rId744"/>
    <p:sldId id="2147475909" r:id="rId745"/>
    <p:sldId id="2147475910" r:id="rId746"/>
    <p:sldId id="2147475911" r:id="rId747"/>
    <p:sldId id="2147475912" r:id="rId748"/>
    <p:sldId id="2147475913" r:id="rId749"/>
    <p:sldId id="2147475914" r:id="rId750"/>
    <p:sldId id="2147475915" r:id="rId751"/>
    <p:sldId id="2147475916" r:id="rId752"/>
    <p:sldId id="2147475917" r:id="rId753"/>
    <p:sldId id="2147475918" r:id="rId754"/>
    <p:sldId id="2147475919" r:id="rId755"/>
    <p:sldId id="2147475920" r:id="rId756"/>
    <p:sldId id="2147475921" r:id="rId757"/>
    <p:sldId id="2147475922" r:id="rId758"/>
    <p:sldId id="2147475923" r:id="rId759"/>
    <p:sldId id="2147475924" r:id="rId760"/>
    <p:sldId id="2147475925" r:id="rId761"/>
    <p:sldId id="2147475926" r:id="rId762"/>
    <p:sldId id="2147475927" r:id="rId763"/>
    <p:sldId id="2147475928" r:id="rId764"/>
    <p:sldId id="2147475929" r:id="rId765"/>
    <p:sldId id="2147475930" r:id="rId766"/>
    <p:sldId id="2147475931" r:id="rId767"/>
    <p:sldId id="2147475932" r:id="rId768"/>
    <p:sldId id="2147475933" r:id="rId769"/>
    <p:sldId id="2147475934" r:id="rId770"/>
    <p:sldId id="2147475935" r:id="rId771"/>
    <p:sldId id="2147475936" r:id="rId772"/>
    <p:sldId id="2147475937" r:id="rId773"/>
    <p:sldId id="2147475938" r:id="rId774"/>
    <p:sldId id="2147475939" r:id="rId775"/>
    <p:sldId id="2147475940" r:id="rId776"/>
    <p:sldId id="2147475941" r:id="rId777"/>
    <p:sldId id="2147475942" r:id="rId778"/>
    <p:sldId id="2147475943" r:id="rId779"/>
    <p:sldId id="2147475944" r:id="rId780"/>
    <p:sldId id="2147475945" r:id="rId781"/>
    <p:sldId id="2147475946" r:id="rId782"/>
    <p:sldId id="2147475947" r:id="rId783"/>
    <p:sldId id="2147475948" r:id="rId784"/>
    <p:sldId id="2147475949" r:id="rId785"/>
    <p:sldId id="2147475950" r:id="rId786"/>
    <p:sldId id="2147475951" r:id="rId787"/>
    <p:sldId id="2147475952" r:id="rId788"/>
    <p:sldId id="2147475953" r:id="rId789"/>
    <p:sldId id="2147475954" r:id="rId790"/>
    <p:sldId id="2147475955" r:id="rId791"/>
    <p:sldId id="2147475956" r:id="rId792"/>
    <p:sldId id="2147475957" r:id="rId793"/>
    <p:sldId id="2147475958" r:id="rId794"/>
    <p:sldId id="2147475959" r:id="rId795"/>
    <p:sldId id="2147475960" r:id="rId796"/>
    <p:sldId id="2147475961" r:id="rId797"/>
    <p:sldId id="2147475962" r:id="rId798"/>
    <p:sldId id="2147475963" r:id="rId799"/>
    <p:sldId id="2147475964" r:id="rId800"/>
    <p:sldId id="2147475965" r:id="rId801"/>
    <p:sldId id="2147475966" r:id="rId802"/>
    <p:sldId id="2147475967" r:id="rId803"/>
    <p:sldId id="2147475968" r:id="rId804"/>
    <p:sldId id="2147475969" r:id="rId805"/>
    <p:sldId id="2147475970" r:id="rId806"/>
    <p:sldId id="2147475971" r:id="rId807"/>
    <p:sldId id="2147475972" r:id="rId808"/>
    <p:sldId id="2147475973" r:id="rId809"/>
    <p:sldId id="2147475974" r:id="rId810"/>
    <p:sldId id="2147475975" r:id="rId811"/>
    <p:sldId id="2147475976" r:id="rId812"/>
    <p:sldId id="2147475977" r:id="rId813"/>
    <p:sldId id="2147475978" r:id="rId814"/>
    <p:sldId id="2147475979" r:id="rId815"/>
    <p:sldId id="2147475980" r:id="rId816"/>
    <p:sldId id="2147475981" r:id="rId817"/>
    <p:sldId id="2147475982" r:id="rId818"/>
    <p:sldId id="2147475983" r:id="rId819"/>
    <p:sldId id="2147475984" r:id="rId820"/>
    <p:sldId id="2147475985" r:id="rId821"/>
    <p:sldId id="2147475986" r:id="rId822"/>
    <p:sldId id="2147475987" r:id="rId823"/>
    <p:sldId id="2147475988" r:id="rId824"/>
    <p:sldId id="2147475989" r:id="rId825"/>
    <p:sldId id="2147475990" r:id="rId826"/>
    <p:sldId id="2147475991" r:id="rId827"/>
    <p:sldId id="2147475992" r:id="rId828"/>
    <p:sldId id="2147475993" r:id="rId829"/>
    <p:sldId id="2147475994" r:id="rId830"/>
    <p:sldId id="2147475995" r:id="rId831"/>
    <p:sldId id="2147475996" r:id="rId832"/>
    <p:sldId id="2147475997" r:id="rId833"/>
    <p:sldId id="2147475998" r:id="rId834"/>
    <p:sldId id="2147475999" r:id="rId835"/>
    <p:sldId id="2147476000" r:id="rId836"/>
    <p:sldId id="2147476001" r:id="rId837"/>
    <p:sldId id="2147476002" r:id="rId838"/>
    <p:sldId id="2147476003" r:id="rId839"/>
    <p:sldId id="2147476004" r:id="rId840"/>
    <p:sldId id="2147476005" r:id="rId841"/>
    <p:sldId id="2147476006" r:id="rId842"/>
    <p:sldId id="2147476007" r:id="rId843"/>
    <p:sldId id="2147476008" r:id="rId844"/>
    <p:sldId id="2147476009" r:id="rId845"/>
    <p:sldId id="2147476010" r:id="rId846"/>
    <p:sldId id="2147476011" r:id="rId847"/>
    <p:sldId id="2147476012" r:id="rId848"/>
    <p:sldId id="2147476013" r:id="rId849"/>
    <p:sldId id="2147476014" r:id="rId850"/>
    <p:sldId id="2147476015" r:id="rId851"/>
    <p:sldId id="2147476016" r:id="rId852"/>
    <p:sldId id="2147476017" r:id="rId853"/>
    <p:sldId id="2147476018" r:id="rId854"/>
    <p:sldId id="2147476019" r:id="rId855"/>
    <p:sldId id="2147476020" r:id="rId856"/>
    <p:sldId id="2147476021" r:id="rId857"/>
    <p:sldId id="2147476022" r:id="rId858"/>
    <p:sldId id="2147476023" r:id="rId859"/>
    <p:sldId id="2147476024" r:id="rId860"/>
    <p:sldId id="2147476025" r:id="rId861"/>
    <p:sldId id="2147476026" r:id="rId862"/>
    <p:sldId id="2147476027" r:id="rId863"/>
    <p:sldId id="2147476028" r:id="rId864"/>
    <p:sldId id="2147476029" r:id="rId865"/>
    <p:sldId id="2147476030" r:id="rId866"/>
    <p:sldId id="2147476031" r:id="rId867"/>
    <p:sldId id="2147476032" r:id="rId868"/>
    <p:sldId id="2147476033" r:id="rId869"/>
    <p:sldId id="2147476034" r:id="rId870"/>
    <p:sldId id="2147476035" r:id="rId871"/>
    <p:sldId id="2147476036" r:id="rId872"/>
    <p:sldId id="2147476037" r:id="rId873"/>
    <p:sldId id="2147476038" r:id="rId874"/>
    <p:sldId id="2147476039" r:id="rId875"/>
    <p:sldId id="2147476040" r:id="rId876"/>
    <p:sldId id="2147476041" r:id="rId877"/>
    <p:sldId id="2147476042" r:id="rId878"/>
    <p:sldId id="2147476043" r:id="rId879"/>
    <p:sldId id="2147476044" r:id="rId880"/>
    <p:sldId id="2147476045" r:id="rId881"/>
    <p:sldId id="2147476046" r:id="rId882"/>
    <p:sldId id="2147476047" r:id="rId883"/>
    <p:sldId id="2147476048" r:id="rId884"/>
    <p:sldId id="2147476049" r:id="rId885"/>
    <p:sldId id="2147476050" r:id="rId886"/>
    <p:sldId id="2147476051" r:id="rId887"/>
    <p:sldId id="2147476052" r:id="rId888"/>
    <p:sldId id="2147476053" r:id="rId889"/>
    <p:sldId id="2147476054" r:id="rId890"/>
    <p:sldId id="2147476055" r:id="rId891"/>
    <p:sldId id="2147476056" r:id="rId892"/>
    <p:sldId id="2147476057" r:id="rId893"/>
    <p:sldId id="2147476058" r:id="rId894"/>
    <p:sldId id="2147476059" r:id="rId895"/>
    <p:sldId id="2147476060" r:id="rId896"/>
    <p:sldId id="2147476061" r:id="rId897"/>
    <p:sldId id="2147476062" r:id="rId898"/>
    <p:sldId id="2147476063" r:id="rId899"/>
    <p:sldId id="2147476064" r:id="rId900"/>
    <p:sldId id="2147476065" r:id="rId901"/>
    <p:sldId id="2147476066" r:id="rId902"/>
    <p:sldId id="2147476067" r:id="rId903"/>
    <p:sldId id="2147476068" r:id="rId904"/>
    <p:sldId id="2147476069" r:id="rId905"/>
    <p:sldId id="2147476070" r:id="rId906"/>
    <p:sldId id="2147476071" r:id="rId907"/>
    <p:sldId id="2147476072" r:id="rId908"/>
    <p:sldId id="2147476073" r:id="rId909"/>
    <p:sldId id="2147476074" r:id="rId910"/>
    <p:sldId id="2147476075" r:id="rId911"/>
    <p:sldId id="2147476076" r:id="rId912"/>
    <p:sldId id="2147476077" r:id="rId913"/>
    <p:sldId id="2147476078" r:id="rId914"/>
    <p:sldId id="2147476079" r:id="rId915"/>
    <p:sldId id="2147476080" r:id="rId916"/>
    <p:sldId id="2147476081" r:id="rId917"/>
    <p:sldId id="2147476082" r:id="rId918"/>
    <p:sldId id="2147476083" r:id="rId919"/>
    <p:sldId id="2147476084" r:id="rId920"/>
    <p:sldId id="2147476085" r:id="rId921"/>
    <p:sldId id="2147476086" r:id="rId922"/>
    <p:sldId id="2147476087" r:id="rId923"/>
    <p:sldId id="2147476088" r:id="rId924"/>
    <p:sldId id="2147476089" r:id="rId925"/>
    <p:sldId id="2147476090" r:id="rId926"/>
    <p:sldId id="2147476091" r:id="rId927"/>
    <p:sldId id="2147476092" r:id="rId928"/>
    <p:sldId id="2147476093" r:id="rId929"/>
    <p:sldId id="2147476094" r:id="rId930"/>
    <p:sldId id="2147476095" r:id="rId931"/>
    <p:sldId id="2147476096" r:id="rId932"/>
    <p:sldId id="2147476097" r:id="rId933"/>
    <p:sldId id="2147476098" r:id="rId934"/>
    <p:sldId id="2147476099" r:id="rId935"/>
    <p:sldId id="2147476100" r:id="rId936"/>
    <p:sldId id="2147476101" r:id="rId937"/>
    <p:sldId id="2147476102" r:id="rId938"/>
    <p:sldId id="2147476103" r:id="rId939"/>
    <p:sldId id="2147476104" r:id="rId940"/>
    <p:sldId id="2147476105" r:id="rId941"/>
    <p:sldId id="2147476106" r:id="rId942"/>
    <p:sldId id="2147476107" r:id="rId943"/>
    <p:sldId id="2147476108" r:id="rId944"/>
    <p:sldId id="2147476109" r:id="rId945"/>
    <p:sldId id="2147476110" r:id="rId946"/>
    <p:sldId id="2147476111" r:id="rId947"/>
    <p:sldId id="2147476112" r:id="rId948"/>
    <p:sldId id="2147476113" r:id="rId949"/>
    <p:sldId id="2147476114" r:id="rId950"/>
    <p:sldId id="2147476115" r:id="rId951"/>
    <p:sldId id="2147476116" r:id="rId952"/>
    <p:sldId id="2147476117" r:id="rId953"/>
    <p:sldId id="2147476118" r:id="rId954"/>
    <p:sldId id="2147476119" r:id="rId955"/>
    <p:sldId id="2147476120" r:id="rId956"/>
    <p:sldId id="2147476121" r:id="rId957"/>
    <p:sldId id="2147476122" r:id="rId958"/>
    <p:sldId id="2147476123" r:id="rId959"/>
    <p:sldId id="2147476124" r:id="rId960"/>
    <p:sldId id="2147476125" r:id="rId961"/>
    <p:sldId id="2147476126" r:id="rId962"/>
    <p:sldId id="2147476127" r:id="rId963"/>
    <p:sldId id="2147476128" r:id="rId964"/>
    <p:sldId id="2147476129" r:id="rId965"/>
    <p:sldId id="2147476130" r:id="rId966"/>
    <p:sldId id="2147476131" r:id="rId967"/>
    <p:sldId id="2147476132" r:id="rId968"/>
    <p:sldId id="2147476133" r:id="rId969"/>
    <p:sldId id="2147476134" r:id="rId970"/>
    <p:sldId id="2147476135" r:id="rId971"/>
    <p:sldId id="2147476136" r:id="rId972"/>
    <p:sldId id="2147476137" r:id="rId973"/>
    <p:sldId id="2147476138" r:id="rId974"/>
    <p:sldId id="2147476139" r:id="rId975"/>
    <p:sldId id="2147476140" r:id="rId976"/>
    <p:sldId id="2147476141" r:id="rId977"/>
    <p:sldId id="2147476142" r:id="rId978"/>
    <p:sldId id="2147476143" r:id="rId979"/>
    <p:sldId id="2147476144" r:id="rId980"/>
    <p:sldId id="2147476145" r:id="rId981"/>
    <p:sldId id="2147476146" r:id="rId982"/>
    <p:sldId id="2147476147" r:id="rId983"/>
    <p:sldId id="2147476148" r:id="rId984"/>
    <p:sldId id="2147476149" r:id="rId985"/>
    <p:sldId id="2147476150" r:id="rId986"/>
    <p:sldId id="2147476151" r:id="rId987"/>
    <p:sldId id="2147476152" r:id="rId988"/>
    <p:sldId id="2147476153" r:id="rId989"/>
    <p:sldId id="2147476154" r:id="rId990"/>
    <p:sldId id="2147476155" r:id="rId991"/>
    <p:sldId id="2147476156" r:id="rId992"/>
    <p:sldId id="2147476157" r:id="rId993"/>
    <p:sldId id="2147476158" r:id="rId994"/>
    <p:sldId id="2147476159" r:id="rId995"/>
    <p:sldId id="2147476160" r:id="rId996"/>
    <p:sldId id="2147476161" r:id="rId997"/>
    <p:sldId id="2147476162" r:id="rId998"/>
    <p:sldId id="2147476163" r:id="rId999"/>
    <p:sldId id="2147476164" r:id="rId1000"/>
    <p:sldId id="2147476165" r:id="rId1001"/>
    <p:sldId id="2147476166" r:id="rId1002"/>
    <p:sldId id="2147476167" r:id="rId1003"/>
    <p:sldId id="2147476168" r:id="rId1004"/>
    <p:sldId id="2147476169" r:id="rId1005"/>
    <p:sldId id="2147476170" r:id="rId1006"/>
    <p:sldId id="2147476171" r:id="rId1007"/>
    <p:sldId id="2147476172" r:id="rId1008"/>
    <p:sldId id="2147476173" r:id="rId1009"/>
    <p:sldId id="2147476174" r:id="rId1010"/>
    <p:sldId id="2147476175" r:id="rId1011"/>
    <p:sldId id="2147476176" r:id="rId1012"/>
    <p:sldId id="2147476177" r:id="rId1013"/>
    <p:sldId id="2147476178" r:id="rId1014"/>
    <p:sldId id="2147476179" r:id="rId1015"/>
    <p:sldId id="2147476180" r:id="rId1016"/>
    <p:sldId id="2147476181" r:id="rId1017"/>
    <p:sldId id="2147476182" r:id="rId1018"/>
    <p:sldId id="2147476183" r:id="rId1019"/>
    <p:sldId id="2147476184" r:id="rId1020"/>
    <p:sldId id="2147476185" r:id="rId1021"/>
    <p:sldId id="2147476186" r:id="rId1022"/>
    <p:sldId id="2147476187" r:id="rId1023"/>
    <p:sldId id="2147476188" r:id="rId1024"/>
    <p:sldId id="2147476189" r:id="rId1025"/>
    <p:sldId id="2147476190" r:id="rId1026"/>
    <p:sldId id="2147476191" r:id="rId1027"/>
    <p:sldId id="2147476192" r:id="rId1028"/>
    <p:sldId id="2147476193" r:id="rId1029"/>
    <p:sldId id="2147476194" r:id="rId1030"/>
    <p:sldId id="2147476195" r:id="rId1031"/>
    <p:sldId id="2147476196" r:id="rId1032"/>
    <p:sldId id="2147476197" r:id="rId1033"/>
    <p:sldId id="2147476198" r:id="rId1034"/>
    <p:sldId id="2147476199" r:id="rId1035"/>
    <p:sldId id="2147476200" r:id="rId1036"/>
    <p:sldId id="2147476201" r:id="rId1037"/>
    <p:sldId id="2147476202" r:id="rId1038"/>
    <p:sldId id="2147476203" r:id="rId1039"/>
    <p:sldId id="2147476204" r:id="rId1040"/>
    <p:sldId id="2147476205" r:id="rId1041"/>
    <p:sldId id="2147476206" r:id="rId1042"/>
    <p:sldId id="2147476207" r:id="rId1043"/>
    <p:sldId id="2147476208" r:id="rId1044"/>
    <p:sldId id="2147476209" r:id="rId1045"/>
    <p:sldId id="2147476210" r:id="rId1046"/>
    <p:sldId id="2147476211" r:id="rId1047"/>
    <p:sldId id="2147476212" r:id="rId1048"/>
    <p:sldId id="2147476213" r:id="rId1049"/>
    <p:sldId id="2147476214" r:id="rId1050"/>
    <p:sldId id="2147476215" r:id="rId1051"/>
    <p:sldId id="2147476216" r:id="rId1052"/>
    <p:sldId id="2147476217" r:id="rId1053"/>
    <p:sldId id="2147476218" r:id="rId1054"/>
    <p:sldId id="2147476219" r:id="rId1055"/>
    <p:sldId id="2147476220" r:id="rId1056"/>
    <p:sldId id="2147476221" r:id="rId1057"/>
    <p:sldId id="2147476222" r:id="rId1058"/>
    <p:sldId id="2147476223" r:id="rId1059"/>
    <p:sldId id="2147476224" r:id="rId1060"/>
    <p:sldId id="2147476225" r:id="rId1061"/>
    <p:sldId id="2147476226" r:id="rId1062"/>
    <p:sldId id="2147476227" r:id="rId1063"/>
    <p:sldId id="2147476228" r:id="rId1064"/>
    <p:sldId id="2147476229" r:id="rId1065"/>
    <p:sldId id="2147476230" r:id="rId1066"/>
    <p:sldId id="2147476231" r:id="rId1067"/>
    <p:sldId id="2147476232" r:id="rId1068"/>
    <p:sldId id="2147476233" r:id="rId1069"/>
    <p:sldId id="2147476234" r:id="rId1070"/>
    <p:sldId id="2147476235" r:id="rId1071"/>
    <p:sldId id="2147476236" r:id="rId1072"/>
    <p:sldId id="2147476237" r:id="rId1073"/>
    <p:sldId id="2147476238" r:id="rId1074"/>
    <p:sldId id="2147476239" r:id="rId1075"/>
    <p:sldId id="2147476240" r:id="rId1076"/>
    <p:sldId id="2147476241" r:id="rId1077"/>
    <p:sldId id="2147476242" r:id="rId1078"/>
    <p:sldId id="2147476243" r:id="rId1079"/>
    <p:sldId id="2147476244" r:id="rId1080"/>
    <p:sldId id="2147476245" r:id="rId1081"/>
    <p:sldId id="2147476246" r:id="rId1082"/>
    <p:sldId id="2147476247" r:id="rId1083"/>
    <p:sldId id="2147476248" r:id="rId1084"/>
    <p:sldId id="2147476249" r:id="rId1085"/>
    <p:sldId id="2147476250" r:id="rId1086"/>
    <p:sldId id="2147476251" r:id="rId1087"/>
    <p:sldId id="2147476252" r:id="rId1088"/>
    <p:sldId id="2147476253" r:id="rId1089"/>
    <p:sldId id="2147476254" r:id="rId1090"/>
    <p:sldId id="2147476255" r:id="rId1091"/>
    <p:sldId id="2147476256" r:id="rId1092"/>
    <p:sldId id="2147476257" r:id="rId1093"/>
    <p:sldId id="2147476258" r:id="rId1094"/>
    <p:sldId id="2147476259" r:id="rId1095"/>
    <p:sldId id="2147476260" r:id="rId1096"/>
    <p:sldId id="2147476261" r:id="rId1097"/>
    <p:sldId id="2147476262" r:id="rId1098"/>
    <p:sldId id="2147476263" r:id="rId1099"/>
    <p:sldId id="2147476264" r:id="rId1100"/>
    <p:sldId id="2147476265" r:id="rId1101"/>
    <p:sldId id="2147476266" r:id="rId1102"/>
    <p:sldId id="2147476267" r:id="rId1103"/>
    <p:sldId id="2147476268" r:id="rId1104"/>
    <p:sldId id="2147476269" r:id="rId1105"/>
    <p:sldId id="2147476270" r:id="rId1106"/>
    <p:sldId id="2147476271" r:id="rId1107"/>
    <p:sldId id="2147476272" r:id="rId1108"/>
    <p:sldId id="2147476273" r:id="rId1109"/>
    <p:sldId id="2147476274" r:id="rId1110"/>
    <p:sldId id="2147476275" r:id="rId1111"/>
    <p:sldId id="2147476276" r:id="rId1112"/>
    <p:sldId id="2147476277" r:id="rId1113"/>
    <p:sldId id="2147476278" r:id="rId1114"/>
    <p:sldId id="2147476279" r:id="rId1115"/>
    <p:sldId id="2147476280" r:id="rId1116"/>
    <p:sldId id="2147476281" r:id="rId1117"/>
    <p:sldId id="2147476282" r:id="rId1118"/>
    <p:sldId id="2147476283" r:id="rId1119"/>
    <p:sldId id="2147476284" r:id="rId1120"/>
    <p:sldId id="2147476285" r:id="rId1121"/>
    <p:sldId id="2147476286" r:id="rId1122"/>
    <p:sldId id="2147476287" r:id="rId1123"/>
    <p:sldId id="2147476288" r:id="rId1124"/>
    <p:sldId id="2147476289" r:id="rId1125"/>
    <p:sldId id="2147476290" r:id="rId1126"/>
    <p:sldId id="2147476291" r:id="rId1127"/>
    <p:sldId id="2147476292" r:id="rId1128"/>
    <p:sldId id="2147476293" r:id="rId1129"/>
    <p:sldId id="2147476294" r:id="rId1130"/>
    <p:sldId id="2147476295" r:id="rId1131"/>
    <p:sldId id="2147476296" r:id="rId1132"/>
    <p:sldId id="2147476297" r:id="rId1133"/>
    <p:sldId id="2147476298" r:id="rId1134"/>
    <p:sldId id="2147476299" r:id="rId1135"/>
    <p:sldId id="2147476300" r:id="rId1136"/>
    <p:sldId id="2147476301" r:id="rId1137"/>
    <p:sldId id="2147476302" r:id="rId1138"/>
    <p:sldId id="2147476303" r:id="rId1139"/>
    <p:sldId id="2147476304" r:id="rId1140"/>
    <p:sldId id="2147476305" r:id="rId1141"/>
    <p:sldId id="2147476306" r:id="rId1142"/>
    <p:sldId id="2147476307" r:id="rId1143"/>
    <p:sldId id="2147476308" r:id="rId1144"/>
    <p:sldId id="2147476309" r:id="rId1145"/>
    <p:sldId id="2147476310" r:id="rId1146"/>
    <p:sldId id="2147476311" r:id="rId1147"/>
    <p:sldId id="2147476312" r:id="rId1148"/>
    <p:sldId id="2147476313" r:id="rId1149"/>
    <p:sldId id="2147476314" r:id="rId1150"/>
    <p:sldId id="2147476315" r:id="rId1151"/>
    <p:sldId id="2147476316" r:id="rId1152"/>
    <p:sldId id="2147476317" r:id="rId1153"/>
    <p:sldId id="2147476318" r:id="rId1154"/>
    <p:sldId id="2147476319" r:id="rId1155"/>
    <p:sldId id="2147476320" r:id="rId1156"/>
    <p:sldId id="2147476321" r:id="rId1157"/>
    <p:sldId id="2147476322" r:id="rId1158"/>
    <p:sldId id="2147476323" r:id="rId1159"/>
    <p:sldId id="2147476324" r:id="rId1160"/>
    <p:sldId id="2147476325" r:id="rId1161"/>
    <p:sldId id="2147476326" r:id="rId1162"/>
    <p:sldId id="2147476327" r:id="rId1163"/>
    <p:sldId id="2147476328" r:id="rId1164"/>
    <p:sldId id="2147476329" r:id="rId1165"/>
    <p:sldId id="2147476330" r:id="rId1166"/>
    <p:sldId id="2147476331" r:id="rId1167"/>
    <p:sldId id="2147476332" r:id="rId1168"/>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521415D9-36F7-43E2-AB2F-B90AF26B5E84}">
      <p14:sectionLst xmlns:p14="http://schemas.microsoft.com/office/powerpoint/2010/main">
        <p14:section name="SKU Share By Brand" id="{D86F331D-512E-4978-84FA-5061FEE631FF}">
          <p14:sldIdLst>
            <p14:sldId id="2147475169"/>
            <p14:sldId id="2147475170"/>
            <p14:sldId id="2147475171"/>
            <p14:sldId id="2147475172"/>
            <p14:sldId id="2147475173"/>
            <p14:sldId id="2147475174"/>
            <p14:sldId id="2147475175"/>
            <p14:sldId id="2147475176"/>
            <p14:sldId id="2147475177"/>
            <p14:sldId id="2147475178"/>
            <p14:sldId id="2147475179"/>
            <p14:sldId id="2147475180"/>
            <p14:sldId id="2147475181"/>
            <p14:sldId id="2147475182"/>
            <p14:sldId id="2147475183"/>
            <p14:sldId id="2147475184"/>
            <p14:sldId id="2147475185"/>
            <p14:sldId id="2147475186"/>
            <p14:sldId id="2147475187"/>
            <p14:sldId id="2147475188"/>
            <p14:sldId id="2147475189"/>
            <p14:sldId id="2147475190"/>
            <p14:sldId id="2147475191"/>
            <p14:sldId id="2147475192"/>
            <p14:sldId id="2147475193"/>
            <p14:sldId id="2147475194"/>
            <p14:sldId id="2147475195"/>
            <p14:sldId id="2147475196"/>
            <p14:sldId id="2147475197"/>
            <p14:sldId id="2147475198"/>
            <p14:sldId id="2147475199"/>
            <p14:sldId id="2147475200"/>
            <p14:sldId id="2147475201"/>
            <p14:sldId id="2147475202"/>
            <p14:sldId id="2147475203"/>
            <p14:sldId id="2147475204"/>
            <p14:sldId id="2147475205"/>
            <p14:sldId id="2147475206"/>
            <p14:sldId id="2147475207"/>
            <p14:sldId id="2147475208"/>
            <p14:sldId id="2147475209"/>
            <p14:sldId id="2147475210"/>
            <p14:sldId id="2147475211"/>
            <p14:sldId id="2147475212"/>
            <p14:sldId id="2147475213"/>
            <p14:sldId id="2147475214"/>
            <p14:sldId id="2147475215"/>
            <p14:sldId id="2147475216"/>
            <p14:sldId id="2147475217"/>
            <p14:sldId id="2147475218"/>
            <p14:sldId id="2147475219"/>
            <p14:sldId id="2147475220"/>
            <p14:sldId id="2147475221"/>
            <p14:sldId id="2147475222"/>
            <p14:sldId id="2147475223"/>
            <p14:sldId id="2147475224"/>
            <p14:sldId id="2147475225"/>
            <p14:sldId id="2147475226"/>
            <p14:sldId id="2147475227"/>
            <p14:sldId id="2147475228"/>
            <p14:sldId id="2147475229"/>
            <p14:sldId id="2147475230"/>
            <p14:sldId id="2147475231"/>
            <p14:sldId id="2147475232"/>
            <p14:sldId id="2147475233"/>
            <p14:sldId id="2147475234"/>
            <p14:sldId id="2147475235"/>
            <p14:sldId id="2147475236"/>
            <p14:sldId id="2147475237"/>
            <p14:sldId id="2147475238"/>
            <p14:sldId id="2147475239"/>
            <p14:sldId id="2147475240"/>
            <p14:sldId id="2147475241"/>
            <p14:sldId id="2147475242"/>
            <p14:sldId id="2147475243"/>
            <p14:sldId id="2147475244"/>
            <p14:sldId id="2147475245"/>
            <p14:sldId id="2147475246"/>
            <p14:sldId id="2147475247"/>
            <p14:sldId id="2147475248"/>
            <p14:sldId id="2147475249"/>
            <p14:sldId id="2147475250"/>
            <p14:sldId id="2147475251"/>
            <p14:sldId id="2147475252"/>
            <p14:sldId id="2147475253"/>
            <p14:sldId id="2147475254"/>
            <p14:sldId id="2147475255"/>
            <p14:sldId id="2147475256"/>
            <p14:sldId id="2147475257"/>
            <p14:sldId id="2147475258"/>
            <p14:sldId id="2147475259"/>
            <p14:sldId id="2147475260"/>
            <p14:sldId id="2147475261"/>
            <p14:sldId id="2147475262"/>
            <p14:sldId id="2147475263"/>
            <p14:sldId id="2147475264"/>
            <p14:sldId id="2147475265"/>
            <p14:sldId id="2147475266"/>
            <p14:sldId id="2147475267"/>
            <p14:sldId id="2147475268"/>
            <p14:sldId id="2147475269"/>
            <p14:sldId id="2147475270"/>
            <p14:sldId id="2147475271"/>
            <p14:sldId id="2147475272"/>
            <p14:sldId id="2147475273"/>
            <p14:sldId id="2147475274"/>
            <p14:sldId id="2147475275"/>
            <p14:sldId id="2147475276"/>
            <p14:sldId id="2147475277"/>
            <p14:sldId id="2147475278"/>
            <p14:sldId id="2147475279"/>
            <p14:sldId id="2147475280"/>
            <p14:sldId id="2147475281"/>
            <p14:sldId id="2147475282"/>
            <p14:sldId id="2147475283"/>
            <p14:sldId id="2147475284"/>
            <p14:sldId id="2147475285"/>
            <p14:sldId id="2147475286"/>
            <p14:sldId id="2147475287"/>
            <p14:sldId id="2147475288"/>
            <p14:sldId id="2147475289"/>
            <p14:sldId id="2147475290"/>
            <p14:sldId id="2147475291"/>
            <p14:sldId id="2147475292"/>
            <p14:sldId id="2147475293"/>
            <p14:sldId id="2147475294"/>
            <p14:sldId id="2147475295"/>
            <p14:sldId id="2147475296"/>
            <p14:sldId id="2147475297"/>
            <p14:sldId id="2147475298"/>
            <p14:sldId id="2147475299"/>
            <p14:sldId id="2147475300"/>
            <p14:sldId id="2147475301"/>
            <p14:sldId id="2147475302"/>
            <p14:sldId id="2147475303"/>
            <p14:sldId id="2147475304"/>
            <p14:sldId id="2147475305"/>
            <p14:sldId id="2147475306"/>
            <p14:sldId id="2147475307"/>
            <p14:sldId id="2147475308"/>
            <p14:sldId id="2147475309"/>
            <p14:sldId id="2147475310"/>
            <p14:sldId id="2147475311"/>
            <p14:sldId id="2147475312"/>
            <p14:sldId id="2147475313"/>
            <p14:sldId id="2147475314"/>
            <p14:sldId id="2147475315"/>
            <p14:sldId id="2147475316"/>
            <p14:sldId id="2147475317"/>
            <p14:sldId id="2147475318"/>
            <p14:sldId id="2147475319"/>
            <p14:sldId id="2147475320"/>
            <p14:sldId id="2147475321"/>
            <p14:sldId id="2147475322"/>
            <p14:sldId id="2147475323"/>
            <p14:sldId id="2147475324"/>
            <p14:sldId id="2147475325"/>
            <p14:sldId id="2147475326"/>
            <p14:sldId id="2147475327"/>
            <p14:sldId id="2147475328"/>
            <p14:sldId id="2147475329"/>
            <p14:sldId id="2147475330"/>
            <p14:sldId id="2147475331"/>
            <p14:sldId id="2147475332"/>
            <p14:sldId id="2147475333"/>
            <p14:sldId id="2147475334"/>
            <p14:sldId id="2147475335"/>
            <p14:sldId id="2147475336"/>
            <p14:sldId id="2147475337"/>
            <p14:sldId id="2147475338"/>
            <p14:sldId id="2147475339"/>
            <p14:sldId id="2147475340"/>
            <p14:sldId id="2147475341"/>
            <p14:sldId id="2147475342"/>
            <p14:sldId id="2147475343"/>
            <p14:sldId id="2147475344"/>
            <p14:sldId id="2147475345"/>
            <p14:sldId id="2147475346"/>
            <p14:sldId id="2147475347"/>
            <p14:sldId id="2147475348"/>
            <p14:sldId id="2147475349"/>
            <p14:sldId id="2147475350"/>
            <p14:sldId id="2147475351"/>
            <p14:sldId id="2147475352"/>
            <p14:sldId id="2147475353"/>
            <p14:sldId id="2147475354"/>
            <p14:sldId id="2147475355"/>
            <p14:sldId id="2147475356"/>
            <p14:sldId id="2147475357"/>
            <p14:sldId id="2147475358"/>
            <p14:sldId id="2147475359"/>
            <p14:sldId id="2147475360"/>
            <p14:sldId id="2147475361"/>
            <p14:sldId id="2147475362"/>
            <p14:sldId id="2147475363"/>
            <p14:sldId id="2147475364"/>
            <p14:sldId id="2147475365"/>
            <p14:sldId id="2147475366"/>
            <p14:sldId id="2147475367"/>
            <p14:sldId id="2147475368"/>
            <p14:sldId id="2147475369"/>
            <p14:sldId id="2147475370"/>
            <p14:sldId id="2147475371"/>
            <p14:sldId id="2147475372"/>
            <p14:sldId id="2147475373"/>
            <p14:sldId id="2147475374"/>
            <p14:sldId id="2147475375"/>
            <p14:sldId id="2147475376"/>
            <p14:sldId id="2147475377"/>
            <p14:sldId id="2147475378"/>
            <p14:sldId id="2147475379"/>
            <p14:sldId id="2147475380"/>
            <p14:sldId id="2147475381"/>
            <p14:sldId id="2147475382"/>
            <p14:sldId id="2147475383"/>
            <p14:sldId id="2147475384"/>
            <p14:sldId id="2147475385"/>
            <p14:sldId id="2147475386"/>
            <p14:sldId id="2147475387"/>
            <p14:sldId id="2147475388"/>
            <p14:sldId id="2147475389"/>
            <p14:sldId id="2147475390"/>
            <p14:sldId id="2147475391"/>
            <p14:sldId id="2147475392"/>
            <p14:sldId id="2147475393"/>
            <p14:sldId id="2147475394"/>
            <p14:sldId id="2147475395"/>
            <p14:sldId id="2147475396"/>
            <p14:sldId id="2147475397"/>
            <p14:sldId id="2147475398"/>
            <p14:sldId id="2147475399"/>
            <p14:sldId id="2147475400"/>
            <p14:sldId id="2147475401"/>
            <p14:sldId id="2147475402"/>
            <p14:sldId id="2147475403"/>
            <p14:sldId id="2147475404"/>
            <p14:sldId id="2147475405"/>
            <p14:sldId id="2147475406"/>
            <p14:sldId id="2147475407"/>
            <p14:sldId id="2147475408"/>
          </p14:sldIdLst>
        </p14:section>
        <p14:section name="Cumulative Product Shares" id="{3241FC3D-34AE-46FF-8908-673411DC4C50}">
          <p14:sldIdLst>
            <p14:sldId id="2147475409"/>
            <p14:sldId id="2147475410"/>
            <p14:sldId id="2147475411"/>
            <p14:sldId id="2147475412"/>
            <p14:sldId id="2147475413"/>
            <p14:sldId id="2147475414"/>
            <p14:sldId id="2147475415"/>
            <p14:sldId id="2147475416"/>
            <p14:sldId id="2147475417"/>
            <p14:sldId id="2147475418"/>
            <p14:sldId id="2147475419"/>
            <p14:sldId id="2147475420"/>
            <p14:sldId id="2147475421"/>
            <p14:sldId id="2147475422"/>
            <p14:sldId id="2147475423"/>
            <p14:sldId id="2147475424"/>
            <p14:sldId id="2147475425"/>
            <p14:sldId id="2147475426"/>
            <p14:sldId id="2147475427"/>
            <p14:sldId id="2147475428"/>
            <p14:sldId id="2147475429"/>
            <p14:sldId id="2147475430"/>
            <p14:sldId id="2147475431"/>
            <p14:sldId id="2147475432"/>
            <p14:sldId id="2147475433"/>
            <p14:sldId id="2147475434"/>
            <p14:sldId id="2147475435"/>
            <p14:sldId id="2147475436"/>
            <p14:sldId id="2147475437"/>
            <p14:sldId id="2147475438"/>
            <p14:sldId id="2147475439"/>
            <p14:sldId id="2147475440"/>
            <p14:sldId id="2147475441"/>
            <p14:sldId id="2147475442"/>
            <p14:sldId id="2147475443"/>
            <p14:sldId id="2147475444"/>
            <p14:sldId id="2147475445"/>
            <p14:sldId id="2147475446"/>
            <p14:sldId id="2147475447"/>
            <p14:sldId id="2147475448"/>
            <p14:sldId id="2147475449"/>
            <p14:sldId id="2147475450"/>
            <p14:sldId id="2147475451"/>
            <p14:sldId id="2147475452"/>
            <p14:sldId id="2147475453"/>
            <p14:sldId id="2147475454"/>
            <p14:sldId id="2147475455"/>
            <p14:sldId id="2147475456"/>
            <p14:sldId id="2147475457"/>
            <p14:sldId id="2147475458"/>
            <p14:sldId id="2147475459"/>
            <p14:sldId id="2147475460"/>
            <p14:sldId id="2147475461"/>
            <p14:sldId id="2147475462"/>
            <p14:sldId id="2147475463"/>
            <p14:sldId id="2147475464"/>
            <p14:sldId id="2147475465"/>
            <p14:sldId id="2147475466"/>
            <p14:sldId id="2147475467"/>
            <p14:sldId id="2147475468"/>
            <p14:sldId id="2147475469"/>
            <p14:sldId id="2147475470"/>
            <p14:sldId id="2147475471"/>
            <p14:sldId id="2147475472"/>
            <p14:sldId id="2147475473"/>
            <p14:sldId id="2147475474"/>
            <p14:sldId id="2147475475"/>
            <p14:sldId id="2147475476"/>
            <p14:sldId id="2147475477"/>
            <p14:sldId id="2147475478"/>
            <p14:sldId id="2147475479"/>
            <p14:sldId id="2147475480"/>
            <p14:sldId id="2147475481"/>
            <p14:sldId id="2147475482"/>
            <p14:sldId id="2147475483"/>
            <p14:sldId id="2147475484"/>
            <p14:sldId id="2147475485"/>
            <p14:sldId id="2147475486"/>
            <p14:sldId id="2147475487"/>
            <p14:sldId id="2147475488"/>
            <p14:sldId id="2147475489"/>
            <p14:sldId id="2147475490"/>
            <p14:sldId id="2147475491"/>
            <p14:sldId id="2147475492"/>
            <p14:sldId id="2147475493"/>
            <p14:sldId id="2147475494"/>
            <p14:sldId id="2147475495"/>
            <p14:sldId id="2147475496"/>
            <p14:sldId id="2147475497"/>
            <p14:sldId id="2147475498"/>
            <p14:sldId id="2147475499"/>
            <p14:sldId id="2147475500"/>
            <p14:sldId id="2147475501"/>
            <p14:sldId id="2147475502"/>
            <p14:sldId id="2147475503"/>
            <p14:sldId id="2147475504"/>
            <p14:sldId id="2147475505"/>
            <p14:sldId id="2147475506"/>
            <p14:sldId id="2147475507"/>
            <p14:sldId id="2147475508"/>
            <p14:sldId id="2147475509"/>
            <p14:sldId id="2147475510"/>
            <p14:sldId id="2147475511"/>
            <p14:sldId id="2147475512"/>
            <p14:sldId id="2147475513"/>
            <p14:sldId id="2147475514"/>
            <p14:sldId id="2147475515"/>
            <p14:sldId id="2147475516"/>
            <p14:sldId id="2147475517"/>
            <p14:sldId id="2147475518"/>
            <p14:sldId id="2147475519"/>
            <p14:sldId id="2147475520"/>
            <p14:sldId id="2147475521"/>
            <p14:sldId id="2147475522"/>
            <p14:sldId id="2147475523"/>
            <p14:sldId id="2147475524"/>
            <p14:sldId id="2147475525"/>
            <p14:sldId id="2147475526"/>
            <p14:sldId id="2147475527"/>
            <p14:sldId id="2147475528"/>
            <p14:sldId id="2147475529"/>
            <p14:sldId id="2147475530"/>
            <p14:sldId id="2147475531"/>
            <p14:sldId id="2147475532"/>
            <p14:sldId id="2147475533"/>
            <p14:sldId id="2147475534"/>
            <p14:sldId id="2147475535"/>
            <p14:sldId id="2147475536"/>
            <p14:sldId id="2147475537"/>
            <p14:sldId id="2147475538"/>
            <p14:sldId id="2147475539"/>
            <p14:sldId id="2147475540"/>
            <p14:sldId id="2147475541"/>
            <p14:sldId id="2147475542"/>
            <p14:sldId id="2147475543"/>
            <p14:sldId id="2147475544"/>
            <p14:sldId id="2147475545"/>
            <p14:sldId id="2147475546"/>
            <p14:sldId id="2147475547"/>
            <p14:sldId id="2147475548"/>
            <p14:sldId id="2147475549"/>
            <p14:sldId id="2147475550"/>
            <p14:sldId id="2147475551"/>
            <p14:sldId id="2147475552"/>
            <p14:sldId id="2147475553"/>
            <p14:sldId id="2147475554"/>
            <p14:sldId id="2147475555"/>
            <p14:sldId id="2147475556"/>
            <p14:sldId id="2147475557"/>
            <p14:sldId id="2147475558"/>
            <p14:sldId id="2147475559"/>
            <p14:sldId id="2147475560"/>
            <p14:sldId id="2147475561"/>
            <p14:sldId id="2147475562"/>
            <p14:sldId id="2147475563"/>
            <p14:sldId id="2147475564"/>
            <p14:sldId id="2147475565"/>
            <p14:sldId id="2147475566"/>
            <p14:sldId id="2147475567"/>
            <p14:sldId id="2147475568"/>
            <p14:sldId id="2147475569"/>
            <p14:sldId id="2147475570"/>
            <p14:sldId id="2147475571"/>
            <p14:sldId id="2147475572"/>
            <p14:sldId id="2147475573"/>
            <p14:sldId id="2147475574"/>
            <p14:sldId id="2147475575"/>
            <p14:sldId id="2147475576"/>
            <p14:sldId id="2147475577"/>
            <p14:sldId id="2147475578"/>
            <p14:sldId id="2147475579"/>
            <p14:sldId id="2147475580"/>
            <p14:sldId id="2147475581"/>
            <p14:sldId id="2147475582"/>
            <p14:sldId id="2147475583"/>
            <p14:sldId id="2147475584"/>
            <p14:sldId id="2147475585"/>
            <p14:sldId id="2147475586"/>
            <p14:sldId id="2147475587"/>
            <p14:sldId id="2147475588"/>
            <p14:sldId id="2147475589"/>
            <p14:sldId id="2147475590"/>
            <p14:sldId id="2147475591"/>
            <p14:sldId id="2147475592"/>
            <p14:sldId id="2147475593"/>
            <p14:sldId id="2147475594"/>
            <p14:sldId id="2147475595"/>
            <p14:sldId id="2147475596"/>
            <p14:sldId id="2147475597"/>
            <p14:sldId id="2147475598"/>
            <p14:sldId id="2147475599"/>
            <p14:sldId id="2147475600"/>
            <p14:sldId id="2147475601"/>
            <p14:sldId id="2147475602"/>
            <p14:sldId id="2147475603"/>
            <p14:sldId id="2147475604"/>
            <p14:sldId id="2147475605"/>
            <p14:sldId id="2147475606"/>
            <p14:sldId id="2147475607"/>
            <p14:sldId id="2147475608"/>
            <p14:sldId id="2147475609"/>
            <p14:sldId id="2147475610"/>
            <p14:sldId id="2147475611"/>
            <p14:sldId id="2147475612"/>
            <p14:sldId id="2147475613"/>
            <p14:sldId id="2147475614"/>
            <p14:sldId id="2147475615"/>
            <p14:sldId id="2147475616"/>
            <p14:sldId id="2147475617"/>
            <p14:sldId id="2147475618"/>
            <p14:sldId id="2147475619"/>
            <p14:sldId id="2147475620"/>
            <p14:sldId id="2147475621"/>
            <p14:sldId id="2147475622"/>
            <p14:sldId id="2147475623"/>
            <p14:sldId id="2147475624"/>
            <p14:sldId id="2147475625"/>
            <p14:sldId id="2147475626"/>
            <p14:sldId id="2147475627"/>
            <p14:sldId id="2147475628"/>
            <p14:sldId id="2147475629"/>
            <p14:sldId id="2147475630"/>
            <p14:sldId id="2147475631"/>
            <p14:sldId id="2147475632"/>
            <p14:sldId id="2147475633"/>
            <p14:sldId id="2147475634"/>
            <p14:sldId id="2147475635"/>
            <p14:sldId id="2147475636"/>
            <p14:sldId id="2147475637"/>
            <p14:sldId id="2147475638"/>
            <p14:sldId id="2147475639"/>
            <p14:sldId id="2147475640"/>
            <p14:sldId id="2147475641"/>
            <p14:sldId id="2147475642"/>
            <p14:sldId id="2147475643"/>
            <p14:sldId id="2147475644"/>
            <p14:sldId id="2147475645"/>
            <p14:sldId id="2147475646"/>
            <p14:sldId id="2147475647"/>
            <p14:sldId id="2147475648"/>
          </p14:sldIdLst>
        </p14:section>
        <p14:section name="Manuf Cumulative Product Share" id="{3BE767FF-1F1B-4560-A1E5-0A858EA33C70}">
          <p14:sldIdLst>
            <p14:sldId id="2147475649"/>
            <p14:sldId id="2147475650"/>
            <p14:sldId id="2147475651"/>
            <p14:sldId id="2147475652"/>
            <p14:sldId id="2147475653"/>
            <p14:sldId id="2147475654"/>
            <p14:sldId id="2147475655"/>
            <p14:sldId id="2147475656"/>
            <p14:sldId id="2147475657"/>
            <p14:sldId id="2147475658"/>
            <p14:sldId id="2147475659"/>
            <p14:sldId id="2147475660"/>
            <p14:sldId id="2147475661"/>
            <p14:sldId id="2147475662"/>
            <p14:sldId id="2147475663"/>
            <p14:sldId id="2147475664"/>
            <p14:sldId id="2147475665"/>
            <p14:sldId id="2147475666"/>
            <p14:sldId id="2147475667"/>
            <p14:sldId id="2147475668"/>
            <p14:sldId id="2147475669"/>
            <p14:sldId id="2147475670"/>
            <p14:sldId id="2147475671"/>
            <p14:sldId id="2147475672"/>
            <p14:sldId id="2147475673"/>
            <p14:sldId id="2147475674"/>
            <p14:sldId id="2147475675"/>
            <p14:sldId id="2147475676"/>
            <p14:sldId id="2147475677"/>
            <p14:sldId id="2147475678"/>
            <p14:sldId id="2147475679"/>
            <p14:sldId id="2147475680"/>
            <p14:sldId id="2147475681"/>
            <p14:sldId id="2147475682"/>
            <p14:sldId id="2147475683"/>
            <p14:sldId id="2147475684"/>
            <p14:sldId id="2147475685"/>
            <p14:sldId id="2147475686"/>
            <p14:sldId id="2147475687"/>
            <p14:sldId id="2147475688"/>
            <p14:sldId id="2147475689"/>
            <p14:sldId id="2147475690"/>
            <p14:sldId id="2147475691"/>
            <p14:sldId id="2147475692"/>
            <p14:sldId id="2147475693"/>
            <p14:sldId id="2147475694"/>
            <p14:sldId id="2147475695"/>
            <p14:sldId id="2147475696"/>
            <p14:sldId id="2147475697"/>
            <p14:sldId id="2147475698"/>
            <p14:sldId id="2147475699"/>
            <p14:sldId id="2147475700"/>
            <p14:sldId id="2147475701"/>
            <p14:sldId id="2147475702"/>
            <p14:sldId id="2147475703"/>
            <p14:sldId id="2147475704"/>
            <p14:sldId id="2147475705"/>
            <p14:sldId id="2147475706"/>
            <p14:sldId id="2147475707"/>
            <p14:sldId id="2147475708"/>
            <p14:sldId id="2147475709"/>
            <p14:sldId id="2147475710"/>
            <p14:sldId id="2147475711"/>
            <p14:sldId id="2147475712"/>
            <p14:sldId id="2147475713"/>
            <p14:sldId id="2147475714"/>
            <p14:sldId id="2147475715"/>
            <p14:sldId id="2147475716"/>
            <p14:sldId id="2147475717"/>
            <p14:sldId id="2147475718"/>
            <p14:sldId id="2147475719"/>
            <p14:sldId id="2147475720"/>
            <p14:sldId id="2147475721"/>
            <p14:sldId id="2147475722"/>
            <p14:sldId id="2147475723"/>
            <p14:sldId id="2147475724"/>
            <p14:sldId id="2147475725"/>
            <p14:sldId id="2147475726"/>
            <p14:sldId id="2147475727"/>
            <p14:sldId id="2147475728"/>
            <p14:sldId id="2147475729"/>
            <p14:sldId id="2147475730"/>
            <p14:sldId id="2147475731"/>
            <p14:sldId id="2147475732"/>
            <p14:sldId id="2147475733"/>
            <p14:sldId id="2147475734"/>
            <p14:sldId id="2147475735"/>
            <p14:sldId id="2147475736"/>
            <p14:sldId id="2147475737"/>
            <p14:sldId id="2147475738"/>
            <p14:sldId id="2147475739"/>
            <p14:sldId id="2147475740"/>
            <p14:sldId id="2147475741"/>
            <p14:sldId id="2147475742"/>
            <p14:sldId id="2147475743"/>
            <p14:sldId id="2147475744"/>
            <p14:sldId id="2147475745"/>
            <p14:sldId id="2147475746"/>
            <p14:sldId id="2147475747"/>
            <p14:sldId id="2147475748"/>
            <p14:sldId id="2147475749"/>
            <p14:sldId id="2147475750"/>
            <p14:sldId id="2147475751"/>
            <p14:sldId id="2147475752"/>
            <p14:sldId id="2147475753"/>
            <p14:sldId id="2147475754"/>
            <p14:sldId id="2147475755"/>
            <p14:sldId id="2147475756"/>
            <p14:sldId id="2147475757"/>
            <p14:sldId id="2147475758"/>
            <p14:sldId id="2147475759"/>
            <p14:sldId id="2147475760"/>
            <p14:sldId id="2147475761"/>
            <p14:sldId id="2147475762"/>
            <p14:sldId id="2147475763"/>
            <p14:sldId id="2147475764"/>
            <p14:sldId id="2147475765"/>
            <p14:sldId id="2147475766"/>
            <p14:sldId id="2147475767"/>
            <p14:sldId id="2147475768"/>
            <p14:sldId id="2147475769"/>
            <p14:sldId id="2147475770"/>
            <p14:sldId id="2147475771"/>
            <p14:sldId id="2147475772"/>
            <p14:sldId id="2147475773"/>
            <p14:sldId id="2147475774"/>
            <p14:sldId id="2147475775"/>
            <p14:sldId id="2147475776"/>
            <p14:sldId id="2147475777"/>
            <p14:sldId id="2147475778"/>
            <p14:sldId id="2147475779"/>
            <p14:sldId id="2147475780"/>
            <p14:sldId id="2147475781"/>
            <p14:sldId id="2147475782"/>
            <p14:sldId id="2147475783"/>
            <p14:sldId id="2147475784"/>
            <p14:sldId id="2147475785"/>
            <p14:sldId id="2147475786"/>
            <p14:sldId id="2147475787"/>
            <p14:sldId id="2147475788"/>
            <p14:sldId id="2147475789"/>
            <p14:sldId id="2147475790"/>
            <p14:sldId id="2147475791"/>
            <p14:sldId id="2147475792"/>
            <p14:sldId id="2147475793"/>
            <p14:sldId id="2147475794"/>
            <p14:sldId id="2147475795"/>
            <p14:sldId id="2147475796"/>
            <p14:sldId id="2147475797"/>
            <p14:sldId id="2147475798"/>
            <p14:sldId id="2147475799"/>
            <p14:sldId id="2147475800"/>
            <p14:sldId id="2147475801"/>
            <p14:sldId id="2147475802"/>
            <p14:sldId id="2147475803"/>
            <p14:sldId id="2147475804"/>
            <p14:sldId id="2147475805"/>
            <p14:sldId id="2147475806"/>
            <p14:sldId id="2147475807"/>
            <p14:sldId id="2147475808"/>
            <p14:sldId id="2147475809"/>
            <p14:sldId id="2147475810"/>
            <p14:sldId id="2147475811"/>
            <p14:sldId id="2147475812"/>
            <p14:sldId id="2147475813"/>
            <p14:sldId id="2147475814"/>
            <p14:sldId id="2147475815"/>
            <p14:sldId id="2147475816"/>
            <p14:sldId id="2147475817"/>
            <p14:sldId id="2147475818"/>
            <p14:sldId id="2147475819"/>
            <p14:sldId id="2147475820"/>
            <p14:sldId id="2147475821"/>
            <p14:sldId id="2147475822"/>
            <p14:sldId id="2147475823"/>
            <p14:sldId id="2147475824"/>
            <p14:sldId id="2147475825"/>
            <p14:sldId id="2147475826"/>
            <p14:sldId id="2147475827"/>
            <p14:sldId id="2147475828"/>
            <p14:sldId id="2147475829"/>
            <p14:sldId id="2147475830"/>
            <p14:sldId id="2147475831"/>
            <p14:sldId id="2147475832"/>
            <p14:sldId id="2147475833"/>
            <p14:sldId id="2147475834"/>
            <p14:sldId id="2147475835"/>
            <p14:sldId id="2147475836"/>
            <p14:sldId id="2147475837"/>
            <p14:sldId id="2147475838"/>
            <p14:sldId id="2147475839"/>
            <p14:sldId id="2147475840"/>
          </p14:sldIdLst>
        </p14:section>
        <p14:section name="Top 20 cumulative share" id="{C926FFA0-CB6E-40E9-9A66-7AED34E0C4E4}">
          <p14:sldIdLst>
            <p14:sldId id="2147475841"/>
            <p14:sldId id="2147475842"/>
            <p14:sldId id="2147475843"/>
            <p14:sldId id="2147475844"/>
            <p14:sldId id="2147475845"/>
            <p14:sldId id="2147475846"/>
            <p14:sldId id="2147475847"/>
            <p14:sldId id="2147475848"/>
            <p14:sldId id="2147475849"/>
            <p14:sldId id="2147475850"/>
            <p14:sldId id="2147475851"/>
            <p14:sldId id="2147475852"/>
            <p14:sldId id="2147475853"/>
            <p14:sldId id="2147475854"/>
            <p14:sldId id="2147475855"/>
            <p14:sldId id="2147475856"/>
            <p14:sldId id="2147475857"/>
            <p14:sldId id="2147475858"/>
            <p14:sldId id="2147475859"/>
            <p14:sldId id="2147475860"/>
            <p14:sldId id="2147475861"/>
            <p14:sldId id="2147475862"/>
            <p14:sldId id="2147475863"/>
            <p14:sldId id="2147475864"/>
            <p14:sldId id="2147475865"/>
            <p14:sldId id="2147475866"/>
            <p14:sldId id="2147475867"/>
            <p14:sldId id="2147475868"/>
            <p14:sldId id="2147475869"/>
            <p14:sldId id="2147475870"/>
            <p14:sldId id="2147475871"/>
            <p14:sldId id="2147475872"/>
            <p14:sldId id="2147475873"/>
            <p14:sldId id="2147475874"/>
            <p14:sldId id="2147475875"/>
            <p14:sldId id="2147475876"/>
            <p14:sldId id="2147475877"/>
            <p14:sldId id="2147475878"/>
            <p14:sldId id="2147475879"/>
            <p14:sldId id="2147475880"/>
            <p14:sldId id="2147475881"/>
            <p14:sldId id="2147475882"/>
            <p14:sldId id="2147475883"/>
            <p14:sldId id="2147475884"/>
            <p14:sldId id="2147475885"/>
            <p14:sldId id="2147475886"/>
            <p14:sldId id="2147475887"/>
            <p14:sldId id="2147475888"/>
            <p14:sldId id="2147475889"/>
            <p14:sldId id="2147475890"/>
            <p14:sldId id="2147475891"/>
            <p14:sldId id="2147475892"/>
            <p14:sldId id="2147475893"/>
            <p14:sldId id="2147475894"/>
            <p14:sldId id="2147475895"/>
            <p14:sldId id="2147475896"/>
            <p14:sldId id="2147475897"/>
            <p14:sldId id="2147475898"/>
            <p14:sldId id="2147475899"/>
            <p14:sldId id="2147475900"/>
            <p14:sldId id="2147475901"/>
            <p14:sldId id="2147475902"/>
            <p14:sldId id="2147475903"/>
            <p14:sldId id="2147475904"/>
            <p14:sldId id="2147475905"/>
            <p14:sldId id="2147475906"/>
            <p14:sldId id="2147475907"/>
            <p14:sldId id="2147475908"/>
            <p14:sldId id="2147475909"/>
            <p14:sldId id="2147475910"/>
            <p14:sldId id="2147475911"/>
            <p14:sldId id="2147475912"/>
            <p14:sldId id="2147475913"/>
            <p14:sldId id="2147475914"/>
            <p14:sldId id="2147475915"/>
            <p14:sldId id="2147475916"/>
            <p14:sldId id="2147475917"/>
            <p14:sldId id="2147475918"/>
            <p14:sldId id="2147475919"/>
            <p14:sldId id="2147475920"/>
            <p14:sldId id="2147475921"/>
            <p14:sldId id="2147475922"/>
            <p14:sldId id="2147475923"/>
            <p14:sldId id="2147475924"/>
            <p14:sldId id="2147475925"/>
            <p14:sldId id="2147475926"/>
            <p14:sldId id="2147475927"/>
            <p14:sldId id="2147475928"/>
            <p14:sldId id="2147475929"/>
            <p14:sldId id="2147475930"/>
            <p14:sldId id="2147475931"/>
            <p14:sldId id="2147475932"/>
            <p14:sldId id="2147475933"/>
            <p14:sldId id="2147475934"/>
            <p14:sldId id="2147475935"/>
            <p14:sldId id="2147475936"/>
            <p14:sldId id="2147475937"/>
            <p14:sldId id="2147475938"/>
            <p14:sldId id="2147475939"/>
            <p14:sldId id="2147475940"/>
            <p14:sldId id="2147475941"/>
            <p14:sldId id="2147475942"/>
            <p14:sldId id="2147475943"/>
            <p14:sldId id="2147475944"/>
            <p14:sldId id="2147475945"/>
            <p14:sldId id="2147475946"/>
            <p14:sldId id="2147475947"/>
            <p14:sldId id="2147475948"/>
            <p14:sldId id="2147475949"/>
            <p14:sldId id="2147475950"/>
            <p14:sldId id="2147475951"/>
            <p14:sldId id="2147475952"/>
            <p14:sldId id="2147475953"/>
            <p14:sldId id="2147475954"/>
            <p14:sldId id="2147475955"/>
            <p14:sldId id="2147475956"/>
            <p14:sldId id="2147475957"/>
            <p14:sldId id="2147475958"/>
            <p14:sldId id="2147475959"/>
            <p14:sldId id="2147475960"/>
            <p14:sldId id="2147475961"/>
            <p14:sldId id="2147475962"/>
            <p14:sldId id="2147475963"/>
            <p14:sldId id="2147475964"/>
            <p14:sldId id="2147475965"/>
            <p14:sldId id="2147475966"/>
            <p14:sldId id="2147475967"/>
            <p14:sldId id="2147475968"/>
            <p14:sldId id="2147475969"/>
            <p14:sldId id="2147475970"/>
            <p14:sldId id="2147475971"/>
            <p14:sldId id="2147475972"/>
            <p14:sldId id="2147475973"/>
            <p14:sldId id="2147475974"/>
            <p14:sldId id="2147475975"/>
            <p14:sldId id="2147475976"/>
            <p14:sldId id="2147475977"/>
            <p14:sldId id="2147475978"/>
            <p14:sldId id="2147475979"/>
            <p14:sldId id="2147475980"/>
            <p14:sldId id="2147475981"/>
            <p14:sldId id="2147475982"/>
            <p14:sldId id="2147475983"/>
            <p14:sldId id="2147475984"/>
            <p14:sldId id="2147475985"/>
            <p14:sldId id="2147475986"/>
            <p14:sldId id="2147475987"/>
            <p14:sldId id="2147475988"/>
            <p14:sldId id="2147475989"/>
            <p14:sldId id="2147475990"/>
            <p14:sldId id="2147475991"/>
            <p14:sldId id="2147475992"/>
            <p14:sldId id="2147475993"/>
            <p14:sldId id="2147475994"/>
            <p14:sldId id="2147475995"/>
            <p14:sldId id="2147475996"/>
            <p14:sldId id="2147475997"/>
            <p14:sldId id="2147475998"/>
            <p14:sldId id="2147475999"/>
            <p14:sldId id="2147476000"/>
            <p14:sldId id="2147476001"/>
            <p14:sldId id="2147476002"/>
            <p14:sldId id="2147476003"/>
            <p14:sldId id="2147476004"/>
            <p14:sldId id="2147476005"/>
            <p14:sldId id="2147476006"/>
            <p14:sldId id="2147476007"/>
            <p14:sldId id="2147476008"/>
            <p14:sldId id="2147476009"/>
            <p14:sldId id="2147476010"/>
            <p14:sldId id="2147476011"/>
            <p14:sldId id="2147476012"/>
            <p14:sldId id="2147476013"/>
            <p14:sldId id="2147476014"/>
            <p14:sldId id="2147476015"/>
            <p14:sldId id="2147476016"/>
            <p14:sldId id="2147476017"/>
            <p14:sldId id="2147476018"/>
            <p14:sldId id="2147476019"/>
            <p14:sldId id="2147476020"/>
            <p14:sldId id="2147476021"/>
            <p14:sldId id="2147476022"/>
            <p14:sldId id="2147476023"/>
            <p14:sldId id="2147476024"/>
            <p14:sldId id="2147476025"/>
            <p14:sldId id="2147476026"/>
            <p14:sldId id="2147476027"/>
            <p14:sldId id="2147476028"/>
            <p14:sldId id="2147476029"/>
            <p14:sldId id="2147476030"/>
            <p14:sldId id="2147476031"/>
            <p14:sldId id="2147476032"/>
            <p14:sldId id="2147476033"/>
            <p14:sldId id="2147476034"/>
            <p14:sldId id="2147476035"/>
            <p14:sldId id="2147476036"/>
            <p14:sldId id="2147476037"/>
            <p14:sldId id="2147476038"/>
            <p14:sldId id="2147476039"/>
            <p14:sldId id="2147476040"/>
            <p14:sldId id="2147476041"/>
            <p14:sldId id="2147476042"/>
            <p14:sldId id="2147476043"/>
            <p14:sldId id="2147476044"/>
            <p14:sldId id="2147476045"/>
            <p14:sldId id="2147476046"/>
            <p14:sldId id="2147476047"/>
            <p14:sldId id="2147476048"/>
            <p14:sldId id="2147476049"/>
            <p14:sldId id="2147476050"/>
            <p14:sldId id="2147476051"/>
            <p14:sldId id="2147476052"/>
            <p14:sldId id="2147476053"/>
            <p14:sldId id="2147476054"/>
            <p14:sldId id="2147476055"/>
            <p14:sldId id="2147476056"/>
            <p14:sldId id="2147476057"/>
            <p14:sldId id="2147476058"/>
            <p14:sldId id="2147476059"/>
            <p14:sldId id="2147476060"/>
            <p14:sldId id="2147476061"/>
            <p14:sldId id="2147476062"/>
            <p14:sldId id="2147476063"/>
            <p14:sldId id="2147476064"/>
            <p14:sldId id="2147476065"/>
            <p14:sldId id="2147476066"/>
            <p14:sldId id="2147476067"/>
            <p14:sldId id="2147476068"/>
            <p14:sldId id="2147476069"/>
            <p14:sldId id="2147476070"/>
            <p14:sldId id="2147476071"/>
            <p14:sldId id="2147476072"/>
            <p14:sldId id="2147476073"/>
            <p14:sldId id="2147476074"/>
            <p14:sldId id="2147476075"/>
            <p14:sldId id="2147476076"/>
            <p14:sldId id="2147476077"/>
            <p14:sldId id="2147476078"/>
            <p14:sldId id="2147476079"/>
            <p14:sldId id="2147476080"/>
          </p14:sldIdLst>
        </p14:section>
        <p14:section name="SKU Productivity Analysis with TM%" id="{ECD4B81B-6304-4771-8478-2B5F2F4BC7D8}">
          <p14:sldIdLst>
            <p14:sldId id="2147476081"/>
            <p14:sldId id="2147476082"/>
            <p14:sldId id="2147476083"/>
            <p14:sldId id="2147476084"/>
            <p14:sldId id="2147476085"/>
            <p14:sldId id="2147476086"/>
            <p14:sldId id="2147476087"/>
            <p14:sldId id="2147476088"/>
            <p14:sldId id="2147476089"/>
            <p14:sldId id="2147476090"/>
            <p14:sldId id="2147476091"/>
            <p14:sldId id="2147476092"/>
            <p14:sldId id="2147476093"/>
            <p14:sldId id="2147476094"/>
            <p14:sldId id="2147476095"/>
            <p14:sldId id="2147476096"/>
            <p14:sldId id="2147476097"/>
            <p14:sldId id="2147476098"/>
            <p14:sldId id="2147476099"/>
            <p14:sldId id="2147476100"/>
            <p14:sldId id="2147476101"/>
            <p14:sldId id="2147476102"/>
            <p14:sldId id="2147476103"/>
            <p14:sldId id="2147476104"/>
            <p14:sldId id="2147476105"/>
            <p14:sldId id="2147476106"/>
            <p14:sldId id="2147476107"/>
            <p14:sldId id="2147476108"/>
            <p14:sldId id="2147476109"/>
            <p14:sldId id="2147476110"/>
            <p14:sldId id="2147476111"/>
            <p14:sldId id="2147476112"/>
            <p14:sldId id="2147476113"/>
            <p14:sldId id="2147476114"/>
            <p14:sldId id="2147476115"/>
            <p14:sldId id="2147476116"/>
            <p14:sldId id="2147476117"/>
            <p14:sldId id="2147476118"/>
            <p14:sldId id="2147476119"/>
            <p14:sldId id="2147476120"/>
            <p14:sldId id="2147476121"/>
            <p14:sldId id="2147476122"/>
            <p14:sldId id="2147476123"/>
            <p14:sldId id="2147476124"/>
            <p14:sldId id="2147476125"/>
            <p14:sldId id="2147476126"/>
            <p14:sldId id="2147476127"/>
            <p14:sldId id="2147476128"/>
            <p14:sldId id="2147476129"/>
            <p14:sldId id="2147476130"/>
            <p14:sldId id="2147476131"/>
            <p14:sldId id="2147476132"/>
            <p14:sldId id="2147476133"/>
            <p14:sldId id="2147476134"/>
            <p14:sldId id="2147476135"/>
            <p14:sldId id="2147476136"/>
            <p14:sldId id="2147476137"/>
            <p14:sldId id="2147476138"/>
            <p14:sldId id="2147476139"/>
            <p14:sldId id="2147476140"/>
            <p14:sldId id="2147476141"/>
            <p14:sldId id="2147476142"/>
            <p14:sldId id="2147476143"/>
            <p14:sldId id="2147476144"/>
            <p14:sldId id="2147476145"/>
            <p14:sldId id="2147476146"/>
            <p14:sldId id="2147476147"/>
            <p14:sldId id="2147476148"/>
            <p14:sldId id="2147476149"/>
            <p14:sldId id="2147476150"/>
            <p14:sldId id="2147476151"/>
            <p14:sldId id="2147476152"/>
            <p14:sldId id="2147476153"/>
            <p14:sldId id="2147476154"/>
            <p14:sldId id="2147476155"/>
            <p14:sldId id="2147476156"/>
            <p14:sldId id="2147476157"/>
            <p14:sldId id="2147476158"/>
            <p14:sldId id="2147476159"/>
            <p14:sldId id="2147476160"/>
            <p14:sldId id="2147476161"/>
            <p14:sldId id="2147476162"/>
            <p14:sldId id="2147476163"/>
            <p14:sldId id="2147476164"/>
            <p14:sldId id="2147476165"/>
            <p14:sldId id="2147476166"/>
            <p14:sldId id="2147476167"/>
            <p14:sldId id="2147476168"/>
            <p14:sldId id="2147476169"/>
            <p14:sldId id="2147476170"/>
            <p14:sldId id="2147476171"/>
            <p14:sldId id="2147476172"/>
            <p14:sldId id="2147476173"/>
            <p14:sldId id="2147476174"/>
          </p14:sldIdLst>
        </p14:section>
        <p14:section name="SKU Productivity Analysis with WD" id="{B035826A-AC51-4513-B60A-401BD44B3894}">
          <p14:sldIdLst>
            <p14:sldId id="2147476175"/>
            <p14:sldId id="2147476176"/>
            <p14:sldId id="2147476177"/>
            <p14:sldId id="2147476178"/>
            <p14:sldId id="2147476179"/>
            <p14:sldId id="2147476180"/>
            <p14:sldId id="2147476181"/>
            <p14:sldId id="2147476182"/>
            <p14:sldId id="2147476183"/>
            <p14:sldId id="2147476184"/>
            <p14:sldId id="2147476185"/>
            <p14:sldId id="2147476186"/>
            <p14:sldId id="2147476187"/>
            <p14:sldId id="2147476188"/>
            <p14:sldId id="2147476189"/>
            <p14:sldId id="2147476190"/>
            <p14:sldId id="2147476191"/>
            <p14:sldId id="2147476192"/>
            <p14:sldId id="2147476193"/>
            <p14:sldId id="2147476194"/>
            <p14:sldId id="2147476195"/>
            <p14:sldId id="2147476196"/>
            <p14:sldId id="2147476197"/>
            <p14:sldId id="2147476198"/>
            <p14:sldId id="2147476199"/>
            <p14:sldId id="2147476200"/>
            <p14:sldId id="2147476201"/>
            <p14:sldId id="2147476202"/>
            <p14:sldId id="2147476203"/>
            <p14:sldId id="2147476204"/>
            <p14:sldId id="2147476205"/>
            <p14:sldId id="2147476206"/>
            <p14:sldId id="2147476207"/>
            <p14:sldId id="2147476208"/>
            <p14:sldId id="2147476209"/>
            <p14:sldId id="2147476210"/>
            <p14:sldId id="2147476211"/>
            <p14:sldId id="2147476212"/>
            <p14:sldId id="2147476213"/>
            <p14:sldId id="2147476214"/>
            <p14:sldId id="2147476215"/>
            <p14:sldId id="2147476216"/>
            <p14:sldId id="2147476217"/>
            <p14:sldId id="2147476218"/>
            <p14:sldId id="2147476219"/>
            <p14:sldId id="2147476220"/>
            <p14:sldId id="2147476221"/>
            <p14:sldId id="2147476222"/>
            <p14:sldId id="2147476223"/>
            <p14:sldId id="2147476224"/>
            <p14:sldId id="2147476225"/>
            <p14:sldId id="2147476226"/>
            <p14:sldId id="2147476227"/>
            <p14:sldId id="2147476228"/>
            <p14:sldId id="2147476229"/>
            <p14:sldId id="2147476230"/>
            <p14:sldId id="2147476231"/>
            <p14:sldId id="2147476232"/>
            <p14:sldId id="2147476233"/>
            <p14:sldId id="2147476234"/>
            <p14:sldId id="2147476235"/>
            <p14:sldId id="2147476236"/>
            <p14:sldId id="2147476237"/>
            <p14:sldId id="2147476238"/>
            <p14:sldId id="2147476239"/>
            <p14:sldId id="2147476240"/>
            <p14:sldId id="2147476241"/>
            <p14:sldId id="2147476242"/>
            <p14:sldId id="2147476243"/>
            <p14:sldId id="2147476244"/>
            <p14:sldId id="2147476245"/>
            <p14:sldId id="2147476246"/>
            <p14:sldId id="2147476247"/>
            <p14:sldId id="2147476248"/>
            <p14:sldId id="2147476249"/>
            <p14:sldId id="2147476250"/>
            <p14:sldId id="2147476251"/>
            <p14:sldId id="2147476252"/>
            <p14:sldId id="2147476253"/>
            <p14:sldId id="2147476254"/>
            <p14:sldId id="2147476255"/>
            <p14:sldId id="2147476256"/>
            <p14:sldId id="2147476257"/>
            <p14:sldId id="2147476258"/>
            <p14:sldId id="2147476259"/>
            <p14:sldId id="2147476260"/>
            <p14:sldId id="2147476261"/>
            <p14:sldId id="2147476262"/>
            <p14:sldId id="2147476263"/>
            <p14:sldId id="2147476264"/>
            <p14:sldId id="2147476265"/>
            <p14:sldId id="2147476266"/>
            <p14:sldId id="2147476267"/>
            <p14:sldId id="2147476268"/>
          </p14:sldIdLst>
        </p14:section>
        <p14:section name="Sectors Fair Share" id="{74A02AC2-6242-470B-8CA6-5A6ACF83DF00}">
          <p14:sldIdLst>
            <p14:sldId id="2147476269"/>
            <p14:sldId id="2147476270"/>
            <p14:sldId id="2147476271"/>
            <p14:sldId id="2147476272"/>
            <p14:sldId id="2147476273"/>
            <p14:sldId id="2147476274"/>
            <p14:sldId id="2147476275"/>
            <p14:sldId id="2147476276"/>
            <p14:sldId id="2147476277"/>
            <p14:sldId id="2147476278"/>
            <p14:sldId id="2147476279"/>
            <p14:sldId id="2147476280"/>
            <p14:sldId id="2147476281"/>
            <p14:sldId id="2147476282"/>
            <p14:sldId id="2147476283"/>
            <p14:sldId id="2147476284"/>
            <p14:sldId id="2147476285"/>
            <p14:sldId id="2147476286"/>
            <p14:sldId id="2147476287"/>
            <p14:sldId id="2147476288"/>
            <p14:sldId id="2147476289"/>
            <p14:sldId id="2147476290"/>
            <p14:sldId id="2147476291"/>
            <p14:sldId id="2147476292"/>
            <p14:sldId id="2147476293"/>
            <p14:sldId id="2147476294"/>
            <p14:sldId id="2147476295"/>
            <p14:sldId id="2147476296"/>
            <p14:sldId id="2147476297"/>
            <p14:sldId id="2147476298"/>
            <p14:sldId id="2147476299"/>
            <p14:sldId id="2147476300"/>
          </p14:sldIdLst>
        </p14:section>
        <p14:section name="Segments Fair Share" id="{F68872F8-F090-4725-A70C-62DF59598757}">
          <p14:sldIdLst>
            <p14:sldId id="2147476301"/>
            <p14:sldId id="2147476302"/>
            <p14:sldId id="2147476303"/>
            <p14:sldId id="2147476304"/>
            <p14:sldId id="2147476305"/>
            <p14:sldId id="2147476306"/>
            <p14:sldId id="2147476307"/>
            <p14:sldId id="2147476308"/>
            <p14:sldId id="2147476309"/>
            <p14:sldId id="2147476310"/>
            <p14:sldId id="2147476311"/>
            <p14:sldId id="2147476312"/>
            <p14:sldId id="2147476313"/>
            <p14:sldId id="2147476314"/>
            <p14:sldId id="2147476315"/>
            <p14:sldId id="2147476316"/>
            <p14:sldId id="2147476317"/>
            <p14:sldId id="2147476318"/>
            <p14:sldId id="2147476319"/>
            <p14:sldId id="2147476320"/>
            <p14:sldId id="2147476321"/>
            <p14:sldId id="2147476322"/>
            <p14:sldId id="2147476323"/>
            <p14:sldId id="2147476324"/>
            <p14:sldId id="2147476325"/>
            <p14:sldId id="2147476326"/>
            <p14:sldId id="2147476327"/>
            <p14:sldId id="2147476328"/>
            <p14:sldId id="2147476329"/>
            <p14:sldId id="2147476330"/>
            <p14:sldId id="2147476331"/>
            <p14:sldId id="2147476332"/>
          </p14:sldIdLst>
        </p14:section>
      </p14:sectionLst>
    </p:ext>
    <p:ext uri="{EFAFB233-063F-42B5-8137-9DF3F51BA10A}">
      <p15:sldGuideLst xmlns:p15="http://schemas.microsoft.com/office/powerpoint/2012/main">
        <p15:guide id="1" orient="horz" pos="917" userDrawn="1">
          <p15:clr>
            <a:srgbClr val="5ACBF0"/>
          </p15:clr>
        </p15:guide>
        <p15:guide id="2" pos="2880">
          <p15:clr>
            <a:srgbClr val="A4A3A4"/>
          </p15:clr>
        </p15:guide>
        <p15:guide id="3" orient="horz" pos="1720" userDrawn="1">
          <p15:clr>
            <a:srgbClr val="A4A3A4"/>
          </p15:clr>
        </p15:guide>
      </p15:sldGuideLst>
    </p:ext>
  </p:extLst>
</p:presentation>
</file>

<file path=ppt/_rels/presentation.xml.rels><?xml version="1.0" encoding="UTF-8" standalone="yes"?>
<Relationships xmlns="http://schemas.openxmlformats.org/package/2006/relationships"><Relationship Id="rId21" Type="http://schemas.openxmlformats.org/officeDocument/2006/relationships/slide" Target="slides/slide17.xml"/><Relationship Id="rId170" Type="http://schemas.openxmlformats.org/officeDocument/2006/relationships/slide" Target="slides/slide166.xml"/><Relationship Id="rId268" Type="http://schemas.openxmlformats.org/officeDocument/2006/relationships/slide" Target="slides/slide264.xml"/><Relationship Id="rId475" Type="http://schemas.openxmlformats.org/officeDocument/2006/relationships/slide" Target="slides/slide471.xml"/><Relationship Id="rId682" Type="http://schemas.openxmlformats.org/officeDocument/2006/relationships/slide" Target="slides/slide678.xml"/><Relationship Id="rId128" Type="http://schemas.openxmlformats.org/officeDocument/2006/relationships/slide" Target="slides/slide124.xml"/><Relationship Id="rId335" Type="http://schemas.openxmlformats.org/officeDocument/2006/relationships/slide" Target="slides/slide331.xml"/><Relationship Id="rId542" Type="http://schemas.openxmlformats.org/officeDocument/2006/relationships/slide" Target="slides/slide538.xml"/><Relationship Id="rId987" Type="http://schemas.openxmlformats.org/officeDocument/2006/relationships/slide" Target="slides/slide983.xml"/><Relationship Id="rId1172" Type="http://schemas.openxmlformats.org/officeDocument/2006/relationships/theme" Target="theme/theme1.xml"/><Relationship Id="rId402" Type="http://schemas.openxmlformats.org/officeDocument/2006/relationships/slide" Target="slides/slide398.xml"/><Relationship Id="rId847" Type="http://schemas.openxmlformats.org/officeDocument/2006/relationships/slide" Target="slides/slide843.xml"/><Relationship Id="rId1032" Type="http://schemas.openxmlformats.org/officeDocument/2006/relationships/slide" Target="slides/slide1028.xml"/><Relationship Id="rId707" Type="http://schemas.openxmlformats.org/officeDocument/2006/relationships/slide" Target="slides/slide703.xml"/><Relationship Id="rId914" Type="http://schemas.openxmlformats.org/officeDocument/2006/relationships/slide" Target="slides/slide910.xml"/><Relationship Id="rId43" Type="http://schemas.openxmlformats.org/officeDocument/2006/relationships/slide" Target="slides/slide39.xml"/><Relationship Id="rId192" Type="http://schemas.openxmlformats.org/officeDocument/2006/relationships/slide" Target="slides/slide188.xml"/><Relationship Id="rId497" Type="http://schemas.openxmlformats.org/officeDocument/2006/relationships/slide" Target="slides/slide493.xml"/><Relationship Id="rId357" Type="http://schemas.openxmlformats.org/officeDocument/2006/relationships/slide" Target="slides/slide353.xml"/><Relationship Id="rId217" Type="http://schemas.openxmlformats.org/officeDocument/2006/relationships/slide" Target="slides/slide213.xml"/><Relationship Id="rId564" Type="http://schemas.openxmlformats.org/officeDocument/2006/relationships/slide" Target="slides/slide560.xml"/><Relationship Id="rId771" Type="http://schemas.openxmlformats.org/officeDocument/2006/relationships/slide" Target="slides/slide767.xml"/><Relationship Id="rId869" Type="http://schemas.openxmlformats.org/officeDocument/2006/relationships/slide" Target="slides/slide865.xml"/><Relationship Id="rId424" Type="http://schemas.openxmlformats.org/officeDocument/2006/relationships/slide" Target="slides/slide420.xml"/><Relationship Id="rId631" Type="http://schemas.openxmlformats.org/officeDocument/2006/relationships/slide" Target="slides/slide627.xml"/><Relationship Id="rId729" Type="http://schemas.openxmlformats.org/officeDocument/2006/relationships/slide" Target="slides/slide725.xml"/><Relationship Id="rId1054" Type="http://schemas.openxmlformats.org/officeDocument/2006/relationships/slide" Target="slides/slide1050.xml"/><Relationship Id="rId936" Type="http://schemas.openxmlformats.org/officeDocument/2006/relationships/slide" Target="slides/slide932.xml"/><Relationship Id="rId1121" Type="http://schemas.openxmlformats.org/officeDocument/2006/relationships/slide" Target="slides/slide1117.xml"/><Relationship Id="rId65" Type="http://schemas.openxmlformats.org/officeDocument/2006/relationships/slide" Target="slides/slide61.xml"/><Relationship Id="rId281" Type="http://schemas.openxmlformats.org/officeDocument/2006/relationships/slide" Target="slides/slide277.xml"/><Relationship Id="rId141" Type="http://schemas.openxmlformats.org/officeDocument/2006/relationships/slide" Target="slides/slide137.xml"/><Relationship Id="rId379" Type="http://schemas.openxmlformats.org/officeDocument/2006/relationships/slide" Target="slides/slide375.xml"/><Relationship Id="rId586" Type="http://schemas.openxmlformats.org/officeDocument/2006/relationships/slide" Target="slides/slide582.xml"/><Relationship Id="rId793" Type="http://schemas.openxmlformats.org/officeDocument/2006/relationships/slide" Target="slides/slide789.xml"/><Relationship Id="rId7" Type="http://schemas.openxmlformats.org/officeDocument/2006/relationships/slide" Target="slides/slide3.xml"/><Relationship Id="rId239" Type="http://schemas.openxmlformats.org/officeDocument/2006/relationships/slide" Target="slides/slide235.xml"/><Relationship Id="rId446" Type="http://schemas.openxmlformats.org/officeDocument/2006/relationships/slide" Target="slides/slide442.xml"/><Relationship Id="rId653" Type="http://schemas.openxmlformats.org/officeDocument/2006/relationships/slide" Target="slides/slide649.xml"/><Relationship Id="rId1076" Type="http://schemas.openxmlformats.org/officeDocument/2006/relationships/slide" Target="slides/slide1072.xml"/><Relationship Id="rId306" Type="http://schemas.openxmlformats.org/officeDocument/2006/relationships/slide" Target="slides/slide302.xml"/><Relationship Id="rId860" Type="http://schemas.openxmlformats.org/officeDocument/2006/relationships/slide" Target="slides/slide856.xml"/><Relationship Id="rId958" Type="http://schemas.openxmlformats.org/officeDocument/2006/relationships/slide" Target="slides/slide954.xml"/><Relationship Id="rId1143" Type="http://schemas.openxmlformats.org/officeDocument/2006/relationships/slide" Target="slides/slide1139.xml"/><Relationship Id="rId87" Type="http://schemas.openxmlformats.org/officeDocument/2006/relationships/slide" Target="slides/slide83.xml"/><Relationship Id="rId513" Type="http://schemas.openxmlformats.org/officeDocument/2006/relationships/slide" Target="slides/slide509.xml"/><Relationship Id="rId720" Type="http://schemas.openxmlformats.org/officeDocument/2006/relationships/slide" Target="slides/slide716.xml"/><Relationship Id="rId818" Type="http://schemas.openxmlformats.org/officeDocument/2006/relationships/slide" Target="slides/slide814.xml"/><Relationship Id="rId1003" Type="http://schemas.openxmlformats.org/officeDocument/2006/relationships/slide" Target="slides/slide999.xml"/><Relationship Id="rId14" Type="http://schemas.openxmlformats.org/officeDocument/2006/relationships/slide" Target="slides/slide10.xml"/><Relationship Id="rId163" Type="http://schemas.openxmlformats.org/officeDocument/2006/relationships/slide" Target="slides/slide159.xml"/><Relationship Id="rId370" Type="http://schemas.openxmlformats.org/officeDocument/2006/relationships/slide" Target="slides/slide366.xml"/><Relationship Id="rId230" Type="http://schemas.openxmlformats.org/officeDocument/2006/relationships/slide" Target="slides/slide226.xml"/><Relationship Id="rId468" Type="http://schemas.openxmlformats.org/officeDocument/2006/relationships/slide" Target="slides/slide464.xml"/><Relationship Id="rId675" Type="http://schemas.openxmlformats.org/officeDocument/2006/relationships/slide" Target="slides/slide671.xml"/><Relationship Id="rId882" Type="http://schemas.openxmlformats.org/officeDocument/2006/relationships/slide" Target="slides/slide878.xml"/><Relationship Id="rId1098" Type="http://schemas.openxmlformats.org/officeDocument/2006/relationships/slide" Target="slides/slide1094.xml"/><Relationship Id="rId328" Type="http://schemas.openxmlformats.org/officeDocument/2006/relationships/slide" Target="slides/slide324.xml"/><Relationship Id="rId535" Type="http://schemas.openxmlformats.org/officeDocument/2006/relationships/slide" Target="slides/slide531.xml"/><Relationship Id="rId742" Type="http://schemas.openxmlformats.org/officeDocument/2006/relationships/slide" Target="slides/slide738.xml"/><Relationship Id="rId1165" Type="http://schemas.openxmlformats.org/officeDocument/2006/relationships/slide" Target="slides/slide1161.xml"/><Relationship Id="rId602" Type="http://schemas.openxmlformats.org/officeDocument/2006/relationships/slide" Target="slides/slide598.xml"/><Relationship Id="rId1025" Type="http://schemas.openxmlformats.org/officeDocument/2006/relationships/slide" Target="slides/slide1021.xml"/><Relationship Id="rId907" Type="http://schemas.openxmlformats.org/officeDocument/2006/relationships/slide" Target="slides/slide903.xml"/><Relationship Id="rId36" Type="http://schemas.openxmlformats.org/officeDocument/2006/relationships/slide" Target="slides/slide32.xml"/><Relationship Id="rId185" Type="http://schemas.openxmlformats.org/officeDocument/2006/relationships/slide" Target="slides/slide181.xml"/><Relationship Id="rId392" Type="http://schemas.openxmlformats.org/officeDocument/2006/relationships/slide" Target="slides/slide388.xml"/><Relationship Id="rId697" Type="http://schemas.openxmlformats.org/officeDocument/2006/relationships/slide" Target="slides/slide693.xml"/><Relationship Id="rId252" Type="http://schemas.openxmlformats.org/officeDocument/2006/relationships/slide" Target="slides/slide248.xml"/><Relationship Id="rId112" Type="http://schemas.openxmlformats.org/officeDocument/2006/relationships/slide" Target="slides/slide108.xml"/><Relationship Id="rId557" Type="http://schemas.openxmlformats.org/officeDocument/2006/relationships/slide" Target="slides/slide553.xml"/><Relationship Id="rId764" Type="http://schemas.openxmlformats.org/officeDocument/2006/relationships/slide" Target="slides/slide760.xml"/><Relationship Id="rId971" Type="http://schemas.openxmlformats.org/officeDocument/2006/relationships/slide" Target="slides/slide967.xml"/><Relationship Id="rId417" Type="http://schemas.openxmlformats.org/officeDocument/2006/relationships/slide" Target="slides/slide413.xml"/><Relationship Id="rId624" Type="http://schemas.openxmlformats.org/officeDocument/2006/relationships/slide" Target="slides/slide620.xml"/><Relationship Id="rId831" Type="http://schemas.openxmlformats.org/officeDocument/2006/relationships/slide" Target="slides/slide827.xml"/><Relationship Id="rId1047" Type="http://schemas.openxmlformats.org/officeDocument/2006/relationships/slide" Target="slides/slide1043.xml"/><Relationship Id="rId929" Type="http://schemas.openxmlformats.org/officeDocument/2006/relationships/slide" Target="slides/slide925.xml"/><Relationship Id="rId1114" Type="http://schemas.openxmlformats.org/officeDocument/2006/relationships/slide" Target="slides/slide1110.xml"/><Relationship Id="rId58" Type="http://schemas.openxmlformats.org/officeDocument/2006/relationships/slide" Target="slides/slide54.xml"/><Relationship Id="rId274" Type="http://schemas.openxmlformats.org/officeDocument/2006/relationships/slide" Target="slides/slide270.xml"/><Relationship Id="rId481" Type="http://schemas.openxmlformats.org/officeDocument/2006/relationships/slide" Target="slides/slide477.xml"/><Relationship Id="rId702" Type="http://schemas.openxmlformats.org/officeDocument/2006/relationships/slide" Target="slides/slide698.xml"/><Relationship Id="rId1125" Type="http://schemas.openxmlformats.org/officeDocument/2006/relationships/slide" Target="slides/slide1121.xml"/><Relationship Id="rId69" Type="http://schemas.openxmlformats.org/officeDocument/2006/relationships/slide" Target="slides/slide65.xml"/><Relationship Id="rId134" Type="http://schemas.openxmlformats.org/officeDocument/2006/relationships/slide" Target="slides/slide130.xml"/><Relationship Id="rId579" Type="http://schemas.openxmlformats.org/officeDocument/2006/relationships/slide" Target="slides/slide575.xml"/><Relationship Id="rId786" Type="http://schemas.openxmlformats.org/officeDocument/2006/relationships/slide" Target="slides/slide782.xml"/><Relationship Id="rId993" Type="http://schemas.openxmlformats.org/officeDocument/2006/relationships/slide" Target="slides/slide989.xml"/><Relationship Id="rId341" Type="http://schemas.openxmlformats.org/officeDocument/2006/relationships/slide" Target="slides/slide337.xml"/><Relationship Id="rId439" Type="http://schemas.openxmlformats.org/officeDocument/2006/relationships/slide" Target="slides/slide435.xml"/><Relationship Id="rId646" Type="http://schemas.openxmlformats.org/officeDocument/2006/relationships/slide" Target="slides/slide642.xml"/><Relationship Id="rId1069" Type="http://schemas.openxmlformats.org/officeDocument/2006/relationships/slide" Target="slides/slide1065.xml"/><Relationship Id="rId201" Type="http://schemas.openxmlformats.org/officeDocument/2006/relationships/slide" Target="slides/slide197.xml"/><Relationship Id="rId285" Type="http://schemas.openxmlformats.org/officeDocument/2006/relationships/slide" Target="slides/slide281.xml"/><Relationship Id="rId506" Type="http://schemas.openxmlformats.org/officeDocument/2006/relationships/slide" Target="slides/slide502.xml"/><Relationship Id="rId853" Type="http://schemas.openxmlformats.org/officeDocument/2006/relationships/slide" Target="slides/slide849.xml"/><Relationship Id="rId1136" Type="http://schemas.openxmlformats.org/officeDocument/2006/relationships/slide" Target="slides/slide1132.xml"/><Relationship Id="rId492" Type="http://schemas.openxmlformats.org/officeDocument/2006/relationships/slide" Target="slides/slide488.xml"/><Relationship Id="rId713" Type="http://schemas.openxmlformats.org/officeDocument/2006/relationships/slide" Target="slides/slide709.xml"/><Relationship Id="rId797" Type="http://schemas.openxmlformats.org/officeDocument/2006/relationships/slide" Target="slides/slide793.xml"/><Relationship Id="rId920" Type="http://schemas.openxmlformats.org/officeDocument/2006/relationships/slide" Target="slides/slide916.xml"/><Relationship Id="rId145" Type="http://schemas.openxmlformats.org/officeDocument/2006/relationships/slide" Target="slides/slide141.xml"/><Relationship Id="rId352" Type="http://schemas.openxmlformats.org/officeDocument/2006/relationships/slide" Target="slides/slide348.xml"/><Relationship Id="rId212" Type="http://schemas.openxmlformats.org/officeDocument/2006/relationships/slide" Target="slides/slide208.xml"/><Relationship Id="rId657" Type="http://schemas.openxmlformats.org/officeDocument/2006/relationships/slide" Target="slides/slide653.xml"/><Relationship Id="rId864" Type="http://schemas.openxmlformats.org/officeDocument/2006/relationships/slide" Target="slides/slide860.xml"/><Relationship Id="rId296" Type="http://schemas.openxmlformats.org/officeDocument/2006/relationships/slide" Target="slides/slide292.xml"/><Relationship Id="rId517" Type="http://schemas.openxmlformats.org/officeDocument/2006/relationships/slide" Target="slides/slide513.xml"/><Relationship Id="rId724" Type="http://schemas.openxmlformats.org/officeDocument/2006/relationships/slide" Target="slides/slide720.xml"/><Relationship Id="rId931" Type="http://schemas.openxmlformats.org/officeDocument/2006/relationships/slide" Target="slides/slide927.xml"/><Relationship Id="rId1147" Type="http://schemas.openxmlformats.org/officeDocument/2006/relationships/slide" Target="slides/slide1143.xml"/><Relationship Id="rId60" Type="http://schemas.openxmlformats.org/officeDocument/2006/relationships/slide" Target="slides/slide56.xml"/><Relationship Id="rId156" Type="http://schemas.openxmlformats.org/officeDocument/2006/relationships/slide" Target="slides/slide152.xml"/><Relationship Id="rId363" Type="http://schemas.openxmlformats.org/officeDocument/2006/relationships/slide" Target="slides/slide359.xml"/><Relationship Id="rId570" Type="http://schemas.openxmlformats.org/officeDocument/2006/relationships/slide" Target="slides/slide566.xml"/><Relationship Id="rId1007" Type="http://schemas.openxmlformats.org/officeDocument/2006/relationships/slide" Target="slides/slide1003.xml"/><Relationship Id="rId223" Type="http://schemas.openxmlformats.org/officeDocument/2006/relationships/slide" Target="slides/slide219.xml"/><Relationship Id="rId430" Type="http://schemas.openxmlformats.org/officeDocument/2006/relationships/slide" Target="slides/slide426.xml"/><Relationship Id="rId668" Type="http://schemas.openxmlformats.org/officeDocument/2006/relationships/slide" Target="slides/slide664.xml"/><Relationship Id="rId875" Type="http://schemas.openxmlformats.org/officeDocument/2006/relationships/slide" Target="slides/slide871.xml"/><Relationship Id="rId1060" Type="http://schemas.openxmlformats.org/officeDocument/2006/relationships/slide" Target="slides/slide1056.xml"/><Relationship Id="rId18" Type="http://schemas.openxmlformats.org/officeDocument/2006/relationships/slide" Target="slides/slide14.xml"/><Relationship Id="rId528" Type="http://schemas.openxmlformats.org/officeDocument/2006/relationships/slide" Target="slides/slide524.xml"/><Relationship Id="rId735" Type="http://schemas.openxmlformats.org/officeDocument/2006/relationships/slide" Target="slides/slide731.xml"/><Relationship Id="rId942" Type="http://schemas.openxmlformats.org/officeDocument/2006/relationships/slide" Target="slides/slide938.xml"/><Relationship Id="rId1158" Type="http://schemas.openxmlformats.org/officeDocument/2006/relationships/slide" Target="slides/slide1154.xml"/><Relationship Id="rId167" Type="http://schemas.openxmlformats.org/officeDocument/2006/relationships/slide" Target="slides/slide163.xml"/><Relationship Id="rId374" Type="http://schemas.openxmlformats.org/officeDocument/2006/relationships/slide" Target="slides/slide370.xml"/><Relationship Id="rId581" Type="http://schemas.openxmlformats.org/officeDocument/2006/relationships/slide" Target="slides/slide577.xml"/><Relationship Id="rId1018" Type="http://schemas.openxmlformats.org/officeDocument/2006/relationships/slide" Target="slides/slide1014.xml"/><Relationship Id="rId71" Type="http://schemas.openxmlformats.org/officeDocument/2006/relationships/slide" Target="slides/slide67.xml"/><Relationship Id="rId234" Type="http://schemas.openxmlformats.org/officeDocument/2006/relationships/slide" Target="slides/slide230.xml"/><Relationship Id="rId679" Type="http://schemas.openxmlformats.org/officeDocument/2006/relationships/slide" Target="slides/slide675.xml"/><Relationship Id="rId802" Type="http://schemas.openxmlformats.org/officeDocument/2006/relationships/slide" Target="slides/slide798.xml"/><Relationship Id="rId886" Type="http://schemas.openxmlformats.org/officeDocument/2006/relationships/slide" Target="slides/slide882.xml"/><Relationship Id="rId2" Type="http://schemas.openxmlformats.org/officeDocument/2006/relationships/customXml" Target="../customXml/item2.xml"/><Relationship Id="rId29" Type="http://schemas.openxmlformats.org/officeDocument/2006/relationships/slide" Target="slides/slide25.xml"/><Relationship Id="rId441" Type="http://schemas.openxmlformats.org/officeDocument/2006/relationships/slide" Target="slides/slide437.xml"/><Relationship Id="rId539" Type="http://schemas.openxmlformats.org/officeDocument/2006/relationships/slide" Target="slides/slide535.xml"/><Relationship Id="rId746" Type="http://schemas.openxmlformats.org/officeDocument/2006/relationships/slide" Target="slides/slide742.xml"/><Relationship Id="rId1071" Type="http://schemas.openxmlformats.org/officeDocument/2006/relationships/slide" Target="slides/slide1067.xml"/><Relationship Id="rId1169" Type="http://schemas.openxmlformats.org/officeDocument/2006/relationships/notesMaster" Target="notesMasters/notesMaster1.xml"/><Relationship Id="rId178" Type="http://schemas.openxmlformats.org/officeDocument/2006/relationships/slide" Target="slides/slide174.xml"/><Relationship Id="rId301" Type="http://schemas.openxmlformats.org/officeDocument/2006/relationships/slide" Target="slides/slide297.xml"/><Relationship Id="rId953" Type="http://schemas.openxmlformats.org/officeDocument/2006/relationships/slide" Target="slides/slide949.xml"/><Relationship Id="rId1029" Type="http://schemas.openxmlformats.org/officeDocument/2006/relationships/slide" Target="slides/slide1025.xml"/><Relationship Id="rId82" Type="http://schemas.openxmlformats.org/officeDocument/2006/relationships/slide" Target="slides/slide78.xml"/><Relationship Id="rId385" Type="http://schemas.openxmlformats.org/officeDocument/2006/relationships/slide" Target="slides/slide381.xml"/><Relationship Id="rId592" Type="http://schemas.openxmlformats.org/officeDocument/2006/relationships/slide" Target="slides/slide588.xml"/><Relationship Id="rId606" Type="http://schemas.openxmlformats.org/officeDocument/2006/relationships/slide" Target="slides/slide602.xml"/><Relationship Id="rId813" Type="http://schemas.openxmlformats.org/officeDocument/2006/relationships/slide" Target="slides/slide809.xml"/><Relationship Id="rId245" Type="http://schemas.openxmlformats.org/officeDocument/2006/relationships/slide" Target="slides/slide241.xml"/><Relationship Id="rId452" Type="http://schemas.openxmlformats.org/officeDocument/2006/relationships/slide" Target="slides/slide448.xml"/><Relationship Id="rId897" Type="http://schemas.openxmlformats.org/officeDocument/2006/relationships/slide" Target="slides/slide893.xml"/><Relationship Id="rId1082" Type="http://schemas.openxmlformats.org/officeDocument/2006/relationships/slide" Target="slides/slide1078.xml"/><Relationship Id="rId105" Type="http://schemas.openxmlformats.org/officeDocument/2006/relationships/slide" Target="slides/slide101.xml"/><Relationship Id="rId312" Type="http://schemas.openxmlformats.org/officeDocument/2006/relationships/slide" Target="slides/slide308.xml"/><Relationship Id="rId757" Type="http://schemas.openxmlformats.org/officeDocument/2006/relationships/slide" Target="slides/slide753.xml"/><Relationship Id="rId964" Type="http://schemas.openxmlformats.org/officeDocument/2006/relationships/slide" Target="slides/slide960.xml"/><Relationship Id="rId93" Type="http://schemas.openxmlformats.org/officeDocument/2006/relationships/slide" Target="slides/slide89.xml"/><Relationship Id="rId189" Type="http://schemas.openxmlformats.org/officeDocument/2006/relationships/slide" Target="slides/slide185.xml"/><Relationship Id="rId396" Type="http://schemas.openxmlformats.org/officeDocument/2006/relationships/slide" Target="slides/slide392.xml"/><Relationship Id="rId617" Type="http://schemas.openxmlformats.org/officeDocument/2006/relationships/slide" Target="slides/slide613.xml"/><Relationship Id="rId824" Type="http://schemas.openxmlformats.org/officeDocument/2006/relationships/slide" Target="slides/slide820.xml"/><Relationship Id="rId256" Type="http://schemas.openxmlformats.org/officeDocument/2006/relationships/slide" Target="slides/slide252.xml"/><Relationship Id="rId463" Type="http://schemas.openxmlformats.org/officeDocument/2006/relationships/slide" Target="slides/slide459.xml"/><Relationship Id="rId670" Type="http://schemas.openxmlformats.org/officeDocument/2006/relationships/slide" Target="slides/slide666.xml"/><Relationship Id="rId1093" Type="http://schemas.openxmlformats.org/officeDocument/2006/relationships/slide" Target="slides/slide1089.xml"/><Relationship Id="rId1107" Type="http://schemas.openxmlformats.org/officeDocument/2006/relationships/slide" Target="slides/slide1103.xml"/><Relationship Id="rId116" Type="http://schemas.openxmlformats.org/officeDocument/2006/relationships/slide" Target="slides/slide112.xml"/><Relationship Id="rId323" Type="http://schemas.openxmlformats.org/officeDocument/2006/relationships/slide" Target="slides/slide319.xml"/><Relationship Id="rId530" Type="http://schemas.openxmlformats.org/officeDocument/2006/relationships/slide" Target="slides/slide526.xml"/><Relationship Id="rId768" Type="http://schemas.openxmlformats.org/officeDocument/2006/relationships/slide" Target="slides/slide764.xml"/><Relationship Id="rId975" Type="http://schemas.openxmlformats.org/officeDocument/2006/relationships/slide" Target="slides/slide971.xml"/><Relationship Id="rId1160" Type="http://schemas.openxmlformats.org/officeDocument/2006/relationships/slide" Target="slides/slide1156.xml"/><Relationship Id="rId20" Type="http://schemas.openxmlformats.org/officeDocument/2006/relationships/slide" Target="slides/slide16.xml"/><Relationship Id="rId628" Type="http://schemas.openxmlformats.org/officeDocument/2006/relationships/slide" Target="slides/slide624.xml"/><Relationship Id="rId835" Type="http://schemas.openxmlformats.org/officeDocument/2006/relationships/slide" Target="slides/slide831.xml"/><Relationship Id="rId267" Type="http://schemas.openxmlformats.org/officeDocument/2006/relationships/slide" Target="slides/slide263.xml"/><Relationship Id="rId474" Type="http://schemas.openxmlformats.org/officeDocument/2006/relationships/slide" Target="slides/slide470.xml"/><Relationship Id="rId1020" Type="http://schemas.openxmlformats.org/officeDocument/2006/relationships/slide" Target="slides/slide1016.xml"/><Relationship Id="rId1118" Type="http://schemas.openxmlformats.org/officeDocument/2006/relationships/slide" Target="slides/slide1114.xml"/><Relationship Id="rId127" Type="http://schemas.openxmlformats.org/officeDocument/2006/relationships/slide" Target="slides/slide123.xml"/><Relationship Id="rId681" Type="http://schemas.openxmlformats.org/officeDocument/2006/relationships/slide" Target="slides/slide677.xml"/><Relationship Id="rId779" Type="http://schemas.openxmlformats.org/officeDocument/2006/relationships/slide" Target="slides/slide775.xml"/><Relationship Id="rId902" Type="http://schemas.openxmlformats.org/officeDocument/2006/relationships/slide" Target="slides/slide898.xml"/><Relationship Id="rId986" Type="http://schemas.openxmlformats.org/officeDocument/2006/relationships/slide" Target="slides/slide982.xml"/><Relationship Id="rId31" Type="http://schemas.openxmlformats.org/officeDocument/2006/relationships/slide" Target="slides/slide27.xml"/><Relationship Id="rId334" Type="http://schemas.openxmlformats.org/officeDocument/2006/relationships/slide" Target="slides/slide330.xml"/><Relationship Id="rId541" Type="http://schemas.openxmlformats.org/officeDocument/2006/relationships/slide" Target="slides/slide537.xml"/><Relationship Id="rId639" Type="http://schemas.openxmlformats.org/officeDocument/2006/relationships/slide" Target="slides/slide635.xml"/><Relationship Id="rId1171" Type="http://schemas.openxmlformats.org/officeDocument/2006/relationships/viewProps" Target="viewProps.xml"/><Relationship Id="rId180" Type="http://schemas.openxmlformats.org/officeDocument/2006/relationships/slide" Target="slides/slide176.xml"/><Relationship Id="rId278" Type="http://schemas.openxmlformats.org/officeDocument/2006/relationships/slide" Target="slides/slide274.xml"/><Relationship Id="rId401" Type="http://schemas.openxmlformats.org/officeDocument/2006/relationships/slide" Target="slides/slide397.xml"/><Relationship Id="rId846" Type="http://schemas.openxmlformats.org/officeDocument/2006/relationships/slide" Target="slides/slide842.xml"/><Relationship Id="rId1031" Type="http://schemas.openxmlformats.org/officeDocument/2006/relationships/slide" Target="slides/slide1027.xml"/><Relationship Id="rId1129" Type="http://schemas.openxmlformats.org/officeDocument/2006/relationships/slide" Target="slides/slide1125.xml"/><Relationship Id="rId485" Type="http://schemas.openxmlformats.org/officeDocument/2006/relationships/slide" Target="slides/slide481.xml"/><Relationship Id="rId692" Type="http://schemas.openxmlformats.org/officeDocument/2006/relationships/slide" Target="slides/slide688.xml"/><Relationship Id="rId706" Type="http://schemas.openxmlformats.org/officeDocument/2006/relationships/slide" Target="slides/slide702.xml"/><Relationship Id="rId913" Type="http://schemas.openxmlformats.org/officeDocument/2006/relationships/slide" Target="slides/slide909.xml"/><Relationship Id="rId42" Type="http://schemas.openxmlformats.org/officeDocument/2006/relationships/slide" Target="slides/slide38.xml"/><Relationship Id="rId138" Type="http://schemas.openxmlformats.org/officeDocument/2006/relationships/slide" Target="slides/slide134.xml"/><Relationship Id="rId345" Type="http://schemas.openxmlformats.org/officeDocument/2006/relationships/slide" Target="slides/slide341.xml"/><Relationship Id="rId552" Type="http://schemas.openxmlformats.org/officeDocument/2006/relationships/slide" Target="slides/slide548.xml"/><Relationship Id="rId997" Type="http://schemas.openxmlformats.org/officeDocument/2006/relationships/slide" Target="slides/slide993.xml"/><Relationship Id="rId191" Type="http://schemas.openxmlformats.org/officeDocument/2006/relationships/slide" Target="slides/slide187.xml"/><Relationship Id="rId205" Type="http://schemas.openxmlformats.org/officeDocument/2006/relationships/slide" Target="slides/slide201.xml"/><Relationship Id="rId412" Type="http://schemas.openxmlformats.org/officeDocument/2006/relationships/slide" Target="slides/slide408.xml"/><Relationship Id="rId857" Type="http://schemas.openxmlformats.org/officeDocument/2006/relationships/slide" Target="slides/slide853.xml"/><Relationship Id="rId1042" Type="http://schemas.openxmlformats.org/officeDocument/2006/relationships/slide" Target="slides/slide1038.xml"/><Relationship Id="rId289" Type="http://schemas.openxmlformats.org/officeDocument/2006/relationships/slide" Target="slides/slide285.xml"/><Relationship Id="rId496" Type="http://schemas.openxmlformats.org/officeDocument/2006/relationships/slide" Target="slides/slide492.xml"/><Relationship Id="rId717" Type="http://schemas.openxmlformats.org/officeDocument/2006/relationships/slide" Target="slides/slide713.xml"/><Relationship Id="rId924" Type="http://schemas.openxmlformats.org/officeDocument/2006/relationships/slide" Target="slides/slide920.xml"/><Relationship Id="rId53" Type="http://schemas.openxmlformats.org/officeDocument/2006/relationships/slide" Target="slides/slide49.xml"/><Relationship Id="rId149" Type="http://schemas.openxmlformats.org/officeDocument/2006/relationships/slide" Target="slides/slide145.xml"/><Relationship Id="rId356" Type="http://schemas.openxmlformats.org/officeDocument/2006/relationships/slide" Target="slides/slide352.xml"/><Relationship Id="rId563" Type="http://schemas.openxmlformats.org/officeDocument/2006/relationships/slide" Target="slides/slide559.xml"/><Relationship Id="rId770" Type="http://schemas.openxmlformats.org/officeDocument/2006/relationships/slide" Target="slides/slide766.xml"/><Relationship Id="rId216" Type="http://schemas.openxmlformats.org/officeDocument/2006/relationships/slide" Target="slides/slide212.xml"/><Relationship Id="rId423" Type="http://schemas.openxmlformats.org/officeDocument/2006/relationships/slide" Target="slides/slide419.xml"/><Relationship Id="rId868" Type="http://schemas.openxmlformats.org/officeDocument/2006/relationships/slide" Target="slides/slide864.xml"/><Relationship Id="rId1053" Type="http://schemas.openxmlformats.org/officeDocument/2006/relationships/slide" Target="slides/slide1049.xml"/><Relationship Id="rId630" Type="http://schemas.openxmlformats.org/officeDocument/2006/relationships/slide" Target="slides/slide626.xml"/><Relationship Id="rId728" Type="http://schemas.openxmlformats.org/officeDocument/2006/relationships/slide" Target="slides/slide724.xml"/><Relationship Id="rId935" Type="http://schemas.openxmlformats.org/officeDocument/2006/relationships/slide" Target="slides/slide931.xml"/><Relationship Id="rId64" Type="http://schemas.openxmlformats.org/officeDocument/2006/relationships/slide" Target="slides/slide60.xml"/><Relationship Id="rId367" Type="http://schemas.openxmlformats.org/officeDocument/2006/relationships/slide" Target="slides/slide363.xml"/><Relationship Id="rId574" Type="http://schemas.openxmlformats.org/officeDocument/2006/relationships/slide" Target="slides/slide570.xml"/><Relationship Id="rId1120" Type="http://schemas.openxmlformats.org/officeDocument/2006/relationships/slide" Target="slides/slide1116.xml"/><Relationship Id="rId227" Type="http://schemas.openxmlformats.org/officeDocument/2006/relationships/slide" Target="slides/slide223.xml"/><Relationship Id="rId781" Type="http://schemas.openxmlformats.org/officeDocument/2006/relationships/slide" Target="slides/slide777.xml"/><Relationship Id="rId879" Type="http://schemas.openxmlformats.org/officeDocument/2006/relationships/slide" Target="slides/slide875.xml"/><Relationship Id="rId434" Type="http://schemas.openxmlformats.org/officeDocument/2006/relationships/slide" Target="slides/slide430.xml"/><Relationship Id="rId641" Type="http://schemas.openxmlformats.org/officeDocument/2006/relationships/slide" Target="slides/slide637.xml"/><Relationship Id="rId739" Type="http://schemas.openxmlformats.org/officeDocument/2006/relationships/slide" Target="slides/slide735.xml"/><Relationship Id="rId1064" Type="http://schemas.openxmlformats.org/officeDocument/2006/relationships/slide" Target="slides/slide1060.xml"/><Relationship Id="rId280" Type="http://schemas.openxmlformats.org/officeDocument/2006/relationships/slide" Target="slides/slide276.xml"/><Relationship Id="rId501" Type="http://schemas.openxmlformats.org/officeDocument/2006/relationships/slide" Target="slides/slide497.xml"/><Relationship Id="rId946" Type="http://schemas.openxmlformats.org/officeDocument/2006/relationships/slide" Target="slides/slide942.xml"/><Relationship Id="rId1131" Type="http://schemas.openxmlformats.org/officeDocument/2006/relationships/slide" Target="slides/slide1127.xml"/><Relationship Id="rId75" Type="http://schemas.openxmlformats.org/officeDocument/2006/relationships/slide" Target="slides/slide71.xml"/><Relationship Id="rId140" Type="http://schemas.openxmlformats.org/officeDocument/2006/relationships/slide" Target="slides/slide136.xml"/><Relationship Id="rId378" Type="http://schemas.openxmlformats.org/officeDocument/2006/relationships/slide" Target="slides/slide374.xml"/><Relationship Id="rId585" Type="http://schemas.openxmlformats.org/officeDocument/2006/relationships/slide" Target="slides/slide581.xml"/><Relationship Id="rId792" Type="http://schemas.openxmlformats.org/officeDocument/2006/relationships/slide" Target="slides/slide788.xml"/><Relationship Id="rId806" Type="http://schemas.openxmlformats.org/officeDocument/2006/relationships/slide" Target="slides/slide802.xml"/><Relationship Id="rId6" Type="http://schemas.openxmlformats.org/officeDocument/2006/relationships/slide" Target="slides/slide2.xml"/><Relationship Id="rId238" Type="http://schemas.openxmlformats.org/officeDocument/2006/relationships/slide" Target="slides/slide234.xml"/><Relationship Id="rId445" Type="http://schemas.openxmlformats.org/officeDocument/2006/relationships/slide" Target="slides/slide441.xml"/><Relationship Id="rId652" Type="http://schemas.openxmlformats.org/officeDocument/2006/relationships/slide" Target="slides/slide648.xml"/><Relationship Id="rId1075" Type="http://schemas.openxmlformats.org/officeDocument/2006/relationships/slide" Target="slides/slide1071.xml"/><Relationship Id="rId291" Type="http://schemas.openxmlformats.org/officeDocument/2006/relationships/slide" Target="slides/slide287.xml"/><Relationship Id="rId305" Type="http://schemas.openxmlformats.org/officeDocument/2006/relationships/slide" Target="slides/slide301.xml"/><Relationship Id="rId512" Type="http://schemas.openxmlformats.org/officeDocument/2006/relationships/slide" Target="slides/slide508.xml"/><Relationship Id="rId957" Type="http://schemas.openxmlformats.org/officeDocument/2006/relationships/slide" Target="slides/slide953.xml"/><Relationship Id="rId1142" Type="http://schemas.openxmlformats.org/officeDocument/2006/relationships/slide" Target="slides/slide1138.xml"/><Relationship Id="rId86" Type="http://schemas.openxmlformats.org/officeDocument/2006/relationships/slide" Target="slides/slide82.xml"/><Relationship Id="rId151" Type="http://schemas.openxmlformats.org/officeDocument/2006/relationships/slide" Target="slides/slide147.xml"/><Relationship Id="rId389" Type="http://schemas.openxmlformats.org/officeDocument/2006/relationships/slide" Target="slides/slide385.xml"/><Relationship Id="rId596" Type="http://schemas.openxmlformats.org/officeDocument/2006/relationships/slide" Target="slides/slide592.xml"/><Relationship Id="rId817" Type="http://schemas.openxmlformats.org/officeDocument/2006/relationships/slide" Target="slides/slide813.xml"/><Relationship Id="rId1002" Type="http://schemas.openxmlformats.org/officeDocument/2006/relationships/slide" Target="slides/slide998.xml"/><Relationship Id="rId249" Type="http://schemas.openxmlformats.org/officeDocument/2006/relationships/slide" Target="slides/slide245.xml"/><Relationship Id="rId456" Type="http://schemas.openxmlformats.org/officeDocument/2006/relationships/slide" Target="slides/slide452.xml"/><Relationship Id="rId663" Type="http://schemas.openxmlformats.org/officeDocument/2006/relationships/slide" Target="slides/slide659.xml"/><Relationship Id="rId870" Type="http://schemas.openxmlformats.org/officeDocument/2006/relationships/slide" Target="slides/slide866.xml"/><Relationship Id="rId1086" Type="http://schemas.openxmlformats.org/officeDocument/2006/relationships/slide" Target="slides/slide1082.xml"/><Relationship Id="rId13" Type="http://schemas.openxmlformats.org/officeDocument/2006/relationships/slide" Target="slides/slide9.xml"/><Relationship Id="rId109" Type="http://schemas.openxmlformats.org/officeDocument/2006/relationships/slide" Target="slides/slide105.xml"/><Relationship Id="rId316" Type="http://schemas.openxmlformats.org/officeDocument/2006/relationships/slide" Target="slides/slide312.xml"/><Relationship Id="rId523" Type="http://schemas.openxmlformats.org/officeDocument/2006/relationships/slide" Target="slides/slide519.xml"/><Relationship Id="rId968" Type="http://schemas.openxmlformats.org/officeDocument/2006/relationships/slide" Target="slides/slide964.xml"/><Relationship Id="rId1153" Type="http://schemas.openxmlformats.org/officeDocument/2006/relationships/slide" Target="slides/slide1149.xml"/><Relationship Id="rId97" Type="http://schemas.openxmlformats.org/officeDocument/2006/relationships/slide" Target="slides/slide93.xml"/><Relationship Id="rId730" Type="http://schemas.openxmlformats.org/officeDocument/2006/relationships/slide" Target="slides/slide726.xml"/><Relationship Id="rId828" Type="http://schemas.openxmlformats.org/officeDocument/2006/relationships/slide" Target="slides/slide824.xml"/><Relationship Id="rId1013" Type="http://schemas.openxmlformats.org/officeDocument/2006/relationships/slide" Target="slides/slide1009.xml"/><Relationship Id="rId162" Type="http://schemas.openxmlformats.org/officeDocument/2006/relationships/slide" Target="slides/slide158.xml"/><Relationship Id="rId467" Type="http://schemas.openxmlformats.org/officeDocument/2006/relationships/slide" Target="slides/slide463.xml"/><Relationship Id="rId1097" Type="http://schemas.openxmlformats.org/officeDocument/2006/relationships/slide" Target="slides/slide1093.xml"/><Relationship Id="rId674" Type="http://schemas.openxmlformats.org/officeDocument/2006/relationships/slide" Target="slides/slide670.xml"/><Relationship Id="rId881" Type="http://schemas.openxmlformats.org/officeDocument/2006/relationships/slide" Target="slides/slide877.xml"/><Relationship Id="rId979" Type="http://schemas.openxmlformats.org/officeDocument/2006/relationships/slide" Target="slides/slide975.xml"/><Relationship Id="rId24" Type="http://schemas.openxmlformats.org/officeDocument/2006/relationships/slide" Target="slides/slide20.xml"/><Relationship Id="rId327" Type="http://schemas.openxmlformats.org/officeDocument/2006/relationships/slide" Target="slides/slide323.xml"/><Relationship Id="rId534" Type="http://schemas.openxmlformats.org/officeDocument/2006/relationships/slide" Target="slides/slide530.xml"/><Relationship Id="rId741" Type="http://schemas.openxmlformats.org/officeDocument/2006/relationships/slide" Target="slides/slide737.xml"/><Relationship Id="rId839" Type="http://schemas.openxmlformats.org/officeDocument/2006/relationships/slide" Target="slides/slide835.xml"/><Relationship Id="rId1164" Type="http://schemas.openxmlformats.org/officeDocument/2006/relationships/slide" Target="slides/slide1160.xml"/><Relationship Id="rId173" Type="http://schemas.openxmlformats.org/officeDocument/2006/relationships/slide" Target="slides/slide169.xml"/><Relationship Id="rId380" Type="http://schemas.openxmlformats.org/officeDocument/2006/relationships/slide" Target="slides/slide376.xml"/><Relationship Id="rId601" Type="http://schemas.openxmlformats.org/officeDocument/2006/relationships/slide" Target="slides/slide597.xml"/><Relationship Id="rId1024" Type="http://schemas.openxmlformats.org/officeDocument/2006/relationships/slide" Target="slides/slide1020.xml"/><Relationship Id="rId240" Type="http://schemas.openxmlformats.org/officeDocument/2006/relationships/slide" Target="slides/slide236.xml"/><Relationship Id="rId478" Type="http://schemas.openxmlformats.org/officeDocument/2006/relationships/slide" Target="slides/slide474.xml"/><Relationship Id="rId685" Type="http://schemas.openxmlformats.org/officeDocument/2006/relationships/slide" Target="slides/slide681.xml"/><Relationship Id="rId892" Type="http://schemas.openxmlformats.org/officeDocument/2006/relationships/slide" Target="slides/slide888.xml"/><Relationship Id="rId906" Type="http://schemas.openxmlformats.org/officeDocument/2006/relationships/slide" Target="slides/slide902.xml"/><Relationship Id="rId35" Type="http://schemas.openxmlformats.org/officeDocument/2006/relationships/slide" Target="slides/slide31.xml"/><Relationship Id="rId100" Type="http://schemas.openxmlformats.org/officeDocument/2006/relationships/slide" Target="slides/slide96.xml"/><Relationship Id="rId338" Type="http://schemas.openxmlformats.org/officeDocument/2006/relationships/slide" Target="slides/slide334.xml"/><Relationship Id="rId545" Type="http://schemas.openxmlformats.org/officeDocument/2006/relationships/slide" Target="slides/slide541.xml"/><Relationship Id="rId752" Type="http://schemas.openxmlformats.org/officeDocument/2006/relationships/slide" Target="slides/slide748.xml"/><Relationship Id="rId184" Type="http://schemas.openxmlformats.org/officeDocument/2006/relationships/slide" Target="slides/slide180.xml"/><Relationship Id="rId391" Type="http://schemas.openxmlformats.org/officeDocument/2006/relationships/slide" Target="slides/slide387.xml"/><Relationship Id="rId405" Type="http://schemas.openxmlformats.org/officeDocument/2006/relationships/slide" Target="slides/slide401.xml"/><Relationship Id="rId612" Type="http://schemas.openxmlformats.org/officeDocument/2006/relationships/slide" Target="slides/slide608.xml"/><Relationship Id="rId1035" Type="http://schemas.openxmlformats.org/officeDocument/2006/relationships/slide" Target="slides/slide1031.xml"/><Relationship Id="rId251" Type="http://schemas.openxmlformats.org/officeDocument/2006/relationships/slide" Target="slides/slide247.xml"/><Relationship Id="rId489" Type="http://schemas.openxmlformats.org/officeDocument/2006/relationships/slide" Target="slides/slide485.xml"/><Relationship Id="rId696" Type="http://schemas.openxmlformats.org/officeDocument/2006/relationships/slide" Target="slides/slide692.xml"/><Relationship Id="rId917" Type="http://schemas.openxmlformats.org/officeDocument/2006/relationships/slide" Target="slides/slide913.xml"/><Relationship Id="rId1102" Type="http://schemas.openxmlformats.org/officeDocument/2006/relationships/slide" Target="slides/slide1098.xml"/><Relationship Id="rId46" Type="http://schemas.openxmlformats.org/officeDocument/2006/relationships/slide" Target="slides/slide42.xml"/><Relationship Id="rId349" Type="http://schemas.openxmlformats.org/officeDocument/2006/relationships/slide" Target="slides/slide345.xml"/><Relationship Id="rId556" Type="http://schemas.openxmlformats.org/officeDocument/2006/relationships/slide" Target="slides/slide552.xml"/><Relationship Id="rId763" Type="http://schemas.openxmlformats.org/officeDocument/2006/relationships/slide" Target="slides/slide759.xml"/><Relationship Id="rId111" Type="http://schemas.openxmlformats.org/officeDocument/2006/relationships/slide" Target="slides/slide107.xml"/><Relationship Id="rId195" Type="http://schemas.openxmlformats.org/officeDocument/2006/relationships/slide" Target="slides/slide191.xml"/><Relationship Id="rId209" Type="http://schemas.openxmlformats.org/officeDocument/2006/relationships/slide" Target="slides/slide205.xml"/><Relationship Id="rId416" Type="http://schemas.openxmlformats.org/officeDocument/2006/relationships/slide" Target="slides/slide412.xml"/><Relationship Id="rId970" Type="http://schemas.openxmlformats.org/officeDocument/2006/relationships/slide" Target="slides/slide966.xml"/><Relationship Id="rId1046" Type="http://schemas.openxmlformats.org/officeDocument/2006/relationships/slide" Target="slides/slide1042.xml"/><Relationship Id="rId623" Type="http://schemas.openxmlformats.org/officeDocument/2006/relationships/slide" Target="slides/slide619.xml"/><Relationship Id="rId830" Type="http://schemas.openxmlformats.org/officeDocument/2006/relationships/slide" Target="slides/slide826.xml"/><Relationship Id="rId928" Type="http://schemas.openxmlformats.org/officeDocument/2006/relationships/slide" Target="slides/slide924.xml"/><Relationship Id="rId57" Type="http://schemas.openxmlformats.org/officeDocument/2006/relationships/slide" Target="slides/slide53.xml"/><Relationship Id="rId262" Type="http://schemas.openxmlformats.org/officeDocument/2006/relationships/slide" Target="slides/slide258.xml"/><Relationship Id="rId567" Type="http://schemas.openxmlformats.org/officeDocument/2006/relationships/slide" Target="slides/slide563.xml"/><Relationship Id="rId1113" Type="http://schemas.openxmlformats.org/officeDocument/2006/relationships/slide" Target="slides/slide1109.xml"/><Relationship Id="rId122" Type="http://schemas.openxmlformats.org/officeDocument/2006/relationships/slide" Target="slides/slide118.xml"/><Relationship Id="rId774" Type="http://schemas.openxmlformats.org/officeDocument/2006/relationships/slide" Target="slides/slide770.xml"/><Relationship Id="rId981" Type="http://schemas.openxmlformats.org/officeDocument/2006/relationships/slide" Target="slides/slide977.xml"/><Relationship Id="rId1057" Type="http://schemas.openxmlformats.org/officeDocument/2006/relationships/slide" Target="slides/slide1053.xml"/><Relationship Id="rId427" Type="http://schemas.openxmlformats.org/officeDocument/2006/relationships/slide" Target="slides/slide423.xml"/><Relationship Id="rId634" Type="http://schemas.openxmlformats.org/officeDocument/2006/relationships/slide" Target="slides/slide630.xml"/><Relationship Id="rId841" Type="http://schemas.openxmlformats.org/officeDocument/2006/relationships/slide" Target="slides/slide837.xml"/><Relationship Id="rId273" Type="http://schemas.openxmlformats.org/officeDocument/2006/relationships/slide" Target="slides/slide269.xml"/><Relationship Id="rId480" Type="http://schemas.openxmlformats.org/officeDocument/2006/relationships/slide" Target="slides/slide476.xml"/><Relationship Id="rId701" Type="http://schemas.openxmlformats.org/officeDocument/2006/relationships/slide" Target="slides/slide697.xml"/><Relationship Id="rId939" Type="http://schemas.openxmlformats.org/officeDocument/2006/relationships/slide" Target="slides/slide935.xml"/><Relationship Id="rId1124" Type="http://schemas.openxmlformats.org/officeDocument/2006/relationships/slide" Target="slides/slide1120.xml"/><Relationship Id="rId68" Type="http://schemas.openxmlformats.org/officeDocument/2006/relationships/slide" Target="slides/slide64.xml"/><Relationship Id="rId133" Type="http://schemas.openxmlformats.org/officeDocument/2006/relationships/slide" Target="slides/slide129.xml"/><Relationship Id="rId340" Type="http://schemas.openxmlformats.org/officeDocument/2006/relationships/slide" Target="slides/slide336.xml"/><Relationship Id="rId578" Type="http://schemas.openxmlformats.org/officeDocument/2006/relationships/slide" Target="slides/slide574.xml"/><Relationship Id="rId785" Type="http://schemas.openxmlformats.org/officeDocument/2006/relationships/slide" Target="slides/slide781.xml"/><Relationship Id="rId992" Type="http://schemas.openxmlformats.org/officeDocument/2006/relationships/slide" Target="slides/slide988.xml"/><Relationship Id="rId200" Type="http://schemas.openxmlformats.org/officeDocument/2006/relationships/slide" Target="slides/slide196.xml"/><Relationship Id="rId438" Type="http://schemas.openxmlformats.org/officeDocument/2006/relationships/slide" Target="slides/slide434.xml"/><Relationship Id="rId645" Type="http://schemas.openxmlformats.org/officeDocument/2006/relationships/slide" Target="slides/slide641.xml"/><Relationship Id="rId852" Type="http://schemas.openxmlformats.org/officeDocument/2006/relationships/slide" Target="slides/slide848.xml"/><Relationship Id="rId1068" Type="http://schemas.openxmlformats.org/officeDocument/2006/relationships/slide" Target="slides/slide1064.xml"/><Relationship Id="rId284" Type="http://schemas.openxmlformats.org/officeDocument/2006/relationships/slide" Target="slides/slide280.xml"/><Relationship Id="rId491" Type="http://schemas.openxmlformats.org/officeDocument/2006/relationships/slide" Target="slides/slide487.xml"/><Relationship Id="rId505" Type="http://schemas.openxmlformats.org/officeDocument/2006/relationships/slide" Target="slides/slide501.xml"/><Relationship Id="rId712" Type="http://schemas.openxmlformats.org/officeDocument/2006/relationships/slide" Target="slides/slide708.xml"/><Relationship Id="rId1135" Type="http://schemas.openxmlformats.org/officeDocument/2006/relationships/slide" Target="slides/slide1131.xml"/><Relationship Id="rId79" Type="http://schemas.openxmlformats.org/officeDocument/2006/relationships/slide" Target="slides/slide75.xml"/><Relationship Id="rId144" Type="http://schemas.openxmlformats.org/officeDocument/2006/relationships/slide" Target="slides/slide140.xml"/><Relationship Id="rId589" Type="http://schemas.openxmlformats.org/officeDocument/2006/relationships/slide" Target="slides/slide585.xml"/><Relationship Id="rId796" Type="http://schemas.openxmlformats.org/officeDocument/2006/relationships/slide" Target="slides/slide792.xml"/><Relationship Id="rId351" Type="http://schemas.openxmlformats.org/officeDocument/2006/relationships/slide" Target="slides/slide347.xml"/><Relationship Id="rId449" Type="http://schemas.openxmlformats.org/officeDocument/2006/relationships/slide" Target="slides/slide445.xml"/><Relationship Id="rId656" Type="http://schemas.openxmlformats.org/officeDocument/2006/relationships/slide" Target="slides/slide652.xml"/><Relationship Id="rId863" Type="http://schemas.openxmlformats.org/officeDocument/2006/relationships/slide" Target="slides/slide859.xml"/><Relationship Id="rId1079" Type="http://schemas.openxmlformats.org/officeDocument/2006/relationships/slide" Target="slides/slide1075.xml"/><Relationship Id="rId211" Type="http://schemas.openxmlformats.org/officeDocument/2006/relationships/slide" Target="slides/slide207.xml"/><Relationship Id="rId295" Type="http://schemas.openxmlformats.org/officeDocument/2006/relationships/slide" Target="slides/slide291.xml"/><Relationship Id="rId309" Type="http://schemas.openxmlformats.org/officeDocument/2006/relationships/slide" Target="slides/slide305.xml"/><Relationship Id="rId516" Type="http://schemas.openxmlformats.org/officeDocument/2006/relationships/slide" Target="slides/slide512.xml"/><Relationship Id="rId1146" Type="http://schemas.openxmlformats.org/officeDocument/2006/relationships/slide" Target="slides/slide1142.xml"/><Relationship Id="rId723" Type="http://schemas.openxmlformats.org/officeDocument/2006/relationships/slide" Target="slides/slide719.xml"/><Relationship Id="rId930" Type="http://schemas.openxmlformats.org/officeDocument/2006/relationships/slide" Target="slides/slide926.xml"/><Relationship Id="rId1006" Type="http://schemas.openxmlformats.org/officeDocument/2006/relationships/slide" Target="slides/slide1002.xml"/><Relationship Id="rId155" Type="http://schemas.openxmlformats.org/officeDocument/2006/relationships/slide" Target="slides/slide151.xml"/><Relationship Id="rId362" Type="http://schemas.openxmlformats.org/officeDocument/2006/relationships/slide" Target="slides/slide358.xml"/><Relationship Id="rId222" Type="http://schemas.openxmlformats.org/officeDocument/2006/relationships/slide" Target="slides/slide218.xml"/><Relationship Id="rId667" Type="http://schemas.openxmlformats.org/officeDocument/2006/relationships/slide" Target="slides/slide663.xml"/><Relationship Id="rId874" Type="http://schemas.openxmlformats.org/officeDocument/2006/relationships/slide" Target="slides/slide870.xml"/><Relationship Id="rId17" Type="http://schemas.openxmlformats.org/officeDocument/2006/relationships/slide" Target="slides/slide13.xml"/><Relationship Id="rId527" Type="http://schemas.openxmlformats.org/officeDocument/2006/relationships/slide" Target="slides/slide523.xml"/><Relationship Id="rId734" Type="http://schemas.openxmlformats.org/officeDocument/2006/relationships/slide" Target="slides/slide730.xml"/><Relationship Id="rId941" Type="http://schemas.openxmlformats.org/officeDocument/2006/relationships/slide" Target="slides/slide937.xml"/><Relationship Id="rId1157" Type="http://schemas.openxmlformats.org/officeDocument/2006/relationships/slide" Target="slides/slide1153.xml"/><Relationship Id="rId70" Type="http://schemas.openxmlformats.org/officeDocument/2006/relationships/slide" Target="slides/slide66.xml"/><Relationship Id="rId166" Type="http://schemas.openxmlformats.org/officeDocument/2006/relationships/slide" Target="slides/slide162.xml"/><Relationship Id="rId373" Type="http://schemas.openxmlformats.org/officeDocument/2006/relationships/slide" Target="slides/slide369.xml"/><Relationship Id="rId580" Type="http://schemas.openxmlformats.org/officeDocument/2006/relationships/slide" Target="slides/slide576.xml"/><Relationship Id="rId801" Type="http://schemas.openxmlformats.org/officeDocument/2006/relationships/slide" Target="slides/slide797.xml"/><Relationship Id="rId1017" Type="http://schemas.openxmlformats.org/officeDocument/2006/relationships/slide" Target="slides/slide1013.xml"/><Relationship Id="rId1" Type="http://schemas.openxmlformats.org/officeDocument/2006/relationships/customXml" Target="../customXml/item1.xml"/><Relationship Id="rId233" Type="http://schemas.openxmlformats.org/officeDocument/2006/relationships/slide" Target="slides/slide229.xml"/><Relationship Id="rId440" Type="http://schemas.openxmlformats.org/officeDocument/2006/relationships/slide" Target="slides/slide436.xml"/><Relationship Id="rId678" Type="http://schemas.openxmlformats.org/officeDocument/2006/relationships/slide" Target="slides/slide674.xml"/><Relationship Id="rId885" Type="http://schemas.openxmlformats.org/officeDocument/2006/relationships/slide" Target="slides/slide881.xml"/><Relationship Id="rId1070" Type="http://schemas.openxmlformats.org/officeDocument/2006/relationships/slide" Target="slides/slide1066.xml"/><Relationship Id="rId28" Type="http://schemas.openxmlformats.org/officeDocument/2006/relationships/slide" Target="slides/slide24.xml"/><Relationship Id="rId300" Type="http://schemas.openxmlformats.org/officeDocument/2006/relationships/slide" Target="slides/slide296.xml"/><Relationship Id="rId538" Type="http://schemas.openxmlformats.org/officeDocument/2006/relationships/slide" Target="slides/slide534.xml"/><Relationship Id="rId745" Type="http://schemas.openxmlformats.org/officeDocument/2006/relationships/slide" Target="slides/slide741.xml"/><Relationship Id="rId952" Type="http://schemas.openxmlformats.org/officeDocument/2006/relationships/slide" Target="slides/slide948.xml"/><Relationship Id="rId1168" Type="http://schemas.openxmlformats.org/officeDocument/2006/relationships/slide" Target="slides/slide1164.xml"/><Relationship Id="rId81" Type="http://schemas.openxmlformats.org/officeDocument/2006/relationships/slide" Target="slides/slide77.xml"/><Relationship Id="rId177" Type="http://schemas.openxmlformats.org/officeDocument/2006/relationships/slide" Target="slides/slide173.xml"/><Relationship Id="rId384" Type="http://schemas.openxmlformats.org/officeDocument/2006/relationships/slide" Target="slides/slide380.xml"/><Relationship Id="rId591" Type="http://schemas.openxmlformats.org/officeDocument/2006/relationships/slide" Target="slides/slide587.xml"/><Relationship Id="rId605" Type="http://schemas.openxmlformats.org/officeDocument/2006/relationships/slide" Target="slides/slide601.xml"/><Relationship Id="rId812" Type="http://schemas.openxmlformats.org/officeDocument/2006/relationships/slide" Target="slides/slide808.xml"/><Relationship Id="rId1028" Type="http://schemas.openxmlformats.org/officeDocument/2006/relationships/slide" Target="slides/slide1024.xml"/><Relationship Id="rId244" Type="http://schemas.openxmlformats.org/officeDocument/2006/relationships/slide" Target="slides/slide240.xml"/><Relationship Id="rId689" Type="http://schemas.openxmlformats.org/officeDocument/2006/relationships/slide" Target="slides/slide685.xml"/><Relationship Id="rId896" Type="http://schemas.openxmlformats.org/officeDocument/2006/relationships/slide" Target="slides/slide892.xml"/><Relationship Id="rId1081" Type="http://schemas.openxmlformats.org/officeDocument/2006/relationships/slide" Target="slides/slide1077.xml"/><Relationship Id="rId39" Type="http://schemas.openxmlformats.org/officeDocument/2006/relationships/slide" Target="slides/slide35.xml"/><Relationship Id="rId451" Type="http://schemas.openxmlformats.org/officeDocument/2006/relationships/slide" Target="slides/slide447.xml"/><Relationship Id="rId549" Type="http://schemas.openxmlformats.org/officeDocument/2006/relationships/slide" Target="slides/slide545.xml"/><Relationship Id="rId756" Type="http://schemas.openxmlformats.org/officeDocument/2006/relationships/slide" Target="slides/slide752.xml"/><Relationship Id="rId104" Type="http://schemas.openxmlformats.org/officeDocument/2006/relationships/slide" Target="slides/slide100.xml"/><Relationship Id="rId188" Type="http://schemas.openxmlformats.org/officeDocument/2006/relationships/slide" Target="slides/slide184.xml"/><Relationship Id="rId311" Type="http://schemas.openxmlformats.org/officeDocument/2006/relationships/slide" Target="slides/slide307.xml"/><Relationship Id="rId395" Type="http://schemas.openxmlformats.org/officeDocument/2006/relationships/slide" Target="slides/slide391.xml"/><Relationship Id="rId409" Type="http://schemas.openxmlformats.org/officeDocument/2006/relationships/slide" Target="slides/slide405.xml"/><Relationship Id="rId963" Type="http://schemas.openxmlformats.org/officeDocument/2006/relationships/slide" Target="slides/slide959.xml"/><Relationship Id="rId1039" Type="http://schemas.openxmlformats.org/officeDocument/2006/relationships/slide" Target="slides/slide1035.xml"/><Relationship Id="rId92" Type="http://schemas.openxmlformats.org/officeDocument/2006/relationships/slide" Target="slides/slide88.xml"/><Relationship Id="rId616" Type="http://schemas.openxmlformats.org/officeDocument/2006/relationships/slide" Target="slides/slide612.xml"/><Relationship Id="rId823" Type="http://schemas.openxmlformats.org/officeDocument/2006/relationships/slide" Target="slides/slide819.xml"/><Relationship Id="rId255" Type="http://schemas.openxmlformats.org/officeDocument/2006/relationships/slide" Target="slides/slide251.xml"/><Relationship Id="rId462" Type="http://schemas.openxmlformats.org/officeDocument/2006/relationships/slide" Target="slides/slide458.xml"/><Relationship Id="rId1092" Type="http://schemas.openxmlformats.org/officeDocument/2006/relationships/slide" Target="slides/slide1088.xml"/><Relationship Id="rId1106" Type="http://schemas.openxmlformats.org/officeDocument/2006/relationships/slide" Target="slides/slide1102.xml"/><Relationship Id="rId115" Type="http://schemas.openxmlformats.org/officeDocument/2006/relationships/slide" Target="slides/slide111.xml"/><Relationship Id="rId322" Type="http://schemas.openxmlformats.org/officeDocument/2006/relationships/slide" Target="slides/slide318.xml"/><Relationship Id="rId767" Type="http://schemas.openxmlformats.org/officeDocument/2006/relationships/slide" Target="slides/slide763.xml"/><Relationship Id="rId974" Type="http://schemas.openxmlformats.org/officeDocument/2006/relationships/slide" Target="slides/slide970.xml"/><Relationship Id="rId199" Type="http://schemas.openxmlformats.org/officeDocument/2006/relationships/slide" Target="slides/slide195.xml"/><Relationship Id="rId627" Type="http://schemas.openxmlformats.org/officeDocument/2006/relationships/slide" Target="slides/slide623.xml"/><Relationship Id="rId834" Type="http://schemas.openxmlformats.org/officeDocument/2006/relationships/slide" Target="slides/slide830.xml"/><Relationship Id="rId266" Type="http://schemas.openxmlformats.org/officeDocument/2006/relationships/slide" Target="slides/slide262.xml"/><Relationship Id="rId473" Type="http://schemas.openxmlformats.org/officeDocument/2006/relationships/slide" Target="slides/slide469.xml"/><Relationship Id="rId680" Type="http://schemas.openxmlformats.org/officeDocument/2006/relationships/slide" Target="slides/slide676.xml"/><Relationship Id="rId901" Type="http://schemas.openxmlformats.org/officeDocument/2006/relationships/slide" Target="slides/slide897.xml"/><Relationship Id="rId1117" Type="http://schemas.openxmlformats.org/officeDocument/2006/relationships/slide" Target="slides/slide1113.xml"/><Relationship Id="rId30" Type="http://schemas.openxmlformats.org/officeDocument/2006/relationships/slide" Target="slides/slide26.xml"/><Relationship Id="rId126" Type="http://schemas.openxmlformats.org/officeDocument/2006/relationships/slide" Target="slides/slide122.xml"/><Relationship Id="rId333" Type="http://schemas.openxmlformats.org/officeDocument/2006/relationships/slide" Target="slides/slide329.xml"/><Relationship Id="rId540" Type="http://schemas.openxmlformats.org/officeDocument/2006/relationships/slide" Target="slides/slide536.xml"/><Relationship Id="rId778" Type="http://schemas.openxmlformats.org/officeDocument/2006/relationships/slide" Target="slides/slide774.xml"/><Relationship Id="rId985" Type="http://schemas.openxmlformats.org/officeDocument/2006/relationships/slide" Target="slides/slide981.xml"/><Relationship Id="rId1170" Type="http://schemas.openxmlformats.org/officeDocument/2006/relationships/presProps" Target="presProps.xml"/><Relationship Id="rId638" Type="http://schemas.openxmlformats.org/officeDocument/2006/relationships/slide" Target="slides/slide634.xml"/><Relationship Id="rId845" Type="http://schemas.openxmlformats.org/officeDocument/2006/relationships/slide" Target="slides/slide841.xml"/><Relationship Id="rId1030" Type="http://schemas.openxmlformats.org/officeDocument/2006/relationships/slide" Target="slides/slide1026.xml"/><Relationship Id="rId277" Type="http://schemas.openxmlformats.org/officeDocument/2006/relationships/slide" Target="slides/slide273.xml"/><Relationship Id="rId400" Type="http://schemas.openxmlformats.org/officeDocument/2006/relationships/slide" Target="slides/slide396.xml"/><Relationship Id="rId484" Type="http://schemas.openxmlformats.org/officeDocument/2006/relationships/slide" Target="slides/slide480.xml"/><Relationship Id="rId705" Type="http://schemas.openxmlformats.org/officeDocument/2006/relationships/slide" Target="slides/slide701.xml"/><Relationship Id="rId1128" Type="http://schemas.openxmlformats.org/officeDocument/2006/relationships/slide" Target="slides/slide1124.xml"/><Relationship Id="rId137" Type="http://schemas.openxmlformats.org/officeDocument/2006/relationships/slide" Target="slides/slide133.xml"/><Relationship Id="rId344" Type="http://schemas.openxmlformats.org/officeDocument/2006/relationships/slide" Target="slides/slide340.xml"/><Relationship Id="rId691" Type="http://schemas.openxmlformats.org/officeDocument/2006/relationships/slide" Target="slides/slide687.xml"/><Relationship Id="rId789" Type="http://schemas.openxmlformats.org/officeDocument/2006/relationships/slide" Target="slides/slide785.xml"/><Relationship Id="rId912" Type="http://schemas.openxmlformats.org/officeDocument/2006/relationships/slide" Target="slides/slide908.xml"/><Relationship Id="rId996" Type="http://schemas.openxmlformats.org/officeDocument/2006/relationships/slide" Target="slides/slide992.xml"/><Relationship Id="rId41" Type="http://schemas.openxmlformats.org/officeDocument/2006/relationships/slide" Target="slides/slide37.xml"/><Relationship Id="rId551" Type="http://schemas.openxmlformats.org/officeDocument/2006/relationships/slide" Target="slides/slide547.xml"/><Relationship Id="rId649" Type="http://schemas.openxmlformats.org/officeDocument/2006/relationships/slide" Target="slides/slide645.xml"/><Relationship Id="rId856" Type="http://schemas.openxmlformats.org/officeDocument/2006/relationships/slide" Target="slides/slide852.xml"/><Relationship Id="rId190" Type="http://schemas.openxmlformats.org/officeDocument/2006/relationships/slide" Target="slides/slide186.xml"/><Relationship Id="rId204" Type="http://schemas.openxmlformats.org/officeDocument/2006/relationships/slide" Target="slides/slide200.xml"/><Relationship Id="rId288" Type="http://schemas.openxmlformats.org/officeDocument/2006/relationships/slide" Target="slides/slide284.xml"/><Relationship Id="rId411" Type="http://schemas.openxmlformats.org/officeDocument/2006/relationships/slide" Target="slides/slide407.xml"/><Relationship Id="rId509" Type="http://schemas.openxmlformats.org/officeDocument/2006/relationships/slide" Target="slides/slide505.xml"/><Relationship Id="rId1041" Type="http://schemas.openxmlformats.org/officeDocument/2006/relationships/slide" Target="slides/slide1037.xml"/><Relationship Id="rId1139" Type="http://schemas.openxmlformats.org/officeDocument/2006/relationships/slide" Target="slides/slide1135.xml"/><Relationship Id="rId495" Type="http://schemas.openxmlformats.org/officeDocument/2006/relationships/slide" Target="slides/slide491.xml"/><Relationship Id="rId716" Type="http://schemas.openxmlformats.org/officeDocument/2006/relationships/slide" Target="slides/slide712.xml"/><Relationship Id="rId923" Type="http://schemas.openxmlformats.org/officeDocument/2006/relationships/slide" Target="slides/slide919.xml"/><Relationship Id="rId52" Type="http://schemas.openxmlformats.org/officeDocument/2006/relationships/slide" Target="slides/slide48.xml"/><Relationship Id="rId148" Type="http://schemas.openxmlformats.org/officeDocument/2006/relationships/slide" Target="slides/slide144.xml"/><Relationship Id="rId355" Type="http://schemas.openxmlformats.org/officeDocument/2006/relationships/slide" Target="slides/slide351.xml"/><Relationship Id="rId562" Type="http://schemas.openxmlformats.org/officeDocument/2006/relationships/slide" Target="slides/slide558.xml"/><Relationship Id="rId215" Type="http://schemas.openxmlformats.org/officeDocument/2006/relationships/slide" Target="slides/slide211.xml"/><Relationship Id="rId422" Type="http://schemas.openxmlformats.org/officeDocument/2006/relationships/slide" Target="slides/slide418.xml"/><Relationship Id="rId867" Type="http://schemas.openxmlformats.org/officeDocument/2006/relationships/slide" Target="slides/slide863.xml"/><Relationship Id="rId1052" Type="http://schemas.openxmlformats.org/officeDocument/2006/relationships/slide" Target="slides/slide1048.xml"/><Relationship Id="rId299" Type="http://schemas.openxmlformats.org/officeDocument/2006/relationships/slide" Target="slides/slide295.xml"/><Relationship Id="rId727" Type="http://schemas.openxmlformats.org/officeDocument/2006/relationships/slide" Target="slides/slide723.xml"/><Relationship Id="rId934" Type="http://schemas.openxmlformats.org/officeDocument/2006/relationships/slide" Target="slides/slide930.xml"/><Relationship Id="rId63" Type="http://schemas.openxmlformats.org/officeDocument/2006/relationships/slide" Target="slides/slide59.xml"/><Relationship Id="rId159" Type="http://schemas.openxmlformats.org/officeDocument/2006/relationships/slide" Target="slides/slide155.xml"/><Relationship Id="rId366" Type="http://schemas.openxmlformats.org/officeDocument/2006/relationships/slide" Target="slides/slide362.xml"/><Relationship Id="rId573" Type="http://schemas.openxmlformats.org/officeDocument/2006/relationships/slide" Target="slides/slide569.xml"/><Relationship Id="rId780" Type="http://schemas.openxmlformats.org/officeDocument/2006/relationships/slide" Target="slides/slide776.xml"/><Relationship Id="rId226" Type="http://schemas.openxmlformats.org/officeDocument/2006/relationships/slide" Target="slides/slide222.xml"/><Relationship Id="rId433" Type="http://schemas.openxmlformats.org/officeDocument/2006/relationships/slide" Target="slides/slide429.xml"/><Relationship Id="rId878" Type="http://schemas.openxmlformats.org/officeDocument/2006/relationships/slide" Target="slides/slide874.xml"/><Relationship Id="rId1063" Type="http://schemas.openxmlformats.org/officeDocument/2006/relationships/slide" Target="slides/slide1059.xml"/><Relationship Id="rId640" Type="http://schemas.openxmlformats.org/officeDocument/2006/relationships/slide" Target="slides/slide636.xml"/><Relationship Id="rId738" Type="http://schemas.openxmlformats.org/officeDocument/2006/relationships/slide" Target="slides/slide734.xml"/><Relationship Id="rId945" Type="http://schemas.openxmlformats.org/officeDocument/2006/relationships/slide" Target="slides/slide941.xml"/><Relationship Id="rId74" Type="http://schemas.openxmlformats.org/officeDocument/2006/relationships/slide" Target="slides/slide70.xml"/><Relationship Id="rId377" Type="http://schemas.openxmlformats.org/officeDocument/2006/relationships/slide" Target="slides/slide373.xml"/><Relationship Id="rId500" Type="http://schemas.openxmlformats.org/officeDocument/2006/relationships/slide" Target="slides/slide496.xml"/><Relationship Id="rId584" Type="http://schemas.openxmlformats.org/officeDocument/2006/relationships/slide" Target="slides/slide580.xml"/><Relationship Id="rId805" Type="http://schemas.openxmlformats.org/officeDocument/2006/relationships/slide" Target="slides/slide801.xml"/><Relationship Id="rId1130" Type="http://schemas.openxmlformats.org/officeDocument/2006/relationships/slide" Target="slides/slide1126.xml"/><Relationship Id="rId5" Type="http://schemas.openxmlformats.org/officeDocument/2006/relationships/slide" Target="slides/slide1.xml"/><Relationship Id="rId237" Type="http://schemas.openxmlformats.org/officeDocument/2006/relationships/slide" Target="slides/slide233.xml"/><Relationship Id="rId791" Type="http://schemas.openxmlformats.org/officeDocument/2006/relationships/slide" Target="slides/slide787.xml"/><Relationship Id="rId889" Type="http://schemas.openxmlformats.org/officeDocument/2006/relationships/slide" Target="slides/slide885.xml"/><Relationship Id="rId1074" Type="http://schemas.openxmlformats.org/officeDocument/2006/relationships/slide" Target="slides/slide1070.xml"/><Relationship Id="rId444" Type="http://schemas.openxmlformats.org/officeDocument/2006/relationships/slide" Target="slides/slide440.xml"/><Relationship Id="rId651" Type="http://schemas.openxmlformats.org/officeDocument/2006/relationships/slide" Target="slides/slide647.xml"/><Relationship Id="rId749" Type="http://schemas.openxmlformats.org/officeDocument/2006/relationships/slide" Target="slides/slide745.xml"/><Relationship Id="rId290" Type="http://schemas.openxmlformats.org/officeDocument/2006/relationships/slide" Target="slides/slide286.xml"/><Relationship Id="rId304" Type="http://schemas.openxmlformats.org/officeDocument/2006/relationships/slide" Target="slides/slide300.xml"/><Relationship Id="rId388" Type="http://schemas.openxmlformats.org/officeDocument/2006/relationships/slide" Target="slides/slide384.xml"/><Relationship Id="rId511" Type="http://schemas.openxmlformats.org/officeDocument/2006/relationships/slide" Target="slides/slide507.xml"/><Relationship Id="rId609" Type="http://schemas.openxmlformats.org/officeDocument/2006/relationships/slide" Target="slides/slide605.xml"/><Relationship Id="rId956" Type="http://schemas.openxmlformats.org/officeDocument/2006/relationships/slide" Target="slides/slide952.xml"/><Relationship Id="rId1141" Type="http://schemas.openxmlformats.org/officeDocument/2006/relationships/slide" Target="slides/slide1137.xml"/><Relationship Id="rId85" Type="http://schemas.openxmlformats.org/officeDocument/2006/relationships/slide" Target="slides/slide81.xml"/><Relationship Id="rId150" Type="http://schemas.openxmlformats.org/officeDocument/2006/relationships/slide" Target="slides/slide146.xml"/><Relationship Id="rId595" Type="http://schemas.openxmlformats.org/officeDocument/2006/relationships/slide" Target="slides/slide591.xml"/><Relationship Id="rId816" Type="http://schemas.openxmlformats.org/officeDocument/2006/relationships/slide" Target="slides/slide812.xml"/><Relationship Id="rId1001" Type="http://schemas.openxmlformats.org/officeDocument/2006/relationships/slide" Target="slides/slide997.xml"/><Relationship Id="rId248" Type="http://schemas.openxmlformats.org/officeDocument/2006/relationships/slide" Target="slides/slide244.xml"/><Relationship Id="rId455" Type="http://schemas.openxmlformats.org/officeDocument/2006/relationships/slide" Target="slides/slide451.xml"/><Relationship Id="rId662" Type="http://schemas.openxmlformats.org/officeDocument/2006/relationships/slide" Target="slides/slide658.xml"/><Relationship Id="rId1085" Type="http://schemas.openxmlformats.org/officeDocument/2006/relationships/slide" Target="slides/slide1081.xml"/><Relationship Id="rId12" Type="http://schemas.openxmlformats.org/officeDocument/2006/relationships/slide" Target="slides/slide8.xml"/><Relationship Id="rId108" Type="http://schemas.openxmlformats.org/officeDocument/2006/relationships/slide" Target="slides/slide104.xml"/><Relationship Id="rId315" Type="http://schemas.openxmlformats.org/officeDocument/2006/relationships/slide" Target="slides/slide311.xml"/><Relationship Id="rId522" Type="http://schemas.openxmlformats.org/officeDocument/2006/relationships/slide" Target="slides/slide518.xml"/><Relationship Id="rId967" Type="http://schemas.openxmlformats.org/officeDocument/2006/relationships/slide" Target="slides/slide963.xml"/><Relationship Id="rId1152" Type="http://schemas.openxmlformats.org/officeDocument/2006/relationships/slide" Target="slides/slide1148.xml"/><Relationship Id="rId96" Type="http://schemas.openxmlformats.org/officeDocument/2006/relationships/slide" Target="slides/slide92.xml"/><Relationship Id="rId161" Type="http://schemas.openxmlformats.org/officeDocument/2006/relationships/slide" Target="slides/slide157.xml"/><Relationship Id="rId399" Type="http://schemas.openxmlformats.org/officeDocument/2006/relationships/slide" Target="slides/slide395.xml"/><Relationship Id="rId827" Type="http://schemas.openxmlformats.org/officeDocument/2006/relationships/slide" Target="slides/slide823.xml"/><Relationship Id="rId1012" Type="http://schemas.openxmlformats.org/officeDocument/2006/relationships/slide" Target="slides/slide1008.xml"/><Relationship Id="rId259" Type="http://schemas.openxmlformats.org/officeDocument/2006/relationships/slide" Target="slides/slide255.xml"/><Relationship Id="rId466" Type="http://schemas.openxmlformats.org/officeDocument/2006/relationships/slide" Target="slides/slide462.xml"/><Relationship Id="rId673" Type="http://schemas.openxmlformats.org/officeDocument/2006/relationships/slide" Target="slides/slide669.xml"/><Relationship Id="rId880" Type="http://schemas.openxmlformats.org/officeDocument/2006/relationships/slide" Target="slides/slide876.xml"/><Relationship Id="rId1096" Type="http://schemas.openxmlformats.org/officeDocument/2006/relationships/slide" Target="slides/slide1092.xml"/><Relationship Id="rId23" Type="http://schemas.openxmlformats.org/officeDocument/2006/relationships/slide" Target="slides/slide19.xml"/><Relationship Id="rId119" Type="http://schemas.openxmlformats.org/officeDocument/2006/relationships/slide" Target="slides/slide115.xml"/><Relationship Id="rId326" Type="http://schemas.openxmlformats.org/officeDocument/2006/relationships/slide" Target="slides/slide322.xml"/><Relationship Id="rId533" Type="http://schemas.openxmlformats.org/officeDocument/2006/relationships/slide" Target="slides/slide529.xml"/><Relationship Id="rId978" Type="http://schemas.openxmlformats.org/officeDocument/2006/relationships/slide" Target="slides/slide974.xml"/><Relationship Id="rId1163" Type="http://schemas.openxmlformats.org/officeDocument/2006/relationships/slide" Target="slides/slide1159.xml"/><Relationship Id="rId740" Type="http://schemas.openxmlformats.org/officeDocument/2006/relationships/slide" Target="slides/slide736.xml"/><Relationship Id="rId838" Type="http://schemas.openxmlformats.org/officeDocument/2006/relationships/slide" Target="slides/slide834.xml"/><Relationship Id="rId1023" Type="http://schemas.openxmlformats.org/officeDocument/2006/relationships/slide" Target="slides/slide1019.xml"/><Relationship Id="rId172" Type="http://schemas.openxmlformats.org/officeDocument/2006/relationships/slide" Target="slides/slide168.xml"/><Relationship Id="rId477" Type="http://schemas.openxmlformats.org/officeDocument/2006/relationships/slide" Target="slides/slide473.xml"/><Relationship Id="rId600" Type="http://schemas.openxmlformats.org/officeDocument/2006/relationships/slide" Target="slides/slide596.xml"/><Relationship Id="rId684" Type="http://schemas.openxmlformats.org/officeDocument/2006/relationships/slide" Target="slides/slide680.xml"/><Relationship Id="rId337" Type="http://schemas.openxmlformats.org/officeDocument/2006/relationships/slide" Target="slides/slide333.xml"/><Relationship Id="rId891" Type="http://schemas.openxmlformats.org/officeDocument/2006/relationships/slide" Target="slides/slide887.xml"/><Relationship Id="rId905" Type="http://schemas.openxmlformats.org/officeDocument/2006/relationships/slide" Target="slides/slide901.xml"/><Relationship Id="rId989" Type="http://schemas.openxmlformats.org/officeDocument/2006/relationships/slide" Target="slides/slide985.xml"/><Relationship Id="rId34" Type="http://schemas.openxmlformats.org/officeDocument/2006/relationships/slide" Target="slides/slide30.xml"/><Relationship Id="rId544" Type="http://schemas.openxmlformats.org/officeDocument/2006/relationships/slide" Target="slides/slide540.xml"/><Relationship Id="rId751" Type="http://schemas.openxmlformats.org/officeDocument/2006/relationships/slide" Target="slides/slide747.xml"/><Relationship Id="rId849" Type="http://schemas.openxmlformats.org/officeDocument/2006/relationships/slide" Target="slides/slide845.xml"/><Relationship Id="rId1174" Type="http://schemas.microsoft.com/office/2015/10/relationships/revisionInfo" Target="revisionInfo.xml"/><Relationship Id="rId183" Type="http://schemas.openxmlformats.org/officeDocument/2006/relationships/slide" Target="slides/slide179.xml"/><Relationship Id="rId390" Type="http://schemas.openxmlformats.org/officeDocument/2006/relationships/slide" Target="slides/slide386.xml"/><Relationship Id="rId404" Type="http://schemas.openxmlformats.org/officeDocument/2006/relationships/slide" Target="slides/slide400.xml"/><Relationship Id="rId611" Type="http://schemas.openxmlformats.org/officeDocument/2006/relationships/slide" Target="slides/slide607.xml"/><Relationship Id="rId1034" Type="http://schemas.openxmlformats.org/officeDocument/2006/relationships/slide" Target="slides/slide1030.xml"/><Relationship Id="rId250" Type="http://schemas.openxmlformats.org/officeDocument/2006/relationships/slide" Target="slides/slide246.xml"/><Relationship Id="rId488" Type="http://schemas.openxmlformats.org/officeDocument/2006/relationships/slide" Target="slides/slide484.xml"/><Relationship Id="rId695" Type="http://schemas.openxmlformats.org/officeDocument/2006/relationships/slide" Target="slides/slide691.xml"/><Relationship Id="rId709" Type="http://schemas.openxmlformats.org/officeDocument/2006/relationships/slide" Target="slides/slide705.xml"/><Relationship Id="rId916" Type="http://schemas.openxmlformats.org/officeDocument/2006/relationships/slide" Target="slides/slide912.xml"/><Relationship Id="rId1101" Type="http://schemas.openxmlformats.org/officeDocument/2006/relationships/slide" Target="slides/slide1097.xml"/><Relationship Id="rId45" Type="http://schemas.openxmlformats.org/officeDocument/2006/relationships/slide" Target="slides/slide41.xml"/><Relationship Id="rId110" Type="http://schemas.openxmlformats.org/officeDocument/2006/relationships/slide" Target="slides/slide106.xml"/><Relationship Id="rId348" Type="http://schemas.openxmlformats.org/officeDocument/2006/relationships/slide" Target="slides/slide344.xml"/><Relationship Id="rId555" Type="http://schemas.openxmlformats.org/officeDocument/2006/relationships/slide" Target="slides/slide551.xml"/><Relationship Id="rId762" Type="http://schemas.openxmlformats.org/officeDocument/2006/relationships/slide" Target="slides/slide758.xml"/><Relationship Id="rId194" Type="http://schemas.openxmlformats.org/officeDocument/2006/relationships/slide" Target="slides/slide190.xml"/><Relationship Id="rId208" Type="http://schemas.openxmlformats.org/officeDocument/2006/relationships/slide" Target="slides/slide204.xml"/><Relationship Id="rId415" Type="http://schemas.openxmlformats.org/officeDocument/2006/relationships/slide" Target="slides/slide411.xml"/><Relationship Id="rId622" Type="http://schemas.openxmlformats.org/officeDocument/2006/relationships/slide" Target="slides/slide618.xml"/><Relationship Id="rId1045" Type="http://schemas.openxmlformats.org/officeDocument/2006/relationships/slide" Target="slides/slide1041.xml"/><Relationship Id="rId261" Type="http://schemas.openxmlformats.org/officeDocument/2006/relationships/slide" Target="slides/slide257.xml"/><Relationship Id="rId499" Type="http://schemas.openxmlformats.org/officeDocument/2006/relationships/slide" Target="slides/slide495.xml"/><Relationship Id="rId927" Type="http://schemas.openxmlformats.org/officeDocument/2006/relationships/slide" Target="slides/slide923.xml"/><Relationship Id="rId1112" Type="http://schemas.openxmlformats.org/officeDocument/2006/relationships/slide" Target="slides/slide1108.xml"/><Relationship Id="rId56" Type="http://schemas.openxmlformats.org/officeDocument/2006/relationships/slide" Target="slides/slide52.xml"/><Relationship Id="rId359" Type="http://schemas.openxmlformats.org/officeDocument/2006/relationships/slide" Target="slides/slide355.xml"/><Relationship Id="rId566" Type="http://schemas.openxmlformats.org/officeDocument/2006/relationships/slide" Target="slides/slide562.xml"/><Relationship Id="rId773" Type="http://schemas.openxmlformats.org/officeDocument/2006/relationships/slide" Target="slides/slide769.xml"/><Relationship Id="rId121" Type="http://schemas.openxmlformats.org/officeDocument/2006/relationships/slide" Target="slides/slide117.xml"/><Relationship Id="rId219" Type="http://schemas.openxmlformats.org/officeDocument/2006/relationships/slide" Target="slides/slide215.xml"/><Relationship Id="rId426" Type="http://schemas.openxmlformats.org/officeDocument/2006/relationships/slide" Target="slides/slide422.xml"/><Relationship Id="rId633" Type="http://schemas.openxmlformats.org/officeDocument/2006/relationships/slide" Target="slides/slide629.xml"/><Relationship Id="rId980" Type="http://schemas.openxmlformats.org/officeDocument/2006/relationships/slide" Target="slides/slide976.xml"/><Relationship Id="rId1056" Type="http://schemas.openxmlformats.org/officeDocument/2006/relationships/slide" Target="slides/slide1052.xml"/><Relationship Id="rId840" Type="http://schemas.openxmlformats.org/officeDocument/2006/relationships/slide" Target="slides/slide836.xml"/><Relationship Id="rId938" Type="http://schemas.openxmlformats.org/officeDocument/2006/relationships/slide" Target="slides/slide934.xml"/><Relationship Id="rId67" Type="http://schemas.openxmlformats.org/officeDocument/2006/relationships/slide" Target="slides/slide63.xml"/><Relationship Id="rId272" Type="http://schemas.openxmlformats.org/officeDocument/2006/relationships/slide" Target="slides/slide268.xml"/><Relationship Id="rId577" Type="http://schemas.openxmlformats.org/officeDocument/2006/relationships/slide" Target="slides/slide573.xml"/><Relationship Id="rId700" Type="http://schemas.openxmlformats.org/officeDocument/2006/relationships/slide" Target="slides/slide696.xml"/><Relationship Id="rId1123" Type="http://schemas.openxmlformats.org/officeDocument/2006/relationships/slide" Target="slides/slide1119.xml"/><Relationship Id="rId132" Type="http://schemas.openxmlformats.org/officeDocument/2006/relationships/slide" Target="slides/slide128.xml"/><Relationship Id="rId784" Type="http://schemas.openxmlformats.org/officeDocument/2006/relationships/slide" Target="slides/slide780.xml"/><Relationship Id="rId991" Type="http://schemas.openxmlformats.org/officeDocument/2006/relationships/slide" Target="slides/slide987.xml"/><Relationship Id="rId1067" Type="http://schemas.openxmlformats.org/officeDocument/2006/relationships/slide" Target="slides/slide1063.xml"/><Relationship Id="rId437" Type="http://schemas.openxmlformats.org/officeDocument/2006/relationships/slide" Target="slides/slide433.xml"/><Relationship Id="rId644" Type="http://schemas.openxmlformats.org/officeDocument/2006/relationships/slide" Target="slides/slide640.xml"/><Relationship Id="rId851" Type="http://schemas.openxmlformats.org/officeDocument/2006/relationships/slide" Target="slides/slide847.xml"/><Relationship Id="rId283" Type="http://schemas.openxmlformats.org/officeDocument/2006/relationships/slide" Target="slides/slide279.xml"/><Relationship Id="rId490" Type="http://schemas.openxmlformats.org/officeDocument/2006/relationships/slide" Target="slides/slide486.xml"/><Relationship Id="rId504" Type="http://schemas.openxmlformats.org/officeDocument/2006/relationships/slide" Target="slides/slide500.xml"/><Relationship Id="rId711" Type="http://schemas.openxmlformats.org/officeDocument/2006/relationships/slide" Target="slides/slide707.xml"/><Relationship Id="rId949" Type="http://schemas.openxmlformats.org/officeDocument/2006/relationships/slide" Target="slides/slide945.xml"/><Relationship Id="rId1134" Type="http://schemas.openxmlformats.org/officeDocument/2006/relationships/slide" Target="slides/slide1130.xml"/><Relationship Id="rId78" Type="http://schemas.openxmlformats.org/officeDocument/2006/relationships/slide" Target="slides/slide74.xml"/><Relationship Id="rId143" Type="http://schemas.openxmlformats.org/officeDocument/2006/relationships/slide" Target="slides/slide139.xml"/><Relationship Id="rId350" Type="http://schemas.openxmlformats.org/officeDocument/2006/relationships/slide" Target="slides/slide346.xml"/><Relationship Id="rId588" Type="http://schemas.openxmlformats.org/officeDocument/2006/relationships/slide" Target="slides/slide584.xml"/><Relationship Id="rId795" Type="http://schemas.openxmlformats.org/officeDocument/2006/relationships/slide" Target="slides/slide791.xml"/><Relationship Id="rId809" Type="http://schemas.openxmlformats.org/officeDocument/2006/relationships/slide" Target="slides/slide805.xml"/><Relationship Id="rId9" Type="http://schemas.openxmlformats.org/officeDocument/2006/relationships/slide" Target="slides/slide5.xml"/><Relationship Id="rId210" Type="http://schemas.openxmlformats.org/officeDocument/2006/relationships/slide" Target="slides/slide206.xml"/><Relationship Id="rId448" Type="http://schemas.openxmlformats.org/officeDocument/2006/relationships/slide" Target="slides/slide444.xml"/><Relationship Id="rId655" Type="http://schemas.openxmlformats.org/officeDocument/2006/relationships/slide" Target="slides/slide651.xml"/><Relationship Id="rId862" Type="http://schemas.openxmlformats.org/officeDocument/2006/relationships/slide" Target="slides/slide858.xml"/><Relationship Id="rId1078" Type="http://schemas.openxmlformats.org/officeDocument/2006/relationships/slide" Target="slides/slide1074.xml"/><Relationship Id="rId294" Type="http://schemas.openxmlformats.org/officeDocument/2006/relationships/slide" Target="slides/slide290.xml"/><Relationship Id="rId308" Type="http://schemas.openxmlformats.org/officeDocument/2006/relationships/slide" Target="slides/slide304.xml"/><Relationship Id="rId515" Type="http://schemas.openxmlformats.org/officeDocument/2006/relationships/slide" Target="slides/slide511.xml"/><Relationship Id="rId722" Type="http://schemas.openxmlformats.org/officeDocument/2006/relationships/slide" Target="slides/slide718.xml"/><Relationship Id="rId1145" Type="http://schemas.openxmlformats.org/officeDocument/2006/relationships/slide" Target="slides/slide1141.xml"/><Relationship Id="rId89" Type="http://schemas.openxmlformats.org/officeDocument/2006/relationships/slide" Target="slides/slide85.xml"/><Relationship Id="rId154" Type="http://schemas.openxmlformats.org/officeDocument/2006/relationships/slide" Target="slides/slide150.xml"/><Relationship Id="rId361" Type="http://schemas.openxmlformats.org/officeDocument/2006/relationships/slide" Target="slides/slide357.xml"/><Relationship Id="rId599" Type="http://schemas.openxmlformats.org/officeDocument/2006/relationships/slide" Target="slides/slide595.xml"/><Relationship Id="rId1005" Type="http://schemas.openxmlformats.org/officeDocument/2006/relationships/slide" Target="slides/slide1001.xml"/><Relationship Id="rId459" Type="http://schemas.openxmlformats.org/officeDocument/2006/relationships/slide" Target="slides/slide455.xml"/><Relationship Id="rId666" Type="http://schemas.openxmlformats.org/officeDocument/2006/relationships/slide" Target="slides/slide662.xml"/><Relationship Id="rId873" Type="http://schemas.openxmlformats.org/officeDocument/2006/relationships/slide" Target="slides/slide869.xml"/><Relationship Id="rId1089" Type="http://schemas.openxmlformats.org/officeDocument/2006/relationships/slide" Target="slides/slide1085.xml"/><Relationship Id="rId16" Type="http://schemas.openxmlformats.org/officeDocument/2006/relationships/slide" Target="slides/slide12.xml"/><Relationship Id="rId221" Type="http://schemas.openxmlformats.org/officeDocument/2006/relationships/slide" Target="slides/slide217.xml"/><Relationship Id="rId319" Type="http://schemas.openxmlformats.org/officeDocument/2006/relationships/slide" Target="slides/slide315.xml"/><Relationship Id="rId526" Type="http://schemas.openxmlformats.org/officeDocument/2006/relationships/slide" Target="slides/slide522.xml"/><Relationship Id="rId1156" Type="http://schemas.openxmlformats.org/officeDocument/2006/relationships/slide" Target="slides/slide1152.xml"/><Relationship Id="rId733" Type="http://schemas.openxmlformats.org/officeDocument/2006/relationships/slide" Target="slides/slide729.xml"/><Relationship Id="rId940" Type="http://schemas.openxmlformats.org/officeDocument/2006/relationships/slide" Target="slides/slide936.xml"/><Relationship Id="rId1016" Type="http://schemas.openxmlformats.org/officeDocument/2006/relationships/slide" Target="slides/slide1012.xml"/><Relationship Id="rId165" Type="http://schemas.openxmlformats.org/officeDocument/2006/relationships/slide" Target="slides/slide161.xml"/><Relationship Id="rId372" Type="http://schemas.openxmlformats.org/officeDocument/2006/relationships/slide" Target="slides/slide368.xml"/><Relationship Id="rId677" Type="http://schemas.openxmlformats.org/officeDocument/2006/relationships/slide" Target="slides/slide673.xml"/><Relationship Id="rId800" Type="http://schemas.openxmlformats.org/officeDocument/2006/relationships/slide" Target="slides/slide796.xml"/><Relationship Id="rId232" Type="http://schemas.openxmlformats.org/officeDocument/2006/relationships/slide" Target="slides/slide228.xml"/><Relationship Id="rId884" Type="http://schemas.openxmlformats.org/officeDocument/2006/relationships/slide" Target="slides/slide880.xml"/><Relationship Id="rId27" Type="http://schemas.openxmlformats.org/officeDocument/2006/relationships/slide" Target="slides/slide23.xml"/><Relationship Id="rId537" Type="http://schemas.openxmlformats.org/officeDocument/2006/relationships/slide" Target="slides/slide533.xml"/><Relationship Id="rId744" Type="http://schemas.openxmlformats.org/officeDocument/2006/relationships/slide" Target="slides/slide740.xml"/><Relationship Id="rId951" Type="http://schemas.openxmlformats.org/officeDocument/2006/relationships/slide" Target="slides/slide947.xml"/><Relationship Id="rId1167" Type="http://schemas.openxmlformats.org/officeDocument/2006/relationships/slide" Target="slides/slide1163.xml"/><Relationship Id="rId80" Type="http://schemas.openxmlformats.org/officeDocument/2006/relationships/slide" Target="slides/slide76.xml"/><Relationship Id="rId176" Type="http://schemas.openxmlformats.org/officeDocument/2006/relationships/slide" Target="slides/slide172.xml"/><Relationship Id="rId383" Type="http://schemas.openxmlformats.org/officeDocument/2006/relationships/slide" Target="slides/slide379.xml"/><Relationship Id="rId590" Type="http://schemas.openxmlformats.org/officeDocument/2006/relationships/slide" Target="slides/slide586.xml"/><Relationship Id="rId604" Type="http://schemas.openxmlformats.org/officeDocument/2006/relationships/slide" Target="slides/slide600.xml"/><Relationship Id="rId811" Type="http://schemas.openxmlformats.org/officeDocument/2006/relationships/slide" Target="slides/slide807.xml"/><Relationship Id="rId1027" Type="http://schemas.openxmlformats.org/officeDocument/2006/relationships/slide" Target="slides/slide1023.xml"/><Relationship Id="rId243" Type="http://schemas.openxmlformats.org/officeDocument/2006/relationships/slide" Target="slides/slide239.xml"/><Relationship Id="rId450" Type="http://schemas.openxmlformats.org/officeDocument/2006/relationships/slide" Target="slides/slide446.xml"/><Relationship Id="rId688" Type="http://schemas.openxmlformats.org/officeDocument/2006/relationships/slide" Target="slides/slide684.xml"/><Relationship Id="rId895" Type="http://schemas.openxmlformats.org/officeDocument/2006/relationships/slide" Target="slides/slide891.xml"/><Relationship Id="rId909" Type="http://schemas.openxmlformats.org/officeDocument/2006/relationships/slide" Target="slides/slide905.xml"/><Relationship Id="rId1080" Type="http://schemas.openxmlformats.org/officeDocument/2006/relationships/slide" Target="slides/slide1076.xml"/><Relationship Id="rId38" Type="http://schemas.openxmlformats.org/officeDocument/2006/relationships/slide" Target="slides/slide34.xml"/><Relationship Id="rId103" Type="http://schemas.openxmlformats.org/officeDocument/2006/relationships/slide" Target="slides/slide99.xml"/><Relationship Id="rId310" Type="http://schemas.openxmlformats.org/officeDocument/2006/relationships/slide" Target="slides/slide306.xml"/><Relationship Id="rId548" Type="http://schemas.openxmlformats.org/officeDocument/2006/relationships/slide" Target="slides/slide544.xml"/><Relationship Id="rId755" Type="http://schemas.openxmlformats.org/officeDocument/2006/relationships/slide" Target="slides/slide751.xml"/><Relationship Id="rId962" Type="http://schemas.openxmlformats.org/officeDocument/2006/relationships/slide" Target="slides/slide958.xml"/><Relationship Id="rId91" Type="http://schemas.openxmlformats.org/officeDocument/2006/relationships/slide" Target="slides/slide87.xml"/><Relationship Id="rId187" Type="http://schemas.openxmlformats.org/officeDocument/2006/relationships/slide" Target="slides/slide183.xml"/><Relationship Id="rId394" Type="http://schemas.openxmlformats.org/officeDocument/2006/relationships/slide" Target="slides/slide390.xml"/><Relationship Id="rId408" Type="http://schemas.openxmlformats.org/officeDocument/2006/relationships/slide" Target="slides/slide404.xml"/><Relationship Id="rId615" Type="http://schemas.openxmlformats.org/officeDocument/2006/relationships/slide" Target="slides/slide611.xml"/><Relationship Id="rId822" Type="http://schemas.openxmlformats.org/officeDocument/2006/relationships/slide" Target="slides/slide818.xml"/><Relationship Id="rId1038" Type="http://schemas.openxmlformats.org/officeDocument/2006/relationships/slide" Target="slides/slide1034.xml"/><Relationship Id="rId254" Type="http://schemas.openxmlformats.org/officeDocument/2006/relationships/slide" Target="slides/slide250.xml"/><Relationship Id="rId699" Type="http://schemas.openxmlformats.org/officeDocument/2006/relationships/slide" Target="slides/slide695.xml"/><Relationship Id="rId1091" Type="http://schemas.openxmlformats.org/officeDocument/2006/relationships/slide" Target="slides/slide1087.xml"/><Relationship Id="rId1105" Type="http://schemas.openxmlformats.org/officeDocument/2006/relationships/slide" Target="slides/slide1101.xml"/><Relationship Id="rId49" Type="http://schemas.openxmlformats.org/officeDocument/2006/relationships/slide" Target="slides/slide45.xml"/><Relationship Id="rId114" Type="http://schemas.openxmlformats.org/officeDocument/2006/relationships/slide" Target="slides/slide110.xml"/><Relationship Id="rId461" Type="http://schemas.openxmlformats.org/officeDocument/2006/relationships/slide" Target="slides/slide457.xml"/><Relationship Id="rId559" Type="http://schemas.openxmlformats.org/officeDocument/2006/relationships/slide" Target="slides/slide555.xml"/><Relationship Id="rId766" Type="http://schemas.openxmlformats.org/officeDocument/2006/relationships/slide" Target="slides/slide762.xml"/><Relationship Id="rId198" Type="http://schemas.openxmlformats.org/officeDocument/2006/relationships/slide" Target="slides/slide194.xml"/><Relationship Id="rId321" Type="http://schemas.openxmlformats.org/officeDocument/2006/relationships/slide" Target="slides/slide317.xml"/><Relationship Id="rId419" Type="http://schemas.openxmlformats.org/officeDocument/2006/relationships/slide" Target="slides/slide415.xml"/><Relationship Id="rId626" Type="http://schemas.openxmlformats.org/officeDocument/2006/relationships/slide" Target="slides/slide622.xml"/><Relationship Id="rId973" Type="http://schemas.openxmlformats.org/officeDocument/2006/relationships/slide" Target="slides/slide969.xml"/><Relationship Id="rId1049" Type="http://schemas.openxmlformats.org/officeDocument/2006/relationships/slide" Target="slides/slide1045.xml"/><Relationship Id="rId833" Type="http://schemas.openxmlformats.org/officeDocument/2006/relationships/slide" Target="slides/slide829.xml"/><Relationship Id="rId1116" Type="http://schemas.openxmlformats.org/officeDocument/2006/relationships/slide" Target="slides/slide1112.xml"/><Relationship Id="rId265" Type="http://schemas.openxmlformats.org/officeDocument/2006/relationships/slide" Target="slides/slide261.xml"/><Relationship Id="rId472" Type="http://schemas.openxmlformats.org/officeDocument/2006/relationships/slide" Target="slides/slide468.xml"/><Relationship Id="rId900" Type="http://schemas.openxmlformats.org/officeDocument/2006/relationships/slide" Target="slides/slide896.xml"/><Relationship Id="rId125" Type="http://schemas.openxmlformats.org/officeDocument/2006/relationships/slide" Target="slides/slide121.xml"/><Relationship Id="rId332" Type="http://schemas.openxmlformats.org/officeDocument/2006/relationships/slide" Target="slides/slide328.xml"/><Relationship Id="rId777" Type="http://schemas.openxmlformats.org/officeDocument/2006/relationships/slide" Target="slides/slide773.xml"/><Relationship Id="rId984" Type="http://schemas.openxmlformats.org/officeDocument/2006/relationships/slide" Target="slides/slide980.xml"/><Relationship Id="rId637" Type="http://schemas.openxmlformats.org/officeDocument/2006/relationships/slide" Target="slides/slide633.xml"/><Relationship Id="rId844" Type="http://schemas.openxmlformats.org/officeDocument/2006/relationships/slide" Target="slides/slide840.xml"/><Relationship Id="rId276" Type="http://schemas.openxmlformats.org/officeDocument/2006/relationships/slide" Target="slides/slide272.xml"/><Relationship Id="rId483" Type="http://schemas.openxmlformats.org/officeDocument/2006/relationships/slide" Target="slides/slide479.xml"/><Relationship Id="rId690" Type="http://schemas.openxmlformats.org/officeDocument/2006/relationships/slide" Target="slides/slide686.xml"/><Relationship Id="rId704" Type="http://schemas.openxmlformats.org/officeDocument/2006/relationships/slide" Target="slides/slide700.xml"/><Relationship Id="rId911" Type="http://schemas.openxmlformats.org/officeDocument/2006/relationships/slide" Target="slides/slide907.xml"/><Relationship Id="rId1127" Type="http://schemas.openxmlformats.org/officeDocument/2006/relationships/slide" Target="slides/slide1123.xml"/><Relationship Id="rId40" Type="http://schemas.openxmlformats.org/officeDocument/2006/relationships/slide" Target="slides/slide36.xml"/><Relationship Id="rId136" Type="http://schemas.openxmlformats.org/officeDocument/2006/relationships/slide" Target="slides/slide132.xml"/><Relationship Id="rId343" Type="http://schemas.openxmlformats.org/officeDocument/2006/relationships/slide" Target="slides/slide339.xml"/><Relationship Id="rId550" Type="http://schemas.openxmlformats.org/officeDocument/2006/relationships/slide" Target="slides/slide546.xml"/><Relationship Id="rId788" Type="http://schemas.openxmlformats.org/officeDocument/2006/relationships/slide" Target="slides/slide784.xml"/><Relationship Id="rId995" Type="http://schemas.openxmlformats.org/officeDocument/2006/relationships/slide" Target="slides/slide991.xml"/><Relationship Id="rId203" Type="http://schemas.openxmlformats.org/officeDocument/2006/relationships/slide" Target="slides/slide199.xml"/><Relationship Id="rId648" Type="http://schemas.openxmlformats.org/officeDocument/2006/relationships/slide" Target="slides/slide644.xml"/><Relationship Id="rId855" Type="http://schemas.openxmlformats.org/officeDocument/2006/relationships/slide" Target="slides/slide851.xml"/><Relationship Id="rId1040" Type="http://schemas.openxmlformats.org/officeDocument/2006/relationships/slide" Target="slides/slide1036.xml"/><Relationship Id="rId287" Type="http://schemas.openxmlformats.org/officeDocument/2006/relationships/slide" Target="slides/slide283.xml"/><Relationship Id="rId410" Type="http://schemas.openxmlformats.org/officeDocument/2006/relationships/slide" Target="slides/slide406.xml"/><Relationship Id="rId494" Type="http://schemas.openxmlformats.org/officeDocument/2006/relationships/slide" Target="slides/slide490.xml"/><Relationship Id="rId508" Type="http://schemas.openxmlformats.org/officeDocument/2006/relationships/slide" Target="slides/slide504.xml"/><Relationship Id="rId715" Type="http://schemas.openxmlformats.org/officeDocument/2006/relationships/slide" Target="slides/slide711.xml"/><Relationship Id="rId922" Type="http://schemas.openxmlformats.org/officeDocument/2006/relationships/slide" Target="slides/slide918.xml"/><Relationship Id="rId1138" Type="http://schemas.openxmlformats.org/officeDocument/2006/relationships/slide" Target="slides/slide1134.xml"/><Relationship Id="rId147" Type="http://schemas.openxmlformats.org/officeDocument/2006/relationships/slide" Target="slides/slide143.xml"/><Relationship Id="rId354" Type="http://schemas.openxmlformats.org/officeDocument/2006/relationships/slide" Target="slides/slide350.xml"/><Relationship Id="rId799" Type="http://schemas.openxmlformats.org/officeDocument/2006/relationships/slide" Target="slides/slide795.xml"/><Relationship Id="rId51" Type="http://schemas.openxmlformats.org/officeDocument/2006/relationships/slide" Target="slides/slide47.xml"/><Relationship Id="rId561" Type="http://schemas.openxmlformats.org/officeDocument/2006/relationships/slide" Target="slides/slide557.xml"/><Relationship Id="rId659" Type="http://schemas.openxmlformats.org/officeDocument/2006/relationships/slide" Target="slides/slide655.xml"/><Relationship Id="rId866" Type="http://schemas.openxmlformats.org/officeDocument/2006/relationships/slide" Target="slides/slide862.xml"/><Relationship Id="rId214" Type="http://schemas.openxmlformats.org/officeDocument/2006/relationships/slide" Target="slides/slide210.xml"/><Relationship Id="rId298" Type="http://schemas.openxmlformats.org/officeDocument/2006/relationships/slide" Target="slides/slide294.xml"/><Relationship Id="rId421" Type="http://schemas.openxmlformats.org/officeDocument/2006/relationships/slide" Target="slides/slide417.xml"/><Relationship Id="rId519" Type="http://schemas.openxmlformats.org/officeDocument/2006/relationships/slide" Target="slides/slide515.xml"/><Relationship Id="rId1051" Type="http://schemas.openxmlformats.org/officeDocument/2006/relationships/slide" Target="slides/slide1047.xml"/><Relationship Id="rId1149" Type="http://schemas.openxmlformats.org/officeDocument/2006/relationships/slide" Target="slides/slide1145.xml"/><Relationship Id="rId158" Type="http://schemas.openxmlformats.org/officeDocument/2006/relationships/slide" Target="slides/slide154.xml"/><Relationship Id="rId726" Type="http://schemas.openxmlformats.org/officeDocument/2006/relationships/slide" Target="slides/slide722.xml"/><Relationship Id="rId933" Type="http://schemas.openxmlformats.org/officeDocument/2006/relationships/slide" Target="slides/slide929.xml"/><Relationship Id="rId1009" Type="http://schemas.openxmlformats.org/officeDocument/2006/relationships/slide" Target="slides/slide1005.xml"/><Relationship Id="rId62" Type="http://schemas.openxmlformats.org/officeDocument/2006/relationships/slide" Target="slides/slide58.xml"/><Relationship Id="rId365" Type="http://schemas.openxmlformats.org/officeDocument/2006/relationships/slide" Target="slides/slide361.xml"/><Relationship Id="rId572" Type="http://schemas.openxmlformats.org/officeDocument/2006/relationships/slide" Target="slides/slide568.xml"/><Relationship Id="rId225" Type="http://schemas.openxmlformats.org/officeDocument/2006/relationships/slide" Target="slides/slide221.xml"/><Relationship Id="rId432" Type="http://schemas.openxmlformats.org/officeDocument/2006/relationships/slide" Target="slides/slide428.xml"/><Relationship Id="rId877" Type="http://schemas.openxmlformats.org/officeDocument/2006/relationships/slide" Target="slides/slide873.xml"/><Relationship Id="rId1062" Type="http://schemas.openxmlformats.org/officeDocument/2006/relationships/slide" Target="slides/slide1058.xml"/><Relationship Id="rId737" Type="http://schemas.openxmlformats.org/officeDocument/2006/relationships/slide" Target="slides/slide733.xml"/><Relationship Id="rId944" Type="http://schemas.openxmlformats.org/officeDocument/2006/relationships/slide" Target="slides/slide940.xml"/><Relationship Id="rId73" Type="http://schemas.openxmlformats.org/officeDocument/2006/relationships/slide" Target="slides/slide69.xml"/><Relationship Id="rId169" Type="http://schemas.openxmlformats.org/officeDocument/2006/relationships/slide" Target="slides/slide165.xml"/><Relationship Id="rId376" Type="http://schemas.openxmlformats.org/officeDocument/2006/relationships/slide" Target="slides/slide372.xml"/><Relationship Id="rId583" Type="http://schemas.openxmlformats.org/officeDocument/2006/relationships/slide" Target="slides/slide579.xml"/><Relationship Id="rId790" Type="http://schemas.openxmlformats.org/officeDocument/2006/relationships/slide" Target="slides/slide786.xml"/><Relationship Id="rId804" Type="http://schemas.openxmlformats.org/officeDocument/2006/relationships/slide" Target="slides/slide800.xml"/><Relationship Id="rId4" Type="http://schemas.openxmlformats.org/officeDocument/2006/relationships/slideMaster" Target="slideMasters/slideMaster1.xml"/><Relationship Id="rId236" Type="http://schemas.openxmlformats.org/officeDocument/2006/relationships/slide" Target="slides/slide232.xml"/><Relationship Id="rId443" Type="http://schemas.openxmlformats.org/officeDocument/2006/relationships/slide" Target="slides/slide439.xml"/><Relationship Id="rId650" Type="http://schemas.openxmlformats.org/officeDocument/2006/relationships/slide" Target="slides/slide646.xml"/><Relationship Id="rId888" Type="http://schemas.openxmlformats.org/officeDocument/2006/relationships/slide" Target="slides/slide884.xml"/><Relationship Id="rId1073" Type="http://schemas.openxmlformats.org/officeDocument/2006/relationships/slide" Target="slides/slide1069.xml"/><Relationship Id="rId303" Type="http://schemas.openxmlformats.org/officeDocument/2006/relationships/slide" Target="slides/slide299.xml"/><Relationship Id="rId748" Type="http://schemas.openxmlformats.org/officeDocument/2006/relationships/slide" Target="slides/slide744.xml"/><Relationship Id="rId955" Type="http://schemas.openxmlformats.org/officeDocument/2006/relationships/slide" Target="slides/slide951.xml"/><Relationship Id="rId1140" Type="http://schemas.openxmlformats.org/officeDocument/2006/relationships/slide" Target="slides/slide1136.xml"/><Relationship Id="rId84" Type="http://schemas.openxmlformats.org/officeDocument/2006/relationships/slide" Target="slides/slide80.xml"/><Relationship Id="rId387" Type="http://schemas.openxmlformats.org/officeDocument/2006/relationships/slide" Target="slides/slide383.xml"/><Relationship Id="rId510" Type="http://schemas.openxmlformats.org/officeDocument/2006/relationships/slide" Target="slides/slide506.xml"/><Relationship Id="rId594" Type="http://schemas.openxmlformats.org/officeDocument/2006/relationships/slide" Target="slides/slide590.xml"/><Relationship Id="rId608" Type="http://schemas.openxmlformats.org/officeDocument/2006/relationships/slide" Target="slides/slide604.xml"/><Relationship Id="rId815" Type="http://schemas.openxmlformats.org/officeDocument/2006/relationships/slide" Target="slides/slide811.xml"/><Relationship Id="rId247" Type="http://schemas.openxmlformats.org/officeDocument/2006/relationships/slide" Target="slides/slide243.xml"/><Relationship Id="rId899" Type="http://schemas.openxmlformats.org/officeDocument/2006/relationships/slide" Target="slides/slide895.xml"/><Relationship Id="rId1000" Type="http://schemas.openxmlformats.org/officeDocument/2006/relationships/slide" Target="slides/slide996.xml"/><Relationship Id="rId1084" Type="http://schemas.openxmlformats.org/officeDocument/2006/relationships/slide" Target="slides/slide1080.xml"/><Relationship Id="rId107" Type="http://schemas.openxmlformats.org/officeDocument/2006/relationships/slide" Target="slides/slide103.xml"/><Relationship Id="rId454" Type="http://schemas.openxmlformats.org/officeDocument/2006/relationships/slide" Target="slides/slide450.xml"/><Relationship Id="rId661" Type="http://schemas.openxmlformats.org/officeDocument/2006/relationships/slide" Target="slides/slide657.xml"/><Relationship Id="rId759" Type="http://schemas.openxmlformats.org/officeDocument/2006/relationships/slide" Target="slides/slide755.xml"/><Relationship Id="rId966" Type="http://schemas.openxmlformats.org/officeDocument/2006/relationships/slide" Target="slides/slide962.xml"/><Relationship Id="rId11" Type="http://schemas.openxmlformats.org/officeDocument/2006/relationships/slide" Target="slides/slide7.xml"/><Relationship Id="rId314" Type="http://schemas.openxmlformats.org/officeDocument/2006/relationships/slide" Target="slides/slide310.xml"/><Relationship Id="rId398" Type="http://schemas.openxmlformats.org/officeDocument/2006/relationships/slide" Target="slides/slide394.xml"/><Relationship Id="rId521" Type="http://schemas.openxmlformats.org/officeDocument/2006/relationships/slide" Target="slides/slide517.xml"/><Relationship Id="rId619" Type="http://schemas.openxmlformats.org/officeDocument/2006/relationships/slide" Target="slides/slide615.xml"/><Relationship Id="rId1151" Type="http://schemas.openxmlformats.org/officeDocument/2006/relationships/slide" Target="slides/slide1147.xml"/><Relationship Id="rId95" Type="http://schemas.openxmlformats.org/officeDocument/2006/relationships/slide" Target="slides/slide91.xml"/><Relationship Id="rId160" Type="http://schemas.openxmlformats.org/officeDocument/2006/relationships/slide" Target="slides/slide156.xml"/><Relationship Id="rId826" Type="http://schemas.openxmlformats.org/officeDocument/2006/relationships/slide" Target="slides/slide822.xml"/><Relationship Id="rId1011" Type="http://schemas.openxmlformats.org/officeDocument/2006/relationships/slide" Target="slides/slide1007.xml"/><Relationship Id="rId1109" Type="http://schemas.openxmlformats.org/officeDocument/2006/relationships/slide" Target="slides/slide1105.xml"/><Relationship Id="rId258" Type="http://schemas.openxmlformats.org/officeDocument/2006/relationships/slide" Target="slides/slide254.xml"/><Relationship Id="rId465" Type="http://schemas.openxmlformats.org/officeDocument/2006/relationships/slide" Target="slides/slide461.xml"/><Relationship Id="rId672" Type="http://schemas.openxmlformats.org/officeDocument/2006/relationships/slide" Target="slides/slide668.xml"/><Relationship Id="rId1095" Type="http://schemas.openxmlformats.org/officeDocument/2006/relationships/slide" Target="slides/slide1091.xml"/><Relationship Id="rId22" Type="http://schemas.openxmlformats.org/officeDocument/2006/relationships/slide" Target="slides/slide18.xml"/><Relationship Id="rId118" Type="http://schemas.openxmlformats.org/officeDocument/2006/relationships/slide" Target="slides/slide114.xml"/><Relationship Id="rId325" Type="http://schemas.openxmlformats.org/officeDocument/2006/relationships/slide" Target="slides/slide321.xml"/><Relationship Id="rId532" Type="http://schemas.openxmlformats.org/officeDocument/2006/relationships/slide" Target="slides/slide528.xml"/><Relationship Id="rId977" Type="http://schemas.openxmlformats.org/officeDocument/2006/relationships/slide" Target="slides/slide973.xml"/><Relationship Id="rId1162" Type="http://schemas.openxmlformats.org/officeDocument/2006/relationships/slide" Target="slides/slide1158.xml"/><Relationship Id="rId171" Type="http://schemas.openxmlformats.org/officeDocument/2006/relationships/slide" Target="slides/slide167.xml"/><Relationship Id="rId837" Type="http://schemas.openxmlformats.org/officeDocument/2006/relationships/slide" Target="slides/slide833.xml"/><Relationship Id="rId1022" Type="http://schemas.openxmlformats.org/officeDocument/2006/relationships/slide" Target="slides/slide1018.xml"/><Relationship Id="rId269" Type="http://schemas.openxmlformats.org/officeDocument/2006/relationships/slide" Target="slides/slide265.xml"/><Relationship Id="rId476" Type="http://schemas.openxmlformats.org/officeDocument/2006/relationships/slide" Target="slides/slide472.xml"/><Relationship Id="rId683" Type="http://schemas.openxmlformats.org/officeDocument/2006/relationships/slide" Target="slides/slide679.xml"/><Relationship Id="rId890" Type="http://schemas.openxmlformats.org/officeDocument/2006/relationships/slide" Target="slides/slide886.xml"/><Relationship Id="rId904" Type="http://schemas.openxmlformats.org/officeDocument/2006/relationships/slide" Target="slides/slide900.xml"/><Relationship Id="rId33" Type="http://schemas.openxmlformats.org/officeDocument/2006/relationships/slide" Target="slides/slide29.xml"/><Relationship Id="rId129" Type="http://schemas.openxmlformats.org/officeDocument/2006/relationships/slide" Target="slides/slide125.xml"/><Relationship Id="rId336" Type="http://schemas.openxmlformats.org/officeDocument/2006/relationships/slide" Target="slides/slide332.xml"/><Relationship Id="rId543" Type="http://schemas.openxmlformats.org/officeDocument/2006/relationships/slide" Target="slides/slide539.xml"/><Relationship Id="rId988" Type="http://schemas.openxmlformats.org/officeDocument/2006/relationships/slide" Target="slides/slide984.xml"/><Relationship Id="rId1173" Type="http://schemas.openxmlformats.org/officeDocument/2006/relationships/tableStyles" Target="tableStyles.xml"/><Relationship Id="rId182" Type="http://schemas.openxmlformats.org/officeDocument/2006/relationships/slide" Target="slides/slide178.xml"/><Relationship Id="rId403" Type="http://schemas.openxmlformats.org/officeDocument/2006/relationships/slide" Target="slides/slide399.xml"/><Relationship Id="rId750" Type="http://schemas.openxmlformats.org/officeDocument/2006/relationships/slide" Target="slides/slide746.xml"/><Relationship Id="rId848" Type="http://schemas.openxmlformats.org/officeDocument/2006/relationships/slide" Target="slides/slide844.xml"/><Relationship Id="rId1033" Type="http://schemas.openxmlformats.org/officeDocument/2006/relationships/slide" Target="slides/slide1029.xml"/><Relationship Id="rId487" Type="http://schemas.openxmlformats.org/officeDocument/2006/relationships/slide" Target="slides/slide483.xml"/><Relationship Id="rId610" Type="http://schemas.openxmlformats.org/officeDocument/2006/relationships/slide" Target="slides/slide606.xml"/><Relationship Id="rId694" Type="http://schemas.openxmlformats.org/officeDocument/2006/relationships/slide" Target="slides/slide690.xml"/><Relationship Id="rId708" Type="http://schemas.openxmlformats.org/officeDocument/2006/relationships/slide" Target="slides/slide704.xml"/><Relationship Id="rId915" Type="http://schemas.openxmlformats.org/officeDocument/2006/relationships/slide" Target="slides/slide911.xml"/><Relationship Id="rId347" Type="http://schemas.openxmlformats.org/officeDocument/2006/relationships/slide" Target="slides/slide343.xml"/><Relationship Id="rId999" Type="http://schemas.openxmlformats.org/officeDocument/2006/relationships/slide" Target="slides/slide995.xml"/><Relationship Id="rId1100" Type="http://schemas.openxmlformats.org/officeDocument/2006/relationships/slide" Target="slides/slide1096.xml"/><Relationship Id="rId44" Type="http://schemas.openxmlformats.org/officeDocument/2006/relationships/slide" Target="slides/slide40.xml"/><Relationship Id="rId554" Type="http://schemas.openxmlformats.org/officeDocument/2006/relationships/slide" Target="slides/slide550.xml"/><Relationship Id="rId761" Type="http://schemas.openxmlformats.org/officeDocument/2006/relationships/slide" Target="slides/slide757.xml"/><Relationship Id="rId859" Type="http://schemas.openxmlformats.org/officeDocument/2006/relationships/slide" Target="slides/slide855.xml"/><Relationship Id="rId193" Type="http://schemas.openxmlformats.org/officeDocument/2006/relationships/slide" Target="slides/slide189.xml"/><Relationship Id="rId207" Type="http://schemas.openxmlformats.org/officeDocument/2006/relationships/slide" Target="slides/slide203.xml"/><Relationship Id="rId414" Type="http://schemas.openxmlformats.org/officeDocument/2006/relationships/slide" Target="slides/slide410.xml"/><Relationship Id="rId498" Type="http://schemas.openxmlformats.org/officeDocument/2006/relationships/slide" Target="slides/slide494.xml"/><Relationship Id="rId621" Type="http://schemas.openxmlformats.org/officeDocument/2006/relationships/slide" Target="slides/slide617.xml"/><Relationship Id="rId1044" Type="http://schemas.openxmlformats.org/officeDocument/2006/relationships/slide" Target="slides/slide1040.xml"/><Relationship Id="rId260" Type="http://schemas.openxmlformats.org/officeDocument/2006/relationships/slide" Target="slides/slide256.xml"/><Relationship Id="rId719" Type="http://schemas.openxmlformats.org/officeDocument/2006/relationships/slide" Target="slides/slide715.xml"/><Relationship Id="rId926" Type="http://schemas.openxmlformats.org/officeDocument/2006/relationships/slide" Target="slides/slide922.xml"/><Relationship Id="rId1111" Type="http://schemas.openxmlformats.org/officeDocument/2006/relationships/slide" Target="slides/slide1107.xml"/><Relationship Id="rId55" Type="http://schemas.openxmlformats.org/officeDocument/2006/relationships/slide" Target="slides/slide51.xml"/><Relationship Id="rId120" Type="http://schemas.openxmlformats.org/officeDocument/2006/relationships/slide" Target="slides/slide116.xml"/><Relationship Id="rId358" Type="http://schemas.openxmlformats.org/officeDocument/2006/relationships/slide" Target="slides/slide354.xml"/><Relationship Id="rId565" Type="http://schemas.openxmlformats.org/officeDocument/2006/relationships/slide" Target="slides/slide561.xml"/><Relationship Id="rId772" Type="http://schemas.openxmlformats.org/officeDocument/2006/relationships/slide" Target="slides/slide768.xml"/><Relationship Id="rId218" Type="http://schemas.openxmlformats.org/officeDocument/2006/relationships/slide" Target="slides/slide214.xml"/><Relationship Id="rId425" Type="http://schemas.openxmlformats.org/officeDocument/2006/relationships/slide" Target="slides/slide421.xml"/><Relationship Id="rId632" Type="http://schemas.openxmlformats.org/officeDocument/2006/relationships/slide" Target="slides/slide628.xml"/><Relationship Id="rId1055" Type="http://schemas.openxmlformats.org/officeDocument/2006/relationships/slide" Target="slides/slide1051.xml"/><Relationship Id="rId271" Type="http://schemas.openxmlformats.org/officeDocument/2006/relationships/slide" Target="slides/slide267.xml"/><Relationship Id="rId937" Type="http://schemas.openxmlformats.org/officeDocument/2006/relationships/slide" Target="slides/slide933.xml"/><Relationship Id="rId1122" Type="http://schemas.openxmlformats.org/officeDocument/2006/relationships/slide" Target="slides/slide1118.xml"/><Relationship Id="rId66" Type="http://schemas.openxmlformats.org/officeDocument/2006/relationships/slide" Target="slides/slide62.xml"/><Relationship Id="rId131" Type="http://schemas.openxmlformats.org/officeDocument/2006/relationships/slide" Target="slides/slide127.xml"/><Relationship Id="rId369" Type="http://schemas.openxmlformats.org/officeDocument/2006/relationships/slide" Target="slides/slide365.xml"/><Relationship Id="rId576" Type="http://schemas.openxmlformats.org/officeDocument/2006/relationships/slide" Target="slides/slide572.xml"/><Relationship Id="rId783" Type="http://schemas.openxmlformats.org/officeDocument/2006/relationships/slide" Target="slides/slide779.xml"/><Relationship Id="rId990" Type="http://schemas.openxmlformats.org/officeDocument/2006/relationships/slide" Target="slides/slide986.xml"/><Relationship Id="rId229" Type="http://schemas.openxmlformats.org/officeDocument/2006/relationships/slide" Target="slides/slide225.xml"/><Relationship Id="rId436" Type="http://schemas.openxmlformats.org/officeDocument/2006/relationships/slide" Target="slides/slide432.xml"/><Relationship Id="rId643" Type="http://schemas.openxmlformats.org/officeDocument/2006/relationships/slide" Target="slides/slide639.xml"/><Relationship Id="rId1066" Type="http://schemas.openxmlformats.org/officeDocument/2006/relationships/slide" Target="slides/slide1062.xml"/><Relationship Id="rId850" Type="http://schemas.openxmlformats.org/officeDocument/2006/relationships/slide" Target="slides/slide846.xml"/><Relationship Id="rId948" Type="http://schemas.openxmlformats.org/officeDocument/2006/relationships/slide" Target="slides/slide944.xml"/><Relationship Id="rId1133" Type="http://schemas.openxmlformats.org/officeDocument/2006/relationships/slide" Target="slides/slide1129.xml"/><Relationship Id="rId77" Type="http://schemas.openxmlformats.org/officeDocument/2006/relationships/slide" Target="slides/slide73.xml"/><Relationship Id="rId282" Type="http://schemas.openxmlformats.org/officeDocument/2006/relationships/slide" Target="slides/slide278.xml"/><Relationship Id="rId503" Type="http://schemas.openxmlformats.org/officeDocument/2006/relationships/slide" Target="slides/slide499.xml"/><Relationship Id="rId587" Type="http://schemas.openxmlformats.org/officeDocument/2006/relationships/slide" Target="slides/slide583.xml"/><Relationship Id="rId710" Type="http://schemas.openxmlformats.org/officeDocument/2006/relationships/slide" Target="slides/slide706.xml"/><Relationship Id="rId808" Type="http://schemas.openxmlformats.org/officeDocument/2006/relationships/slide" Target="slides/slide804.xml"/><Relationship Id="rId8" Type="http://schemas.openxmlformats.org/officeDocument/2006/relationships/slide" Target="slides/slide4.xml"/><Relationship Id="rId142" Type="http://schemas.openxmlformats.org/officeDocument/2006/relationships/slide" Target="slides/slide138.xml"/><Relationship Id="rId447" Type="http://schemas.openxmlformats.org/officeDocument/2006/relationships/slide" Target="slides/slide443.xml"/><Relationship Id="rId794" Type="http://schemas.openxmlformats.org/officeDocument/2006/relationships/slide" Target="slides/slide790.xml"/><Relationship Id="rId1077" Type="http://schemas.openxmlformats.org/officeDocument/2006/relationships/slide" Target="slides/slide1073.xml"/><Relationship Id="rId654" Type="http://schemas.openxmlformats.org/officeDocument/2006/relationships/slide" Target="slides/slide650.xml"/><Relationship Id="rId861" Type="http://schemas.openxmlformats.org/officeDocument/2006/relationships/slide" Target="slides/slide857.xml"/><Relationship Id="rId959" Type="http://schemas.openxmlformats.org/officeDocument/2006/relationships/slide" Target="slides/slide955.xml"/><Relationship Id="rId293" Type="http://schemas.openxmlformats.org/officeDocument/2006/relationships/slide" Target="slides/slide289.xml"/><Relationship Id="rId307" Type="http://schemas.openxmlformats.org/officeDocument/2006/relationships/slide" Target="slides/slide303.xml"/><Relationship Id="rId514" Type="http://schemas.openxmlformats.org/officeDocument/2006/relationships/slide" Target="slides/slide510.xml"/><Relationship Id="rId721" Type="http://schemas.openxmlformats.org/officeDocument/2006/relationships/slide" Target="slides/slide717.xml"/><Relationship Id="rId1144" Type="http://schemas.openxmlformats.org/officeDocument/2006/relationships/slide" Target="slides/slide1140.xml"/><Relationship Id="rId88" Type="http://schemas.openxmlformats.org/officeDocument/2006/relationships/slide" Target="slides/slide84.xml"/><Relationship Id="rId153" Type="http://schemas.openxmlformats.org/officeDocument/2006/relationships/slide" Target="slides/slide149.xml"/><Relationship Id="rId360" Type="http://schemas.openxmlformats.org/officeDocument/2006/relationships/slide" Target="slides/slide356.xml"/><Relationship Id="rId598" Type="http://schemas.openxmlformats.org/officeDocument/2006/relationships/slide" Target="slides/slide594.xml"/><Relationship Id="rId819" Type="http://schemas.openxmlformats.org/officeDocument/2006/relationships/slide" Target="slides/slide815.xml"/><Relationship Id="rId1004" Type="http://schemas.openxmlformats.org/officeDocument/2006/relationships/slide" Target="slides/slide1000.xml"/><Relationship Id="rId220" Type="http://schemas.openxmlformats.org/officeDocument/2006/relationships/slide" Target="slides/slide216.xml"/><Relationship Id="rId458" Type="http://schemas.openxmlformats.org/officeDocument/2006/relationships/slide" Target="slides/slide454.xml"/><Relationship Id="rId665" Type="http://schemas.openxmlformats.org/officeDocument/2006/relationships/slide" Target="slides/slide661.xml"/><Relationship Id="rId872" Type="http://schemas.openxmlformats.org/officeDocument/2006/relationships/slide" Target="slides/slide868.xml"/><Relationship Id="rId1088" Type="http://schemas.openxmlformats.org/officeDocument/2006/relationships/slide" Target="slides/slide1084.xml"/><Relationship Id="rId15" Type="http://schemas.openxmlformats.org/officeDocument/2006/relationships/slide" Target="slides/slide11.xml"/><Relationship Id="rId318" Type="http://schemas.openxmlformats.org/officeDocument/2006/relationships/slide" Target="slides/slide314.xml"/><Relationship Id="rId525" Type="http://schemas.openxmlformats.org/officeDocument/2006/relationships/slide" Target="slides/slide521.xml"/><Relationship Id="rId732" Type="http://schemas.openxmlformats.org/officeDocument/2006/relationships/slide" Target="slides/slide728.xml"/><Relationship Id="rId1155" Type="http://schemas.openxmlformats.org/officeDocument/2006/relationships/slide" Target="slides/slide1151.xml"/><Relationship Id="rId99" Type="http://schemas.openxmlformats.org/officeDocument/2006/relationships/slide" Target="slides/slide95.xml"/><Relationship Id="rId164" Type="http://schemas.openxmlformats.org/officeDocument/2006/relationships/slide" Target="slides/slide160.xml"/><Relationship Id="rId371" Type="http://schemas.openxmlformats.org/officeDocument/2006/relationships/slide" Target="slides/slide367.xml"/><Relationship Id="rId1015" Type="http://schemas.openxmlformats.org/officeDocument/2006/relationships/slide" Target="slides/slide1011.xml"/><Relationship Id="rId469" Type="http://schemas.openxmlformats.org/officeDocument/2006/relationships/slide" Target="slides/slide465.xml"/><Relationship Id="rId676" Type="http://schemas.openxmlformats.org/officeDocument/2006/relationships/slide" Target="slides/slide672.xml"/><Relationship Id="rId883" Type="http://schemas.openxmlformats.org/officeDocument/2006/relationships/slide" Target="slides/slide879.xml"/><Relationship Id="rId1099" Type="http://schemas.openxmlformats.org/officeDocument/2006/relationships/slide" Target="slides/slide1095.xml"/><Relationship Id="rId26" Type="http://schemas.openxmlformats.org/officeDocument/2006/relationships/slide" Target="slides/slide22.xml"/><Relationship Id="rId231" Type="http://schemas.openxmlformats.org/officeDocument/2006/relationships/slide" Target="slides/slide227.xml"/><Relationship Id="rId329" Type="http://schemas.openxmlformats.org/officeDocument/2006/relationships/slide" Target="slides/slide325.xml"/><Relationship Id="rId536" Type="http://schemas.openxmlformats.org/officeDocument/2006/relationships/slide" Target="slides/slide532.xml"/><Relationship Id="rId1166" Type="http://schemas.openxmlformats.org/officeDocument/2006/relationships/slide" Target="slides/slide1162.xml"/><Relationship Id="rId175" Type="http://schemas.openxmlformats.org/officeDocument/2006/relationships/slide" Target="slides/slide171.xml"/><Relationship Id="rId743" Type="http://schemas.openxmlformats.org/officeDocument/2006/relationships/slide" Target="slides/slide739.xml"/><Relationship Id="rId950" Type="http://schemas.openxmlformats.org/officeDocument/2006/relationships/slide" Target="slides/slide946.xml"/><Relationship Id="rId1026" Type="http://schemas.openxmlformats.org/officeDocument/2006/relationships/slide" Target="slides/slide1022.xml"/><Relationship Id="rId382" Type="http://schemas.openxmlformats.org/officeDocument/2006/relationships/slide" Target="slides/slide378.xml"/><Relationship Id="rId603" Type="http://schemas.openxmlformats.org/officeDocument/2006/relationships/slide" Target="slides/slide599.xml"/><Relationship Id="rId687" Type="http://schemas.openxmlformats.org/officeDocument/2006/relationships/slide" Target="slides/slide683.xml"/><Relationship Id="rId810" Type="http://schemas.openxmlformats.org/officeDocument/2006/relationships/slide" Target="slides/slide806.xml"/><Relationship Id="rId908" Type="http://schemas.openxmlformats.org/officeDocument/2006/relationships/slide" Target="slides/slide904.xml"/><Relationship Id="rId242" Type="http://schemas.openxmlformats.org/officeDocument/2006/relationships/slide" Target="slides/slide238.xml"/><Relationship Id="rId894" Type="http://schemas.openxmlformats.org/officeDocument/2006/relationships/slide" Target="slides/slide890.xml"/><Relationship Id="rId37" Type="http://schemas.openxmlformats.org/officeDocument/2006/relationships/slide" Target="slides/slide33.xml"/><Relationship Id="rId102" Type="http://schemas.openxmlformats.org/officeDocument/2006/relationships/slide" Target="slides/slide98.xml"/><Relationship Id="rId547" Type="http://schemas.openxmlformats.org/officeDocument/2006/relationships/slide" Target="slides/slide543.xml"/><Relationship Id="rId754" Type="http://schemas.openxmlformats.org/officeDocument/2006/relationships/slide" Target="slides/slide750.xml"/><Relationship Id="rId961" Type="http://schemas.openxmlformats.org/officeDocument/2006/relationships/slide" Target="slides/slide957.xml"/><Relationship Id="rId90" Type="http://schemas.openxmlformats.org/officeDocument/2006/relationships/slide" Target="slides/slide86.xml"/><Relationship Id="rId186" Type="http://schemas.openxmlformats.org/officeDocument/2006/relationships/slide" Target="slides/slide182.xml"/><Relationship Id="rId393" Type="http://schemas.openxmlformats.org/officeDocument/2006/relationships/slide" Target="slides/slide389.xml"/><Relationship Id="rId407" Type="http://schemas.openxmlformats.org/officeDocument/2006/relationships/slide" Target="slides/slide403.xml"/><Relationship Id="rId614" Type="http://schemas.openxmlformats.org/officeDocument/2006/relationships/slide" Target="slides/slide610.xml"/><Relationship Id="rId821" Type="http://schemas.openxmlformats.org/officeDocument/2006/relationships/slide" Target="slides/slide817.xml"/><Relationship Id="rId1037" Type="http://schemas.openxmlformats.org/officeDocument/2006/relationships/slide" Target="slides/slide1033.xml"/><Relationship Id="rId253" Type="http://schemas.openxmlformats.org/officeDocument/2006/relationships/slide" Target="slides/slide249.xml"/><Relationship Id="rId460" Type="http://schemas.openxmlformats.org/officeDocument/2006/relationships/slide" Target="slides/slide456.xml"/><Relationship Id="rId698" Type="http://schemas.openxmlformats.org/officeDocument/2006/relationships/slide" Target="slides/slide694.xml"/><Relationship Id="rId919" Type="http://schemas.openxmlformats.org/officeDocument/2006/relationships/slide" Target="slides/slide915.xml"/><Relationship Id="rId1090" Type="http://schemas.openxmlformats.org/officeDocument/2006/relationships/slide" Target="slides/slide1086.xml"/><Relationship Id="rId1104" Type="http://schemas.openxmlformats.org/officeDocument/2006/relationships/slide" Target="slides/slide1100.xml"/><Relationship Id="rId48" Type="http://schemas.openxmlformats.org/officeDocument/2006/relationships/slide" Target="slides/slide44.xml"/><Relationship Id="rId113" Type="http://schemas.openxmlformats.org/officeDocument/2006/relationships/slide" Target="slides/slide109.xml"/><Relationship Id="rId320" Type="http://schemas.openxmlformats.org/officeDocument/2006/relationships/slide" Target="slides/slide316.xml"/><Relationship Id="rId558" Type="http://schemas.openxmlformats.org/officeDocument/2006/relationships/slide" Target="slides/slide554.xml"/><Relationship Id="rId765" Type="http://schemas.openxmlformats.org/officeDocument/2006/relationships/slide" Target="slides/slide761.xml"/><Relationship Id="rId972" Type="http://schemas.openxmlformats.org/officeDocument/2006/relationships/slide" Target="slides/slide968.xml"/><Relationship Id="rId197" Type="http://schemas.openxmlformats.org/officeDocument/2006/relationships/slide" Target="slides/slide193.xml"/><Relationship Id="rId418" Type="http://schemas.openxmlformats.org/officeDocument/2006/relationships/slide" Target="slides/slide414.xml"/><Relationship Id="rId625" Type="http://schemas.openxmlformats.org/officeDocument/2006/relationships/slide" Target="slides/slide621.xml"/><Relationship Id="rId832" Type="http://schemas.openxmlformats.org/officeDocument/2006/relationships/slide" Target="slides/slide828.xml"/><Relationship Id="rId1048" Type="http://schemas.openxmlformats.org/officeDocument/2006/relationships/slide" Target="slides/slide1044.xml"/><Relationship Id="rId264" Type="http://schemas.openxmlformats.org/officeDocument/2006/relationships/slide" Target="slides/slide260.xml"/><Relationship Id="rId471" Type="http://schemas.openxmlformats.org/officeDocument/2006/relationships/slide" Target="slides/slide467.xml"/><Relationship Id="rId1115" Type="http://schemas.openxmlformats.org/officeDocument/2006/relationships/slide" Target="slides/slide1111.xml"/><Relationship Id="rId59" Type="http://schemas.openxmlformats.org/officeDocument/2006/relationships/slide" Target="slides/slide55.xml"/><Relationship Id="rId124" Type="http://schemas.openxmlformats.org/officeDocument/2006/relationships/slide" Target="slides/slide120.xml"/><Relationship Id="rId569" Type="http://schemas.openxmlformats.org/officeDocument/2006/relationships/slide" Target="slides/slide565.xml"/><Relationship Id="rId776" Type="http://schemas.openxmlformats.org/officeDocument/2006/relationships/slide" Target="slides/slide772.xml"/><Relationship Id="rId983" Type="http://schemas.openxmlformats.org/officeDocument/2006/relationships/slide" Target="slides/slide979.xml"/><Relationship Id="rId331" Type="http://schemas.openxmlformats.org/officeDocument/2006/relationships/slide" Target="slides/slide327.xml"/><Relationship Id="rId429" Type="http://schemas.openxmlformats.org/officeDocument/2006/relationships/slide" Target="slides/slide425.xml"/><Relationship Id="rId636" Type="http://schemas.openxmlformats.org/officeDocument/2006/relationships/slide" Target="slides/slide632.xml"/><Relationship Id="rId1059" Type="http://schemas.openxmlformats.org/officeDocument/2006/relationships/slide" Target="slides/slide1055.xml"/><Relationship Id="rId843" Type="http://schemas.openxmlformats.org/officeDocument/2006/relationships/slide" Target="slides/slide839.xml"/><Relationship Id="rId1126" Type="http://schemas.openxmlformats.org/officeDocument/2006/relationships/slide" Target="slides/slide1122.xml"/><Relationship Id="rId275" Type="http://schemas.openxmlformats.org/officeDocument/2006/relationships/slide" Target="slides/slide271.xml"/><Relationship Id="rId482" Type="http://schemas.openxmlformats.org/officeDocument/2006/relationships/slide" Target="slides/slide478.xml"/><Relationship Id="rId703" Type="http://schemas.openxmlformats.org/officeDocument/2006/relationships/slide" Target="slides/slide699.xml"/><Relationship Id="rId910" Type="http://schemas.openxmlformats.org/officeDocument/2006/relationships/slide" Target="slides/slide906.xml"/><Relationship Id="rId135" Type="http://schemas.openxmlformats.org/officeDocument/2006/relationships/slide" Target="slides/slide131.xml"/><Relationship Id="rId342" Type="http://schemas.openxmlformats.org/officeDocument/2006/relationships/slide" Target="slides/slide338.xml"/><Relationship Id="rId787" Type="http://schemas.openxmlformats.org/officeDocument/2006/relationships/slide" Target="slides/slide783.xml"/><Relationship Id="rId994" Type="http://schemas.openxmlformats.org/officeDocument/2006/relationships/slide" Target="slides/slide990.xml"/><Relationship Id="rId202" Type="http://schemas.openxmlformats.org/officeDocument/2006/relationships/slide" Target="slides/slide198.xml"/><Relationship Id="rId647" Type="http://schemas.openxmlformats.org/officeDocument/2006/relationships/slide" Target="slides/slide643.xml"/><Relationship Id="rId854" Type="http://schemas.openxmlformats.org/officeDocument/2006/relationships/slide" Target="slides/slide850.xml"/><Relationship Id="rId286" Type="http://schemas.openxmlformats.org/officeDocument/2006/relationships/slide" Target="slides/slide282.xml"/><Relationship Id="rId493" Type="http://schemas.openxmlformats.org/officeDocument/2006/relationships/slide" Target="slides/slide489.xml"/><Relationship Id="rId507" Type="http://schemas.openxmlformats.org/officeDocument/2006/relationships/slide" Target="slides/slide503.xml"/><Relationship Id="rId714" Type="http://schemas.openxmlformats.org/officeDocument/2006/relationships/slide" Target="slides/slide710.xml"/><Relationship Id="rId921" Type="http://schemas.openxmlformats.org/officeDocument/2006/relationships/slide" Target="slides/slide917.xml"/><Relationship Id="rId1137" Type="http://schemas.openxmlformats.org/officeDocument/2006/relationships/slide" Target="slides/slide1133.xml"/><Relationship Id="rId50" Type="http://schemas.openxmlformats.org/officeDocument/2006/relationships/slide" Target="slides/slide46.xml"/><Relationship Id="rId146" Type="http://schemas.openxmlformats.org/officeDocument/2006/relationships/slide" Target="slides/slide142.xml"/><Relationship Id="rId353" Type="http://schemas.openxmlformats.org/officeDocument/2006/relationships/slide" Target="slides/slide349.xml"/><Relationship Id="rId560" Type="http://schemas.openxmlformats.org/officeDocument/2006/relationships/slide" Target="slides/slide556.xml"/><Relationship Id="rId798" Type="http://schemas.openxmlformats.org/officeDocument/2006/relationships/slide" Target="slides/slide794.xml"/><Relationship Id="rId213" Type="http://schemas.openxmlformats.org/officeDocument/2006/relationships/slide" Target="slides/slide209.xml"/><Relationship Id="rId420" Type="http://schemas.openxmlformats.org/officeDocument/2006/relationships/slide" Target="slides/slide416.xml"/><Relationship Id="rId658" Type="http://schemas.openxmlformats.org/officeDocument/2006/relationships/slide" Target="slides/slide654.xml"/><Relationship Id="rId865" Type="http://schemas.openxmlformats.org/officeDocument/2006/relationships/slide" Target="slides/slide861.xml"/><Relationship Id="rId1050" Type="http://schemas.openxmlformats.org/officeDocument/2006/relationships/slide" Target="slides/slide1046.xml"/><Relationship Id="rId297" Type="http://schemas.openxmlformats.org/officeDocument/2006/relationships/slide" Target="slides/slide293.xml"/><Relationship Id="rId518" Type="http://schemas.openxmlformats.org/officeDocument/2006/relationships/slide" Target="slides/slide514.xml"/><Relationship Id="rId725" Type="http://schemas.openxmlformats.org/officeDocument/2006/relationships/slide" Target="slides/slide721.xml"/><Relationship Id="rId932" Type="http://schemas.openxmlformats.org/officeDocument/2006/relationships/slide" Target="slides/slide928.xml"/><Relationship Id="rId1148" Type="http://schemas.openxmlformats.org/officeDocument/2006/relationships/slide" Target="slides/slide1144.xml"/><Relationship Id="rId157" Type="http://schemas.openxmlformats.org/officeDocument/2006/relationships/slide" Target="slides/slide153.xml"/><Relationship Id="rId364" Type="http://schemas.openxmlformats.org/officeDocument/2006/relationships/slide" Target="slides/slide360.xml"/><Relationship Id="rId1008" Type="http://schemas.openxmlformats.org/officeDocument/2006/relationships/slide" Target="slides/slide1004.xml"/><Relationship Id="rId61" Type="http://schemas.openxmlformats.org/officeDocument/2006/relationships/slide" Target="slides/slide57.xml"/><Relationship Id="rId571" Type="http://schemas.openxmlformats.org/officeDocument/2006/relationships/slide" Target="slides/slide567.xml"/><Relationship Id="rId669" Type="http://schemas.openxmlformats.org/officeDocument/2006/relationships/slide" Target="slides/slide665.xml"/><Relationship Id="rId876" Type="http://schemas.openxmlformats.org/officeDocument/2006/relationships/slide" Target="slides/slide872.xml"/><Relationship Id="rId19" Type="http://schemas.openxmlformats.org/officeDocument/2006/relationships/slide" Target="slides/slide15.xml"/><Relationship Id="rId224" Type="http://schemas.openxmlformats.org/officeDocument/2006/relationships/slide" Target="slides/slide220.xml"/><Relationship Id="rId431" Type="http://schemas.openxmlformats.org/officeDocument/2006/relationships/slide" Target="slides/slide427.xml"/><Relationship Id="rId529" Type="http://schemas.openxmlformats.org/officeDocument/2006/relationships/slide" Target="slides/slide525.xml"/><Relationship Id="rId736" Type="http://schemas.openxmlformats.org/officeDocument/2006/relationships/slide" Target="slides/slide732.xml"/><Relationship Id="rId1061" Type="http://schemas.openxmlformats.org/officeDocument/2006/relationships/slide" Target="slides/slide1057.xml"/><Relationship Id="rId1159" Type="http://schemas.openxmlformats.org/officeDocument/2006/relationships/slide" Target="slides/slide1155.xml"/><Relationship Id="rId168" Type="http://schemas.openxmlformats.org/officeDocument/2006/relationships/slide" Target="slides/slide164.xml"/><Relationship Id="rId943" Type="http://schemas.openxmlformats.org/officeDocument/2006/relationships/slide" Target="slides/slide939.xml"/><Relationship Id="rId1019" Type="http://schemas.openxmlformats.org/officeDocument/2006/relationships/slide" Target="slides/slide1015.xml"/><Relationship Id="rId72" Type="http://schemas.openxmlformats.org/officeDocument/2006/relationships/slide" Target="slides/slide68.xml"/><Relationship Id="rId375" Type="http://schemas.openxmlformats.org/officeDocument/2006/relationships/slide" Target="slides/slide371.xml"/><Relationship Id="rId582" Type="http://schemas.openxmlformats.org/officeDocument/2006/relationships/slide" Target="slides/slide578.xml"/><Relationship Id="rId803" Type="http://schemas.openxmlformats.org/officeDocument/2006/relationships/slide" Target="slides/slide799.xml"/><Relationship Id="rId3" Type="http://schemas.openxmlformats.org/officeDocument/2006/relationships/customXml" Target="../customXml/item3.xml"/><Relationship Id="rId235" Type="http://schemas.openxmlformats.org/officeDocument/2006/relationships/slide" Target="slides/slide231.xml"/><Relationship Id="rId442" Type="http://schemas.openxmlformats.org/officeDocument/2006/relationships/slide" Target="slides/slide438.xml"/><Relationship Id="rId887" Type="http://schemas.openxmlformats.org/officeDocument/2006/relationships/slide" Target="slides/slide883.xml"/><Relationship Id="rId1072" Type="http://schemas.openxmlformats.org/officeDocument/2006/relationships/slide" Target="slides/slide1068.xml"/><Relationship Id="rId302" Type="http://schemas.openxmlformats.org/officeDocument/2006/relationships/slide" Target="slides/slide298.xml"/><Relationship Id="rId747" Type="http://schemas.openxmlformats.org/officeDocument/2006/relationships/slide" Target="slides/slide743.xml"/><Relationship Id="rId954" Type="http://schemas.openxmlformats.org/officeDocument/2006/relationships/slide" Target="slides/slide950.xml"/><Relationship Id="rId83" Type="http://schemas.openxmlformats.org/officeDocument/2006/relationships/slide" Target="slides/slide79.xml"/><Relationship Id="rId179" Type="http://schemas.openxmlformats.org/officeDocument/2006/relationships/slide" Target="slides/slide175.xml"/><Relationship Id="rId386" Type="http://schemas.openxmlformats.org/officeDocument/2006/relationships/slide" Target="slides/slide382.xml"/><Relationship Id="rId593" Type="http://schemas.openxmlformats.org/officeDocument/2006/relationships/slide" Target="slides/slide589.xml"/><Relationship Id="rId607" Type="http://schemas.openxmlformats.org/officeDocument/2006/relationships/slide" Target="slides/slide603.xml"/><Relationship Id="rId814" Type="http://schemas.openxmlformats.org/officeDocument/2006/relationships/slide" Target="slides/slide810.xml"/><Relationship Id="rId246" Type="http://schemas.openxmlformats.org/officeDocument/2006/relationships/slide" Target="slides/slide242.xml"/><Relationship Id="rId453" Type="http://schemas.openxmlformats.org/officeDocument/2006/relationships/slide" Target="slides/slide449.xml"/><Relationship Id="rId660" Type="http://schemas.openxmlformats.org/officeDocument/2006/relationships/slide" Target="slides/slide656.xml"/><Relationship Id="rId898" Type="http://schemas.openxmlformats.org/officeDocument/2006/relationships/slide" Target="slides/slide894.xml"/><Relationship Id="rId1083" Type="http://schemas.openxmlformats.org/officeDocument/2006/relationships/slide" Target="slides/slide1079.xml"/><Relationship Id="rId106" Type="http://schemas.openxmlformats.org/officeDocument/2006/relationships/slide" Target="slides/slide102.xml"/><Relationship Id="rId313" Type="http://schemas.openxmlformats.org/officeDocument/2006/relationships/slide" Target="slides/slide309.xml"/><Relationship Id="rId758" Type="http://schemas.openxmlformats.org/officeDocument/2006/relationships/slide" Target="slides/slide754.xml"/><Relationship Id="rId965" Type="http://schemas.openxmlformats.org/officeDocument/2006/relationships/slide" Target="slides/slide961.xml"/><Relationship Id="rId1150" Type="http://schemas.openxmlformats.org/officeDocument/2006/relationships/slide" Target="slides/slide1146.xml"/><Relationship Id="rId10" Type="http://schemas.openxmlformats.org/officeDocument/2006/relationships/slide" Target="slides/slide6.xml"/><Relationship Id="rId94" Type="http://schemas.openxmlformats.org/officeDocument/2006/relationships/slide" Target="slides/slide90.xml"/><Relationship Id="rId397" Type="http://schemas.openxmlformats.org/officeDocument/2006/relationships/slide" Target="slides/slide393.xml"/><Relationship Id="rId520" Type="http://schemas.openxmlformats.org/officeDocument/2006/relationships/slide" Target="slides/slide516.xml"/><Relationship Id="rId618" Type="http://schemas.openxmlformats.org/officeDocument/2006/relationships/slide" Target="slides/slide614.xml"/><Relationship Id="rId825" Type="http://schemas.openxmlformats.org/officeDocument/2006/relationships/slide" Target="slides/slide821.xml"/><Relationship Id="rId257" Type="http://schemas.openxmlformats.org/officeDocument/2006/relationships/slide" Target="slides/slide253.xml"/><Relationship Id="rId464" Type="http://schemas.openxmlformats.org/officeDocument/2006/relationships/slide" Target="slides/slide460.xml"/><Relationship Id="rId1010" Type="http://schemas.openxmlformats.org/officeDocument/2006/relationships/slide" Target="slides/slide1006.xml"/><Relationship Id="rId1094" Type="http://schemas.openxmlformats.org/officeDocument/2006/relationships/slide" Target="slides/slide1090.xml"/><Relationship Id="rId1108" Type="http://schemas.openxmlformats.org/officeDocument/2006/relationships/slide" Target="slides/slide1104.xml"/><Relationship Id="rId117" Type="http://schemas.openxmlformats.org/officeDocument/2006/relationships/slide" Target="slides/slide113.xml"/><Relationship Id="rId671" Type="http://schemas.openxmlformats.org/officeDocument/2006/relationships/slide" Target="slides/slide667.xml"/><Relationship Id="rId769" Type="http://schemas.openxmlformats.org/officeDocument/2006/relationships/slide" Target="slides/slide765.xml"/><Relationship Id="rId976" Type="http://schemas.openxmlformats.org/officeDocument/2006/relationships/slide" Target="slides/slide972.xml"/><Relationship Id="rId324" Type="http://schemas.openxmlformats.org/officeDocument/2006/relationships/slide" Target="slides/slide320.xml"/><Relationship Id="rId531" Type="http://schemas.openxmlformats.org/officeDocument/2006/relationships/slide" Target="slides/slide527.xml"/><Relationship Id="rId629" Type="http://schemas.openxmlformats.org/officeDocument/2006/relationships/slide" Target="slides/slide625.xml"/><Relationship Id="rId1161" Type="http://schemas.openxmlformats.org/officeDocument/2006/relationships/slide" Target="slides/slide1157.xml"/><Relationship Id="rId836" Type="http://schemas.openxmlformats.org/officeDocument/2006/relationships/slide" Target="slides/slide832.xml"/><Relationship Id="rId1021" Type="http://schemas.openxmlformats.org/officeDocument/2006/relationships/slide" Target="slides/slide1017.xml"/><Relationship Id="rId1119" Type="http://schemas.openxmlformats.org/officeDocument/2006/relationships/slide" Target="slides/slide1115.xml"/><Relationship Id="rId903" Type="http://schemas.openxmlformats.org/officeDocument/2006/relationships/slide" Target="slides/slide899.xml"/><Relationship Id="rId32" Type="http://schemas.openxmlformats.org/officeDocument/2006/relationships/slide" Target="slides/slide28.xml"/><Relationship Id="rId181" Type="http://schemas.openxmlformats.org/officeDocument/2006/relationships/slide" Target="slides/slide177.xml"/><Relationship Id="rId279" Type="http://schemas.openxmlformats.org/officeDocument/2006/relationships/slide" Target="slides/slide275.xml"/><Relationship Id="rId486" Type="http://schemas.openxmlformats.org/officeDocument/2006/relationships/slide" Target="slides/slide482.xml"/><Relationship Id="rId693" Type="http://schemas.openxmlformats.org/officeDocument/2006/relationships/slide" Target="slides/slide689.xml"/><Relationship Id="rId139" Type="http://schemas.openxmlformats.org/officeDocument/2006/relationships/slide" Target="slides/slide135.xml"/><Relationship Id="rId346" Type="http://schemas.openxmlformats.org/officeDocument/2006/relationships/slide" Target="slides/slide342.xml"/><Relationship Id="rId553" Type="http://schemas.openxmlformats.org/officeDocument/2006/relationships/slide" Target="slides/slide549.xml"/><Relationship Id="rId760" Type="http://schemas.openxmlformats.org/officeDocument/2006/relationships/slide" Target="slides/slide756.xml"/><Relationship Id="rId998" Type="http://schemas.openxmlformats.org/officeDocument/2006/relationships/slide" Target="slides/slide994.xml"/><Relationship Id="rId206" Type="http://schemas.openxmlformats.org/officeDocument/2006/relationships/slide" Target="slides/slide202.xml"/><Relationship Id="rId413" Type="http://schemas.openxmlformats.org/officeDocument/2006/relationships/slide" Target="slides/slide409.xml"/><Relationship Id="rId858" Type="http://schemas.openxmlformats.org/officeDocument/2006/relationships/slide" Target="slides/slide854.xml"/><Relationship Id="rId1043" Type="http://schemas.openxmlformats.org/officeDocument/2006/relationships/slide" Target="slides/slide1039.xml"/><Relationship Id="rId620" Type="http://schemas.openxmlformats.org/officeDocument/2006/relationships/slide" Target="slides/slide616.xml"/><Relationship Id="rId718" Type="http://schemas.openxmlformats.org/officeDocument/2006/relationships/slide" Target="slides/slide714.xml"/><Relationship Id="rId925" Type="http://schemas.openxmlformats.org/officeDocument/2006/relationships/slide" Target="slides/slide921.xml"/><Relationship Id="rId1110" Type="http://schemas.openxmlformats.org/officeDocument/2006/relationships/slide" Target="slides/slide1106.xml"/><Relationship Id="rId54" Type="http://schemas.openxmlformats.org/officeDocument/2006/relationships/slide" Target="slides/slide50.xml"/><Relationship Id="rId270" Type="http://schemas.openxmlformats.org/officeDocument/2006/relationships/slide" Target="slides/slide266.xml"/><Relationship Id="rId130" Type="http://schemas.openxmlformats.org/officeDocument/2006/relationships/slide" Target="slides/slide126.xml"/><Relationship Id="rId368" Type="http://schemas.openxmlformats.org/officeDocument/2006/relationships/slide" Target="slides/slide364.xml"/><Relationship Id="rId575" Type="http://schemas.openxmlformats.org/officeDocument/2006/relationships/slide" Target="slides/slide571.xml"/><Relationship Id="rId782" Type="http://schemas.openxmlformats.org/officeDocument/2006/relationships/slide" Target="slides/slide778.xml"/><Relationship Id="rId228" Type="http://schemas.openxmlformats.org/officeDocument/2006/relationships/slide" Target="slides/slide224.xml"/><Relationship Id="rId435" Type="http://schemas.openxmlformats.org/officeDocument/2006/relationships/slide" Target="slides/slide431.xml"/><Relationship Id="rId642" Type="http://schemas.openxmlformats.org/officeDocument/2006/relationships/slide" Target="slides/slide638.xml"/><Relationship Id="rId1065" Type="http://schemas.openxmlformats.org/officeDocument/2006/relationships/slide" Target="slides/slide1061.xml"/><Relationship Id="rId502" Type="http://schemas.openxmlformats.org/officeDocument/2006/relationships/slide" Target="slides/slide498.xml"/><Relationship Id="rId947" Type="http://schemas.openxmlformats.org/officeDocument/2006/relationships/slide" Target="slides/slide943.xml"/><Relationship Id="rId1132" Type="http://schemas.openxmlformats.org/officeDocument/2006/relationships/slide" Target="slides/slide1128.xml"/><Relationship Id="rId76" Type="http://schemas.openxmlformats.org/officeDocument/2006/relationships/slide" Target="slides/slide72.xml"/><Relationship Id="rId807" Type="http://schemas.openxmlformats.org/officeDocument/2006/relationships/slide" Target="slides/slide803.xml"/><Relationship Id="rId292" Type="http://schemas.openxmlformats.org/officeDocument/2006/relationships/slide" Target="slides/slide288.xml"/><Relationship Id="rId597" Type="http://schemas.openxmlformats.org/officeDocument/2006/relationships/slide" Target="slides/slide593.xml"/><Relationship Id="rId152" Type="http://schemas.openxmlformats.org/officeDocument/2006/relationships/slide" Target="slides/slide148.xml"/><Relationship Id="rId457" Type="http://schemas.openxmlformats.org/officeDocument/2006/relationships/slide" Target="slides/slide453.xml"/><Relationship Id="rId1087" Type="http://schemas.openxmlformats.org/officeDocument/2006/relationships/slide" Target="slides/slide1083.xml"/><Relationship Id="rId664" Type="http://schemas.openxmlformats.org/officeDocument/2006/relationships/slide" Target="slides/slide660.xml"/><Relationship Id="rId871" Type="http://schemas.openxmlformats.org/officeDocument/2006/relationships/slide" Target="slides/slide867.xml"/><Relationship Id="rId969" Type="http://schemas.openxmlformats.org/officeDocument/2006/relationships/slide" Target="slides/slide965.xml"/><Relationship Id="rId317" Type="http://schemas.openxmlformats.org/officeDocument/2006/relationships/slide" Target="slides/slide313.xml"/><Relationship Id="rId524" Type="http://schemas.openxmlformats.org/officeDocument/2006/relationships/slide" Target="slides/slide520.xml"/><Relationship Id="rId731" Type="http://schemas.openxmlformats.org/officeDocument/2006/relationships/slide" Target="slides/slide727.xml"/><Relationship Id="rId1154" Type="http://schemas.openxmlformats.org/officeDocument/2006/relationships/slide" Target="slides/slide1150.xml"/><Relationship Id="rId98" Type="http://schemas.openxmlformats.org/officeDocument/2006/relationships/slide" Target="slides/slide94.xml"/><Relationship Id="rId829" Type="http://schemas.openxmlformats.org/officeDocument/2006/relationships/slide" Target="slides/slide825.xml"/><Relationship Id="rId1014" Type="http://schemas.openxmlformats.org/officeDocument/2006/relationships/slide" Target="slides/slide1010.xml"/><Relationship Id="rId25" Type="http://schemas.openxmlformats.org/officeDocument/2006/relationships/slide" Target="slides/slide21.xml"/><Relationship Id="rId174" Type="http://schemas.openxmlformats.org/officeDocument/2006/relationships/slide" Target="slides/slide170.xml"/><Relationship Id="rId381" Type="http://schemas.openxmlformats.org/officeDocument/2006/relationships/slide" Target="slides/slide377.xml"/><Relationship Id="rId241" Type="http://schemas.openxmlformats.org/officeDocument/2006/relationships/slide" Target="slides/slide237.xml"/><Relationship Id="rId479" Type="http://schemas.openxmlformats.org/officeDocument/2006/relationships/slide" Target="slides/slide475.xml"/><Relationship Id="rId686" Type="http://schemas.openxmlformats.org/officeDocument/2006/relationships/slide" Target="slides/slide682.xml"/><Relationship Id="rId893" Type="http://schemas.openxmlformats.org/officeDocument/2006/relationships/slide" Target="slides/slide889.xml"/><Relationship Id="rId339" Type="http://schemas.openxmlformats.org/officeDocument/2006/relationships/slide" Target="slides/slide335.xml"/><Relationship Id="rId546" Type="http://schemas.openxmlformats.org/officeDocument/2006/relationships/slide" Target="slides/slide542.xml"/><Relationship Id="rId753" Type="http://schemas.openxmlformats.org/officeDocument/2006/relationships/slide" Target="slides/slide749.xml"/><Relationship Id="rId101" Type="http://schemas.openxmlformats.org/officeDocument/2006/relationships/slide" Target="slides/slide97.xml"/><Relationship Id="rId406" Type="http://schemas.openxmlformats.org/officeDocument/2006/relationships/slide" Target="slides/slide402.xml"/><Relationship Id="rId960" Type="http://schemas.openxmlformats.org/officeDocument/2006/relationships/slide" Target="slides/slide956.xml"/><Relationship Id="rId1036" Type="http://schemas.openxmlformats.org/officeDocument/2006/relationships/slide" Target="slides/slide1032.xml"/><Relationship Id="rId613" Type="http://schemas.openxmlformats.org/officeDocument/2006/relationships/slide" Target="slides/slide609.xml"/><Relationship Id="rId820" Type="http://schemas.openxmlformats.org/officeDocument/2006/relationships/slide" Target="slides/slide816.xml"/><Relationship Id="rId918" Type="http://schemas.openxmlformats.org/officeDocument/2006/relationships/slide" Target="slides/slide914.xml"/><Relationship Id="rId1103" Type="http://schemas.openxmlformats.org/officeDocument/2006/relationships/slide" Target="slides/slide1099.xml"/><Relationship Id="rId47" Type="http://schemas.openxmlformats.org/officeDocument/2006/relationships/slide" Target="slides/slide43.xml"/><Relationship Id="rId196" Type="http://schemas.openxmlformats.org/officeDocument/2006/relationships/slide" Target="slides/slide192.xml"/><Relationship Id="rId263" Type="http://schemas.openxmlformats.org/officeDocument/2006/relationships/slide" Target="slides/slide259.xml"/><Relationship Id="rId470" Type="http://schemas.openxmlformats.org/officeDocument/2006/relationships/slide" Target="slides/slide466.xml"/><Relationship Id="rId123" Type="http://schemas.openxmlformats.org/officeDocument/2006/relationships/slide" Target="slides/slide119.xml"/><Relationship Id="rId330" Type="http://schemas.openxmlformats.org/officeDocument/2006/relationships/slide" Target="slides/slide326.xml"/><Relationship Id="rId568" Type="http://schemas.openxmlformats.org/officeDocument/2006/relationships/slide" Target="slides/slide564.xml"/><Relationship Id="rId775" Type="http://schemas.openxmlformats.org/officeDocument/2006/relationships/slide" Target="slides/slide771.xml"/><Relationship Id="rId982" Type="http://schemas.openxmlformats.org/officeDocument/2006/relationships/slide" Target="slides/slide978.xml"/><Relationship Id="rId428" Type="http://schemas.openxmlformats.org/officeDocument/2006/relationships/slide" Target="slides/slide424.xml"/><Relationship Id="rId635" Type="http://schemas.openxmlformats.org/officeDocument/2006/relationships/slide" Target="slides/slide631.xml"/><Relationship Id="rId842" Type="http://schemas.openxmlformats.org/officeDocument/2006/relationships/slide" Target="slides/slide838.xml"/><Relationship Id="rId1058" Type="http://schemas.openxmlformats.org/officeDocument/2006/relationships/slide" Target="slides/slide1054.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00.xml.rels><?xml version="1.0" encoding="UTF-8" standalone="yes"?>
<Relationships xmlns="http://schemas.openxmlformats.org/package/2006/relationships"><Relationship Id="rId1" Type="http://schemas.openxmlformats.org/officeDocument/2006/relationships/package" Target="../embeddings/Microsoft_Excel_Worksheet99.xlsx"/></Relationships>
</file>

<file path=ppt/charts/_rels/chart101.xml.rels><?xml version="1.0" encoding="UTF-8" standalone="yes"?>
<Relationships xmlns="http://schemas.openxmlformats.org/package/2006/relationships"><Relationship Id="rId1" Type="http://schemas.openxmlformats.org/officeDocument/2006/relationships/package" Target="../embeddings/Microsoft_Excel_Worksheet100.xlsx"/></Relationships>
</file>

<file path=ppt/charts/_rels/chart102.xml.rels><?xml version="1.0" encoding="UTF-8" standalone="yes"?>
<Relationships xmlns="http://schemas.openxmlformats.org/package/2006/relationships"><Relationship Id="rId1" Type="http://schemas.openxmlformats.org/officeDocument/2006/relationships/package" Target="../embeddings/Microsoft_Excel_Worksheet101.xlsx"/></Relationships>
</file>

<file path=ppt/charts/_rels/chart103.xml.rels><?xml version="1.0" encoding="UTF-8" standalone="yes"?>
<Relationships xmlns="http://schemas.openxmlformats.org/package/2006/relationships"><Relationship Id="rId1" Type="http://schemas.openxmlformats.org/officeDocument/2006/relationships/package" Target="../embeddings/Microsoft_Excel_Worksheet102.xlsx"/></Relationships>
</file>

<file path=ppt/charts/_rels/chart104.xml.rels><?xml version="1.0" encoding="UTF-8" standalone="yes"?>
<Relationships xmlns="http://schemas.openxmlformats.org/package/2006/relationships"><Relationship Id="rId1" Type="http://schemas.openxmlformats.org/officeDocument/2006/relationships/package" Target="../embeddings/Microsoft_Excel_Worksheet103.xlsx"/></Relationships>
</file>

<file path=ppt/charts/_rels/chart105.xml.rels><?xml version="1.0" encoding="UTF-8" standalone="yes"?>
<Relationships xmlns="http://schemas.openxmlformats.org/package/2006/relationships"><Relationship Id="rId1" Type="http://schemas.openxmlformats.org/officeDocument/2006/relationships/package" Target="../embeddings/Microsoft_Excel_Worksheet104.xlsx"/></Relationships>
</file>

<file path=ppt/charts/_rels/chart106.xml.rels><?xml version="1.0" encoding="UTF-8" standalone="yes"?>
<Relationships xmlns="http://schemas.openxmlformats.org/package/2006/relationships"><Relationship Id="rId1" Type="http://schemas.openxmlformats.org/officeDocument/2006/relationships/package" Target="../embeddings/Microsoft_Excel_Worksheet105.xlsx"/></Relationships>
</file>

<file path=ppt/charts/_rels/chart107.xml.rels><?xml version="1.0" encoding="UTF-8" standalone="yes"?>
<Relationships xmlns="http://schemas.openxmlformats.org/package/2006/relationships"><Relationship Id="rId1" Type="http://schemas.openxmlformats.org/officeDocument/2006/relationships/package" Target="../embeddings/Microsoft_Excel_Worksheet106.xlsx"/></Relationships>
</file>

<file path=ppt/charts/_rels/chart108.xml.rels><?xml version="1.0" encoding="UTF-8" standalone="yes"?>
<Relationships xmlns="http://schemas.openxmlformats.org/package/2006/relationships"><Relationship Id="rId1" Type="http://schemas.openxmlformats.org/officeDocument/2006/relationships/package" Target="../embeddings/Microsoft_Excel_Worksheet107.xlsx"/></Relationships>
</file>

<file path=ppt/charts/_rels/chart109.xml.rels><?xml version="1.0" encoding="UTF-8" standalone="yes"?>
<Relationships xmlns="http://schemas.openxmlformats.org/package/2006/relationships"><Relationship Id="rId1" Type="http://schemas.openxmlformats.org/officeDocument/2006/relationships/package" Target="../embeddings/Microsoft_Excel_Worksheet108.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10.xml.rels><?xml version="1.0" encoding="UTF-8" standalone="yes"?>
<Relationships xmlns="http://schemas.openxmlformats.org/package/2006/relationships"><Relationship Id="rId1" Type="http://schemas.openxmlformats.org/officeDocument/2006/relationships/package" Target="../embeddings/Microsoft_Excel_Worksheet109.xlsx"/></Relationships>
</file>

<file path=ppt/charts/_rels/chart111.xml.rels><?xml version="1.0" encoding="UTF-8" standalone="yes"?>
<Relationships xmlns="http://schemas.openxmlformats.org/package/2006/relationships"><Relationship Id="rId1" Type="http://schemas.openxmlformats.org/officeDocument/2006/relationships/package" Target="../embeddings/Microsoft_Excel_Worksheet110.xlsx"/></Relationships>
</file>

<file path=ppt/charts/_rels/chart112.xml.rels><?xml version="1.0" encoding="UTF-8" standalone="yes"?>
<Relationships xmlns="http://schemas.openxmlformats.org/package/2006/relationships"><Relationship Id="rId1" Type="http://schemas.openxmlformats.org/officeDocument/2006/relationships/package" Target="../embeddings/Microsoft_Excel_Worksheet111.xlsx"/></Relationships>
</file>

<file path=ppt/charts/_rels/chart113.xml.rels><?xml version="1.0" encoding="UTF-8" standalone="yes"?>
<Relationships xmlns="http://schemas.openxmlformats.org/package/2006/relationships"><Relationship Id="rId1" Type="http://schemas.openxmlformats.org/officeDocument/2006/relationships/package" Target="../embeddings/Microsoft_Excel_Worksheet112.xlsx"/></Relationships>
</file>

<file path=ppt/charts/_rels/chart114.xml.rels><?xml version="1.0" encoding="UTF-8" standalone="yes"?>
<Relationships xmlns="http://schemas.openxmlformats.org/package/2006/relationships"><Relationship Id="rId1" Type="http://schemas.openxmlformats.org/officeDocument/2006/relationships/package" Target="../embeddings/Microsoft_Excel_Worksheet113.xlsx"/></Relationships>
</file>

<file path=ppt/charts/_rels/chart115.xml.rels><?xml version="1.0" encoding="UTF-8" standalone="yes"?>
<Relationships xmlns="http://schemas.openxmlformats.org/package/2006/relationships"><Relationship Id="rId1" Type="http://schemas.openxmlformats.org/officeDocument/2006/relationships/package" Target="../embeddings/Microsoft_Excel_Worksheet114.xlsx"/></Relationships>
</file>

<file path=ppt/charts/_rels/chart116.xml.rels><?xml version="1.0" encoding="UTF-8" standalone="yes"?>
<Relationships xmlns="http://schemas.openxmlformats.org/package/2006/relationships"><Relationship Id="rId1" Type="http://schemas.openxmlformats.org/officeDocument/2006/relationships/package" Target="../embeddings/Microsoft_Excel_Worksheet115.xlsx"/></Relationships>
</file>

<file path=ppt/charts/_rels/chart117.xml.rels><?xml version="1.0" encoding="UTF-8" standalone="yes"?>
<Relationships xmlns="http://schemas.openxmlformats.org/package/2006/relationships"><Relationship Id="rId1" Type="http://schemas.openxmlformats.org/officeDocument/2006/relationships/package" Target="../embeddings/Microsoft_Excel_Worksheet116.xlsx"/></Relationships>
</file>

<file path=ppt/charts/_rels/chart118.xml.rels><?xml version="1.0" encoding="UTF-8" standalone="yes"?>
<Relationships xmlns="http://schemas.openxmlformats.org/package/2006/relationships"><Relationship Id="rId1" Type="http://schemas.openxmlformats.org/officeDocument/2006/relationships/package" Target="../embeddings/Microsoft_Excel_Worksheet117.xlsx"/></Relationships>
</file>

<file path=ppt/charts/_rels/chart119.xml.rels><?xml version="1.0" encoding="UTF-8" standalone="yes"?>
<Relationships xmlns="http://schemas.openxmlformats.org/package/2006/relationships"><Relationship Id="rId1" Type="http://schemas.openxmlformats.org/officeDocument/2006/relationships/package" Target="../embeddings/Microsoft_Excel_Worksheet118.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120.xml.rels><?xml version="1.0" encoding="UTF-8" standalone="yes"?>
<Relationships xmlns="http://schemas.openxmlformats.org/package/2006/relationships"><Relationship Id="rId1" Type="http://schemas.openxmlformats.org/officeDocument/2006/relationships/package" Target="../embeddings/Microsoft_Excel_Worksheet119.xlsx"/></Relationships>
</file>

<file path=ppt/charts/_rels/chart121.xml.rels><?xml version="1.0" encoding="UTF-8" standalone="yes"?>
<Relationships xmlns="http://schemas.openxmlformats.org/package/2006/relationships"><Relationship Id="rId1" Type="http://schemas.openxmlformats.org/officeDocument/2006/relationships/package" Target="../embeddings/Microsoft_Excel_Worksheet120.xlsx"/></Relationships>
</file>

<file path=ppt/charts/_rels/chart122.xml.rels><?xml version="1.0" encoding="UTF-8" standalone="yes"?>
<Relationships xmlns="http://schemas.openxmlformats.org/package/2006/relationships"><Relationship Id="rId1" Type="http://schemas.openxmlformats.org/officeDocument/2006/relationships/package" Target="../embeddings/Microsoft_Excel_Worksheet121.xlsx"/></Relationships>
</file>

<file path=ppt/charts/_rels/chart123.xml.rels><?xml version="1.0" encoding="UTF-8" standalone="yes"?>
<Relationships xmlns="http://schemas.openxmlformats.org/package/2006/relationships"><Relationship Id="rId1" Type="http://schemas.openxmlformats.org/officeDocument/2006/relationships/package" Target="../embeddings/Microsoft_Excel_Worksheet122.xlsx"/></Relationships>
</file>

<file path=ppt/charts/_rels/chart124.xml.rels><?xml version="1.0" encoding="UTF-8" standalone="yes"?>
<Relationships xmlns="http://schemas.openxmlformats.org/package/2006/relationships"><Relationship Id="rId1" Type="http://schemas.openxmlformats.org/officeDocument/2006/relationships/package" Target="../embeddings/Microsoft_Excel_Worksheet123.xlsx"/></Relationships>
</file>

<file path=ppt/charts/_rels/chart125.xml.rels><?xml version="1.0" encoding="UTF-8" standalone="yes"?>
<Relationships xmlns="http://schemas.openxmlformats.org/package/2006/relationships"><Relationship Id="rId1" Type="http://schemas.openxmlformats.org/officeDocument/2006/relationships/package" Target="../embeddings/Microsoft_Excel_Worksheet124.xlsx"/></Relationships>
</file>

<file path=ppt/charts/_rels/chart126.xml.rels><?xml version="1.0" encoding="UTF-8" standalone="yes"?>
<Relationships xmlns="http://schemas.openxmlformats.org/package/2006/relationships"><Relationship Id="rId1" Type="http://schemas.openxmlformats.org/officeDocument/2006/relationships/package" Target="../embeddings/Microsoft_Excel_Worksheet125.xlsx"/></Relationships>
</file>

<file path=ppt/charts/_rels/chart127.xml.rels><?xml version="1.0" encoding="UTF-8" standalone="yes"?>
<Relationships xmlns="http://schemas.openxmlformats.org/package/2006/relationships"><Relationship Id="rId1" Type="http://schemas.openxmlformats.org/officeDocument/2006/relationships/package" Target="../embeddings/Microsoft_Excel_Worksheet126.xlsx"/></Relationships>
</file>

<file path=ppt/charts/_rels/chart128.xml.rels><?xml version="1.0" encoding="UTF-8" standalone="yes"?>
<Relationships xmlns="http://schemas.openxmlformats.org/package/2006/relationships"><Relationship Id="rId1" Type="http://schemas.openxmlformats.org/officeDocument/2006/relationships/package" Target="../embeddings/Microsoft_Excel_Worksheet127.xlsx"/></Relationships>
</file>

<file path=ppt/charts/_rels/chart129.xml.rels><?xml version="1.0" encoding="UTF-8" standalone="yes"?>
<Relationships xmlns="http://schemas.openxmlformats.org/package/2006/relationships"><Relationship Id="rId1" Type="http://schemas.openxmlformats.org/officeDocument/2006/relationships/package" Target="../embeddings/Microsoft_Excel_Worksheet128.xlsx"/></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130.xml.rels><?xml version="1.0" encoding="UTF-8" standalone="yes"?>
<Relationships xmlns="http://schemas.openxmlformats.org/package/2006/relationships"><Relationship Id="rId1" Type="http://schemas.openxmlformats.org/officeDocument/2006/relationships/package" Target="../embeddings/Microsoft_Excel_Worksheet129.xlsx"/></Relationships>
</file>

<file path=ppt/charts/_rels/chart131.xml.rels><?xml version="1.0" encoding="UTF-8" standalone="yes"?>
<Relationships xmlns="http://schemas.openxmlformats.org/package/2006/relationships"><Relationship Id="rId1" Type="http://schemas.openxmlformats.org/officeDocument/2006/relationships/package" Target="../embeddings/Microsoft_Excel_Worksheet130.xlsx"/></Relationships>
</file>

<file path=ppt/charts/_rels/chart132.xml.rels><?xml version="1.0" encoding="UTF-8" standalone="yes"?>
<Relationships xmlns="http://schemas.openxmlformats.org/package/2006/relationships"><Relationship Id="rId1" Type="http://schemas.openxmlformats.org/officeDocument/2006/relationships/package" Target="../embeddings/Microsoft_Excel_Worksheet131.xlsx"/></Relationships>
</file>

<file path=ppt/charts/_rels/chart133.xml.rels><?xml version="1.0" encoding="UTF-8" standalone="yes"?>
<Relationships xmlns="http://schemas.openxmlformats.org/package/2006/relationships"><Relationship Id="rId1" Type="http://schemas.openxmlformats.org/officeDocument/2006/relationships/package" Target="../embeddings/Microsoft_Excel_Worksheet132.xlsx"/></Relationships>
</file>

<file path=ppt/charts/_rels/chart134.xml.rels><?xml version="1.0" encoding="UTF-8" standalone="yes"?>
<Relationships xmlns="http://schemas.openxmlformats.org/package/2006/relationships"><Relationship Id="rId1" Type="http://schemas.openxmlformats.org/officeDocument/2006/relationships/package" Target="../embeddings/Microsoft_Excel_Worksheet133.xlsx"/></Relationships>
</file>

<file path=ppt/charts/_rels/chart135.xml.rels><?xml version="1.0" encoding="UTF-8" standalone="yes"?>
<Relationships xmlns="http://schemas.openxmlformats.org/package/2006/relationships"><Relationship Id="rId1" Type="http://schemas.openxmlformats.org/officeDocument/2006/relationships/package" Target="../embeddings/Microsoft_Excel_Worksheet134.xlsx"/></Relationships>
</file>

<file path=ppt/charts/_rels/chart136.xml.rels><?xml version="1.0" encoding="UTF-8" standalone="yes"?>
<Relationships xmlns="http://schemas.openxmlformats.org/package/2006/relationships"><Relationship Id="rId1" Type="http://schemas.openxmlformats.org/officeDocument/2006/relationships/package" Target="../embeddings/Microsoft_Excel_Worksheet135.xlsx"/></Relationships>
</file>

<file path=ppt/charts/_rels/chart137.xml.rels><?xml version="1.0" encoding="UTF-8" standalone="yes"?>
<Relationships xmlns="http://schemas.openxmlformats.org/package/2006/relationships"><Relationship Id="rId1" Type="http://schemas.openxmlformats.org/officeDocument/2006/relationships/package" Target="../embeddings/Microsoft_Excel_Worksheet136.xlsx"/></Relationships>
</file>

<file path=ppt/charts/_rels/chart138.xml.rels><?xml version="1.0" encoding="UTF-8" standalone="yes"?>
<Relationships xmlns="http://schemas.openxmlformats.org/package/2006/relationships"><Relationship Id="rId1" Type="http://schemas.openxmlformats.org/officeDocument/2006/relationships/package" Target="../embeddings/Microsoft_Excel_Worksheet137.xlsx"/></Relationships>
</file>

<file path=ppt/charts/_rels/chart139.xml.rels><?xml version="1.0" encoding="UTF-8" standalone="yes"?>
<Relationships xmlns="http://schemas.openxmlformats.org/package/2006/relationships"><Relationship Id="rId1" Type="http://schemas.openxmlformats.org/officeDocument/2006/relationships/package" Target="../embeddings/Microsoft_Excel_Worksheet138.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140.xml.rels><?xml version="1.0" encoding="UTF-8" standalone="yes"?>
<Relationships xmlns="http://schemas.openxmlformats.org/package/2006/relationships"><Relationship Id="rId1" Type="http://schemas.openxmlformats.org/officeDocument/2006/relationships/package" Target="../embeddings/Microsoft_Excel_Worksheet139.xlsx"/></Relationships>
</file>

<file path=ppt/charts/_rels/chart141.xml.rels><?xml version="1.0" encoding="UTF-8" standalone="yes"?>
<Relationships xmlns="http://schemas.openxmlformats.org/package/2006/relationships"><Relationship Id="rId1" Type="http://schemas.openxmlformats.org/officeDocument/2006/relationships/package" Target="../embeddings/Microsoft_Excel_Worksheet140.xlsx"/></Relationships>
</file>

<file path=ppt/charts/_rels/chart142.xml.rels><?xml version="1.0" encoding="UTF-8" standalone="yes"?>
<Relationships xmlns="http://schemas.openxmlformats.org/package/2006/relationships"><Relationship Id="rId1" Type="http://schemas.openxmlformats.org/officeDocument/2006/relationships/package" Target="../embeddings/Microsoft_Excel_Worksheet141.xlsx"/></Relationships>
</file>

<file path=ppt/charts/_rels/chart143.xml.rels><?xml version="1.0" encoding="UTF-8" standalone="yes"?>
<Relationships xmlns="http://schemas.openxmlformats.org/package/2006/relationships"><Relationship Id="rId1" Type="http://schemas.openxmlformats.org/officeDocument/2006/relationships/package" Target="../embeddings/Microsoft_Excel_Worksheet142.xlsx"/></Relationships>
</file>

<file path=ppt/charts/_rels/chart144.xml.rels><?xml version="1.0" encoding="UTF-8" standalone="yes"?>
<Relationships xmlns="http://schemas.openxmlformats.org/package/2006/relationships"><Relationship Id="rId1" Type="http://schemas.openxmlformats.org/officeDocument/2006/relationships/package" Target="../embeddings/Microsoft_Excel_Worksheet143.xlsx"/></Relationships>
</file>

<file path=ppt/charts/_rels/chart145.xml.rels><?xml version="1.0" encoding="UTF-8" standalone="yes"?>
<Relationships xmlns="http://schemas.openxmlformats.org/package/2006/relationships"><Relationship Id="rId1" Type="http://schemas.openxmlformats.org/officeDocument/2006/relationships/package" Target="../embeddings/Microsoft_Excel_Worksheet144.xlsx"/></Relationships>
</file>

<file path=ppt/charts/_rels/chart146.xml.rels><?xml version="1.0" encoding="UTF-8" standalone="yes"?>
<Relationships xmlns="http://schemas.openxmlformats.org/package/2006/relationships"><Relationship Id="rId1" Type="http://schemas.openxmlformats.org/officeDocument/2006/relationships/package" Target="../embeddings/Microsoft_Excel_Worksheet145.xlsx"/></Relationships>
</file>

<file path=ppt/charts/_rels/chart147.xml.rels><?xml version="1.0" encoding="UTF-8" standalone="yes"?>
<Relationships xmlns="http://schemas.openxmlformats.org/package/2006/relationships"><Relationship Id="rId1" Type="http://schemas.openxmlformats.org/officeDocument/2006/relationships/package" Target="../embeddings/Microsoft_Excel_Worksheet146.xlsx"/></Relationships>
</file>

<file path=ppt/charts/_rels/chart148.xml.rels><?xml version="1.0" encoding="UTF-8" standalone="yes"?>
<Relationships xmlns="http://schemas.openxmlformats.org/package/2006/relationships"><Relationship Id="rId1" Type="http://schemas.openxmlformats.org/officeDocument/2006/relationships/package" Target="../embeddings/Microsoft_Excel_Worksheet147.xlsx"/></Relationships>
</file>

<file path=ppt/charts/_rels/chart149.xml.rels><?xml version="1.0" encoding="UTF-8" standalone="yes"?>
<Relationships xmlns="http://schemas.openxmlformats.org/package/2006/relationships"><Relationship Id="rId1" Type="http://schemas.openxmlformats.org/officeDocument/2006/relationships/package" Target="../embeddings/Microsoft_Excel_Worksheet148.xlsx"/></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Worksheet14.xlsx"/></Relationships>
</file>

<file path=ppt/charts/_rels/chart150.xml.rels><?xml version="1.0" encoding="UTF-8" standalone="yes"?>
<Relationships xmlns="http://schemas.openxmlformats.org/package/2006/relationships"><Relationship Id="rId1" Type="http://schemas.openxmlformats.org/officeDocument/2006/relationships/package" Target="../embeddings/Microsoft_Excel_Worksheet149.xlsx"/></Relationships>
</file>

<file path=ppt/charts/_rels/chart151.xml.rels><?xml version="1.0" encoding="UTF-8" standalone="yes"?>
<Relationships xmlns="http://schemas.openxmlformats.org/package/2006/relationships"><Relationship Id="rId1" Type="http://schemas.openxmlformats.org/officeDocument/2006/relationships/package" Target="../embeddings/Microsoft_Excel_Worksheet150.xlsx"/></Relationships>
</file>

<file path=ppt/charts/_rels/chart152.xml.rels><?xml version="1.0" encoding="UTF-8" standalone="yes"?>
<Relationships xmlns="http://schemas.openxmlformats.org/package/2006/relationships"><Relationship Id="rId1" Type="http://schemas.openxmlformats.org/officeDocument/2006/relationships/package" Target="../embeddings/Microsoft_Excel_Worksheet151.xlsx"/></Relationships>
</file>

<file path=ppt/charts/_rels/chart153.xml.rels><?xml version="1.0" encoding="UTF-8" standalone="yes"?>
<Relationships xmlns="http://schemas.openxmlformats.org/package/2006/relationships"><Relationship Id="rId1" Type="http://schemas.openxmlformats.org/officeDocument/2006/relationships/package" Target="../embeddings/Microsoft_Excel_Worksheet152.xlsx"/></Relationships>
</file>

<file path=ppt/charts/_rels/chart154.xml.rels><?xml version="1.0" encoding="UTF-8" standalone="yes"?>
<Relationships xmlns="http://schemas.openxmlformats.org/package/2006/relationships"><Relationship Id="rId1" Type="http://schemas.openxmlformats.org/officeDocument/2006/relationships/package" Target="../embeddings/Microsoft_Excel_Worksheet153.xlsx"/></Relationships>
</file>

<file path=ppt/charts/_rels/chart155.xml.rels><?xml version="1.0" encoding="UTF-8" standalone="yes"?>
<Relationships xmlns="http://schemas.openxmlformats.org/package/2006/relationships"><Relationship Id="rId1" Type="http://schemas.openxmlformats.org/officeDocument/2006/relationships/package" Target="../embeddings/Microsoft_Excel_Worksheet154.xlsx"/></Relationships>
</file>

<file path=ppt/charts/_rels/chart156.xml.rels><?xml version="1.0" encoding="UTF-8" standalone="yes"?>
<Relationships xmlns="http://schemas.openxmlformats.org/package/2006/relationships"><Relationship Id="rId1" Type="http://schemas.openxmlformats.org/officeDocument/2006/relationships/package" Target="../embeddings/Microsoft_Excel_Worksheet155.xlsx"/></Relationships>
</file>

<file path=ppt/charts/_rels/chart157.xml.rels><?xml version="1.0" encoding="UTF-8" standalone="yes"?>
<Relationships xmlns="http://schemas.openxmlformats.org/package/2006/relationships"><Relationship Id="rId1" Type="http://schemas.openxmlformats.org/officeDocument/2006/relationships/package" Target="../embeddings/Microsoft_Excel_Worksheet156.xlsx"/></Relationships>
</file>

<file path=ppt/charts/_rels/chart158.xml.rels><?xml version="1.0" encoding="UTF-8" standalone="yes"?>
<Relationships xmlns="http://schemas.openxmlformats.org/package/2006/relationships"><Relationship Id="rId1" Type="http://schemas.openxmlformats.org/officeDocument/2006/relationships/package" Target="../embeddings/Microsoft_Excel_Worksheet157.xlsx"/></Relationships>
</file>

<file path=ppt/charts/_rels/chart159.xml.rels><?xml version="1.0" encoding="UTF-8" standalone="yes"?>
<Relationships xmlns="http://schemas.openxmlformats.org/package/2006/relationships"><Relationship Id="rId1" Type="http://schemas.openxmlformats.org/officeDocument/2006/relationships/package" Target="../embeddings/Microsoft_Excel_Worksheet158.xlsx"/></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160.xml.rels><?xml version="1.0" encoding="UTF-8" standalone="yes"?>
<Relationships xmlns="http://schemas.openxmlformats.org/package/2006/relationships"><Relationship Id="rId1" Type="http://schemas.openxmlformats.org/officeDocument/2006/relationships/package" Target="../embeddings/Microsoft_Excel_Worksheet159.xlsx"/></Relationships>
</file>

<file path=ppt/charts/_rels/chart161.xml.rels><?xml version="1.0" encoding="UTF-8" standalone="yes"?>
<Relationships xmlns="http://schemas.openxmlformats.org/package/2006/relationships"><Relationship Id="rId1" Type="http://schemas.openxmlformats.org/officeDocument/2006/relationships/package" Target="../embeddings/Microsoft_Excel_Worksheet160.xlsx"/></Relationships>
</file>

<file path=ppt/charts/_rels/chart162.xml.rels><?xml version="1.0" encoding="UTF-8" standalone="yes"?>
<Relationships xmlns="http://schemas.openxmlformats.org/package/2006/relationships"><Relationship Id="rId1" Type="http://schemas.openxmlformats.org/officeDocument/2006/relationships/package" Target="../embeddings/Microsoft_Excel_Worksheet161.xlsx"/></Relationships>
</file>

<file path=ppt/charts/_rels/chart163.xml.rels><?xml version="1.0" encoding="UTF-8" standalone="yes"?>
<Relationships xmlns="http://schemas.openxmlformats.org/package/2006/relationships"><Relationship Id="rId1" Type="http://schemas.openxmlformats.org/officeDocument/2006/relationships/package" Target="../embeddings/Microsoft_Excel_Worksheet162.xlsx"/></Relationships>
</file>

<file path=ppt/charts/_rels/chart164.xml.rels><?xml version="1.0" encoding="UTF-8" standalone="yes"?>
<Relationships xmlns="http://schemas.openxmlformats.org/package/2006/relationships"><Relationship Id="rId1" Type="http://schemas.openxmlformats.org/officeDocument/2006/relationships/package" Target="../embeddings/Microsoft_Excel_Worksheet163.xlsx"/></Relationships>
</file>

<file path=ppt/charts/_rels/chart165.xml.rels><?xml version="1.0" encoding="UTF-8" standalone="yes"?>
<Relationships xmlns="http://schemas.openxmlformats.org/package/2006/relationships"><Relationship Id="rId1" Type="http://schemas.openxmlformats.org/officeDocument/2006/relationships/package" Target="../embeddings/Microsoft_Excel_Worksheet164.xlsx"/></Relationships>
</file>

<file path=ppt/charts/_rels/chart166.xml.rels><?xml version="1.0" encoding="UTF-8" standalone="yes"?>
<Relationships xmlns="http://schemas.openxmlformats.org/package/2006/relationships"><Relationship Id="rId1" Type="http://schemas.openxmlformats.org/officeDocument/2006/relationships/package" Target="../embeddings/Microsoft_Excel_Worksheet165.xlsx"/></Relationships>
</file>

<file path=ppt/charts/_rels/chart167.xml.rels><?xml version="1.0" encoding="UTF-8" standalone="yes"?>
<Relationships xmlns="http://schemas.openxmlformats.org/package/2006/relationships"><Relationship Id="rId1" Type="http://schemas.openxmlformats.org/officeDocument/2006/relationships/package" Target="../embeddings/Microsoft_Excel_Worksheet166.xlsx"/></Relationships>
</file>

<file path=ppt/charts/_rels/chart168.xml.rels><?xml version="1.0" encoding="UTF-8" standalone="yes"?>
<Relationships xmlns="http://schemas.openxmlformats.org/package/2006/relationships"><Relationship Id="rId1" Type="http://schemas.openxmlformats.org/officeDocument/2006/relationships/package" Target="../embeddings/Microsoft_Excel_Worksheet167.xlsx"/></Relationships>
</file>

<file path=ppt/charts/_rels/chart169.xml.rels><?xml version="1.0" encoding="UTF-8" standalone="yes"?>
<Relationships xmlns="http://schemas.openxmlformats.org/package/2006/relationships"><Relationship Id="rId1" Type="http://schemas.openxmlformats.org/officeDocument/2006/relationships/package" Target="../embeddings/Microsoft_Excel_Worksheet168.xlsx"/></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Worksheet16.xlsx"/></Relationships>
</file>

<file path=ppt/charts/_rels/chart170.xml.rels><?xml version="1.0" encoding="UTF-8" standalone="yes"?>
<Relationships xmlns="http://schemas.openxmlformats.org/package/2006/relationships"><Relationship Id="rId1" Type="http://schemas.openxmlformats.org/officeDocument/2006/relationships/package" Target="../embeddings/Microsoft_Excel_Worksheet169.xlsx"/></Relationships>
</file>

<file path=ppt/charts/_rels/chart171.xml.rels><?xml version="1.0" encoding="UTF-8" standalone="yes"?>
<Relationships xmlns="http://schemas.openxmlformats.org/package/2006/relationships"><Relationship Id="rId1" Type="http://schemas.openxmlformats.org/officeDocument/2006/relationships/package" Target="../embeddings/Microsoft_Excel_Worksheet170.xlsx"/></Relationships>
</file>

<file path=ppt/charts/_rels/chart172.xml.rels><?xml version="1.0" encoding="UTF-8" standalone="yes"?>
<Relationships xmlns="http://schemas.openxmlformats.org/package/2006/relationships"><Relationship Id="rId1" Type="http://schemas.openxmlformats.org/officeDocument/2006/relationships/package" Target="../embeddings/Microsoft_Excel_Worksheet171.xlsx"/></Relationships>
</file>

<file path=ppt/charts/_rels/chart173.xml.rels><?xml version="1.0" encoding="UTF-8" standalone="yes"?>
<Relationships xmlns="http://schemas.openxmlformats.org/package/2006/relationships"><Relationship Id="rId1" Type="http://schemas.openxmlformats.org/officeDocument/2006/relationships/package" Target="../embeddings/Microsoft_Excel_Worksheet172.xlsx"/></Relationships>
</file>

<file path=ppt/charts/_rels/chart174.xml.rels><?xml version="1.0" encoding="UTF-8" standalone="yes"?>
<Relationships xmlns="http://schemas.openxmlformats.org/package/2006/relationships"><Relationship Id="rId1" Type="http://schemas.openxmlformats.org/officeDocument/2006/relationships/package" Target="../embeddings/Microsoft_Excel_Worksheet173.xlsx"/></Relationships>
</file>

<file path=ppt/charts/_rels/chart175.xml.rels><?xml version="1.0" encoding="UTF-8" standalone="yes"?>
<Relationships xmlns="http://schemas.openxmlformats.org/package/2006/relationships"><Relationship Id="rId1" Type="http://schemas.openxmlformats.org/officeDocument/2006/relationships/package" Target="../embeddings/Microsoft_Excel_Worksheet174.xlsx"/></Relationships>
</file>

<file path=ppt/charts/_rels/chart176.xml.rels><?xml version="1.0" encoding="UTF-8" standalone="yes"?>
<Relationships xmlns="http://schemas.openxmlformats.org/package/2006/relationships"><Relationship Id="rId1" Type="http://schemas.openxmlformats.org/officeDocument/2006/relationships/package" Target="../embeddings/Microsoft_Excel_Worksheet175.xlsx"/></Relationships>
</file>

<file path=ppt/charts/_rels/chart177.xml.rels><?xml version="1.0" encoding="UTF-8" standalone="yes"?>
<Relationships xmlns="http://schemas.openxmlformats.org/package/2006/relationships"><Relationship Id="rId1" Type="http://schemas.openxmlformats.org/officeDocument/2006/relationships/package" Target="../embeddings/Microsoft_Excel_Worksheet176.xlsx"/></Relationships>
</file>

<file path=ppt/charts/_rels/chart178.xml.rels><?xml version="1.0" encoding="UTF-8" standalone="yes"?>
<Relationships xmlns="http://schemas.openxmlformats.org/package/2006/relationships"><Relationship Id="rId1" Type="http://schemas.openxmlformats.org/officeDocument/2006/relationships/package" Target="../embeddings/Microsoft_Excel_Worksheet177.xlsx"/></Relationships>
</file>

<file path=ppt/charts/_rels/chart179.xml.rels><?xml version="1.0" encoding="UTF-8" standalone="yes"?>
<Relationships xmlns="http://schemas.openxmlformats.org/package/2006/relationships"><Relationship Id="rId1" Type="http://schemas.openxmlformats.org/officeDocument/2006/relationships/package" Target="../embeddings/Microsoft_Excel_Worksheet178.xlsx"/></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Worksheet17.xlsx"/></Relationships>
</file>

<file path=ppt/charts/_rels/chart180.xml.rels><?xml version="1.0" encoding="UTF-8" standalone="yes"?>
<Relationships xmlns="http://schemas.openxmlformats.org/package/2006/relationships"><Relationship Id="rId1" Type="http://schemas.openxmlformats.org/officeDocument/2006/relationships/package" Target="../embeddings/Microsoft_Excel_Worksheet179.xlsx"/></Relationships>
</file>

<file path=ppt/charts/_rels/chart181.xml.rels><?xml version="1.0" encoding="UTF-8" standalone="yes"?>
<Relationships xmlns="http://schemas.openxmlformats.org/package/2006/relationships"><Relationship Id="rId1" Type="http://schemas.openxmlformats.org/officeDocument/2006/relationships/package" Target="../embeddings/Microsoft_Excel_Worksheet180.xlsx"/></Relationships>
</file>

<file path=ppt/charts/_rels/chart182.xml.rels><?xml version="1.0" encoding="UTF-8" standalone="yes"?>
<Relationships xmlns="http://schemas.openxmlformats.org/package/2006/relationships"><Relationship Id="rId1" Type="http://schemas.openxmlformats.org/officeDocument/2006/relationships/package" Target="../embeddings/Microsoft_Excel_Worksheet181.xlsx"/></Relationships>
</file>

<file path=ppt/charts/_rels/chart183.xml.rels><?xml version="1.0" encoding="UTF-8" standalone="yes"?>
<Relationships xmlns="http://schemas.openxmlformats.org/package/2006/relationships"><Relationship Id="rId1" Type="http://schemas.openxmlformats.org/officeDocument/2006/relationships/package" Target="../embeddings/Microsoft_Excel_Worksheet182.xlsx"/></Relationships>
</file>

<file path=ppt/charts/_rels/chart184.xml.rels><?xml version="1.0" encoding="UTF-8" standalone="yes"?>
<Relationships xmlns="http://schemas.openxmlformats.org/package/2006/relationships"><Relationship Id="rId1" Type="http://schemas.openxmlformats.org/officeDocument/2006/relationships/package" Target="../embeddings/Microsoft_Excel_Worksheet183.xlsx"/></Relationships>
</file>

<file path=ppt/charts/_rels/chart185.xml.rels><?xml version="1.0" encoding="UTF-8" standalone="yes"?>
<Relationships xmlns="http://schemas.openxmlformats.org/package/2006/relationships"><Relationship Id="rId1" Type="http://schemas.openxmlformats.org/officeDocument/2006/relationships/package" Target="../embeddings/Microsoft_Excel_Worksheet184.xlsx"/></Relationships>
</file>

<file path=ppt/charts/_rels/chart186.xml.rels><?xml version="1.0" encoding="UTF-8" standalone="yes"?>
<Relationships xmlns="http://schemas.openxmlformats.org/package/2006/relationships"><Relationship Id="rId1" Type="http://schemas.openxmlformats.org/officeDocument/2006/relationships/package" Target="../embeddings/Microsoft_Excel_Worksheet185.xlsx"/></Relationships>
</file>

<file path=ppt/charts/_rels/chart187.xml.rels><?xml version="1.0" encoding="UTF-8" standalone="yes"?>
<Relationships xmlns="http://schemas.openxmlformats.org/package/2006/relationships"><Relationship Id="rId1" Type="http://schemas.openxmlformats.org/officeDocument/2006/relationships/package" Target="../embeddings/Microsoft_Excel_Worksheet186.xlsx"/></Relationships>
</file>

<file path=ppt/charts/_rels/chart188.xml.rels><?xml version="1.0" encoding="UTF-8" standalone="yes"?>
<Relationships xmlns="http://schemas.openxmlformats.org/package/2006/relationships"><Relationship Id="rId1" Type="http://schemas.openxmlformats.org/officeDocument/2006/relationships/package" Target="../embeddings/Microsoft_Excel_Worksheet187.xlsx"/></Relationships>
</file>

<file path=ppt/charts/_rels/chart189.xml.rels><?xml version="1.0" encoding="UTF-8" standalone="yes"?>
<Relationships xmlns="http://schemas.openxmlformats.org/package/2006/relationships"><Relationship Id="rId1" Type="http://schemas.openxmlformats.org/officeDocument/2006/relationships/package" Target="../embeddings/Microsoft_Excel_Worksheet188.xlsx"/></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Worksheet18.xlsx"/></Relationships>
</file>

<file path=ppt/charts/_rels/chart190.xml.rels><?xml version="1.0" encoding="UTF-8" standalone="yes"?>
<Relationships xmlns="http://schemas.openxmlformats.org/package/2006/relationships"><Relationship Id="rId1" Type="http://schemas.openxmlformats.org/officeDocument/2006/relationships/package" Target="../embeddings/Microsoft_Excel_Worksheet189.xlsx"/></Relationships>
</file>

<file path=ppt/charts/_rels/chart191.xml.rels><?xml version="1.0" encoding="UTF-8" standalone="yes"?>
<Relationships xmlns="http://schemas.openxmlformats.org/package/2006/relationships"><Relationship Id="rId1" Type="http://schemas.openxmlformats.org/officeDocument/2006/relationships/package" Target="../embeddings/Microsoft_Excel_Worksheet190.xlsx"/></Relationships>
</file>

<file path=ppt/charts/_rels/chart192.xml.rels><?xml version="1.0" encoding="UTF-8" standalone="yes"?>
<Relationships xmlns="http://schemas.openxmlformats.org/package/2006/relationships"><Relationship Id="rId1" Type="http://schemas.openxmlformats.org/officeDocument/2006/relationships/package" Target="../embeddings/Microsoft_Excel_Worksheet191.xlsx"/></Relationships>
</file>

<file path=ppt/charts/_rels/chart193.xml.rels><?xml version="1.0" encoding="UTF-8" standalone="yes"?>
<Relationships xmlns="http://schemas.openxmlformats.org/package/2006/relationships"><Relationship Id="rId1" Type="http://schemas.openxmlformats.org/officeDocument/2006/relationships/package" Target="../embeddings/Microsoft_Excel_Worksheet192.xlsx"/></Relationships>
</file>

<file path=ppt/charts/_rels/chart194.xml.rels><?xml version="1.0" encoding="UTF-8" standalone="yes"?>
<Relationships xmlns="http://schemas.openxmlformats.org/package/2006/relationships"><Relationship Id="rId1" Type="http://schemas.openxmlformats.org/officeDocument/2006/relationships/package" Target="../embeddings/Microsoft_Excel_Worksheet193.xlsx"/></Relationships>
</file>

<file path=ppt/charts/_rels/chart195.xml.rels><?xml version="1.0" encoding="UTF-8" standalone="yes"?>
<Relationships xmlns="http://schemas.openxmlformats.org/package/2006/relationships"><Relationship Id="rId1" Type="http://schemas.openxmlformats.org/officeDocument/2006/relationships/package" Target="../embeddings/Microsoft_Excel_Worksheet194.xlsx"/></Relationships>
</file>

<file path=ppt/charts/_rels/chart196.xml.rels><?xml version="1.0" encoding="UTF-8" standalone="yes"?>
<Relationships xmlns="http://schemas.openxmlformats.org/package/2006/relationships"><Relationship Id="rId1" Type="http://schemas.openxmlformats.org/officeDocument/2006/relationships/package" Target="../embeddings/Microsoft_Excel_Worksheet195.xlsx"/></Relationships>
</file>

<file path=ppt/charts/_rels/chart197.xml.rels><?xml version="1.0" encoding="UTF-8" standalone="yes"?>
<Relationships xmlns="http://schemas.openxmlformats.org/package/2006/relationships"><Relationship Id="rId1" Type="http://schemas.openxmlformats.org/officeDocument/2006/relationships/package" Target="../embeddings/Microsoft_Excel_Worksheet196.xlsx"/></Relationships>
</file>

<file path=ppt/charts/_rels/chart198.xml.rels><?xml version="1.0" encoding="UTF-8" standalone="yes"?>
<Relationships xmlns="http://schemas.openxmlformats.org/package/2006/relationships"><Relationship Id="rId1" Type="http://schemas.openxmlformats.org/officeDocument/2006/relationships/package" Target="../embeddings/Microsoft_Excel_Worksheet197.xlsx"/></Relationships>
</file>

<file path=ppt/charts/_rels/chart199.xml.rels><?xml version="1.0" encoding="UTF-8" standalone="yes"?>
<Relationships xmlns="http://schemas.openxmlformats.org/package/2006/relationships"><Relationship Id="rId1" Type="http://schemas.openxmlformats.org/officeDocument/2006/relationships/package" Target="../embeddings/Microsoft_Excel_Worksheet198.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Worksheet19.xlsx"/></Relationships>
</file>

<file path=ppt/charts/_rels/chart200.xml.rels><?xml version="1.0" encoding="UTF-8" standalone="yes"?>
<Relationships xmlns="http://schemas.openxmlformats.org/package/2006/relationships"><Relationship Id="rId1" Type="http://schemas.openxmlformats.org/officeDocument/2006/relationships/package" Target="../embeddings/Microsoft_Excel_Worksheet199.xlsx"/></Relationships>
</file>

<file path=ppt/charts/_rels/chart201.xml.rels><?xml version="1.0" encoding="UTF-8" standalone="yes"?>
<Relationships xmlns="http://schemas.openxmlformats.org/package/2006/relationships"><Relationship Id="rId1" Type="http://schemas.openxmlformats.org/officeDocument/2006/relationships/package" Target="../embeddings/Microsoft_Excel_Worksheet200.xlsx"/></Relationships>
</file>

<file path=ppt/charts/_rels/chart202.xml.rels><?xml version="1.0" encoding="UTF-8" standalone="yes"?>
<Relationships xmlns="http://schemas.openxmlformats.org/package/2006/relationships"><Relationship Id="rId1" Type="http://schemas.openxmlformats.org/officeDocument/2006/relationships/package" Target="../embeddings/Microsoft_Excel_Worksheet201.xlsx"/></Relationships>
</file>

<file path=ppt/charts/_rels/chart203.xml.rels><?xml version="1.0" encoding="UTF-8" standalone="yes"?>
<Relationships xmlns="http://schemas.openxmlformats.org/package/2006/relationships"><Relationship Id="rId1" Type="http://schemas.openxmlformats.org/officeDocument/2006/relationships/package" Target="../embeddings/Microsoft_Excel_Worksheet202.xlsx"/></Relationships>
</file>

<file path=ppt/charts/_rels/chart204.xml.rels><?xml version="1.0" encoding="UTF-8" standalone="yes"?>
<Relationships xmlns="http://schemas.openxmlformats.org/package/2006/relationships"><Relationship Id="rId1" Type="http://schemas.openxmlformats.org/officeDocument/2006/relationships/package" Target="../embeddings/Microsoft_Excel_Worksheet203.xlsx"/></Relationships>
</file>

<file path=ppt/charts/_rels/chart205.xml.rels><?xml version="1.0" encoding="UTF-8" standalone="yes"?>
<Relationships xmlns="http://schemas.openxmlformats.org/package/2006/relationships"><Relationship Id="rId1" Type="http://schemas.openxmlformats.org/officeDocument/2006/relationships/package" Target="../embeddings/Microsoft_Excel_Worksheet204.xlsx"/></Relationships>
</file>

<file path=ppt/charts/_rels/chart206.xml.rels><?xml version="1.0" encoding="UTF-8" standalone="yes"?>
<Relationships xmlns="http://schemas.openxmlformats.org/package/2006/relationships"><Relationship Id="rId1" Type="http://schemas.openxmlformats.org/officeDocument/2006/relationships/package" Target="../embeddings/Microsoft_Excel_Worksheet205.xlsx"/></Relationships>
</file>

<file path=ppt/charts/_rels/chart207.xml.rels><?xml version="1.0" encoding="UTF-8" standalone="yes"?>
<Relationships xmlns="http://schemas.openxmlformats.org/package/2006/relationships"><Relationship Id="rId1" Type="http://schemas.openxmlformats.org/officeDocument/2006/relationships/package" Target="../embeddings/Microsoft_Excel_Worksheet206.xlsx"/></Relationships>
</file>

<file path=ppt/charts/_rels/chart208.xml.rels><?xml version="1.0" encoding="UTF-8" standalone="yes"?>
<Relationships xmlns="http://schemas.openxmlformats.org/package/2006/relationships"><Relationship Id="rId1" Type="http://schemas.openxmlformats.org/officeDocument/2006/relationships/package" Target="../embeddings/Microsoft_Excel_Worksheet207.xlsx"/></Relationships>
</file>

<file path=ppt/charts/_rels/chart209.xml.rels><?xml version="1.0" encoding="UTF-8" standalone="yes"?>
<Relationships xmlns="http://schemas.openxmlformats.org/package/2006/relationships"><Relationship Id="rId1" Type="http://schemas.openxmlformats.org/officeDocument/2006/relationships/package" Target="../embeddings/Microsoft_Excel_Worksheet208.xlsx"/></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Worksheet20.xlsx"/></Relationships>
</file>

<file path=ppt/charts/_rels/chart210.xml.rels><?xml version="1.0" encoding="UTF-8" standalone="yes"?>
<Relationships xmlns="http://schemas.openxmlformats.org/package/2006/relationships"><Relationship Id="rId1" Type="http://schemas.openxmlformats.org/officeDocument/2006/relationships/package" Target="../embeddings/Microsoft_Excel_Worksheet209.xlsx"/></Relationships>
</file>

<file path=ppt/charts/_rels/chart211.xml.rels><?xml version="1.0" encoding="UTF-8" standalone="yes"?>
<Relationships xmlns="http://schemas.openxmlformats.org/package/2006/relationships"><Relationship Id="rId1" Type="http://schemas.openxmlformats.org/officeDocument/2006/relationships/package" Target="../embeddings/Microsoft_Excel_Worksheet210.xlsx"/></Relationships>
</file>

<file path=ppt/charts/_rels/chart212.xml.rels><?xml version="1.0" encoding="UTF-8" standalone="yes"?>
<Relationships xmlns="http://schemas.openxmlformats.org/package/2006/relationships"><Relationship Id="rId1" Type="http://schemas.openxmlformats.org/officeDocument/2006/relationships/package" Target="../embeddings/Microsoft_Excel_Worksheet211.xlsx"/></Relationships>
</file>

<file path=ppt/charts/_rels/chart213.xml.rels><?xml version="1.0" encoding="UTF-8" standalone="yes"?>
<Relationships xmlns="http://schemas.openxmlformats.org/package/2006/relationships"><Relationship Id="rId1" Type="http://schemas.openxmlformats.org/officeDocument/2006/relationships/package" Target="../embeddings/Microsoft_Excel_Worksheet212.xlsx"/></Relationships>
</file>

<file path=ppt/charts/_rels/chart214.xml.rels><?xml version="1.0" encoding="UTF-8" standalone="yes"?>
<Relationships xmlns="http://schemas.openxmlformats.org/package/2006/relationships"><Relationship Id="rId1" Type="http://schemas.openxmlformats.org/officeDocument/2006/relationships/package" Target="../embeddings/Microsoft_Excel_Worksheet213.xlsx"/></Relationships>
</file>

<file path=ppt/charts/_rels/chart215.xml.rels><?xml version="1.0" encoding="UTF-8" standalone="yes"?>
<Relationships xmlns="http://schemas.openxmlformats.org/package/2006/relationships"><Relationship Id="rId1" Type="http://schemas.openxmlformats.org/officeDocument/2006/relationships/package" Target="../embeddings/Microsoft_Excel_Worksheet214.xlsx"/></Relationships>
</file>

<file path=ppt/charts/_rels/chart216.xml.rels><?xml version="1.0" encoding="UTF-8" standalone="yes"?>
<Relationships xmlns="http://schemas.openxmlformats.org/package/2006/relationships"><Relationship Id="rId1" Type="http://schemas.openxmlformats.org/officeDocument/2006/relationships/package" Target="../embeddings/Microsoft_Excel_Worksheet215.xlsx"/></Relationships>
</file>

<file path=ppt/charts/_rels/chart217.xml.rels><?xml version="1.0" encoding="UTF-8" standalone="yes"?>
<Relationships xmlns="http://schemas.openxmlformats.org/package/2006/relationships"><Relationship Id="rId1" Type="http://schemas.openxmlformats.org/officeDocument/2006/relationships/package" Target="../embeddings/Microsoft_Excel_Worksheet216.xlsx"/></Relationships>
</file>

<file path=ppt/charts/_rels/chart218.xml.rels><?xml version="1.0" encoding="UTF-8" standalone="yes"?>
<Relationships xmlns="http://schemas.openxmlformats.org/package/2006/relationships"><Relationship Id="rId1" Type="http://schemas.openxmlformats.org/officeDocument/2006/relationships/package" Target="../embeddings/Microsoft_Excel_Worksheet217.xlsx"/></Relationships>
</file>

<file path=ppt/charts/_rels/chart219.xml.rels><?xml version="1.0" encoding="UTF-8" standalone="yes"?>
<Relationships xmlns="http://schemas.openxmlformats.org/package/2006/relationships"><Relationship Id="rId1" Type="http://schemas.openxmlformats.org/officeDocument/2006/relationships/package" Target="../embeddings/Microsoft_Excel_Worksheet218.xlsx"/></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Worksheet21.xlsx"/></Relationships>
</file>

<file path=ppt/charts/_rels/chart220.xml.rels><?xml version="1.0" encoding="UTF-8" standalone="yes"?>
<Relationships xmlns="http://schemas.openxmlformats.org/package/2006/relationships"><Relationship Id="rId1" Type="http://schemas.openxmlformats.org/officeDocument/2006/relationships/package" Target="../embeddings/Microsoft_Excel_Worksheet219.xlsx"/></Relationships>
</file>

<file path=ppt/charts/_rels/chart221.xml.rels><?xml version="1.0" encoding="UTF-8" standalone="yes"?>
<Relationships xmlns="http://schemas.openxmlformats.org/package/2006/relationships"><Relationship Id="rId1" Type="http://schemas.openxmlformats.org/officeDocument/2006/relationships/package" Target="../embeddings/Microsoft_Excel_Worksheet220.xlsx"/></Relationships>
</file>

<file path=ppt/charts/_rels/chart222.xml.rels><?xml version="1.0" encoding="UTF-8" standalone="yes"?>
<Relationships xmlns="http://schemas.openxmlformats.org/package/2006/relationships"><Relationship Id="rId1" Type="http://schemas.openxmlformats.org/officeDocument/2006/relationships/package" Target="../embeddings/Microsoft_Excel_Worksheet221.xlsx"/></Relationships>
</file>

<file path=ppt/charts/_rels/chart223.xml.rels><?xml version="1.0" encoding="UTF-8" standalone="yes"?>
<Relationships xmlns="http://schemas.openxmlformats.org/package/2006/relationships"><Relationship Id="rId1" Type="http://schemas.openxmlformats.org/officeDocument/2006/relationships/package" Target="../embeddings/Microsoft_Excel_Worksheet222.xlsx"/></Relationships>
</file>

<file path=ppt/charts/_rels/chart224.xml.rels><?xml version="1.0" encoding="UTF-8" standalone="yes"?>
<Relationships xmlns="http://schemas.openxmlformats.org/package/2006/relationships"><Relationship Id="rId1" Type="http://schemas.openxmlformats.org/officeDocument/2006/relationships/package" Target="../embeddings/Microsoft_Excel_Worksheet223.xlsx"/></Relationships>
</file>

<file path=ppt/charts/_rels/chart225.xml.rels><?xml version="1.0" encoding="UTF-8" standalone="yes"?>
<Relationships xmlns="http://schemas.openxmlformats.org/package/2006/relationships"><Relationship Id="rId1" Type="http://schemas.openxmlformats.org/officeDocument/2006/relationships/package" Target="../embeddings/Microsoft_Excel_Worksheet224.xlsx"/></Relationships>
</file>

<file path=ppt/charts/_rels/chart226.xml.rels><?xml version="1.0" encoding="UTF-8" standalone="yes"?>
<Relationships xmlns="http://schemas.openxmlformats.org/package/2006/relationships"><Relationship Id="rId1" Type="http://schemas.openxmlformats.org/officeDocument/2006/relationships/package" Target="../embeddings/Microsoft_Excel_Worksheet225.xlsx"/></Relationships>
</file>

<file path=ppt/charts/_rels/chart227.xml.rels><?xml version="1.0" encoding="UTF-8" standalone="yes"?>
<Relationships xmlns="http://schemas.openxmlformats.org/package/2006/relationships"><Relationship Id="rId1" Type="http://schemas.openxmlformats.org/officeDocument/2006/relationships/package" Target="../embeddings/Microsoft_Excel_Worksheet226.xlsx"/></Relationships>
</file>

<file path=ppt/charts/_rels/chart228.xml.rels><?xml version="1.0" encoding="UTF-8" standalone="yes"?>
<Relationships xmlns="http://schemas.openxmlformats.org/package/2006/relationships"><Relationship Id="rId1" Type="http://schemas.openxmlformats.org/officeDocument/2006/relationships/package" Target="../embeddings/Microsoft_Excel_Worksheet227.xlsx"/></Relationships>
</file>

<file path=ppt/charts/_rels/chart229.xml.rels><?xml version="1.0" encoding="UTF-8" standalone="yes"?>
<Relationships xmlns="http://schemas.openxmlformats.org/package/2006/relationships"><Relationship Id="rId1" Type="http://schemas.openxmlformats.org/officeDocument/2006/relationships/package" Target="../embeddings/Microsoft_Excel_Worksheet228.xlsx"/></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Worksheet22.xlsx"/></Relationships>
</file>

<file path=ppt/charts/_rels/chart230.xml.rels><?xml version="1.0" encoding="UTF-8" standalone="yes"?>
<Relationships xmlns="http://schemas.openxmlformats.org/package/2006/relationships"><Relationship Id="rId1" Type="http://schemas.openxmlformats.org/officeDocument/2006/relationships/package" Target="../embeddings/Microsoft_Excel_Worksheet229.xlsx"/></Relationships>
</file>

<file path=ppt/charts/_rels/chart231.xml.rels><?xml version="1.0" encoding="UTF-8" standalone="yes"?>
<Relationships xmlns="http://schemas.openxmlformats.org/package/2006/relationships"><Relationship Id="rId1" Type="http://schemas.openxmlformats.org/officeDocument/2006/relationships/package" Target="../embeddings/Microsoft_Excel_Worksheet230.xlsx"/></Relationships>
</file>

<file path=ppt/charts/_rels/chart232.xml.rels><?xml version="1.0" encoding="UTF-8" standalone="yes"?>
<Relationships xmlns="http://schemas.openxmlformats.org/package/2006/relationships"><Relationship Id="rId1" Type="http://schemas.openxmlformats.org/officeDocument/2006/relationships/package" Target="../embeddings/Microsoft_Excel_Worksheet231.xlsx"/></Relationships>
</file>

<file path=ppt/charts/_rels/chart233.xml.rels><?xml version="1.0" encoding="UTF-8" standalone="yes"?>
<Relationships xmlns="http://schemas.openxmlformats.org/package/2006/relationships"><Relationship Id="rId1" Type="http://schemas.openxmlformats.org/officeDocument/2006/relationships/package" Target="../embeddings/Microsoft_Excel_Worksheet232.xlsx"/></Relationships>
</file>

<file path=ppt/charts/_rels/chart234.xml.rels><?xml version="1.0" encoding="UTF-8" standalone="yes"?>
<Relationships xmlns="http://schemas.openxmlformats.org/package/2006/relationships"><Relationship Id="rId1" Type="http://schemas.openxmlformats.org/officeDocument/2006/relationships/package" Target="../embeddings/Microsoft_Excel_Worksheet233.xlsx"/></Relationships>
</file>

<file path=ppt/charts/_rels/chart235.xml.rels><?xml version="1.0" encoding="UTF-8" standalone="yes"?>
<Relationships xmlns="http://schemas.openxmlformats.org/package/2006/relationships"><Relationship Id="rId1" Type="http://schemas.openxmlformats.org/officeDocument/2006/relationships/package" Target="../embeddings/Microsoft_Excel_Worksheet234.xlsx"/></Relationships>
</file>

<file path=ppt/charts/_rels/chart236.xml.rels><?xml version="1.0" encoding="UTF-8" standalone="yes"?>
<Relationships xmlns="http://schemas.openxmlformats.org/package/2006/relationships"><Relationship Id="rId1" Type="http://schemas.openxmlformats.org/officeDocument/2006/relationships/package" Target="../embeddings/Microsoft_Excel_Worksheet235.xlsx"/></Relationships>
</file>

<file path=ppt/charts/_rels/chart237.xml.rels><?xml version="1.0" encoding="UTF-8" standalone="yes"?>
<Relationships xmlns="http://schemas.openxmlformats.org/package/2006/relationships"><Relationship Id="rId1" Type="http://schemas.openxmlformats.org/officeDocument/2006/relationships/package" Target="../embeddings/Microsoft_Excel_Worksheet236.xlsx"/></Relationships>
</file>

<file path=ppt/charts/_rels/chart238.xml.rels><?xml version="1.0" encoding="UTF-8" standalone="yes"?>
<Relationships xmlns="http://schemas.openxmlformats.org/package/2006/relationships"><Relationship Id="rId1" Type="http://schemas.openxmlformats.org/officeDocument/2006/relationships/package" Target="../embeddings/Microsoft_Excel_Worksheet237.xlsx"/></Relationships>
</file>

<file path=ppt/charts/_rels/chart239.xml.rels><?xml version="1.0" encoding="UTF-8" standalone="yes"?>
<Relationships xmlns="http://schemas.openxmlformats.org/package/2006/relationships"><Relationship Id="rId1" Type="http://schemas.openxmlformats.org/officeDocument/2006/relationships/package" Target="../embeddings/Microsoft_Excel_Worksheet238.xlsx"/></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Worksheet23.xlsx"/></Relationships>
</file>

<file path=ppt/charts/_rels/chart240.xml.rels><?xml version="1.0" encoding="UTF-8" standalone="yes"?>
<Relationships xmlns="http://schemas.openxmlformats.org/package/2006/relationships"><Relationship Id="rId1" Type="http://schemas.openxmlformats.org/officeDocument/2006/relationships/package" Target="../embeddings/Microsoft_Excel_Worksheet239.xlsx"/></Relationships>
</file>

<file path=ppt/charts/_rels/chart241.xml.rels><?xml version="1.0" encoding="UTF-8" standalone="yes"?>
<Relationships xmlns="http://schemas.openxmlformats.org/package/2006/relationships"><Relationship Id="rId1" Type="http://schemas.openxmlformats.org/officeDocument/2006/relationships/package" Target="../embeddings/Microsoft_Excel_Worksheet240.xlsx"/></Relationships>
</file>

<file path=ppt/charts/_rels/chart242.xml.rels><?xml version="1.0" encoding="UTF-8" standalone="yes"?>
<Relationships xmlns="http://schemas.openxmlformats.org/package/2006/relationships"><Relationship Id="rId1" Type="http://schemas.openxmlformats.org/officeDocument/2006/relationships/package" Target="../embeddings/Microsoft_Excel_Worksheet241.xlsx"/></Relationships>
</file>

<file path=ppt/charts/_rels/chart243.xml.rels><?xml version="1.0" encoding="UTF-8" standalone="yes"?>
<Relationships xmlns="http://schemas.openxmlformats.org/package/2006/relationships"><Relationship Id="rId1" Type="http://schemas.openxmlformats.org/officeDocument/2006/relationships/package" Target="../embeddings/Microsoft_Excel_Worksheet242.xlsx"/></Relationships>
</file>

<file path=ppt/charts/_rels/chart244.xml.rels><?xml version="1.0" encoding="UTF-8" standalone="yes"?>
<Relationships xmlns="http://schemas.openxmlformats.org/package/2006/relationships"><Relationship Id="rId1" Type="http://schemas.openxmlformats.org/officeDocument/2006/relationships/package" Target="../embeddings/Microsoft_Excel_Worksheet243.xlsx"/></Relationships>
</file>

<file path=ppt/charts/_rels/chart245.xml.rels><?xml version="1.0" encoding="UTF-8" standalone="yes"?>
<Relationships xmlns="http://schemas.openxmlformats.org/package/2006/relationships"><Relationship Id="rId1" Type="http://schemas.openxmlformats.org/officeDocument/2006/relationships/package" Target="../embeddings/Microsoft_Excel_Worksheet244.xlsx"/></Relationships>
</file>

<file path=ppt/charts/_rels/chart246.xml.rels><?xml version="1.0" encoding="UTF-8" standalone="yes"?>
<Relationships xmlns="http://schemas.openxmlformats.org/package/2006/relationships"><Relationship Id="rId1" Type="http://schemas.openxmlformats.org/officeDocument/2006/relationships/package" Target="../embeddings/Microsoft_Excel_Worksheet245.xlsx"/></Relationships>
</file>

<file path=ppt/charts/_rels/chart247.xml.rels><?xml version="1.0" encoding="UTF-8" standalone="yes"?>
<Relationships xmlns="http://schemas.openxmlformats.org/package/2006/relationships"><Relationship Id="rId1" Type="http://schemas.openxmlformats.org/officeDocument/2006/relationships/package" Target="../embeddings/Microsoft_Excel_Worksheet246.xlsx"/></Relationships>
</file>

<file path=ppt/charts/_rels/chart248.xml.rels><?xml version="1.0" encoding="UTF-8" standalone="yes"?>
<Relationships xmlns="http://schemas.openxmlformats.org/package/2006/relationships"><Relationship Id="rId1" Type="http://schemas.openxmlformats.org/officeDocument/2006/relationships/package" Target="../embeddings/Microsoft_Excel_Worksheet247.xlsx"/></Relationships>
</file>

<file path=ppt/charts/_rels/chart249.xml.rels><?xml version="1.0" encoding="UTF-8" standalone="yes"?>
<Relationships xmlns="http://schemas.openxmlformats.org/package/2006/relationships"><Relationship Id="rId1" Type="http://schemas.openxmlformats.org/officeDocument/2006/relationships/package" Target="../embeddings/Microsoft_Excel_Worksheet248.xlsx"/></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Worksheet24.xlsx"/></Relationships>
</file>

<file path=ppt/charts/_rels/chart250.xml.rels><?xml version="1.0" encoding="UTF-8" standalone="yes"?>
<Relationships xmlns="http://schemas.openxmlformats.org/package/2006/relationships"><Relationship Id="rId1" Type="http://schemas.openxmlformats.org/officeDocument/2006/relationships/package" Target="../embeddings/Microsoft_Excel_Worksheet249.xlsx"/></Relationships>
</file>

<file path=ppt/charts/_rels/chart251.xml.rels><?xml version="1.0" encoding="UTF-8" standalone="yes"?>
<Relationships xmlns="http://schemas.openxmlformats.org/package/2006/relationships"><Relationship Id="rId1" Type="http://schemas.openxmlformats.org/officeDocument/2006/relationships/package" Target="../embeddings/Microsoft_Excel_Worksheet250.xlsx"/></Relationships>
</file>

<file path=ppt/charts/_rels/chart252.xml.rels><?xml version="1.0" encoding="UTF-8" standalone="yes"?>
<Relationships xmlns="http://schemas.openxmlformats.org/package/2006/relationships"><Relationship Id="rId1" Type="http://schemas.openxmlformats.org/officeDocument/2006/relationships/package" Target="../embeddings/Microsoft_Excel_Worksheet251.xlsx"/></Relationships>
</file>

<file path=ppt/charts/_rels/chart253.xml.rels><?xml version="1.0" encoding="UTF-8" standalone="yes"?>
<Relationships xmlns="http://schemas.openxmlformats.org/package/2006/relationships"><Relationship Id="rId1" Type="http://schemas.openxmlformats.org/officeDocument/2006/relationships/package" Target="../embeddings/Microsoft_Excel_Worksheet252.xlsx"/></Relationships>
</file>

<file path=ppt/charts/_rels/chart254.xml.rels><?xml version="1.0" encoding="UTF-8" standalone="yes"?>
<Relationships xmlns="http://schemas.openxmlformats.org/package/2006/relationships"><Relationship Id="rId1" Type="http://schemas.openxmlformats.org/officeDocument/2006/relationships/package" Target="../embeddings/Microsoft_Excel_Worksheet253.xlsx"/></Relationships>
</file>

<file path=ppt/charts/_rels/chart255.xml.rels><?xml version="1.0" encoding="UTF-8" standalone="yes"?>
<Relationships xmlns="http://schemas.openxmlformats.org/package/2006/relationships"><Relationship Id="rId1" Type="http://schemas.openxmlformats.org/officeDocument/2006/relationships/package" Target="../embeddings/Microsoft_Excel_Worksheet254.xlsx"/></Relationships>
</file>

<file path=ppt/charts/_rels/chart256.xml.rels><?xml version="1.0" encoding="UTF-8" standalone="yes"?>
<Relationships xmlns="http://schemas.openxmlformats.org/package/2006/relationships"><Relationship Id="rId1" Type="http://schemas.openxmlformats.org/officeDocument/2006/relationships/package" Target="../embeddings/Microsoft_Excel_Worksheet255.xlsx"/></Relationships>
</file>

<file path=ppt/charts/_rels/chart257.xml.rels><?xml version="1.0" encoding="UTF-8" standalone="yes"?>
<Relationships xmlns="http://schemas.openxmlformats.org/package/2006/relationships"><Relationship Id="rId1" Type="http://schemas.openxmlformats.org/officeDocument/2006/relationships/package" Target="../embeddings/Microsoft_Excel_Worksheet256.xlsx"/></Relationships>
</file>

<file path=ppt/charts/_rels/chart258.xml.rels><?xml version="1.0" encoding="UTF-8" standalone="yes"?>
<Relationships xmlns="http://schemas.openxmlformats.org/package/2006/relationships"><Relationship Id="rId1" Type="http://schemas.openxmlformats.org/officeDocument/2006/relationships/package" Target="../embeddings/Microsoft_Excel_Worksheet257.xlsx"/></Relationships>
</file>

<file path=ppt/charts/_rels/chart259.xml.rels><?xml version="1.0" encoding="UTF-8" standalone="yes"?>
<Relationships xmlns="http://schemas.openxmlformats.org/package/2006/relationships"><Relationship Id="rId1" Type="http://schemas.openxmlformats.org/officeDocument/2006/relationships/package" Target="../embeddings/Microsoft_Excel_Worksheet258.xlsx"/></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Worksheet25.xlsx"/></Relationships>
</file>

<file path=ppt/charts/_rels/chart260.xml.rels><?xml version="1.0" encoding="UTF-8" standalone="yes"?>
<Relationships xmlns="http://schemas.openxmlformats.org/package/2006/relationships"><Relationship Id="rId1" Type="http://schemas.openxmlformats.org/officeDocument/2006/relationships/package" Target="../embeddings/Microsoft_Excel_Worksheet259.xlsx"/></Relationships>
</file>

<file path=ppt/charts/_rels/chart261.xml.rels><?xml version="1.0" encoding="UTF-8" standalone="yes"?>
<Relationships xmlns="http://schemas.openxmlformats.org/package/2006/relationships"><Relationship Id="rId1" Type="http://schemas.openxmlformats.org/officeDocument/2006/relationships/package" Target="../embeddings/Microsoft_Excel_Worksheet260.xlsx"/></Relationships>
</file>

<file path=ppt/charts/_rels/chart262.xml.rels><?xml version="1.0" encoding="UTF-8" standalone="yes"?>
<Relationships xmlns="http://schemas.openxmlformats.org/package/2006/relationships"><Relationship Id="rId1" Type="http://schemas.openxmlformats.org/officeDocument/2006/relationships/package" Target="../embeddings/Microsoft_Excel_Worksheet261.xlsx"/></Relationships>
</file>

<file path=ppt/charts/_rels/chart263.xml.rels><?xml version="1.0" encoding="UTF-8" standalone="yes"?>
<Relationships xmlns="http://schemas.openxmlformats.org/package/2006/relationships"><Relationship Id="rId1" Type="http://schemas.openxmlformats.org/officeDocument/2006/relationships/package" Target="../embeddings/Microsoft_Excel_Worksheet262.xlsx"/></Relationships>
</file>

<file path=ppt/charts/_rels/chart264.xml.rels><?xml version="1.0" encoding="UTF-8" standalone="yes"?>
<Relationships xmlns="http://schemas.openxmlformats.org/package/2006/relationships"><Relationship Id="rId1" Type="http://schemas.openxmlformats.org/officeDocument/2006/relationships/package" Target="../embeddings/Microsoft_Excel_Worksheet263.xlsx"/></Relationships>
</file>

<file path=ppt/charts/_rels/chart266.xml.rels><?xml version="1.0" encoding="UTF-8" standalone="yes"?>
<Relationships xmlns="http://schemas.openxmlformats.org/package/2006/relationships"><Relationship Id="rId1" Type="http://schemas.openxmlformats.org/officeDocument/2006/relationships/package" Target="../embeddings/Microsoft_Excel_Worksheet265.xlsx"/></Relationships>
</file>

<file path=ppt/charts/_rels/chart267.xml.rels><?xml version="1.0" encoding="UTF-8" standalone="yes"?>
<Relationships xmlns="http://schemas.openxmlformats.org/package/2006/relationships"><Relationship Id="rId1" Type="http://schemas.openxmlformats.org/officeDocument/2006/relationships/package" Target="../embeddings/Microsoft_Excel_Worksheet266.xlsx"/></Relationships>
</file>

<file path=ppt/charts/_rels/chart268.xml.rels><?xml version="1.0" encoding="UTF-8" standalone="yes"?>
<Relationships xmlns="http://schemas.openxmlformats.org/package/2006/relationships"><Relationship Id="rId1" Type="http://schemas.openxmlformats.org/officeDocument/2006/relationships/package" Target="../embeddings/Microsoft_Excel_Worksheet267.xlsx"/></Relationships>
</file>

<file path=ppt/charts/_rels/chart269.xml.rels><?xml version="1.0" encoding="UTF-8" standalone="yes"?>
<Relationships xmlns="http://schemas.openxmlformats.org/package/2006/relationships"><Relationship Id="rId1" Type="http://schemas.openxmlformats.org/officeDocument/2006/relationships/package" Target="../embeddings/Microsoft_Excel_Worksheet268.xlsx"/></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Worksheet26.xlsx"/></Relationships>
</file>

<file path=ppt/charts/_rels/chart270.xml.rels><?xml version="1.0" encoding="UTF-8" standalone="yes"?>
<Relationships xmlns="http://schemas.openxmlformats.org/package/2006/relationships"><Relationship Id="rId1" Type="http://schemas.openxmlformats.org/officeDocument/2006/relationships/package" Target="../embeddings/Microsoft_Excel_Worksheet269.xlsx"/></Relationships>
</file>

<file path=ppt/charts/_rels/chart271.xml.rels><?xml version="1.0" encoding="UTF-8" standalone="yes"?>
<Relationships xmlns="http://schemas.openxmlformats.org/package/2006/relationships"><Relationship Id="rId1" Type="http://schemas.openxmlformats.org/officeDocument/2006/relationships/package" Target="../embeddings/Microsoft_Excel_Worksheet270.xlsx"/></Relationships>
</file>

<file path=ppt/charts/_rels/chart272.xml.rels><?xml version="1.0" encoding="UTF-8" standalone="yes"?>
<Relationships xmlns="http://schemas.openxmlformats.org/package/2006/relationships"><Relationship Id="rId1" Type="http://schemas.openxmlformats.org/officeDocument/2006/relationships/package" Target="../embeddings/Microsoft_Excel_Worksheet271.xlsx"/></Relationships>
</file>

<file path=ppt/charts/_rels/chart273.xml.rels><?xml version="1.0" encoding="UTF-8" standalone="yes"?>
<Relationships xmlns="http://schemas.openxmlformats.org/package/2006/relationships"><Relationship Id="rId1" Type="http://schemas.openxmlformats.org/officeDocument/2006/relationships/package" Target="../embeddings/Microsoft_Excel_Worksheet272.xlsx"/></Relationships>
</file>

<file path=ppt/charts/_rels/chart274.xml.rels><?xml version="1.0" encoding="UTF-8" standalone="yes"?>
<Relationships xmlns="http://schemas.openxmlformats.org/package/2006/relationships"><Relationship Id="rId1" Type="http://schemas.openxmlformats.org/officeDocument/2006/relationships/package" Target="../embeddings/Microsoft_Excel_Worksheet273.xlsx"/></Relationships>
</file>

<file path=ppt/charts/_rels/chart275.xml.rels><?xml version="1.0" encoding="UTF-8" standalone="yes"?>
<Relationships xmlns="http://schemas.openxmlformats.org/package/2006/relationships"><Relationship Id="rId1" Type="http://schemas.openxmlformats.org/officeDocument/2006/relationships/package" Target="../embeddings/Microsoft_Excel_Worksheet274.xlsx"/></Relationships>
</file>

<file path=ppt/charts/_rels/chart276.xml.rels><?xml version="1.0" encoding="UTF-8" standalone="yes"?>
<Relationships xmlns="http://schemas.openxmlformats.org/package/2006/relationships"><Relationship Id="rId1" Type="http://schemas.openxmlformats.org/officeDocument/2006/relationships/package" Target="../embeddings/Microsoft_Excel_Worksheet275.xlsx"/></Relationships>
</file>

<file path=ppt/charts/_rels/chart277.xml.rels><?xml version="1.0" encoding="UTF-8" standalone="yes"?>
<Relationships xmlns="http://schemas.openxmlformats.org/package/2006/relationships"><Relationship Id="rId1" Type="http://schemas.openxmlformats.org/officeDocument/2006/relationships/package" Target="../embeddings/Microsoft_Excel_Worksheet276.xlsx"/></Relationships>
</file>

<file path=ppt/charts/_rels/chart278.xml.rels><?xml version="1.0" encoding="UTF-8" standalone="yes"?>
<Relationships xmlns="http://schemas.openxmlformats.org/package/2006/relationships"><Relationship Id="rId1" Type="http://schemas.openxmlformats.org/officeDocument/2006/relationships/package" Target="../embeddings/Microsoft_Excel_Worksheet277.xlsx"/></Relationships>
</file>

<file path=ppt/charts/_rels/chart279.xml.rels><?xml version="1.0" encoding="UTF-8" standalone="yes"?>
<Relationships xmlns="http://schemas.openxmlformats.org/package/2006/relationships"><Relationship Id="rId1" Type="http://schemas.openxmlformats.org/officeDocument/2006/relationships/package" Target="../embeddings/Microsoft_Excel_Worksheet278.xlsx"/></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Worksheet27.xlsx"/></Relationships>
</file>

<file path=ppt/charts/_rels/chart280.xml.rels><?xml version="1.0" encoding="UTF-8" standalone="yes"?>
<Relationships xmlns="http://schemas.openxmlformats.org/package/2006/relationships"><Relationship Id="rId1" Type="http://schemas.openxmlformats.org/officeDocument/2006/relationships/package" Target="../embeddings/Microsoft_Excel_Worksheet279.xlsx"/></Relationships>
</file>

<file path=ppt/charts/_rels/chart281.xml.rels><?xml version="1.0" encoding="UTF-8" standalone="yes"?>
<Relationships xmlns="http://schemas.openxmlformats.org/package/2006/relationships"><Relationship Id="rId1" Type="http://schemas.openxmlformats.org/officeDocument/2006/relationships/package" Target="../embeddings/Microsoft_Excel_Worksheet280.xlsx"/></Relationships>
</file>

<file path=ppt/charts/_rels/chart282.xml.rels><?xml version="1.0" encoding="UTF-8" standalone="yes"?>
<Relationships xmlns="http://schemas.openxmlformats.org/package/2006/relationships"><Relationship Id="rId1" Type="http://schemas.openxmlformats.org/officeDocument/2006/relationships/package" Target="../embeddings/Microsoft_Excel_Worksheet281.xlsx"/></Relationships>
</file>

<file path=ppt/charts/_rels/chart283.xml.rels><?xml version="1.0" encoding="UTF-8" standalone="yes"?>
<Relationships xmlns="http://schemas.openxmlformats.org/package/2006/relationships"><Relationship Id="rId1" Type="http://schemas.openxmlformats.org/officeDocument/2006/relationships/package" Target="../embeddings/Microsoft_Excel_Worksheet282.xlsx"/></Relationships>
</file>

<file path=ppt/charts/_rels/chart284.xml.rels><?xml version="1.0" encoding="UTF-8" standalone="yes"?>
<Relationships xmlns="http://schemas.openxmlformats.org/package/2006/relationships"><Relationship Id="rId1" Type="http://schemas.openxmlformats.org/officeDocument/2006/relationships/package" Target="../embeddings/Microsoft_Excel_Worksheet283.xlsx"/></Relationships>
</file>

<file path=ppt/charts/_rels/chart285.xml.rels><?xml version="1.0" encoding="UTF-8" standalone="yes"?>
<Relationships xmlns="http://schemas.openxmlformats.org/package/2006/relationships"><Relationship Id="rId1" Type="http://schemas.openxmlformats.org/officeDocument/2006/relationships/package" Target="../embeddings/Microsoft_Excel_Worksheet284.xlsx"/></Relationships>
</file>

<file path=ppt/charts/_rels/chart286.xml.rels><?xml version="1.0" encoding="UTF-8" standalone="yes"?>
<Relationships xmlns="http://schemas.openxmlformats.org/package/2006/relationships"><Relationship Id="rId1" Type="http://schemas.openxmlformats.org/officeDocument/2006/relationships/package" Target="../embeddings/Microsoft_Excel_Worksheet285.xlsx"/></Relationships>
</file>

<file path=ppt/charts/_rels/chart287.xml.rels><?xml version="1.0" encoding="UTF-8" standalone="yes"?>
<Relationships xmlns="http://schemas.openxmlformats.org/package/2006/relationships"><Relationship Id="rId1" Type="http://schemas.openxmlformats.org/officeDocument/2006/relationships/package" Target="../embeddings/Microsoft_Excel_Worksheet286.xlsx"/></Relationships>
</file>

<file path=ppt/charts/_rels/chart288.xml.rels><?xml version="1.0" encoding="UTF-8" standalone="yes"?>
<Relationships xmlns="http://schemas.openxmlformats.org/package/2006/relationships"><Relationship Id="rId1" Type="http://schemas.openxmlformats.org/officeDocument/2006/relationships/package" Target="../embeddings/Microsoft_Excel_Worksheet287.xlsx"/></Relationships>
</file>

<file path=ppt/charts/_rels/chart289.xml.rels><?xml version="1.0" encoding="UTF-8" standalone="yes"?>
<Relationships xmlns="http://schemas.openxmlformats.org/package/2006/relationships"><Relationship Id="rId1" Type="http://schemas.openxmlformats.org/officeDocument/2006/relationships/package" Target="../embeddings/Microsoft_Excel_Worksheet288.xlsx"/></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Worksheet28.xlsx"/></Relationships>
</file>

<file path=ppt/charts/_rels/chart290.xml.rels><?xml version="1.0" encoding="UTF-8" standalone="yes"?>
<Relationships xmlns="http://schemas.openxmlformats.org/package/2006/relationships"><Relationship Id="rId1" Type="http://schemas.openxmlformats.org/officeDocument/2006/relationships/package" Target="../embeddings/Microsoft_Excel_Worksheet289.xlsx"/></Relationships>
</file>

<file path=ppt/charts/_rels/chart291.xml.rels><?xml version="1.0" encoding="UTF-8" standalone="yes"?>
<Relationships xmlns="http://schemas.openxmlformats.org/package/2006/relationships"><Relationship Id="rId1" Type="http://schemas.openxmlformats.org/officeDocument/2006/relationships/package" Target="../embeddings/Microsoft_Excel_Worksheet290.xlsx"/></Relationships>
</file>

<file path=ppt/charts/_rels/chart292.xml.rels><?xml version="1.0" encoding="UTF-8" standalone="yes"?>
<Relationships xmlns="http://schemas.openxmlformats.org/package/2006/relationships"><Relationship Id="rId1" Type="http://schemas.openxmlformats.org/officeDocument/2006/relationships/package" Target="../embeddings/Microsoft_Excel_Worksheet291.xlsx"/></Relationships>
</file>

<file path=ppt/charts/_rels/chart293.xml.rels><?xml version="1.0" encoding="UTF-8" standalone="yes"?>
<Relationships xmlns="http://schemas.openxmlformats.org/package/2006/relationships"><Relationship Id="rId1" Type="http://schemas.openxmlformats.org/officeDocument/2006/relationships/package" Target="../embeddings/Microsoft_Excel_Worksheet292.xlsx"/></Relationships>
</file>

<file path=ppt/charts/_rels/chart294.xml.rels><?xml version="1.0" encoding="UTF-8" standalone="yes"?>
<Relationships xmlns="http://schemas.openxmlformats.org/package/2006/relationships"><Relationship Id="rId1" Type="http://schemas.openxmlformats.org/officeDocument/2006/relationships/package" Target="../embeddings/Microsoft_Excel_Worksheet293.xlsx"/></Relationships>
</file>

<file path=ppt/charts/_rels/chart295.xml.rels><?xml version="1.0" encoding="UTF-8" standalone="yes"?>
<Relationships xmlns="http://schemas.openxmlformats.org/package/2006/relationships"><Relationship Id="rId1" Type="http://schemas.openxmlformats.org/officeDocument/2006/relationships/package" Target="../embeddings/Microsoft_Excel_Worksheet294.xlsx"/></Relationships>
</file>

<file path=ppt/charts/_rels/chart296.xml.rels><?xml version="1.0" encoding="UTF-8" standalone="yes"?>
<Relationships xmlns="http://schemas.openxmlformats.org/package/2006/relationships"><Relationship Id="rId1" Type="http://schemas.openxmlformats.org/officeDocument/2006/relationships/package" Target="../embeddings/Microsoft_Excel_Worksheet295.xlsx"/></Relationships>
</file>

<file path=ppt/charts/_rels/chart297.xml.rels><?xml version="1.0" encoding="UTF-8" standalone="yes"?>
<Relationships xmlns="http://schemas.openxmlformats.org/package/2006/relationships"><Relationship Id="rId1" Type="http://schemas.openxmlformats.org/officeDocument/2006/relationships/package" Target="../embeddings/Microsoft_Excel_Worksheet296.xlsx"/></Relationships>
</file>

<file path=ppt/charts/_rels/chart298.xml.rels><?xml version="1.0" encoding="UTF-8" standalone="yes"?>
<Relationships xmlns="http://schemas.openxmlformats.org/package/2006/relationships"><Relationship Id="rId1" Type="http://schemas.openxmlformats.org/officeDocument/2006/relationships/package" Target="../embeddings/Microsoft_Excel_Worksheet297.xlsx"/></Relationships>
</file>

<file path=ppt/charts/_rels/chart299.xml.rels><?xml version="1.0" encoding="UTF-8" standalone="yes"?>
<Relationships xmlns="http://schemas.openxmlformats.org/package/2006/relationships"><Relationship Id="rId1" Type="http://schemas.openxmlformats.org/officeDocument/2006/relationships/package" Target="../embeddings/Microsoft_Excel_Worksheet298.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30.xml.rels><?xml version="1.0" encoding="UTF-8" standalone="yes"?>
<Relationships xmlns="http://schemas.openxmlformats.org/package/2006/relationships"><Relationship Id="rId1" Type="http://schemas.openxmlformats.org/officeDocument/2006/relationships/package" Target="../embeddings/Microsoft_Excel_Worksheet29.xlsx"/></Relationships>
</file>

<file path=ppt/charts/_rels/chart300.xml.rels><?xml version="1.0" encoding="UTF-8" standalone="yes"?>
<Relationships xmlns="http://schemas.openxmlformats.org/package/2006/relationships"><Relationship Id="rId1" Type="http://schemas.openxmlformats.org/officeDocument/2006/relationships/package" Target="../embeddings/Microsoft_Excel_Worksheet299.xlsx"/></Relationships>
</file>

<file path=ppt/charts/_rels/chart301.xml.rels><?xml version="1.0" encoding="UTF-8" standalone="yes"?>
<Relationships xmlns="http://schemas.openxmlformats.org/package/2006/relationships"><Relationship Id="rId1" Type="http://schemas.openxmlformats.org/officeDocument/2006/relationships/package" Target="../embeddings/Microsoft_Excel_Worksheet300.xlsx"/></Relationships>
</file>

<file path=ppt/charts/_rels/chart302.xml.rels><?xml version="1.0" encoding="UTF-8" standalone="yes"?>
<Relationships xmlns="http://schemas.openxmlformats.org/package/2006/relationships"><Relationship Id="rId1" Type="http://schemas.openxmlformats.org/officeDocument/2006/relationships/package" Target="../embeddings/Microsoft_Excel_Worksheet301.xlsx"/></Relationships>
</file>

<file path=ppt/charts/_rels/chart303.xml.rels><?xml version="1.0" encoding="UTF-8" standalone="yes"?>
<Relationships xmlns="http://schemas.openxmlformats.org/package/2006/relationships"><Relationship Id="rId1" Type="http://schemas.openxmlformats.org/officeDocument/2006/relationships/package" Target="../embeddings/Microsoft_Excel_Worksheet302.xlsx"/></Relationships>
</file>

<file path=ppt/charts/_rels/chart304.xml.rels><?xml version="1.0" encoding="UTF-8" standalone="yes"?>
<Relationships xmlns="http://schemas.openxmlformats.org/package/2006/relationships"><Relationship Id="rId1" Type="http://schemas.openxmlformats.org/officeDocument/2006/relationships/package" Target="../embeddings/Microsoft_Excel_Worksheet303.xlsx"/></Relationships>
</file>

<file path=ppt/charts/_rels/chart305.xml.rels><?xml version="1.0" encoding="UTF-8" standalone="yes"?>
<Relationships xmlns="http://schemas.openxmlformats.org/package/2006/relationships"><Relationship Id="rId1" Type="http://schemas.openxmlformats.org/officeDocument/2006/relationships/package" Target="../embeddings/Microsoft_Excel_Worksheet304.xlsx"/></Relationships>
</file>

<file path=ppt/charts/_rels/chart306.xml.rels><?xml version="1.0" encoding="UTF-8" standalone="yes"?>
<Relationships xmlns="http://schemas.openxmlformats.org/package/2006/relationships"><Relationship Id="rId1" Type="http://schemas.openxmlformats.org/officeDocument/2006/relationships/package" Target="../embeddings/Microsoft_Excel_Worksheet305.xlsx"/></Relationships>
</file>

<file path=ppt/charts/_rels/chart307.xml.rels><?xml version="1.0" encoding="UTF-8" standalone="yes"?>
<Relationships xmlns="http://schemas.openxmlformats.org/package/2006/relationships"><Relationship Id="rId1" Type="http://schemas.openxmlformats.org/officeDocument/2006/relationships/package" Target="../embeddings/Microsoft_Excel_Worksheet306.xlsx"/></Relationships>
</file>

<file path=ppt/charts/_rels/chart308.xml.rels><?xml version="1.0" encoding="UTF-8" standalone="yes"?>
<Relationships xmlns="http://schemas.openxmlformats.org/package/2006/relationships"><Relationship Id="rId1" Type="http://schemas.openxmlformats.org/officeDocument/2006/relationships/package" Target="../embeddings/Microsoft_Excel_Worksheet307.xlsx"/></Relationships>
</file>

<file path=ppt/charts/_rels/chart309.xml.rels><?xml version="1.0" encoding="UTF-8" standalone="yes"?>
<Relationships xmlns="http://schemas.openxmlformats.org/package/2006/relationships"><Relationship Id="rId1" Type="http://schemas.openxmlformats.org/officeDocument/2006/relationships/package" Target="../embeddings/Microsoft_Excel_Worksheet308.xlsx"/></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_Worksheet30.xlsx"/></Relationships>
</file>

<file path=ppt/charts/_rels/chart310.xml.rels><?xml version="1.0" encoding="UTF-8" standalone="yes"?>
<Relationships xmlns="http://schemas.openxmlformats.org/package/2006/relationships"><Relationship Id="rId1" Type="http://schemas.openxmlformats.org/officeDocument/2006/relationships/package" Target="../embeddings/Microsoft_Excel_Worksheet309.xlsx"/></Relationships>
</file>

<file path=ppt/charts/_rels/chart311.xml.rels><?xml version="1.0" encoding="UTF-8" standalone="yes"?>
<Relationships xmlns="http://schemas.openxmlformats.org/package/2006/relationships"><Relationship Id="rId1" Type="http://schemas.openxmlformats.org/officeDocument/2006/relationships/package" Target="../embeddings/Microsoft_Excel_Worksheet310.xlsx"/></Relationships>
</file>

<file path=ppt/charts/_rels/chart312.xml.rels><?xml version="1.0" encoding="UTF-8" standalone="yes"?>
<Relationships xmlns="http://schemas.openxmlformats.org/package/2006/relationships"><Relationship Id="rId1" Type="http://schemas.openxmlformats.org/officeDocument/2006/relationships/package" Target="../embeddings/Microsoft_Excel_Worksheet311.xlsx"/></Relationships>
</file>

<file path=ppt/charts/_rels/chart313.xml.rels><?xml version="1.0" encoding="UTF-8" standalone="yes"?>
<Relationships xmlns="http://schemas.openxmlformats.org/package/2006/relationships"><Relationship Id="rId1" Type="http://schemas.openxmlformats.org/officeDocument/2006/relationships/package" Target="../embeddings/Microsoft_Excel_Worksheet312.xlsx"/></Relationships>
</file>

<file path=ppt/charts/_rels/chart314.xml.rels><?xml version="1.0" encoding="UTF-8" standalone="yes"?>
<Relationships xmlns="http://schemas.openxmlformats.org/package/2006/relationships"><Relationship Id="rId1" Type="http://schemas.openxmlformats.org/officeDocument/2006/relationships/package" Target="../embeddings/Microsoft_Excel_Worksheet313.xlsx"/></Relationships>
</file>

<file path=ppt/charts/_rels/chart315.xml.rels><?xml version="1.0" encoding="UTF-8" standalone="yes"?>
<Relationships xmlns="http://schemas.openxmlformats.org/package/2006/relationships"><Relationship Id="rId1" Type="http://schemas.openxmlformats.org/officeDocument/2006/relationships/package" Target="../embeddings/Microsoft_Excel_Worksheet314.xlsx"/></Relationships>
</file>

<file path=ppt/charts/_rels/chart316.xml.rels><?xml version="1.0" encoding="UTF-8" standalone="yes"?>
<Relationships xmlns="http://schemas.openxmlformats.org/package/2006/relationships"><Relationship Id="rId1" Type="http://schemas.openxmlformats.org/officeDocument/2006/relationships/package" Target="../embeddings/Microsoft_Excel_Worksheet315.xlsx"/></Relationships>
</file>

<file path=ppt/charts/_rels/chart317.xml.rels><?xml version="1.0" encoding="UTF-8" standalone="yes"?>
<Relationships xmlns="http://schemas.openxmlformats.org/package/2006/relationships"><Relationship Id="rId1" Type="http://schemas.openxmlformats.org/officeDocument/2006/relationships/package" Target="../embeddings/Microsoft_Excel_Worksheet316.xlsx"/></Relationships>
</file>

<file path=ppt/charts/_rels/chart318.xml.rels><?xml version="1.0" encoding="UTF-8" standalone="yes"?>
<Relationships xmlns="http://schemas.openxmlformats.org/package/2006/relationships"><Relationship Id="rId1" Type="http://schemas.openxmlformats.org/officeDocument/2006/relationships/package" Target="../embeddings/Microsoft_Excel_Worksheet317.xlsx"/></Relationships>
</file>

<file path=ppt/charts/_rels/chart319.xml.rels><?xml version="1.0" encoding="UTF-8" standalone="yes"?>
<Relationships xmlns="http://schemas.openxmlformats.org/package/2006/relationships"><Relationship Id="rId1" Type="http://schemas.openxmlformats.org/officeDocument/2006/relationships/package" Target="../embeddings/Microsoft_Excel_Worksheet318.xlsx"/></Relationships>
</file>

<file path=ppt/charts/_rels/chart32.xml.rels><?xml version="1.0" encoding="UTF-8" standalone="yes"?>
<Relationships xmlns="http://schemas.openxmlformats.org/package/2006/relationships"><Relationship Id="rId1" Type="http://schemas.openxmlformats.org/officeDocument/2006/relationships/package" Target="../embeddings/Microsoft_Excel_Worksheet31.xlsx"/></Relationships>
</file>

<file path=ppt/charts/_rels/chart320.xml.rels><?xml version="1.0" encoding="UTF-8" standalone="yes"?>
<Relationships xmlns="http://schemas.openxmlformats.org/package/2006/relationships"><Relationship Id="rId1" Type="http://schemas.openxmlformats.org/officeDocument/2006/relationships/package" Target="../embeddings/Microsoft_Excel_Worksheet319.xlsx"/></Relationships>
</file>

<file path=ppt/charts/_rels/chart321.xml.rels><?xml version="1.0" encoding="UTF-8" standalone="yes"?>
<Relationships xmlns="http://schemas.openxmlformats.org/package/2006/relationships"><Relationship Id="rId1" Type="http://schemas.openxmlformats.org/officeDocument/2006/relationships/package" Target="../embeddings/Microsoft_Excel_Worksheet320.xlsx"/></Relationships>
</file>

<file path=ppt/charts/_rels/chart322.xml.rels><?xml version="1.0" encoding="UTF-8" standalone="yes"?>
<Relationships xmlns="http://schemas.openxmlformats.org/package/2006/relationships"><Relationship Id="rId1" Type="http://schemas.openxmlformats.org/officeDocument/2006/relationships/package" Target="../embeddings/Microsoft_Excel_Worksheet321.xlsx"/></Relationships>
</file>

<file path=ppt/charts/_rels/chart323.xml.rels><?xml version="1.0" encoding="UTF-8" standalone="yes"?>
<Relationships xmlns="http://schemas.openxmlformats.org/package/2006/relationships"><Relationship Id="rId1" Type="http://schemas.openxmlformats.org/officeDocument/2006/relationships/package" Target="../embeddings/Microsoft_Excel_Worksheet322.xlsx"/></Relationships>
</file>

<file path=ppt/charts/_rels/chart324.xml.rels><?xml version="1.0" encoding="UTF-8" standalone="yes"?>
<Relationships xmlns="http://schemas.openxmlformats.org/package/2006/relationships"><Relationship Id="rId1" Type="http://schemas.openxmlformats.org/officeDocument/2006/relationships/package" Target="../embeddings/Microsoft_Excel_Worksheet323.xlsx"/></Relationships>
</file>

<file path=ppt/charts/_rels/chart325.xml.rels><?xml version="1.0" encoding="UTF-8" standalone="yes"?>
<Relationships xmlns="http://schemas.openxmlformats.org/package/2006/relationships"><Relationship Id="rId1" Type="http://schemas.openxmlformats.org/officeDocument/2006/relationships/package" Target="../embeddings/Microsoft_Excel_Worksheet324.xlsx"/></Relationships>
</file>

<file path=ppt/charts/_rels/chart326.xml.rels><?xml version="1.0" encoding="UTF-8" standalone="yes"?>
<Relationships xmlns="http://schemas.openxmlformats.org/package/2006/relationships"><Relationship Id="rId1" Type="http://schemas.openxmlformats.org/officeDocument/2006/relationships/package" Target="../embeddings/Microsoft_Excel_Worksheet325.xlsx"/></Relationships>
</file>

<file path=ppt/charts/_rels/chart327.xml.rels><?xml version="1.0" encoding="UTF-8" standalone="yes"?>
<Relationships xmlns="http://schemas.openxmlformats.org/package/2006/relationships"><Relationship Id="rId1" Type="http://schemas.openxmlformats.org/officeDocument/2006/relationships/package" Target="../embeddings/Microsoft_Excel_Worksheet326.xlsx"/></Relationships>
</file>

<file path=ppt/charts/_rels/chart328.xml.rels><?xml version="1.0" encoding="UTF-8" standalone="yes"?>
<Relationships xmlns="http://schemas.openxmlformats.org/package/2006/relationships"><Relationship Id="rId1" Type="http://schemas.openxmlformats.org/officeDocument/2006/relationships/package" Target="../embeddings/Microsoft_Excel_Worksheet327.xlsx"/></Relationships>
</file>

<file path=ppt/charts/_rels/chart329.xml.rels><?xml version="1.0" encoding="UTF-8" standalone="yes"?>
<Relationships xmlns="http://schemas.openxmlformats.org/package/2006/relationships"><Relationship Id="rId1" Type="http://schemas.openxmlformats.org/officeDocument/2006/relationships/package" Target="../embeddings/Microsoft_Excel_Worksheet328.xlsx"/></Relationships>
</file>

<file path=ppt/charts/_rels/chart33.xml.rels><?xml version="1.0" encoding="UTF-8" standalone="yes"?>
<Relationships xmlns="http://schemas.openxmlformats.org/package/2006/relationships"><Relationship Id="rId1" Type="http://schemas.openxmlformats.org/officeDocument/2006/relationships/package" Target="../embeddings/Microsoft_Excel_Worksheet32.xlsx"/></Relationships>
</file>

<file path=ppt/charts/_rels/chart330.xml.rels><?xml version="1.0" encoding="UTF-8" standalone="yes"?>
<Relationships xmlns="http://schemas.openxmlformats.org/package/2006/relationships"><Relationship Id="rId1" Type="http://schemas.openxmlformats.org/officeDocument/2006/relationships/package" Target="../embeddings/Microsoft_Excel_Worksheet329.xlsx"/></Relationships>
</file>

<file path=ppt/charts/_rels/chart331.xml.rels><?xml version="1.0" encoding="UTF-8" standalone="yes"?>
<Relationships xmlns="http://schemas.openxmlformats.org/package/2006/relationships"><Relationship Id="rId1" Type="http://schemas.openxmlformats.org/officeDocument/2006/relationships/package" Target="../embeddings/Microsoft_Excel_Worksheet330.xlsx"/></Relationships>
</file>

<file path=ppt/charts/_rels/chart332.xml.rels><?xml version="1.0" encoding="UTF-8" standalone="yes"?>
<Relationships xmlns="http://schemas.openxmlformats.org/package/2006/relationships"><Relationship Id="rId1" Type="http://schemas.openxmlformats.org/officeDocument/2006/relationships/package" Target="../embeddings/Microsoft_Excel_Worksheet331.xlsx"/></Relationships>
</file>

<file path=ppt/charts/_rels/chart333.xml.rels><?xml version="1.0" encoding="UTF-8" standalone="yes"?>
<Relationships xmlns="http://schemas.openxmlformats.org/package/2006/relationships"><Relationship Id="rId1" Type="http://schemas.openxmlformats.org/officeDocument/2006/relationships/package" Target="../embeddings/Microsoft_Excel_Worksheet332.xlsx"/></Relationships>
</file>

<file path=ppt/charts/_rels/chart334.xml.rels><?xml version="1.0" encoding="UTF-8" standalone="yes"?>
<Relationships xmlns="http://schemas.openxmlformats.org/package/2006/relationships"><Relationship Id="rId1" Type="http://schemas.openxmlformats.org/officeDocument/2006/relationships/package" Target="../embeddings/Microsoft_Excel_Worksheet333.xlsx"/></Relationships>
</file>

<file path=ppt/charts/_rels/chart335.xml.rels><?xml version="1.0" encoding="UTF-8" standalone="yes"?>
<Relationships xmlns="http://schemas.openxmlformats.org/package/2006/relationships"><Relationship Id="rId1" Type="http://schemas.openxmlformats.org/officeDocument/2006/relationships/package" Target="../embeddings/Microsoft_Excel_Worksheet334.xlsx"/></Relationships>
</file>

<file path=ppt/charts/_rels/chart336.xml.rels><?xml version="1.0" encoding="UTF-8" standalone="yes"?>
<Relationships xmlns="http://schemas.openxmlformats.org/package/2006/relationships"><Relationship Id="rId1" Type="http://schemas.openxmlformats.org/officeDocument/2006/relationships/package" Target="../embeddings/Microsoft_Excel_Worksheet335.xlsx"/></Relationships>
</file>

<file path=ppt/charts/_rels/chart337.xml.rels><?xml version="1.0" encoding="UTF-8" standalone="yes"?>
<Relationships xmlns="http://schemas.openxmlformats.org/package/2006/relationships"><Relationship Id="rId1" Type="http://schemas.openxmlformats.org/officeDocument/2006/relationships/package" Target="../embeddings/Microsoft_Excel_Worksheet336.xlsx"/></Relationships>
</file>

<file path=ppt/charts/_rels/chart338.xml.rels><?xml version="1.0" encoding="UTF-8" standalone="yes"?>
<Relationships xmlns="http://schemas.openxmlformats.org/package/2006/relationships"><Relationship Id="rId1" Type="http://schemas.openxmlformats.org/officeDocument/2006/relationships/package" Target="../embeddings/Microsoft_Excel_Worksheet337.xlsx"/></Relationships>
</file>

<file path=ppt/charts/_rels/chart339.xml.rels><?xml version="1.0" encoding="UTF-8" standalone="yes"?>
<Relationships xmlns="http://schemas.openxmlformats.org/package/2006/relationships"><Relationship Id="rId1" Type="http://schemas.openxmlformats.org/officeDocument/2006/relationships/package" Target="../embeddings/Microsoft_Excel_Worksheet338.xlsx"/></Relationships>
</file>

<file path=ppt/charts/_rels/chart34.xml.rels><?xml version="1.0" encoding="UTF-8" standalone="yes"?>
<Relationships xmlns="http://schemas.openxmlformats.org/package/2006/relationships"><Relationship Id="rId1" Type="http://schemas.openxmlformats.org/officeDocument/2006/relationships/package" Target="../embeddings/Microsoft_Excel_Worksheet33.xlsx"/></Relationships>
</file>

<file path=ppt/charts/_rels/chart340.xml.rels><?xml version="1.0" encoding="UTF-8" standalone="yes"?>
<Relationships xmlns="http://schemas.openxmlformats.org/package/2006/relationships"><Relationship Id="rId1" Type="http://schemas.openxmlformats.org/officeDocument/2006/relationships/package" Target="../embeddings/Microsoft_Excel_Worksheet339.xlsx"/></Relationships>
</file>

<file path=ppt/charts/_rels/chart341.xml.rels><?xml version="1.0" encoding="UTF-8" standalone="yes"?>
<Relationships xmlns="http://schemas.openxmlformats.org/package/2006/relationships"><Relationship Id="rId1" Type="http://schemas.openxmlformats.org/officeDocument/2006/relationships/package" Target="../embeddings/Microsoft_Excel_Worksheet340.xlsx"/></Relationships>
</file>

<file path=ppt/charts/_rels/chart342.xml.rels><?xml version="1.0" encoding="UTF-8" standalone="yes"?>
<Relationships xmlns="http://schemas.openxmlformats.org/package/2006/relationships"><Relationship Id="rId1" Type="http://schemas.openxmlformats.org/officeDocument/2006/relationships/package" Target="../embeddings/Microsoft_Excel_Worksheet341.xlsx"/></Relationships>
</file>

<file path=ppt/charts/_rels/chart343.xml.rels><?xml version="1.0" encoding="UTF-8" standalone="yes"?>
<Relationships xmlns="http://schemas.openxmlformats.org/package/2006/relationships"><Relationship Id="rId1" Type="http://schemas.openxmlformats.org/officeDocument/2006/relationships/package" Target="../embeddings/Microsoft_Excel_Worksheet342.xlsx"/></Relationships>
</file>

<file path=ppt/charts/_rels/chart344.xml.rels><?xml version="1.0" encoding="UTF-8" standalone="yes"?>
<Relationships xmlns="http://schemas.openxmlformats.org/package/2006/relationships"><Relationship Id="rId1" Type="http://schemas.openxmlformats.org/officeDocument/2006/relationships/package" Target="../embeddings/Microsoft_Excel_Worksheet343.xlsx"/></Relationships>
</file>

<file path=ppt/charts/_rels/chart345.xml.rels><?xml version="1.0" encoding="UTF-8" standalone="yes"?>
<Relationships xmlns="http://schemas.openxmlformats.org/package/2006/relationships"><Relationship Id="rId1" Type="http://schemas.openxmlformats.org/officeDocument/2006/relationships/package" Target="../embeddings/Microsoft_Excel_Worksheet344.xlsx"/></Relationships>
</file>

<file path=ppt/charts/_rels/chart346.xml.rels><?xml version="1.0" encoding="UTF-8" standalone="yes"?>
<Relationships xmlns="http://schemas.openxmlformats.org/package/2006/relationships"><Relationship Id="rId1" Type="http://schemas.openxmlformats.org/officeDocument/2006/relationships/package" Target="../embeddings/Microsoft_Excel_Worksheet345.xlsx"/></Relationships>
</file>

<file path=ppt/charts/_rels/chart347.xml.rels><?xml version="1.0" encoding="UTF-8" standalone="yes"?>
<Relationships xmlns="http://schemas.openxmlformats.org/package/2006/relationships"><Relationship Id="rId1" Type="http://schemas.openxmlformats.org/officeDocument/2006/relationships/package" Target="../embeddings/Microsoft_Excel_Worksheet346.xlsx"/></Relationships>
</file>

<file path=ppt/charts/_rels/chart348.xml.rels><?xml version="1.0" encoding="UTF-8" standalone="yes"?>
<Relationships xmlns="http://schemas.openxmlformats.org/package/2006/relationships"><Relationship Id="rId1" Type="http://schemas.openxmlformats.org/officeDocument/2006/relationships/package" Target="../embeddings/Microsoft_Excel_Worksheet347.xlsx"/></Relationships>
</file>

<file path=ppt/charts/_rels/chart349.xml.rels><?xml version="1.0" encoding="UTF-8" standalone="yes"?>
<Relationships xmlns="http://schemas.openxmlformats.org/package/2006/relationships"><Relationship Id="rId1" Type="http://schemas.openxmlformats.org/officeDocument/2006/relationships/package" Target="../embeddings/Microsoft_Excel_Worksheet348.xlsx"/></Relationships>
</file>

<file path=ppt/charts/_rels/chart35.xml.rels><?xml version="1.0" encoding="UTF-8" standalone="yes"?>
<Relationships xmlns="http://schemas.openxmlformats.org/package/2006/relationships"><Relationship Id="rId1" Type="http://schemas.openxmlformats.org/officeDocument/2006/relationships/package" Target="../embeddings/Microsoft_Excel_Worksheet34.xlsx"/></Relationships>
</file>

<file path=ppt/charts/_rels/chart350.xml.rels><?xml version="1.0" encoding="UTF-8" standalone="yes"?>
<Relationships xmlns="http://schemas.openxmlformats.org/package/2006/relationships"><Relationship Id="rId1" Type="http://schemas.openxmlformats.org/officeDocument/2006/relationships/package" Target="../embeddings/Microsoft_Excel_Worksheet349.xlsx"/></Relationships>
</file>

<file path=ppt/charts/_rels/chart351.xml.rels><?xml version="1.0" encoding="UTF-8" standalone="yes"?>
<Relationships xmlns="http://schemas.openxmlformats.org/package/2006/relationships"><Relationship Id="rId1" Type="http://schemas.openxmlformats.org/officeDocument/2006/relationships/package" Target="../embeddings/Microsoft_Excel_Worksheet350.xlsx"/></Relationships>
</file>

<file path=ppt/charts/_rels/chart352.xml.rels><?xml version="1.0" encoding="UTF-8" standalone="yes"?>
<Relationships xmlns="http://schemas.openxmlformats.org/package/2006/relationships"><Relationship Id="rId1" Type="http://schemas.openxmlformats.org/officeDocument/2006/relationships/package" Target="../embeddings/Microsoft_Excel_Worksheet351.xlsx"/></Relationships>
</file>

<file path=ppt/charts/_rels/chart353.xml.rels><?xml version="1.0" encoding="UTF-8" standalone="yes"?>
<Relationships xmlns="http://schemas.openxmlformats.org/package/2006/relationships"><Relationship Id="rId1" Type="http://schemas.openxmlformats.org/officeDocument/2006/relationships/package" Target="../embeddings/Microsoft_Excel_Worksheet352.xlsx"/></Relationships>
</file>

<file path=ppt/charts/_rels/chart354.xml.rels><?xml version="1.0" encoding="UTF-8" standalone="yes"?>
<Relationships xmlns="http://schemas.openxmlformats.org/package/2006/relationships"><Relationship Id="rId1" Type="http://schemas.openxmlformats.org/officeDocument/2006/relationships/package" Target="../embeddings/Microsoft_Excel_Worksheet353.xlsx"/></Relationships>
</file>

<file path=ppt/charts/_rels/chart355.xml.rels><?xml version="1.0" encoding="UTF-8" standalone="yes"?>
<Relationships xmlns="http://schemas.openxmlformats.org/package/2006/relationships"><Relationship Id="rId1" Type="http://schemas.openxmlformats.org/officeDocument/2006/relationships/package" Target="../embeddings/Microsoft_Excel_Worksheet354.xlsx"/></Relationships>
</file>

<file path=ppt/charts/_rels/chart356.xml.rels><?xml version="1.0" encoding="UTF-8" standalone="yes"?>
<Relationships xmlns="http://schemas.openxmlformats.org/package/2006/relationships"><Relationship Id="rId1" Type="http://schemas.openxmlformats.org/officeDocument/2006/relationships/package" Target="../embeddings/Microsoft_Excel_Worksheet355.xlsx"/></Relationships>
</file>

<file path=ppt/charts/_rels/chart357.xml.rels><?xml version="1.0" encoding="UTF-8" standalone="yes"?>
<Relationships xmlns="http://schemas.openxmlformats.org/package/2006/relationships"><Relationship Id="rId1" Type="http://schemas.openxmlformats.org/officeDocument/2006/relationships/package" Target="../embeddings/Microsoft_Excel_Worksheet356.xlsx"/></Relationships>
</file>

<file path=ppt/charts/_rels/chart358.xml.rels><?xml version="1.0" encoding="UTF-8" standalone="yes"?>
<Relationships xmlns="http://schemas.openxmlformats.org/package/2006/relationships"><Relationship Id="rId1" Type="http://schemas.openxmlformats.org/officeDocument/2006/relationships/package" Target="../embeddings/Microsoft_Excel_Worksheet357.xlsx"/></Relationships>
</file>

<file path=ppt/charts/_rels/chart359.xml.rels><?xml version="1.0" encoding="UTF-8" standalone="yes"?>
<Relationships xmlns="http://schemas.openxmlformats.org/package/2006/relationships"><Relationship Id="rId1" Type="http://schemas.openxmlformats.org/officeDocument/2006/relationships/package" Target="../embeddings/Microsoft_Excel_Worksheet358.xlsx"/></Relationships>
</file>

<file path=ppt/charts/_rels/chart36.xml.rels><?xml version="1.0" encoding="UTF-8" standalone="yes"?>
<Relationships xmlns="http://schemas.openxmlformats.org/package/2006/relationships"><Relationship Id="rId1" Type="http://schemas.openxmlformats.org/officeDocument/2006/relationships/package" Target="../embeddings/Microsoft_Excel_Worksheet35.xlsx"/></Relationships>
</file>

<file path=ppt/charts/_rels/chart360.xml.rels><?xml version="1.0" encoding="UTF-8" standalone="yes"?>
<Relationships xmlns="http://schemas.openxmlformats.org/package/2006/relationships"><Relationship Id="rId1" Type="http://schemas.openxmlformats.org/officeDocument/2006/relationships/package" Target="../embeddings/Microsoft_Excel_Worksheet359.xlsx"/></Relationships>
</file>

<file path=ppt/charts/_rels/chart361.xml.rels><?xml version="1.0" encoding="UTF-8" standalone="yes"?>
<Relationships xmlns="http://schemas.openxmlformats.org/package/2006/relationships"><Relationship Id="rId1" Type="http://schemas.openxmlformats.org/officeDocument/2006/relationships/package" Target="../embeddings/Microsoft_Excel_Worksheet360.xlsx"/></Relationships>
</file>

<file path=ppt/charts/_rels/chart362.xml.rels><?xml version="1.0" encoding="UTF-8" standalone="yes"?>
<Relationships xmlns="http://schemas.openxmlformats.org/package/2006/relationships"><Relationship Id="rId1" Type="http://schemas.openxmlformats.org/officeDocument/2006/relationships/package" Target="../embeddings/Microsoft_Excel_Worksheet361.xlsx"/></Relationships>
</file>

<file path=ppt/charts/_rels/chart363.xml.rels><?xml version="1.0" encoding="UTF-8" standalone="yes"?>
<Relationships xmlns="http://schemas.openxmlformats.org/package/2006/relationships"><Relationship Id="rId1" Type="http://schemas.openxmlformats.org/officeDocument/2006/relationships/package" Target="../embeddings/Microsoft_Excel_Worksheet362.xlsx"/></Relationships>
</file>

<file path=ppt/charts/_rels/chart364.xml.rels><?xml version="1.0" encoding="UTF-8" standalone="yes"?>
<Relationships xmlns="http://schemas.openxmlformats.org/package/2006/relationships"><Relationship Id="rId1" Type="http://schemas.openxmlformats.org/officeDocument/2006/relationships/package" Target="../embeddings/Microsoft_Excel_Worksheet363.xlsx"/></Relationships>
</file>

<file path=ppt/charts/_rels/chart365.xml.rels><?xml version="1.0" encoding="UTF-8" standalone="yes"?>
<Relationships xmlns="http://schemas.openxmlformats.org/package/2006/relationships"><Relationship Id="rId1" Type="http://schemas.openxmlformats.org/officeDocument/2006/relationships/package" Target="../embeddings/Microsoft_Excel_Worksheet364.xlsx"/></Relationships>
</file>

<file path=ppt/charts/_rels/chart366.xml.rels><?xml version="1.0" encoding="UTF-8" standalone="yes"?>
<Relationships xmlns="http://schemas.openxmlformats.org/package/2006/relationships"><Relationship Id="rId1" Type="http://schemas.openxmlformats.org/officeDocument/2006/relationships/package" Target="../embeddings/Microsoft_Excel_Worksheet365.xlsx"/></Relationships>
</file>

<file path=ppt/charts/_rels/chart367.xml.rels><?xml version="1.0" encoding="UTF-8" standalone="yes"?>
<Relationships xmlns="http://schemas.openxmlformats.org/package/2006/relationships"><Relationship Id="rId1" Type="http://schemas.openxmlformats.org/officeDocument/2006/relationships/package" Target="../embeddings/Microsoft_Excel_Worksheet366.xlsx"/></Relationships>
</file>

<file path=ppt/charts/_rels/chart368.xml.rels><?xml version="1.0" encoding="UTF-8" standalone="yes"?>
<Relationships xmlns="http://schemas.openxmlformats.org/package/2006/relationships"><Relationship Id="rId1" Type="http://schemas.openxmlformats.org/officeDocument/2006/relationships/package" Target="../embeddings/Microsoft_Excel_Worksheet367.xlsx"/></Relationships>
</file>

<file path=ppt/charts/_rels/chart369.xml.rels><?xml version="1.0" encoding="UTF-8" standalone="yes"?>
<Relationships xmlns="http://schemas.openxmlformats.org/package/2006/relationships"><Relationship Id="rId1" Type="http://schemas.openxmlformats.org/officeDocument/2006/relationships/package" Target="../embeddings/Microsoft_Excel_Worksheet368.xlsx"/></Relationships>
</file>

<file path=ppt/charts/_rels/chart37.xml.rels><?xml version="1.0" encoding="UTF-8" standalone="yes"?>
<Relationships xmlns="http://schemas.openxmlformats.org/package/2006/relationships"><Relationship Id="rId1" Type="http://schemas.openxmlformats.org/officeDocument/2006/relationships/package" Target="../embeddings/Microsoft_Excel_Worksheet36.xlsx"/></Relationships>
</file>

<file path=ppt/charts/_rels/chart370.xml.rels><?xml version="1.0" encoding="UTF-8" standalone="yes"?>
<Relationships xmlns="http://schemas.openxmlformats.org/package/2006/relationships"><Relationship Id="rId1" Type="http://schemas.openxmlformats.org/officeDocument/2006/relationships/package" Target="../embeddings/Microsoft_Excel_Worksheet369.xlsx"/></Relationships>
</file>

<file path=ppt/charts/_rels/chart371.xml.rels><?xml version="1.0" encoding="UTF-8" standalone="yes"?>
<Relationships xmlns="http://schemas.openxmlformats.org/package/2006/relationships"><Relationship Id="rId1" Type="http://schemas.openxmlformats.org/officeDocument/2006/relationships/package" Target="../embeddings/Microsoft_Excel_Worksheet370.xlsx"/></Relationships>
</file>

<file path=ppt/charts/_rels/chart372.xml.rels><?xml version="1.0" encoding="UTF-8" standalone="yes"?>
<Relationships xmlns="http://schemas.openxmlformats.org/package/2006/relationships"><Relationship Id="rId1" Type="http://schemas.openxmlformats.org/officeDocument/2006/relationships/package" Target="../embeddings/Microsoft_Excel_Worksheet371.xlsx"/></Relationships>
</file>

<file path=ppt/charts/_rels/chart373.xml.rels><?xml version="1.0" encoding="UTF-8" standalone="yes"?>
<Relationships xmlns="http://schemas.openxmlformats.org/package/2006/relationships"><Relationship Id="rId1" Type="http://schemas.openxmlformats.org/officeDocument/2006/relationships/package" Target="../embeddings/Microsoft_Excel_Worksheet372.xlsx"/></Relationships>
</file>

<file path=ppt/charts/_rels/chart374.xml.rels><?xml version="1.0" encoding="UTF-8" standalone="yes"?>
<Relationships xmlns="http://schemas.openxmlformats.org/package/2006/relationships"><Relationship Id="rId1" Type="http://schemas.openxmlformats.org/officeDocument/2006/relationships/package" Target="../embeddings/Microsoft_Excel_Worksheet373.xlsx"/></Relationships>
</file>

<file path=ppt/charts/_rels/chart375.xml.rels><?xml version="1.0" encoding="UTF-8" standalone="yes"?>
<Relationships xmlns="http://schemas.openxmlformats.org/package/2006/relationships"><Relationship Id="rId1" Type="http://schemas.openxmlformats.org/officeDocument/2006/relationships/package" Target="../embeddings/Microsoft_Excel_Worksheet374.xlsx"/></Relationships>
</file>

<file path=ppt/charts/_rels/chart376.xml.rels><?xml version="1.0" encoding="UTF-8" standalone="yes"?>
<Relationships xmlns="http://schemas.openxmlformats.org/package/2006/relationships"><Relationship Id="rId1" Type="http://schemas.openxmlformats.org/officeDocument/2006/relationships/package" Target="../embeddings/Microsoft_Excel_Worksheet375.xlsx"/></Relationships>
</file>

<file path=ppt/charts/_rels/chart377.xml.rels><?xml version="1.0" encoding="UTF-8" standalone="yes"?>
<Relationships xmlns="http://schemas.openxmlformats.org/package/2006/relationships"><Relationship Id="rId1" Type="http://schemas.openxmlformats.org/officeDocument/2006/relationships/package" Target="../embeddings/Microsoft_Excel_Worksheet376.xlsx"/></Relationships>
</file>

<file path=ppt/charts/_rels/chart378.xml.rels><?xml version="1.0" encoding="UTF-8" standalone="yes"?>
<Relationships xmlns="http://schemas.openxmlformats.org/package/2006/relationships"><Relationship Id="rId1" Type="http://schemas.openxmlformats.org/officeDocument/2006/relationships/package" Target="../embeddings/Microsoft_Excel_Worksheet377.xlsx"/></Relationships>
</file>

<file path=ppt/charts/_rels/chart379.xml.rels><?xml version="1.0" encoding="UTF-8" standalone="yes"?>
<Relationships xmlns="http://schemas.openxmlformats.org/package/2006/relationships"><Relationship Id="rId1" Type="http://schemas.openxmlformats.org/officeDocument/2006/relationships/package" Target="../embeddings/Microsoft_Excel_Worksheet378.xlsx"/></Relationships>
</file>

<file path=ppt/charts/_rels/chart38.xml.rels><?xml version="1.0" encoding="UTF-8" standalone="yes"?>
<Relationships xmlns="http://schemas.openxmlformats.org/package/2006/relationships"><Relationship Id="rId1" Type="http://schemas.openxmlformats.org/officeDocument/2006/relationships/package" Target="../embeddings/Microsoft_Excel_Worksheet37.xlsx"/></Relationships>
</file>

<file path=ppt/charts/_rels/chart380.xml.rels><?xml version="1.0" encoding="UTF-8" standalone="yes"?>
<Relationships xmlns="http://schemas.openxmlformats.org/package/2006/relationships"><Relationship Id="rId1" Type="http://schemas.openxmlformats.org/officeDocument/2006/relationships/package" Target="../embeddings/Microsoft_Excel_Worksheet379.xlsx"/></Relationships>
</file>

<file path=ppt/charts/_rels/chart381.xml.rels><?xml version="1.0" encoding="UTF-8" standalone="yes"?>
<Relationships xmlns="http://schemas.openxmlformats.org/package/2006/relationships"><Relationship Id="rId1" Type="http://schemas.openxmlformats.org/officeDocument/2006/relationships/package" Target="../embeddings/Microsoft_Excel_Worksheet380.xlsx"/></Relationships>
</file>

<file path=ppt/charts/_rels/chart382.xml.rels><?xml version="1.0" encoding="UTF-8" standalone="yes"?>
<Relationships xmlns="http://schemas.openxmlformats.org/package/2006/relationships"><Relationship Id="rId1" Type="http://schemas.openxmlformats.org/officeDocument/2006/relationships/package" Target="../embeddings/Microsoft_Excel_Worksheet381.xlsx"/></Relationships>
</file>

<file path=ppt/charts/_rels/chart383.xml.rels><?xml version="1.0" encoding="UTF-8" standalone="yes"?>
<Relationships xmlns="http://schemas.openxmlformats.org/package/2006/relationships"><Relationship Id="rId1" Type="http://schemas.openxmlformats.org/officeDocument/2006/relationships/package" Target="../embeddings/Microsoft_Excel_Worksheet382.xlsx"/></Relationships>
</file>

<file path=ppt/charts/_rels/chart384.xml.rels><?xml version="1.0" encoding="UTF-8" standalone="yes"?>
<Relationships xmlns="http://schemas.openxmlformats.org/package/2006/relationships"><Relationship Id="rId1" Type="http://schemas.openxmlformats.org/officeDocument/2006/relationships/package" Target="../embeddings/Microsoft_Excel_Worksheet383.xlsx"/></Relationships>
</file>

<file path=ppt/charts/_rels/chart385.xml.rels><?xml version="1.0" encoding="UTF-8" standalone="yes"?>
<Relationships xmlns="http://schemas.openxmlformats.org/package/2006/relationships"><Relationship Id="rId1" Type="http://schemas.openxmlformats.org/officeDocument/2006/relationships/package" Target="../embeddings/Microsoft_Excel_Worksheet384.xlsx"/></Relationships>
</file>

<file path=ppt/charts/_rels/chart386.xml.rels><?xml version="1.0" encoding="UTF-8" standalone="yes"?>
<Relationships xmlns="http://schemas.openxmlformats.org/package/2006/relationships"><Relationship Id="rId1" Type="http://schemas.openxmlformats.org/officeDocument/2006/relationships/package" Target="../embeddings/Microsoft_Excel_Worksheet385.xlsx"/></Relationships>
</file>

<file path=ppt/charts/_rels/chart387.xml.rels><?xml version="1.0" encoding="UTF-8" standalone="yes"?>
<Relationships xmlns="http://schemas.openxmlformats.org/package/2006/relationships"><Relationship Id="rId1" Type="http://schemas.openxmlformats.org/officeDocument/2006/relationships/package" Target="../embeddings/Microsoft_Excel_Worksheet386.xlsx"/></Relationships>
</file>

<file path=ppt/charts/_rels/chart388.xml.rels><?xml version="1.0" encoding="UTF-8" standalone="yes"?>
<Relationships xmlns="http://schemas.openxmlformats.org/package/2006/relationships"><Relationship Id="rId1" Type="http://schemas.openxmlformats.org/officeDocument/2006/relationships/package" Target="../embeddings/Microsoft_Excel_Worksheet387.xlsx"/></Relationships>
</file>

<file path=ppt/charts/_rels/chart389.xml.rels><?xml version="1.0" encoding="UTF-8" standalone="yes"?>
<Relationships xmlns="http://schemas.openxmlformats.org/package/2006/relationships"><Relationship Id="rId1" Type="http://schemas.openxmlformats.org/officeDocument/2006/relationships/package" Target="../embeddings/Microsoft_Excel_Worksheet388.xlsx"/></Relationships>
</file>

<file path=ppt/charts/_rels/chart39.xml.rels><?xml version="1.0" encoding="UTF-8" standalone="yes"?>
<Relationships xmlns="http://schemas.openxmlformats.org/package/2006/relationships"><Relationship Id="rId1" Type="http://schemas.openxmlformats.org/officeDocument/2006/relationships/package" Target="../embeddings/Microsoft_Excel_Worksheet38.xlsx"/></Relationships>
</file>

<file path=ppt/charts/_rels/chart390.xml.rels><?xml version="1.0" encoding="UTF-8" standalone="yes"?>
<Relationships xmlns="http://schemas.openxmlformats.org/package/2006/relationships"><Relationship Id="rId1" Type="http://schemas.openxmlformats.org/officeDocument/2006/relationships/package" Target="../embeddings/Microsoft_Excel_Worksheet389.xlsx"/></Relationships>
</file>

<file path=ppt/charts/_rels/chart391.xml.rels><?xml version="1.0" encoding="UTF-8" standalone="yes"?>
<Relationships xmlns="http://schemas.openxmlformats.org/package/2006/relationships"><Relationship Id="rId1" Type="http://schemas.openxmlformats.org/officeDocument/2006/relationships/package" Target="../embeddings/Microsoft_Excel_Worksheet390.xlsx"/></Relationships>
</file>

<file path=ppt/charts/_rels/chart392.xml.rels><?xml version="1.0" encoding="UTF-8" standalone="yes"?>
<Relationships xmlns="http://schemas.openxmlformats.org/package/2006/relationships"><Relationship Id="rId1" Type="http://schemas.openxmlformats.org/officeDocument/2006/relationships/package" Target="../embeddings/Microsoft_Excel_Worksheet391.xlsx"/></Relationships>
</file>

<file path=ppt/charts/_rels/chart393.xml.rels><?xml version="1.0" encoding="UTF-8" standalone="yes"?>
<Relationships xmlns="http://schemas.openxmlformats.org/package/2006/relationships"><Relationship Id="rId1" Type="http://schemas.openxmlformats.org/officeDocument/2006/relationships/package" Target="../embeddings/Microsoft_Excel_Worksheet392.xlsx"/></Relationships>
</file>

<file path=ppt/charts/_rels/chart394.xml.rels><?xml version="1.0" encoding="UTF-8" standalone="yes"?>
<Relationships xmlns="http://schemas.openxmlformats.org/package/2006/relationships"><Relationship Id="rId1" Type="http://schemas.openxmlformats.org/officeDocument/2006/relationships/package" Target="../embeddings/Microsoft_Excel_Worksheet393.xlsx"/></Relationships>
</file>

<file path=ppt/charts/_rels/chart395.xml.rels><?xml version="1.0" encoding="UTF-8" standalone="yes"?>
<Relationships xmlns="http://schemas.openxmlformats.org/package/2006/relationships"><Relationship Id="rId1" Type="http://schemas.openxmlformats.org/officeDocument/2006/relationships/package" Target="../embeddings/Microsoft_Excel_Worksheet394.xlsx"/></Relationships>
</file>

<file path=ppt/charts/_rels/chart396.xml.rels><?xml version="1.0" encoding="UTF-8" standalone="yes"?>
<Relationships xmlns="http://schemas.openxmlformats.org/package/2006/relationships"><Relationship Id="rId1" Type="http://schemas.openxmlformats.org/officeDocument/2006/relationships/package" Target="../embeddings/Microsoft_Excel_Worksheet395.xlsx"/></Relationships>
</file>

<file path=ppt/charts/_rels/chart397.xml.rels><?xml version="1.0" encoding="UTF-8" standalone="yes"?>
<Relationships xmlns="http://schemas.openxmlformats.org/package/2006/relationships"><Relationship Id="rId1" Type="http://schemas.openxmlformats.org/officeDocument/2006/relationships/package" Target="../embeddings/Microsoft_Excel_Worksheet396.xlsx"/></Relationships>
</file>

<file path=ppt/charts/_rels/chart398.xml.rels><?xml version="1.0" encoding="UTF-8" standalone="yes"?>
<Relationships xmlns="http://schemas.openxmlformats.org/package/2006/relationships"><Relationship Id="rId1" Type="http://schemas.openxmlformats.org/officeDocument/2006/relationships/package" Target="../embeddings/Microsoft_Excel_Worksheet397.xlsx"/></Relationships>
</file>

<file path=ppt/charts/_rels/chart399.xml.rels><?xml version="1.0" encoding="UTF-8" standalone="yes"?>
<Relationships xmlns="http://schemas.openxmlformats.org/package/2006/relationships"><Relationship Id="rId1" Type="http://schemas.openxmlformats.org/officeDocument/2006/relationships/package" Target="../embeddings/Microsoft_Excel_Worksheet398.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40.xml.rels><?xml version="1.0" encoding="UTF-8" standalone="yes"?>
<Relationships xmlns="http://schemas.openxmlformats.org/package/2006/relationships"><Relationship Id="rId1" Type="http://schemas.openxmlformats.org/officeDocument/2006/relationships/package" Target="../embeddings/Microsoft_Excel_Worksheet39.xlsx"/></Relationships>
</file>

<file path=ppt/charts/_rels/chart400.xml.rels><?xml version="1.0" encoding="UTF-8" standalone="yes"?>
<Relationships xmlns="http://schemas.openxmlformats.org/package/2006/relationships"><Relationship Id="rId1" Type="http://schemas.openxmlformats.org/officeDocument/2006/relationships/package" Target="../embeddings/Microsoft_Excel_Worksheet399.xlsx"/></Relationships>
</file>

<file path=ppt/charts/_rels/chart401.xml.rels><?xml version="1.0" encoding="UTF-8" standalone="yes"?>
<Relationships xmlns="http://schemas.openxmlformats.org/package/2006/relationships"><Relationship Id="rId1" Type="http://schemas.openxmlformats.org/officeDocument/2006/relationships/package" Target="../embeddings/Microsoft_Excel_Worksheet400.xlsx"/></Relationships>
</file>

<file path=ppt/charts/_rels/chart402.xml.rels><?xml version="1.0" encoding="UTF-8" standalone="yes"?>
<Relationships xmlns="http://schemas.openxmlformats.org/package/2006/relationships"><Relationship Id="rId1" Type="http://schemas.openxmlformats.org/officeDocument/2006/relationships/package" Target="../embeddings/Microsoft_Excel_Worksheet401.xlsx"/></Relationships>
</file>

<file path=ppt/charts/_rels/chart403.xml.rels><?xml version="1.0" encoding="UTF-8" standalone="yes"?>
<Relationships xmlns="http://schemas.openxmlformats.org/package/2006/relationships"><Relationship Id="rId1" Type="http://schemas.openxmlformats.org/officeDocument/2006/relationships/package" Target="../embeddings/Microsoft_Excel_Worksheet402.xlsx"/></Relationships>
</file>

<file path=ppt/charts/_rels/chart404.xml.rels><?xml version="1.0" encoding="UTF-8" standalone="yes"?>
<Relationships xmlns="http://schemas.openxmlformats.org/package/2006/relationships"><Relationship Id="rId1" Type="http://schemas.openxmlformats.org/officeDocument/2006/relationships/package" Target="../embeddings/Microsoft_Excel_Worksheet403.xlsx"/></Relationships>
</file>

<file path=ppt/charts/_rels/chart405.xml.rels><?xml version="1.0" encoding="UTF-8" standalone="yes"?>
<Relationships xmlns="http://schemas.openxmlformats.org/package/2006/relationships"><Relationship Id="rId1" Type="http://schemas.openxmlformats.org/officeDocument/2006/relationships/package" Target="../embeddings/Microsoft_Excel_Worksheet404.xlsx"/></Relationships>
</file>

<file path=ppt/charts/_rels/chart406.xml.rels><?xml version="1.0" encoding="UTF-8" standalone="yes"?>
<Relationships xmlns="http://schemas.openxmlformats.org/package/2006/relationships"><Relationship Id="rId1" Type="http://schemas.openxmlformats.org/officeDocument/2006/relationships/package" Target="../embeddings/Microsoft_Excel_Worksheet405.xlsx"/></Relationships>
</file>

<file path=ppt/charts/_rels/chart407.xml.rels><?xml version="1.0" encoding="UTF-8" standalone="yes"?>
<Relationships xmlns="http://schemas.openxmlformats.org/package/2006/relationships"><Relationship Id="rId1" Type="http://schemas.openxmlformats.org/officeDocument/2006/relationships/package" Target="../embeddings/Microsoft_Excel_Worksheet406.xlsx"/></Relationships>
</file>

<file path=ppt/charts/_rels/chart408.xml.rels><?xml version="1.0" encoding="UTF-8" standalone="yes"?>
<Relationships xmlns="http://schemas.openxmlformats.org/package/2006/relationships"><Relationship Id="rId1" Type="http://schemas.openxmlformats.org/officeDocument/2006/relationships/package" Target="../embeddings/Microsoft_Excel_Worksheet407.xlsx"/></Relationships>
</file>

<file path=ppt/charts/_rels/chart409.xml.rels><?xml version="1.0" encoding="UTF-8" standalone="yes"?>
<Relationships xmlns="http://schemas.openxmlformats.org/package/2006/relationships"><Relationship Id="rId1" Type="http://schemas.openxmlformats.org/officeDocument/2006/relationships/package" Target="../embeddings/Microsoft_Excel_Worksheet408.xlsx"/></Relationships>
</file>

<file path=ppt/charts/_rels/chart41.xml.rels><?xml version="1.0" encoding="UTF-8" standalone="yes"?>
<Relationships xmlns="http://schemas.openxmlformats.org/package/2006/relationships"><Relationship Id="rId1" Type="http://schemas.openxmlformats.org/officeDocument/2006/relationships/package" Target="../embeddings/Microsoft_Excel_Worksheet40.xlsx"/></Relationships>
</file>

<file path=ppt/charts/_rels/chart410.xml.rels><?xml version="1.0" encoding="UTF-8" standalone="yes"?>
<Relationships xmlns="http://schemas.openxmlformats.org/package/2006/relationships"><Relationship Id="rId1" Type="http://schemas.openxmlformats.org/officeDocument/2006/relationships/package" Target="../embeddings/Microsoft_Excel_Worksheet409.xlsx"/></Relationships>
</file>

<file path=ppt/charts/_rels/chart411.xml.rels><?xml version="1.0" encoding="UTF-8" standalone="yes"?>
<Relationships xmlns="http://schemas.openxmlformats.org/package/2006/relationships"><Relationship Id="rId1" Type="http://schemas.openxmlformats.org/officeDocument/2006/relationships/package" Target="../embeddings/Microsoft_Excel_Worksheet410.xlsx"/></Relationships>
</file>

<file path=ppt/charts/_rels/chart412.xml.rels><?xml version="1.0" encoding="UTF-8" standalone="yes"?>
<Relationships xmlns="http://schemas.openxmlformats.org/package/2006/relationships"><Relationship Id="rId1" Type="http://schemas.openxmlformats.org/officeDocument/2006/relationships/package" Target="../embeddings/Microsoft_Excel_Worksheet411.xlsx"/></Relationships>
</file>

<file path=ppt/charts/_rels/chart413.xml.rels><?xml version="1.0" encoding="UTF-8" standalone="yes"?>
<Relationships xmlns="http://schemas.openxmlformats.org/package/2006/relationships"><Relationship Id="rId1" Type="http://schemas.openxmlformats.org/officeDocument/2006/relationships/package" Target="../embeddings/Microsoft_Excel_Worksheet412.xlsx"/></Relationships>
</file>

<file path=ppt/charts/_rels/chart414.xml.rels><?xml version="1.0" encoding="UTF-8" standalone="yes"?>
<Relationships xmlns="http://schemas.openxmlformats.org/package/2006/relationships"><Relationship Id="rId1" Type="http://schemas.openxmlformats.org/officeDocument/2006/relationships/package" Target="../embeddings/Microsoft_Excel_Worksheet413.xlsx"/></Relationships>
</file>

<file path=ppt/charts/_rels/chart415.xml.rels><?xml version="1.0" encoding="UTF-8" standalone="yes"?>
<Relationships xmlns="http://schemas.openxmlformats.org/package/2006/relationships"><Relationship Id="rId1" Type="http://schemas.openxmlformats.org/officeDocument/2006/relationships/package" Target="../embeddings/Microsoft_Excel_Worksheet414.xlsx"/></Relationships>
</file>

<file path=ppt/charts/_rels/chart416.xml.rels><?xml version="1.0" encoding="UTF-8" standalone="yes"?>
<Relationships xmlns="http://schemas.openxmlformats.org/package/2006/relationships"><Relationship Id="rId1" Type="http://schemas.openxmlformats.org/officeDocument/2006/relationships/package" Target="../embeddings/Microsoft_Excel_Worksheet415.xlsx"/></Relationships>
</file>

<file path=ppt/charts/_rels/chart417.xml.rels><?xml version="1.0" encoding="UTF-8" standalone="yes"?>
<Relationships xmlns="http://schemas.openxmlformats.org/package/2006/relationships"><Relationship Id="rId1" Type="http://schemas.openxmlformats.org/officeDocument/2006/relationships/package" Target="../embeddings/Microsoft_Excel_Worksheet416.xlsx"/></Relationships>
</file>

<file path=ppt/charts/_rels/chart418.xml.rels><?xml version="1.0" encoding="UTF-8" standalone="yes"?>
<Relationships xmlns="http://schemas.openxmlformats.org/package/2006/relationships"><Relationship Id="rId1" Type="http://schemas.openxmlformats.org/officeDocument/2006/relationships/package" Target="../embeddings/Microsoft_Excel_Worksheet417.xlsx"/></Relationships>
</file>

<file path=ppt/charts/_rels/chart419.xml.rels><?xml version="1.0" encoding="UTF-8" standalone="yes"?>
<Relationships xmlns="http://schemas.openxmlformats.org/package/2006/relationships"><Relationship Id="rId1" Type="http://schemas.openxmlformats.org/officeDocument/2006/relationships/package" Target="../embeddings/Microsoft_Excel_Worksheet418.xlsx"/></Relationships>
</file>

<file path=ppt/charts/_rels/chart42.xml.rels><?xml version="1.0" encoding="UTF-8" standalone="yes"?>
<Relationships xmlns="http://schemas.openxmlformats.org/package/2006/relationships"><Relationship Id="rId1" Type="http://schemas.openxmlformats.org/officeDocument/2006/relationships/package" Target="../embeddings/Microsoft_Excel_Worksheet41.xlsx"/></Relationships>
</file>

<file path=ppt/charts/_rels/chart420.xml.rels><?xml version="1.0" encoding="UTF-8" standalone="yes"?>
<Relationships xmlns="http://schemas.openxmlformats.org/package/2006/relationships"><Relationship Id="rId1" Type="http://schemas.openxmlformats.org/officeDocument/2006/relationships/package" Target="../embeddings/Microsoft_Excel_Worksheet419.xlsx"/></Relationships>
</file>

<file path=ppt/charts/_rels/chart421.xml.rels><?xml version="1.0" encoding="UTF-8" standalone="yes"?>
<Relationships xmlns="http://schemas.openxmlformats.org/package/2006/relationships"><Relationship Id="rId1" Type="http://schemas.openxmlformats.org/officeDocument/2006/relationships/package" Target="../embeddings/Microsoft_Excel_Worksheet420.xlsx"/></Relationships>
</file>

<file path=ppt/charts/_rels/chart422.xml.rels><?xml version="1.0" encoding="UTF-8" standalone="yes"?>
<Relationships xmlns="http://schemas.openxmlformats.org/package/2006/relationships"><Relationship Id="rId1" Type="http://schemas.openxmlformats.org/officeDocument/2006/relationships/package" Target="../embeddings/Microsoft_Excel_Worksheet421.xlsx"/></Relationships>
</file>

<file path=ppt/charts/_rels/chart423.xml.rels><?xml version="1.0" encoding="UTF-8" standalone="yes"?>
<Relationships xmlns="http://schemas.openxmlformats.org/package/2006/relationships"><Relationship Id="rId1" Type="http://schemas.openxmlformats.org/officeDocument/2006/relationships/package" Target="../embeddings/Microsoft_Excel_Worksheet422.xlsx"/></Relationships>
</file>

<file path=ppt/charts/_rels/chart424.xml.rels><?xml version="1.0" encoding="UTF-8" standalone="yes"?>
<Relationships xmlns="http://schemas.openxmlformats.org/package/2006/relationships"><Relationship Id="rId1" Type="http://schemas.openxmlformats.org/officeDocument/2006/relationships/package" Target="../embeddings/Microsoft_Excel_Worksheet423.xlsx"/></Relationships>
</file>

<file path=ppt/charts/_rels/chart425.xml.rels><?xml version="1.0" encoding="UTF-8" standalone="yes"?>
<Relationships xmlns="http://schemas.openxmlformats.org/package/2006/relationships"><Relationship Id="rId1" Type="http://schemas.openxmlformats.org/officeDocument/2006/relationships/package" Target="../embeddings/Microsoft_Excel_Worksheet424.xlsx"/></Relationships>
</file>

<file path=ppt/charts/_rels/chart426.xml.rels><?xml version="1.0" encoding="UTF-8" standalone="yes"?>
<Relationships xmlns="http://schemas.openxmlformats.org/package/2006/relationships"><Relationship Id="rId1" Type="http://schemas.openxmlformats.org/officeDocument/2006/relationships/package" Target="../embeddings/Microsoft_Excel_Worksheet425.xlsx"/></Relationships>
</file>

<file path=ppt/charts/_rels/chart427.xml.rels><?xml version="1.0" encoding="UTF-8" standalone="yes"?>
<Relationships xmlns="http://schemas.openxmlformats.org/package/2006/relationships"><Relationship Id="rId1" Type="http://schemas.openxmlformats.org/officeDocument/2006/relationships/package" Target="../embeddings/Microsoft_Excel_Worksheet426.xlsx"/></Relationships>
</file>

<file path=ppt/charts/_rels/chart428.xml.rels><?xml version="1.0" encoding="UTF-8" standalone="yes"?>
<Relationships xmlns="http://schemas.openxmlformats.org/package/2006/relationships"><Relationship Id="rId1" Type="http://schemas.openxmlformats.org/officeDocument/2006/relationships/package" Target="../embeddings/Microsoft_Excel_Worksheet427.xlsx"/></Relationships>
</file>

<file path=ppt/charts/_rels/chart429.xml.rels><?xml version="1.0" encoding="UTF-8" standalone="yes"?>
<Relationships xmlns="http://schemas.openxmlformats.org/package/2006/relationships"><Relationship Id="rId1" Type="http://schemas.openxmlformats.org/officeDocument/2006/relationships/package" Target="../embeddings/Microsoft_Excel_Worksheet428.xlsx"/></Relationships>
</file>

<file path=ppt/charts/_rels/chart43.xml.rels><?xml version="1.0" encoding="UTF-8" standalone="yes"?>
<Relationships xmlns="http://schemas.openxmlformats.org/package/2006/relationships"><Relationship Id="rId1" Type="http://schemas.openxmlformats.org/officeDocument/2006/relationships/package" Target="../embeddings/Microsoft_Excel_Worksheet42.xlsx"/></Relationships>
</file>

<file path=ppt/charts/_rels/chart430.xml.rels><?xml version="1.0" encoding="UTF-8" standalone="yes"?>
<Relationships xmlns="http://schemas.openxmlformats.org/package/2006/relationships"><Relationship Id="rId1" Type="http://schemas.openxmlformats.org/officeDocument/2006/relationships/package" Target="../embeddings/Microsoft_Excel_Worksheet429.xlsx"/></Relationships>
</file>

<file path=ppt/charts/_rels/chart431.xml.rels><?xml version="1.0" encoding="UTF-8" standalone="yes"?>
<Relationships xmlns="http://schemas.openxmlformats.org/package/2006/relationships"><Relationship Id="rId1" Type="http://schemas.openxmlformats.org/officeDocument/2006/relationships/package" Target="../embeddings/Microsoft_Excel_Worksheet430.xlsx"/></Relationships>
</file>

<file path=ppt/charts/_rels/chart432.xml.rels><?xml version="1.0" encoding="UTF-8" standalone="yes"?>
<Relationships xmlns="http://schemas.openxmlformats.org/package/2006/relationships"><Relationship Id="rId1" Type="http://schemas.openxmlformats.org/officeDocument/2006/relationships/package" Target="../embeddings/Microsoft_Excel_Worksheet431.xlsx"/></Relationships>
</file>

<file path=ppt/charts/_rels/chart433.xml.rels><?xml version="1.0" encoding="UTF-8" standalone="yes"?>
<Relationships xmlns="http://schemas.openxmlformats.org/package/2006/relationships"><Relationship Id="rId1" Type="http://schemas.openxmlformats.org/officeDocument/2006/relationships/package" Target="../embeddings/Microsoft_Excel_Worksheet432.xlsx"/></Relationships>
</file>

<file path=ppt/charts/_rels/chart434.xml.rels><?xml version="1.0" encoding="UTF-8" standalone="yes"?>
<Relationships xmlns="http://schemas.openxmlformats.org/package/2006/relationships"><Relationship Id="rId1" Type="http://schemas.openxmlformats.org/officeDocument/2006/relationships/package" Target="../embeddings/Microsoft_Excel_Worksheet433.xlsx"/></Relationships>
</file>

<file path=ppt/charts/_rels/chart435.xml.rels><?xml version="1.0" encoding="UTF-8" standalone="yes"?>
<Relationships xmlns="http://schemas.openxmlformats.org/package/2006/relationships"><Relationship Id="rId1" Type="http://schemas.openxmlformats.org/officeDocument/2006/relationships/package" Target="../embeddings/Microsoft_Excel_Worksheet434.xlsx"/></Relationships>
</file>

<file path=ppt/charts/_rels/chart436.xml.rels><?xml version="1.0" encoding="UTF-8" standalone="yes"?>
<Relationships xmlns="http://schemas.openxmlformats.org/package/2006/relationships"><Relationship Id="rId1" Type="http://schemas.openxmlformats.org/officeDocument/2006/relationships/package" Target="../embeddings/Microsoft_Excel_Worksheet435.xlsx"/></Relationships>
</file>

<file path=ppt/charts/_rels/chart437.xml.rels><?xml version="1.0" encoding="UTF-8" standalone="yes"?>
<Relationships xmlns="http://schemas.openxmlformats.org/package/2006/relationships"><Relationship Id="rId1" Type="http://schemas.openxmlformats.org/officeDocument/2006/relationships/package" Target="../embeddings/Microsoft_Excel_Worksheet436.xlsx"/></Relationships>
</file>

<file path=ppt/charts/_rels/chart438.xml.rels><?xml version="1.0" encoding="UTF-8" standalone="yes"?>
<Relationships xmlns="http://schemas.openxmlformats.org/package/2006/relationships"><Relationship Id="rId1" Type="http://schemas.openxmlformats.org/officeDocument/2006/relationships/package" Target="../embeddings/Microsoft_Excel_Worksheet437.xlsx"/></Relationships>
</file>

<file path=ppt/charts/_rels/chart439.xml.rels><?xml version="1.0" encoding="UTF-8" standalone="yes"?>
<Relationships xmlns="http://schemas.openxmlformats.org/package/2006/relationships"><Relationship Id="rId1" Type="http://schemas.openxmlformats.org/officeDocument/2006/relationships/package" Target="../embeddings/Microsoft_Excel_Worksheet438.xlsx"/></Relationships>
</file>

<file path=ppt/charts/_rels/chart44.xml.rels><?xml version="1.0" encoding="UTF-8" standalone="yes"?>
<Relationships xmlns="http://schemas.openxmlformats.org/package/2006/relationships"><Relationship Id="rId1" Type="http://schemas.openxmlformats.org/officeDocument/2006/relationships/package" Target="../embeddings/Microsoft_Excel_Worksheet43.xlsx"/></Relationships>
</file>

<file path=ppt/charts/_rels/chart440.xml.rels><?xml version="1.0" encoding="UTF-8" standalone="yes"?>
<Relationships xmlns="http://schemas.openxmlformats.org/package/2006/relationships"><Relationship Id="rId1" Type="http://schemas.openxmlformats.org/officeDocument/2006/relationships/package" Target="../embeddings/Microsoft_Excel_Worksheet439.xlsx"/></Relationships>
</file>

<file path=ppt/charts/_rels/chart441.xml.rels><?xml version="1.0" encoding="UTF-8" standalone="yes"?>
<Relationships xmlns="http://schemas.openxmlformats.org/package/2006/relationships"><Relationship Id="rId1" Type="http://schemas.openxmlformats.org/officeDocument/2006/relationships/package" Target="../embeddings/Microsoft_Excel_Worksheet440.xlsx"/></Relationships>
</file>

<file path=ppt/charts/_rels/chart442.xml.rels><?xml version="1.0" encoding="UTF-8" standalone="yes"?>
<Relationships xmlns="http://schemas.openxmlformats.org/package/2006/relationships"><Relationship Id="rId1" Type="http://schemas.openxmlformats.org/officeDocument/2006/relationships/package" Target="../embeddings/Microsoft_Excel_Worksheet441.xlsx"/></Relationships>
</file>

<file path=ppt/charts/_rels/chart443.xml.rels><?xml version="1.0" encoding="UTF-8" standalone="yes"?>
<Relationships xmlns="http://schemas.openxmlformats.org/package/2006/relationships"><Relationship Id="rId1" Type="http://schemas.openxmlformats.org/officeDocument/2006/relationships/package" Target="../embeddings/Microsoft_Excel_Worksheet442.xlsx"/></Relationships>
</file>

<file path=ppt/charts/_rels/chart444.xml.rels><?xml version="1.0" encoding="UTF-8" standalone="yes"?>
<Relationships xmlns="http://schemas.openxmlformats.org/package/2006/relationships"><Relationship Id="rId1" Type="http://schemas.openxmlformats.org/officeDocument/2006/relationships/package" Target="../embeddings/Microsoft_Excel_Worksheet443.xlsx"/></Relationships>
</file>

<file path=ppt/charts/_rels/chart445.xml.rels><?xml version="1.0" encoding="UTF-8" standalone="yes"?>
<Relationships xmlns="http://schemas.openxmlformats.org/package/2006/relationships"><Relationship Id="rId1" Type="http://schemas.openxmlformats.org/officeDocument/2006/relationships/package" Target="../embeddings/Microsoft_Excel_Worksheet444.xlsx"/></Relationships>
</file>

<file path=ppt/charts/_rels/chart446.xml.rels><?xml version="1.0" encoding="UTF-8" standalone="yes"?>
<Relationships xmlns="http://schemas.openxmlformats.org/package/2006/relationships"><Relationship Id="rId1" Type="http://schemas.openxmlformats.org/officeDocument/2006/relationships/package" Target="../embeddings/Microsoft_Excel_Worksheet445.xlsx"/></Relationships>
</file>

<file path=ppt/charts/_rels/chart447.xml.rels><?xml version="1.0" encoding="UTF-8" standalone="yes"?>
<Relationships xmlns="http://schemas.openxmlformats.org/package/2006/relationships"><Relationship Id="rId1" Type="http://schemas.openxmlformats.org/officeDocument/2006/relationships/package" Target="../embeddings/Microsoft_Excel_Worksheet446.xlsx"/></Relationships>
</file>

<file path=ppt/charts/_rels/chart448.xml.rels><?xml version="1.0" encoding="UTF-8" standalone="yes"?>
<Relationships xmlns="http://schemas.openxmlformats.org/package/2006/relationships"><Relationship Id="rId1" Type="http://schemas.openxmlformats.org/officeDocument/2006/relationships/package" Target="../embeddings/Microsoft_Excel_Worksheet447.xlsx"/></Relationships>
</file>

<file path=ppt/charts/_rels/chart449.xml.rels><?xml version="1.0" encoding="UTF-8" standalone="yes"?>
<Relationships xmlns="http://schemas.openxmlformats.org/package/2006/relationships"><Relationship Id="rId1" Type="http://schemas.openxmlformats.org/officeDocument/2006/relationships/package" Target="../embeddings/Microsoft_Excel_Worksheet448.xlsx"/></Relationships>
</file>

<file path=ppt/charts/_rels/chart45.xml.rels><?xml version="1.0" encoding="UTF-8" standalone="yes"?>
<Relationships xmlns="http://schemas.openxmlformats.org/package/2006/relationships"><Relationship Id="rId1" Type="http://schemas.openxmlformats.org/officeDocument/2006/relationships/package" Target="../embeddings/Microsoft_Excel_Worksheet44.xlsx"/></Relationships>
</file>

<file path=ppt/charts/_rels/chart450.xml.rels><?xml version="1.0" encoding="UTF-8" standalone="yes"?>
<Relationships xmlns="http://schemas.openxmlformats.org/package/2006/relationships"><Relationship Id="rId1" Type="http://schemas.openxmlformats.org/officeDocument/2006/relationships/package" Target="../embeddings/Microsoft_Excel_Worksheet449.xlsx"/></Relationships>
</file>

<file path=ppt/charts/_rels/chart451.xml.rels><?xml version="1.0" encoding="UTF-8" standalone="yes"?>
<Relationships xmlns="http://schemas.openxmlformats.org/package/2006/relationships"><Relationship Id="rId1" Type="http://schemas.openxmlformats.org/officeDocument/2006/relationships/package" Target="../embeddings/Microsoft_Excel_Worksheet450.xlsx"/></Relationships>
</file>

<file path=ppt/charts/_rels/chart452.xml.rels><?xml version="1.0" encoding="UTF-8" standalone="yes"?>
<Relationships xmlns="http://schemas.openxmlformats.org/package/2006/relationships"><Relationship Id="rId1" Type="http://schemas.openxmlformats.org/officeDocument/2006/relationships/package" Target="../embeddings/Microsoft_Excel_Worksheet451.xlsx"/></Relationships>
</file>

<file path=ppt/charts/_rels/chart453.xml.rels><?xml version="1.0" encoding="UTF-8" standalone="yes"?>
<Relationships xmlns="http://schemas.openxmlformats.org/package/2006/relationships"><Relationship Id="rId1" Type="http://schemas.openxmlformats.org/officeDocument/2006/relationships/package" Target="../embeddings/Microsoft_Excel_Worksheet452.xlsx"/></Relationships>
</file>

<file path=ppt/charts/_rels/chart454.xml.rels><?xml version="1.0" encoding="UTF-8" standalone="yes"?>
<Relationships xmlns="http://schemas.openxmlformats.org/package/2006/relationships"><Relationship Id="rId1" Type="http://schemas.openxmlformats.org/officeDocument/2006/relationships/package" Target="../embeddings/Microsoft_Excel_Worksheet453.xlsx"/></Relationships>
</file>

<file path=ppt/charts/_rels/chart455.xml.rels><?xml version="1.0" encoding="UTF-8" standalone="yes"?>
<Relationships xmlns="http://schemas.openxmlformats.org/package/2006/relationships"><Relationship Id="rId1" Type="http://schemas.openxmlformats.org/officeDocument/2006/relationships/package" Target="../embeddings/Microsoft_Excel_Worksheet454.xlsx"/></Relationships>
</file>

<file path=ppt/charts/_rels/chart456.xml.rels><?xml version="1.0" encoding="UTF-8" standalone="yes"?>
<Relationships xmlns="http://schemas.openxmlformats.org/package/2006/relationships"><Relationship Id="rId1" Type="http://schemas.openxmlformats.org/officeDocument/2006/relationships/package" Target="../embeddings/Microsoft_Excel_Worksheet455.xlsx"/></Relationships>
</file>

<file path=ppt/charts/_rels/chart457.xml.rels><?xml version="1.0" encoding="UTF-8" standalone="yes"?>
<Relationships xmlns="http://schemas.openxmlformats.org/package/2006/relationships"><Relationship Id="rId1" Type="http://schemas.openxmlformats.org/officeDocument/2006/relationships/package" Target="../embeddings/Microsoft_Excel_Worksheet456.xlsx"/></Relationships>
</file>

<file path=ppt/charts/_rels/chart458.xml.rels><?xml version="1.0" encoding="UTF-8" standalone="yes"?>
<Relationships xmlns="http://schemas.openxmlformats.org/package/2006/relationships"><Relationship Id="rId1" Type="http://schemas.openxmlformats.org/officeDocument/2006/relationships/package" Target="../embeddings/Microsoft_Excel_Worksheet457.xlsx"/></Relationships>
</file>

<file path=ppt/charts/_rels/chart459.xml.rels><?xml version="1.0" encoding="UTF-8" standalone="yes"?>
<Relationships xmlns="http://schemas.openxmlformats.org/package/2006/relationships"><Relationship Id="rId1" Type="http://schemas.openxmlformats.org/officeDocument/2006/relationships/package" Target="../embeddings/Microsoft_Excel_Worksheet458.xlsx"/></Relationships>
</file>

<file path=ppt/charts/_rels/chart46.xml.rels><?xml version="1.0" encoding="UTF-8" standalone="yes"?>
<Relationships xmlns="http://schemas.openxmlformats.org/package/2006/relationships"><Relationship Id="rId1" Type="http://schemas.openxmlformats.org/officeDocument/2006/relationships/package" Target="../embeddings/Microsoft_Excel_Worksheet45.xlsx"/></Relationships>
</file>

<file path=ppt/charts/_rels/chart460.xml.rels><?xml version="1.0" encoding="UTF-8" standalone="yes"?>
<Relationships xmlns="http://schemas.openxmlformats.org/package/2006/relationships"><Relationship Id="rId1" Type="http://schemas.openxmlformats.org/officeDocument/2006/relationships/package" Target="../embeddings/Microsoft_Excel_Worksheet459.xlsx"/></Relationships>
</file>

<file path=ppt/charts/_rels/chart461.xml.rels><?xml version="1.0" encoding="UTF-8" standalone="yes"?>
<Relationships xmlns="http://schemas.openxmlformats.org/package/2006/relationships"><Relationship Id="rId1" Type="http://schemas.openxmlformats.org/officeDocument/2006/relationships/package" Target="../embeddings/Microsoft_Excel_Worksheet460.xlsx"/></Relationships>
</file>

<file path=ppt/charts/_rels/chart462.xml.rels><?xml version="1.0" encoding="UTF-8" standalone="yes"?>
<Relationships xmlns="http://schemas.openxmlformats.org/package/2006/relationships"><Relationship Id="rId1" Type="http://schemas.openxmlformats.org/officeDocument/2006/relationships/package" Target="../embeddings/Microsoft_Excel_Worksheet461.xlsx"/></Relationships>
</file>

<file path=ppt/charts/_rels/chart463.xml.rels><?xml version="1.0" encoding="UTF-8" standalone="yes"?>
<Relationships xmlns="http://schemas.openxmlformats.org/package/2006/relationships"><Relationship Id="rId1" Type="http://schemas.openxmlformats.org/officeDocument/2006/relationships/package" Target="../embeddings/Microsoft_Excel_Worksheet462.xlsx"/></Relationships>
</file>

<file path=ppt/charts/_rels/chart464.xml.rels><?xml version="1.0" encoding="UTF-8" standalone="yes"?>
<Relationships xmlns="http://schemas.openxmlformats.org/package/2006/relationships"><Relationship Id="rId1" Type="http://schemas.openxmlformats.org/officeDocument/2006/relationships/package" Target="../embeddings/Microsoft_Excel_Worksheet463.xlsx"/></Relationships>
</file>

<file path=ppt/charts/_rels/chart465.xml.rels><?xml version="1.0" encoding="UTF-8" standalone="yes"?>
<Relationships xmlns="http://schemas.openxmlformats.org/package/2006/relationships"><Relationship Id="rId1" Type="http://schemas.openxmlformats.org/officeDocument/2006/relationships/package" Target="../embeddings/Microsoft_Excel_Worksheet464.xlsx"/></Relationships>
</file>

<file path=ppt/charts/_rels/chart466.xml.rels><?xml version="1.0" encoding="UTF-8" standalone="yes"?>
<Relationships xmlns="http://schemas.openxmlformats.org/package/2006/relationships"><Relationship Id="rId1" Type="http://schemas.openxmlformats.org/officeDocument/2006/relationships/package" Target="../embeddings/Microsoft_Excel_Worksheet465.xlsx"/></Relationships>
</file>

<file path=ppt/charts/_rels/chart467.xml.rels><?xml version="1.0" encoding="UTF-8" standalone="yes"?>
<Relationships xmlns="http://schemas.openxmlformats.org/package/2006/relationships"><Relationship Id="rId1" Type="http://schemas.openxmlformats.org/officeDocument/2006/relationships/package" Target="../embeddings/Microsoft_Excel_Worksheet466.xlsx"/></Relationships>
</file>

<file path=ppt/charts/_rels/chart468.xml.rels><?xml version="1.0" encoding="UTF-8" standalone="yes"?>
<Relationships xmlns="http://schemas.openxmlformats.org/package/2006/relationships"><Relationship Id="rId1" Type="http://schemas.openxmlformats.org/officeDocument/2006/relationships/package" Target="../embeddings/Microsoft_Excel_Worksheet467.xlsx"/></Relationships>
</file>

<file path=ppt/charts/_rels/chart469.xml.rels><?xml version="1.0" encoding="UTF-8" standalone="yes"?>
<Relationships xmlns="http://schemas.openxmlformats.org/package/2006/relationships"><Relationship Id="rId1" Type="http://schemas.openxmlformats.org/officeDocument/2006/relationships/package" Target="../embeddings/Microsoft_Excel_Worksheet468.xlsx"/></Relationships>
</file>

<file path=ppt/charts/_rels/chart47.xml.rels><?xml version="1.0" encoding="UTF-8" standalone="yes"?>
<Relationships xmlns="http://schemas.openxmlformats.org/package/2006/relationships"><Relationship Id="rId1" Type="http://schemas.openxmlformats.org/officeDocument/2006/relationships/package" Target="../embeddings/Microsoft_Excel_Worksheet46.xlsx"/></Relationships>
</file>

<file path=ppt/charts/_rels/chart470.xml.rels><?xml version="1.0" encoding="UTF-8" standalone="yes"?>
<Relationships xmlns="http://schemas.openxmlformats.org/package/2006/relationships"><Relationship Id="rId1" Type="http://schemas.openxmlformats.org/officeDocument/2006/relationships/package" Target="../embeddings/Microsoft_Excel_Worksheet469.xlsx"/></Relationships>
</file>

<file path=ppt/charts/_rels/chart471.xml.rels><?xml version="1.0" encoding="UTF-8" standalone="yes"?>
<Relationships xmlns="http://schemas.openxmlformats.org/package/2006/relationships"><Relationship Id="rId1" Type="http://schemas.openxmlformats.org/officeDocument/2006/relationships/package" Target="../embeddings/Microsoft_Excel_Worksheet470.xlsx"/></Relationships>
</file>

<file path=ppt/charts/_rels/chart472.xml.rels><?xml version="1.0" encoding="UTF-8" standalone="yes"?>
<Relationships xmlns="http://schemas.openxmlformats.org/package/2006/relationships"><Relationship Id="rId1" Type="http://schemas.openxmlformats.org/officeDocument/2006/relationships/package" Target="../embeddings/Microsoft_Excel_Worksheet471.xlsx"/></Relationships>
</file>

<file path=ppt/charts/_rels/chart473.xml.rels><?xml version="1.0" encoding="UTF-8" standalone="yes"?>
<Relationships xmlns="http://schemas.openxmlformats.org/package/2006/relationships"><Relationship Id="rId1" Type="http://schemas.openxmlformats.org/officeDocument/2006/relationships/package" Target="../embeddings/Microsoft_Excel_Worksheet472.xlsx"/></Relationships>
</file>

<file path=ppt/charts/_rels/chart474.xml.rels><?xml version="1.0" encoding="UTF-8" standalone="yes"?>
<Relationships xmlns="http://schemas.openxmlformats.org/package/2006/relationships"><Relationship Id="rId1" Type="http://schemas.openxmlformats.org/officeDocument/2006/relationships/package" Target="../embeddings/Microsoft_Excel_Worksheet473.xlsx"/></Relationships>
</file>

<file path=ppt/charts/_rels/chart475.xml.rels><?xml version="1.0" encoding="UTF-8" standalone="yes"?>
<Relationships xmlns="http://schemas.openxmlformats.org/package/2006/relationships"><Relationship Id="rId1" Type="http://schemas.openxmlformats.org/officeDocument/2006/relationships/package" Target="../embeddings/Microsoft_Excel_Worksheet474.xlsx"/></Relationships>
</file>

<file path=ppt/charts/_rels/chart476.xml.rels><?xml version="1.0" encoding="UTF-8" standalone="yes"?>
<Relationships xmlns="http://schemas.openxmlformats.org/package/2006/relationships"><Relationship Id="rId1" Type="http://schemas.openxmlformats.org/officeDocument/2006/relationships/package" Target="../embeddings/Microsoft_Excel_Worksheet475.xlsx"/></Relationships>
</file>

<file path=ppt/charts/_rels/chart477.xml.rels><?xml version="1.0" encoding="UTF-8" standalone="yes"?>
<Relationships xmlns="http://schemas.openxmlformats.org/package/2006/relationships"><Relationship Id="rId1" Type="http://schemas.openxmlformats.org/officeDocument/2006/relationships/package" Target="../embeddings/Microsoft_Excel_Worksheet476.xlsx"/></Relationships>
</file>

<file path=ppt/charts/_rels/chart478.xml.rels><?xml version="1.0" encoding="UTF-8" standalone="yes"?>
<Relationships xmlns="http://schemas.openxmlformats.org/package/2006/relationships"><Relationship Id="rId1" Type="http://schemas.openxmlformats.org/officeDocument/2006/relationships/package" Target="../embeddings/Microsoft_Excel_Worksheet477.xlsx"/></Relationships>
</file>

<file path=ppt/charts/_rels/chart479.xml.rels><?xml version="1.0" encoding="UTF-8" standalone="yes"?>
<Relationships xmlns="http://schemas.openxmlformats.org/package/2006/relationships"><Relationship Id="rId1" Type="http://schemas.openxmlformats.org/officeDocument/2006/relationships/package" Target="../embeddings/Microsoft_Excel_Worksheet478.xlsx"/></Relationships>
</file>

<file path=ppt/charts/_rels/chart48.xml.rels><?xml version="1.0" encoding="UTF-8" standalone="yes"?>
<Relationships xmlns="http://schemas.openxmlformats.org/package/2006/relationships"><Relationship Id="rId1" Type="http://schemas.openxmlformats.org/officeDocument/2006/relationships/package" Target="../embeddings/Microsoft_Excel_Worksheet47.xlsx"/></Relationships>
</file>

<file path=ppt/charts/_rels/chart480.xml.rels><?xml version="1.0" encoding="UTF-8" standalone="yes"?>
<Relationships xmlns="http://schemas.openxmlformats.org/package/2006/relationships"><Relationship Id="rId1" Type="http://schemas.openxmlformats.org/officeDocument/2006/relationships/package" Target="../embeddings/Microsoft_Excel_Worksheet479.xlsx"/></Relationships>
</file>

<file path=ppt/charts/_rels/chart481.xml.rels><?xml version="1.0" encoding="UTF-8" standalone="yes"?>
<Relationships xmlns="http://schemas.openxmlformats.org/package/2006/relationships"><Relationship Id="rId1" Type="http://schemas.openxmlformats.org/officeDocument/2006/relationships/package" Target="../embeddings/Microsoft_Excel_Worksheet480.xlsx"/></Relationships>
</file>

<file path=ppt/charts/_rels/chart482.xml.rels><?xml version="1.0" encoding="UTF-8" standalone="yes"?>
<Relationships xmlns="http://schemas.openxmlformats.org/package/2006/relationships"><Relationship Id="rId1" Type="http://schemas.openxmlformats.org/officeDocument/2006/relationships/package" Target="../embeddings/Microsoft_Excel_Worksheet481.xlsx"/></Relationships>
</file>

<file path=ppt/charts/_rels/chart483.xml.rels><?xml version="1.0" encoding="UTF-8" standalone="yes"?>
<Relationships xmlns="http://schemas.openxmlformats.org/package/2006/relationships"><Relationship Id="rId1" Type="http://schemas.openxmlformats.org/officeDocument/2006/relationships/package" Target="../embeddings/Microsoft_Excel_Worksheet482.xlsx"/></Relationships>
</file>

<file path=ppt/charts/_rels/chart484.xml.rels><?xml version="1.0" encoding="UTF-8" standalone="yes"?>
<Relationships xmlns="http://schemas.openxmlformats.org/package/2006/relationships"><Relationship Id="rId1" Type="http://schemas.openxmlformats.org/officeDocument/2006/relationships/package" Target="../embeddings/Microsoft_Excel_Worksheet483.xlsx"/></Relationships>
</file>

<file path=ppt/charts/_rels/chart485.xml.rels><?xml version="1.0" encoding="UTF-8" standalone="yes"?>
<Relationships xmlns="http://schemas.openxmlformats.org/package/2006/relationships"><Relationship Id="rId1" Type="http://schemas.openxmlformats.org/officeDocument/2006/relationships/package" Target="../embeddings/Microsoft_Excel_Worksheet484.xlsx"/></Relationships>
</file>

<file path=ppt/charts/_rels/chart486.xml.rels><?xml version="1.0" encoding="UTF-8" standalone="yes"?>
<Relationships xmlns="http://schemas.openxmlformats.org/package/2006/relationships"><Relationship Id="rId1" Type="http://schemas.openxmlformats.org/officeDocument/2006/relationships/package" Target="../embeddings/Microsoft_Excel_Worksheet485.xlsx"/></Relationships>
</file>

<file path=ppt/charts/_rels/chart487.xml.rels><?xml version="1.0" encoding="UTF-8" standalone="yes"?>
<Relationships xmlns="http://schemas.openxmlformats.org/package/2006/relationships"><Relationship Id="rId1" Type="http://schemas.openxmlformats.org/officeDocument/2006/relationships/package" Target="../embeddings/Microsoft_Excel_Worksheet486.xlsx"/></Relationships>
</file>

<file path=ppt/charts/_rels/chart488.xml.rels><?xml version="1.0" encoding="UTF-8" standalone="yes"?>
<Relationships xmlns="http://schemas.openxmlformats.org/package/2006/relationships"><Relationship Id="rId1" Type="http://schemas.openxmlformats.org/officeDocument/2006/relationships/package" Target="../embeddings/Microsoft_Excel_Worksheet487.xlsx"/></Relationships>
</file>

<file path=ppt/charts/_rels/chart489.xml.rels><?xml version="1.0" encoding="UTF-8" standalone="yes"?>
<Relationships xmlns="http://schemas.openxmlformats.org/package/2006/relationships"><Relationship Id="rId1" Type="http://schemas.openxmlformats.org/officeDocument/2006/relationships/package" Target="../embeddings/Microsoft_Excel_Worksheet488.xlsx"/></Relationships>
</file>

<file path=ppt/charts/_rels/chart49.xml.rels><?xml version="1.0" encoding="UTF-8" standalone="yes"?>
<Relationships xmlns="http://schemas.openxmlformats.org/package/2006/relationships"><Relationship Id="rId1" Type="http://schemas.openxmlformats.org/officeDocument/2006/relationships/package" Target="../embeddings/Microsoft_Excel_Worksheet48.xlsx"/></Relationships>
</file>

<file path=ppt/charts/_rels/chart490.xml.rels><?xml version="1.0" encoding="UTF-8" standalone="yes"?>
<Relationships xmlns="http://schemas.openxmlformats.org/package/2006/relationships"><Relationship Id="rId1" Type="http://schemas.openxmlformats.org/officeDocument/2006/relationships/package" Target="../embeddings/Microsoft_Excel_Worksheet489.xlsx"/></Relationships>
</file>

<file path=ppt/charts/_rels/chart491.xml.rels><?xml version="1.0" encoding="UTF-8" standalone="yes"?>
<Relationships xmlns="http://schemas.openxmlformats.org/package/2006/relationships"><Relationship Id="rId1" Type="http://schemas.openxmlformats.org/officeDocument/2006/relationships/package" Target="../embeddings/Microsoft_Excel_Worksheet490.xlsx"/></Relationships>
</file>

<file path=ppt/charts/_rels/chart492.xml.rels><?xml version="1.0" encoding="UTF-8" standalone="yes"?>
<Relationships xmlns="http://schemas.openxmlformats.org/package/2006/relationships"><Relationship Id="rId1" Type="http://schemas.openxmlformats.org/officeDocument/2006/relationships/package" Target="../embeddings/Microsoft_Excel_Worksheet491.xlsx"/></Relationships>
</file>

<file path=ppt/charts/_rels/chart493.xml.rels><?xml version="1.0" encoding="UTF-8" standalone="yes"?>
<Relationships xmlns="http://schemas.openxmlformats.org/package/2006/relationships"><Relationship Id="rId1" Type="http://schemas.openxmlformats.org/officeDocument/2006/relationships/package" Target="../embeddings/Microsoft_Excel_Worksheet492.xlsx"/></Relationships>
</file>

<file path=ppt/charts/_rels/chart494.xml.rels><?xml version="1.0" encoding="UTF-8" standalone="yes"?>
<Relationships xmlns="http://schemas.openxmlformats.org/package/2006/relationships"><Relationship Id="rId1" Type="http://schemas.openxmlformats.org/officeDocument/2006/relationships/package" Target="../embeddings/Microsoft_Excel_Worksheet493.xlsx"/></Relationships>
</file>

<file path=ppt/charts/_rels/chart495.xml.rels><?xml version="1.0" encoding="UTF-8" standalone="yes"?>
<Relationships xmlns="http://schemas.openxmlformats.org/package/2006/relationships"><Relationship Id="rId1" Type="http://schemas.openxmlformats.org/officeDocument/2006/relationships/package" Target="../embeddings/Microsoft_Excel_Worksheet494.xlsx"/></Relationships>
</file>

<file path=ppt/charts/_rels/chart496.xml.rels><?xml version="1.0" encoding="UTF-8" standalone="yes"?>
<Relationships xmlns="http://schemas.openxmlformats.org/package/2006/relationships"><Relationship Id="rId1" Type="http://schemas.openxmlformats.org/officeDocument/2006/relationships/package" Target="../embeddings/Microsoft_Excel_Worksheet495.xlsx"/></Relationships>
</file>

<file path=ppt/charts/_rels/chart497.xml.rels><?xml version="1.0" encoding="UTF-8" standalone="yes"?>
<Relationships xmlns="http://schemas.openxmlformats.org/package/2006/relationships"><Relationship Id="rId1" Type="http://schemas.openxmlformats.org/officeDocument/2006/relationships/package" Target="../embeddings/Microsoft_Excel_Worksheet496.xlsx"/></Relationships>
</file>

<file path=ppt/charts/_rels/chart498.xml.rels><?xml version="1.0" encoding="UTF-8" standalone="yes"?>
<Relationships xmlns="http://schemas.openxmlformats.org/package/2006/relationships"><Relationship Id="rId1" Type="http://schemas.openxmlformats.org/officeDocument/2006/relationships/package" Target="../embeddings/Microsoft_Excel_Worksheet497.xlsx"/></Relationships>
</file>

<file path=ppt/charts/_rels/chart499.xml.rels><?xml version="1.0" encoding="UTF-8" standalone="yes"?>
<Relationships xmlns="http://schemas.openxmlformats.org/package/2006/relationships"><Relationship Id="rId1" Type="http://schemas.openxmlformats.org/officeDocument/2006/relationships/package" Target="../embeddings/Microsoft_Excel_Worksheet498.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50.xml.rels><?xml version="1.0" encoding="UTF-8" standalone="yes"?>
<Relationships xmlns="http://schemas.openxmlformats.org/package/2006/relationships"><Relationship Id="rId1" Type="http://schemas.openxmlformats.org/officeDocument/2006/relationships/package" Target="../embeddings/Microsoft_Excel_Worksheet49.xlsx"/></Relationships>
</file>

<file path=ppt/charts/_rels/chart500.xml.rels><?xml version="1.0" encoding="UTF-8" standalone="yes"?>
<Relationships xmlns="http://schemas.openxmlformats.org/package/2006/relationships"><Relationship Id="rId1" Type="http://schemas.openxmlformats.org/officeDocument/2006/relationships/package" Target="../embeddings/Microsoft_Excel_Worksheet499.xlsx"/></Relationships>
</file>

<file path=ppt/charts/_rels/chart501.xml.rels><?xml version="1.0" encoding="UTF-8" standalone="yes"?>
<Relationships xmlns="http://schemas.openxmlformats.org/package/2006/relationships"><Relationship Id="rId1" Type="http://schemas.openxmlformats.org/officeDocument/2006/relationships/package" Target="../embeddings/Microsoft_Excel_Worksheet500.xlsx"/></Relationships>
</file>

<file path=ppt/charts/_rels/chart502.xml.rels><?xml version="1.0" encoding="UTF-8" standalone="yes"?>
<Relationships xmlns="http://schemas.openxmlformats.org/package/2006/relationships"><Relationship Id="rId1" Type="http://schemas.openxmlformats.org/officeDocument/2006/relationships/package" Target="../embeddings/Microsoft_Excel_Worksheet501.xlsx"/></Relationships>
</file>

<file path=ppt/charts/_rels/chart503.xml.rels><?xml version="1.0" encoding="UTF-8" standalone="yes"?>
<Relationships xmlns="http://schemas.openxmlformats.org/package/2006/relationships"><Relationship Id="rId1" Type="http://schemas.openxmlformats.org/officeDocument/2006/relationships/package" Target="../embeddings/Microsoft_Excel_Worksheet502.xlsx"/></Relationships>
</file>

<file path=ppt/charts/_rels/chart504.xml.rels><?xml version="1.0" encoding="UTF-8" standalone="yes"?>
<Relationships xmlns="http://schemas.openxmlformats.org/package/2006/relationships"><Relationship Id="rId1" Type="http://schemas.openxmlformats.org/officeDocument/2006/relationships/package" Target="../embeddings/Microsoft_Excel_Worksheet503.xlsx"/></Relationships>
</file>

<file path=ppt/charts/_rels/chart505.xml.rels><?xml version="1.0" encoding="UTF-8" standalone="yes"?>
<Relationships xmlns="http://schemas.openxmlformats.org/package/2006/relationships"><Relationship Id="rId1" Type="http://schemas.openxmlformats.org/officeDocument/2006/relationships/package" Target="../embeddings/Microsoft_Excel_Worksheet504.xlsx"/></Relationships>
</file>

<file path=ppt/charts/_rels/chart506.xml.rels><?xml version="1.0" encoding="UTF-8" standalone="yes"?>
<Relationships xmlns="http://schemas.openxmlformats.org/package/2006/relationships"><Relationship Id="rId1" Type="http://schemas.openxmlformats.org/officeDocument/2006/relationships/package" Target="../embeddings/Microsoft_Excel_Worksheet505.xlsx"/></Relationships>
</file>

<file path=ppt/charts/_rels/chart507.xml.rels><?xml version="1.0" encoding="UTF-8" standalone="yes"?>
<Relationships xmlns="http://schemas.openxmlformats.org/package/2006/relationships"><Relationship Id="rId1" Type="http://schemas.openxmlformats.org/officeDocument/2006/relationships/package" Target="../embeddings/Microsoft_Excel_Worksheet506.xlsx"/></Relationships>
</file>

<file path=ppt/charts/_rels/chart508.xml.rels><?xml version="1.0" encoding="UTF-8" standalone="yes"?>
<Relationships xmlns="http://schemas.openxmlformats.org/package/2006/relationships"><Relationship Id="rId1" Type="http://schemas.openxmlformats.org/officeDocument/2006/relationships/package" Target="../embeddings/Microsoft_Excel_Worksheet507.xlsx"/></Relationships>
</file>

<file path=ppt/charts/_rels/chart509.xml.rels><?xml version="1.0" encoding="UTF-8" standalone="yes"?>
<Relationships xmlns="http://schemas.openxmlformats.org/package/2006/relationships"><Relationship Id="rId1" Type="http://schemas.openxmlformats.org/officeDocument/2006/relationships/package" Target="../embeddings/Microsoft_Excel_Worksheet508.xlsx"/></Relationships>
</file>

<file path=ppt/charts/_rels/chart51.xml.rels><?xml version="1.0" encoding="UTF-8" standalone="yes"?>
<Relationships xmlns="http://schemas.openxmlformats.org/package/2006/relationships"><Relationship Id="rId1" Type="http://schemas.openxmlformats.org/officeDocument/2006/relationships/package" Target="../embeddings/Microsoft_Excel_Worksheet50.xlsx"/></Relationships>
</file>

<file path=ppt/charts/_rels/chart510.xml.rels><?xml version="1.0" encoding="UTF-8" standalone="yes"?>
<Relationships xmlns="http://schemas.openxmlformats.org/package/2006/relationships"><Relationship Id="rId1" Type="http://schemas.openxmlformats.org/officeDocument/2006/relationships/package" Target="../embeddings/Microsoft_Excel_Worksheet509.xlsx"/></Relationships>
</file>

<file path=ppt/charts/_rels/chart511.xml.rels><?xml version="1.0" encoding="UTF-8" standalone="yes"?>
<Relationships xmlns="http://schemas.openxmlformats.org/package/2006/relationships"><Relationship Id="rId1" Type="http://schemas.openxmlformats.org/officeDocument/2006/relationships/package" Target="../embeddings/Microsoft_Excel_Worksheet510.xlsx"/></Relationships>
</file>

<file path=ppt/charts/_rels/chart512.xml.rels><?xml version="1.0" encoding="UTF-8" standalone="yes"?>
<Relationships xmlns="http://schemas.openxmlformats.org/package/2006/relationships"><Relationship Id="rId1" Type="http://schemas.openxmlformats.org/officeDocument/2006/relationships/package" Target="../embeddings/Microsoft_Excel_Worksheet511.xlsx"/></Relationships>
</file>

<file path=ppt/charts/_rels/chart513.xml.rels><?xml version="1.0" encoding="UTF-8" standalone="yes"?>
<Relationships xmlns="http://schemas.openxmlformats.org/package/2006/relationships"><Relationship Id="rId1" Type="http://schemas.openxmlformats.org/officeDocument/2006/relationships/package" Target="../embeddings/Microsoft_Excel_Worksheet512.xlsx"/></Relationships>
</file>

<file path=ppt/charts/_rels/chart514.xml.rels><?xml version="1.0" encoding="UTF-8" standalone="yes"?>
<Relationships xmlns="http://schemas.openxmlformats.org/package/2006/relationships"><Relationship Id="rId1" Type="http://schemas.openxmlformats.org/officeDocument/2006/relationships/package" Target="../embeddings/Microsoft_Excel_Worksheet513.xlsx"/></Relationships>
</file>

<file path=ppt/charts/_rels/chart515.xml.rels><?xml version="1.0" encoding="UTF-8" standalone="yes"?>
<Relationships xmlns="http://schemas.openxmlformats.org/package/2006/relationships"><Relationship Id="rId1" Type="http://schemas.openxmlformats.org/officeDocument/2006/relationships/package" Target="../embeddings/Microsoft_Excel_Worksheet514.xlsx"/></Relationships>
</file>

<file path=ppt/charts/_rels/chart516.xml.rels><?xml version="1.0" encoding="UTF-8" standalone="yes"?>
<Relationships xmlns="http://schemas.openxmlformats.org/package/2006/relationships"><Relationship Id="rId1" Type="http://schemas.openxmlformats.org/officeDocument/2006/relationships/package" Target="../embeddings/Microsoft_Excel_Worksheet515.xlsx"/></Relationships>
</file>

<file path=ppt/charts/_rels/chart517.xml.rels><?xml version="1.0" encoding="UTF-8" standalone="yes"?>
<Relationships xmlns="http://schemas.openxmlformats.org/package/2006/relationships"><Relationship Id="rId1" Type="http://schemas.openxmlformats.org/officeDocument/2006/relationships/package" Target="../embeddings/Microsoft_Excel_Worksheet516.xlsx"/></Relationships>
</file>

<file path=ppt/charts/_rels/chart518.xml.rels><?xml version="1.0" encoding="UTF-8" standalone="yes"?>
<Relationships xmlns="http://schemas.openxmlformats.org/package/2006/relationships"><Relationship Id="rId1" Type="http://schemas.openxmlformats.org/officeDocument/2006/relationships/package" Target="../embeddings/Microsoft_Excel_Worksheet517.xlsx"/></Relationships>
</file>

<file path=ppt/charts/_rels/chart519.xml.rels><?xml version="1.0" encoding="UTF-8" standalone="yes"?>
<Relationships xmlns="http://schemas.openxmlformats.org/package/2006/relationships"><Relationship Id="rId1" Type="http://schemas.openxmlformats.org/officeDocument/2006/relationships/package" Target="../embeddings/Microsoft_Excel_Worksheet518.xlsx"/></Relationships>
</file>

<file path=ppt/charts/_rels/chart52.xml.rels><?xml version="1.0" encoding="UTF-8" standalone="yes"?>
<Relationships xmlns="http://schemas.openxmlformats.org/package/2006/relationships"><Relationship Id="rId1" Type="http://schemas.openxmlformats.org/officeDocument/2006/relationships/package" Target="../embeddings/Microsoft_Excel_Worksheet51.xlsx"/></Relationships>
</file>

<file path=ppt/charts/_rels/chart520.xml.rels><?xml version="1.0" encoding="UTF-8" standalone="yes"?>
<Relationships xmlns="http://schemas.openxmlformats.org/package/2006/relationships"><Relationship Id="rId1" Type="http://schemas.openxmlformats.org/officeDocument/2006/relationships/package" Target="../embeddings/Microsoft_Excel_Worksheet519.xlsx"/></Relationships>
</file>

<file path=ppt/charts/_rels/chart521.xml.rels><?xml version="1.0" encoding="UTF-8" standalone="yes"?>
<Relationships xmlns="http://schemas.openxmlformats.org/package/2006/relationships"><Relationship Id="rId1" Type="http://schemas.openxmlformats.org/officeDocument/2006/relationships/package" Target="../embeddings/Microsoft_Excel_Worksheet520.xlsx"/></Relationships>
</file>

<file path=ppt/charts/_rels/chart522.xml.rels><?xml version="1.0" encoding="UTF-8" standalone="yes"?>
<Relationships xmlns="http://schemas.openxmlformats.org/package/2006/relationships"><Relationship Id="rId1" Type="http://schemas.openxmlformats.org/officeDocument/2006/relationships/package" Target="../embeddings/Microsoft_Excel_Worksheet521.xlsx"/></Relationships>
</file>

<file path=ppt/charts/_rels/chart523.xml.rels><?xml version="1.0" encoding="UTF-8" standalone="yes"?>
<Relationships xmlns="http://schemas.openxmlformats.org/package/2006/relationships"><Relationship Id="rId1" Type="http://schemas.openxmlformats.org/officeDocument/2006/relationships/package" Target="../embeddings/Microsoft_Excel_Worksheet522.xlsx"/></Relationships>
</file>

<file path=ppt/charts/_rels/chart524.xml.rels><?xml version="1.0" encoding="UTF-8" standalone="yes"?>
<Relationships xmlns="http://schemas.openxmlformats.org/package/2006/relationships"><Relationship Id="rId1" Type="http://schemas.openxmlformats.org/officeDocument/2006/relationships/package" Target="../embeddings/Microsoft_Excel_Worksheet523.xlsx"/></Relationships>
</file>

<file path=ppt/charts/_rels/chart525.xml.rels><?xml version="1.0" encoding="UTF-8" standalone="yes"?>
<Relationships xmlns="http://schemas.openxmlformats.org/package/2006/relationships"><Relationship Id="rId1" Type="http://schemas.openxmlformats.org/officeDocument/2006/relationships/package" Target="../embeddings/Microsoft_Excel_Worksheet524.xlsx"/></Relationships>
</file>

<file path=ppt/charts/_rels/chart526.xml.rels><?xml version="1.0" encoding="UTF-8" standalone="yes"?>
<Relationships xmlns="http://schemas.openxmlformats.org/package/2006/relationships"><Relationship Id="rId1" Type="http://schemas.openxmlformats.org/officeDocument/2006/relationships/package" Target="../embeddings/Microsoft_Excel_Worksheet525.xlsx"/></Relationships>
</file>

<file path=ppt/charts/_rels/chart527.xml.rels><?xml version="1.0" encoding="UTF-8" standalone="yes"?>
<Relationships xmlns="http://schemas.openxmlformats.org/package/2006/relationships"><Relationship Id="rId1" Type="http://schemas.openxmlformats.org/officeDocument/2006/relationships/package" Target="../embeddings/Microsoft_Excel_Worksheet526.xlsx"/></Relationships>
</file>

<file path=ppt/charts/_rels/chart528.xml.rels><?xml version="1.0" encoding="UTF-8" standalone="yes"?>
<Relationships xmlns="http://schemas.openxmlformats.org/package/2006/relationships"><Relationship Id="rId1" Type="http://schemas.openxmlformats.org/officeDocument/2006/relationships/package" Target="../embeddings/Microsoft_Excel_Worksheet527.xlsx"/></Relationships>
</file>

<file path=ppt/charts/_rels/chart529.xml.rels><?xml version="1.0" encoding="UTF-8" standalone="yes"?>
<Relationships xmlns="http://schemas.openxmlformats.org/package/2006/relationships"><Relationship Id="rId1" Type="http://schemas.openxmlformats.org/officeDocument/2006/relationships/package" Target="../embeddings/Microsoft_Excel_Worksheet528.xlsx"/></Relationships>
</file>

<file path=ppt/charts/_rels/chart53.xml.rels><?xml version="1.0" encoding="UTF-8" standalone="yes"?>
<Relationships xmlns="http://schemas.openxmlformats.org/package/2006/relationships"><Relationship Id="rId1" Type="http://schemas.openxmlformats.org/officeDocument/2006/relationships/package" Target="../embeddings/Microsoft_Excel_Worksheet52.xlsx"/></Relationships>
</file>

<file path=ppt/charts/_rels/chart530.xml.rels><?xml version="1.0" encoding="UTF-8" standalone="yes"?>
<Relationships xmlns="http://schemas.openxmlformats.org/package/2006/relationships"><Relationship Id="rId1" Type="http://schemas.openxmlformats.org/officeDocument/2006/relationships/package" Target="../embeddings/Microsoft_Excel_Worksheet529.xlsx"/></Relationships>
</file>

<file path=ppt/charts/_rels/chart531.xml.rels><?xml version="1.0" encoding="UTF-8" standalone="yes"?>
<Relationships xmlns="http://schemas.openxmlformats.org/package/2006/relationships"><Relationship Id="rId1" Type="http://schemas.openxmlformats.org/officeDocument/2006/relationships/package" Target="../embeddings/Microsoft_Excel_Worksheet530.xlsx"/></Relationships>
</file>

<file path=ppt/charts/_rels/chart532.xml.rels><?xml version="1.0" encoding="UTF-8" standalone="yes"?>
<Relationships xmlns="http://schemas.openxmlformats.org/package/2006/relationships"><Relationship Id="rId1" Type="http://schemas.openxmlformats.org/officeDocument/2006/relationships/package" Target="../embeddings/Microsoft_Excel_Worksheet531.xlsx"/></Relationships>
</file>

<file path=ppt/charts/_rels/chart533.xml.rels><?xml version="1.0" encoding="UTF-8" standalone="yes"?>
<Relationships xmlns="http://schemas.openxmlformats.org/package/2006/relationships"><Relationship Id="rId1" Type="http://schemas.openxmlformats.org/officeDocument/2006/relationships/package" Target="../embeddings/Microsoft_Excel_Worksheet532.xlsx"/></Relationships>
</file>

<file path=ppt/charts/_rels/chart534.xml.rels><?xml version="1.0" encoding="UTF-8" standalone="yes"?>
<Relationships xmlns="http://schemas.openxmlformats.org/package/2006/relationships"><Relationship Id="rId1" Type="http://schemas.openxmlformats.org/officeDocument/2006/relationships/package" Target="../embeddings/Microsoft_Excel_Worksheet533.xlsx"/></Relationships>
</file>

<file path=ppt/charts/_rels/chart535.xml.rels><?xml version="1.0" encoding="UTF-8" standalone="yes"?>
<Relationships xmlns="http://schemas.openxmlformats.org/package/2006/relationships"><Relationship Id="rId1" Type="http://schemas.openxmlformats.org/officeDocument/2006/relationships/package" Target="../embeddings/Microsoft_Excel_Worksheet534.xlsx"/></Relationships>
</file>

<file path=ppt/charts/_rels/chart536.xml.rels><?xml version="1.0" encoding="UTF-8" standalone="yes"?>
<Relationships xmlns="http://schemas.openxmlformats.org/package/2006/relationships"><Relationship Id="rId1" Type="http://schemas.openxmlformats.org/officeDocument/2006/relationships/package" Target="../embeddings/Microsoft_Excel_Worksheet535.xlsx"/></Relationships>
</file>

<file path=ppt/charts/_rels/chart537.xml.rels><?xml version="1.0" encoding="UTF-8" standalone="yes"?>
<Relationships xmlns="http://schemas.openxmlformats.org/package/2006/relationships"><Relationship Id="rId1" Type="http://schemas.openxmlformats.org/officeDocument/2006/relationships/package" Target="../embeddings/Microsoft_Excel_Worksheet536.xlsx"/></Relationships>
</file>

<file path=ppt/charts/_rels/chart538.xml.rels><?xml version="1.0" encoding="UTF-8" standalone="yes"?>
<Relationships xmlns="http://schemas.openxmlformats.org/package/2006/relationships"><Relationship Id="rId1" Type="http://schemas.openxmlformats.org/officeDocument/2006/relationships/package" Target="../embeddings/Microsoft_Excel_Worksheet537.xlsx"/></Relationships>
</file>

<file path=ppt/charts/_rels/chart539.xml.rels><?xml version="1.0" encoding="UTF-8" standalone="yes"?>
<Relationships xmlns="http://schemas.openxmlformats.org/package/2006/relationships"><Relationship Id="rId1" Type="http://schemas.openxmlformats.org/officeDocument/2006/relationships/package" Target="../embeddings/Microsoft_Excel_Worksheet538.xlsx"/></Relationships>
</file>

<file path=ppt/charts/_rels/chart54.xml.rels><?xml version="1.0" encoding="UTF-8" standalone="yes"?>
<Relationships xmlns="http://schemas.openxmlformats.org/package/2006/relationships"><Relationship Id="rId1" Type="http://schemas.openxmlformats.org/officeDocument/2006/relationships/package" Target="../embeddings/Microsoft_Excel_Worksheet53.xlsx"/></Relationships>
</file>

<file path=ppt/charts/_rels/chart540.xml.rels><?xml version="1.0" encoding="UTF-8" standalone="yes"?>
<Relationships xmlns="http://schemas.openxmlformats.org/package/2006/relationships"><Relationship Id="rId1" Type="http://schemas.openxmlformats.org/officeDocument/2006/relationships/package" Target="../embeddings/Microsoft_Excel_Worksheet539.xlsx"/></Relationships>
</file>

<file path=ppt/charts/_rels/chart541.xml.rels><?xml version="1.0" encoding="UTF-8" standalone="yes"?>
<Relationships xmlns="http://schemas.openxmlformats.org/package/2006/relationships"><Relationship Id="rId1" Type="http://schemas.openxmlformats.org/officeDocument/2006/relationships/package" Target="../embeddings/Microsoft_Excel_Worksheet540.xlsx"/></Relationships>
</file>

<file path=ppt/charts/_rels/chart542.xml.rels><?xml version="1.0" encoding="UTF-8" standalone="yes"?>
<Relationships xmlns="http://schemas.openxmlformats.org/package/2006/relationships"><Relationship Id="rId1" Type="http://schemas.openxmlformats.org/officeDocument/2006/relationships/package" Target="../embeddings/Microsoft_Excel_Worksheet541.xlsx"/></Relationships>
</file>

<file path=ppt/charts/_rels/chart543.xml.rels><?xml version="1.0" encoding="UTF-8" standalone="yes"?>
<Relationships xmlns="http://schemas.openxmlformats.org/package/2006/relationships"><Relationship Id="rId1" Type="http://schemas.openxmlformats.org/officeDocument/2006/relationships/package" Target="../embeddings/Microsoft_Excel_Worksheet542.xlsx"/></Relationships>
</file>

<file path=ppt/charts/_rels/chart544.xml.rels><?xml version="1.0" encoding="UTF-8" standalone="yes"?>
<Relationships xmlns="http://schemas.openxmlformats.org/package/2006/relationships"><Relationship Id="rId1" Type="http://schemas.openxmlformats.org/officeDocument/2006/relationships/package" Target="../embeddings/Microsoft_Excel_Worksheet543.xlsx"/></Relationships>
</file>

<file path=ppt/charts/_rels/chart545.xml.rels><?xml version="1.0" encoding="UTF-8" standalone="yes"?>
<Relationships xmlns="http://schemas.openxmlformats.org/package/2006/relationships"><Relationship Id="rId1" Type="http://schemas.openxmlformats.org/officeDocument/2006/relationships/package" Target="../embeddings/Microsoft_Excel_Worksheet544.xlsx"/></Relationships>
</file>

<file path=ppt/charts/_rels/chart546.xml.rels><?xml version="1.0" encoding="UTF-8" standalone="yes"?>
<Relationships xmlns="http://schemas.openxmlformats.org/package/2006/relationships"><Relationship Id="rId1" Type="http://schemas.openxmlformats.org/officeDocument/2006/relationships/package" Target="../embeddings/Microsoft_Excel_Worksheet545.xlsx"/></Relationships>
</file>

<file path=ppt/charts/_rels/chart547.xml.rels><?xml version="1.0" encoding="UTF-8" standalone="yes"?>
<Relationships xmlns="http://schemas.openxmlformats.org/package/2006/relationships"><Relationship Id="rId1" Type="http://schemas.openxmlformats.org/officeDocument/2006/relationships/package" Target="../embeddings/Microsoft_Excel_Worksheet546.xlsx"/></Relationships>
</file>

<file path=ppt/charts/_rels/chart548.xml.rels><?xml version="1.0" encoding="UTF-8" standalone="yes"?>
<Relationships xmlns="http://schemas.openxmlformats.org/package/2006/relationships"><Relationship Id="rId1" Type="http://schemas.openxmlformats.org/officeDocument/2006/relationships/package" Target="../embeddings/Microsoft_Excel_Worksheet547.xlsx"/></Relationships>
</file>

<file path=ppt/charts/_rels/chart549.xml.rels><?xml version="1.0" encoding="UTF-8" standalone="yes"?>
<Relationships xmlns="http://schemas.openxmlformats.org/package/2006/relationships"><Relationship Id="rId1" Type="http://schemas.openxmlformats.org/officeDocument/2006/relationships/package" Target="../embeddings/Microsoft_Excel_Worksheet548.xlsx"/></Relationships>
</file>

<file path=ppt/charts/_rels/chart55.xml.rels><?xml version="1.0" encoding="UTF-8" standalone="yes"?>
<Relationships xmlns="http://schemas.openxmlformats.org/package/2006/relationships"><Relationship Id="rId1" Type="http://schemas.openxmlformats.org/officeDocument/2006/relationships/package" Target="../embeddings/Microsoft_Excel_Worksheet54.xlsx"/></Relationships>
</file>

<file path=ppt/charts/_rels/chart550.xml.rels><?xml version="1.0" encoding="UTF-8" standalone="yes"?>
<Relationships xmlns="http://schemas.openxmlformats.org/package/2006/relationships"><Relationship Id="rId1" Type="http://schemas.openxmlformats.org/officeDocument/2006/relationships/package" Target="../embeddings/Microsoft_Excel_Worksheet549.xlsx"/></Relationships>
</file>

<file path=ppt/charts/_rels/chart551.xml.rels><?xml version="1.0" encoding="UTF-8" standalone="yes"?>
<Relationships xmlns="http://schemas.openxmlformats.org/package/2006/relationships"><Relationship Id="rId1" Type="http://schemas.openxmlformats.org/officeDocument/2006/relationships/package" Target="../embeddings/Microsoft_Excel_Worksheet550.xlsx"/></Relationships>
</file>

<file path=ppt/charts/_rels/chart552.xml.rels><?xml version="1.0" encoding="UTF-8" standalone="yes"?>
<Relationships xmlns="http://schemas.openxmlformats.org/package/2006/relationships"><Relationship Id="rId1" Type="http://schemas.openxmlformats.org/officeDocument/2006/relationships/package" Target="../embeddings/Microsoft_Excel_Worksheet551.xlsx"/></Relationships>
</file>

<file path=ppt/charts/_rels/chart553.xml.rels><?xml version="1.0" encoding="UTF-8" standalone="yes"?>
<Relationships xmlns="http://schemas.openxmlformats.org/package/2006/relationships"><Relationship Id="rId1" Type="http://schemas.openxmlformats.org/officeDocument/2006/relationships/package" Target="../embeddings/Microsoft_Excel_Worksheet552.xlsx"/></Relationships>
</file>

<file path=ppt/charts/_rels/chart554.xml.rels><?xml version="1.0" encoding="UTF-8" standalone="yes"?>
<Relationships xmlns="http://schemas.openxmlformats.org/package/2006/relationships"><Relationship Id="rId1" Type="http://schemas.openxmlformats.org/officeDocument/2006/relationships/package" Target="../embeddings/Microsoft_Excel_Worksheet553.xlsx"/></Relationships>
</file>

<file path=ppt/charts/_rels/chart555.xml.rels><?xml version="1.0" encoding="UTF-8" standalone="yes"?>
<Relationships xmlns="http://schemas.openxmlformats.org/package/2006/relationships"><Relationship Id="rId1" Type="http://schemas.openxmlformats.org/officeDocument/2006/relationships/package" Target="../embeddings/Microsoft_Excel_Worksheet554.xlsx"/></Relationships>
</file>

<file path=ppt/charts/_rels/chart556.xml.rels><?xml version="1.0" encoding="UTF-8" standalone="yes"?>
<Relationships xmlns="http://schemas.openxmlformats.org/package/2006/relationships"><Relationship Id="rId1" Type="http://schemas.openxmlformats.org/officeDocument/2006/relationships/package" Target="../embeddings/Microsoft_Excel_Worksheet555.xlsx"/></Relationships>
</file>

<file path=ppt/charts/_rels/chart557.xml.rels><?xml version="1.0" encoding="UTF-8" standalone="yes"?>
<Relationships xmlns="http://schemas.openxmlformats.org/package/2006/relationships"><Relationship Id="rId1" Type="http://schemas.openxmlformats.org/officeDocument/2006/relationships/package" Target="../embeddings/Microsoft_Excel_Worksheet556.xlsx"/></Relationships>
</file>

<file path=ppt/charts/_rels/chart558.xml.rels><?xml version="1.0" encoding="UTF-8" standalone="yes"?>
<Relationships xmlns="http://schemas.openxmlformats.org/package/2006/relationships"><Relationship Id="rId1" Type="http://schemas.openxmlformats.org/officeDocument/2006/relationships/package" Target="../embeddings/Microsoft_Excel_Worksheet557.xlsx"/></Relationships>
</file>

<file path=ppt/charts/_rels/chart559.xml.rels><?xml version="1.0" encoding="UTF-8" standalone="yes"?>
<Relationships xmlns="http://schemas.openxmlformats.org/package/2006/relationships"><Relationship Id="rId1" Type="http://schemas.openxmlformats.org/officeDocument/2006/relationships/package" Target="../embeddings/Microsoft_Excel_Worksheet558.xlsx"/></Relationships>
</file>

<file path=ppt/charts/_rels/chart56.xml.rels><?xml version="1.0" encoding="UTF-8" standalone="yes"?>
<Relationships xmlns="http://schemas.openxmlformats.org/package/2006/relationships"><Relationship Id="rId1" Type="http://schemas.openxmlformats.org/officeDocument/2006/relationships/package" Target="../embeddings/Microsoft_Excel_Worksheet55.xlsx"/></Relationships>
</file>

<file path=ppt/charts/_rels/chart560.xml.rels><?xml version="1.0" encoding="UTF-8" standalone="yes"?>
<Relationships xmlns="http://schemas.openxmlformats.org/package/2006/relationships"><Relationship Id="rId1" Type="http://schemas.openxmlformats.org/officeDocument/2006/relationships/package" Target="../embeddings/Microsoft_Excel_Worksheet559.xlsx"/></Relationships>
</file>

<file path=ppt/charts/_rels/chart561.xml.rels><?xml version="1.0" encoding="UTF-8" standalone="yes"?>
<Relationships xmlns="http://schemas.openxmlformats.org/package/2006/relationships"><Relationship Id="rId1" Type="http://schemas.openxmlformats.org/officeDocument/2006/relationships/package" Target="../embeddings/Microsoft_Excel_Worksheet560.xlsx"/></Relationships>
</file>

<file path=ppt/charts/_rels/chart562.xml.rels><?xml version="1.0" encoding="UTF-8" standalone="yes"?>
<Relationships xmlns="http://schemas.openxmlformats.org/package/2006/relationships"><Relationship Id="rId1" Type="http://schemas.openxmlformats.org/officeDocument/2006/relationships/package" Target="../embeddings/Microsoft_Excel_Worksheet561.xlsx"/></Relationships>
</file>

<file path=ppt/charts/_rels/chart563.xml.rels><?xml version="1.0" encoding="UTF-8" standalone="yes"?>
<Relationships xmlns="http://schemas.openxmlformats.org/package/2006/relationships"><Relationship Id="rId1" Type="http://schemas.openxmlformats.org/officeDocument/2006/relationships/package" Target="../embeddings/Microsoft_Excel_Worksheet562.xlsx"/></Relationships>
</file>

<file path=ppt/charts/_rels/chart564.xml.rels><?xml version="1.0" encoding="UTF-8" standalone="yes"?>
<Relationships xmlns="http://schemas.openxmlformats.org/package/2006/relationships"><Relationship Id="rId1" Type="http://schemas.openxmlformats.org/officeDocument/2006/relationships/package" Target="../embeddings/Microsoft_Excel_Worksheet563.xlsx"/></Relationships>
</file>

<file path=ppt/charts/_rels/chart565.xml.rels><?xml version="1.0" encoding="UTF-8" standalone="yes"?>
<Relationships xmlns="http://schemas.openxmlformats.org/package/2006/relationships"><Relationship Id="rId1" Type="http://schemas.openxmlformats.org/officeDocument/2006/relationships/package" Target="../embeddings/Microsoft_Excel_Worksheet564.xlsx"/></Relationships>
</file>

<file path=ppt/charts/_rels/chart566.xml.rels><?xml version="1.0" encoding="UTF-8" standalone="yes"?>
<Relationships xmlns="http://schemas.openxmlformats.org/package/2006/relationships"><Relationship Id="rId1" Type="http://schemas.openxmlformats.org/officeDocument/2006/relationships/package" Target="../embeddings/Microsoft_Excel_Worksheet565.xlsx"/></Relationships>
</file>

<file path=ppt/charts/_rels/chart567.xml.rels><?xml version="1.0" encoding="UTF-8" standalone="yes"?>
<Relationships xmlns="http://schemas.openxmlformats.org/package/2006/relationships"><Relationship Id="rId1" Type="http://schemas.openxmlformats.org/officeDocument/2006/relationships/package" Target="../embeddings/Microsoft_Excel_Worksheet566.xlsx"/></Relationships>
</file>

<file path=ppt/charts/_rels/chart568.xml.rels><?xml version="1.0" encoding="UTF-8" standalone="yes"?>
<Relationships xmlns="http://schemas.openxmlformats.org/package/2006/relationships"><Relationship Id="rId1" Type="http://schemas.openxmlformats.org/officeDocument/2006/relationships/package" Target="../embeddings/Microsoft_Excel_Worksheet567.xlsx"/></Relationships>
</file>

<file path=ppt/charts/_rels/chart569.xml.rels><?xml version="1.0" encoding="UTF-8" standalone="yes"?>
<Relationships xmlns="http://schemas.openxmlformats.org/package/2006/relationships"><Relationship Id="rId1" Type="http://schemas.openxmlformats.org/officeDocument/2006/relationships/package" Target="../embeddings/Microsoft_Excel_Worksheet568.xlsx"/></Relationships>
</file>

<file path=ppt/charts/_rels/chart57.xml.rels><?xml version="1.0" encoding="UTF-8" standalone="yes"?>
<Relationships xmlns="http://schemas.openxmlformats.org/package/2006/relationships"><Relationship Id="rId1" Type="http://schemas.openxmlformats.org/officeDocument/2006/relationships/package" Target="../embeddings/Microsoft_Excel_Worksheet56.xlsx"/></Relationships>
</file>

<file path=ppt/charts/_rels/chart570.xml.rels><?xml version="1.0" encoding="UTF-8" standalone="yes"?>
<Relationships xmlns="http://schemas.openxmlformats.org/package/2006/relationships"><Relationship Id="rId1" Type="http://schemas.openxmlformats.org/officeDocument/2006/relationships/package" Target="../embeddings/Microsoft_Excel_Worksheet569.xlsx"/></Relationships>
</file>

<file path=ppt/charts/_rels/chart571.xml.rels><?xml version="1.0" encoding="UTF-8" standalone="yes"?>
<Relationships xmlns="http://schemas.openxmlformats.org/package/2006/relationships"><Relationship Id="rId1" Type="http://schemas.openxmlformats.org/officeDocument/2006/relationships/package" Target="../embeddings/Microsoft_Excel_Worksheet570.xlsx"/></Relationships>
</file>

<file path=ppt/charts/_rels/chart572.xml.rels><?xml version="1.0" encoding="UTF-8" standalone="yes"?>
<Relationships xmlns="http://schemas.openxmlformats.org/package/2006/relationships"><Relationship Id="rId1" Type="http://schemas.openxmlformats.org/officeDocument/2006/relationships/package" Target="../embeddings/Microsoft_Excel_Worksheet571.xlsx"/></Relationships>
</file>

<file path=ppt/charts/_rels/chart573.xml.rels><?xml version="1.0" encoding="UTF-8" standalone="yes"?>
<Relationships xmlns="http://schemas.openxmlformats.org/package/2006/relationships"><Relationship Id="rId1" Type="http://schemas.openxmlformats.org/officeDocument/2006/relationships/package" Target="../embeddings/Microsoft_Excel_Worksheet572.xlsx"/></Relationships>
</file>

<file path=ppt/charts/_rels/chart574.xml.rels><?xml version="1.0" encoding="UTF-8" standalone="yes"?>
<Relationships xmlns="http://schemas.openxmlformats.org/package/2006/relationships"><Relationship Id="rId1" Type="http://schemas.openxmlformats.org/officeDocument/2006/relationships/package" Target="../embeddings/Microsoft_Excel_Worksheet573.xlsx"/></Relationships>
</file>

<file path=ppt/charts/_rels/chart575.xml.rels><?xml version="1.0" encoding="UTF-8" standalone="yes"?>
<Relationships xmlns="http://schemas.openxmlformats.org/package/2006/relationships"><Relationship Id="rId1" Type="http://schemas.openxmlformats.org/officeDocument/2006/relationships/package" Target="../embeddings/Microsoft_Excel_Worksheet574.xlsx"/></Relationships>
</file>

<file path=ppt/charts/_rels/chart576.xml.rels><?xml version="1.0" encoding="UTF-8" standalone="yes"?>
<Relationships xmlns="http://schemas.openxmlformats.org/package/2006/relationships"><Relationship Id="rId1" Type="http://schemas.openxmlformats.org/officeDocument/2006/relationships/package" Target="../embeddings/Microsoft_Excel_Worksheet575.xlsx"/></Relationships>
</file>

<file path=ppt/charts/_rels/chart577.xml.rels><?xml version="1.0" encoding="UTF-8" standalone="yes"?>
<Relationships xmlns="http://schemas.openxmlformats.org/package/2006/relationships"><Relationship Id="rId1" Type="http://schemas.openxmlformats.org/officeDocument/2006/relationships/package" Target="../embeddings/Microsoft_Excel_Worksheet576.xlsx"/></Relationships>
</file>

<file path=ppt/charts/_rels/chart578.xml.rels><?xml version="1.0" encoding="UTF-8" standalone="yes"?>
<Relationships xmlns="http://schemas.openxmlformats.org/package/2006/relationships"><Relationship Id="rId1" Type="http://schemas.openxmlformats.org/officeDocument/2006/relationships/package" Target="../embeddings/Microsoft_Excel_Worksheet577.xlsx"/></Relationships>
</file>

<file path=ppt/charts/_rels/chart579.xml.rels><?xml version="1.0" encoding="UTF-8" standalone="yes"?>
<Relationships xmlns="http://schemas.openxmlformats.org/package/2006/relationships"><Relationship Id="rId1" Type="http://schemas.openxmlformats.org/officeDocument/2006/relationships/package" Target="../embeddings/Microsoft_Excel_Worksheet578.xlsx"/></Relationships>
</file>

<file path=ppt/charts/_rels/chart58.xml.rels><?xml version="1.0" encoding="UTF-8" standalone="yes"?>
<Relationships xmlns="http://schemas.openxmlformats.org/package/2006/relationships"><Relationship Id="rId1" Type="http://schemas.openxmlformats.org/officeDocument/2006/relationships/package" Target="../embeddings/Microsoft_Excel_Worksheet57.xlsx"/></Relationships>
</file>

<file path=ppt/charts/_rels/chart580.xml.rels><?xml version="1.0" encoding="UTF-8" standalone="yes"?>
<Relationships xmlns="http://schemas.openxmlformats.org/package/2006/relationships"><Relationship Id="rId1" Type="http://schemas.openxmlformats.org/officeDocument/2006/relationships/package" Target="../embeddings/Microsoft_Excel_Worksheet579.xlsx"/></Relationships>
</file>

<file path=ppt/charts/_rels/chart581.xml.rels><?xml version="1.0" encoding="UTF-8" standalone="yes"?>
<Relationships xmlns="http://schemas.openxmlformats.org/package/2006/relationships"><Relationship Id="rId1" Type="http://schemas.openxmlformats.org/officeDocument/2006/relationships/package" Target="../embeddings/Microsoft_Excel_Worksheet580.xlsx"/></Relationships>
</file>

<file path=ppt/charts/_rels/chart582.xml.rels><?xml version="1.0" encoding="UTF-8" standalone="yes"?>
<Relationships xmlns="http://schemas.openxmlformats.org/package/2006/relationships"><Relationship Id="rId1" Type="http://schemas.openxmlformats.org/officeDocument/2006/relationships/package" Target="../embeddings/Microsoft_Excel_Worksheet581.xlsx"/></Relationships>
</file>

<file path=ppt/charts/_rels/chart583.xml.rels><?xml version="1.0" encoding="UTF-8" standalone="yes"?>
<Relationships xmlns="http://schemas.openxmlformats.org/package/2006/relationships"><Relationship Id="rId1" Type="http://schemas.openxmlformats.org/officeDocument/2006/relationships/package" Target="../embeddings/Microsoft_Excel_Worksheet582.xlsx"/></Relationships>
</file>

<file path=ppt/charts/_rels/chart584.xml.rels><?xml version="1.0" encoding="UTF-8" standalone="yes"?>
<Relationships xmlns="http://schemas.openxmlformats.org/package/2006/relationships"><Relationship Id="rId1" Type="http://schemas.openxmlformats.org/officeDocument/2006/relationships/package" Target="../embeddings/Microsoft_Excel_Worksheet583.xlsx"/></Relationships>
</file>

<file path=ppt/charts/_rels/chart585.xml.rels><?xml version="1.0" encoding="UTF-8" standalone="yes"?>
<Relationships xmlns="http://schemas.openxmlformats.org/package/2006/relationships"><Relationship Id="rId1" Type="http://schemas.openxmlformats.org/officeDocument/2006/relationships/package" Target="../embeddings/Microsoft_Excel_Worksheet584.xlsx"/></Relationships>
</file>

<file path=ppt/charts/_rels/chart586.xml.rels><?xml version="1.0" encoding="UTF-8" standalone="yes"?>
<Relationships xmlns="http://schemas.openxmlformats.org/package/2006/relationships"><Relationship Id="rId1" Type="http://schemas.openxmlformats.org/officeDocument/2006/relationships/package" Target="../embeddings/Microsoft_Excel_Worksheet585.xlsx"/></Relationships>
</file>

<file path=ppt/charts/_rels/chart587.xml.rels><?xml version="1.0" encoding="UTF-8" standalone="yes"?>
<Relationships xmlns="http://schemas.openxmlformats.org/package/2006/relationships"><Relationship Id="rId1" Type="http://schemas.openxmlformats.org/officeDocument/2006/relationships/package" Target="../embeddings/Microsoft_Excel_Worksheet586.xlsx"/></Relationships>
</file>

<file path=ppt/charts/_rels/chart588.xml.rels><?xml version="1.0" encoding="UTF-8" standalone="yes"?>
<Relationships xmlns="http://schemas.openxmlformats.org/package/2006/relationships"><Relationship Id="rId1" Type="http://schemas.openxmlformats.org/officeDocument/2006/relationships/package" Target="../embeddings/Microsoft_Excel_Worksheet587.xlsx"/></Relationships>
</file>

<file path=ppt/charts/_rels/chart589.xml.rels><?xml version="1.0" encoding="UTF-8" standalone="yes"?>
<Relationships xmlns="http://schemas.openxmlformats.org/package/2006/relationships"><Relationship Id="rId1" Type="http://schemas.openxmlformats.org/officeDocument/2006/relationships/package" Target="../embeddings/Microsoft_Excel_Worksheet588.xlsx"/></Relationships>
</file>

<file path=ppt/charts/_rels/chart59.xml.rels><?xml version="1.0" encoding="UTF-8" standalone="yes"?>
<Relationships xmlns="http://schemas.openxmlformats.org/package/2006/relationships"><Relationship Id="rId1" Type="http://schemas.openxmlformats.org/officeDocument/2006/relationships/package" Target="../embeddings/Microsoft_Excel_Worksheet58.xlsx"/></Relationships>
</file>

<file path=ppt/charts/_rels/chart590.xml.rels><?xml version="1.0" encoding="UTF-8" standalone="yes"?>
<Relationships xmlns="http://schemas.openxmlformats.org/package/2006/relationships"><Relationship Id="rId1" Type="http://schemas.openxmlformats.org/officeDocument/2006/relationships/package" Target="../embeddings/Microsoft_Excel_Worksheet589.xlsx"/></Relationships>
</file>

<file path=ppt/charts/_rels/chart591.xml.rels><?xml version="1.0" encoding="UTF-8" standalone="yes"?>
<Relationships xmlns="http://schemas.openxmlformats.org/package/2006/relationships"><Relationship Id="rId1" Type="http://schemas.openxmlformats.org/officeDocument/2006/relationships/package" Target="../embeddings/Microsoft_Excel_Worksheet590.xlsx"/></Relationships>
</file>

<file path=ppt/charts/_rels/chart592.xml.rels><?xml version="1.0" encoding="UTF-8" standalone="yes"?>
<Relationships xmlns="http://schemas.openxmlformats.org/package/2006/relationships"><Relationship Id="rId1" Type="http://schemas.openxmlformats.org/officeDocument/2006/relationships/package" Target="../embeddings/Microsoft_Excel_Worksheet591.xlsx"/></Relationships>
</file>

<file path=ppt/charts/_rels/chart593.xml.rels><?xml version="1.0" encoding="UTF-8" standalone="yes"?>
<Relationships xmlns="http://schemas.openxmlformats.org/package/2006/relationships"><Relationship Id="rId1" Type="http://schemas.openxmlformats.org/officeDocument/2006/relationships/package" Target="../embeddings/Microsoft_Excel_Worksheet592.xlsx"/></Relationships>
</file>

<file path=ppt/charts/_rels/chart594.xml.rels><?xml version="1.0" encoding="UTF-8" standalone="yes"?>
<Relationships xmlns="http://schemas.openxmlformats.org/package/2006/relationships"><Relationship Id="rId1" Type="http://schemas.openxmlformats.org/officeDocument/2006/relationships/package" Target="../embeddings/Microsoft_Excel_Worksheet593.xlsx"/></Relationships>
</file>

<file path=ppt/charts/_rels/chart595.xml.rels><?xml version="1.0" encoding="UTF-8" standalone="yes"?>
<Relationships xmlns="http://schemas.openxmlformats.org/package/2006/relationships"><Relationship Id="rId1" Type="http://schemas.openxmlformats.org/officeDocument/2006/relationships/package" Target="../embeddings/Microsoft_Excel_Worksheet594.xlsx"/></Relationships>
</file>

<file path=ppt/charts/_rels/chart596.xml.rels><?xml version="1.0" encoding="UTF-8" standalone="yes"?>
<Relationships xmlns="http://schemas.openxmlformats.org/package/2006/relationships"><Relationship Id="rId1" Type="http://schemas.openxmlformats.org/officeDocument/2006/relationships/package" Target="../embeddings/Microsoft_Excel_Worksheet595.xlsx"/></Relationships>
</file>

<file path=ppt/charts/_rels/chart597.xml.rels><?xml version="1.0" encoding="UTF-8" standalone="yes"?>
<Relationships xmlns="http://schemas.openxmlformats.org/package/2006/relationships"><Relationship Id="rId1" Type="http://schemas.openxmlformats.org/officeDocument/2006/relationships/package" Target="../embeddings/Microsoft_Excel_Worksheet596.xlsx"/></Relationships>
</file>

<file path=ppt/charts/_rels/chart598.xml.rels><?xml version="1.0" encoding="UTF-8" standalone="yes"?>
<Relationships xmlns="http://schemas.openxmlformats.org/package/2006/relationships"><Relationship Id="rId1" Type="http://schemas.openxmlformats.org/officeDocument/2006/relationships/package" Target="../embeddings/Microsoft_Excel_Worksheet597.xlsx"/></Relationships>
</file>

<file path=ppt/charts/_rels/chart599.xml.rels><?xml version="1.0" encoding="UTF-8" standalone="yes"?>
<Relationships xmlns="http://schemas.openxmlformats.org/package/2006/relationships"><Relationship Id="rId1" Type="http://schemas.openxmlformats.org/officeDocument/2006/relationships/package" Target="../embeddings/Microsoft_Excel_Worksheet598.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60.xml.rels><?xml version="1.0" encoding="UTF-8" standalone="yes"?>
<Relationships xmlns="http://schemas.openxmlformats.org/package/2006/relationships"><Relationship Id="rId1" Type="http://schemas.openxmlformats.org/officeDocument/2006/relationships/package" Target="../embeddings/Microsoft_Excel_Worksheet59.xlsx"/></Relationships>
</file>

<file path=ppt/charts/_rels/chart600.xml.rels><?xml version="1.0" encoding="UTF-8" standalone="yes"?>
<Relationships xmlns="http://schemas.openxmlformats.org/package/2006/relationships"><Relationship Id="rId1" Type="http://schemas.openxmlformats.org/officeDocument/2006/relationships/package" Target="../embeddings/Microsoft_Excel_Worksheet599.xlsx"/></Relationships>
</file>

<file path=ppt/charts/_rels/chart601.xml.rels><?xml version="1.0" encoding="UTF-8" standalone="yes"?>
<Relationships xmlns="http://schemas.openxmlformats.org/package/2006/relationships"><Relationship Id="rId1" Type="http://schemas.openxmlformats.org/officeDocument/2006/relationships/package" Target="../embeddings/Microsoft_Excel_Worksheet600.xlsx"/></Relationships>
</file>

<file path=ppt/charts/_rels/chart602.xml.rels><?xml version="1.0" encoding="UTF-8" standalone="yes"?>
<Relationships xmlns="http://schemas.openxmlformats.org/package/2006/relationships"><Relationship Id="rId1" Type="http://schemas.openxmlformats.org/officeDocument/2006/relationships/package" Target="../embeddings/Microsoft_Excel_Worksheet601.xlsx"/></Relationships>
</file>

<file path=ppt/charts/_rels/chart603.xml.rels><?xml version="1.0" encoding="UTF-8" standalone="yes"?>
<Relationships xmlns="http://schemas.openxmlformats.org/package/2006/relationships"><Relationship Id="rId1" Type="http://schemas.openxmlformats.org/officeDocument/2006/relationships/package" Target="../embeddings/Microsoft_Excel_Worksheet602.xlsx"/></Relationships>
</file>

<file path=ppt/charts/_rels/chart604.xml.rels><?xml version="1.0" encoding="UTF-8" standalone="yes"?>
<Relationships xmlns="http://schemas.openxmlformats.org/package/2006/relationships"><Relationship Id="rId1" Type="http://schemas.openxmlformats.org/officeDocument/2006/relationships/package" Target="../embeddings/Microsoft_Excel_Worksheet603.xlsx"/></Relationships>
</file>

<file path=ppt/charts/_rels/chart605.xml.rels><?xml version="1.0" encoding="UTF-8" standalone="yes"?>
<Relationships xmlns="http://schemas.openxmlformats.org/package/2006/relationships"><Relationship Id="rId1" Type="http://schemas.openxmlformats.org/officeDocument/2006/relationships/package" Target="../embeddings/Microsoft_Excel_Worksheet604.xlsx"/></Relationships>
</file>

<file path=ppt/charts/_rels/chart606.xml.rels><?xml version="1.0" encoding="UTF-8" standalone="yes"?>
<Relationships xmlns="http://schemas.openxmlformats.org/package/2006/relationships"><Relationship Id="rId1" Type="http://schemas.openxmlformats.org/officeDocument/2006/relationships/package" Target="../embeddings/Microsoft_Excel_Worksheet605.xlsx"/></Relationships>
</file>

<file path=ppt/charts/_rels/chart607.xml.rels><?xml version="1.0" encoding="UTF-8" standalone="yes"?>
<Relationships xmlns="http://schemas.openxmlformats.org/package/2006/relationships"><Relationship Id="rId1" Type="http://schemas.openxmlformats.org/officeDocument/2006/relationships/package" Target="../embeddings/Microsoft_Excel_Worksheet606.xlsx"/></Relationships>
</file>

<file path=ppt/charts/_rels/chart608.xml.rels><?xml version="1.0" encoding="UTF-8" standalone="yes"?>
<Relationships xmlns="http://schemas.openxmlformats.org/package/2006/relationships"><Relationship Id="rId1" Type="http://schemas.openxmlformats.org/officeDocument/2006/relationships/package" Target="../embeddings/Microsoft_Excel_Worksheet607.xlsx"/></Relationships>
</file>

<file path=ppt/charts/_rels/chart609.xml.rels><?xml version="1.0" encoding="UTF-8" standalone="yes"?>
<Relationships xmlns="http://schemas.openxmlformats.org/package/2006/relationships"><Relationship Id="rId1" Type="http://schemas.openxmlformats.org/officeDocument/2006/relationships/package" Target="../embeddings/Microsoft_Excel_Worksheet608.xlsx"/></Relationships>
</file>

<file path=ppt/charts/_rels/chart61.xml.rels><?xml version="1.0" encoding="UTF-8" standalone="yes"?>
<Relationships xmlns="http://schemas.openxmlformats.org/package/2006/relationships"><Relationship Id="rId1" Type="http://schemas.openxmlformats.org/officeDocument/2006/relationships/package" Target="../embeddings/Microsoft_Excel_Worksheet60.xlsx"/></Relationships>
</file>

<file path=ppt/charts/_rels/chart610.xml.rels><?xml version="1.0" encoding="UTF-8" standalone="yes"?>
<Relationships xmlns="http://schemas.openxmlformats.org/package/2006/relationships"><Relationship Id="rId1" Type="http://schemas.openxmlformats.org/officeDocument/2006/relationships/package" Target="../embeddings/Microsoft_Excel_Worksheet609.xlsx"/></Relationships>
</file>

<file path=ppt/charts/_rels/chart611.xml.rels><?xml version="1.0" encoding="UTF-8" standalone="yes"?>
<Relationships xmlns="http://schemas.openxmlformats.org/package/2006/relationships"><Relationship Id="rId1" Type="http://schemas.openxmlformats.org/officeDocument/2006/relationships/package" Target="../embeddings/Microsoft_Excel_Worksheet610.xlsx"/></Relationships>
</file>

<file path=ppt/charts/_rels/chart612.xml.rels><?xml version="1.0" encoding="UTF-8" standalone="yes"?>
<Relationships xmlns="http://schemas.openxmlformats.org/package/2006/relationships"><Relationship Id="rId1" Type="http://schemas.openxmlformats.org/officeDocument/2006/relationships/package" Target="../embeddings/Microsoft_Excel_Worksheet611.xlsx"/></Relationships>
</file>

<file path=ppt/charts/_rels/chart613.xml.rels><?xml version="1.0" encoding="UTF-8" standalone="yes"?>
<Relationships xmlns="http://schemas.openxmlformats.org/package/2006/relationships"><Relationship Id="rId1" Type="http://schemas.openxmlformats.org/officeDocument/2006/relationships/package" Target="../embeddings/Microsoft_Excel_Worksheet612.xlsx"/></Relationships>
</file>

<file path=ppt/charts/_rels/chart614.xml.rels><?xml version="1.0" encoding="UTF-8" standalone="yes"?>
<Relationships xmlns="http://schemas.openxmlformats.org/package/2006/relationships"><Relationship Id="rId1" Type="http://schemas.openxmlformats.org/officeDocument/2006/relationships/package" Target="../embeddings/Microsoft_Excel_Worksheet613.xlsx"/></Relationships>
</file>

<file path=ppt/charts/_rels/chart62.xml.rels><?xml version="1.0" encoding="UTF-8" standalone="yes"?>
<Relationships xmlns="http://schemas.openxmlformats.org/package/2006/relationships"><Relationship Id="rId1" Type="http://schemas.openxmlformats.org/officeDocument/2006/relationships/package" Target="../embeddings/Microsoft_Excel_Worksheet61.xlsx"/></Relationships>
</file>

<file path=ppt/charts/_rels/chart63.xml.rels><?xml version="1.0" encoding="UTF-8" standalone="yes"?>
<Relationships xmlns="http://schemas.openxmlformats.org/package/2006/relationships"><Relationship Id="rId1" Type="http://schemas.openxmlformats.org/officeDocument/2006/relationships/package" Target="../embeddings/Microsoft_Excel_Worksheet62.xlsx"/></Relationships>
</file>

<file path=ppt/charts/_rels/chart64.xml.rels><?xml version="1.0" encoding="UTF-8" standalone="yes"?>
<Relationships xmlns="http://schemas.openxmlformats.org/package/2006/relationships"><Relationship Id="rId1" Type="http://schemas.openxmlformats.org/officeDocument/2006/relationships/package" Target="../embeddings/Microsoft_Excel_Worksheet63.xlsx"/></Relationships>
</file>

<file path=ppt/charts/_rels/chart65.xml.rels><?xml version="1.0" encoding="UTF-8" standalone="yes"?>
<Relationships xmlns="http://schemas.openxmlformats.org/package/2006/relationships"><Relationship Id="rId1" Type="http://schemas.openxmlformats.org/officeDocument/2006/relationships/package" Target="../embeddings/Microsoft_Excel_Worksheet64.xlsx"/></Relationships>
</file>

<file path=ppt/charts/_rels/chart66.xml.rels><?xml version="1.0" encoding="UTF-8" standalone="yes"?>
<Relationships xmlns="http://schemas.openxmlformats.org/package/2006/relationships"><Relationship Id="rId1" Type="http://schemas.openxmlformats.org/officeDocument/2006/relationships/package" Target="../embeddings/Microsoft_Excel_Worksheet65.xlsx"/></Relationships>
</file>

<file path=ppt/charts/_rels/chart67.xml.rels><?xml version="1.0" encoding="UTF-8" standalone="yes"?>
<Relationships xmlns="http://schemas.openxmlformats.org/package/2006/relationships"><Relationship Id="rId1" Type="http://schemas.openxmlformats.org/officeDocument/2006/relationships/package" Target="../embeddings/Microsoft_Excel_Worksheet66.xlsx"/></Relationships>
</file>

<file path=ppt/charts/_rels/chart68.xml.rels><?xml version="1.0" encoding="UTF-8" standalone="yes"?>
<Relationships xmlns="http://schemas.openxmlformats.org/package/2006/relationships"><Relationship Id="rId1" Type="http://schemas.openxmlformats.org/officeDocument/2006/relationships/package" Target="../embeddings/Microsoft_Excel_Worksheet67.xlsx"/></Relationships>
</file>

<file path=ppt/charts/_rels/chart69.xml.rels><?xml version="1.0" encoding="UTF-8" standalone="yes"?>
<Relationships xmlns="http://schemas.openxmlformats.org/package/2006/relationships"><Relationship Id="rId1" Type="http://schemas.openxmlformats.org/officeDocument/2006/relationships/package" Target="../embeddings/Microsoft_Excel_Worksheet68.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70.xml.rels><?xml version="1.0" encoding="UTF-8" standalone="yes"?>
<Relationships xmlns="http://schemas.openxmlformats.org/package/2006/relationships"><Relationship Id="rId1" Type="http://schemas.openxmlformats.org/officeDocument/2006/relationships/package" Target="../embeddings/Microsoft_Excel_Worksheet69.xlsx"/></Relationships>
</file>

<file path=ppt/charts/_rels/chart71.xml.rels><?xml version="1.0" encoding="UTF-8" standalone="yes"?>
<Relationships xmlns="http://schemas.openxmlformats.org/package/2006/relationships"><Relationship Id="rId1" Type="http://schemas.openxmlformats.org/officeDocument/2006/relationships/package" Target="../embeddings/Microsoft_Excel_Worksheet70.xlsx"/></Relationships>
</file>

<file path=ppt/charts/_rels/chart72.xml.rels><?xml version="1.0" encoding="UTF-8" standalone="yes"?>
<Relationships xmlns="http://schemas.openxmlformats.org/package/2006/relationships"><Relationship Id="rId1" Type="http://schemas.openxmlformats.org/officeDocument/2006/relationships/package" Target="../embeddings/Microsoft_Excel_Worksheet71.xlsx"/></Relationships>
</file>

<file path=ppt/charts/_rels/chart73.xml.rels><?xml version="1.0" encoding="UTF-8" standalone="yes"?>
<Relationships xmlns="http://schemas.openxmlformats.org/package/2006/relationships"><Relationship Id="rId1" Type="http://schemas.openxmlformats.org/officeDocument/2006/relationships/package" Target="../embeddings/Microsoft_Excel_Worksheet72.xlsx"/></Relationships>
</file>

<file path=ppt/charts/_rels/chart74.xml.rels><?xml version="1.0" encoding="UTF-8" standalone="yes"?>
<Relationships xmlns="http://schemas.openxmlformats.org/package/2006/relationships"><Relationship Id="rId1" Type="http://schemas.openxmlformats.org/officeDocument/2006/relationships/package" Target="../embeddings/Microsoft_Excel_Worksheet73.xlsx"/></Relationships>
</file>

<file path=ppt/charts/_rels/chart75.xml.rels><?xml version="1.0" encoding="UTF-8" standalone="yes"?>
<Relationships xmlns="http://schemas.openxmlformats.org/package/2006/relationships"><Relationship Id="rId1" Type="http://schemas.openxmlformats.org/officeDocument/2006/relationships/package" Target="../embeddings/Microsoft_Excel_Worksheet74.xlsx"/></Relationships>
</file>

<file path=ppt/charts/_rels/chart76.xml.rels><?xml version="1.0" encoding="UTF-8" standalone="yes"?>
<Relationships xmlns="http://schemas.openxmlformats.org/package/2006/relationships"><Relationship Id="rId1" Type="http://schemas.openxmlformats.org/officeDocument/2006/relationships/package" Target="../embeddings/Microsoft_Excel_Worksheet75.xlsx"/></Relationships>
</file>

<file path=ppt/charts/_rels/chart77.xml.rels><?xml version="1.0" encoding="UTF-8" standalone="yes"?>
<Relationships xmlns="http://schemas.openxmlformats.org/package/2006/relationships"><Relationship Id="rId1" Type="http://schemas.openxmlformats.org/officeDocument/2006/relationships/package" Target="../embeddings/Microsoft_Excel_Worksheet76.xlsx"/></Relationships>
</file>

<file path=ppt/charts/_rels/chart78.xml.rels><?xml version="1.0" encoding="UTF-8" standalone="yes"?>
<Relationships xmlns="http://schemas.openxmlformats.org/package/2006/relationships"><Relationship Id="rId1" Type="http://schemas.openxmlformats.org/officeDocument/2006/relationships/package" Target="../embeddings/Microsoft_Excel_Worksheet77.xlsx"/></Relationships>
</file>

<file path=ppt/charts/_rels/chart79.xml.rels><?xml version="1.0" encoding="UTF-8" standalone="yes"?>
<Relationships xmlns="http://schemas.openxmlformats.org/package/2006/relationships"><Relationship Id="rId1" Type="http://schemas.openxmlformats.org/officeDocument/2006/relationships/package" Target="../embeddings/Microsoft_Excel_Worksheet78.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80.xml.rels><?xml version="1.0" encoding="UTF-8" standalone="yes"?>
<Relationships xmlns="http://schemas.openxmlformats.org/package/2006/relationships"><Relationship Id="rId1" Type="http://schemas.openxmlformats.org/officeDocument/2006/relationships/package" Target="../embeddings/Microsoft_Excel_Worksheet79.xlsx"/></Relationships>
</file>

<file path=ppt/charts/_rels/chart81.xml.rels><?xml version="1.0" encoding="UTF-8" standalone="yes"?>
<Relationships xmlns="http://schemas.openxmlformats.org/package/2006/relationships"><Relationship Id="rId1" Type="http://schemas.openxmlformats.org/officeDocument/2006/relationships/package" Target="../embeddings/Microsoft_Excel_Worksheet80.xlsx"/></Relationships>
</file>

<file path=ppt/charts/_rels/chart82.xml.rels><?xml version="1.0" encoding="UTF-8" standalone="yes"?>
<Relationships xmlns="http://schemas.openxmlformats.org/package/2006/relationships"><Relationship Id="rId1" Type="http://schemas.openxmlformats.org/officeDocument/2006/relationships/package" Target="../embeddings/Microsoft_Excel_Worksheet81.xlsx"/></Relationships>
</file>

<file path=ppt/charts/_rels/chart83.xml.rels><?xml version="1.0" encoding="UTF-8" standalone="yes"?>
<Relationships xmlns="http://schemas.openxmlformats.org/package/2006/relationships"><Relationship Id="rId1" Type="http://schemas.openxmlformats.org/officeDocument/2006/relationships/package" Target="../embeddings/Microsoft_Excel_Worksheet82.xlsx"/></Relationships>
</file>

<file path=ppt/charts/_rels/chart84.xml.rels><?xml version="1.0" encoding="UTF-8" standalone="yes"?>
<Relationships xmlns="http://schemas.openxmlformats.org/package/2006/relationships"><Relationship Id="rId1" Type="http://schemas.openxmlformats.org/officeDocument/2006/relationships/package" Target="../embeddings/Microsoft_Excel_Worksheet83.xlsx"/></Relationships>
</file>

<file path=ppt/charts/_rels/chart85.xml.rels><?xml version="1.0" encoding="UTF-8" standalone="yes"?>
<Relationships xmlns="http://schemas.openxmlformats.org/package/2006/relationships"><Relationship Id="rId1" Type="http://schemas.openxmlformats.org/officeDocument/2006/relationships/package" Target="../embeddings/Microsoft_Excel_Worksheet84.xlsx"/></Relationships>
</file>

<file path=ppt/charts/_rels/chart86.xml.rels><?xml version="1.0" encoding="UTF-8" standalone="yes"?>
<Relationships xmlns="http://schemas.openxmlformats.org/package/2006/relationships"><Relationship Id="rId1" Type="http://schemas.openxmlformats.org/officeDocument/2006/relationships/package" Target="../embeddings/Microsoft_Excel_Worksheet85.xlsx"/></Relationships>
</file>

<file path=ppt/charts/_rels/chart87.xml.rels><?xml version="1.0" encoding="UTF-8" standalone="yes"?>
<Relationships xmlns="http://schemas.openxmlformats.org/package/2006/relationships"><Relationship Id="rId1" Type="http://schemas.openxmlformats.org/officeDocument/2006/relationships/package" Target="../embeddings/Microsoft_Excel_Worksheet86.xlsx"/></Relationships>
</file>

<file path=ppt/charts/_rels/chart88.xml.rels><?xml version="1.0" encoding="UTF-8" standalone="yes"?>
<Relationships xmlns="http://schemas.openxmlformats.org/package/2006/relationships"><Relationship Id="rId1" Type="http://schemas.openxmlformats.org/officeDocument/2006/relationships/package" Target="../embeddings/Microsoft_Excel_Worksheet87.xlsx"/></Relationships>
</file>

<file path=ppt/charts/_rels/chart89.xml.rels><?xml version="1.0" encoding="UTF-8" standalone="yes"?>
<Relationships xmlns="http://schemas.openxmlformats.org/package/2006/relationships"><Relationship Id="rId1" Type="http://schemas.openxmlformats.org/officeDocument/2006/relationships/package" Target="../embeddings/Microsoft_Excel_Worksheet88.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_rels/chart90.xml.rels><?xml version="1.0" encoding="UTF-8" standalone="yes"?>
<Relationships xmlns="http://schemas.openxmlformats.org/package/2006/relationships"><Relationship Id="rId1" Type="http://schemas.openxmlformats.org/officeDocument/2006/relationships/package" Target="../embeddings/Microsoft_Excel_Worksheet89.xlsx"/></Relationships>
</file>

<file path=ppt/charts/_rels/chart91.xml.rels><?xml version="1.0" encoding="UTF-8" standalone="yes"?>
<Relationships xmlns="http://schemas.openxmlformats.org/package/2006/relationships"><Relationship Id="rId1" Type="http://schemas.openxmlformats.org/officeDocument/2006/relationships/package" Target="../embeddings/Microsoft_Excel_Worksheet90.xlsx"/></Relationships>
</file>

<file path=ppt/charts/_rels/chart92.xml.rels><?xml version="1.0" encoding="UTF-8" standalone="yes"?>
<Relationships xmlns="http://schemas.openxmlformats.org/package/2006/relationships"><Relationship Id="rId1" Type="http://schemas.openxmlformats.org/officeDocument/2006/relationships/package" Target="../embeddings/Microsoft_Excel_Worksheet91.xlsx"/></Relationships>
</file>

<file path=ppt/charts/_rels/chart93.xml.rels><?xml version="1.0" encoding="UTF-8" standalone="yes"?>
<Relationships xmlns="http://schemas.openxmlformats.org/package/2006/relationships"><Relationship Id="rId1" Type="http://schemas.openxmlformats.org/officeDocument/2006/relationships/package" Target="../embeddings/Microsoft_Excel_Worksheet92.xlsx"/></Relationships>
</file>

<file path=ppt/charts/_rels/chart94.xml.rels><?xml version="1.0" encoding="UTF-8" standalone="yes"?>
<Relationships xmlns="http://schemas.openxmlformats.org/package/2006/relationships"><Relationship Id="rId1" Type="http://schemas.openxmlformats.org/officeDocument/2006/relationships/package" Target="../embeddings/Microsoft_Excel_Worksheet93.xlsx"/></Relationships>
</file>

<file path=ppt/charts/_rels/chart95.xml.rels><?xml version="1.0" encoding="UTF-8" standalone="yes"?>
<Relationships xmlns="http://schemas.openxmlformats.org/package/2006/relationships"><Relationship Id="rId1" Type="http://schemas.openxmlformats.org/officeDocument/2006/relationships/package" Target="../embeddings/Microsoft_Excel_Worksheet94.xlsx"/></Relationships>
</file>

<file path=ppt/charts/_rels/chart96.xml.rels><?xml version="1.0" encoding="UTF-8" standalone="yes"?>
<Relationships xmlns="http://schemas.openxmlformats.org/package/2006/relationships"><Relationship Id="rId1" Type="http://schemas.openxmlformats.org/officeDocument/2006/relationships/package" Target="../embeddings/Microsoft_Excel_Worksheet95.xlsx"/></Relationships>
</file>

<file path=ppt/charts/_rels/chart97.xml.rels><?xml version="1.0" encoding="UTF-8" standalone="yes"?>
<Relationships xmlns="http://schemas.openxmlformats.org/package/2006/relationships"><Relationship Id="rId1" Type="http://schemas.openxmlformats.org/officeDocument/2006/relationships/package" Target="../embeddings/Microsoft_Excel_Worksheet96.xlsx"/></Relationships>
</file>

<file path=ppt/charts/_rels/chart98.xml.rels><?xml version="1.0" encoding="UTF-8" standalone="yes"?>
<Relationships xmlns="http://schemas.openxmlformats.org/package/2006/relationships"><Relationship Id="rId1" Type="http://schemas.openxmlformats.org/officeDocument/2006/relationships/package" Target="../embeddings/Microsoft_Excel_Worksheet97.xlsx"/></Relationships>
</file>

<file path=ppt/charts/_rels/chart99.xml.rels><?xml version="1.0" encoding="UTF-8" standalone="yes"?>
<Relationships xmlns="http://schemas.openxmlformats.org/package/2006/relationships"><Relationship Id="rId1" Type="http://schemas.openxmlformats.org/officeDocument/2006/relationships/package" Target="../embeddings/Microsoft_Excel_Worksheet9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Nicolas</c:v>
                </c:pt>
                <c:pt idx="2">
                  <c:v>Deutz</c:v>
                </c:pt>
                <c:pt idx="3">
                  <c:v>Laurent Perrier</c:v>
                </c:pt>
                <c:pt idx="4">
                  <c:v>Malard</c:v>
                </c:pt>
                <c:pt idx="5">
                  <c:v>Nicolas Feuillatte</c:v>
                </c:pt>
                <c:pt idx="6">
                  <c:v>Heidsieck &amp; Co Monopole</c:v>
                </c:pt>
                <c:pt idx="7">
                  <c:v>Roederer</c:v>
                </c:pt>
                <c:pt idx="8">
                  <c:v>Ayala</c:v>
                </c:pt>
                <c:pt idx="9">
                  <c:v>Others</c:v>
                </c:pt>
              </c:strCache>
            </c:strRef>
          </c:cat>
          <c:val>
            <c:numRef>
              <c:f>Sheet1!$B$2:$B$11</c:f>
              <c:numCache>
                <c:formatCode>General</c:formatCode>
                <c:ptCount val="10"/>
                <c:pt idx="0">
                  <c:v>0.23103044877265672</c:v>
                </c:pt>
                <c:pt idx="1">
                  <c:v>8.3991427896832394E-2</c:v>
                </c:pt>
                <c:pt idx="2">
                  <c:v>7.3433797944363416E-2</c:v>
                </c:pt>
                <c:pt idx="3">
                  <c:v>4.8435647994621335E-2</c:v>
                </c:pt>
                <c:pt idx="4">
                  <c:v>4.7799910811899798E-2</c:v>
                </c:pt>
                <c:pt idx="5">
                  <c:v>3.3420305936705655E-2</c:v>
                </c:pt>
                <c:pt idx="6">
                  <c:v>3.0802972451864724E-2</c:v>
                </c:pt>
                <c:pt idx="7">
                  <c:v>3.0182088666479506E-2</c:v>
                </c:pt>
                <c:pt idx="8">
                  <c:v>2.8331434851284296E-2</c:v>
                </c:pt>
                <c:pt idx="9">
                  <c:v>0.39257196467329214</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Nicolas</c:v>
                </c:pt>
                <c:pt idx="2">
                  <c:v>Deutz</c:v>
                </c:pt>
                <c:pt idx="3">
                  <c:v>Laurent Perrier</c:v>
                </c:pt>
                <c:pt idx="4">
                  <c:v>Malard</c:v>
                </c:pt>
                <c:pt idx="5">
                  <c:v>Nicolas Feuillatte</c:v>
                </c:pt>
                <c:pt idx="6">
                  <c:v>Heidsieck &amp; Co Monopole</c:v>
                </c:pt>
                <c:pt idx="7">
                  <c:v>Roederer</c:v>
                </c:pt>
                <c:pt idx="8">
                  <c:v>Ayala</c:v>
                </c:pt>
                <c:pt idx="9">
                  <c:v>Others</c:v>
                </c:pt>
              </c:strCache>
            </c:strRef>
          </c:cat>
          <c:val>
            <c:numRef>
              <c:f>Sheet1!$C$2:$C$11</c:f>
              <c:numCache>
                <c:formatCode>General</c:formatCode>
                <c:ptCount val="10"/>
                <c:pt idx="0">
                  <c:v>9.1714640478609111E-2</c:v>
                </c:pt>
                <c:pt idx="1">
                  <c:v>7.2807314595326633E-2</c:v>
                </c:pt>
                <c:pt idx="2">
                  <c:v>4.7127215261316073E-2</c:v>
                </c:pt>
                <c:pt idx="3">
                  <c:v>3.9361101704481233E-2</c:v>
                </c:pt>
                <c:pt idx="4">
                  <c:v>4.2589457049328268E-2</c:v>
                </c:pt>
                <c:pt idx="5">
                  <c:v>3.2599616209504391E-2</c:v>
                </c:pt>
                <c:pt idx="6">
                  <c:v>1.0802573653911253E-2</c:v>
                </c:pt>
                <c:pt idx="7">
                  <c:v>4.6246754712721425E-2</c:v>
                </c:pt>
                <c:pt idx="8">
                  <c:v>1.6694886556044661E-2</c:v>
                </c:pt>
                <c:pt idx="9">
                  <c:v>0.60005643977875478</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Nicolas</c:v>
                </c:pt>
                <c:pt idx="2">
                  <c:v>Deutz</c:v>
                </c:pt>
                <c:pt idx="3">
                  <c:v>Laurent Perrier</c:v>
                </c:pt>
                <c:pt idx="4">
                  <c:v>Malard</c:v>
                </c:pt>
                <c:pt idx="5">
                  <c:v>Nicolas Feuillatte</c:v>
                </c:pt>
                <c:pt idx="6">
                  <c:v>Heidsieck &amp; Co Monopole</c:v>
                </c:pt>
                <c:pt idx="7">
                  <c:v>Roederer</c:v>
                </c:pt>
                <c:pt idx="8">
                  <c:v>Ayala</c:v>
                </c:pt>
                <c:pt idx="9">
                  <c:v>Others</c:v>
                </c:pt>
              </c:strCache>
            </c:strRef>
          </c:cat>
          <c:val>
            <c:numRef>
              <c:f>Sheet1!$D$2:$D$11</c:f>
              <c:numCache>
                <c:formatCode>General</c:formatCode>
                <c:ptCount val="10"/>
                <c:pt idx="0">
                  <c:v>39.69807484937192</c:v>
                </c:pt>
                <c:pt idx="1">
                  <c:v>86.684220543025731</c:v>
                </c:pt>
                <c:pt idx="2">
                  <c:v>64.176464489854752</c:v>
                </c:pt>
                <c:pt idx="3">
                  <c:v>81.264736478496559</c:v>
                </c:pt>
                <c:pt idx="4">
                  <c:v>89.099448777058413</c:v>
                </c:pt>
                <c:pt idx="5">
                  <c:v>97.544338077707721</c:v>
                </c:pt>
                <c:pt idx="6">
                  <c:v>35.069906551363665</c:v>
                </c:pt>
                <c:pt idx="7">
                  <c:v>153.22582616385816</c:v>
                </c:pt>
                <c:pt idx="8">
                  <c:v>58.927077444818735</c:v>
                </c:pt>
                <c:pt idx="9">
                  <c:v>152.85259615472955</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Nicolas</c:v>
                </c:pt>
                <c:pt idx="2">
                  <c:v>Deutz</c:v>
                </c:pt>
                <c:pt idx="3">
                  <c:v>Malard</c:v>
                </c:pt>
                <c:pt idx="4">
                  <c:v>Heidsieck &amp; Co Monopole</c:v>
                </c:pt>
                <c:pt idx="5">
                  <c:v>Ayala</c:v>
                </c:pt>
                <c:pt idx="6">
                  <c:v>De Bligny</c:v>
                </c:pt>
                <c:pt idx="7">
                  <c:v>Laurent Perrier</c:v>
                </c:pt>
                <c:pt idx="8">
                  <c:v>Roederer</c:v>
                </c:pt>
                <c:pt idx="9">
                  <c:v>Others</c:v>
                </c:pt>
              </c:strCache>
            </c:strRef>
          </c:cat>
          <c:val>
            <c:numRef>
              <c:f>Sheet1!$B$2:$B$11</c:f>
              <c:numCache>
                <c:formatCode>General</c:formatCode>
                <c:ptCount val="10"/>
                <c:pt idx="0">
                  <c:v>0.19806947348684431</c:v>
                </c:pt>
                <c:pt idx="1">
                  <c:v>0.10860389765021013</c:v>
                </c:pt>
                <c:pt idx="2">
                  <c:v>8.5162148084237693E-2</c:v>
                </c:pt>
                <c:pt idx="3">
                  <c:v>4.8010491861137247E-2</c:v>
                </c:pt>
                <c:pt idx="4">
                  <c:v>4.5642202869720545E-2</c:v>
                </c:pt>
                <c:pt idx="5">
                  <c:v>3.6766633796045396E-2</c:v>
                </c:pt>
                <c:pt idx="6">
                  <c:v>3.5739907323898611E-2</c:v>
                </c:pt>
                <c:pt idx="7">
                  <c:v>3.5045062162572714E-2</c:v>
                </c:pt>
                <c:pt idx="8">
                  <c:v>2.9353949412665333E-2</c:v>
                </c:pt>
                <c:pt idx="9">
                  <c:v>0.37760623335266802</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Nicolas</c:v>
                </c:pt>
                <c:pt idx="2">
                  <c:v>Deutz</c:v>
                </c:pt>
                <c:pt idx="3">
                  <c:v>Malard</c:v>
                </c:pt>
                <c:pt idx="4">
                  <c:v>Heidsieck &amp; Co Monopole</c:v>
                </c:pt>
                <c:pt idx="5">
                  <c:v>Ayala</c:v>
                </c:pt>
                <c:pt idx="6">
                  <c:v>De Bligny</c:v>
                </c:pt>
                <c:pt idx="7">
                  <c:v>Laurent Perrier</c:v>
                </c:pt>
                <c:pt idx="8">
                  <c:v>Roederer</c:v>
                </c:pt>
                <c:pt idx="9">
                  <c:v>Others</c:v>
                </c:pt>
              </c:strCache>
            </c:strRef>
          </c:cat>
          <c:val>
            <c:numRef>
              <c:f>Sheet1!$C$2:$C$11</c:f>
              <c:numCache>
                <c:formatCode>General</c:formatCode>
                <c:ptCount val="10"/>
                <c:pt idx="0">
                  <c:v>8.7373787863640806E-2</c:v>
                </c:pt>
                <c:pt idx="1">
                  <c:v>7.2378286514045695E-2</c:v>
                </c:pt>
                <c:pt idx="2">
                  <c:v>4.3986803958812312E-2</c:v>
                </c:pt>
                <c:pt idx="3">
                  <c:v>4.0187943616914877E-2</c:v>
                </c:pt>
                <c:pt idx="4">
                  <c:v>9.7970608817354674E-3</c:v>
                </c:pt>
                <c:pt idx="5">
                  <c:v>2.0993701889433145E-2</c:v>
                </c:pt>
                <c:pt idx="6">
                  <c:v>1.7394781565530322E-2</c:v>
                </c:pt>
                <c:pt idx="7">
                  <c:v>3.7488753373987757E-2</c:v>
                </c:pt>
                <c:pt idx="8">
                  <c:v>4.8185544336698929E-2</c:v>
                </c:pt>
                <c:pt idx="9">
                  <c:v>0.62221333599919948</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Nicolas</c:v>
                </c:pt>
                <c:pt idx="2">
                  <c:v>Deutz</c:v>
                </c:pt>
                <c:pt idx="3">
                  <c:v>Malard</c:v>
                </c:pt>
                <c:pt idx="4">
                  <c:v>Heidsieck &amp; Co Monopole</c:v>
                </c:pt>
                <c:pt idx="5">
                  <c:v>Ayala</c:v>
                </c:pt>
                <c:pt idx="6">
                  <c:v>De Bligny</c:v>
                </c:pt>
                <c:pt idx="7">
                  <c:v>Laurent Perrier</c:v>
                </c:pt>
                <c:pt idx="8">
                  <c:v>Roederer</c:v>
                </c:pt>
                <c:pt idx="9">
                  <c:v>Others</c:v>
                </c:pt>
              </c:strCache>
            </c:strRef>
          </c:cat>
          <c:val>
            <c:numRef>
              <c:f>Sheet1!$D$2:$D$11</c:f>
              <c:numCache>
                <c:formatCode>General</c:formatCode>
                <c:ptCount val="10"/>
                <c:pt idx="0">
                  <c:v>44.112697593172598</c:v>
                </c:pt>
                <c:pt idx="1">
                  <c:v>66.644280803954786</c:v>
                </c:pt>
                <c:pt idx="2">
                  <c:v>51.650651079518326</c:v>
                </c:pt>
                <c:pt idx="3">
                  <c:v>83.706585912829524</c:v>
                </c:pt>
                <c:pt idx="4">
                  <c:v>21.464916822047009</c:v>
                </c:pt>
                <c:pt idx="5">
                  <c:v>57.099874864506141</c:v>
                </c:pt>
                <c:pt idx="6">
                  <c:v>48.670471940196542</c:v>
                </c:pt>
                <c:pt idx="7">
                  <c:v>106.9729972230577</c:v>
                </c:pt>
                <c:pt idx="8">
                  <c:v>164.15353061795611</c:v>
                </c:pt>
                <c:pt idx="9">
                  <c:v>164.77835402099385</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Malard</c:v>
                </c:pt>
                <c:pt idx="1">
                  <c:v>Vesselle</c:v>
                </c:pt>
                <c:pt idx="2">
                  <c:v>Louis Martin</c:v>
                </c:pt>
                <c:pt idx="3">
                  <c:v>Nicolas</c:v>
                </c:pt>
                <c:pt idx="4">
                  <c:v>Others</c:v>
                </c:pt>
              </c:strCache>
            </c:strRef>
          </c:cat>
          <c:val>
            <c:numRef>
              <c:f>Sheet1!$B$2:$B$6</c:f>
              <c:numCache>
                <c:formatCode>General</c:formatCode>
                <c:ptCount val="5"/>
                <c:pt idx="0">
                  <c:v>0.63730808466865385</c:v>
                </c:pt>
                <c:pt idx="1">
                  <c:v>0.22033854958469848</c:v>
                </c:pt>
                <c:pt idx="2">
                  <c:v>0.11927379778524806</c:v>
                </c:pt>
                <c:pt idx="3">
                  <c:v>2.0723872093386719E-2</c:v>
                </c:pt>
                <c:pt idx="4">
                  <c:v>2.3556958680128327E-3</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Malard</c:v>
                </c:pt>
                <c:pt idx="1">
                  <c:v>Vesselle</c:v>
                </c:pt>
                <c:pt idx="2">
                  <c:v>Louis Martin</c:v>
                </c:pt>
                <c:pt idx="3">
                  <c:v>Nicolas</c:v>
                </c:pt>
                <c:pt idx="4">
                  <c:v>Others</c:v>
                </c:pt>
              </c:strCache>
            </c:strRef>
          </c:cat>
          <c:val>
            <c:numRef>
              <c:f>Sheet1!$C$2:$C$6</c:f>
              <c:numCache>
                <c:formatCode>General</c:formatCode>
                <c:ptCount val="5"/>
                <c:pt idx="0">
                  <c:v>0.28152492668621693</c:v>
                </c:pt>
                <c:pt idx="1">
                  <c:v>0.23460410557184749</c:v>
                </c:pt>
                <c:pt idx="2">
                  <c:v>0.25219941348973601</c:v>
                </c:pt>
                <c:pt idx="3">
                  <c:v>0.18475073313782989</c:v>
                </c:pt>
                <c:pt idx="4">
                  <c:v>4.6920821114369494E-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Malard</c:v>
                </c:pt>
                <c:pt idx="1">
                  <c:v>Vesselle</c:v>
                </c:pt>
                <c:pt idx="2">
                  <c:v>Louis Martin</c:v>
                </c:pt>
                <c:pt idx="3">
                  <c:v>Nicolas</c:v>
                </c:pt>
                <c:pt idx="4">
                  <c:v>Others</c:v>
                </c:pt>
              </c:strCache>
            </c:strRef>
          </c:cat>
          <c:val>
            <c:numRef>
              <c:f>Sheet1!$D$2:$D$6</c:f>
              <c:numCache>
                <c:formatCode>General</c:formatCode>
                <c:ptCount val="5"/>
                <c:pt idx="0">
                  <c:v>44.174071137444614</c:v>
                </c:pt>
                <c:pt idx="1">
                  <c:v>106.47438045409541</c:v>
                </c:pt>
                <c:pt idx="2">
                  <c:v>211.44578119648702</c:v>
                </c:pt>
                <c:pt idx="3">
                  <c:v>891.48751886374771</c:v>
                </c:pt>
                <c:pt idx="4">
                  <c:v>1991.8030061304116</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Malard</c:v>
                </c:pt>
                <c:pt idx="1">
                  <c:v>Vesselle</c:v>
                </c:pt>
                <c:pt idx="2">
                  <c:v>Louis Martin</c:v>
                </c:pt>
                <c:pt idx="3">
                  <c:v>Nicolas</c:v>
                </c:pt>
              </c:strCache>
            </c:strRef>
          </c:cat>
          <c:val>
            <c:numRef>
              <c:f>Sheet1!$B$2:$B$5</c:f>
              <c:numCache>
                <c:formatCode>General</c:formatCode>
                <c:ptCount val="4"/>
                <c:pt idx="0">
                  <c:v>0.75559798744419016</c:v>
                </c:pt>
                <c:pt idx="1">
                  <c:v>0.12643065974661741</c:v>
                </c:pt>
                <c:pt idx="2">
                  <c:v>9.0548013507694397E-2</c:v>
                </c:pt>
                <c:pt idx="3">
                  <c:v>2.7423339301498085E-2</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Malard</c:v>
                </c:pt>
                <c:pt idx="1">
                  <c:v>Vesselle</c:v>
                </c:pt>
                <c:pt idx="2">
                  <c:v>Louis Martin</c:v>
                </c:pt>
                <c:pt idx="3">
                  <c:v>Nicolas</c:v>
                </c:pt>
              </c:strCache>
            </c:strRef>
          </c:cat>
          <c:val>
            <c:numRef>
              <c:f>Sheet1!$C$2:$C$5</c:f>
              <c:numCache>
                <c:formatCode>General</c:formatCode>
                <c:ptCount val="4"/>
                <c:pt idx="0">
                  <c:v>0.29819277108433734</c:v>
                </c:pt>
                <c:pt idx="1">
                  <c:v>0.22289156626506024</c:v>
                </c:pt>
                <c:pt idx="2">
                  <c:v>0.2740963855421687</c:v>
                </c:pt>
                <c:pt idx="3">
                  <c:v>0.20481927710843376</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Malard</c:v>
                </c:pt>
                <c:pt idx="1">
                  <c:v>Vesselle</c:v>
                </c:pt>
                <c:pt idx="2">
                  <c:v>Louis Martin</c:v>
                </c:pt>
                <c:pt idx="3">
                  <c:v>Nicolas</c:v>
                </c:pt>
              </c:strCache>
            </c:strRef>
          </c:cat>
          <c:val>
            <c:numRef>
              <c:f>Sheet1!$D$2:$D$5</c:f>
              <c:numCache>
                <c:formatCode>General</c:formatCode>
                <c:ptCount val="4"/>
                <c:pt idx="0">
                  <c:v>39.464473971532698</c:v>
                </c:pt>
                <c:pt idx="1">
                  <c:v>176.29550198643457</c:v>
                </c:pt>
                <c:pt idx="2">
                  <c:v>302.70833663167787</c:v>
                </c:pt>
                <c:pt idx="3">
                  <c:v>746.8794185004482</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Malard</c:v>
                </c:pt>
                <c:pt idx="1">
                  <c:v>Vesselle</c:v>
                </c:pt>
                <c:pt idx="2">
                  <c:v>Louis Martin</c:v>
                </c:pt>
                <c:pt idx="3">
                  <c:v>Nicolas</c:v>
                </c:pt>
              </c:strCache>
            </c:strRef>
          </c:cat>
          <c:val>
            <c:numRef>
              <c:f>Sheet1!$B$2:$B$5</c:f>
              <c:numCache>
                <c:formatCode>General</c:formatCode>
                <c:ptCount val="4"/>
                <c:pt idx="0">
                  <c:v>0.71686135830024056</c:v>
                </c:pt>
                <c:pt idx="1">
                  <c:v>0.20443104631052109</c:v>
                </c:pt>
                <c:pt idx="2">
                  <c:v>5.3760012367508235E-2</c:v>
                </c:pt>
                <c:pt idx="3">
                  <c:v>2.4947583021730099E-2</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Malard</c:v>
                </c:pt>
                <c:pt idx="1">
                  <c:v>Vesselle</c:v>
                </c:pt>
                <c:pt idx="2">
                  <c:v>Louis Martin</c:v>
                </c:pt>
                <c:pt idx="3">
                  <c:v>Nicolas</c:v>
                </c:pt>
              </c:strCache>
            </c:strRef>
          </c:cat>
          <c:val>
            <c:numRef>
              <c:f>Sheet1!$C$2:$C$5</c:f>
              <c:numCache>
                <c:formatCode>General</c:formatCode>
                <c:ptCount val="4"/>
                <c:pt idx="0">
                  <c:v>0.37142857142857144</c:v>
                </c:pt>
                <c:pt idx="1">
                  <c:v>0.29795918367346935</c:v>
                </c:pt>
                <c:pt idx="2">
                  <c:v>0.16734693877551021</c:v>
                </c:pt>
                <c:pt idx="3">
                  <c:v>0.16326530612244897</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Malard</c:v>
                </c:pt>
                <c:pt idx="1">
                  <c:v>Vesselle</c:v>
                </c:pt>
                <c:pt idx="2">
                  <c:v>Louis Martin</c:v>
                </c:pt>
                <c:pt idx="3">
                  <c:v>Nicolas</c:v>
                </c:pt>
              </c:strCache>
            </c:strRef>
          </c:cat>
          <c:val>
            <c:numRef>
              <c:f>Sheet1!$D$2:$D$5</c:f>
              <c:numCache>
                <c:formatCode>General</c:formatCode>
                <c:ptCount val="4"/>
                <c:pt idx="0">
                  <c:v>51.813166817816857</c:v>
                </c:pt>
                <c:pt idx="1">
                  <c:v>145.75045671922231</c:v>
                </c:pt>
                <c:pt idx="2">
                  <c:v>311.28515676579764</c:v>
                </c:pt>
                <c:pt idx="3">
                  <c:v>654.433361260848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Malard</c:v>
                </c:pt>
                <c:pt idx="1">
                  <c:v>Vesselle</c:v>
                </c:pt>
                <c:pt idx="2">
                  <c:v>Louis Martin</c:v>
                </c:pt>
                <c:pt idx="3">
                  <c:v>Nicolas</c:v>
                </c:pt>
              </c:strCache>
            </c:strRef>
          </c:cat>
          <c:val>
            <c:numRef>
              <c:f>Sheet1!$B$2:$B$5</c:f>
              <c:numCache>
                <c:formatCode>General</c:formatCode>
                <c:ptCount val="4"/>
                <c:pt idx="0">
                  <c:v>0.69879119223665564</c:v>
                </c:pt>
                <c:pt idx="1">
                  <c:v>0.18258678344362636</c:v>
                </c:pt>
                <c:pt idx="2">
                  <c:v>9.7068722636303145E-2</c:v>
                </c:pt>
                <c:pt idx="3">
                  <c:v>2.1553301683414867E-2</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Malard</c:v>
                </c:pt>
                <c:pt idx="1">
                  <c:v>Vesselle</c:v>
                </c:pt>
                <c:pt idx="2">
                  <c:v>Louis Martin</c:v>
                </c:pt>
                <c:pt idx="3">
                  <c:v>Nicolas</c:v>
                </c:pt>
              </c:strCache>
            </c:strRef>
          </c:cat>
          <c:val>
            <c:numRef>
              <c:f>Sheet1!$C$2:$C$5</c:f>
              <c:numCache>
                <c:formatCode>General</c:formatCode>
                <c:ptCount val="4"/>
                <c:pt idx="0">
                  <c:v>0.32758620689655171</c:v>
                </c:pt>
                <c:pt idx="1">
                  <c:v>0.24827586206896551</c:v>
                </c:pt>
                <c:pt idx="2">
                  <c:v>0.2379310344827586</c:v>
                </c:pt>
                <c:pt idx="3">
                  <c:v>0.18620689655172415</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Malard</c:v>
                </c:pt>
                <c:pt idx="1">
                  <c:v>Vesselle</c:v>
                </c:pt>
                <c:pt idx="2">
                  <c:v>Louis Martin</c:v>
                </c:pt>
                <c:pt idx="3">
                  <c:v>Nicolas</c:v>
                </c:pt>
              </c:strCache>
            </c:strRef>
          </c:cat>
          <c:val>
            <c:numRef>
              <c:f>Sheet1!$D$2:$D$5</c:f>
              <c:numCache>
                <c:formatCode>General</c:formatCode>
                <c:ptCount val="4"/>
                <c:pt idx="0">
                  <c:v>46.878983383867542</c:v>
                </c:pt>
                <c:pt idx="1">
                  <c:v>135.97690774021476</c:v>
                </c:pt>
                <c:pt idx="2">
                  <c:v>245.11606624745443</c:v>
                </c:pt>
                <c:pt idx="3">
                  <c:v>863.936761461512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Malard</c:v>
                </c:pt>
                <c:pt idx="1">
                  <c:v>Vesselle</c:v>
                </c:pt>
                <c:pt idx="2">
                  <c:v>Louis Martin</c:v>
                </c:pt>
                <c:pt idx="3">
                  <c:v>Nicolas</c:v>
                </c:pt>
                <c:pt idx="4">
                  <c:v>Others</c:v>
                </c:pt>
              </c:strCache>
            </c:strRef>
          </c:cat>
          <c:val>
            <c:numRef>
              <c:f>Sheet1!$B$2:$B$6</c:f>
              <c:numCache>
                <c:formatCode>General</c:formatCode>
                <c:ptCount val="5"/>
                <c:pt idx="0">
                  <c:v>0.71061425194925154</c:v>
                </c:pt>
                <c:pt idx="1">
                  <c:v>0.15933059849493331</c:v>
                </c:pt>
                <c:pt idx="2">
                  <c:v>7.9328425113423348E-2</c:v>
                </c:pt>
                <c:pt idx="3">
                  <c:v>3.7409329240131489E-2</c:v>
                </c:pt>
                <c:pt idx="4">
                  <c:v>1.3317395202260317E-2</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Malard</c:v>
                </c:pt>
                <c:pt idx="1">
                  <c:v>Vesselle</c:v>
                </c:pt>
                <c:pt idx="2">
                  <c:v>Louis Martin</c:v>
                </c:pt>
                <c:pt idx="3">
                  <c:v>Nicolas</c:v>
                </c:pt>
                <c:pt idx="4">
                  <c:v>Others</c:v>
                </c:pt>
              </c:strCache>
            </c:strRef>
          </c:cat>
          <c:val>
            <c:numRef>
              <c:f>Sheet1!$C$2:$C$6</c:f>
              <c:numCache>
                <c:formatCode>General</c:formatCode>
                <c:ptCount val="5"/>
                <c:pt idx="0">
                  <c:v>0.36162361623616235</c:v>
                </c:pt>
                <c:pt idx="1">
                  <c:v>0.21771217712177121</c:v>
                </c:pt>
                <c:pt idx="2">
                  <c:v>0.18450184501845018</c:v>
                </c:pt>
                <c:pt idx="3">
                  <c:v>0.16605166051660517</c:v>
                </c:pt>
                <c:pt idx="4">
                  <c:v>7.0110701107011078E-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Malard</c:v>
                </c:pt>
                <c:pt idx="1">
                  <c:v>Vesselle</c:v>
                </c:pt>
                <c:pt idx="2">
                  <c:v>Louis Martin</c:v>
                </c:pt>
                <c:pt idx="3">
                  <c:v>Nicolas</c:v>
                </c:pt>
                <c:pt idx="4">
                  <c:v>Others</c:v>
                </c:pt>
              </c:strCache>
            </c:strRef>
          </c:cat>
          <c:val>
            <c:numRef>
              <c:f>Sheet1!$D$2:$D$6</c:f>
              <c:numCache>
                <c:formatCode>General</c:formatCode>
                <c:ptCount val="5"/>
                <c:pt idx="0">
                  <c:v>50.888877509029705</c:v>
                </c:pt>
                <c:pt idx="1">
                  <c:v>136.64178706307592</c:v>
                </c:pt>
                <c:pt idx="2">
                  <c:v>232.57974018096346</c:v>
                </c:pt>
                <c:pt idx="3">
                  <c:v>443.87767407085835</c:v>
                </c:pt>
                <c:pt idx="4">
                  <c:v>526.45956692125071</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Malard</c:v>
                </c:pt>
                <c:pt idx="1">
                  <c:v>Vesselle</c:v>
                </c:pt>
                <c:pt idx="2">
                  <c:v>Louis Martin</c:v>
                </c:pt>
                <c:pt idx="3">
                  <c:v>Nicolas</c:v>
                </c:pt>
              </c:strCache>
            </c:strRef>
          </c:cat>
          <c:val>
            <c:numRef>
              <c:f>Sheet1!$B$2:$B$5</c:f>
              <c:numCache>
                <c:formatCode>General</c:formatCode>
                <c:ptCount val="4"/>
                <c:pt idx="0">
                  <c:v>0.73838540357930593</c:v>
                </c:pt>
                <c:pt idx="1">
                  <c:v>0.16516598263394477</c:v>
                </c:pt>
                <c:pt idx="2">
                  <c:v>6.5457743529608842E-2</c:v>
                </c:pt>
                <c:pt idx="3">
                  <c:v>3.0990870257140465E-2</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Malard</c:v>
                </c:pt>
                <c:pt idx="1">
                  <c:v>Vesselle</c:v>
                </c:pt>
                <c:pt idx="2">
                  <c:v>Louis Martin</c:v>
                </c:pt>
                <c:pt idx="3">
                  <c:v>Nicolas</c:v>
                </c:pt>
              </c:strCache>
            </c:strRef>
          </c:cat>
          <c:val>
            <c:numRef>
              <c:f>Sheet1!$C$2:$C$5</c:f>
              <c:numCache>
                <c:formatCode>General</c:formatCode>
                <c:ptCount val="4"/>
                <c:pt idx="0">
                  <c:v>0.37453183520599248</c:v>
                </c:pt>
                <c:pt idx="1">
                  <c:v>0.20973782771535579</c:v>
                </c:pt>
                <c:pt idx="2">
                  <c:v>0.18726591760299624</c:v>
                </c:pt>
                <c:pt idx="3">
                  <c:v>0.22846441947565541</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Malard</c:v>
                </c:pt>
                <c:pt idx="1">
                  <c:v>Vesselle</c:v>
                </c:pt>
                <c:pt idx="2">
                  <c:v>Louis Martin</c:v>
                </c:pt>
                <c:pt idx="3">
                  <c:v>Nicolas</c:v>
                </c:pt>
              </c:strCache>
            </c:strRef>
          </c:cat>
          <c:val>
            <c:numRef>
              <c:f>Sheet1!$D$2:$D$5</c:f>
              <c:numCache>
                <c:formatCode>General</c:formatCode>
                <c:ptCount val="4"/>
                <c:pt idx="0">
                  <c:v>50.723082199412147</c:v>
                </c:pt>
                <c:pt idx="1">
                  <c:v>126.98609263881838</c:v>
                </c:pt>
                <c:pt idx="2">
                  <c:v>286.08672940014998</c:v>
                </c:pt>
                <c:pt idx="3">
                  <c:v>737.19910922158101</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Malard</c:v>
                </c:pt>
                <c:pt idx="1">
                  <c:v>Louis Martin</c:v>
                </c:pt>
                <c:pt idx="2">
                  <c:v>Vesselle</c:v>
                </c:pt>
                <c:pt idx="3">
                  <c:v>Nicolas</c:v>
                </c:pt>
              </c:strCache>
            </c:strRef>
          </c:cat>
          <c:val>
            <c:numRef>
              <c:f>Sheet1!$B$2:$B$5</c:f>
              <c:numCache>
                <c:formatCode>General</c:formatCode>
                <c:ptCount val="4"/>
                <c:pt idx="0">
                  <c:v>0.62843969092784813</c:v>
                </c:pt>
                <c:pt idx="1">
                  <c:v>0.20271806640419396</c:v>
                </c:pt>
                <c:pt idx="2">
                  <c:v>0.13813504010779629</c:v>
                </c:pt>
                <c:pt idx="3">
                  <c:v>3.0707202560161694E-2</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Malard</c:v>
                </c:pt>
                <c:pt idx="1">
                  <c:v>Louis Martin</c:v>
                </c:pt>
                <c:pt idx="2">
                  <c:v>Vesselle</c:v>
                </c:pt>
                <c:pt idx="3">
                  <c:v>Nicolas</c:v>
                </c:pt>
              </c:strCache>
            </c:strRef>
          </c:cat>
          <c:val>
            <c:numRef>
              <c:f>Sheet1!$C$2:$C$5</c:f>
              <c:numCache>
                <c:formatCode>General</c:formatCode>
                <c:ptCount val="4"/>
                <c:pt idx="0">
                  <c:v>0.3048780487804878</c:v>
                </c:pt>
                <c:pt idx="1">
                  <c:v>0.29268292682926828</c:v>
                </c:pt>
                <c:pt idx="2">
                  <c:v>0.20731707317073172</c:v>
                </c:pt>
                <c:pt idx="3">
                  <c:v>0.195121951219512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Malard</c:v>
                </c:pt>
                <c:pt idx="1">
                  <c:v>Louis Martin</c:v>
                </c:pt>
                <c:pt idx="2">
                  <c:v>Vesselle</c:v>
                </c:pt>
                <c:pt idx="3">
                  <c:v>Nicolas</c:v>
                </c:pt>
              </c:strCache>
            </c:strRef>
          </c:cat>
          <c:val>
            <c:numRef>
              <c:f>Sheet1!$D$2:$D$5</c:f>
              <c:numCache>
                <c:formatCode>General</c:formatCode>
                <c:ptCount val="4"/>
                <c:pt idx="0">
                  <c:v>48.513493527176209</c:v>
                </c:pt>
                <c:pt idx="1">
                  <c:v>144.37930078007741</c:v>
                </c:pt>
                <c:pt idx="2">
                  <c:v>150.08289932007688</c:v>
                </c:pt>
                <c:pt idx="3">
                  <c:v>635.42731004958318</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Malard</c:v>
                </c:pt>
                <c:pt idx="1">
                  <c:v>Vesselle</c:v>
                </c:pt>
                <c:pt idx="2">
                  <c:v>Louis Martin</c:v>
                </c:pt>
                <c:pt idx="3">
                  <c:v>Nicolas</c:v>
                </c:pt>
              </c:strCache>
            </c:strRef>
          </c:cat>
          <c:val>
            <c:numRef>
              <c:f>Sheet1!$B$2:$B$5</c:f>
              <c:numCache>
                <c:formatCode>General</c:formatCode>
                <c:ptCount val="4"/>
                <c:pt idx="0">
                  <c:v>0.62670289373183108</c:v>
                </c:pt>
                <c:pt idx="1">
                  <c:v>0.22285345138796528</c:v>
                </c:pt>
                <c:pt idx="2">
                  <c:v>0.12583838422222646</c:v>
                </c:pt>
                <c:pt idx="3">
                  <c:v>2.4605270657977237E-2</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Malard</c:v>
                </c:pt>
                <c:pt idx="1">
                  <c:v>Vesselle</c:v>
                </c:pt>
                <c:pt idx="2">
                  <c:v>Louis Martin</c:v>
                </c:pt>
                <c:pt idx="3">
                  <c:v>Nicolas</c:v>
                </c:pt>
              </c:strCache>
            </c:strRef>
          </c:cat>
          <c:val>
            <c:numRef>
              <c:f>Sheet1!$C$2:$C$5</c:f>
              <c:numCache>
                <c:formatCode>General</c:formatCode>
                <c:ptCount val="4"/>
                <c:pt idx="0">
                  <c:v>0.31249999999999994</c:v>
                </c:pt>
                <c:pt idx="1">
                  <c:v>0.20955882352941174</c:v>
                </c:pt>
                <c:pt idx="2">
                  <c:v>0.2904411764705882</c:v>
                </c:pt>
                <c:pt idx="3">
                  <c:v>0.1875</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Malard</c:v>
                </c:pt>
                <c:pt idx="1">
                  <c:v>Vesselle</c:v>
                </c:pt>
                <c:pt idx="2">
                  <c:v>Louis Martin</c:v>
                </c:pt>
                <c:pt idx="3">
                  <c:v>Nicolas</c:v>
                </c:pt>
              </c:strCache>
            </c:strRef>
          </c:cat>
          <c:val>
            <c:numRef>
              <c:f>Sheet1!$D$2:$D$5</c:f>
              <c:numCache>
                <c:formatCode>General</c:formatCode>
                <c:ptCount val="4"/>
                <c:pt idx="0">
                  <c:v>49.864138673296132</c:v>
                </c:pt>
                <c:pt idx="1">
                  <c:v>94.034363041831952</c:v>
                </c:pt>
                <c:pt idx="2">
                  <c:v>230.80491557939794</c:v>
                </c:pt>
                <c:pt idx="3">
                  <c:v>762.03185328185327</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Malard</c:v>
                </c:pt>
                <c:pt idx="1">
                  <c:v>Vesselle</c:v>
                </c:pt>
                <c:pt idx="2">
                  <c:v>Louis Martin</c:v>
                </c:pt>
                <c:pt idx="3">
                  <c:v>Nicolas</c:v>
                </c:pt>
                <c:pt idx="4">
                  <c:v>Others</c:v>
                </c:pt>
              </c:strCache>
            </c:strRef>
          </c:cat>
          <c:val>
            <c:numRef>
              <c:f>Sheet1!$B$2:$B$6</c:f>
              <c:numCache>
                <c:formatCode>General</c:formatCode>
                <c:ptCount val="5"/>
                <c:pt idx="0">
                  <c:v>0.67278784732889119</c:v>
                </c:pt>
                <c:pt idx="1">
                  <c:v>0.1821801608067882</c:v>
                </c:pt>
                <c:pt idx="2">
                  <c:v>0.13052971959448723</c:v>
                </c:pt>
                <c:pt idx="3">
                  <c:v>1.3675992330427229E-2</c:v>
                </c:pt>
                <c:pt idx="4">
                  <c:v>8.2627993940613781E-4</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Malard</c:v>
                </c:pt>
                <c:pt idx="1">
                  <c:v>Vesselle</c:v>
                </c:pt>
                <c:pt idx="2">
                  <c:v>Louis Martin</c:v>
                </c:pt>
                <c:pt idx="3">
                  <c:v>Nicolas</c:v>
                </c:pt>
                <c:pt idx="4">
                  <c:v>Others</c:v>
                </c:pt>
              </c:strCache>
            </c:strRef>
          </c:cat>
          <c:val>
            <c:numRef>
              <c:f>Sheet1!$C$2:$C$6</c:f>
              <c:numCache>
                <c:formatCode>General</c:formatCode>
                <c:ptCount val="5"/>
                <c:pt idx="0">
                  <c:v>0.29761904761904762</c:v>
                </c:pt>
                <c:pt idx="1">
                  <c:v>0.25</c:v>
                </c:pt>
                <c:pt idx="2">
                  <c:v>0.25892857142857145</c:v>
                </c:pt>
                <c:pt idx="3">
                  <c:v>0.17559523809523808</c:v>
                </c:pt>
                <c:pt idx="4">
                  <c:v>1.7857142857142856E-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Malard</c:v>
                </c:pt>
                <c:pt idx="1">
                  <c:v>Vesselle</c:v>
                </c:pt>
                <c:pt idx="2">
                  <c:v>Louis Martin</c:v>
                </c:pt>
                <c:pt idx="3">
                  <c:v>Nicolas</c:v>
                </c:pt>
                <c:pt idx="4">
                  <c:v>Others</c:v>
                </c:pt>
              </c:strCache>
            </c:strRef>
          </c:cat>
          <c:val>
            <c:numRef>
              <c:f>Sheet1!$D$2:$D$6</c:f>
              <c:numCache>
                <c:formatCode>General</c:formatCode>
                <c:ptCount val="5"/>
                <c:pt idx="0">
                  <c:v>44.236686022296276</c:v>
                </c:pt>
                <c:pt idx="1">
                  <c:v>137.22679730486044</c:v>
                </c:pt>
                <c:pt idx="2">
                  <c:v>198.36752291583642</c:v>
                </c:pt>
                <c:pt idx="3">
                  <c:v>1283.9670705617646</c:v>
                </c:pt>
                <c:pt idx="4">
                  <c:v>2161.149267399267</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Malard</c:v>
                </c:pt>
                <c:pt idx="1">
                  <c:v>Vesselle</c:v>
                </c:pt>
                <c:pt idx="2">
                  <c:v>Louis Martin</c:v>
                </c:pt>
                <c:pt idx="3">
                  <c:v>Nicolas</c:v>
                </c:pt>
              </c:strCache>
            </c:strRef>
          </c:cat>
          <c:val>
            <c:numRef>
              <c:f>Sheet1!$B$2:$B$5</c:f>
              <c:numCache>
                <c:formatCode>General</c:formatCode>
                <c:ptCount val="4"/>
                <c:pt idx="0">
                  <c:v>0.69275758996186465</c:v>
                </c:pt>
                <c:pt idx="1">
                  <c:v>0.19042919294014005</c:v>
                </c:pt>
                <c:pt idx="2">
                  <c:v>9.2525810227987407E-2</c:v>
                </c:pt>
                <c:pt idx="3">
                  <c:v>2.4287406870007845E-2</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Malard</c:v>
                </c:pt>
                <c:pt idx="1">
                  <c:v>Vesselle</c:v>
                </c:pt>
                <c:pt idx="2">
                  <c:v>Louis Martin</c:v>
                </c:pt>
                <c:pt idx="3">
                  <c:v>Nicolas</c:v>
                </c:pt>
              </c:strCache>
            </c:strRef>
          </c:cat>
          <c:val>
            <c:numRef>
              <c:f>Sheet1!$C$2:$C$5</c:f>
              <c:numCache>
                <c:formatCode>General</c:formatCode>
                <c:ptCount val="4"/>
                <c:pt idx="0">
                  <c:v>0.3003003003003003</c:v>
                </c:pt>
                <c:pt idx="1">
                  <c:v>0.25825825825825827</c:v>
                </c:pt>
                <c:pt idx="2">
                  <c:v>0.22822822822822822</c:v>
                </c:pt>
                <c:pt idx="3">
                  <c:v>0.21321321321321321</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Malard</c:v>
                </c:pt>
                <c:pt idx="1">
                  <c:v>Vesselle</c:v>
                </c:pt>
                <c:pt idx="2">
                  <c:v>Louis Martin</c:v>
                </c:pt>
                <c:pt idx="3">
                  <c:v>Nicolas</c:v>
                </c:pt>
              </c:strCache>
            </c:strRef>
          </c:cat>
          <c:val>
            <c:numRef>
              <c:f>Sheet1!$D$2:$D$5</c:f>
              <c:numCache>
                <c:formatCode>General</c:formatCode>
                <c:ptCount val="4"/>
                <c:pt idx="0">
                  <c:v>43.348539900779926</c:v>
                </c:pt>
                <c:pt idx="1">
                  <c:v>135.61904783130586</c:v>
                </c:pt>
                <c:pt idx="2">
                  <c:v>246.66439306596124</c:v>
                </c:pt>
                <c:pt idx="3">
                  <c:v>877.8755770609130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Nicolas</c:v>
                </c:pt>
                <c:pt idx="2">
                  <c:v>Deutz</c:v>
                </c:pt>
                <c:pt idx="3">
                  <c:v>Malard</c:v>
                </c:pt>
                <c:pt idx="4">
                  <c:v>Mure</c:v>
                </c:pt>
                <c:pt idx="5">
                  <c:v>Laurent Perrier</c:v>
                </c:pt>
                <c:pt idx="6">
                  <c:v>Bollinger</c:v>
                </c:pt>
                <c:pt idx="7">
                  <c:v>Canard Duchêne</c:v>
                </c:pt>
                <c:pt idx="8">
                  <c:v>Ayala</c:v>
                </c:pt>
                <c:pt idx="9">
                  <c:v>Others</c:v>
                </c:pt>
              </c:strCache>
            </c:strRef>
          </c:cat>
          <c:val>
            <c:numRef>
              <c:f>Sheet1!$B$2:$B$11</c:f>
              <c:numCache>
                <c:formatCode>General</c:formatCode>
                <c:ptCount val="10"/>
                <c:pt idx="0">
                  <c:v>0.16394757810609881</c:v>
                </c:pt>
                <c:pt idx="1">
                  <c:v>8.3031915271259873E-2</c:v>
                </c:pt>
                <c:pt idx="2">
                  <c:v>5.5594907231685135E-2</c:v>
                </c:pt>
                <c:pt idx="3">
                  <c:v>3.9120906007262431E-2</c:v>
                </c:pt>
                <c:pt idx="4">
                  <c:v>3.7400597575075079E-2</c:v>
                </c:pt>
                <c:pt idx="5">
                  <c:v>3.620730426576417E-2</c:v>
                </c:pt>
                <c:pt idx="6">
                  <c:v>2.7459399355676227E-2</c:v>
                </c:pt>
                <c:pt idx="7">
                  <c:v>2.7130629299747088E-2</c:v>
                </c:pt>
                <c:pt idx="8">
                  <c:v>2.6993004625172099E-2</c:v>
                </c:pt>
                <c:pt idx="9">
                  <c:v>0.50311375826225913</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Nicolas</c:v>
                </c:pt>
                <c:pt idx="2">
                  <c:v>Deutz</c:v>
                </c:pt>
                <c:pt idx="3">
                  <c:v>Malard</c:v>
                </c:pt>
                <c:pt idx="4">
                  <c:v>Mure</c:v>
                </c:pt>
                <c:pt idx="5">
                  <c:v>Laurent Perrier</c:v>
                </c:pt>
                <c:pt idx="6">
                  <c:v>Bollinger</c:v>
                </c:pt>
                <c:pt idx="7">
                  <c:v>Canard Duchêne</c:v>
                </c:pt>
                <c:pt idx="8">
                  <c:v>Ayala</c:v>
                </c:pt>
                <c:pt idx="9">
                  <c:v>Others</c:v>
                </c:pt>
              </c:strCache>
            </c:strRef>
          </c:cat>
          <c:val>
            <c:numRef>
              <c:f>Sheet1!$C$2:$C$11</c:f>
              <c:numCache>
                <c:formatCode>General</c:formatCode>
                <c:ptCount val="10"/>
                <c:pt idx="0">
                  <c:v>8.3442347224817831E-2</c:v>
                </c:pt>
                <c:pt idx="1">
                  <c:v>6.6809942066903383E-2</c:v>
                </c:pt>
                <c:pt idx="2">
                  <c:v>3.7936834236591305E-2</c:v>
                </c:pt>
                <c:pt idx="3">
                  <c:v>3.6161465146701557E-2</c:v>
                </c:pt>
                <c:pt idx="4">
                  <c:v>1.6725845636329662E-2</c:v>
                </c:pt>
                <c:pt idx="5">
                  <c:v>4.4851429639319755E-2</c:v>
                </c:pt>
                <c:pt idx="6">
                  <c:v>2.5602691085778367E-2</c:v>
                </c:pt>
                <c:pt idx="7">
                  <c:v>3.8497477107082803E-2</c:v>
                </c:pt>
                <c:pt idx="8">
                  <c:v>1.4576714632778924E-2</c:v>
                </c:pt>
                <c:pt idx="9">
                  <c:v>0.6353952532236967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Nicolas</c:v>
                </c:pt>
                <c:pt idx="2">
                  <c:v>Deutz</c:v>
                </c:pt>
                <c:pt idx="3">
                  <c:v>Malard</c:v>
                </c:pt>
                <c:pt idx="4">
                  <c:v>Mure</c:v>
                </c:pt>
                <c:pt idx="5">
                  <c:v>Laurent Perrier</c:v>
                </c:pt>
                <c:pt idx="6">
                  <c:v>Bollinger</c:v>
                </c:pt>
                <c:pt idx="7">
                  <c:v>Canard Duchêne</c:v>
                </c:pt>
                <c:pt idx="8">
                  <c:v>Ayala</c:v>
                </c:pt>
                <c:pt idx="9">
                  <c:v>Others</c:v>
                </c:pt>
              </c:strCache>
            </c:strRef>
          </c:cat>
          <c:val>
            <c:numRef>
              <c:f>Sheet1!$D$2:$D$11</c:f>
              <c:numCache>
                <c:formatCode>General</c:formatCode>
                <c:ptCount val="10"/>
                <c:pt idx="0">
                  <c:v>50.895748622049211</c:v>
                </c:pt>
                <c:pt idx="1">
                  <c:v>80.462966377012563</c:v>
                </c:pt>
                <c:pt idx="2">
                  <c:v>68.237966615348554</c:v>
                </c:pt>
                <c:pt idx="3">
                  <c:v>92.435142325150949</c:v>
                </c:pt>
                <c:pt idx="4">
                  <c:v>44.720797850236181</c:v>
                </c:pt>
                <c:pt idx="5">
                  <c:v>123.87398219460664</c:v>
                </c:pt>
                <c:pt idx="6">
                  <c:v>93.238350752511806</c:v>
                </c:pt>
                <c:pt idx="7">
                  <c:v>141.89673480018274</c:v>
                </c:pt>
                <c:pt idx="8">
                  <c:v>54.001823195279016</c:v>
                </c:pt>
                <c:pt idx="9">
                  <c:v>126.29256163026315</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Malard</c:v>
                </c:pt>
                <c:pt idx="1">
                  <c:v>Vesselle</c:v>
                </c:pt>
                <c:pt idx="2">
                  <c:v>Louis Martin</c:v>
                </c:pt>
                <c:pt idx="3">
                  <c:v>Nicolas</c:v>
                </c:pt>
                <c:pt idx="4">
                  <c:v>Others</c:v>
                </c:pt>
              </c:strCache>
            </c:strRef>
          </c:cat>
          <c:val>
            <c:numRef>
              <c:f>Sheet1!$B$2:$B$6</c:f>
              <c:numCache>
                <c:formatCode>General</c:formatCode>
                <c:ptCount val="5"/>
                <c:pt idx="0">
                  <c:v>0.70801107565233712</c:v>
                </c:pt>
                <c:pt idx="1">
                  <c:v>0.17536136662286464</c:v>
                </c:pt>
                <c:pt idx="2">
                  <c:v>9.3212252049308553E-2</c:v>
                </c:pt>
                <c:pt idx="3">
                  <c:v>2.2523621800888554E-2</c:v>
                </c:pt>
                <c:pt idx="4">
                  <c:v>8.9168387460108881E-4</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Malard</c:v>
                </c:pt>
                <c:pt idx="1">
                  <c:v>Vesselle</c:v>
                </c:pt>
                <c:pt idx="2">
                  <c:v>Louis Martin</c:v>
                </c:pt>
                <c:pt idx="3">
                  <c:v>Nicolas</c:v>
                </c:pt>
                <c:pt idx="4">
                  <c:v>Others</c:v>
                </c:pt>
              </c:strCache>
            </c:strRef>
          </c:cat>
          <c:val>
            <c:numRef>
              <c:f>Sheet1!$C$2:$C$6</c:f>
              <c:numCache>
                <c:formatCode>General</c:formatCode>
                <c:ptCount val="5"/>
                <c:pt idx="0">
                  <c:v>0.34397163120567376</c:v>
                </c:pt>
                <c:pt idx="1">
                  <c:v>0.26241134751773049</c:v>
                </c:pt>
                <c:pt idx="2">
                  <c:v>0.20212765957446813</c:v>
                </c:pt>
                <c:pt idx="3">
                  <c:v>0.18439716312056739</c:v>
                </c:pt>
                <c:pt idx="4">
                  <c:v>7.0921985815602844E-3</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Malard</c:v>
                </c:pt>
                <c:pt idx="1">
                  <c:v>Vesselle</c:v>
                </c:pt>
                <c:pt idx="2">
                  <c:v>Louis Martin</c:v>
                </c:pt>
                <c:pt idx="3">
                  <c:v>Nicolas</c:v>
                </c:pt>
                <c:pt idx="4">
                  <c:v>Others</c:v>
                </c:pt>
              </c:strCache>
            </c:strRef>
          </c:cat>
          <c:val>
            <c:numRef>
              <c:f>Sheet1!$D$2:$D$6</c:f>
              <c:numCache>
                <c:formatCode>General</c:formatCode>
                <c:ptCount val="5"/>
                <c:pt idx="0">
                  <c:v>48.582803720796328</c:v>
                </c:pt>
                <c:pt idx="1">
                  <c:v>149.64034129710973</c:v>
                </c:pt>
                <c:pt idx="2">
                  <c:v>216.84666460750694</c:v>
                </c:pt>
                <c:pt idx="3">
                  <c:v>818.68344598688361</c:v>
                </c:pt>
                <c:pt idx="4">
                  <c:v>795.37140724150811</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Malard</c:v>
                </c:pt>
                <c:pt idx="1">
                  <c:v>Vesselle</c:v>
                </c:pt>
                <c:pt idx="2">
                  <c:v>Louis Martin</c:v>
                </c:pt>
                <c:pt idx="3">
                  <c:v>Nicolas</c:v>
                </c:pt>
                <c:pt idx="4">
                  <c:v>Others</c:v>
                </c:pt>
              </c:strCache>
            </c:strRef>
          </c:cat>
          <c:val>
            <c:numRef>
              <c:f>Sheet1!$B$2:$B$6</c:f>
              <c:numCache>
                <c:formatCode>General</c:formatCode>
                <c:ptCount val="5"/>
                <c:pt idx="0">
                  <c:v>0.70461625150171703</c:v>
                </c:pt>
                <c:pt idx="1">
                  <c:v>0.19355050198988577</c:v>
                </c:pt>
                <c:pt idx="2">
                  <c:v>7.2670699596352639E-2</c:v>
                </c:pt>
                <c:pt idx="3">
                  <c:v>2.7197468255740192E-2</c:v>
                </c:pt>
                <c:pt idx="4">
                  <c:v>1.9650786563043762E-3</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Malard</c:v>
                </c:pt>
                <c:pt idx="1">
                  <c:v>Vesselle</c:v>
                </c:pt>
                <c:pt idx="2">
                  <c:v>Louis Martin</c:v>
                </c:pt>
                <c:pt idx="3">
                  <c:v>Nicolas</c:v>
                </c:pt>
                <c:pt idx="4">
                  <c:v>Others</c:v>
                </c:pt>
              </c:strCache>
            </c:strRef>
          </c:cat>
          <c:val>
            <c:numRef>
              <c:f>Sheet1!$C$2:$C$6</c:f>
              <c:numCache>
                <c:formatCode>General</c:formatCode>
                <c:ptCount val="5"/>
                <c:pt idx="0">
                  <c:v>0.3775100401606426</c:v>
                </c:pt>
                <c:pt idx="1">
                  <c:v>0.24096385542168677</c:v>
                </c:pt>
                <c:pt idx="2">
                  <c:v>0.19678714859437751</c:v>
                </c:pt>
                <c:pt idx="3">
                  <c:v>0.16465863453815263</c:v>
                </c:pt>
                <c:pt idx="4">
                  <c:v>2.0080321285140566E-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Malard</c:v>
                </c:pt>
                <c:pt idx="1">
                  <c:v>Vesselle</c:v>
                </c:pt>
                <c:pt idx="2">
                  <c:v>Louis Martin</c:v>
                </c:pt>
                <c:pt idx="3">
                  <c:v>Nicolas</c:v>
                </c:pt>
                <c:pt idx="4">
                  <c:v>Others</c:v>
                </c:pt>
              </c:strCache>
            </c:strRef>
          </c:cat>
          <c:val>
            <c:numRef>
              <c:f>Sheet1!$D$2:$D$6</c:f>
              <c:numCache>
                <c:formatCode>General</c:formatCode>
                <c:ptCount val="5"/>
                <c:pt idx="0">
                  <c:v>53.576686509298135</c:v>
                </c:pt>
                <c:pt idx="1">
                  <c:v>124.49663159968381</c:v>
                </c:pt>
                <c:pt idx="2">
                  <c:v>270.79297390478723</c:v>
                </c:pt>
                <c:pt idx="3">
                  <c:v>605.41897867056218</c:v>
                </c:pt>
                <c:pt idx="4">
                  <c:v>1021.858398426890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Malard</c:v>
                </c:pt>
                <c:pt idx="1">
                  <c:v>Vesselle</c:v>
                </c:pt>
                <c:pt idx="2">
                  <c:v>Louis Martin</c:v>
                </c:pt>
                <c:pt idx="3">
                  <c:v>Nicolas</c:v>
                </c:pt>
                <c:pt idx="4">
                  <c:v>Others</c:v>
                </c:pt>
              </c:strCache>
            </c:strRef>
          </c:cat>
          <c:val>
            <c:numRef>
              <c:f>Sheet1!$B$2:$B$6</c:f>
              <c:numCache>
                <c:formatCode>General</c:formatCode>
                <c:ptCount val="5"/>
                <c:pt idx="0">
                  <c:v>0.70171384518067526</c:v>
                </c:pt>
                <c:pt idx="1">
                  <c:v>0.17883292480430141</c:v>
                </c:pt>
                <c:pt idx="2">
                  <c:v>8.0252233731319678E-2</c:v>
                </c:pt>
                <c:pt idx="3">
                  <c:v>3.8910413536807145E-2</c:v>
                </c:pt>
                <c:pt idx="4">
                  <c:v>2.9058274689649718E-4</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Malard</c:v>
                </c:pt>
                <c:pt idx="1">
                  <c:v>Vesselle</c:v>
                </c:pt>
                <c:pt idx="2">
                  <c:v>Louis Martin</c:v>
                </c:pt>
                <c:pt idx="3">
                  <c:v>Nicolas</c:v>
                </c:pt>
                <c:pt idx="4">
                  <c:v>Others</c:v>
                </c:pt>
              </c:strCache>
            </c:strRef>
          </c:cat>
          <c:val>
            <c:numRef>
              <c:f>Sheet1!$C$2:$C$6</c:f>
              <c:numCache>
                <c:formatCode>General</c:formatCode>
                <c:ptCount val="5"/>
                <c:pt idx="0">
                  <c:v>0.39639639639639634</c:v>
                </c:pt>
                <c:pt idx="1">
                  <c:v>0.21171171171171169</c:v>
                </c:pt>
                <c:pt idx="2">
                  <c:v>0.16666666666666666</c:v>
                </c:pt>
                <c:pt idx="3">
                  <c:v>0.22072072072072069</c:v>
                </c:pt>
                <c:pt idx="4">
                  <c:v>4.5045045045045045E-3</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Malard</c:v>
                </c:pt>
                <c:pt idx="1">
                  <c:v>Vesselle</c:v>
                </c:pt>
                <c:pt idx="2">
                  <c:v>Louis Martin</c:v>
                </c:pt>
                <c:pt idx="3">
                  <c:v>Nicolas</c:v>
                </c:pt>
                <c:pt idx="4">
                  <c:v>Others</c:v>
                </c:pt>
              </c:strCache>
            </c:strRef>
          </c:cat>
          <c:val>
            <c:numRef>
              <c:f>Sheet1!$D$2:$D$6</c:f>
              <c:numCache>
                <c:formatCode>General</c:formatCode>
                <c:ptCount val="5"/>
                <c:pt idx="0">
                  <c:v>56.489749934224733</c:v>
                </c:pt>
                <c:pt idx="1">
                  <c:v>118.38519777238439</c:v>
                </c:pt>
                <c:pt idx="2">
                  <c:v>207.67853917270145</c:v>
                </c:pt>
                <c:pt idx="3">
                  <c:v>567.25359783681256</c:v>
                </c:pt>
                <c:pt idx="4">
                  <c:v>1550.1624073052644</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Nicolas Feuillatte</c:v>
                </c:pt>
                <c:pt idx="1">
                  <c:v>Moët &amp; Chandon</c:v>
                </c:pt>
                <c:pt idx="2">
                  <c:v>Canard Duchêne</c:v>
                </c:pt>
                <c:pt idx="3">
                  <c:v>Others</c:v>
                </c:pt>
              </c:strCache>
            </c:strRef>
          </c:cat>
          <c:val>
            <c:numRef>
              <c:f>Sheet1!$B$2:$B$5</c:f>
              <c:numCache>
                <c:formatCode>General</c:formatCode>
                <c:ptCount val="4"/>
                <c:pt idx="0">
                  <c:v>0.77022996134264898</c:v>
                </c:pt>
                <c:pt idx="1">
                  <c:v>0.21124841324451135</c:v>
                </c:pt>
                <c:pt idx="2">
                  <c:v>1.3420040378651172E-2</c:v>
                </c:pt>
                <c:pt idx="3">
                  <c:v>5.1015850341885067E-3</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Nicolas Feuillatte</c:v>
                </c:pt>
                <c:pt idx="1">
                  <c:v>Moët &amp; Chandon</c:v>
                </c:pt>
                <c:pt idx="2">
                  <c:v>Canard Duchêne</c:v>
                </c:pt>
                <c:pt idx="3">
                  <c:v>Others</c:v>
                </c:pt>
              </c:strCache>
            </c:strRef>
          </c:cat>
          <c:val>
            <c:numRef>
              <c:f>Sheet1!$C$2:$C$5</c:f>
              <c:numCache>
                <c:formatCode>General</c:formatCode>
                <c:ptCount val="4"/>
                <c:pt idx="0">
                  <c:v>0.53938963804116391</c:v>
                </c:pt>
                <c:pt idx="1">
                  <c:v>0.38218594748048251</c:v>
                </c:pt>
                <c:pt idx="2">
                  <c:v>4.1873669268985086E-2</c:v>
                </c:pt>
                <c:pt idx="3">
                  <c:v>3.6550745209368338E-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Nicolas Feuillatte</c:v>
                </c:pt>
                <c:pt idx="1">
                  <c:v>Moët &amp; Chandon</c:v>
                </c:pt>
                <c:pt idx="2">
                  <c:v>Canard Duchêne</c:v>
                </c:pt>
                <c:pt idx="3">
                  <c:v>Others</c:v>
                </c:pt>
              </c:strCache>
            </c:strRef>
          </c:cat>
          <c:val>
            <c:numRef>
              <c:f>Sheet1!$D$2:$D$5</c:f>
              <c:numCache>
                <c:formatCode>General</c:formatCode>
                <c:ptCount val="4"/>
                <c:pt idx="0">
                  <c:v>70.029687900079992</c:v>
                </c:pt>
                <c:pt idx="1">
                  <c:v>180.91778376489768</c:v>
                </c:pt>
                <c:pt idx="2">
                  <c:v>312.02342234080328</c:v>
                </c:pt>
                <c:pt idx="3">
                  <c:v>716.458609714859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Nicolas Feuillatte</c:v>
                </c:pt>
                <c:pt idx="1">
                  <c:v>Moët &amp; Chandon</c:v>
                </c:pt>
                <c:pt idx="2">
                  <c:v>Canard Duchêne</c:v>
                </c:pt>
                <c:pt idx="3">
                  <c:v>Others</c:v>
                </c:pt>
              </c:strCache>
            </c:strRef>
          </c:cat>
          <c:val>
            <c:numRef>
              <c:f>Sheet1!$B$2:$B$5</c:f>
              <c:numCache>
                <c:formatCode>General</c:formatCode>
                <c:ptCount val="4"/>
                <c:pt idx="0">
                  <c:v>0.78098211006272389</c:v>
                </c:pt>
                <c:pt idx="1">
                  <c:v>0.19922914736938513</c:v>
                </c:pt>
                <c:pt idx="2">
                  <c:v>1.6417914675564898E-2</c:v>
                </c:pt>
                <c:pt idx="3">
                  <c:v>3.3708278923261265E-3</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Nicolas Feuillatte</c:v>
                </c:pt>
                <c:pt idx="1">
                  <c:v>Moët &amp; Chandon</c:v>
                </c:pt>
                <c:pt idx="2">
                  <c:v>Canard Duchêne</c:v>
                </c:pt>
                <c:pt idx="3">
                  <c:v>Others</c:v>
                </c:pt>
              </c:strCache>
            </c:strRef>
          </c:cat>
          <c:val>
            <c:numRef>
              <c:f>Sheet1!$C$2:$C$5</c:f>
              <c:numCache>
                <c:formatCode>General</c:formatCode>
                <c:ptCount val="4"/>
                <c:pt idx="0">
                  <c:v>0.54814814814814805</c:v>
                </c:pt>
                <c:pt idx="1">
                  <c:v>0.4</c:v>
                </c:pt>
                <c:pt idx="2">
                  <c:v>2.5925925925925925E-2</c:v>
                </c:pt>
                <c:pt idx="3">
                  <c:v>2.5925925925925922E-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Nicolas Feuillatte</c:v>
                </c:pt>
                <c:pt idx="1">
                  <c:v>Moët &amp; Chandon</c:v>
                </c:pt>
                <c:pt idx="2">
                  <c:v>Canard Duchêne</c:v>
                </c:pt>
                <c:pt idx="3">
                  <c:v>Others</c:v>
                </c:pt>
              </c:strCache>
            </c:strRef>
          </c:cat>
          <c:val>
            <c:numRef>
              <c:f>Sheet1!$D$2:$D$5</c:f>
              <c:numCache>
                <c:formatCode>General</c:formatCode>
                <c:ptCount val="4"/>
                <c:pt idx="0">
                  <c:v>70.187030033776836</c:v>
                </c:pt>
                <c:pt idx="1">
                  <c:v>200.77383519509388</c:v>
                </c:pt>
                <c:pt idx="2">
                  <c:v>157.91241724816604</c:v>
                </c:pt>
                <c:pt idx="3">
                  <c:v>769.12636165577317</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Nicolas Feuillatte</c:v>
                </c:pt>
                <c:pt idx="1">
                  <c:v>Moët &amp; Chandon</c:v>
                </c:pt>
                <c:pt idx="2">
                  <c:v>Canard Duchêne</c:v>
                </c:pt>
                <c:pt idx="3">
                  <c:v>Others</c:v>
                </c:pt>
              </c:strCache>
            </c:strRef>
          </c:cat>
          <c:val>
            <c:numRef>
              <c:f>Sheet1!$B$2:$B$5</c:f>
              <c:numCache>
                <c:formatCode>General</c:formatCode>
                <c:ptCount val="4"/>
                <c:pt idx="0">
                  <c:v>0.7964899959834818</c:v>
                </c:pt>
                <c:pt idx="1">
                  <c:v>0.18203966973156671</c:v>
                </c:pt>
                <c:pt idx="2">
                  <c:v>1.2566651354191971E-2</c:v>
                </c:pt>
                <c:pt idx="3">
                  <c:v>8.9036829307595541E-3</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Nicolas Feuillatte</c:v>
                </c:pt>
                <c:pt idx="1">
                  <c:v>Moët &amp; Chandon</c:v>
                </c:pt>
                <c:pt idx="2">
                  <c:v>Canard Duchêne</c:v>
                </c:pt>
                <c:pt idx="3">
                  <c:v>Others</c:v>
                </c:pt>
              </c:strCache>
            </c:strRef>
          </c:cat>
          <c:val>
            <c:numRef>
              <c:f>Sheet1!$C$2:$C$5</c:f>
              <c:numCache>
                <c:formatCode>General</c:formatCode>
                <c:ptCount val="4"/>
                <c:pt idx="0">
                  <c:v>0.58436213991769537</c:v>
                </c:pt>
                <c:pt idx="1">
                  <c:v>0.33333333333333331</c:v>
                </c:pt>
                <c:pt idx="2">
                  <c:v>3.7037037037037035E-2</c:v>
                </c:pt>
                <c:pt idx="3">
                  <c:v>4.5267489711934152E-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Nicolas Feuillatte</c:v>
                </c:pt>
                <c:pt idx="1">
                  <c:v>Moët &amp; Chandon</c:v>
                </c:pt>
                <c:pt idx="2">
                  <c:v>Canard Duchêne</c:v>
                </c:pt>
                <c:pt idx="3">
                  <c:v>Others</c:v>
                </c:pt>
              </c:strCache>
            </c:strRef>
          </c:cat>
          <c:val>
            <c:numRef>
              <c:f>Sheet1!$D$2:$D$5</c:f>
              <c:numCache>
                <c:formatCode>General</c:formatCode>
                <c:ptCount val="4"/>
                <c:pt idx="0">
                  <c:v>73.367166300204772</c:v>
                </c:pt>
                <c:pt idx="1">
                  <c:v>183.11027141768727</c:v>
                </c:pt>
                <c:pt idx="2">
                  <c:v>294.72479177742332</c:v>
                </c:pt>
                <c:pt idx="3">
                  <c:v>508.41309224465476</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Nicolas Feuillatte</c:v>
                </c:pt>
                <c:pt idx="1">
                  <c:v>Moët &amp; Chandon</c:v>
                </c:pt>
                <c:pt idx="2">
                  <c:v>Canard Duchêne</c:v>
                </c:pt>
                <c:pt idx="3">
                  <c:v>Others</c:v>
                </c:pt>
              </c:strCache>
            </c:strRef>
          </c:cat>
          <c:val>
            <c:numRef>
              <c:f>Sheet1!$B$2:$B$5</c:f>
              <c:numCache>
                <c:formatCode>General</c:formatCode>
                <c:ptCount val="4"/>
                <c:pt idx="0">
                  <c:v>0.76010810698144604</c:v>
                </c:pt>
                <c:pt idx="1">
                  <c:v>0.21991016559960816</c:v>
                </c:pt>
                <c:pt idx="2">
                  <c:v>1.3426525812626145E-2</c:v>
                </c:pt>
                <c:pt idx="3">
                  <c:v>6.5552016063196725E-3</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Nicolas Feuillatte</c:v>
                </c:pt>
                <c:pt idx="1">
                  <c:v>Moët &amp; Chandon</c:v>
                </c:pt>
                <c:pt idx="2">
                  <c:v>Canard Duchêne</c:v>
                </c:pt>
                <c:pt idx="3">
                  <c:v>Others</c:v>
                </c:pt>
              </c:strCache>
            </c:strRef>
          </c:cat>
          <c:val>
            <c:numRef>
              <c:f>Sheet1!$C$2:$C$5</c:f>
              <c:numCache>
                <c:formatCode>General</c:formatCode>
                <c:ptCount val="4"/>
                <c:pt idx="0">
                  <c:v>0.50144092219020175</c:v>
                </c:pt>
                <c:pt idx="1">
                  <c:v>0.37175792507204614</c:v>
                </c:pt>
                <c:pt idx="2">
                  <c:v>7.7809798270893377E-2</c:v>
                </c:pt>
                <c:pt idx="3">
                  <c:v>4.8991354466858789E-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Nicolas Feuillatte</c:v>
                </c:pt>
                <c:pt idx="1">
                  <c:v>Moët &amp; Chandon</c:v>
                </c:pt>
                <c:pt idx="2">
                  <c:v>Canard Duchêne</c:v>
                </c:pt>
                <c:pt idx="3">
                  <c:v>Others</c:v>
                </c:pt>
              </c:strCache>
            </c:strRef>
          </c:cat>
          <c:val>
            <c:numRef>
              <c:f>Sheet1!$D$2:$D$5</c:f>
              <c:numCache>
                <c:formatCode>General</c:formatCode>
                <c:ptCount val="4"/>
                <c:pt idx="0">
                  <c:v>65.969684783593792</c:v>
                </c:pt>
                <c:pt idx="1">
                  <c:v>169.04990456371542</c:v>
                </c:pt>
                <c:pt idx="2">
                  <c:v>579.52294850334226</c:v>
                </c:pt>
                <c:pt idx="3">
                  <c:v>747.366098086559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Nicolas Feuillatte</c:v>
                </c:pt>
                <c:pt idx="1">
                  <c:v>Moët &amp; Chandon</c:v>
                </c:pt>
                <c:pt idx="2">
                  <c:v>Others</c:v>
                </c:pt>
              </c:strCache>
            </c:strRef>
          </c:cat>
          <c:val>
            <c:numRef>
              <c:f>Sheet1!$B$2:$B$4</c:f>
              <c:numCache>
                <c:formatCode>General</c:formatCode>
                <c:ptCount val="3"/>
                <c:pt idx="0">
                  <c:v>0.70270752156971894</c:v>
                </c:pt>
                <c:pt idx="1">
                  <c:v>0.28220672140272751</c:v>
                </c:pt>
                <c:pt idx="2">
                  <c:v>1.5085757027553577E-2</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Nicolas Feuillatte</c:v>
                </c:pt>
                <c:pt idx="1">
                  <c:v>Moët &amp; Chandon</c:v>
                </c:pt>
                <c:pt idx="2">
                  <c:v>Others</c:v>
                </c:pt>
              </c:strCache>
            </c:strRef>
          </c:cat>
          <c:val>
            <c:numRef>
              <c:f>Sheet1!$C$2:$C$4</c:f>
              <c:numCache>
                <c:formatCode>General</c:formatCode>
                <c:ptCount val="3"/>
                <c:pt idx="0">
                  <c:v>0.49709302325581395</c:v>
                </c:pt>
                <c:pt idx="1">
                  <c:v>0.43604651162790697</c:v>
                </c:pt>
                <c:pt idx="2">
                  <c:v>6.6860465116279078E-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Nicolas Feuillatte</c:v>
                </c:pt>
                <c:pt idx="1">
                  <c:v>Moët &amp; Chandon</c:v>
                </c:pt>
                <c:pt idx="2">
                  <c:v>Others</c:v>
                </c:pt>
              </c:strCache>
            </c:strRef>
          </c:cat>
          <c:val>
            <c:numRef>
              <c:f>Sheet1!$D$2:$D$4</c:f>
              <c:numCache>
                <c:formatCode>General</c:formatCode>
                <c:ptCount val="3"/>
                <c:pt idx="0">
                  <c:v>70.739675896082616</c:v>
                </c:pt>
                <c:pt idx="1">
                  <c:v>154.51315598030706</c:v>
                </c:pt>
                <c:pt idx="2">
                  <c:v>443.20258502215637</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Nicolas Feuillatte</c:v>
                </c:pt>
                <c:pt idx="1">
                  <c:v>Moët &amp; Chandon</c:v>
                </c:pt>
                <c:pt idx="2">
                  <c:v>Others</c:v>
                </c:pt>
              </c:strCache>
            </c:strRef>
          </c:cat>
          <c:val>
            <c:numRef>
              <c:f>Sheet1!$B$2:$B$4</c:f>
              <c:numCache>
                <c:formatCode>General</c:formatCode>
                <c:ptCount val="3"/>
                <c:pt idx="0">
                  <c:v>0.75969251976795393</c:v>
                </c:pt>
                <c:pt idx="1">
                  <c:v>0.22332522831268786</c:v>
                </c:pt>
                <c:pt idx="2">
                  <c:v>1.6982251919358236E-2</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Nicolas Feuillatte</c:v>
                </c:pt>
                <c:pt idx="1">
                  <c:v>Moët &amp; Chandon</c:v>
                </c:pt>
                <c:pt idx="2">
                  <c:v>Others</c:v>
                </c:pt>
              </c:strCache>
            </c:strRef>
          </c:cat>
          <c:val>
            <c:numRef>
              <c:f>Sheet1!$C$2:$C$4</c:f>
              <c:numCache>
                <c:formatCode>General</c:formatCode>
                <c:ptCount val="3"/>
                <c:pt idx="0">
                  <c:v>0.49363057324840764</c:v>
                </c:pt>
                <c:pt idx="1">
                  <c:v>0.36942675159235677</c:v>
                </c:pt>
                <c:pt idx="2">
                  <c:v>0.13694267515923569</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Nicolas Feuillatte</c:v>
                </c:pt>
                <c:pt idx="1">
                  <c:v>Moët &amp; Chandon</c:v>
                </c:pt>
                <c:pt idx="2">
                  <c:v>Others</c:v>
                </c:pt>
              </c:strCache>
            </c:strRef>
          </c:cat>
          <c:val>
            <c:numRef>
              <c:f>Sheet1!$D$2:$D$4</c:f>
              <c:numCache>
                <c:formatCode>General</c:formatCode>
                <c:ptCount val="3"/>
                <c:pt idx="0">
                  <c:v>64.977679838046285</c:v>
                </c:pt>
                <c:pt idx="1">
                  <c:v>165.4209667145646</c:v>
                </c:pt>
                <c:pt idx="2">
                  <c:v>806.38701986945205</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Nicolas Feuillatte</c:v>
                </c:pt>
                <c:pt idx="1">
                  <c:v>Moët &amp; Chandon</c:v>
                </c:pt>
                <c:pt idx="2">
                  <c:v>Canard Duchêne</c:v>
                </c:pt>
                <c:pt idx="3">
                  <c:v>Others</c:v>
                </c:pt>
              </c:strCache>
            </c:strRef>
          </c:cat>
          <c:val>
            <c:numRef>
              <c:f>Sheet1!$B$2:$B$5</c:f>
              <c:numCache>
                <c:formatCode>General</c:formatCode>
                <c:ptCount val="4"/>
                <c:pt idx="0">
                  <c:v>0.76400161007446599</c:v>
                </c:pt>
                <c:pt idx="1">
                  <c:v>0.21893850090566688</c:v>
                </c:pt>
                <c:pt idx="2">
                  <c:v>1.2507978494005348E-2</c:v>
                </c:pt>
                <c:pt idx="3">
                  <c:v>4.5519105258618204E-3</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Nicolas Feuillatte</c:v>
                </c:pt>
                <c:pt idx="1">
                  <c:v>Moët &amp; Chandon</c:v>
                </c:pt>
                <c:pt idx="2">
                  <c:v>Canard Duchêne</c:v>
                </c:pt>
                <c:pt idx="3">
                  <c:v>Others</c:v>
                </c:pt>
              </c:strCache>
            </c:strRef>
          </c:cat>
          <c:val>
            <c:numRef>
              <c:f>Sheet1!$C$2:$C$5</c:f>
              <c:numCache>
                <c:formatCode>General</c:formatCode>
                <c:ptCount val="4"/>
                <c:pt idx="0">
                  <c:v>0.54480286738351258</c:v>
                </c:pt>
                <c:pt idx="1">
                  <c:v>0.40860215053763443</c:v>
                </c:pt>
                <c:pt idx="2">
                  <c:v>2.8673835125448029E-2</c:v>
                </c:pt>
                <c:pt idx="3">
                  <c:v>1.7921146953405017E-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Nicolas Feuillatte</c:v>
                </c:pt>
                <c:pt idx="1">
                  <c:v>Moët &amp; Chandon</c:v>
                </c:pt>
                <c:pt idx="2">
                  <c:v>Canard Duchêne</c:v>
                </c:pt>
                <c:pt idx="3">
                  <c:v>Others</c:v>
                </c:pt>
              </c:strCache>
            </c:strRef>
          </c:cat>
          <c:val>
            <c:numRef>
              <c:f>Sheet1!$D$2:$D$5</c:f>
              <c:numCache>
                <c:formatCode>General</c:formatCode>
                <c:ptCount val="4"/>
                <c:pt idx="0">
                  <c:v>71.309125556739545</c:v>
                </c:pt>
                <c:pt idx="1">
                  <c:v>186.62873311336278</c:v>
                </c:pt>
                <c:pt idx="2">
                  <c:v>229.24435902404556</c:v>
                </c:pt>
                <c:pt idx="3">
                  <c:v>393.70604610054318</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Nicolas</c:v>
                </c:pt>
                <c:pt idx="2">
                  <c:v>Deutz</c:v>
                </c:pt>
                <c:pt idx="3">
                  <c:v>Laurent Perrier</c:v>
                </c:pt>
                <c:pt idx="4">
                  <c:v>Malard</c:v>
                </c:pt>
                <c:pt idx="5">
                  <c:v>Roederer</c:v>
                </c:pt>
                <c:pt idx="6">
                  <c:v>Nicolas Feuillatte</c:v>
                </c:pt>
                <c:pt idx="7">
                  <c:v>Dom Perignon</c:v>
                </c:pt>
                <c:pt idx="8">
                  <c:v>Heidsieck &amp; Co Monopole</c:v>
                </c:pt>
                <c:pt idx="9">
                  <c:v>Others</c:v>
                </c:pt>
              </c:strCache>
            </c:strRef>
          </c:cat>
          <c:val>
            <c:numRef>
              <c:f>Sheet1!$B$2:$B$11</c:f>
              <c:numCache>
                <c:formatCode>General</c:formatCode>
                <c:ptCount val="10"/>
                <c:pt idx="0">
                  <c:v>0.24486268364950756</c:v>
                </c:pt>
                <c:pt idx="1">
                  <c:v>7.300804360281675E-2</c:v>
                </c:pt>
                <c:pt idx="2">
                  <c:v>7.0817853687729457E-2</c:v>
                </c:pt>
                <c:pt idx="3">
                  <c:v>5.5862491499573314E-2</c:v>
                </c:pt>
                <c:pt idx="4">
                  <c:v>4.1454589471989843E-2</c:v>
                </c:pt>
                <c:pt idx="5">
                  <c:v>3.9481248067461144E-2</c:v>
                </c:pt>
                <c:pt idx="6">
                  <c:v>3.1677445973610642E-2</c:v>
                </c:pt>
                <c:pt idx="7">
                  <c:v>2.9225451149434319E-2</c:v>
                </c:pt>
                <c:pt idx="8">
                  <c:v>2.7270471514782648E-2</c:v>
                </c:pt>
                <c:pt idx="9">
                  <c:v>0.38633972138309436</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Nicolas</c:v>
                </c:pt>
                <c:pt idx="2">
                  <c:v>Deutz</c:v>
                </c:pt>
                <c:pt idx="3">
                  <c:v>Laurent Perrier</c:v>
                </c:pt>
                <c:pt idx="4">
                  <c:v>Malard</c:v>
                </c:pt>
                <c:pt idx="5">
                  <c:v>Roederer</c:v>
                </c:pt>
                <c:pt idx="6">
                  <c:v>Nicolas Feuillatte</c:v>
                </c:pt>
                <c:pt idx="7">
                  <c:v>Dom Perignon</c:v>
                </c:pt>
                <c:pt idx="8">
                  <c:v>Heidsieck &amp; Co Monopole</c:v>
                </c:pt>
                <c:pt idx="9">
                  <c:v>Others</c:v>
                </c:pt>
              </c:strCache>
            </c:strRef>
          </c:cat>
          <c:val>
            <c:numRef>
              <c:f>Sheet1!$C$2:$C$11</c:f>
              <c:numCache>
                <c:formatCode>General</c:formatCode>
                <c:ptCount val="10"/>
                <c:pt idx="0">
                  <c:v>9.291595042070018E-2</c:v>
                </c:pt>
                <c:pt idx="1">
                  <c:v>6.5773998009590107E-2</c:v>
                </c:pt>
                <c:pt idx="2">
                  <c:v>4.7407943544738949E-2</c:v>
                </c:pt>
                <c:pt idx="3">
                  <c:v>4.3789016556590919E-2</c:v>
                </c:pt>
                <c:pt idx="4">
                  <c:v>4.0170089568442924E-2</c:v>
                </c:pt>
                <c:pt idx="5">
                  <c:v>5.2293494978738773E-2</c:v>
                </c:pt>
                <c:pt idx="6">
                  <c:v>3.2389396543924698E-2</c:v>
                </c:pt>
                <c:pt idx="7">
                  <c:v>1.6647064145480856E-2</c:v>
                </c:pt>
                <c:pt idx="8">
                  <c:v>9.4092101691848305E-3</c:v>
                </c:pt>
                <c:pt idx="9">
                  <c:v>0.59920383606260685</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Nicolas</c:v>
                </c:pt>
                <c:pt idx="2">
                  <c:v>Deutz</c:v>
                </c:pt>
                <c:pt idx="3">
                  <c:v>Laurent Perrier</c:v>
                </c:pt>
                <c:pt idx="4">
                  <c:v>Malard</c:v>
                </c:pt>
                <c:pt idx="5">
                  <c:v>Roederer</c:v>
                </c:pt>
                <c:pt idx="6">
                  <c:v>Nicolas Feuillatte</c:v>
                </c:pt>
                <c:pt idx="7">
                  <c:v>Dom Perignon</c:v>
                </c:pt>
                <c:pt idx="8">
                  <c:v>Heidsieck &amp; Co Monopole</c:v>
                </c:pt>
                <c:pt idx="9">
                  <c:v>Others</c:v>
                </c:pt>
              </c:strCache>
            </c:strRef>
          </c:cat>
          <c:val>
            <c:numRef>
              <c:f>Sheet1!$D$2:$D$11</c:f>
              <c:numCache>
                <c:formatCode>General</c:formatCode>
                <c:ptCount val="10"/>
                <c:pt idx="0">
                  <c:v>37.94614558488567</c:v>
                </c:pt>
                <c:pt idx="1">
                  <c:v>90.091440290357895</c:v>
                </c:pt>
                <c:pt idx="2">
                  <c:v>66.943491049282215</c:v>
                </c:pt>
                <c:pt idx="3">
                  <c:v>78.387152776609298</c:v>
                </c:pt>
                <c:pt idx="4">
                  <c:v>96.901428961406467</c:v>
                </c:pt>
                <c:pt idx="5">
                  <c:v>132.45147389815409</c:v>
                </c:pt>
                <c:pt idx="6">
                  <c:v>102.24749991178948</c:v>
                </c:pt>
                <c:pt idx="7">
                  <c:v>56.960845738058254</c:v>
                </c:pt>
                <c:pt idx="8">
                  <c:v>34.503291093020998</c:v>
                </c:pt>
                <c:pt idx="9">
                  <c:v>155.09765185869574</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Nicolas Feuillatte</c:v>
                </c:pt>
                <c:pt idx="1">
                  <c:v>Moët &amp; Chandon</c:v>
                </c:pt>
                <c:pt idx="2">
                  <c:v>Others</c:v>
                </c:pt>
              </c:strCache>
            </c:strRef>
          </c:cat>
          <c:val>
            <c:numRef>
              <c:f>Sheet1!$B$2:$B$4</c:f>
              <c:numCache>
                <c:formatCode>General</c:formatCode>
                <c:ptCount val="3"/>
                <c:pt idx="0">
                  <c:v>0.76069770503815393</c:v>
                </c:pt>
                <c:pt idx="1">
                  <c:v>0.22744680485668653</c:v>
                </c:pt>
                <c:pt idx="2">
                  <c:v>1.1855490105159513E-2</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Nicolas Feuillatte</c:v>
                </c:pt>
                <c:pt idx="1">
                  <c:v>Moët &amp; Chandon</c:v>
                </c:pt>
                <c:pt idx="2">
                  <c:v>Others</c:v>
                </c:pt>
              </c:strCache>
            </c:strRef>
          </c:cat>
          <c:val>
            <c:numRef>
              <c:f>Sheet1!$C$2:$C$4</c:f>
              <c:numCache>
                <c:formatCode>General</c:formatCode>
                <c:ptCount val="3"/>
                <c:pt idx="0">
                  <c:v>0.50320512820512819</c:v>
                </c:pt>
                <c:pt idx="1">
                  <c:v>0.42948717948717952</c:v>
                </c:pt>
                <c:pt idx="2">
                  <c:v>6.7307692307692318E-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Nicolas Feuillatte</c:v>
                </c:pt>
                <c:pt idx="1">
                  <c:v>Moët &amp; Chandon</c:v>
                </c:pt>
                <c:pt idx="2">
                  <c:v>Others</c:v>
                </c:pt>
              </c:strCache>
            </c:strRef>
          </c:cat>
          <c:val>
            <c:numRef>
              <c:f>Sheet1!$D$2:$D$4</c:f>
              <c:numCache>
                <c:formatCode>General</c:formatCode>
                <c:ptCount val="3"/>
                <c:pt idx="0">
                  <c:v>66.150472766299345</c:v>
                </c:pt>
                <c:pt idx="1">
                  <c:v>188.82972647507532</c:v>
                </c:pt>
                <c:pt idx="2">
                  <c:v>567.73437209820611</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Nicolas Feuillatte</c:v>
                </c:pt>
                <c:pt idx="1">
                  <c:v>Moët &amp; Chandon</c:v>
                </c:pt>
                <c:pt idx="2">
                  <c:v>Canard Duchêne</c:v>
                </c:pt>
                <c:pt idx="3">
                  <c:v>Others</c:v>
                </c:pt>
              </c:strCache>
            </c:strRef>
          </c:cat>
          <c:val>
            <c:numRef>
              <c:f>Sheet1!$B$2:$B$5</c:f>
              <c:numCache>
                <c:formatCode>General</c:formatCode>
                <c:ptCount val="4"/>
                <c:pt idx="0">
                  <c:v>0.79433042122574693</c:v>
                </c:pt>
                <c:pt idx="1">
                  <c:v>0.18415674046752159</c:v>
                </c:pt>
                <c:pt idx="2">
                  <c:v>1.5495327635869307E-2</c:v>
                </c:pt>
                <c:pt idx="3">
                  <c:v>6.01751067086213E-3</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Nicolas Feuillatte</c:v>
                </c:pt>
                <c:pt idx="1">
                  <c:v>Moët &amp; Chandon</c:v>
                </c:pt>
                <c:pt idx="2">
                  <c:v>Canard Duchêne</c:v>
                </c:pt>
                <c:pt idx="3">
                  <c:v>Others</c:v>
                </c:pt>
              </c:strCache>
            </c:strRef>
          </c:cat>
          <c:val>
            <c:numRef>
              <c:f>Sheet1!$C$2:$C$5</c:f>
              <c:numCache>
                <c:formatCode>General</c:formatCode>
                <c:ptCount val="4"/>
                <c:pt idx="0">
                  <c:v>0.52851711026615966</c:v>
                </c:pt>
                <c:pt idx="1">
                  <c:v>0.35741444866920158</c:v>
                </c:pt>
                <c:pt idx="2">
                  <c:v>6.0836501901140691E-2</c:v>
                </c:pt>
                <c:pt idx="3">
                  <c:v>5.3231939163498103E-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Nicolas Feuillatte</c:v>
                </c:pt>
                <c:pt idx="1">
                  <c:v>Moët &amp; Chandon</c:v>
                </c:pt>
                <c:pt idx="2">
                  <c:v>Canard Duchêne</c:v>
                </c:pt>
                <c:pt idx="3">
                  <c:v>Others</c:v>
                </c:pt>
              </c:strCache>
            </c:strRef>
          </c:cat>
          <c:val>
            <c:numRef>
              <c:f>Sheet1!$D$2:$D$5</c:f>
              <c:numCache>
                <c:formatCode>General</c:formatCode>
                <c:ptCount val="4"/>
                <c:pt idx="0">
                  <c:v>66.536178917911073</c:v>
                </c:pt>
                <c:pt idx="1">
                  <c:v>194.08165444383297</c:v>
                </c:pt>
                <c:pt idx="2">
                  <c:v>392.61191070470505</c:v>
                </c:pt>
                <c:pt idx="3">
                  <c:v>884.61727905621728</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Nicolas Feuillatte</c:v>
                </c:pt>
                <c:pt idx="1">
                  <c:v>Moët &amp; Chandon</c:v>
                </c:pt>
                <c:pt idx="2">
                  <c:v>Canard Duchêne</c:v>
                </c:pt>
                <c:pt idx="3">
                  <c:v>Others</c:v>
                </c:pt>
              </c:strCache>
            </c:strRef>
          </c:cat>
          <c:val>
            <c:numRef>
              <c:f>Sheet1!$B$2:$B$5</c:f>
              <c:numCache>
                <c:formatCode>General</c:formatCode>
                <c:ptCount val="4"/>
                <c:pt idx="0">
                  <c:v>0.84891936282816693</c:v>
                </c:pt>
                <c:pt idx="1">
                  <c:v>0.13264853872826343</c:v>
                </c:pt>
                <c:pt idx="2">
                  <c:v>1.0871548869828194E-2</c:v>
                </c:pt>
                <c:pt idx="3">
                  <c:v>7.5605495737414291E-3</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Nicolas Feuillatte</c:v>
                </c:pt>
                <c:pt idx="1">
                  <c:v>Moët &amp; Chandon</c:v>
                </c:pt>
                <c:pt idx="2">
                  <c:v>Canard Duchêne</c:v>
                </c:pt>
                <c:pt idx="3">
                  <c:v>Others</c:v>
                </c:pt>
              </c:strCache>
            </c:strRef>
          </c:cat>
          <c:val>
            <c:numRef>
              <c:f>Sheet1!$C$2:$C$5</c:f>
              <c:numCache>
                <c:formatCode>General</c:formatCode>
                <c:ptCount val="4"/>
                <c:pt idx="0">
                  <c:v>0.63424124513618663</c:v>
                </c:pt>
                <c:pt idx="1">
                  <c:v>0.28793774319066145</c:v>
                </c:pt>
                <c:pt idx="2">
                  <c:v>5.4474708171206226E-2</c:v>
                </c:pt>
                <c:pt idx="3">
                  <c:v>2.3346303501945522E-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Nicolas Feuillatte</c:v>
                </c:pt>
                <c:pt idx="1">
                  <c:v>Moët &amp; Chandon</c:v>
                </c:pt>
                <c:pt idx="2">
                  <c:v>Canard Duchêne</c:v>
                </c:pt>
                <c:pt idx="3">
                  <c:v>Others</c:v>
                </c:pt>
              </c:strCache>
            </c:strRef>
          </c:cat>
          <c:val>
            <c:numRef>
              <c:f>Sheet1!$D$2:$D$5</c:f>
              <c:numCache>
                <c:formatCode>General</c:formatCode>
                <c:ptCount val="4"/>
                <c:pt idx="0">
                  <c:v>74.711600760667991</c:v>
                </c:pt>
                <c:pt idx="1">
                  <c:v>217.06816068325864</c:v>
                </c:pt>
                <c:pt idx="2">
                  <c:v>501.07587082085303</c:v>
                </c:pt>
                <c:pt idx="3">
                  <c:v>308.79109083590498</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Nicolas Feuillatte</c:v>
                </c:pt>
                <c:pt idx="1">
                  <c:v>Moët &amp; Chandon</c:v>
                </c:pt>
                <c:pt idx="2">
                  <c:v>Canard Duchêne</c:v>
                </c:pt>
                <c:pt idx="3">
                  <c:v>Piper Heidsieck</c:v>
                </c:pt>
              </c:strCache>
            </c:strRef>
          </c:cat>
          <c:val>
            <c:numRef>
              <c:f>Sheet1!$B$2:$B$5</c:f>
              <c:numCache>
                <c:formatCode>General</c:formatCode>
                <c:ptCount val="4"/>
                <c:pt idx="0">
                  <c:v>0.7807218626393384</c:v>
                </c:pt>
                <c:pt idx="1">
                  <c:v>0.17201546206400575</c:v>
                </c:pt>
                <c:pt idx="2">
                  <c:v>3.375584322186264E-2</c:v>
                </c:pt>
                <c:pt idx="3">
                  <c:v>1.3506832074793239E-2</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Nicolas Feuillatte</c:v>
                </c:pt>
                <c:pt idx="1">
                  <c:v>Moët &amp; Chandon</c:v>
                </c:pt>
                <c:pt idx="2">
                  <c:v>Canard Duchêne</c:v>
                </c:pt>
                <c:pt idx="3">
                  <c:v>Piper Heidsieck</c:v>
                </c:pt>
              </c:strCache>
            </c:strRef>
          </c:cat>
          <c:val>
            <c:numRef>
              <c:f>Sheet1!$C$2:$C$5</c:f>
              <c:numCache>
                <c:formatCode>General</c:formatCode>
                <c:ptCount val="4"/>
                <c:pt idx="0">
                  <c:v>0.44014084507042256</c:v>
                </c:pt>
                <c:pt idx="1">
                  <c:v>0.35563380281690143</c:v>
                </c:pt>
                <c:pt idx="2">
                  <c:v>9.507042253521128E-2</c:v>
                </c:pt>
                <c:pt idx="3">
                  <c:v>0.1091549295774648</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Nicolas Feuillatte</c:v>
                </c:pt>
                <c:pt idx="1">
                  <c:v>Moët &amp; Chandon</c:v>
                </c:pt>
                <c:pt idx="2">
                  <c:v>Canard Duchêne</c:v>
                </c:pt>
                <c:pt idx="3">
                  <c:v>Piper Heidsieck</c:v>
                </c:pt>
              </c:strCache>
            </c:strRef>
          </c:cat>
          <c:val>
            <c:numRef>
              <c:f>Sheet1!$D$2:$D$5</c:f>
              <c:numCache>
                <c:formatCode>General</c:formatCode>
                <c:ptCount val="4"/>
                <c:pt idx="0">
                  <c:v>56.376139331165319</c:v>
                </c:pt>
                <c:pt idx="1">
                  <c:v>206.74525333343149</c:v>
                </c:pt>
                <c:pt idx="2">
                  <c:v>281.64137956902533</c:v>
                </c:pt>
                <c:pt idx="3">
                  <c:v>808.14604766703383</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Nicolas Feuillatte</c:v>
                </c:pt>
                <c:pt idx="1">
                  <c:v>Moët &amp; Chandon</c:v>
                </c:pt>
                <c:pt idx="2">
                  <c:v>Canard Duchêne</c:v>
                </c:pt>
                <c:pt idx="3">
                  <c:v>Others</c:v>
                </c:pt>
              </c:strCache>
            </c:strRef>
          </c:cat>
          <c:val>
            <c:numRef>
              <c:f>Sheet1!$B$2:$B$5</c:f>
              <c:numCache>
                <c:formatCode>General</c:formatCode>
                <c:ptCount val="4"/>
                <c:pt idx="0">
                  <c:v>0.74392811005041626</c:v>
                </c:pt>
                <c:pt idx="1">
                  <c:v>0.24028574321774113</c:v>
                </c:pt>
                <c:pt idx="2">
                  <c:v>1.2923191167490572E-2</c:v>
                </c:pt>
                <c:pt idx="3">
                  <c:v>2.8629555643520607E-3</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Nicolas Feuillatte</c:v>
                </c:pt>
                <c:pt idx="1">
                  <c:v>Moët &amp; Chandon</c:v>
                </c:pt>
                <c:pt idx="2">
                  <c:v>Canard Duchêne</c:v>
                </c:pt>
                <c:pt idx="3">
                  <c:v>Others</c:v>
                </c:pt>
              </c:strCache>
            </c:strRef>
          </c:cat>
          <c:val>
            <c:numRef>
              <c:f>Sheet1!$C$2:$C$5</c:f>
              <c:numCache>
                <c:formatCode>General</c:formatCode>
                <c:ptCount val="4"/>
                <c:pt idx="0">
                  <c:v>0.50151975683890571</c:v>
                </c:pt>
                <c:pt idx="1">
                  <c:v>0.42553191489361697</c:v>
                </c:pt>
                <c:pt idx="2">
                  <c:v>4.8632218844984802E-2</c:v>
                </c:pt>
                <c:pt idx="3">
                  <c:v>2.4316109422492401E-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Nicolas Feuillatte</c:v>
                </c:pt>
                <c:pt idx="1">
                  <c:v>Moët &amp; Chandon</c:v>
                </c:pt>
                <c:pt idx="2">
                  <c:v>Canard Duchêne</c:v>
                </c:pt>
                <c:pt idx="3">
                  <c:v>Others</c:v>
                </c:pt>
              </c:strCache>
            </c:strRef>
          </c:cat>
          <c:val>
            <c:numRef>
              <c:f>Sheet1!$D$2:$D$5</c:f>
              <c:numCache>
                <c:formatCode>General</c:formatCode>
                <c:ptCount val="4"/>
                <c:pt idx="0">
                  <c:v>67.415083536084893</c:v>
                </c:pt>
                <c:pt idx="1">
                  <c:v>177.09411686069541</c:v>
                </c:pt>
                <c:pt idx="2">
                  <c:v>376.31741428791548</c:v>
                </c:pt>
                <c:pt idx="3">
                  <c:v>849.3359004681437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Nicolas Feuillatte</c:v>
                </c:pt>
                <c:pt idx="1">
                  <c:v>Moët &amp; Chandon</c:v>
                </c:pt>
                <c:pt idx="2">
                  <c:v>Others</c:v>
                </c:pt>
              </c:strCache>
            </c:strRef>
          </c:cat>
          <c:val>
            <c:numRef>
              <c:f>Sheet1!$B$2:$B$4</c:f>
              <c:numCache>
                <c:formatCode>General</c:formatCode>
                <c:ptCount val="3"/>
                <c:pt idx="0">
                  <c:v>0.74942919015617826</c:v>
                </c:pt>
                <c:pt idx="1">
                  <c:v>0.24110537032024199</c:v>
                </c:pt>
                <c:pt idx="2">
                  <c:v>9.4654395235797429E-3</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Nicolas Feuillatte</c:v>
                </c:pt>
                <c:pt idx="1">
                  <c:v>Moët &amp; Chandon</c:v>
                </c:pt>
                <c:pt idx="2">
                  <c:v>Others</c:v>
                </c:pt>
              </c:strCache>
            </c:strRef>
          </c:cat>
          <c:val>
            <c:numRef>
              <c:f>Sheet1!$C$2:$C$4</c:f>
              <c:numCache>
                <c:formatCode>General</c:formatCode>
                <c:ptCount val="3"/>
                <c:pt idx="0">
                  <c:v>0.54109589041095896</c:v>
                </c:pt>
                <c:pt idx="1">
                  <c:v>0.4178082191780822</c:v>
                </c:pt>
                <c:pt idx="2">
                  <c:v>4.1095890410958909E-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Nicolas Feuillatte</c:v>
                </c:pt>
                <c:pt idx="1">
                  <c:v>Moët &amp; Chandon</c:v>
                </c:pt>
                <c:pt idx="2">
                  <c:v>Others</c:v>
                </c:pt>
              </c:strCache>
            </c:strRef>
          </c:cat>
          <c:val>
            <c:numRef>
              <c:f>Sheet1!$D$2:$D$4</c:f>
              <c:numCache>
                <c:formatCode>General</c:formatCode>
                <c:ptCount val="3"/>
                <c:pt idx="0">
                  <c:v>72.201069496398532</c:v>
                </c:pt>
                <c:pt idx="1">
                  <c:v>173.28864082253298</c:v>
                </c:pt>
                <c:pt idx="2">
                  <c:v>434.16779863822762</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Nicolas Feuillatte</c:v>
                </c:pt>
                <c:pt idx="1">
                  <c:v>Moët &amp; Chandon</c:v>
                </c:pt>
                <c:pt idx="2">
                  <c:v>Canard Duchêne</c:v>
                </c:pt>
                <c:pt idx="3">
                  <c:v>Others</c:v>
                </c:pt>
              </c:strCache>
            </c:strRef>
          </c:cat>
          <c:val>
            <c:numRef>
              <c:f>Sheet1!$B$2:$B$5</c:f>
              <c:numCache>
                <c:formatCode>General</c:formatCode>
                <c:ptCount val="4"/>
                <c:pt idx="0">
                  <c:v>0.78940357891095003</c:v>
                </c:pt>
                <c:pt idx="1">
                  <c:v>0.19147750206623484</c:v>
                </c:pt>
                <c:pt idx="2">
                  <c:v>1.4063851461741019E-2</c:v>
                </c:pt>
                <c:pt idx="3">
                  <c:v>5.0550675610740578E-3</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Nicolas Feuillatte</c:v>
                </c:pt>
                <c:pt idx="1">
                  <c:v>Moët &amp; Chandon</c:v>
                </c:pt>
                <c:pt idx="2">
                  <c:v>Canard Duchêne</c:v>
                </c:pt>
                <c:pt idx="3">
                  <c:v>Others</c:v>
                </c:pt>
              </c:strCache>
            </c:strRef>
          </c:cat>
          <c:val>
            <c:numRef>
              <c:f>Sheet1!$C$2:$C$5</c:f>
              <c:numCache>
                <c:formatCode>General</c:formatCode>
                <c:ptCount val="4"/>
                <c:pt idx="0">
                  <c:v>0.55390334572490707</c:v>
                </c:pt>
                <c:pt idx="1">
                  <c:v>0.379182156133829</c:v>
                </c:pt>
                <c:pt idx="2">
                  <c:v>4.4609665427509292E-2</c:v>
                </c:pt>
                <c:pt idx="3">
                  <c:v>2.2304832713754646E-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Nicolas Feuillatte</c:v>
                </c:pt>
                <c:pt idx="1">
                  <c:v>Moët &amp; Chandon</c:v>
                </c:pt>
                <c:pt idx="2">
                  <c:v>Canard Duchêne</c:v>
                </c:pt>
                <c:pt idx="3">
                  <c:v>Others</c:v>
                </c:pt>
              </c:strCache>
            </c:strRef>
          </c:cat>
          <c:val>
            <c:numRef>
              <c:f>Sheet1!$D$2:$D$5</c:f>
              <c:numCache>
                <c:formatCode>General</c:formatCode>
                <c:ptCount val="4"/>
                <c:pt idx="0">
                  <c:v>70.167321319858246</c:v>
                </c:pt>
                <c:pt idx="1">
                  <c:v>198.02961290077013</c:v>
                </c:pt>
                <c:pt idx="2">
                  <c:v>317.19380390829929</c:v>
                </c:pt>
                <c:pt idx="3">
                  <c:v>441.23708425798975</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Nicolas Feuillatte</c:v>
                </c:pt>
                <c:pt idx="1">
                  <c:v>Moët &amp; Chandon</c:v>
                </c:pt>
                <c:pt idx="2">
                  <c:v>Canard Duchêne</c:v>
                </c:pt>
                <c:pt idx="3">
                  <c:v>Others</c:v>
                </c:pt>
              </c:strCache>
            </c:strRef>
          </c:cat>
          <c:val>
            <c:numRef>
              <c:f>Sheet1!$B$2:$B$5</c:f>
              <c:numCache>
                <c:formatCode>General</c:formatCode>
                <c:ptCount val="4"/>
                <c:pt idx="0">
                  <c:v>0.78294747028428491</c:v>
                </c:pt>
                <c:pt idx="1">
                  <c:v>0.19321377056364</c:v>
                </c:pt>
                <c:pt idx="2">
                  <c:v>1.6562745348646133E-2</c:v>
                </c:pt>
                <c:pt idx="3">
                  <c:v>7.2760138034289479E-3</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Nicolas Feuillatte</c:v>
                </c:pt>
                <c:pt idx="1">
                  <c:v>Moët &amp; Chandon</c:v>
                </c:pt>
                <c:pt idx="2">
                  <c:v>Canard Duchêne</c:v>
                </c:pt>
                <c:pt idx="3">
                  <c:v>Others</c:v>
                </c:pt>
              </c:strCache>
            </c:strRef>
          </c:cat>
          <c:val>
            <c:numRef>
              <c:f>Sheet1!$C$2:$C$5</c:f>
              <c:numCache>
                <c:formatCode>General</c:formatCode>
                <c:ptCount val="4"/>
                <c:pt idx="0">
                  <c:v>0.59071729957805896</c:v>
                </c:pt>
                <c:pt idx="1">
                  <c:v>0.33333333333333331</c:v>
                </c:pt>
                <c:pt idx="2">
                  <c:v>2.9535864978902954E-2</c:v>
                </c:pt>
                <c:pt idx="3">
                  <c:v>4.6413502109704637E-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Nicolas Feuillatte</c:v>
                </c:pt>
                <c:pt idx="1">
                  <c:v>Moët &amp; Chandon</c:v>
                </c:pt>
                <c:pt idx="2">
                  <c:v>Canard Duchêne</c:v>
                </c:pt>
                <c:pt idx="3">
                  <c:v>Others</c:v>
                </c:pt>
              </c:strCache>
            </c:strRef>
          </c:cat>
          <c:val>
            <c:numRef>
              <c:f>Sheet1!$D$2:$D$5</c:f>
              <c:numCache>
                <c:formatCode>General</c:formatCode>
                <c:ptCount val="4"/>
                <c:pt idx="0">
                  <c:v>75.447884053265028</c:v>
                </c:pt>
                <c:pt idx="1">
                  <c:v>172.52048462226003</c:v>
                </c:pt>
                <c:pt idx="2">
                  <c:v>178.3271091668222</c:v>
                </c:pt>
                <c:pt idx="3">
                  <c:v>637.89738947212368</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Nicolas Feuillatte</c:v>
                </c:pt>
                <c:pt idx="1">
                  <c:v>Moët &amp; Chandon</c:v>
                </c:pt>
                <c:pt idx="2">
                  <c:v>Canard Duchêne</c:v>
                </c:pt>
                <c:pt idx="3">
                  <c:v>Others</c:v>
                </c:pt>
              </c:strCache>
            </c:strRef>
          </c:cat>
          <c:val>
            <c:numRef>
              <c:f>Sheet1!$B$2:$B$5</c:f>
              <c:numCache>
                <c:formatCode>General</c:formatCode>
                <c:ptCount val="4"/>
                <c:pt idx="0">
                  <c:v>0.79532329967833904</c:v>
                </c:pt>
                <c:pt idx="1">
                  <c:v>0.17971824939887984</c:v>
                </c:pt>
                <c:pt idx="2">
                  <c:v>1.6123652374170832E-2</c:v>
                </c:pt>
                <c:pt idx="3">
                  <c:v>8.8347985486102454E-3</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Nicolas Feuillatte</c:v>
                </c:pt>
                <c:pt idx="1">
                  <c:v>Moët &amp; Chandon</c:v>
                </c:pt>
                <c:pt idx="2">
                  <c:v>Canard Duchêne</c:v>
                </c:pt>
                <c:pt idx="3">
                  <c:v>Others</c:v>
                </c:pt>
              </c:strCache>
            </c:strRef>
          </c:cat>
          <c:val>
            <c:numRef>
              <c:f>Sheet1!$C$2:$C$5</c:f>
              <c:numCache>
                <c:formatCode>General</c:formatCode>
                <c:ptCount val="4"/>
                <c:pt idx="0">
                  <c:v>0.63775510204081631</c:v>
                </c:pt>
                <c:pt idx="1">
                  <c:v>0.29591836734693877</c:v>
                </c:pt>
                <c:pt idx="2">
                  <c:v>2.5510204081632654E-2</c:v>
                </c:pt>
                <c:pt idx="3">
                  <c:v>4.0816326530612242E-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Nicolas Feuillatte</c:v>
                </c:pt>
                <c:pt idx="1">
                  <c:v>Moët &amp; Chandon</c:v>
                </c:pt>
                <c:pt idx="2">
                  <c:v>Canard Duchêne</c:v>
                </c:pt>
                <c:pt idx="3">
                  <c:v>Others</c:v>
                </c:pt>
              </c:strCache>
            </c:strRef>
          </c:cat>
          <c:val>
            <c:numRef>
              <c:f>Sheet1!$D$2:$D$5</c:f>
              <c:numCache>
                <c:formatCode>General</c:formatCode>
                <c:ptCount val="4"/>
                <c:pt idx="0">
                  <c:v>80.188157733936677</c:v>
                </c:pt>
                <c:pt idx="1">
                  <c:v>164.65682719296686</c:v>
                </c:pt>
                <c:pt idx="2">
                  <c:v>158.21603870906159</c:v>
                </c:pt>
                <c:pt idx="3">
                  <c:v>461.99498840902083</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Dom Perignon</c:v>
                </c:pt>
                <c:pt idx="1">
                  <c:v>Roederer</c:v>
                </c:pt>
                <c:pt idx="2">
                  <c:v>Ruinart</c:v>
                </c:pt>
                <c:pt idx="3">
                  <c:v>Malard</c:v>
                </c:pt>
                <c:pt idx="4">
                  <c:v>Bollinger</c:v>
                </c:pt>
                <c:pt idx="5">
                  <c:v>Laurent Perrier</c:v>
                </c:pt>
                <c:pt idx="6">
                  <c:v>Piper Heidsieck</c:v>
                </c:pt>
                <c:pt idx="7">
                  <c:v>Perrier Jouet</c:v>
                </c:pt>
                <c:pt idx="8">
                  <c:v>Veuve Clicquot</c:v>
                </c:pt>
                <c:pt idx="9">
                  <c:v>Others</c:v>
                </c:pt>
              </c:strCache>
            </c:strRef>
          </c:cat>
          <c:val>
            <c:numRef>
              <c:f>Sheet1!$B$2:$B$11</c:f>
              <c:numCache>
                <c:formatCode>General</c:formatCode>
                <c:ptCount val="10"/>
                <c:pt idx="0">
                  <c:v>0.4440819756174198</c:v>
                </c:pt>
                <c:pt idx="1">
                  <c:v>0.24767431513079197</c:v>
                </c:pt>
                <c:pt idx="2">
                  <c:v>9.736730819055299E-2</c:v>
                </c:pt>
                <c:pt idx="3">
                  <c:v>7.4536890839089306E-2</c:v>
                </c:pt>
                <c:pt idx="4">
                  <c:v>3.115193161978547E-2</c:v>
                </c:pt>
                <c:pt idx="5">
                  <c:v>2.8575231072236602E-2</c:v>
                </c:pt>
                <c:pt idx="6">
                  <c:v>1.43829030563669E-2</c:v>
                </c:pt>
                <c:pt idx="7">
                  <c:v>1.3696990410610461E-2</c:v>
                </c:pt>
                <c:pt idx="8">
                  <c:v>1.3619815394210772E-2</c:v>
                </c:pt>
                <c:pt idx="9">
                  <c:v>3.4912638668935715E-2</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Dom Perignon</c:v>
                </c:pt>
                <c:pt idx="1">
                  <c:v>Roederer</c:v>
                </c:pt>
                <c:pt idx="2">
                  <c:v>Ruinart</c:v>
                </c:pt>
                <c:pt idx="3">
                  <c:v>Malard</c:v>
                </c:pt>
                <c:pt idx="4">
                  <c:v>Bollinger</c:v>
                </c:pt>
                <c:pt idx="5">
                  <c:v>Laurent Perrier</c:v>
                </c:pt>
                <c:pt idx="6">
                  <c:v>Piper Heidsieck</c:v>
                </c:pt>
                <c:pt idx="7">
                  <c:v>Perrier Jouet</c:v>
                </c:pt>
                <c:pt idx="8">
                  <c:v>Veuve Clicquot</c:v>
                </c:pt>
                <c:pt idx="9">
                  <c:v>Others</c:v>
                </c:pt>
              </c:strCache>
            </c:strRef>
          </c:cat>
          <c:val>
            <c:numRef>
              <c:f>Sheet1!$C$2:$C$11</c:f>
              <c:numCache>
                <c:formatCode>General</c:formatCode>
                <c:ptCount val="10"/>
                <c:pt idx="0">
                  <c:v>0.18358373030414074</c:v>
                </c:pt>
                <c:pt idx="1">
                  <c:v>0.24184683034078416</c:v>
                </c:pt>
                <c:pt idx="2">
                  <c:v>0.1110296812019055</c:v>
                </c:pt>
                <c:pt idx="3">
                  <c:v>0.10315133748625872</c:v>
                </c:pt>
                <c:pt idx="4">
                  <c:v>4.5987541223891544E-2</c:v>
                </c:pt>
                <c:pt idx="5">
                  <c:v>4.8919017955294991E-2</c:v>
                </c:pt>
                <c:pt idx="6">
                  <c:v>2.2535727372663981E-2</c:v>
                </c:pt>
                <c:pt idx="7">
                  <c:v>3.6643459142543064E-2</c:v>
                </c:pt>
                <c:pt idx="8">
                  <c:v>6.5775009160864803E-2</c:v>
                </c:pt>
                <c:pt idx="9">
                  <c:v>0.14052766581165266</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Dom Perignon</c:v>
                </c:pt>
                <c:pt idx="1">
                  <c:v>Roederer</c:v>
                </c:pt>
                <c:pt idx="2">
                  <c:v>Ruinart</c:v>
                </c:pt>
                <c:pt idx="3">
                  <c:v>Malard</c:v>
                </c:pt>
                <c:pt idx="4">
                  <c:v>Bollinger</c:v>
                </c:pt>
                <c:pt idx="5">
                  <c:v>Laurent Perrier</c:v>
                </c:pt>
                <c:pt idx="6">
                  <c:v>Piper Heidsieck</c:v>
                </c:pt>
                <c:pt idx="7">
                  <c:v>Perrier Jouet</c:v>
                </c:pt>
                <c:pt idx="8">
                  <c:v>Veuve Clicquot</c:v>
                </c:pt>
                <c:pt idx="9">
                  <c:v>Others</c:v>
                </c:pt>
              </c:strCache>
            </c:strRef>
          </c:cat>
          <c:val>
            <c:numRef>
              <c:f>Sheet1!$D$2:$D$11</c:f>
              <c:numCache>
                <c:formatCode>General</c:formatCode>
                <c:ptCount val="10"/>
                <c:pt idx="0">
                  <c:v>41.340054400744151</c:v>
                </c:pt>
                <c:pt idx="1">
                  <c:v>97.647117834188649</c:v>
                </c:pt>
                <c:pt idx="2">
                  <c:v>114.031786710807</c:v>
                </c:pt>
                <c:pt idx="3">
                  <c:v>138.38964347056339</c:v>
                </c:pt>
                <c:pt idx="4">
                  <c:v>147.62340192954056</c:v>
                </c:pt>
                <c:pt idx="5">
                  <c:v>171.19377908661673</c:v>
                </c:pt>
                <c:pt idx="6">
                  <c:v>156.68413591015658</c:v>
                </c:pt>
                <c:pt idx="7">
                  <c:v>267.529275001587</c:v>
                </c:pt>
                <c:pt idx="8">
                  <c:v>482.93612840613889</c:v>
                </c:pt>
                <c:pt idx="9">
                  <c:v>402.51230261976792</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Nicolas</c:v>
                </c:pt>
                <c:pt idx="2">
                  <c:v>Deutz</c:v>
                </c:pt>
                <c:pt idx="3">
                  <c:v>Laurent Perrier</c:v>
                </c:pt>
                <c:pt idx="4">
                  <c:v>Malard</c:v>
                </c:pt>
                <c:pt idx="5">
                  <c:v>Nicolas Feuillatte</c:v>
                </c:pt>
                <c:pt idx="6">
                  <c:v>Heidsieck &amp; Co Monopole</c:v>
                </c:pt>
                <c:pt idx="7">
                  <c:v>Roederer</c:v>
                </c:pt>
                <c:pt idx="8">
                  <c:v>Ayala</c:v>
                </c:pt>
                <c:pt idx="9">
                  <c:v>Others</c:v>
                </c:pt>
              </c:strCache>
            </c:strRef>
          </c:cat>
          <c:val>
            <c:numRef>
              <c:f>Sheet1!$B$2:$B$11</c:f>
              <c:numCache>
                <c:formatCode>General</c:formatCode>
                <c:ptCount val="10"/>
                <c:pt idx="0">
                  <c:v>0.22055205375134826</c:v>
                </c:pt>
                <c:pt idx="1">
                  <c:v>8.7230317035362423E-2</c:v>
                </c:pt>
                <c:pt idx="2">
                  <c:v>7.7809948008270707E-2</c:v>
                </c:pt>
                <c:pt idx="3">
                  <c:v>5.3849412926381061E-2</c:v>
                </c:pt>
                <c:pt idx="4">
                  <c:v>4.7712310514421562E-2</c:v>
                </c:pt>
                <c:pt idx="5">
                  <c:v>3.332052502692414E-2</c:v>
                </c:pt>
                <c:pt idx="6">
                  <c:v>3.1266814752868827E-2</c:v>
                </c:pt>
                <c:pt idx="7">
                  <c:v>2.8887899456916857E-2</c:v>
                </c:pt>
                <c:pt idx="8">
                  <c:v>2.7963319091537153E-2</c:v>
                </c:pt>
                <c:pt idx="9">
                  <c:v>0.39140739943596897</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Nicolas</c:v>
                </c:pt>
                <c:pt idx="2">
                  <c:v>Deutz</c:v>
                </c:pt>
                <c:pt idx="3">
                  <c:v>Laurent Perrier</c:v>
                </c:pt>
                <c:pt idx="4">
                  <c:v>Malard</c:v>
                </c:pt>
                <c:pt idx="5">
                  <c:v>Nicolas Feuillatte</c:v>
                </c:pt>
                <c:pt idx="6">
                  <c:v>Heidsieck &amp; Co Monopole</c:v>
                </c:pt>
                <c:pt idx="7">
                  <c:v>Roederer</c:v>
                </c:pt>
                <c:pt idx="8">
                  <c:v>Ayala</c:v>
                </c:pt>
                <c:pt idx="9">
                  <c:v>Others</c:v>
                </c:pt>
              </c:strCache>
            </c:strRef>
          </c:cat>
          <c:val>
            <c:numRef>
              <c:f>Sheet1!$C$2:$C$11</c:f>
              <c:numCache>
                <c:formatCode>General</c:formatCode>
                <c:ptCount val="10"/>
                <c:pt idx="0">
                  <c:v>9.5151583967298656E-2</c:v>
                </c:pt>
                <c:pt idx="1">
                  <c:v>7.7551947314635994E-2</c:v>
                </c:pt>
                <c:pt idx="2">
                  <c:v>4.8257068241171729E-2</c:v>
                </c:pt>
                <c:pt idx="3">
                  <c:v>4.0081753150902635E-2</c:v>
                </c:pt>
                <c:pt idx="4">
                  <c:v>4.3374588395594361E-2</c:v>
                </c:pt>
                <c:pt idx="5">
                  <c:v>3.451799704780284E-2</c:v>
                </c:pt>
                <c:pt idx="6">
                  <c:v>1.1241058249120004E-2</c:v>
                </c:pt>
                <c:pt idx="7">
                  <c:v>4.0308845236743447E-2</c:v>
                </c:pt>
                <c:pt idx="8">
                  <c:v>1.6804814352219803E-2</c:v>
                </c:pt>
                <c:pt idx="9">
                  <c:v>0.59271034404450929</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Nicolas</c:v>
                </c:pt>
                <c:pt idx="2">
                  <c:v>Deutz</c:v>
                </c:pt>
                <c:pt idx="3">
                  <c:v>Laurent Perrier</c:v>
                </c:pt>
                <c:pt idx="4">
                  <c:v>Malard</c:v>
                </c:pt>
                <c:pt idx="5">
                  <c:v>Nicolas Feuillatte</c:v>
                </c:pt>
                <c:pt idx="6">
                  <c:v>Heidsieck &amp; Co Monopole</c:v>
                </c:pt>
                <c:pt idx="7">
                  <c:v>Roederer</c:v>
                </c:pt>
                <c:pt idx="8">
                  <c:v>Ayala</c:v>
                </c:pt>
                <c:pt idx="9">
                  <c:v>Others</c:v>
                </c:pt>
              </c:strCache>
            </c:strRef>
          </c:cat>
          <c:val>
            <c:numRef>
              <c:f>Sheet1!$D$2:$D$11</c:f>
              <c:numCache>
                <c:formatCode>General</c:formatCode>
                <c:ptCount val="10"/>
                <c:pt idx="0">
                  <c:v>43.142461087473315</c:v>
                </c:pt>
                <c:pt idx="1">
                  <c:v>88.904809646853749</c:v>
                </c:pt>
                <c:pt idx="2">
                  <c:v>62.019149834211831</c:v>
                </c:pt>
                <c:pt idx="3">
                  <c:v>74.433036448697123</c:v>
                </c:pt>
                <c:pt idx="4">
                  <c:v>90.90858926750974</c:v>
                </c:pt>
                <c:pt idx="5">
                  <c:v>103.59379697622143</c:v>
                </c:pt>
                <c:pt idx="6">
                  <c:v>35.952041606951987</c:v>
                </c:pt>
                <c:pt idx="7">
                  <c:v>139.53539715429875</c:v>
                </c:pt>
                <c:pt idx="8">
                  <c:v>60.095921722345288</c:v>
                </c:pt>
                <c:pt idx="9">
                  <c:v>151.43054139973452</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Dom Perignon</c:v>
                </c:pt>
                <c:pt idx="1">
                  <c:v>Roederer</c:v>
                </c:pt>
                <c:pt idx="2">
                  <c:v>Malard</c:v>
                </c:pt>
                <c:pt idx="3">
                  <c:v>Ruinart</c:v>
                </c:pt>
                <c:pt idx="4">
                  <c:v>Laurent Perrier</c:v>
                </c:pt>
                <c:pt idx="5">
                  <c:v>Bollinger</c:v>
                </c:pt>
                <c:pt idx="6">
                  <c:v>Piper Heidsieck</c:v>
                </c:pt>
                <c:pt idx="7">
                  <c:v>Veuve Clicquot</c:v>
                </c:pt>
                <c:pt idx="8">
                  <c:v>Pommery</c:v>
                </c:pt>
                <c:pt idx="9">
                  <c:v>Others</c:v>
                </c:pt>
              </c:strCache>
            </c:strRef>
          </c:cat>
          <c:val>
            <c:numRef>
              <c:f>Sheet1!$B$2:$B$11</c:f>
              <c:numCache>
                <c:formatCode>General</c:formatCode>
                <c:ptCount val="10"/>
                <c:pt idx="0">
                  <c:v>0.39571837910538993</c:v>
                </c:pt>
                <c:pt idx="1">
                  <c:v>0.2813726431280128</c:v>
                </c:pt>
                <c:pt idx="2">
                  <c:v>0.10238553124162152</c:v>
                </c:pt>
                <c:pt idx="3">
                  <c:v>9.2220460556149519E-2</c:v>
                </c:pt>
                <c:pt idx="4">
                  <c:v>3.565442952361092E-2</c:v>
                </c:pt>
                <c:pt idx="5">
                  <c:v>2.7751205674697878E-2</c:v>
                </c:pt>
                <c:pt idx="6">
                  <c:v>1.5679563606994733E-2</c:v>
                </c:pt>
                <c:pt idx="7">
                  <c:v>1.328200596024225E-2</c:v>
                </c:pt>
                <c:pt idx="8">
                  <c:v>1.2233833035983225E-2</c:v>
                </c:pt>
                <c:pt idx="9">
                  <c:v>2.3701948167297225E-2</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Dom Perignon</c:v>
                </c:pt>
                <c:pt idx="1">
                  <c:v>Roederer</c:v>
                </c:pt>
                <c:pt idx="2">
                  <c:v>Malard</c:v>
                </c:pt>
                <c:pt idx="3">
                  <c:v>Ruinart</c:v>
                </c:pt>
                <c:pt idx="4">
                  <c:v>Laurent Perrier</c:v>
                </c:pt>
                <c:pt idx="5">
                  <c:v>Bollinger</c:v>
                </c:pt>
                <c:pt idx="6">
                  <c:v>Piper Heidsieck</c:v>
                </c:pt>
                <c:pt idx="7">
                  <c:v>Veuve Clicquot</c:v>
                </c:pt>
                <c:pt idx="8">
                  <c:v>Pommery</c:v>
                </c:pt>
                <c:pt idx="9">
                  <c:v>Others</c:v>
                </c:pt>
              </c:strCache>
            </c:strRef>
          </c:cat>
          <c:val>
            <c:numRef>
              <c:f>Sheet1!$C$2:$C$11</c:f>
              <c:numCache>
                <c:formatCode>General</c:formatCode>
                <c:ptCount val="10"/>
                <c:pt idx="0">
                  <c:v>0.17274939172749404</c:v>
                </c:pt>
                <c:pt idx="1">
                  <c:v>0.26277372262773746</c:v>
                </c:pt>
                <c:pt idx="2">
                  <c:v>0.14355231143552324</c:v>
                </c:pt>
                <c:pt idx="3">
                  <c:v>0.1119221411192215</c:v>
                </c:pt>
                <c:pt idx="4">
                  <c:v>4.8661800486618043E-2</c:v>
                </c:pt>
                <c:pt idx="5">
                  <c:v>2.6763990267639922E-2</c:v>
                </c:pt>
                <c:pt idx="6">
                  <c:v>1.7031630170316316E-2</c:v>
                </c:pt>
                <c:pt idx="7">
                  <c:v>0.13138686131386873</c:v>
                </c:pt>
                <c:pt idx="8">
                  <c:v>1.7031630170316316E-2</c:v>
                </c:pt>
                <c:pt idx="9">
                  <c:v>6.8126520681265262E-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Dom Perignon</c:v>
                </c:pt>
                <c:pt idx="1">
                  <c:v>Roederer</c:v>
                </c:pt>
                <c:pt idx="2">
                  <c:v>Malard</c:v>
                </c:pt>
                <c:pt idx="3">
                  <c:v>Ruinart</c:v>
                </c:pt>
                <c:pt idx="4">
                  <c:v>Laurent Perrier</c:v>
                </c:pt>
                <c:pt idx="5">
                  <c:v>Bollinger</c:v>
                </c:pt>
                <c:pt idx="6">
                  <c:v>Piper Heidsieck</c:v>
                </c:pt>
                <c:pt idx="7">
                  <c:v>Veuve Clicquot</c:v>
                </c:pt>
                <c:pt idx="8">
                  <c:v>Pommery</c:v>
                </c:pt>
                <c:pt idx="9">
                  <c:v>Others</c:v>
                </c:pt>
              </c:strCache>
            </c:strRef>
          </c:cat>
          <c:val>
            <c:numRef>
              <c:f>Sheet1!$D$2:$D$11</c:f>
              <c:numCache>
                <c:formatCode>General</c:formatCode>
                <c:ptCount val="10"/>
                <c:pt idx="0">
                  <c:v>43.654629364962211</c:v>
                </c:pt>
                <c:pt idx="1">
                  <c:v>93.389932904097719</c:v>
                </c:pt>
                <c:pt idx="2">
                  <c:v>140.20761497711183</c:v>
                </c:pt>
                <c:pt idx="3">
                  <c:v>121.36367617799564</c:v>
                </c:pt>
                <c:pt idx="4">
                  <c:v>136.48178118904818</c:v>
                </c:pt>
                <c:pt idx="5">
                  <c:v>96.442621561635249</c:v>
                </c:pt>
                <c:pt idx="6">
                  <c:v>108.62311348205137</c:v>
                </c:pt>
                <c:pt idx="7">
                  <c:v>989.20947413482702</c:v>
                </c:pt>
                <c:pt idx="8">
                  <c:v>139.21744820467458</c:v>
                </c:pt>
                <c:pt idx="9">
                  <c:v>287.43004667971917</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Dom Perignon</c:v>
                </c:pt>
                <c:pt idx="1">
                  <c:v>Roederer</c:v>
                </c:pt>
                <c:pt idx="2">
                  <c:v>Ruinart</c:v>
                </c:pt>
                <c:pt idx="3">
                  <c:v>Malard</c:v>
                </c:pt>
                <c:pt idx="4">
                  <c:v>Bollinger</c:v>
                </c:pt>
                <c:pt idx="5">
                  <c:v>Laurent Perrier</c:v>
                </c:pt>
                <c:pt idx="6">
                  <c:v>Piper Heidsieck</c:v>
                </c:pt>
                <c:pt idx="7">
                  <c:v>Perrier Jouet</c:v>
                </c:pt>
                <c:pt idx="8">
                  <c:v>Pommery</c:v>
                </c:pt>
                <c:pt idx="9">
                  <c:v>Others</c:v>
                </c:pt>
              </c:strCache>
            </c:strRef>
          </c:cat>
          <c:val>
            <c:numRef>
              <c:f>Sheet1!$B$2:$B$11</c:f>
              <c:numCache>
                <c:formatCode>General</c:formatCode>
                <c:ptCount val="10"/>
                <c:pt idx="0">
                  <c:v>0.40794333598647792</c:v>
                </c:pt>
                <c:pt idx="1">
                  <c:v>0.21068576334546626</c:v>
                </c:pt>
                <c:pt idx="2">
                  <c:v>0.15046459840632462</c:v>
                </c:pt>
                <c:pt idx="3">
                  <c:v>8.2867542502481739E-2</c:v>
                </c:pt>
                <c:pt idx="4">
                  <c:v>4.7014318037507712E-2</c:v>
                </c:pt>
                <c:pt idx="5">
                  <c:v>2.8508634644105996E-2</c:v>
                </c:pt>
                <c:pt idx="6">
                  <c:v>1.7546526914512105E-2</c:v>
                </c:pt>
                <c:pt idx="7">
                  <c:v>1.2726150764195069E-2</c:v>
                </c:pt>
                <c:pt idx="8">
                  <c:v>1.1972687516209521E-2</c:v>
                </c:pt>
                <c:pt idx="9">
                  <c:v>3.0270441882719087E-2</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Dom Perignon</c:v>
                </c:pt>
                <c:pt idx="1">
                  <c:v>Roederer</c:v>
                </c:pt>
                <c:pt idx="2">
                  <c:v>Ruinart</c:v>
                </c:pt>
                <c:pt idx="3">
                  <c:v>Malard</c:v>
                </c:pt>
                <c:pt idx="4">
                  <c:v>Bollinger</c:v>
                </c:pt>
                <c:pt idx="5">
                  <c:v>Laurent Perrier</c:v>
                </c:pt>
                <c:pt idx="6">
                  <c:v>Piper Heidsieck</c:v>
                </c:pt>
                <c:pt idx="7">
                  <c:v>Perrier Jouet</c:v>
                </c:pt>
                <c:pt idx="8">
                  <c:v>Pommery</c:v>
                </c:pt>
                <c:pt idx="9">
                  <c:v>Others</c:v>
                </c:pt>
              </c:strCache>
            </c:strRef>
          </c:cat>
          <c:val>
            <c:numRef>
              <c:f>Sheet1!$C$2:$C$11</c:f>
              <c:numCache>
                <c:formatCode>General</c:formatCode>
                <c:ptCount val="10"/>
                <c:pt idx="0">
                  <c:v>0.18155619596541792</c:v>
                </c:pt>
                <c:pt idx="1">
                  <c:v>0.25072046109510099</c:v>
                </c:pt>
                <c:pt idx="2">
                  <c:v>0.15561959654178681</c:v>
                </c:pt>
                <c:pt idx="3">
                  <c:v>0.13832853025936606</c:v>
                </c:pt>
                <c:pt idx="4">
                  <c:v>3.7463976945244969E-2</c:v>
                </c:pt>
                <c:pt idx="5">
                  <c:v>6.340057636887611E-2</c:v>
                </c:pt>
                <c:pt idx="6">
                  <c:v>2.8818443804034592E-2</c:v>
                </c:pt>
                <c:pt idx="7">
                  <c:v>2.8818443804034592E-2</c:v>
                </c:pt>
                <c:pt idx="8">
                  <c:v>2.3054755043227675E-2</c:v>
                </c:pt>
                <c:pt idx="9">
                  <c:v>9.2219020172910698E-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Dom Perignon</c:v>
                </c:pt>
                <c:pt idx="1">
                  <c:v>Roederer</c:v>
                </c:pt>
                <c:pt idx="2">
                  <c:v>Ruinart</c:v>
                </c:pt>
                <c:pt idx="3">
                  <c:v>Malard</c:v>
                </c:pt>
                <c:pt idx="4">
                  <c:v>Bollinger</c:v>
                </c:pt>
                <c:pt idx="5">
                  <c:v>Laurent Perrier</c:v>
                </c:pt>
                <c:pt idx="6">
                  <c:v>Piper Heidsieck</c:v>
                </c:pt>
                <c:pt idx="7">
                  <c:v>Perrier Jouet</c:v>
                </c:pt>
                <c:pt idx="8">
                  <c:v>Pommery</c:v>
                </c:pt>
                <c:pt idx="9">
                  <c:v>Others</c:v>
                </c:pt>
              </c:strCache>
            </c:strRef>
          </c:cat>
          <c:val>
            <c:numRef>
              <c:f>Sheet1!$D$2:$D$11</c:f>
              <c:numCache>
                <c:formatCode>General</c:formatCode>
                <c:ptCount val="10"/>
                <c:pt idx="0">
                  <c:v>44.505248633706316</c:v>
                </c:pt>
                <c:pt idx="1">
                  <c:v>119.00208970645487</c:v>
                </c:pt>
                <c:pt idx="2">
                  <c:v>103.42605382931424</c:v>
                </c:pt>
                <c:pt idx="3">
                  <c:v>166.92727463858768</c:v>
                </c:pt>
                <c:pt idx="4">
                  <c:v>79.686313678646698</c:v>
                </c:pt>
                <c:pt idx="5">
                  <c:v>222.39078496866506</c:v>
                </c:pt>
                <c:pt idx="6">
                  <c:v>164.24015957368684</c:v>
                </c:pt>
                <c:pt idx="7">
                  <c:v>226.45059246913112</c:v>
                </c:pt>
                <c:pt idx="8">
                  <c:v>192.56123582958648</c:v>
                </c:pt>
                <c:pt idx="9">
                  <c:v>304.65039304747336</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Dom Perignon</c:v>
                </c:pt>
                <c:pt idx="1">
                  <c:v>Roederer</c:v>
                </c:pt>
                <c:pt idx="2">
                  <c:v>Ruinart</c:v>
                </c:pt>
                <c:pt idx="3">
                  <c:v>Malard</c:v>
                </c:pt>
                <c:pt idx="4">
                  <c:v>Bollinger</c:v>
                </c:pt>
                <c:pt idx="5">
                  <c:v>Perrier Jouet</c:v>
                </c:pt>
                <c:pt idx="6">
                  <c:v>Laurent Perrier</c:v>
                </c:pt>
                <c:pt idx="7">
                  <c:v>Pommery</c:v>
                </c:pt>
                <c:pt idx="8">
                  <c:v>Piper Heidsieck</c:v>
                </c:pt>
                <c:pt idx="9">
                  <c:v>Others</c:v>
                </c:pt>
              </c:strCache>
            </c:strRef>
          </c:cat>
          <c:val>
            <c:numRef>
              <c:f>Sheet1!$B$2:$B$11</c:f>
              <c:numCache>
                <c:formatCode>General</c:formatCode>
                <c:ptCount val="10"/>
                <c:pt idx="0">
                  <c:v>0.43738741211283488</c:v>
                </c:pt>
                <c:pt idx="1">
                  <c:v>0.28286817798492009</c:v>
                </c:pt>
                <c:pt idx="2">
                  <c:v>7.1372611639778635E-2</c:v>
                </c:pt>
                <c:pt idx="3">
                  <c:v>5.8119052490281889E-2</c:v>
                </c:pt>
                <c:pt idx="4">
                  <c:v>2.9625896336808066E-2</c:v>
                </c:pt>
                <c:pt idx="5">
                  <c:v>2.4847928382876163E-2</c:v>
                </c:pt>
                <c:pt idx="6">
                  <c:v>1.8675242890433586E-2</c:v>
                </c:pt>
                <c:pt idx="7">
                  <c:v>1.7971646565102622E-2</c:v>
                </c:pt>
                <c:pt idx="8">
                  <c:v>1.0464124072475411E-2</c:v>
                </c:pt>
                <c:pt idx="9">
                  <c:v>4.8667907524488643E-2</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Dom Perignon</c:v>
                </c:pt>
                <c:pt idx="1">
                  <c:v>Roederer</c:v>
                </c:pt>
                <c:pt idx="2">
                  <c:v>Ruinart</c:v>
                </c:pt>
                <c:pt idx="3">
                  <c:v>Malard</c:v>
                </c:pt>
                <c:pt idx="4">
                  <c:v>Bollinger</c:v>
                </c:pt>
                <c:pt idx="5">
                  <c:v>Perrier Jouet</c:v>
                </c:pt>
                <c:pt idx="6">
                  <c:v>Laurent Perrier</c:v>
                </c:pt>
                <c:pt idx="7">
                  <c:v>Pommery</c:v>
                </c:pt>
                <c:pt idx="8">
                  <c:v>Piper Heidsieck</c:v>
                </c:pt>
                <c:pt idx="9">
                  <c:v>Others</c:v>
                </c:pt>
              </c:strCache>
            </c:strRef>
          </c:cat>
          <c:val>
            <c:numRef>
              <c:f>Sheet1!$C$2:$C$11</c:f>
              <c:numCache>
                <c:formatCode>General</c:formatCode>
                <c:ptCount val="10"/>
                <c:pt idx="0">
                  <c:v>0.16452742123687281</c:v>
                </c:pt>
                <c:pt idx="1">
                  <c:v>0.17736289381563594</c:v>
                </c:pt>
                <c:pt idx="2">
                  <c:v>7.9346557759626596E-2</c:v>
                </c:pt>
                <c:pt idx="3">
                  <c:v>6.4177362893815634E-2</c:v>
                </c:pt>
                <c:pt idx="4">
                  <c:v>4.9008168028004673E-2</c:v>
                </c:pt>
                <c:pt idx="5">
                  <c:v>4.0840140023337225E-2</c:v>
                </c:pt>
                <c:pt idx="6">
                  <c:v>3.1505250875145857E-2</c:v>
                </c:pt>
                <c:pt idx="7">
                  <c:v>4.3173862310385065E-2</c:v>
                </c:pt>
                <c:pt idx="8">
                  <c:v>2.3337222870478413E-2</c:v>
                </c:pt>
                <c:pt idx="9">
                  <c:v>0.3267211201866978</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Dom Perignon</c:v>
                </c:pt>
                <c:pt idx="1">
                  <c:v>Roederer</c:v>
                </c:pt>
                <c:pt idx="2">
                  <c:v>Ruinart</c:v>
                </c:pt>
                <c:pt idx="3">
                  <c:v>Malard</c:v>
                </c:pt>
                <c:pt idx="4">
                  <c:v>Bollinger</c:v>
                </c:pt>
                <c:pt idx="5">
                  <c:v>Perrier Jouet</c:v>
                </c:pt>
                <c:pt idx="6">
                  <c:v>Laurent Perrier</c:v>
                </c:pt>
                <c:pt idx="7">
                  <c:v>Pommery</c:v>
                </c:pt>
                <c:pt idx="8">
                  <c:v>Piper Heidsieck</c:v>
                </c:pt>
                <c:pt idx="9">
                  <c:v>Others</c:v>
                </c:pt>
              </c:strCache>
            </c:strRef>
          </c:cat>
          <c:val>
            <c:numRef>
              <c:f>Sheet1!$D$2:$D$11</c:f>
              <c:numCache>
                <c:formatCode>General</c:formatCode>
                <c:ptCount val="10"/>
                <c:pt idx="0">
                  <c:v>37.615947940090443</c:v>
                </c:pt>
                <c:pt idx="1">
                  <c:v>62.701607186472309</c:v>
                </c:pt>
                <c:pt idx="2">
                  <c:v>111.17227734371397</c:v>
                </c:pt>
                <c:pt idx="3">
                  <c:v>110.4239662278506</c:v>
                </c:pt>
                <c:pt idx="4">
                  <c:v>165.4234102180244</c:v>
                </c:pt>
                <c:pt idx="5">
                  <c:v>164.36034181216502</c:v>
                </c:pt>
                <c:pt idx="6">
                  <c:v>168.70062178031674</c:v>
                </c:pt>
                <c:pt idx="7">
                  <c:v>240.23320375229366</c:v>
                </c:pt>
                <c:pt idx="8">
                  <c:v>223.0212744883645</c:v>
                </c:pt>
                <c:pt idx="9">
                  <c:v>671.32765061308373</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Dom Perignon</c:v>
                </c:pt>
                <c:pt idx="1">
                  <c:v>Roederer</c:v>
                </c:pt>
                <c:pt idx="2">
                  <c:v>Ruinart</c:v>
                </c:pt>
                <c:pt idx="3">
                  <c:v>Veuve Clicquot</c:v>
                </c:pt>
                <c:pt idx="4">
                  <c:v>Malard</c:v>
                </c:pt>
                <c:pt idx="5">
                  <c:v>Bollinger</c:v>
                </c:pt>
                <c:pt idx="6">
                  <c:v>Laurent Perrier</c:v>
                </c:pt>
                <c:pt idx="7">
                  <c:v>Perrier Jouet</c:v>
                </c:pt>
                <c:pt idx="8">
                  <c:v>Pommery</c:v>
                </c:pt>
                <c:pt idx="9">
                  <c:v>Others</c:v>
                </c:pt>
              </c:strCache>
            </c:strRef>
          </c:cat>
          <c:val>
            <c:numRef>
              <c:f>Sheet1!$B$2:$B$11</c:f>
              <c:numCache>
                <c:formatCode>General</c:formatCode>
                <c:ptCount val="10"/>
                <c:pt idx="0">
                  <c:v>0.54029169393954657</c:v>
                </c:pt>
                <c:pt idx="1">
                  <c:v>0.20392729469815216</c:v>
                </c:pt>
                <c:pt idx="2">
                  <c:v>7.4568249332863407E-2</c:v>
                </c:pt>
                <c:pt idx="3">
                  <c:v>5.0759444808082844E-2</c:v>
                </c:pt>
                <c:pt idx="4">
                  <c:v>3.9430710101874697E-2</c:v>
                </c:pt>
                <c:pt idx="5">
                  <c:v>2.8722957890673514E-2</c:v>
                </c:pt>
                <c:pt idx="6">
                  <c:v>2.7756239195743753E-2</c:v>
                </c:pt>
                <c:pt idx="7">
                  <c:v>1.0456002551063224E-2</c:v>
                </c:pt>
                <c:pt idx="8">
                  <c:v>1.0116979675410772E-2</c:v>
                </c:pt>
                <c:pt idx="9">
                  <c:v>1.3970427806589128E-2</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Dom Perignon</c:v>
                </c:pt>
                <c:pt idx="1">
                  <c:v>Roederer</c:v>
                </c:pt>
                <c:pt idx="2">
                  <c:v>Ruinart</c:v>
                </c:pt>
                <c:pt idx="3">
                  <c:v>Veuve Clicquot</c:v>
                </c:pt>
                <c:pt idx="4">
                  <c:v>Malard</c:v>
                </c:pt>
                <c:pt idx="5">
                  <c:v>Bollinger</c:v>
                </c:pt>
                <c:pt idx="6">
                  <c:v>Laurent Perrier</c:v>
                </c:pt>
                <c:pt idx="7">
                  <c:v>Perrier Jouet</c:v>
                </c:pt>
                <c:pt idx="8">
                  <c:v>Pommery</c:v>
                </c:pt>
                <c:pt idx="9">
                  <c:v>Others</c:v>
                </c:pt>
              </c:strCache>
            </c:strRef>
          </c:cat>
          <c:val>
            <c:numRef>
              <c:f>Sheet1!$C$2:$C$11</c:f>
              <c:numCache>
                <c:formatCode>General</c:formatCode>
                <c:ptCount val="10"/>
                <c:pt idx="0">
                  <c:v>0.21361502347417843</c:v>
                </c:pt>
                <c:pt idx="1">
                  <c:v>0.24765258215962441</c:v>
                </c:pt>
                <c:pt idx="2">
                  <c:v>0.11502347417840376</c:v>
                </c:pt>
                <c:pt idx="3">
                  <c:v>6.455399061032864E-2</c:v>
                </c:pt>
                <c:pt idx="4">
                  <c:v>8.2159624413145546E-2</c:v>
                </c:pt>
                <c:pt idx="5">
                  <c:v>7.0422535211267623E-2</c:v>
                </c:pt>
                <c:pt idx="6">
                  <c:v>5.1643192488262914E-2</c:v>
                </c:pt>
                <c:pt idx="7">
                  <c:v>5.6338028169014093E-2</c:v>
                </c:pt>
                <c:pt idx="8">
                  <c:v>1.7605633802816902E-2</c:v>
                </c:pt>
                <c:pt idx="9">
                  <c:v>8.098591549295775E-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Dom Perignon</c:v>
                </c:pt>
                <c:pt idx="1">
                  <c:v>Roederer</c:v>
                </c:pt>
                <c:pt idx="2">
                  <c:v>Ruinart</c:v>
                </c:pt>
                <c:pt idx="3">
                  <c:v>Veuve Clicquot</c:v>
                </c:pt>
                <c:pt idx="4">
                  <c:v>Malard</c:v>
                </c:pt>
                <c:pt idx="5">
                  <c:v>Bollinger</c:v>
                </c:pt>
                <c:pt idx="6">
                  <c:v>Laurent Perrier</c:v>
                </c:pt>
                <c:pt idx="7">
                  <c:v>Perrier Jouet</c:v>
                </c:pt>
                <c:pt idx="8">
                  <c:v>Pommery</c:v>
                </c:pt>
                <c:pt idx="9">
                  <c:v>Others</c:v>
                </c:pt>
              </c:strCache>
            </c:strRef>
          </c:cat>
          <c:val>
            <c:numRef>
              <c:f>Sheet1!$D$2:$D$11</c:f>
              <c:numCache>
                <c:formatCode>General</c:formatCode>
                <c:ptCount val="10"/>
                <c:pt idx="0">
                  <c:v>39.53698083281656</c:v>
                </c:pt>
                <c:pt idx="1">
                  <c:v>121.44160619900994</c:v>
                </c:pt>
                <c:pt idx="2">
                  <c:v>154.25261449407677</c:v>
                </c:pt>
                <c:pt idx="3">
                  <c:v>127.1763134021694</c:v>
                </c:pt>
                <c:pt idx="4">
                  <c:v>208.36455696809617</c:v>
                </c:pt>
                <c:pt idx="5">
                  <c:v>245.17856231698954</c:v>
                </c:pt>
                <c:pt idx="6">
                  <c:v>186.05976164156303</c:v>
                </c:pt>
                <c:pt idx="7">
                  <c:v>538.81039043248256</c:v>
                </c:pt>
                <c:pt idx="8">
                  <c:v>174.02065011168537</c:v>
                </c:pt>
                <c:pt idx="9">
                  <c:v>579.69531509093008</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Dom Perignon</c:v>
                </c:pt>
                <c:pt idx="1">
                  <c:v>Roederer</c:v>
                </c:pt>
                <c:pt idx="2">
                  <c:v>Ruinart</c:v>
                </c:pt>
                <c:pt idx="3">
                  <c:v>Malard</c:v>
                </c:pt>
                <c:pt idx="4">
                  <c:v>Bollinger</c:v>
                </c:pt>
                <c:pt idx="5">
                  <c:v>Laurent Perrier</c:v>
                </c:pt>
                <c:pt idx="6">
                  <c:v>Piper Heidsieck</c:v>
                </c:pt>
                <c:pt idx="7">
                  <c:v>Pommery</c:v>
                </c:pt>
                <c:pt idx="8">
                  <c:v>Perrier Jouet</c:v>
                </c:pt>
                <c:pt idx="9">
                  <c:v>Others</c:v>
                </c:pt>
              </c:strCache>
            </c:strRef>
          </c:cat>
          <c:val>
            <c:numRef>
              <c:f>Sheet1!$B$2:$B$11</c:f>
              <c:numCache>
                <c:formatCode>General</c:formatCode>
                <c:ptCount val="10"/>
                <c:pt idx="0">
                  <c:v>0.4852552458502975</c:v>
                </c:pt>
                <c:pt idx="1">
                  <c:v>0.17096147823363608</c:v>
                </c:pt>
                <c:pt idx="2">
                  <c:v>0.12200438459129345</c:v>
                </c:pt>
                <c:pt idx="3">
                  <c:v>4.740995928593799E-2</c:v>
                </c:pt>
                <c:pt idx="4">
                  <c:v>3.6279361102411527E-2</c:v>
                </c:pt>
                <c:pt idx="5">
                  <c:v>2.943313498277482E-2</c:v>
                </c:pt>
                <c:pt idx="6">
                  <c:v>2.6357657375508926E-2</c:v>
                </c:pt>
                <c:pt idx="7">
                  <c:v>2.22048230504228E-2</c:v>
                </c:pt>
                <c:pt idx="8">
                  <c:v>1.5007829627309741E-2</c:v>
                </c:pt>
                <c:pt idx="9">
                  <c:v>4.5086125900407142E-2</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Dom Perignon</c:v>
                </c:pt>
                <c:pt idx="1">
                  <c:v>Roederer</c:v>
                </c:pt>
                <c:pt idx="2">
                  <c:v>Ruinart</c:v>
                </c:pt>
                <c:pt idx="3">
                  <c:v>Malard</c:v>
                </c:pt>
                <c:pt idx="4">
                  <c:v>Bollinger</c:v>
                </c:pt>
                <c:pt idx="5">
                  <c:v>Laurent Perrier</c:v>
                </c:pt>
                <c:pt idx="6">
                  <c:v>Piper Heidsieck</c:v>
                </c:pt>
                <c:pt idx="7">
                  <c:v>Pommery</c:v>
                </c:pt>
                <c:pt idx="8">
                  <c:v>Perrier Jouet</c:v>
                </c:pt>
                <c:pt idx="9">
                  <c:v>Others</c:v>
                </c:pt>
              </c:strCache>
            </c:strRef>
          </c:cat>
          <c:val>
            <c:numRef>
              <c:f>Sheet1!$C$2:$C$11</c:f>
              <c:numCache>
                <c:formatCode>General</c:formatCode>
                <c:ptCount val="10"/>
                <c:pt idx="0">
                  <c:v>0.16649214659685863</c:v>
                </c:pt>
                <c:pt idx="1">
                  <c:v>0.193717277486911</c:v>
                </c:pt>
                <c:pt idx="2">
                  <c:v>0.10680628272251308</c:v>
                </c:pt>
                <c:pt idx="3">
                  <c:v>6.2827225130890063E-2</c:v>
                </c:pt>
                <c:pt idx="4">
                  <c:v>4.9214659685863867E-2</c:v>
                </c:pt>
                <c:pt idx="5">
                  <c:v>6.1780104712041886E-2</c:v>
                </c:pt>
                <c:pt idx="6">
                  <c:v>3.9790575916230364E-2</c:v>
                </c:pt>
                <c:pt idx="7">
                  <c:v>5.340314136125654E-2</c:v>
                </c:pt>
                <c:pt idx="8">
                  <c:v>5.235602094240837E-2</c:v>
                </c:pt>
                <c:pt idx="9">
                  <c:v>0.21361256544502616</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Dom Perignon</c:v>
                </c:pt>
                <c:pt idx="1">
                  <c:v>Roederer</c:v>
                </c:pt>
                <c:pt idx="2">
                  <c:v>Ruinart</c:v>
                </c:pt>
                <c:pt idx="3">
                  <c:v>Malard</c:v>
                </c:pt>
                <c:pt idx="4">
                  <c:v>Bollinger</c:v>
                </c:pt>
                <c:pt idx="5">
                  <c:v>Laurent Perrier</c:v>
                </c:pt>
                <c:pt idx="6">
                  <c:v>Piper Heidsieck</c:v>
                </c:pt>
                <c:pt idx="7">
                  <c:v>Pommery</c:v>
                </c:pt>
                <c:pt idx="8">
                  <c:v>Perrier Jouet</c:v>
                </c:pt>
                <c:pt idx="9">
                  <c:v>Others</c:v>
                </c:pt>
              </c:strCache>
            </c:strRef>
          </c:cat>
          <c:val>
            <c:numRef>
              <c:f>Sheet1!$D$2:$D$11</c:f>
              <c:numCache>
                <c:formatCode>General</c:formatCode>
                <c:ptCount val="10"/>
                <c:pt idx="0">
                  <c:v>34.31022086224327</c:v>
                </c:pt>
                <c:pt idx="1">
                  <c:v>113.31048344246113</c:v>
                </c:pt>
                <c:pt idx="2">
                  <c:v>87.542987147803743</c:v>
                </c:pt>
                <c:pt idx="3">
                  <c:v>132.5190446841934</c:v>
                </c:pt>
                <c:pt idx="4">
                  <c:v>135.65470336409126</c:v>
                </c:pt>
                <c:pt idx="5">
                  <c:v>209.89984501548173</c:v>
                </c:pt>
                <c:pt idx="6">
                  <c:v>150.96400772400614</c:v>
                </c:pt>
                <c:pt idx="7">
                  <c:v>240.50244057333163</c:v>
                </c:pt>
                <c:pt idx="8">
                  <c:v>348.85804438462003</c:v>
                </c:pt>
                <c:pt idx="9">
                  <c:v>473.78780318558523</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Dom Perignon</c:v>
                </c:pt>
                <c:pt idx="1">
                  <c:v>Roederer</c:v>
                </c:pt>
                <c:pt idx="2">
                  <c:v>Ruinart</c:v>
                </c:pt>
                <c:pt idx="3">
                  <c:v>Malard</c:v>
                </c:pt>
                <c:pt idx="4">
                  <c:v>Bollinger</c:v>
                </c:pt>
                <c:pt idx="5">
                  <c:v>Laurent Perrier</c:v>
                </c:pt>
                <c:pt idx="6">
                  <c:v>Veuve Clicquot</c:v>
                </c:pt>
                <c:pt idx="7">
                  <c:v>Pommery</c:v>
                </c:pt>
                <c:pt idx="8">
                  <c:v>Piper Heidsieck</c:v>
                </c:pt>
                <c:pt idx="9">
                  <c:v>Others</c:v>
                </c:pt>
              </c:strCache>
            </c:strRef>
          </c:cat>
          <c:val>
            <c:numRef>
              <c:f>Sheet1!$B$2:$B$11</c:f>
              <c:numCache>
                <c:formatCode>General</c:formatCode>
                <c:ptCount val="10"/>
                <c:pt idx="0">
                  <c:v>0.42066476205530656</c:v>
                </c:pt>
                <c:pt idx="1">
                  <c:v>0.26477216725866143</c:v>
                </c:pt>
                <c:pt idx="2">
                  <c:v>9.3168853327878304E-2</c:v>
                </c:pt>
                <c:pt idx="3">
                  <c:v>8.0476028862068325E-2</c:v>
                </c:pt>
                <c:pt idx="4">
                  <c:v>3.400405407918472E-2</c:v>
                </c:pt>
                <c:pt idx="5">
                  <c:v>3.0143496736280289E-2</c:v>
                </c:pt>
                <c:pt idx="6">
                  <c:v>1.8573447641009429E-2</c:v>
                </c:pt>
                <c:pt idx="7">
                  <c:v>1.2987465828575679E-2</c:v>
                </c:pt>
                <c:pt idx="8">
                  <c:v>1.2290670968701765E-2</c:v>
                </c:pt>
                <c:pt idx="9">
                  <c:v>3.2919053242333518E-2</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Dom Perignon</c:v>
                </c:pt>
                <c:pt idx="1">
                  <c:v>Roederer</c:v>
                </c:pt>
                <c:pt idx="2">
                  <c:v>Ruinart</c:v>
                </c:pt>
                <c:pt idx="3">
                  <c:v>Malard</c:v>
                </c:pt>
                <c:pt idx="4">
                  <c:v>Bollinger</c:v>
                </c:pt>
                <c:pt idx="5">
                  <c:v>Laurent Perrier</c:v>
                </c:pt>
                <c:pt idx="6">
                  <c:v>Veuve Clicquot</c:v>
                </c:pt>
                <c:pt idx="7">
                  <c:v>Pommery</c:v>
                </c:pt>
                <c:pt idx="8">
                  <c:v>Piper Heidsieck</c:v>
                </c:pt>
                <c:pt idx="9">
                  <c:v>Others</c:v>
                </c:pt>
              </c:strCache>
            </c:strRef>
          </c:cat>
          <c:val>
            <c:numRef>
              <c:f>Sheet1!$C$2:$C$11</c:f>
              <c:numCache>
                <c:formatCode>General</c:formatCode>
                <c:ptCount val="10"/>
                <c:pt idx="0">
                  <c:v>0.18202247191011264</c:v>
                </c:pt>
                <c:pt idx="1">
                  <c:v>0.213483146067416</c:v>
                </c:pt>
                <c:pt idx="2">
                  <c:v>0.1123595505617979</c:v>
                </c:pt>
                <c:pt idx="3">
                  <c:v>0.13707865168539343</c:v>
                </c:pt>
                <c:pt idx="4">
                  <c:v>3.3707865168539373E-2</c:v>
                </c:pt>
                <c:pt idx="5">
                  <c:v>4.9438202247191081E-2</c:v>
                </c:pt>
                <c:pt idx="6">
                  <c:v>9.6629213483146195E-2</c:v>
                </c:pt>
                <c:pt idx="7">
                  <c:v>2.0224719101123622E-2</c:v>
                </c:pt>
                <c:pt idx="8">
                  <c:v>1.3483146067415748E-2</c:v>
                </c:pt>
                <c:pt idx="9">
                  <c:v>0.14157303370786536</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Dom Perignon</c:v>
                </c:pt>
                <c:pt idx="1">
                  <c:v>Roederer</c:v>
                </c:pt>
                <c:pt idx="2">
                  <c:v>Ruinart</c:v>
                </c:pt>
                <c:pt idx="3">
                  <c:v>Malard</c:v>
                </c:pt>
                <c:pt idx="4">
                  <c:v>Bollinger</c:v>
                </c:pt>
                <c:pt idx="5">
                  <c:v>Laurent Perrier</c:v>
                </c:pt>
                <c:pt idx="6">
                  <c:v>Veuve Clicquot</c:v>
                </c:pt>
                <c:pt idx="7">
                  <c:v>Pommery</c:v>
                </c:pt>
                <c:pt idx="8">
                  <c:v>Piper Heidsieck</c:v>
                </c:pt>
                <c:pt idx="9">
                  <c:v>Others</c:v>
                </c:pt>
              </c:strCache>
            </c:strRef>
          </c:cat>
          <c:val>
            <c:numRef>
              <c:f>Sheet1!$D$2:$D$11</c:f>
              <c:numCache>
                <c:formatCode>General</c:formatCode>
                <c:ptCount val="10"/>
                <c:pt idx="0">
                  <c:v>43.270197156704413</c:v>
                </c:pt>
                <c:pt idx="1">
                  <c:v>80.62899823562644</c:v>
                </c:pt>
                <c:pt idx="2">
                  <c:v>120.59776046226953</c:v>
                </c:pt>
                <c:pt idx="3">
                  <c:v>170.33476132419386</c:v>
                </c:pt>
                <c:pt idx="4">
                  <c:v>99.128960005899245</c:v>
                </c:pt>
                <c:pt idx="5">
                  <c:v>164.00951316204782</c:v>
                </c:pt>
                <c:pt idx="6">
                  <c:v>520.25458789779429</c:v>
                </c:pt>
                <c:pt idx="7">
                  <c:v>155.72490713795892</c:v>
                </c:pt>
                <c:pt idx="8">
                  <c:v>109.70227827065442</c:v>
                </c:pt>
                <c:pt idx="9">
                  <c:v>430.06411109601447</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Dom Perignon</c:v>
                </c:pt>
                <c:pt idx="1">
                  <c:v>Roederer</c:v>
                </c:pt>
                <c:pt idx="2">
                  <c:v>Ruinart</c:v>
                </c:pt>
                <c:pt idx="3">
                  <c:v>Malard</c:v>
                </c:pt>
                <c:pt idx="4">
                  <c:v>Perrier Jouet</c:v>
                </c:pt>
                <c:pt idx="5">
                  <c:v>Bollinger</c:v>
                </c:pt>
                <c:pt idx="6">
                  <c:v>Piper Heidsieck</c:v>
                </c:pt>
                <c:pt idx="7">
                  <c:v>Laurent Perrier</c:v>
                </c:pt>
                <c:pt idx="8">
                  <c:v>Others</c:v>
                </c:pt>
              </c:strCache>
            </c:strRef>
          </c:cat>
          <c:val>
            <c:numRef>
              <c:f>Sheet1!$B$2:$B$10</c:f>
              <c:numCache>
                <c:formatCode>General</c:formatCode>
                <c:ptCount val="9"/>
                <c:pt idx="0">
                  <c:v>0.53318754747436381</c:v>
                </c:pt>
                <c:pt idx="1">
                  <c:v>0.24217266426129891</c:v>
                </c:pt>
                <c:pt idx="2">
                  <c:v>7.6407021458412452E-2</c:v>
                </c:pt>
                <c:pt idx="3">
                  <c:v>3.555533137105963E-2</c:v>
                </c:pt>
                <c:pt idx="4">
                  <c:v>2.7493590960881123E-2</c:v>
                </c:pt>
                <c:pt idx="5">
                  <c:v>2.406356817318648E-2</c:v>
                </c:pt>
                <c:pt idx="6">
                  <c:v>2.1971729016331182E-2</c:v>
                </c:pt>
                <c:pt idx="7">
                  <c:v>1.6126447968097226E-2</c:v>
                </c:pt>
                <c:pt idx="8">
                  <c:v>2.3022099316369161E-2</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Dom Perignon</c:v>
                </c:pt>
                <c:pt idx="1">
                  <c:v>Roederer</c:v>
                </c:pt>
                <c:pt idx="2">
                  <c:v>Ruinart</c:v>
                </c:pt>
                <c:pt idx="3">
                  <c:v>Malard</c:v>
                </c:pt>
                <c:pt idx="4">
                  <c:v>Perrier Jouet</c:v>
                </c:pt>
                <c:pt idx="5">
                  <c:v>Bollinger</c:v>
                </c:pt>
                <c:pt idx="6">
                  <c:v>Piper Heidsieck</c:v>
                </c:pt>
                <c:pt idx="7">
                  <c:v>Laurent Perrier</c:v>
                </c:pt>
                <c:pt idx="8">
                  <c:v>Others</c:v>
                </c:pt>
              </c:strCache>
            </c:strRef>
          </c:cat>
          <c:val>
            <c:numRef>
              <c:f>Sheet1!$C$2:$C$10</c:f>
              <c:numCache>
                <c:formatCode>General</c:formatCode>
                <c:ptCount val="9"/>
                <c:pt idx="0">
                  <c:v>0.2226950354609929</c:v>
                </c:pt>
                <c:pt idx="1">
                  <c:v>0.27092198581560278</c:v>
                </c:pt>
                <c:pt idx="2">
                  <c:v>0.11347517730496454</c:v>
                </c:pt>
                <c:pt idx="3">
                  <c:v>6.3829787234042534E-2</c:v>
                </c:pt>
                <c:pt idx="4">
                  <c:v>4.2553191489361694E-2</c:v>
                </c:pt>
                <c:pt idx="5">
                  <c:v>6.8085106382978711E-2</c:v>
                </c:pt>
                <c:pt idx="6">
                  <c:v>1.9858156028368795E-2</c:v>
                </c:pt>
                <c:pt idx="7">
                  <c:v>4.1134751773049649E-2</c:v>
                </c:pt>
                <c:pt idx="8">
                  <c:v>0.1574468085106383</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Dom Perignon</c:v>
                </c:pt>
                <c:pt idx="1">
                  <c:v>Roederer</c:v>
                </c:pt>
                <c:pt idx="2">
                  <c:v>Ruinart</c:v>
                </c:pt>
                <c:pt idx="3">
                  <c:v>Malard</c:v>
                </c:pt>
                <c:pt idx="4">
                  <c:v>Perrier Jouet</c:v>
                </c:pt>
                <c:pt idx="5">
                  <c:v>Bollinger</c:v>
                </c:pt>
                <c:pt idx="6">
                  <c:v>Piper Heidsieck</c:v>
                </c:pt>
                <c:pt idx="7">
                  <c:v>Laurent Perrier</c:v>
                </c:pt>
                <c:pt idx="8">
                  <c:v>Others</c:v>
                </c:pt>
              </c:strCache>
            </c:strRef>
          </c:cat>
          <c:val>
            <c:numRef>
              <c:f>Sheet1!$D$2:$D$10</c:f>
              <c:numCache>
                <c:formatCode>General</c:formatCode>
                <c:ptCount val="9"/>
                <c:pt idx="0">
                  <c:v>41.766736022975159</c:v>
                </c:pt>
                <c:pt idx="1">
                  <c:v>111.87141481966934</c:v>
                </c:pt>
                <c:pt idx="2">
                  <c:v>148.51406996244174</c:v>
                </c:pt>
                <c:pt idx="3">
                  <c:v>179.5224085184507</c:v>
                </c:pt>
                <c:pt idx="4">
                  <c:v>154.7749493687744</c:v>
                </c:pt>
                <c:pt idx="5">
                  <c:v>282.9385313639583</c:v>
                </c:pt>
                <c:pt idx="6">
                  <c:v>90.380488552396557</c:v>
                </c:pt>
                <c:pt idx="7">
                  <c:v>255.07633084747536</c:v>
                </c:pt>
                <c:pt idx="8">
                  <c:v>683.89422852802375</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Dom Perignon</c:v>
                </c:pt>
                <c:pt idx="1">
                  <c:v>Roederer</c:v>
                </c:pt>
                <c:pt idx="2">
                  <c:v>Ruinart</c:v>
                </c:pt>
                <c:pt idx="3">
                  <c:v>Malard</c:v>
                </c:pt>
                <c:pt idx="4">
                  <c:v>Laurent Perrier</c:v>
                </c:pt>
                <c:pt idx="5">
                  <c:v>Pommery</c:v>
                </c:pt>
                <c:pt idx="6">
                  <c:v>Piper Heidsieck</c:v>
                </c:pt>
                <c:pt idx="7">
                  <c:v>Bollinger</c:v>
                </c:pt>
                <c:pt idx="8">
                  <c:v>Perrier Jouet</c:v>
                </c:pt>
                <c:pt idx="9">
                  <c:v>Others</c:v>
                </c:pt>
              </c:strCache>
            </c:strRef>
          </c:cat>
          <c:val>
            <c:numRef>
              <c:f>Sheet1!$B$2:$B$11</c:f>
              <c:numCache>
                <c:formatCode>General</c:formatCode>
                <c:ptCount val="10"/>
                <c:pt idx="0">
                  <c:v>0.5402498606420304</c:v>
                </c:pt>
                <c:pt idx="1">
                  <c:v>0.16529494704397155</c:v>
                </c:pt>
                <c:pt idx="2">
                  <c:v>0.11762468439518642</c:v>
                </c:pt>
                <c:pt idx="3">
                  <c:v>5.8018821523428535E-2</c:v>
                </c:pt>
                <c:pt idx="4">
                  <c:v>3.4960815817949305E-2</c:v>
                </c:pt>
                <c:pt idx="5">
                  <c:v>1.8146047152178903E-2</c:v>
                </c:pt>
                <c:pt idx="6">
                  <c:v>1.7864052201855919E-2</c:v>
                </c:pt>
                <c:pt idx="7">
                  <c:v>1.6985277240384299E-2</c:v>
                </c:pt>
                <c:pt idx="8">
                  <c:v>1.270944683083582E-2</c:v>
                </c:pt>
                <c:pt idx="9">
                  <c:v>1.8146047152178903E-2</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Dom Perignon</c:v>
                </c:pt>
                <c:pt idx="1">
                  <c:v>Roederer</c:v>
                </c:pt>
                <c:pt idx="2">
                  <c:v>Ruinart</c:v>
                </c:pt>
                <c:pt idx="3">
                  <c:v>Malard</c:v>
                </c:pt>
                <c:pt idx="4">
                  <c:v>Laurent Perrier</c:v>
                </c:pt>
                <c:pt idx="5">
                  <c:v>Pommery</c:v>
                </c:pt>
                <c:pt idx="6">
                  <c:v>Piper Heidsieck</c:v>
                </c:pt>
                <c:pt idx="7">
                  <c:v>Bollinger</c:v>
                </c:pt>
                <c:pt idx="8">
                  <c:v>Perrier Jouet</c:v>
                </c:pt>
                <c:pt idx="9">
                  <c:v>Others</c:v>
                </c:pt>
              </c:strCache>
            </c:strRef>
          </c:cat>
          <c:val>
            <c:numRef>
              <c:f>Sheet1!$C$2:$C$11</c:f>
              <c:numCache>
                <c:formatCode>General</c:formatCode>
                <c:ptCount val="10"/>
                <c:pt idx="0">
                  <c:v>0.22375215146299476</c:v>
                </c:pt>
                <c:pt idx="1">
                  <c:v>0.22719449225473318</c:v>
                </c:pt>
                <c:pt idx="2">
                  <c:v>0.1480206540447504</c:v>
                </c:pt>
                <c:pt idx="3">
                  <c:v>7.0567986230636828E-2</c:v>
                </c:pt>
                <c:pt idx="4">
                  <c:v>6.0240963855421666E-2</c:v>
                </c:pt>
                <c:pt idx="5">
                  <c:v>3.2702237521514625E-2</c:v>
                </c:pt>
                <c:pt idx="6">
                  <c:v>3.0981067125645429E-2</c:v>
                </c:pt>
                <c:pt idx="7">
                  <c:v>2.237521514629948E-2</c:v>
                </c:pt>
                <c:pt idx="8">
                  <c:v>7.2289156626506007E-2</c:v>
                </c:pt>
                <c:pt idx="9">
                  <c:v>0.11187607573149738</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Dom Perignon</c:v>
                </c:pt>
                <c:pt idx="1">
                  <c:v>Roederer</c:v>
                </c:pt>
                <c:pt idx="2">
                  <c:v>Ruinart</c:v>
                </c:pt>
                <c:pt idx="3">
                  <c:v>Malard</c:v>
                </c:pt>
                <c:pt idx="4">
                  <c:v>Laurent Perrier</c:v>
                </c:pt>
                <c:pt idx="5">
                  <c:v>Pommery</c:v>
                </c:pt>
                <c:pt idx="6">
                  <c:v>Piper Heidsieck</c:v>
                </c:pt>
                <c:pt idx="7">
                  <c:v>Bollinger</c:v>
                </c:pt>
                <c:pt idx="8">
                  <c:v>Perrier Jouet</c:v>
                </c:pt>
                <c:pt idx="9">
                  <c:v>Others</c:v>
                </c:pt>
              </c:strCache>
            </c:strRef>
          </c:cat>
          <c:val>
            <c:numRef>
              <c:f>Sheet1!$D$2:$D$11</c:f>
              <c:numCache>
                <c:formatCode>General</c:formatCode>
                <c:ptCount val="10"/>
                <c:pt idx="0">
                  <c:v>41.416420024077148</c:v>
                </c:pt>
                <c:pt idx="1">
                  <c:v>137.44793553446931</c:v>
                </c:pt>
                <c:pt idx="2">
                  <c:v>125.84148880471547</c:v>
                </c:pt>
                <c:pt idx="3">
                  <c:v>121.62947191566245</c:v>
                </c:pt>
                <c:pt idx="4">
                  <c:v>172.30994885563632</c:v>
                </c:pt>
                <c:pt idx="5">
                  <c:v>180.21686622580981</c:v>
                </c:pt>
                <c:pt idx="6">
                  <c:v>173.42687300492082</c:v>
                </c:pt>
                <c:pt idx="7">
                  <c:v>131.73299928893732</c:v>
                </c:pt>
                <c:pt idx="8">
                  <c:v>568.78287142377553</c:v>
                </c:pt>
                <c:pt idx="9">
                  <c:v>616.53138445671766</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Dom Perignon</c:v>
                </c:pt>
                <c:pt idx="1">
                  <c:v>Roederer</c:v>
                </c:pt>
                <c:pt idx="2">
                  <c:v>Ruinart</c:v>
                </c:pt>
                <c:pt idx="3">
                  <c:v>Malard</c:v>
                </c:pt>
                <c:pt idx="4">
                  <c:v>Laurent Perrier</c:v>
                </c:pt>
                <c:pt idx="5">
                  <c:v>Bollinger</c:v>
                </c:pt>
                <c:pt idx="6">
                  <c:v>Pommery</c:v>
                </c:pt>
                <c:pt idx="7">
                  <c:v>Piper Heidsieck</c:v>
                </c:pt>
                <c:pt idx="8">
                  <c:v>Perrier Jouet</c:v>
                </c:pt>
                <c:pt idx="9">
                  <c:v>Others</c:v>
                </c:pt>
              </c:strCache>
            </c:strRef>
          </c:cat>
          <c:val>
            <c:numRef>
              <c:f>Sheet1!$B$2:$B$11</c:f>
              <c:numCache>
                <c:formatCode>General</c:formatCode>
                <c:ptCount val="10"/>
                <c:pt idx="0">
                  <c:v>0.50389308916222009</c:v>
                </c:pt>
                <c:pt idx="1">
                  <c:v>0.21172601679751099</c:v>
                </c:pt>
                <c:pt idx="2">
                  <c:v>9.6094014476165918E-2</c:v>
                </c:pt>
                <c:pt idx="3">
                  <c:v>5.8001386358873502E-2</c:v>
                </c:pt>
                <c:pt idx="4">
                  <c:v>3.1031870133638548E-2</c:v>
                </c:pt>
                <c:pt idx="5">
                  <c:v>2.6630986732867991E-2</c:v>
                </c:pt>
                <c:pt idx="6">
                  <c:v>2.2407428304289653E-2</c:v>
                </c:pt>
                <c:pt idx="7">
                  <c:v>1.5878645237212451E-2</c:v>
                </c:pt>
                <c:pt idx="8">
                  <c:v>1.1896893588896233E-2</c:v>
                </c:pt>
                <c:pt idx="9">
                  <c:v>2.2439669208324603E-2</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Dom Perignon</c:v>
                </c:pt>
                <c:pt idx="1">
                  <c:v>Roederer</c:v>
                </c:pt>
                <c:pt idx="2">
                  <c:v>Ruinart</c:v>
                </c:pt>
                <c:pt idx="3">
                  <c:v>Malard</c:v>
                </c:pt>
                <c:pt idx="4">
                  <c:v>Laurent Perrier</c:v>
                </c:pt>
                <c:pt idx="5">
                  <c:v>Bollinger</c:v>
                </c:pt>
                <c:pt idx="6">
                  <c:v>Pommery</c:v>
                </c:pt>
                <c:pt idx="7">
                  <c:v>Piper Heidsieck</c:v>
                </c:pt>
                <c:pt idx="8">
                  <c:v>Perrier Jouet</c:v>
                </c:pt>
                <c:pt idx="9">
                  <c:v>Others</c:v>
                </c:pt>
              </c:strCache>
            </c:strRef>
          </c:cat>
          <c:val>
            <c:numRef>
              <c:f>Sheet1!$C$2:$C$11</c:f>
              <c:numCache>
                <c:formatCode>General</c:formatCode>
                <c:ptCount val="10"/>
                <c:pt idx="0">
                  <c:v>0.21043478260869569</c:v>
                </c:pt>
                <c:pt idx="1">
                  <c:v>0.23130434782608697</c:v>
                </c:pt>
                <c:pt idx="2">
                  <c:v>0.11826086956521741</c:v>
                </c:pt>
                <c:pt idx="3">
                  <c:v>8.173913043478262E-2</c:v>
                </c:pt>
                <c:pt idx="4">
                  <c:v>8.173913043478262E-2</c:v>
                </c:pt>
                <c:pt idx="5">
                  <c:v>4.3478260869565223E-2</c:v>
                </c:pt>
                <c:pt idx="6">
                  <c:v>3.304347826086957E-2</c:v>
                </c:pt>
                <c:pt idx="7">
                  <c:v>3.1304347826086959E-2</c:v>
                </c:pt>
                <c:pt idx="8">
                  <c:v>5.391304347826089E-2</c:v>
                </c:pt>
                <c:pt idx="9">
                  <c:v>0.11478260869565218</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Dom Perignon</c:v>
                </c:pt>
                <c:pt idx="1">
                  <c:v>Roederer</c:v>
                </c:pt>
                <c:pt idx="2">
                  <c:v>Ruinart</c:v>
                </c:pt>
                <c:pt idx="3">
                  <c:v>Malard</c:v>
                </c:pt>
                <c:pt idx="4">
                  <c:v>Laurent Perrier</c:v>
                </c:pt>
                <c:pt idx="5">
                  <c:v>Bollinger</c:v>
                </c:pt>
                <c:pt idx="6">
                  <c:v>Pommery</c:v>
                </c:pt>
                <c:pt idx="7">
                  <c:v>Piper Heidsieck</c:v>
                </c:pt>
                <c:pt idx="8">
                  <c:v>Perrier Jouet</c:v>
                </c:pt>
                <c:pt idx="9">
                  <c:v>Others</c:v>
                </c:pt>
              </c:strCache>
            </c:strRef>
          </c:cat>
          <c:val>
            <c:numRef>
              <c:f>Sheet1!$D$2:$D$11</c:f>
              <c:numCache>
                <c:formatCode>General</c:formatCode>
                <c:ptCount val="10"/>
                <c:pt idx="0">
                  <c:v>41.761791763917145</c:v>
                </c:pt>
                <c:pt idx="1">
                  <c:v>109.24701240060648</c:v>
                </c:pt>
                <c:pt idx="2">
                  <c:v>123.06788327024209</c:v>
                </c:pt>
                <c:pt idx="3">
                  <c:v>140.92616671097471</c:v>
                </c:pt>
                <c:pt idx="4">
                  <c:v>263.40381705251275</c:v>
                </c:pt>
                <c:pt idx="5">
                  <c:v>163.26192230761134</c:v>
                </c:pt>
                <c:pt idx="6">
                  <c:v>147.46662496090087</c:v>
                </c:pt>
                <c:pt idx="7">
                  <c:v>197.14747296402561</c:v>
                </c:pt>
                <c:pt idx="8">
                  <c:v>453.16908212560401</c:v>
                </c:pt>
                <c:pt idx="9">
                  <c:v>511.51649175412297</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Dom Perignon</c:v>
                </c:pt>
                <c:pt idx="1">
                  <c:v>Roederer</c:v>
                </c:pt>
                <c:pt idx="2">
                  <c:v>Ruinart</c:v>
                </c:pt>
                <c:pt idx="3">
                  <c:v>Malard</c:v>
                </c:pt>
                <c:pt idx="4">
                  <c:v>Bollinger</c:v>
                </c:pt>
                <c:pt idx="5">
                  <c:v>Laurent Perrier</c:v>
                </c:pt>
                <c:pt idx="6">
                  <c:v>Perrier Jouet</c:v>
                </c:pt>
                <c:pt idx="7">
                  <c:v>Piper Heidsieck</c:v>
                </c:pt>
                <c:pt idx="8">
                  <c:v>De Venoge</c:v>
                </c:pt>
                <c:pt idx="9">
                  <c:v>Others</c:v>
                </c:pt>
              </c:strCache>
            </c:strRef>
          </c:cat>
          <c:val>
            <c:numRef>
              <c:f>Sheet1!$B$2:$B$11</c:f>
              <c:numCache>
                <c:formatCode>General</c:formatCode>
                <c:ptCount val="10"/>
                <c:pt idx="0">
                  <c:v>0.32758972564797806</c:v>
                </c:pt>
                <c:pt idx="1">
                  <c:v>0.21410245196652963</c:v>
                </c:pt>
                <c:pt idx="2">
                  <c:v>9.5979474620251318E-2</c:v>
                </c:pt>
                <c:pt idx="3">
                  <c:v>8.5425231056299011E-2</c:v>
                </c:pt>
                <c:pt idx="4">
                  <c:v>7.0716347415376538E-2</c:v>
                </c:pt>
                <c:pt idx="5">
                  <c:v>3.9476369573456953E-2</c:v>
                </c:pt>
                <c:pt idx="6">
                  <c:v>3.5001020437913644E-2</c:v>
                </c:pt>
                <c:pt idx="7">
                  <c:v>3.4811510539665878E-2</c:v>
                </c:pt>
                <c:pt idx="8">
                  <c:v>2.9199102014635995E-2</c:v>
                </c:pt>
                <c:pt idx="9">
                  <c:v>6.7698766727892934E-2</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Dom Perignon</c:v>
                </c:pt>
                <c:pt idx="1">
                  <c:v>Roederer</c:v>
                </c:pt>
                <c:pt idx="2">
                  <c:v>Ruinart</c:v>
                </c:pt>
                <c:pt idx="3">
                  <c:v>Malard</c:v>
                </c:pt>
                <c:pt idx="4">
                  <c:v>Bollinger</c:v>
                </c:pt>
                <c:pt idx="5">
                  <c:v>Laurent Perrier</c:v>
                </c:pt>
                <c:pt idx="6">
                  <c:v>Perrier Jouet</c:v>
                </c:pt>
                <c:pt idx="7">
                  <c:v>Piper Heidsieck</c:v>
                </c:pt>
                <c:pt idx="8">
                  <c:v>De Venoge</c:v>
                </c:pt>
                <c:pt idx="9">
                  <c:v>Others</c:v>
                </c:pt>
              </c:strCache>
            </c:strRef>
          </c:cat>
          <c:val>
            <c:numRef>
              <c:f>Sheet1!$C$2:$C$11</c:f>
              <c:numCache>
                <c:formatCode>General</c:formatCode>
                <c:ptCount val="10"/>
                <c:pt idx="0">
                  <c:v>0.1418269230769231</c:v>
                </c:pt>
                <c:pt idx="1">
                  <c:v>0.21274038461538469</c:v>
                </c:pt>
                <c:pt idx="2">
                  <c:v>0.12500000000000003</c:v>
                </c:pt>
                <c:pt idx="3">
                  <c:v>5.7692307692307702E-2</c:v>
                </c:pt>
                <c:pt idx="4">
                  <c:v>6.6105769230769246E-2</c:v>
                </c:pt>
                <c:pt idx="5">
                  <c:v>8.5336538461538478E-2</c:v>
                </c:pt>
                <c:pt idx="6">
                  <c:v>5.649038461538463E-2</c:v>
                </c:pt>
                <c:pt idx="7">
                  <c:v>3.4855769230769232E-2</c:v>
                </c:pt>
                <c:pt idx="8">
                  <c:v>5.1682692307692318E-2</c:v>
                </c:pt>
                <c:pt idx="9">
                  <c:v>0.16826923076923078</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Dom Perignon</c:v>
                </c:pt>
                <c:pt idx="1">
                  <c:v>Roederer</c:v>
                </c:pt>
                <c:pt idx="2">
                  <c:v>Ruinart</c:v>
                </c:pt>
                <c:pt idx="3">
                  <c:v>Malard</c:v>
                </c:pt>
                <c:pt idx="4">
                  <c:v>Bollinger</c:v>
                </c:pt>
                <c:pt idx="5">
                  <c:v>Laurent Perrier</c:v>
                </c:pt>
                <c:pt idx="6">
                  <c:v>Perrier Jouet</c:v>
                </c:pt>
                <c:pt idx="7">
                  <c:v>Piper Heidsieck</c:v>
                </c:pt>
                <c:pt idx="8">
                  <c:v>De Venoge</c:v>
                </c:pt>
                <c:pt idx="9">
                  <c:v>Others</c:v>
                </c:pt>
              </c:strCache>
            </c:strRef>
          </c:cat>
          <c:val>
            <c:numRef>
              <c:f>Sheet1!$D$2:$D$11</c:f>
              <c:numCache>
                <c:formatCode>General</c:formatCode>
                <c:ptCount val="10"/>
                <c:pt idx="0">
                  <c:v>43.294069371799445</c:v>
                </c:pt>
                <c:pt idx="1">
                  <c:v>99.36382449680778</c:v>
                </c:pt>
                <c:pt idx="2">
                  <c:v>130.23617861482384</c:v>
                </c:pt>
                <c:pt idx="3">
                  <c:v>67.535442373326347</c:v>
                </c:pt>
                <c:pt idx="4">
                  <c:v>93.480180533751991</c:v>
                </c:pt>
                <c:pt idx="5">
                  <c:v>216.17119148392229</c:v>
                </c:pt>
                <c:pt idx="6">
                  <c:v>161.39639332970239</c:v>
                </c:pt>
                <c:pt idx="7">
                  <c:v>100.12713809431774</c:v>
                </c:pt>
                <c:pt idx="8">
                  <c:v>177.00096489880568</c:v>
                </c:pt>
                <c:pt idx="9">
                  <c:v>248.55582886106146</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Nicolas</c:v>
                </c:pt>
                <c:pt idx="2">
                  <c:v>Deutz</c:v>
                </c:pt>
                <c:pt idx="3">
                  <c:v>Malard</c:v>
                </c:pt>
                <c:pt idx="4">
                  <c:v>Laurent Perrier</c:v>
                </c:pt>
                <c:pt idx="5">
                  <c:v>Nicolas Feuillatte</c:v>
                </c:pt>
                <c:pt idx="6">
                  <c:v>Heidsieck &amp; Co Monopole</c:v>
                </c:pt>
                <c:pt idx="7">
                  <c:v>Ayala</c:v>
                </c:pt>
                <c:pt idx="8">
                  <c:v>De Bligny</c:v>
                </c:pt>
                <c:pt idx="9">
                  <c:v>Others</c:v>
                </c:pt>
              </c:strCache>
            </c:strRef>
          </c:cat>
          <c:val>
            <c:numRef>
              <c:f>Sheet1!$B$2:$B$11</c:f>
              <c:numCache>
                <c:formatCode>General</c:formatCode>
                <c:ptCount val="10"/>
                <c:pt idx="0">
                  <c:v>0.22960378478050353</c:v>
                </c:pt>
                <c:pt idx="1">
                  <c:v>8.7603436899003462E-2</c:v>
                </c:pt>
                <c:pt idx="2">
                  <c:v>7.3714773341106585E-2</c:v>
                </c:pt>
                <c:pt idx="3">
                  <c:v>4.8777414618097654E-2</c:v>
                </c:pt>
                <c:pt idx="4">
                  <c:v>4.5405783290570684E-2</c:v>
                </c:pt>
                <c:pt idx="5">
                  <c:v>3.4640606228727833E-2</c:v>
                </c:pt>
                <c:pt idx="6">
                  <c:v>3.1158466672393768E-2</c:v>
                </c:pt>
                <c:pt idx="7">
                  <c:v>3.1107467989183759E-2</c:v>
                </c:pt>
                <c:pt idx="8">
                  <c:v>2.931074514993879E-2</c:v>
                </c:pt>
                <c:pt idx="9">
                  <c:v>0.38867752103047393</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Nicolas</c:v>
                </c:pt>
                <c:pt idx="2">
                  <c:v>Deutz</c:v>
                </c:pt>
                <c:pt idx="3">
                  <c:v>Malard</c:v>
                </c:pt>
                <c:pt idx="4">
                  <c:v>Laurent Perrier</c:v>
                </c:pt>
                <c:pt idx="5">
                  <c:v>Nicolas Feuillatte</c:v>
                </c:pt>
                <c:pt idx="6">
                  <c:v>Heidsieck &amp; Co Monopole</c:v>
                </c:pt>
                <c:pt idx="7">
                  <c:v>Ayala</c:v>
                </c:pt>
                <c:pt idx="8">
                  <c:v>De Bligny</c:v>
                </c:pt>
                <c:pt idx="9">
                  <c:v>Others</c:v>
                </c:pt>
              </c:strCache>
            </c:strRef>
          </c:cat>
          <c:val>
            <c:numRef>
              <c:f>Sheet1!$C$2:$C$11</c:f>
              <c:numCache>
                <c:formatCode>General</c:formatCode>
                <c:ptCount val="10"/>
                <c:pt idx="0">
                  <c:v>9.3579412529243372E-2</c:v>
                </c:pt>
                <c:pt idx="1">
                  <c:v>7.3563815960488554E-2</c:v>
                </c:pt>
                <c:pt idx="2">
                  <c:v>4.8869248765271552E-2</c:v>
                </c:pt>
                <c:pt idx="3">
                  <c:v>4.7959448921237227E-2</c:v>
                </c:pt>
                <c:pt idx="4">
                  <c:v>3.6651936573953658E-2</c:v>
                </c:pt>
                <c:pt idx="5">
                  <c:v>3.2882765791525798E-2</c:v>
                </c:pt>
                <c:pt idx="6">
                  <c:v>1.2217312191317888E-2</c:v>
                </c:pt>
                <c:pt idx="7">
                  <c:v>1.9235768131011143E-2</c:v>
                </c:pt>
                <c:pt idx="8">
                  <c:v>2.0275539381336069E-2</c:v>
                </c:pt>
                <c:pt idx="9">
                  <c:v>0.61476475175461287</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Nicolas</c:v>
                </c:pt>
                <c:pt idx="2">
                  <c:v>Deutz</c:v>
                </c:pt>
                <c:pt idx="3">
                  <c:v>Malard</c:v>
                </c:pt>
                <c:pt idx="4">
                  <c:v>Laurent Perrier</c:v>
                </c:pt>
                <c:pt idx="5">
                  <c:v>Nicolas Feuillatte</c:v>
                </c:pt>
                <c:pt idx="6">
                  <c:v>Heidsieck &amp; Co Monopole</c:v>
                </c:pt>
                <c:pt idx="7">
                  <c:v>Ayala</c:v>
                </c:pt>
                <c:pt idx="8">
                  <c:v>De Bligny</c:v>
                </c:pt>
                <c:pt idx="9">
                  <c:v>Others</c:v>
                </c:pt>
              </c:strCache>
            </c:strRef>
          </c:cat>
          <c:val>
            <c:numRef>
              <c:f>Sheet1!$D$2:$D$11</c:f>
              <c:numCache>
                <c:formatCode>General</c:formatCode>
                <c:ptCount val="10"/>
                <c:pt idx="0">
                  <c:v>40.756912007658478</c:v>
                </c:pt>
                <c:pt idx="1">
                  <c:v>83.973664235684097</c:v>
                </c:pt>
                <c:pt idx="2">
                  <c:v>66.295053963110973</c:v>
                </c:pt>
                <c:pt idx="3">
                  <c:v>98.323064673958868</c:v>
                </c:pt>
                <c:pt idx="4">
                  <c:v>80.720855181381893</c:v>
                </c:pt>
                <c:pt idx="5">
                  <c:v>94.925491703016903</c:v>
                </c:pt>
                <c:pt idx="6">
                  <c:v>39.210248436718999</c:v>
                </c:pt>
                <c:pt idx="7">
                  <c:v>61.836495781975977</c:v>
                </c:pt>
                <c:pt idx="8">
                  <c:v>69.17442486575068</c:v>
                </c:pt>
                <c:pt idx="9">
                  <c:v>158.16833196957967</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Dom Perignon</c:v>
                </c:pt>
                <c:pt idx="1">
                  <c:v>Roederer</c:v>
                </c:pt>
                <c:pt idx="2">
                  <c:v>Ruinart</c:v>
                </c:pt>
                <c:pt idx="3">
                  <c:v>Malard</c:v>
                </c:pt>
                <c:pt idx="4">
                  <c:v>Laurent Perrier</c:v>
                </c:pt>
                <c:pt idx="5">
                  <c:v>Veuve Clicquot</c:v>
                </c:pt>
                <c:pt idx="6">
                  <c:v>Bollinger</c:v>
                </c:pt>
                <c:pt idx="7">
                  <c:v>Perrier Jouet</c:v>
                </c:pt>
                <c:pt idx="8">
                  <c:v>Pommery</c:v>
                </c:pt>
                <c:pt idx="9">
                  <c:v>Others</c:v>
                </c:pt>
              </c:strCache>
            </c:strRef>
          </c:cat>
          <c:val>
            <c:numRef>
              <c:f>Sheet1!$B$2:$B$11</c:f>
              <c:numCache>
                <c:formatCode>General</c:formatCode>
                <c:ptCount val="10"/>
                <c:pt idx="0">
                  <c:v>0.46920777874029573</c:v>
                </c:pt>
                <c:pt idx="1">
                  <c:v>0.26305680397260156</c:v>
                </c:pt>
                <c:pt idx="2">
                  <c:v>7.0602147137198909E-2</c:v>
                </c:pt>
                <c:pt idx="3">
                  <c:v>4.5628848118223507E-2</c:v>
                </c:pt>
                <c:pt idx="4">
                  <c:v>2.8593573721384356E-2</c:v>
                </c:pt>
                <c:pt idx="5">
                  <c:v>2.6996850205798843E-2</c:v>
                </c:pt>
                <c:pt idx="6">
                  <c:v>2.5453480149118066E-2</c:v>
                </c:pt>
                <c:pt idx="7">
                  <c:v>1.9012262564982087E-2</c:v>
                </c:pt>
                <c:pt idx="8">
                  <c:v>1.2202421082958808E-2</c:v>
                </c:pt>
                <c:pt idx="9">
                  <c:v>3.9245834307438152E-2</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Dom Perignon</c:v>
                </c:pt>
                <c:pt idx="1">
                  <c:v>Roederer</c:v>
                </c:pt>
                <c:pt idx="2">
                  <c:v>Ruinart</c:v>
                </c:pt>
                <c:pt idx="3">
                  <c:v>Malard</c:v>
                </c:pt>
                <c:pt idx="4">
                  <c:v>Laurent Perrier</c:v>
                </c:pt>
                <c:pt idx="5">
                  <c:v>Veuve Clicquot</c:v>
                </c:pt>
                <c:pt idx="6">
                  <c:v>Bollinger</c:v>
                </c:pt>
                <c:pt idx="7">
                  <c:v>Perrier Jouet</c:v>
                </c:pt>
                <c:pt idx="8">
                  <c:v>Pommery</c:v>
                </c:pt>
                <c:pt idx="9">
                  <c:v>Others</c:v>
                </c:pt>
              </c:strCache>
            </c:strRef>
          </c:cat>
          <c:val>
            <c:numRef>
              <c:f>Sheet1!$C$2:$C$11</c:f>
              <c:numCache>
                <c:formatCode>General</c:formatCode>
                <c:ptCount val="10"/>
                <c:pt idx="0">
                  <c:v>0.17958179581795833</c:v>
                </c:pt>
                <c:pt idx="1">
                  <c:v>0.21894218942189439</c:v>
                </c:pt>
                <c:pt idx="2">
                  <c:v>9.7170971709717183E-2</c:v>
                </c:pt>
                <c:pt idx="3">
                  <c:v>9.1020910209102163E-2</c:v>
                </c:pt>
                <c:pt idx="4">
                  <c:v>7.1340713407134132E-2</c:v>
                </c:pt>
                <c:pt idx="5">
                  <c:v>6.8880688806888121E-2</c:v>
                </c:pt>
                <c:pt idx="6">
                  <c:v>3.8130381303813077E-2</c:v>
                </c:pt>
                <c:pt idx="7">
                  <c:v>2.8290282902829051E-2</c:v>
                </c:pt>
                <c:pt idx="8">
                  <c:v>2.4600246002460042E-2</c:v>
                </c:pt>
                <c:pt idx="9">
                  <c:v>0.18204182041820433</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Dom Perignon</c:v>
                </c:pt>
                <c:pt idx="1">
                  <c:v>Roederer</c:v>
                </c:pt>
                <c:pt idx="2">
                  <c:v>Ruinart</c:v>
                </c:pt>
                <c:pt idx="3">
                  <c:v>Malard</c:v>
                </c:pt>
                <c:pt idx="4">
                  <c:v>Laurent Perrier</c:v>
                </c:pt>
                <c:pt idx="5">
                  <c:v>Veuve Clicquot</c:v>
                </c:pt>
                <c:pt idx="6">
                  <c:v>Bollinger</c:v>
                </c:pt>
                <c:pt idx="7">
                  <c:v>Perrier Jouet</c:v>
                </c:pt>
                <c:pt idx="8">
                  <c:v>Pommery</c:v>
                </c:pt>
                <c:pt idx="9">
                  <c:v>Others</c:v>
                </c:pt>
              </c:strCache>
            </c:strRef>
          </c:cat>
          <c:val>
            <c:numRef>
              <c:f>Sheet1!$D$2:$D$11</c:f>
              <c:numCache>
                <c:formatCode>General</c:formatCode>
                <c:ptCount val="10"/>
                <c:pt idx="0">
                  <c:v>38.273405504932171</c:v>
                </c:pt>
                <c:pt idx="1">
                  <c:v>83.230004362365065</c:v>
                </c:pt>
                <c:pt idx="2">
                  <c:v>137.63175151159061</c:v>
                </c:pt>
                <c:pt idx="3">
                  <c:v>199.48106069491095</c:v>
                </c:pt>
                <c:pt idx="4">
                  <c:v>249.49911508885774</c:v>
                </c:pt>
                <c:pt idx="5">
                  <c:v>255.14342703613906</c:v>
                </c:pt>
                <c:pt idx="6">
                  <c:v>149.80419604874444</c:v>
                </c:pt>
                <c:pt idx="7">
                  <c:v>148.80019043570212</c:v>
                </c:pt>
                <c:pt idx="8">
                  <c:v>201.60135300375197</c:v>
                </c:pt>
                <c:pt idx="9">
                  <c:v>463.8500458218121</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Dom Perignon</c:v>
                </c:pt>
                <c:pt idx="1">
                  <c:v>Roederer</c:v>
                </c:pt>
                <c:pt idx="2">
                  <c:v>Ruinart</c:v>
                </c:pt>
                <c:pt idx="3">
                  <c:v>Malard</c:v>
                </c:pt>
                <c:pt idx="4">
                  <c:v>Laurent Perrier</c:v>
                </c:pt>
                <c:pt idx="5">
                  <c:v>Bollinger</c:v>
                </c:pt>
                <c:pt idx="6">
                  <c:v>Piper Heidsieck</c:v>
                </c:pt>
                <c:pt idx="7">
                  <c:v>Others</c:v>
                </c:pt>
              </c:strCache>
            </c:strRef>
          </c:cat>
          <c:val>
            <c:numRef>
              <c:f>Sheet1!$B$2:$B$9</c:f>
              <c:numCache>
                <c:formatCode>General</c:formatCode>
                <c:ptCount val="8"/>
                <c:pt idx="0">
                  <c:v>0.44913713833586383</c:v>
                </c:pt>
                <c:pt idx="1">
                  <c:v>0.23474297445171854</c:v>
                </c:pt>
                <c:pt idx="2">
                  <c:v>9.2325739824830985E-2</c:v>
                </c:pt>
                <c:pt idx="3">
                  <c:v>7.839531253341317E-2</c:v>
                </c:pt>
                <c:pt idx="4">
                  <c:v>4.9581323451691049E-2</c:v>
                </c:pt>
                <c:pt idx="5">
                  <c:v>3.9982770260981668E-2</c:v>
                </c:pt>
                <c:pt idx="6">
                  <c:v>1.662792011999719E-2</c:v>
                </c:pt>
                <c:pt idx="7">
                  <c:v>3.9206821021503566E-2</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Dom Perignon</c:v>
                </c:pt>
                <c:pt idx="1">
                  <c:v>Roederer</c:v>
                </c:pt>
                <c:pt idx="2">
                  <c:v>Ruinart</c:v>
                </c:pt>
                <c:pt idx="3">
                  <c:v>Malard</c:v>
                </c:pt>
                <c:pt idx="4">
                  <c:v>Laurent Perrier</c:v>
                </c:pt>
                <c:pt idx="5">
                  <c:v>Bollinger</c:v>
                </c:pt>
                <c:pt idx="6">
                  <c:v>Piper Heidsieck</c:v>
                </c:pt>
                <c:pt idx="7">
                  <c:v>Others</c:v>
                </c:pt>
              </c:strCache>
            </c:strRef>
          </c:cat>
          <c:val>
            <c:numRef>
              <c:f>Sheet1!$C$2:$C$9</c:f>
              <c:numCache>
                <c:formatCode>General</c:formatCode>
                <c:ptCount val="8"/>
                <c:pt idx="0">
                  <c:v>0.19951338199513385</c:v>
                </c:pt>
                <c:pt idx="1">
                  <c:v>0.26520681265206819</c:v>
                </c:pt>
                <c:pt idx="2">
                  <c:v>0.12895377128953775</c:v>
                </c:pt>
                <c:pt idx="3">
                  <c:v>0.14111922141119226</c:v>
                </c:pt>
                <c:pt idx="4">
                  <c:v>6.3260340632603412E-2</c:v>
                </c:pt>
                <c:pt idx="5">
                  <c:v>4.3795620437956213E-2</c:v>
                </c:pt>
                <c:pt idx="6">
                  <c:v>3.1630170316301706E-2</c:v>
                </c:pt>
                <c:pt idx="7">
                  <c:v>0.12652068126520685</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Dom Perignon</c:v>
                </c:pt>
                <c:pt idx="1">
                  <c:v>Roederer</c:v>
                </c:pt>
                <c:pt idx="2">
                  <c:v>Ruinart</c:v>
                </c:pt>
                <c:pt idx="3">
                  <c:v>Malard</c:v>
                </c:pt>
                <c:pt idx="4">
                  <c:v>Laurent Perrier</c:v>
                </c:pt>
                <c:pt idx="5">
                  <c:v>Bollinger</c:v>
                </c:pt>
                <c:pt idx="6">
                  <c:v>Piper Heidsieck</c:v>
                </c:pt>
                <c:pt idx="7">
                  <c:v>Others</c:v>
                </c:pt>
              </c:strCache>
            </c:strRef>
          </c:cat>
          <c:val>
            <c:numRef>
              <c:f>Sheet1!$D$2:$D$9</c:f>
              <c:numCache>
                <c:formatCode>General</c:formatCode>
                <c:ptCount val="8"/>
                <c:pt idx="0">
                  <c:v>44.421483989137002</c:v>
                </c:pt>
                <c:pt idx="1">
                  <c:v>112.97752926216558</c:v>
                </c:pt>
                <c:pt idx="2">
                  <c:v>139.67261083875513</c:v>
                </c:pt>
                <c:pt idx="3">
                  <c:v>180.00976952677533</c:v>
                </c:pt>
                <c:pt idx="4">
                  <c:v>127.58905214428241</c:v>
                </c:pt>
                <c:pt idx="5">
                  <c:v>109.53623311263007</c:v>
                </c:pt>
                <c:pt idx="6">
                  <c:v>190.22325154342306</c:v>
                </c:pt>
                <c:pt idx="7">
                  <c:v>322.70068821905937</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Dom Perignon</c:v>
                </c:pt>
                <c:pt idx="1">
                  <c:v>Roederer</c:v>
                </c:pt>
                <c:pt idx="2">
                  <c:v>Ruinart</c:v>
                </c:pt>
                <c:pt idx="3">
                  <c:v>Malard</c:v>
                </c:pt>
                <c:pt idx="4">
                  <c:v>Piper Heidsieck</c:v>
                </c:pt>
                <c:pt idx="5">
                  <c:v>Bollinger</c:v>
                </c:pt>
                <c:pt idx="6">
                  <c:v>Laurent Perrier</c:v>
                </c:pt>
                <c:pt idx="7">
                  <c:v>Pommery</c:v>
                </c:pt>
                <c:pt idx="8">
                  <c:v>Perrier Jouet</c:v>
                </c:pt>
                <c:pt idx="9">
                  <c:v>Others</c:v>
                </c:pt>
              </c:strCache>
            </c:strRef>
          </c:cat>
          <c:val>
            <c:numRef>
              <c:f>Sheet1!$B$2:$B$11</c:f>
              <c:numCache>
                <c:formatCode>General</c:formatCode>
                <c:ptCount val="10"/>
                <c:pt idx="0">
                  <c:v>0.44288222507106628</c:v>
                </c:pt>
                <c:pt idx="1">
                  <c:v>0.25752864548082205</c:v>
                </c:pt>
                <c:pt idx="2">
                  <c:v>0.11884988095901645</c:v>
                </c:pt>
                <c:pt idx="3">
                  <c:v>7.4957997244937777E-2</c:v>
                </c:pt>
                <c:pt idx="4">
                  <c:v>2.2136049113363643E-2</c:v>
                </c:pt>
                <c:pt idx="5">
                  <c:v>2.0860041246307342E-2</c:v>
                </c:pt>
                <c:pt idx="6">
                  <c:v>1.4549674727479756E-2</c:v>
                </c:pt>
                <c:pt idx="7">
                  <c:v>1.4366534752800848E-2</c:v>
                </c:pt>
                <c:pt idx="8">
                  <c:v>1.1691098600969846E-2</c:v>
                </c:pt>
                <c:pt idx="9">
                  <c:v>2.2177852803236003E-2</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Dom Perignon</c:v>
                </c:pt>
                <c:pt idx="1">
                  <c:v>Roederer</c:v>
                </c:pt>
                <c:pt idx="2">
                  <c:v>Ruinart</c:v>
                </c:pt>
                <c:pt idx="3">
                  <c:v>Malard</c:v>
                </c:pt>
                <c:pt idx="4">
                  <c:v>Piper Heidsieck</c:v>
                </c:pt>
                <c:pt idx="5">
                  <c:v>Bollinger</c:v>
                </c:pt>
                <c:pt idx="6">
                  <c:v>Laurent Perrier</c:v>
                </c:pt>
                <c:pt idx="7">
                  <c:v>Pommery</c:v>
                </c:pt>
                <c:pt idx="8">
                  <c:v>Perrier Jouet</c:v>
                </c:pt>
                <c:pt idx="9">
                  <c:v>Others</c:v>
                </c:pt>
              </c:strCache>
            </c:strRef>
          </c:cat>
          <c:val>
            <c:numRef>
              <c:f>Sheet1!$C$2:$C$11</c:f>
              <c:numCache>
                <c:formatCode>General</c:formatCode>
                <c:ptCount val="10"/>
                <c:pt idx="0">
                  <c:v>0.23127035830618922</c:v>
                </c:pt>
                <c:pt idx="1">
                  <c:v>0.24429967426710122</c:v>
                </c:pt>
                <c:pt idx="2">
                  <c:v>0.17589576547231289</c:v>
                </c:pt>
                <c:pt idx="3">
                  <c:v>0.16286644951140083</c:v>
                </c:pt>
                <c:pt idx="4">
                  <c:v>1.6286644951140083E-2</c:v>
                </c:pt>
                <c:pt idx="5">
                  <c:v>2.2801302931596119E-2</c:v>
                </c:pt>
                <c:pt idx="6">
                  <c:v>2.9315960912052148E-2</c:v>
                </c:pt>
                <c:pt idx="7">
                  <c:v>2.605863192182413E-2</c:v>
                </c:pt>
                <c:pt idx="8">
                  <c:v>1.9543973941368097E-2</c:v>
                </c:pt>
                <c:pt idx="9">
                  <c:v>7.166123778501636E-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Dom Perignon</c:v>
                </c:pt>
                <c:pt idx="1">
                  <c:v>Roederer</c:v>
                </c:pt>
                <c:pt idx="2">
                  <c:v>Ruinart</c:v>
                </c:pt>
                <c:pt idx="3">
                  <c:v>Malard</c:v>
                </c:pt>
                <c:pt idx="4">
                  <c:v>Piper Heidsieck</c:v>
                </c:pt>
                <c:pt idx="5">
                  <c:v>Bollinger</c:v>
                </c:pt>
                <c:pt idx="6">
                  <c:v>Laurent Perrier</c:v>
                </c:pt>
                <c:pt idx="7">
                  <c:v>Pommery</c:v>
                </c:pt>
                <c:pt idx="8">
                  <c:v>Perrier Jouet</c:v>
                </c:pt>
                <c:pt idx="9">
                  <c:v>Others</c:v>
                </c:pt>
              </c:strCache>
            </c:strRef>
          </c:cat>
          <c:val>
            <c:numRef>
              <c:f>Sheet1!$D$2:$D$11</c:f>
              <c:numCache>
                <c:formatCode>General</c:formatCode>
                <c:ptCount val="10"/>
                <c:pt idx="0">
                  <c:v>52.21938140982715</c:v>
                </c:pt>
                <c:pt idx="1">
                  <c:v>94.86310690252671</c:v>
                </c:pt>
                <c:pt idx="2">
                  <c:v>147.9982681118274</c:v>
                </c:pt>
                <c:pt idx="3">
                  <c:v>217.27694908817736</c:v>
                </c:pt>
                <c:pt idx="4">
                  <c:v>73.575211492044232</c:v>
                </c:pt>
                <c:pt idx="5">
                  <c:v>109.30612582385196</c:v>
                </c:pt>
                <c:pt idx="6">
                  <c:v>201.48877181895708</c:v>
                </c:pt>
                <c:pt idx="7">
                  <c:v>181.38425424226836</c:v>
                </c:pt>
                <c:pt idx="8">
                  <c:v>167.16969558144697</c:v>
                </c:pt>
                <c:pt idx="9">
                  <c:v>323.12072057111033</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Dom Perignon</c:v>
                </c:pt>
                <c:pt idx="1">
                  <c:v>Roederer</c:v>
                </c:pt>
                <c:pt idx="2">
                  <c:v>Ruinart</c:v>
                </c:pt>
                <c:pt idx="3">
                  <c:v>Malard</c:v>
                </c:pt>
                <c:pt idx="4">
                  <c:v>Bollinger</c:v>
                </c:pt>
                <c:pt idx="5">
                  <c:v>Laurent Perrier</c:v>
                </c:pt>
                <c:pt idx="6">
                  <c:v>Pommery</c:v>
                </c:pt>
                <c:pt idx="7">
                  <c:v>Piper Heidsieck</c:v>
                </c:pt>
                <c:pt idx="8">
                  <c:v>Perrier Jouet</c:v>
                </c:pt>
                <c:pt idx="9">
                  <c:v>Others</c:v>
                </c:pt>
              </c:strCache>
            </c:strRef>
          </c:cat>
          <c:val>
            <c:numRef>
              <c:f>Sheet1!$B$2:$B$11</c:f>
              <c:numCache>
                <c:formatCode>General</c:formatCode>
                <c:ptCount val="10"/>
                <c:pt idx="0">
                  <c:v>0.40975909644846797</c:v>
                </c:pt>
                <c:pt idx="1">
                  <c:v>0.23749238335654596</c:v>
                </c:pt>
                <c:pt idx="2">
                  <c:v>0.11731535080083566</c:v>
                </c:pt>
                <c:pt idx="3">
                  <c:v>9.1473167653203347E-2</c:v>
                </c:pt>
                <c:pt idx="4">
                  <c:v>5.9320051357938719E-2</c:v>
                </c:pt>
                <c:pt idx="5">
                  <c:v>2.5347101323119778E-2</c:v>
                </c:pt>
                <c:pt idx="6">
                  <c:v>1.5094555188022284E-2</c:v>
                </c:pt>
                <c:pt idx="7">
                  <c:v>1.4058147632311977E-2</c:v>
                </c:pt>
                <c:pt idx="8">
                  <c:v>1.2815002611420613E-2</c:v>
                </c:pt>
                <c:pt idx="9">
                  <c:v>1.7325143628133702E-2</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Dom Perignon</c:v>
                </c:pt>
                <c:pt idx="1">
                  <c:v>Roederer</c:v>
                </c:pt>
                <c:pt idx="2">
                  <c:v>Ruinart</c:v>
                </c:pt>
                <c:pt idx="3">
                  <c:v>Malard</c:v>
                </c:pt>
                <c:pt idx="4">
                  <c:v>Bollinger</c:v>
                </c:pt>
                <c:pt idx="5">
                  <c:v>Laurent Perrier</c:v>
                </c:pt>
                <c:pt idx="6">
                  <c:v>Pommery</c:v>
                </c:pt>
                <c:pt idx="7">
                  <c:v>Piper Heidsieck</c:v>
                </c:pt>
                <c:pt idx="8">
                  <c:v>Perrier Jouet</c:v>
                </c:pt>
                <c:pt idx="9">
                  <c:v>Others</c:v>
                </c:pt>
              </c:strCache>
            </c:strRef>
          </c:cat>
          <c:val>
            <c:numRef>
              <c:f>Sheet1!$C$2:$C$11</c:f>
              <c:numCache>
                <c:formatCode>General</c:formatCode>
                <c:ptCount val="10"/>
                <c:pt idx="0">
                  <c:v>0.2060810810810812</c:v>
                </c:pt>
                <c:pt idx="1">
                  <c:v>0.22635135135135154</c:v>
                </c:pt>
                <c:pt idx="2">
                  <c:v>0.15540540540540548</c:v>
                </c:pt>
                <c:pt idx="3">
                  <c:v>0.18243243243243257</c:v>
                </c:pt>
                <c:pt idx="4">
                  <c:v>4.3918918918918949E-2</c:v>
                </c:pt>
                <c:pt idx="5">
                  <c:v>4.3918918918918949E-2</c:v>
                </c:pt>
                <c:pt idx="6">
                  <c:v>2.7027027027027039E-2</c:v>
                </c:pt>
                <c:pt idx="7">
                  <c:v>2.3648648648648664E-2</c:v>
                </c:pt>
                <c:pt idx="8">
                  <c:v>3.0405405405405424E-2</c:v>
                </c:pt>
                <c:pt idx="9">
                  <c:v>6.0810810810810849E-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Dom Perignon</c:v>
                </c:pt>
                <c:pt idx="1">
                  <c:v>Roederer</c:v>
                </c:pt>
                <c:pt idx="2">
                  <c:v>Ruinart</c:v>
                </c:pt>
                <c:pt idx="3">
                  <c:v>Malard</c:v>
                </c:pt>
                <c:pt idx="4">
                  <c:v>Bollinger</c:v>
                </c:pt>
                <c:pt idx="5">
                  <c:v>Laurent Perrier</c:v>
                </c:pt>
                <c:pt idx="6">
                  <c:v>Pommery</c:v>
                </c:pt>
                <c:pt idx="7">
                  <c:v>Piper Heidsieck</c:v>
                </c:pt>
                <c:pt idx="8">
                  <c:v>Perrier Jouet</c:v>
                </c:pt>
                <c:pt idx="9">
                  <c:v>Others</c:v>
                </c:pt>
              </c:strCache>
            </c:strRef>
          </c:cat>
          <c:val>
            <c:numRef>
              <c:f>Sheet1!$D$2:$D$11</c:f>
              <c:numCache>
                <c:formatCode>General</c:formatCode>
                <c:ptCount val="10"/>
                <c:pt idx="0">
                  <c:v>50.293229086861359</c:v>
                </c:pt>
                <c:pt idx="1">
                  <c:v>95.30888871140408</c:v>
                </c:pt>
                <c:pt idx="2">
                  <c:v>132.46809078654564</c:v>
                </c:pt>
                <c:pt idx="3">
                  <c:v>199.43819276498388</c:v>
                </c:pt>
                <c:pt idx="4">
                  <c:v>74.037223356249399</c:v>
                </c:pt>
                <c:pt idx="5">
                  <c:v>173.26998601950322</c:v>
                </c:pt>
                <c:pt idx="6">
                  <c:v>179.05149698265583</c:v>
                </c:pt>
                <c:pt idx="7">
                  <c:v>168.22023261651756</c:v>
                </c:pt>
                <c:pt idx="8">
                  <c:v>237.26413741272597</c:v>
                </c:pt>
                <c:pt idx="9">
                  <c:v>350.99744115288183</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Dom Perignon</c:v>
                </c:pt>
                <c:pt idx="1">
                  <c:v>Roederer</c:v>
                </c:pt>
                <c:pt idx="2">
                  <c:v>Malard</c:v>
                </c:pt>
                <c:pt idx="3">
                  <c:v>Ruinart</c:v>
                </c:pt>
                <c:pt idx="4">
                  <c:v>Laurent Perrier</c:v>
                </c:pt>
                <c:pt idx="5">
                  <c:v>Bollinger</c:v>
                </c:pt>
                <c:pt idx="6">
                  <c:v>Piper Heidsieck</c:v>
                </c:pt>
                <c:pt idx="7">
                  <c:v>Pommery</c:v>
                </c:pt>
                <c:pt idx="8">
                  <c:v>Others</c:v>
                </c:pt>
              </c:strCache>
            </c:strRef>
          </c:cat>
          <c:val>
            <c:numRef>
              <c:f>Sheet1!$B$2:$B$10</c:f>
              <c:numCache>
                <c:formatCode>General</c:formatCode>
                <c:ptCount val="9"/>
                <c:pt idx="0">
                  <c:v>0.39802840584546861</c:v>
                </c:pt>
                <c:pt idx="1">
                  <c:v>0.20647827844916664</c:v>
                </c:pt>
                <c:pt idx="2">
                  <c:v>0.14550775609223876</c:v>
                </c:pt>
                <c:pt idx="3">
                  <c:v>0.13306976953142549</c:v>
                </c:pt>
                <c:pt idx="4">
                  <c:v>3.2885574374410351E-2</c:v>
                </c:pt>
                <c:pt idx="5">
                  <c:v>2.407693838126472E-2</c:v>
                </c:pt>
                <c:pt idx="6">
                  <c:v>1.471635871204585E-2</c:v>
                </c:pt>
                <c:pt idx="7">
                  <c:v>1.2316045516099427E-2</c:v>
                </c:pt>
                <c:pt idx="8">
                  <c:v>3.2920873097880159E-2</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Dom Perignon</c:v>
                </c:pt>
                <c:pt idx="1">
                  <c:v>Roederer</c:v>
                </c:pt>
                <c:pt idx="2">
                  <c:v>Malard</c:v>
                </c:pt>
                <c:pt idx="3">
                  <c:v>Ruinart</c:v>
                </c:pt>
                <c:pt idx="4">
                  <c:v>Laurent Perrier</c:v>
                </c:pt>
                <c:pt idx="5">
                  <c:v>Bollinger</c:v>
                </c:pt>
                <c:pt idx="6">
                  <c:v>Piper Heidsieck</c:v>
                </c:pt>
                <c:pt idx="7">
                  <c:v>Pommery</c:v>
                </c:pt>
                <c:pt idx="8">
                  <c:v>Others</c:v>
                </c:pt>
              </c:strCache>
            </c:strRef>
          </c:cat>
          <c:val>
            <c:numRef>
              <c:f>Sheet1!$C$2:$C$10</c:f>
              <c:numCache>
                <c:formatCode>General</c:formatCode>
                <c:ptCount val="9"/>
                <c:pt idx="0">
                  <c:v>0.16836734693877542</c:v>
                </c:pt>
                <c:pt idx="1">
                  <c:v>0.24489795918367338</c:v>
                </c:pt>
                <c:pt idx="2">
                  <c:v>0.18367346938775503</c:v>
                </c:pt>
                <c:pt idx="3">
                  <c:v>0.15306122448979587</c:v>
                </c:pt>
                <c:pt idx="4">
                  <c:v>6.6326530612244861E-2</c:v>
                </c:pt>
                <c:pt idx="5">
                  <c:v>4.0816326530612221E-2</c:v>
                </c:pt>
                <c:pt idx="6">
                  <c:v>2.040816326530611E-2</c:v>
                </c:pt>
                <c:pt idx="7">
                  <c:v>2.040816326530611E-2</c:v>
                </c:pt>
                <c:pt idx="8">
                  <c:v>0.10204081632653056</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Dom Perignon</c:v>
                </c:pt>
                <c:pt idx="1">
                  <c:v>Roederer</c:v>
                </c:pt>
                <c:pt idx="2">
                  <c:v>Malard</c:v>
                </c:pt>
                <c:pt idx="3">
                  <c:v>Ruinart</c:v>
                </c:pt>
                <c:pt idx="4">
                  <c:v>Laurent Perrier</c:v>
                </c:pt>
                <c:pt idx="5">
                  <c:v>Bollinger</c:v>
                </c:pt>
                <c:pt idx="6">
                  <c:v>Piper Heidsieck</c:v>
                </c:pt>
                <c:pt idx="7">
                  <c:v>Pommery</c:v>
                </c:pt>
                <c:pt idx="8">
                  <c:v>Others</c:v>
                </c:pt>
              </c:strCache>
            </c:strRef>
          </c:cat>
          <c:val>
            <c:numRef>
              <c:f>Sheet1!$D$2:$D$10</c:f>
              <c:numCache>
                <c:formatCode>General</c:formatCode>
                <c:ptCount val="9"/>
                <c:pt idx="0">
                  <c:v>42.300334465109188</c:v>
                </c:pt>
                <c:pt idx="1">
                  <c:v>118.60712953588741</c:v>
                </c:pt>
                <c:pt idx="2">
                  <c:v>126.22933259401145</c:v>
                </c:pt>
                <c:pt idx="3">
                  <c:v>115.02328818090366</c:v>
                </c:pt>
                <c:pt idx="4">
                  <c:v>201.68883127021289</c:v>
                </c:pt>
                <c:pt idx="5">
                  <c:v>169.52457112393128</c:v>
                </c:pt>
                <c:pt idx="6">
                  <c:v>138.67671796149764</c:v>
                </c:pt>
                <c:pt idx="7">
                  <c:v>165.70386361944455</c:v>
                </c:pt>
                <c:pt idx="8">
                  <c:v>309.957807082282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Deutz</c:v>
                </c:pt>
                <c:pt idx="2">
                  <c:v>Demoiselle</c:v>
                </c:pt>
                <c:pt idx="3">
                  <c:v>Nicolas</c:v>
                </c:pt>
                <c:pt idx="4">
                  <c:v>Laurent Perrier</c:v>
                </c:pt>
                <c:pt idx="5">
                  <c:v>Nicolas Feuillatte</c:v>
                </c:pt>
                <c:pt idx="6">
                  <c:v>Besserat De Bellefon</c:v>
                </c:pt>
                <c:pt idx="7">
                  <c:v>Malard</c:v>
                </c:pt>
                <c:pt idx="8">
                  <c:v>Pommery</c:v>
                </c:pt>
                <c:pt idx="9">
                  <c:v>Others</c:v>
                </c:pt>
              </c:strCache>
            </c:strRef>
          </c:cat>
          <c:val>
            <c:numRef>
              <c:f>Sheet1!$B$2:$B$11</c:f>
              <c:numCache>
                <c:formatCode>General</c:formatCode>
                <c:ptCount val="10"/>
                <c:pt idx="0">
                  <c:v>0.29435365967970373</c:v>
                </c:pt>
                <c:pt idx="1">
                  <c:v>0.13942183258430269</c:v>
                </c:pt>
                <c:pt idx="2">
                  <c:v>0.10055346036308828</c:v>
                </c:pt>
                <c:pt idx="3">
                  <c:v>9.6787710083396788E-2</c:v>
                </c:pt>
                <c:pt idx="4">
                  <c:v>9.2956671253964535E-2</c:v>
                </c:pt>
                <c:pt idx="5">
                  <c:v>5.5266990528963167E-2</c:v>
                </c:pt>
                <c:pt idx="6">
                  <c:v>4.7703312041493674E-2</c:v>
                </c:pt>
                <c:pt idx="7">
                  <c:v>4.2263843154518879E-2</c:v>
                </c:pt>
                <c:pt idx="8">
                  <c:v>3.7244785893196325E-2</c:v>
                </c:pt>
                <c:pt idx="9">
                  <c:v>9.3447734417371961E-2</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Deutz</c:v>
                </c:pt>
                <c:pt idx="2">
                  <c:v>Demoiselle</c:v>
                </c:pt>
                <c:pt idx="3">
                  <c:v>Nicolas</c:v>
                </c:pt>
                <c:pt idx="4">
                  <c:v>Laurent Perrier</c:v>
                </c:pt>
                <c:pt idx="5">
                  <c:v>Nicolas Feuillatte</c:v>
                </c:pt>
                <c:pt idx="6">
                  <c:v>Besserat De Bellefon</c:v>
                </c:pt>
                <c:pt idx="7">
                  <c:v>Malard</c:v>
                </c:pt>
                <c:pt idx="8">
                  <c:v>Pommery</c:v>
                </c:pt>
                <c:pt idx="9">
                  <c:v>Others</c:v>
                </c:pt>
              </c:strCache>
            </c:strRef>
          </c:cat>
          <c:val>
            <c:numRef>
              <c:f>Sheet1!$C$2:$C$11</c:f>
              <c:numCache>
                <c:formatCode>General</c:formatCode>
                <c:ptCount val="10"/>
                <c:pt idx="0">
                  <c:v>0.18339646464646464</c:v>
                </c:pt>
                <c:pt idx="1">
                  <c:v>0.13120791245791244</c:v>
                </c:pt>
                <c:pt idx="2">
                  <c:v>0.10069444444444446</c:v>
                </c:pt>
                <c:pt idx="3">
                  <c:v>0.15361952861952863</c:v>
                </c:pt>
                <c:pt idx="4">
                  <c:v>6.4288720538720534E-2</c:v>
                </c:pt>
                <c:pt idx="5">
                  <c:v>5.7028619528619533E-2</c:v>
                </c:pt>
                <c:pt idx="6">
                  <c:v>6.6708754208754217E-2</c:v>
                </c:pt>
                <c:pt idx="7">
                  <c:v>5.0715488215488214E-2</c:v>
                </c:pt>
                <c:pt idx="8">
                  <c:v>4.7243265993265997E-2</c:v>
                </c:pt>
                <c:pt idx="9">
                  <c:v>0.14509680134680134</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Deutz</c:v>
                </c:pt>
                <c:pt idx="2">
                  <c:v>Demoiselle</c:v>
                </c:pt>
                <c:pt idx="3">
                  <c:v>Nicolas</c:v>
                </c:pt>
                <c:pt idx="4">
                  <c:v>Laurent Perrier</c:v>
                </c:pt>
                <c:pt idx="5">
                  <c:v>Nicolas Feuillatte</c:v>
                </c:pt>
                <c:pt idx="6">
                  <c:v>Besserat De Bellefon</c:v>
                </c:pt>
                <c:pt idx="7">
                  <c:v>Malard</c:v>
                </c:pt>
                <c:pt idx="8">
                  <c:v>Pommery</c:v>
                </c:pt>
                <c:pt idx="9">
                  <c:v>Others</c:v>
                </c:pt>
              </c:strCache>
            </c:strRef>
          </c:cat>
          <c:val>
            <c:numRef>
              <c:f>Sheet1!$D$2:$D$11</c:f>
              <c:numCache>
                <c:formatCode>General</c:formatCode>
                <c:ptCount val="10"/>
                <c:pt idx="0">
                  <c:v>62.304801933165912</c:v>
                </c:pt>
                <c:pt idx="1">
                  <c:v>94.108584018630211</c:v>
                </c:pt>
                <c:pt idx="2">
                  <c:v>100.14020808517887</c:v>
                </c:pt>
                <c:pt idx="3">
                  <c:v>158.71801129209783</c:v>
                </c:pt>
                <c:pt idx="4">
                  <c:v>69.159878114695999</c:v>
                </c:pt>
                <c:pt idx="5">
                  <c:v>103.18748855835234</c:v>
                </c:pt>
                <c:pt idx="6">
                  <c:v>139.84092792284335</c:v>
                </c:pt>
                <c:pt idx="7">
                  <c:v>119.99734153391984</c:v>
                </c:pt>
                <c:pt idx="8">
                  <c:v>126.84531501601714</c:v>
                </c:pt>
                <c:pt idx="9">
                  <c:v>155.27053946406625</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Deutz</c:v>
                </c:pt>
                <c:pt idx="2">
                  <c:v>Demoiselle</c:v>
                </c:pt>
                <c:pt idx="3">
                  <c:v>Nicolas</c:v>
                </c:pt>
                <c:pt idx="4">
                  <c:v>Laurent Perrier</c:v>
                </c:pt>
                <c:pt idx="5">
                  <c:v>Nicolas Feuillatte</c:v>
                </c:pt>
                <c:pt idx="6">
                  <c:v>Besserat De Bellefon</c:v>
                </c:pt>
                <c:pt idx="7">
                  <c:v>Malard</c:v>
                </c:pt>
                <c:pt idx="8">
                  <c:v>Pommery</c:v>
                </c:pt>
                <c:pt idx="9">
                  <c:v>Others</c:v>
                </c:pt>
              </c:strCache>
            </c:strRef>
          </c:cat>
          <c:val>
            <c:numRef>
              <c:f>Sheet1!$B$2:$B$11</c:f>
              <c:numCache>
                <c:formatCode>General</c:formatCode>
                <c:ptCount val="10"/>
                <c:pt idx="0">
                  <c:v>0.26509198665002798</c:v>
                </c:pt>
                <c:pt idx="1">
                  <c:v>0.13736099068405083</c:v>
                </c:pt>
                <c:pt idx="2">
                  <c:v>0.10637534571228459</c:v>
                </c:pt>
                <c:pt idx="3">
                  <c:v>9.9543612870680004E-2</c:v>
                </c:pt>
                <c:pt idx="4">
                  <c:v>8.2542102250807048E-2</c:v>
                </c:pt>
                <c:pt idx="5">
                  <c:v>5.7108275073005935E-2</c:v>
                </c:pt>
                <c:pt idx="6">
                  <c:v>5.3149865964911891E-2</c:v>
                </c:pt>
                <c:pt idx="7">
                  <c:v>4.7642202204500508E-2</c:v>
                </c:pt>
                <c:pt idx="8">
                  <c:v>3.6241078815501822E-2</c:v>
                </c:pt>
                <c:pt idx="9">
                  <c:v>0.11494453977422939</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Deutz</c:v>
                </c:pt>
                <c:pt idx="2">
                  <c:v>Demoiselle</c:v>
                </c:pt>
                <c:pt idx="3">
                  <c:v>Nicolas</c:v>
                </c:pt>
                <c:pt idx="4">
                  <c:v>Laurent Perrier</c:v>
                </c:pt>
                <c:pt idx="5">
                  <c:v>Nicolas Feuillatte</c:v>
                </c:pt>
                <c:pt idx="6">
                  <c:v>Besserat De Bellefon</c:v>
                </c:pt>
                <c:pt idx="7">
                  <c:v>Malard</c:v>
                </c:pt>
                <c:pt idx="8">
                  <c:v>Pommery</c:v>
                </c:pt>
                <c:pt idx="9">
                  <c:v>Others</c:v>
                </c:pt>
              </c:strCache>
            </c:strRef>
          </c:cat>
          <c:val>
            <c:numRef>
              <c:f>Sheet1!$C$2:$C$11</c:f>
              <c:numCache>
                <c:formatCode>General</c:formatCode>
                <c:ptCount val="10"/>
                <c:pt idx="0">
                  <c:v>0.17721518987341783</c:v>
                </c:pt>
                <c:pt idx="1">
                  <c:v>0.1346375143843499</c:v>
                </c:pt>
                <c:pt idx="2">
                  <c:v>0.10817031070195633</c:v>
                </c:pt>
                <c:pt idx="3">
                  <c:v>0.1484464902186422</c:v>
                </c:pt>
                <c:pt idx="4">
                  <c:v>6.6743383199079437E-2</c:v>
                </c:pt>
                <c:pt idx="5">
                  <c:v>6.3291139240506361E-2</c:v>
                </c:pt>
                <c:pt idx="6">
                  <c:v>6.7894131185270462E-2</c:v>
                </c:pt>
                <c:pt idx="7">
                  <c:v>5.5235903337169184E-2</c:v>
                </c:pt>
                <c:pt idx="8">
                  <c:v>4.7180667433832008E-2</c:v>
                </c:pt>
                <c:pt idx="9">
                  <c:v>0.1311852704257768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Deutz</c:v>
                </c:pt>
                <c:pt idx="2">
                  <c:v>Demoiselle</c:v>
                </c:pt>
                <c:pt idx="3">
                  <c:v>Nicolas</c:v>
                </c:pt>
                <c:pt idx="4">
                  <c:v>Laurent Perrier</c:v>
                </c:pt>
                <c:pt idx="5">
                  <c:v>Nicolas Feuillatte</c:v>
                </c:pt>
                <c:pt idx="6">
                  <c:v>Besserat De Bellefon</c:v>
                </c:pt>
                <c:pt idx="7">
                  <c:v>Malard</c:v>
                </c:pt>
                <c:pt idx="8">
                  <c:v>Pommery</c:v>
                </c:pt>
                <c:pt idx="9">
                  <c:v>Others</c:v>
                </c:pt>
              </c:strCache>
            </c:strRef>
          </c:cat>
          <c:val>
            <c:numRef>
              <c:f>Sheet1!$D$2:$D$11</c:f>
              <c:numCache>
                <c:formatCode>General</c:formatCode>
                <c:ptCount val="10"/>
                <c:pt idx="0">
                  <c:v>66.850451465126966</c:v>
                </c:pt>
                <c:pt idx="1">
                  <c:v>98.01728548539279</c:v>
                </c:pt>
                <c:pt idx="2">
                  <c:v>101.68738816090584</c:v>
                </c:pt>
                <c:pt idx="3">
                  <c:v>149.12708705026947</c:v>
                </c:pt>
                <c:pt idx="4">
                  <c:v>80.859805334588344</c:v>
                </c:pt>
                <c:pt idx="5">
                  <c:v>110.82656438072485</c:v>
                </c:pt>
                <c:pt idx="6">
                  <c:v>127.74092644013879</c:v>
                </c:pt>
                <c:pt idx="7">
                  <c:v>115.93902208817572</c:v>
                </c:pt>
                <c:pt idx="8">
                  <c:v>130.1856042255863</c:v>
                </c:pt>
                <c:pt idx="9">
                  <c:v>114.12918846205918</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Deutz</c:v>
                </c:pt>
                <c:pt idx="2">
                  <c:v>Demoiselle</c:v>
                </c:pt>
                <c:pt idx="3">
                  <c:v>Nicolas</c:v>
                </c:pt>
                <c:pt idx="4">
                  <c:v>Laurent Perrier</c:v>
                </c:pt>
                <c:pt idx="5">
                  <c:v>Nicolas Feuillatte</c:v>
                </c:pt>
                <c:pt idx="6">
                  <c:v>Besserat De Bellefon</c:v>
                </c:pt>
                <c:pt idx="7">
                  <c:v>Malard</c:v>
                </c:pt>
                <c:pt idx="8">
                  <c:v>Pommery</c:v>
                </c:pt>
                <c:pt idx="9">
                  <c:v>Others</c:v>
                </c:pt>
              </c:strCache>
            </c:strRef>
          </c:cat>
          <c:val>
            <c:numRef>
              <c:f>Sheet1!$B$2:$B$11</c:f>
              <c:numCache>
                <c:formatCode>General</c:formatCode>
                <c:ptCount val="10"/>
                <c:pt idx="0">
                  <c:v>0.3125537137157155</c:v>
                </c:pt>
                <c:pt idx="1">
                  <c:v>0.14916522041371166</c:v>
                </c:pt>
                <c:pt idx="2">
                  <c:v>0.13021037921585712</c:v>
                </c:pt>
                <c:pt idx="3">
                  <c:v>0.11394925854241508</c:v>
                </c:pt>
                <c:pt idx="4">
                  <c:v>8.1419875205629794E-2</c:v>
                </c:pt>
                <c:pt idx="5">
                  <c:v>5.0304605869287304E-2</c:v>
                </c:pt>
                <c:pt idx="6">
                  <c:v>4.8395313902359474E-2</c:v>
                </c:pt>
                <c:pt idx="7">
                  <c:v>4.5164753803704785E-2</c:v>
                </c:pt>
                <c:pt idx="8">
                  <c:v>4.3307836429385953E-2</c:v>
                </c:pt>
                <c:pt idx="9">
                  <c:v>2.5529042901933335E-2</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Deutz</c:v>
                </c:pt>
                <c:pt idx="2">
                  <c:v>Demoiselle</c:v>
                </c:pt>
                <c:pt idx="3">
                  <c:v>Nicolas</c:v>
                </c:pt>
                <c:pt idx="4">
                  <c:v>Laurent Perrier</c:v>
                </c:pt>
                <c:pt idx="5">
                  <c:v>Nicolas Feuillatte</c:v>
                </c:pt>
                <c:pt idx="6">
                  <c:v>Besserat De Bellefon</c:v>
                </c:pt>
                <c:pt idx="7">
                  <c:v>Malard</c:v>
                </c:pt>
                <c:pt idx="8">
                  <c:v>Pommery</c:v>
                </c:pt>
                <c:pt idx="9">
                  <c:v>Others</c:v>
                </c:pt>
              </c:strCache>
            </c:strRef>
          </c:cat>
          <c:val>
            <c:numRef>
              <c:f>Sheet1!$C$2:$C$11</c:f>
              <c:numCache>
                <c:formatCode>General</c:formatCode>
                <c:ptCount val="10"/>
                <c:pt idx="0">
                  <c:v>0.2026666666666668</c:v>
                </c:pt>
                <c:pt idx="1">
                  <c:v>0.15200000000000014</c:v>
                </c:pt>
                <c:pt idx="2">
                  <c:v>0.13066666666666676</c:v>
                </c:pt>
                <c:pt idx="3">
                  <c:v>0.1746666666666668</c:v>
                </c:pt>
                <c:pt idx="4">
                  <c:v>6.9333333333333386E-2</c:v>
                </c:pt>
                <c:pt idx="5">
                  <c:v>5.6000000000000036E-2</c:v>
                </c:pt>
                <c:pt idx="6">
                  <c:v>6.9333333333333386E-2</c:v>
                </c:pt>
                <c:pt idx="7">
                  <c:v>4.8000000000000036E-2</c:v>
                </c:pt>
                <c:pt idx="8">
                  <c:v>5.7333333333333375E-2</c:v>
                </c:pt>
                <c:pt idx="9">
                  <c:v>4.0000000000000022E-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Deutz</c:v>
                </c:pt>
                <c:pt idx="2">
                  <c:v>Demoiselle</c:v>
                </c:pt>
                <c:pt idx="3">
                  <c:v>Nicolas</c:v>
                </c:pt>
                <c:pt idx="4">
                  <c:v>Laurent Perrier</c:v>
                </c:pt>
                <c:pt idx="5">
                  <c:v>Nicolas Feuillatte</c:v>
                </c:pt>
                <c:pt idx="6">
                  <c:v>Besserat De Bellefon</c:v>
                </c:pt>
                <c:pt idx="7">
                  <c:v>Malard</c:v>
                </c:pt>
                <c:pt idx="8">
                  <c:v>Pommery</c:v>
                </c:pt>
                <c:pt idx="9">
                  <c:v>Others</c:v>
                </c:pt>
              </c:strCache>
            </c:strRef>
          </c:cat>
          <c:val>
            <c:numRef>
              <c:f>Sheet1!$D$2:$D$11</c:f>
              <c:numCache>
                <c:formatCode>General</c:formatCode>
                <c:ptCount val="10"/>
                <c:pt idx="0">
                  <c:v>64.842188005804047</c:v>
                </c:pt>
                <c:pt idx="1">
                  <c:v>101.90042932154438</c:v>
                </c:pt>
                <c:pt idx="2">
                  <c:v>100.35042325623922</c:v>
                </c:pt>
                <c:pt idx="3">
                  <c:v>153.28460132248338</c:v>
                </c:pt>
                <c:pt idx="4">
                  <c:v>85.155293051271244</c:v>
                </c:pt>
                <c:pt idx="5">
                  <c:v>111.32181443884438</c:v>
                </c:pt>
                <c:pt idx="6">
                  <c:v>143.26455960843163</c:v>
                </c:pt>
                <c:pt idx="7">
                  <c:v>106.27756371399212</c:v>
                </c:pt>
                <c:pt idx="8">
                  <c:v>132.38558667509562</c:v>
                </c:pt>
                <c:pt idx="9">
                  <c:v>156.68429150930208</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Deutz</c:v>
                </c:pt>
                <c:pt idx="2">
                  <c:v>Laurent Perrier</c:v>
                </c:pt>
                <c:pt idx="3">
                  <c:v>Nicolas</c:v>
                </c:pt>
                <c:pt idx="4">
                  <c:v>Nicolas Feuillatte</c:v>
                </c:pt>
                <c:pt idx="5">
                  <c:v>Demoiselle</c:v>
                </c:pt>
                <c:pt idx="6">
                  <c:v>Besserat De Bellefon</c:v>
                </c:pt>
                <c:pt idx="7">
                  <c:v>Pommery</c:v>
                </c:pt>
                <c:pt idx="8">
                  <c:v>Malard</c:v>
                </c:pt>
                <c:pt idx="9">
                  <c:v>Others</c:v>
                </c:pt>
              </c:strCache>
            </c:strRef>
          </c:cat>
          <c:val>
            <c:numRef>
              <c:f>Sheet1!$B$2:$B$11</c:f>
              <c:numCache>
                <c:formatCode>General</c:formatCode>
                <c:ptCount val="10"/>
                <c:pt idx="0">
                  <c:v>0.29341916755816644</c:v>
                </c:pt>
                <c:pt idx="1">
                  <c:v>0.14807655011480014</c:v>
                </c:pt>
                <c:pt idx="2">
                  <c:v>0.14252526958744935</c:v>
                </c:pt>
                <c:pt idx="3">
                  <c:v>8.8928928177440775E-2</c:v>
                </c:pt>
                <c:pt idx="4">
                  <c:v>7.0319000519259517E-2</c:v>
                </c:pt>
                <c:pt idx="5">
                  <c:v>6.8241962425630145E-2</c:v>
                </c:pt>
                <c:pt idx="6">
                  <c:v>4.1465688206552678E-2</c:v>
                </c:pt>
                <c:pt idx="7">
                  <c:v>3.7820444644640884E-2</c:v>
                </c:pt>
                <c:pt idx="8">
                  <c:v>3.6817377051231524E-2</c:v>
                </c:pt>
                <c:pt idx="9">
                  <c:v>7.2385611714828504E-2</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Deutz</c:v>
                </c:pt>
                <c:pt idx="2">
                  <c:v>Laurent Perrier</c:v>
                </c:pt>
                <c:pt idx="3">
                  <c:v>Nicolas</c:v>
                </c:pt>
                <c:pt idx="4">
                  <c:v>Nicolas Feuillatte</c:v>
                </c:pt>
                <c:pt idx="5">
                  <c:v>Demoiselle</c:v>
                </c:pt>
                <c:pt idx="6">
                  <c:v>Besserat De Bellefon</c:v>
                </c:pt>
                <c:pt idx="7">
                  <c:v>Pommery</c:v>
                </c:pt>
                <c:pt idx="8">
                  <c:v>Malard</c:v>
                </c:pt>
                <c:pt idx="9">
                  <c:v>Others</c:v>
                </c:pt>
              </c:strCache>
            </c:strRef>
          </c:cat>
          <c:val>
            <c:numRef>
              <c:f>Sheet1!$C$2:$C$11</c:f>
              <c:numCache>
                <c:formatCode>General</c:formatCode>
                <c:ptCount val="10"/>
                <c:pt idx="0">
                  <c:v>0.1624548736462095</c:v>
                </c:pt>
                <c:pt idx="1">
                  <c:v>0.12184115523465712</c:v>
                </c:pt>
                <c:pt idx="2">
                  <c:v>6.407942238267153E-2</c:v>
                </c:pt>
                <c:pt idx="3">
                  <c:v>0.13898916967509034</c:v>
                </c:pt>
                <c:pt idx="4">
                  <c:v>5.7761732851985596E-2</c:v>
                </c:pt>
                <c:pt idx="5">
                  <c:v>8.3032490974729284E-2</c:v>
                </c:pt>
                <c:pt idx="6">
                  <c:v>5.8664259927797877E-2</c:v>
                </c:pt>
                <c:pt idx="7">
                  <c:v>4.0613718411552376E-2</c:v>
                </c:pt>
                <c:pt idx="8">
                  <c:v>4.7833935018050576E-2</c:v>
                </c:pt>
                <c:pt idx="9">
                  <c:v>0.22472924187725649</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Deutz</c:v>
                </c:pt>
                <c:pt idx="2">
                  <c:v>Laurent Perrier</c:v>
                </c:pt>
                <c:pt idx="3">
                  <c:v>Nicolas</c:v>
                </c:pt>
                <c:pt idx="4">
                  <c:v>Nicolas Feuillatte</c:v>
                </c:pt>
                <c:pt idx="5">
                  <c:v>Demoiselle</c:v>
                </c:pt>
                <c:pt idx="6">
                  <c:v>Besserat De Bellefon</c:v>
                </c:pt>
                <c:pt idx="7">
                  <c:v>Pommery</c:v>
                </c:pt>
                <c:pt idx="8">
                  <c:v>Malard</c:v>
                </c:pt>
                <c:pt idx="9">
                  <c:v>Others</c:v>
                </c:pt>
              </c:strCache>
            </c:strRef>
          </c:cat>
          <c:val>
            <c:numRef>
              <c:f>Sheet1!$D$2:$D$11</c:f>
              <c:numCache>
                <c:formatCode>General</c:formatCode>
                <c:ptCount val="10"/>
                <c:pt idx="0">
                  <c:v>55.366142232001593</c:v>
                </c:pt>
                <c:pt idx="1">
                  <c:v>82.282545845508039</c:v>
                </c:pt>
                <c:pt idx="2">
                  <c:v>44.960042923023039</c:v>
                </c:pt>
                <c:pt idx="3">
                  <c:v>156.29241521697401</c:v>
                </c:pt>
                <c:pt idx="4">
                  <c:v>82.142425838611516</c:v>
                </c:pt>
                <c:pt idx="5">
                  <c:v>121.67365653532869</c:v>
                </c:pt>
                <c:pt idx="6">
                  <c:v>141.47663397162034</c:v>
                </c:pt>
                <c:pt idx="7">
                  <c:v>107.38561852764281</c:v>
                </c:pt>
                <c:pt idx="8">
                  <c:v>129.92216950025926</c:v>
                </c:pt>
                <c:pt idx="9">
                  <c:v>310.46120431033086</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Roederer</c:v>
                </c:pt>
                <c:pt idx="2">
                  <c:v>Deutz</c:v>
                </c:pt>
                <c:pt idx="3">
                  <c:v>Laurent Perrier</c:v>
                </c:pt>
                <c:pt idx="4">
                  <c:v>Nicolas</c:v>
                </c:pt>
                <c:pt idx="5">
                  <c:v>Demoiselle</c:v>
                </c:pt>
                <c:pt idx="6">
                  <c:v>Dom Perignon</c:v>
                </c:pt>
                <c:pt idx="7">
                  <c:v>Nicolas Feuillatte</c:v>
                </c:pt>
                <c:pt idx="8">
                  <c:v>Bollinger</c:v>
                </c:pt>
                <c:pt idx="9">
                  <c:v>Others</c:v>
                </c:pt>
              </c:strCache>
            </c:strRef>
          </c:cat>
          <c:val>
            <c:numRef>
              <c:f>Sheet1!$B$2:$B$11</c:f>
              <c:numCache>
                <c:formatCode>General</c:formatCode>
                <c:ptCount val="10"/>
                <c:pt idx="0">
                  <c:v>0.27907081970674663</c:v>
                </c:pt>
                <c:pt idx="1">
                  <c:v>0.12636590558880681</c:v>
                </c:pt>
                <c:pt idx="2">
                  <c:v>0.11030810958917883</c:v>
                </c:pt>
                <c:pt idx="3">
                  <c:v>9.7452823311455383E-2</c:v>
                </c:pt>
                <c:pt idx="4">
                  <c:v>6.71471269164155E-2</c:v>
                </c:pt>
                <c:pt idx="5">
                  <c:v>6.2215161394926763E-2</c:v>
                </c:pt>
                <c:pt idx="6">
                  <c:v>5.5790031999959779E-2</c:v>
                </c:pt>
                <c:pt idx="7">
                  <c:v>4.9038115898676009E-2</c:v>
                </c:pt>
                <c:pt idx="8">
                  <c:v>3.7889661725484088E-2</c:v>
                </c:pt>
                <c:pt idx="9">
                  <c:v>0.1147222438683502</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Roederer</c:v>
                </c:pt>
                <c:pt idx="2">
                  <c:v>Deutz</c:v>
                </c:pt>
                <c:pt idx="3">
                  <c:v>Laurent Perrier</c:v>
                </c:pt>
                <c:pt idx="4">
                  <c:v>Nicolas</c:v>
                </c:pt>
                <c:pt idx="5">
                  <c:v>Demoiselle</c:v>
                </c:pt>
                <c:pt idx="6">
                  <c:v>Dom Perignon</c:v>
                </c:pt>
                <c:pt idx="7">
                  <c:v>Nicolas Feuillatte</c:v>
                </c:pt>
                <c:pt idx="8">
                  <c:v>Bollinger</c:v>
                </c:pt>
                <c:pt idx="9">
                  <c:v>Others</c:v>
                </c:pt>
              </c:strCache>
            </c:strRef>
          </c:cat>
          <c:val>
            <c:numRef>
              <c:f>Sheet1!$C$2:$C$11</c:f>
              <c:numCache>
                <c:formatCode>General</c:formatCode>
                <c:ptCount val="10"/>
                <c:pt idx="0">
                  <c:v>0.17944664031620561</c:v>
                </c:pt>
                <c:pt idx="1">
                  <c:v>4.3478260869565237E-2</c:v>
                </c:pt>
                <c:pt idx="2">
                  <c:v>0.12173913043478266</c:v>
                </c:pt>
                <c:pt idx="3">
                  <c:v>5.8498023715415043E-2</c:v>
                </c:pt>
                <c:pt idx="4">
                  <c:v>0.13913043478260878</c:v>
                </c:pt>
                <c:pt idx="5">
                  <c:v>8.3003952569169995E-2</c:v>
                </c:pt>
                <c:pt idx="6">
                  <c:v>5.8498023715415043E-2</c:v>
                </c:pt>
                <c:pt idx="7">
                  <c:v>5.1383399209486189E-2</c:v>
                </c:pt>
                <c:pt idx="8">
                  <c:v>4.1106719367588952E-2</c:v>
                </c:pt>
                <c:pt idx="9">
                  <c:v>0.22371541501976294</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Roederer</c:v>
                </c:pt>
                <c:pt idx="2">
                  <c:v>Deutz</c:v>
                </c:pt>
                <c:pt idx="3">
                  <c:v>Laurent Perrier</c:v>
                </c:pt>
                <c:pt idx="4">
                  <c:v>Nicolas</c:v>
                </c:pt>
                <c:pt idx="5">
                  <c:v>Demoiselle</c:v>
                </c:pt>
                <c:pt idx="6">
                  <c:v>Dom Perignon</c:v>
                </c:pt>
                <c:pt idx="7">
                  <c:v>Nicolas Feuillatte</c:v>
                </c:pt>
                <c:pt idx="8">
                  <c:v>Bollinger</c:v>
                </c:pt>
                <c:pt idx="9">
                  <c:v>Others</c:v>
                </c:pt>
              </c:strCache>
            </c:strRef>
          </c:cat>
          <c:val>
            <c:numRef>
              <c:f>Sheet1!$D$2:$D$11</c:f>
              <c:numCache>
                <c:formatCode>General</c:formatCode>
                <c:ptCount val="10"/>
                <c:pt idx="0">
                  <c:v>64.301470323830998</c:v>
                </c:pt>
                <c:pt idx="1">
                  <c:v>34.406638932373887</c:v>
                </c:pt>
                <c:pt idx="2">
                  <c:v>110.36281093763318</c:v>
                </c:pt>
                <c:pt idx="3">
                  <c:v>60.027017922772394</c:v>
                </c:pt>
                <c:pt idx="4">
                  <c:v>207.20236467570362</c:v>
                </c:pt>
                <c:pt idx="5">
                  <c:v>133.41434902383526</c:v>
                </c:pt>
                <c:pt idx="6">
                  <c:v>104.85389883887719</c:v>
                </c:pt>
                <c:pt idx="7">
                  <c:v>104.78257222536051</c:v>
                </c:pt>
                <c:pt idx="8">
                  <c:v>108.49059478390939</c:v>
                </c:pt>
                <c:pt idx="9">
                  <c:v>195.00613610424858</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Nicolas</c:v>
                </c:pt>
                <c:pt idx="2">
                  <c:v>Deutz</c:v>
                </c:pt>
                <c:pt idx="3">
                  <c:v>Malard</c:v>
                </c:pt>
                <c:pt idx="4">
                  <c:v>Laurent Perrier</c:v>
                </c:pt>
                <c:pt idx="5">
                  <c:v>Nicolas Feuillatte</c:v>
                </c:pt>
                <c:pt idx="6">
                  <c:v>Heidsieck &amp; Co Monopole</c:v>
                </c:pt>
                <c:pt idx="7">
                  <c:v>De Bligny</c:v>
                </c:pt>
                <c:pt idx="8">
                  <c:v>Ayala</c:v>
                </c:pt>
                <c:pt idx="9">
                  <c:v>Others</c:v>
                </c:pt>
              </c:strCache>
            </c:strRef>
          </c:cat>
          <c:val>
            <c:numRef>
              <c:f>Sheet1!$B$2:$B$11</c:f>
              <c:numCache>
                <c:formatCode>General</c:formatCode>
                <c:ptCount val="10"/>
                <c:pt idx="0">
                  <c:v>0.22632295338087396</c:v>
                </c:pt>
                <c:pt idx="1">
                  <c:v>8.4727966093976773E-2</c:v>
                </c:pt>
                <c:pt idx="2">
                  <c:v>7.4667517794618193E-2</c:v>
                </c:pt>
                <c:pt idx="3">
                  <c:v>5.2101035842587691E-2</c:v>
                </c:pt>
                <c:pt idx="4">
                  <c:v>4.2364231430631831E-2</c:v>
                </c:pt>
                <c:pt idx="5">
                  <c:v>3.5546762774577766E-2</c:v>
                </c:pt>
                <c:pt idx="6">
                  <c:v>3.3554146392351769E-2</c:v>
                </c:pt>
                <c:pt idx="7">
                  <c:v>3.0965409265869024E-2</c:v>
                </c:pt>
                <c:pt idx="8">
                  <c:v>2.7749751823342928E-2</c:v>
                </c:pt>
                <c:pt idx="9">
                  <c:v>0.39200022520117006</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Nicolas</c:v>
                </c:pt>
                <c:pt idx="2">
                  <c:v>Deutz</c:v>
                </c:pt>
                <c:pt idx="3">
                  <c:v>Malard</c:v>
                </c:pt>
                <c:pt idx="4">
                  <c:v>Laurent Perrier</c:v>
                </c:pt>
                <c:pt idx="5">
                  <c:v>Nicolas Feuillatte</c:v>
                </c:pt>
                <c:pt idx="6">
                  <c:v>Heidsieck &amp; Co Monopole</c:v>
                </c:pt>
                <c:pt idx="7">
                  <c:v>De Bligny</c:v>
                </c:pt>
                <c:pt idx="8">
                  <c:v>Ayala</c:v>
                </c:pt>
                <c:pt idx="9">
                  <c:v>Others</c:v>
                </c:pt>
              </c:strCache>
            </c:strRef>
          </c:cat>
          <c:val>
            <c:numRef>
              <c:f>Sheet1!$C$2:$C$11</c:f>
              <c:numCache>
                <c:formatCode>General</c:formatCode>
                <c:ptCount val="10"/>
                <c:pt idx="0">
                  <c:v>9.6170710318620137E-2</c:v>
                </c:pt>
                <c:pt idx="1">
                  <c:v>7.1178018123355655E-2</c:v>
                </c:pt>
                <c:pt idx="2">
                  <c:v>4.7062262496346034E-2</c:v>
                </c:pt>
                <c:pt idx="3">
                  <c:v>4.7062262496346027E-2</c:v>
                </c:pt>
                <c:pt idx="4">
                  <c:v>3.8146740719087933E-2</c:v>
                </c:pt>
                <c:pt idx="5">
                  <c:v>3.4638994446068355E-2</c:v>
                </c:pt>
                <c:pt idx="6">
                  <c:v>1.3446360713241725E-2</c:v>
                </c:pt>
                <c:pt idx="7">
                  <c:v>2.163110201695408E-2</c:v>
                </c:pt>
                <c:pt idx="8">
                  <c:v>1.7538731365097905E-2</c:v>
                </c:pt>
                <c:pt idx="9">
                  <c:v>0.61312481730488078</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Nicolas</c:v>
                </c:pt>
                <c:pt idx="2">
                  <c:v>Deutz</c:v>
                </c:pt>
                <c:pt idx="3">
                  <c:v>Malard</c:v>
                </c:pt>
                <c:pt idx="4">
                  <c:v>Laurent Perrier</c:v>
                </c:pt>
                <c:pt idx="5">
                  <c:v>Nicolas Feuillatte</c:v>
                </c:pt>
                <c:pt idx="6">
                  <c:v>Heidsieck &amp; Co Monopole</c:v>
                </c:pt>
                <c:pt idx="7">
                  <c:v>De Bligny</c:v>
                </c:pt>
                <c:pt idx="8">
                  <c:v>Ayala</c:v>
                </c:pt>
                <c:pt idx="9">
                  <c:v>Others</c:v>
                </c:pt>
              </c:strCache>
            </c:strRef>
          </c:cat>
          <c:val>
            <c:numRef>
              <c:f>Sheet1!$D$2:$D$11</c:f>
              <c:numCache>
                <c:formatCode>General</c:formatCode>
                <c:ptCount val="10"/>
                <c:pt idx="0">
                  <c:v>42.492689708222628</c:v>
                </c:pt>
                <c:pt idx="1">
                  <c:v>84.007703010842874</c:v>
                </c:pt>
                <c:pt idx="2">
                  <c:v>63.029097372429511</c:v>
                </c:pt>
                <c:pt idx="3">
                  <c:v>90.328842287387033</c:v>
                </c:pt>
                <c:pt idx="4">
                  <c:v>90.044689661254168</c:v>
                </c:pt>
                <c:pt idx="5">
                  <c:v>97.446270046400329</c:v>
                </c:pt>
                <c:pt idx="6">
                  <c:v>40.07361878920171</c:v>
                </c:pt>
                <c:pt idx="7">
                  <c:v>69.855695531841434</c:v>
                </c:pt>
                <c:pt idx="8">
                  <c:v>63.203200795274959</c:v>
                </c:pt>
                <c:pt idx="9">
                  <c:v>156.40930231359741</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Deutz</c:v>
                </c:pt>
                <c:pt idx="2">
                  <c:v>Demoiselle</c:v>
                </c:pt>
                <c:pt idx="3">
                  <c:v>Nicolas</c:v>
                </c:pt>
                <c:pt idx="4">
                  <c:v>Laurent Perrier</c:v>
                </c:pt>
                <c:pt idx="5">
                  <c:v>Nicolas Feuillatte</c:v>
                </c:pt>
                <c:pt idx="6">
                  <c:v>Besserat De Bellefon</c:v>
                </c:pt>
                <c:pt idx="7">
                  <c:v>Malard</c:v>
                </c:pt>
                <c:pt idx="8">
                  <c:v>Pommery</c:v>
                </c:pt>
                <c:pt idx="9">
                  <c:v>Others</c:v>
                </c:pt>
              </c:strCache>
            </c:strRef>
          </c:cat>
          <c:val>
            <c:numRef>
              <c:f>Sheet1!$B$2:$B$11</c:f>
              <c:numCache>
                <c:formatCode>General</c:formatCode>
                <c:ptCount val="10"/>
                <c:pt idx="0">
                  <c:v>0.36488019945743022</c:v>
                </c:pt>
                <c:pt idx="1">
                  <c:v>0.16017196289050584</c:v>
                </c:pt>
                <c:pt idx="2">
                  <c:v>0.11241443544680661</c:v>
                </c:pt>
                <c:pt idx="3">
                  <c:v>7.9246096466788957E-2</c:v>
                </c:pt>
                <c:pt idx="4">
                  <c:v>7.6431566660023514E-2</c:v>
                </c:pt>
                <c:pt idx="5">
                  <c:v>5.5900141133214301E-2</c:v>
                </c:pt>
                <c:pt idx="6">
                  <c:v>3.3920778306970843E-2</c:v>
                </c:pt>
                <c:pt idx="7">
                  <c:v>3.2127125641098646E-2</c:v>
                </c:pt>
                <c:pt idx="8">
                  <c:v>3.1976637775708007E-2</c:v>
                </c:pt>
                <c:pt idx="9">
                  <c:v>5.2931056221453061E-2</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Deutz</c:v>
                </c:pt>
                <c:pt idx="2">
                  <c:v>Demoiselle</c:v>
                </c:pt>
                <c:pt idx="3">
                  <c:v>Nicolas</c:v>
                </c:pt>
                <c:pt idx="4">
                  <c:v>Laurent Perrier</c:v>
                </c:pt>
                <c:pt idx="5">
                  <c:v>Nicolas Feuillatte</c:v>
                </c:pt>
                <c:pt idx="6">
                  <c:v>Besserat De Bellefon</c:v>
                </c:pt>
                <c:pt idx="7">
                  <c:v>Malard</c:v>
                </c:pt>
                <c:pt idx="8">
                  <c:v>Pommery</c:v>
                </c:pt>
                <c:pt idx="9">
                  <c:v>Others</c:v>
                </c:pt>
              </c:strCache>
            </c:strRef>
          </c:cat>
          <c:val>
            <c:numRef>
              <c:f>Sheet1!$C$2:$C$11</c:f>
              <c:numCache>
                <c:formatCode>General</c:formatCode>
                <c:ptCount val="10"/>
                <c:pt idx="0">
                  <c:v>0.21169036334913116</c:v>
                </c:pt>
                <c:pt idx="1">
                  <c:v>0.11769352290679307</c:v>
                </c:pt>
                <c:pt idx="2">
                  <c:v>7.3459715639810436E-2</c:v>
                </c:pt>
                <c:pt idx="3">
                  <c:v>0.15323854660347552</c:v>
                </c:pt>
                <c:pt idx="4">
                  <c:v>6.003159557661928E-2</c:v>
                </c:pt>
                <c:pt idx="5">
                  <c:v>5.6082148499210116E-2</c:v>
                </c:pt>
                <c:pt idx="6">
                  <c:v>6.2401263823064781E-2</c:v>
                </c:pt>
                <c:pt idx="7">
                  <c:v>4.0284360189573466E-2</c:v>
                </c:pt>
                <c:pt idx="8">
                  <c:v>4.3443917851500799E-2</c:v>
                </c:pt>
                <c:pt idx="9">
                  <c:v>0.18167456556082154</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Deutz</c:v>
                </c:pt>
                <c:pt idx="2">
                  <c:v>Demoiselle</c:v>
                </c:pt>
                <c:pt idx="3">
                  <c:v>Nicolas</c:v>
                </c:pt>
                <c:pt idx="4">
                  <c:v>Laurent Perrier</c:v>
                </c:pt>
                <c:pt idx="5">
                  <c:v>Nicolas Feuillatte</c:v>
                </c:pt>
                <c:pt idx="6">
                  <c:v>Besserat De Bellefon</c:v>
                </c:pt>
                <c:pt idx="7">
                  <c:v>Malard</c:v>
                </c:pt>
                <c:pt idx="8">
                  <c:v>Pommery</c:v>
                </c:pt>
                <c:pt idx="9">
                  <c:v>Others</c:v>
                </c:pt>
              </c:strCache>
            </c:strRef>
          </c:cat>
          <c:val>
            <c:numRef>
              <c:f>Sheet1!$D$2:$D$11</c:f>
              <c:numCache>
                <c:formatCode>General</c:formatCode>
                <c:ptCount val="10"/>
                <c:pt idx="0">
                  <c:v>58.016402003701664</c:v>
                </c:pt>
                <c:pt idx="1">
                  <c:v>73.479478419858552</c:v>
                </c:pt>
                <c:pt idx="2">
                  <c:v>65.347226401871524</c:v>
                </c:pt>
                <c:pt idx="3">
                  <c:v>193.37046673042863</c:v>
                </c:pt>
                <c:pt idx="4">
                  <c:v>78.542934810752712</c:v>
                </c:pt>
                <c:pt idx="5">
                  <c:v>100.32559375040231</c:v>
                </c:pt>
                <c:pt idx="6">
                  <c:v>183.96176897344685</c:v>
                </c:pt>
                <c:pt idx="7">
                  <c:v>125.39048976743712</c:v>
                </c:pt>
                <c:pt idx="8">
                  <c:v>135.86143157459864</c:v>
                </c:pt>
                <c:pt idx="9">
                  <c:v>343.22867996574848</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Deutz</c:v>
                </c:pt>
                <c:pt idx="2">
                  <c:v>Demoiselle</c:v>
                </c:pt>
                <c:pt idx="3">
                  <c:v>Nicolas</c:v>
                </c:pt>
                <c:pt idx="4">
                  <c:v>Laurent Perrier</c:v>
                </c:pt>
                <c:pt idx="5">
                  <c:v>Nicolas Feuillatte</c:v>
                </c:pt>
                <c:pt idx="6">
                  <c:v>Besserat De Bellefon</c:v>
                </c:pt>
                <c:pt idx="7">
                  <c:v>Malard</c:v>
                </c:pt>
                <c:pt idx="8">
                  <c:v>Pommery</c:v>
                </c:pt>
                <c:pt idx="9">
                  <c:v>Others</c:v>
                </c:pt>
              </c:strCache>
            </c:strRef>
          </c:cat>
          <c:val>
            <c:numRef>
              <c:f>Sheet1!$B$2:$B$11</c:f>
              <c:numCache>
                <c:formatCode>General</c:formatCode>
                <c:ptCount val="10"/>
                <c:pt idx="0">
                  <c:v>0.28538434603022572</c:v>
                </c:pt>
                <c:pt idx="1">
                  <c:v>0.13809509205451992</c:v>
                </c:pt>
                <c:pt idx="2">
                  <c:v>0.10078932761392945</c:v>
                </c:pt>
                <c:pt idx="3">
                  <c:v>9.0475932096458322E-2</c:v>
                </c:pt>
                <c:pt idx="4">
                  <c:v>8.7197767329500547E-2</c:v>
                </c:pt>
                <c:pt idx="5">
                  <c:v>5.5151153828395638E-2</c:v>
                </c:pt>
                <c:pt idx="6">
                  <c:v>4.7306745160182517E-2</c:v>
                </c:pt>
                <c:pt idx="7">
                  <c:v>4.3979712922143331E-2</c:v>
                </c:pt>
                <c:pt idx="8">
                  <c:v>3.4886993130581634E-2</c:v>
                </c:pt>
                <c:pt idx="9">
                  <c:v>0.1167329298340629</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Deutz</c:v>
                </c:pt>
                <c:pt idx="2">
                  <c:v>Demoiselle</c:v>
                </c:pt>
                <c:pt idx="3">
                  <c:v>Nicolas</c:v>
                </c:pt>
                <c:pt idx="4">
                  <c:v>Laurent Perrier</c:v>
                </c:pt>
                <c:pt idx="5">
                  <c:v>Nicolas Feuillatte</c:v>
                </c:pt>
                <c:pt idx="6">
                  <c:v>Besserat De Bellefon</c:v>
                </c:pt>
                <c:pt idx="7">
                  <c:v>Malard</c:v>
                </c:pt>
                <c:pt idx="8">
                  <c:v>Pommery</c:v>
                </c:pt>
                <c:pt idx="9">
                  <c:v>Others</c:v>
                </c:pt>
              </c:strCache>
            </c:strRef>
          </c:cat>
          <c:val>
            <c:numRef>
              <c:f>Sheet1!$C$2:$C$11</c:f>
              <c:numCache>
                <c:formatCode>General</c:formatCode>
                <c:ptCount val="10"/>
                <c:pt idx="0">
                  <c:v>0.17966101694915276</c:v>
                </c:pt>
                <c:pt idx="1">
                  <c:v>0.13220338983050867</c:v>
                </c:pt>
                <c:pt idx="2">
                  <c:v>0.105084745762712</c:v>
                </c:pt>
                <c:pt idx="3">
                  <c:v>0.15028248587570642</c:v>
                </c:pt>
                <c:pt idx="4">
                  <c:v>6.2146892655367311E-2</c:v>
                </c:pt>
                <c:pt idx="5">
                  <c:v>5.9887005649717592E-2</c:v>
                </c:pt>
                <c:pt idx="6">
                  <c:v>6.3276836158192171E-2</c:v>
                </c:pt>
                <c:pt idx="7">
                  <c:v>5.4237288135593288E-2</c:v>
                </c:pt>
                <c:pt idx="8">
                  <c:v>4.4067796610169546E-2</c:v>
                </c:pt>
                <c:pt idx="9">
                  <c:v>0.14915254237288153</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Deutz</c:v>
                </c:pt>
                <c:pt idx="2">
                  <c:v>Demoiselle</c:v>
                </c:pt>
                <c:pt idx="3">
                  <c:v>Nicolas</c:v>
                </c:pt>
                <c:pt idx="4">
                  <c:v>Laurent Perrier</c:v>
                </c:pt>
                <c:pt idx="5">
                  <c:v>Nicolas Feuillatte</c:v>
                </c:pt>
                <c:pt idx="6">
                  <c:v>Besserat De Bellefon</c:v>
                </c:pt>
                <c:pt idx="7">
                  <c:v>Malard</c:v>
                </c:pt>
                <c:pt idx="8">
                  <c:v>Pommery</c:v>
                </c:pt>
                <c:pt idx="9">
                  <c:v>Others</c:v>
                </c:pt>
              </c:strCache>
            </c:strRef>
          </c:cat>
          <c:val>
            <c:numRef>
              <c:f>Sheet1!$D$2:$D$11</c:f>
              <c:numCache>
                <c:formatCode>General</c:formatCode>
                <c:ptCount val="10"/>
                <c:pt idx="0">
                  <c:v>62.95405457527248</c:v>
                </c:pt>
                <c:pt idx="1">
                  <c:v>95.733590429350514</c:v>
                </c:pt>
                <c:pt idx="2">
                  <c:v>104.2617787522465</c:v>
                </c:pt>
                <c:pt idx="3">
                  <c:v>166.10216926584081</c:v>
                </c:pt>
                <c:pt idx="4">
                  <c:v>71.271197140321647</c:v>
                </c:pt>
                <c:pt idx="5">
                  <c:v>108.58704032930606</c:v>
                </c:pt>
                <c:pt idx="6">
                  <c:v>133.758591811663</c:v>
                </c:pt>
                <c:pt idx="7">
                  <c:v>123.32342466993542</c:v>
                </c:pt>
                <c:pt idx="8">
                  <c:v>126.31583480188237</c:v>
                </c:pt>
                <c:pt idx="9">
                  <c:v>127.77246539164524</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Laurent Perrier</c:v>
                </c:pt>
                <c:pt idx="2">
                  <c:v>Deutz</c:v>
                </c:pt>
                <c:pt idx="3">
                  <c:v>Nicolas</c:v>
                </c:pt>
                <c:pt idx="4">
                  <c:v>Demoiselle</c:v>
                </c:pt>
                <c:pt idx="5">
                  <c:v>Nicolas Feuillatte</c:v>
                </c:pt>
                <c:pt idx="6">
                  <c:v>Pommery</c:v>
                </c:pt>
                <c:pt idx="7">
                  <c:v>Besserat De Bellefon</c:v>
                </c:pt>
                <c:pt idx="8">
                  <c:v>Malard</c:v>
                </c:pt>
                <c:pt idx="9">
                  <c:v>Others</c:v>
                </c:pt>
              </c:strCache>
            </c:strRef>
          </c:cat>
          <c:val>
            <c:numRef>
              <c:f>Sheet1!$B$2:$B$11</c:f>
              <c:numCache>
                <c:formatCode>General</c:formatCode>
                <c:ptCount val="10"/>
                <c:pt idx="0">
                  <c:v>0.34939941966394494</c:v>
                </c:pt>
                <c:pt idx="1">
                  <c:v>0.1329796207571361</c:v>
                </c:pt>
                <c:pt idx="2">
                  <c:v>0.12434206086780485</c:v>
                </c:pt>
                <c:pt idx="3">
                  <c:v>9.4521813212767397E-2</c:v>
                </c:pt>
                <c:pt idx="4">
                  <c:v>9.2058759025575282E-2</c:v>
                </c:pt>
                <c:pt idx="5">
                  <c:v>4.9533116269653822E-2</c:v>
                </c:pt>
                <c:pt idx="6">
                  <c:v>3.8559028949321818E-2</c:v>
                </c:pt>
                <c:pt idx="7">
                  <c:v>3.4240249004656186E-2</c:v>
                </c:pt>
                <c:pt idx="8">
                  <c:v>2.5809349483770835E-2</c:v>
                </c:pt>
                <c:pt idx="9">
                  <c:v>5.8556582765368785E-2</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Laurent Perrier</c:v>
                </c:pt>
                <c:pt idx="2">
                  <c:v>Deutz</c:v>
                </c:pt>
                <c:pt idx="3">
                  <c:v>Nicolas</c:v>
                </c:pt>
                <c:pt idx="4">
                  <c:v>Demoiselle</c:v>
                </c:pt>
                <c:pt idx="5">
                  <c:v>Nicolas Feuillatte</c:v>
                </c:pt>
                <c:pt idx="6">
                  <c:v>Pommery</c:v>
                </c:pt>
                <c:pt idx="7">
                  <c:v>Besserat De Bellefon</c:v>
                </c:pt>
                <c:pt idx="8">
                  <c:v>Malard</c:v>
                </c:pt>
                <c:pt idx="9">
                  <c:v>Others</c:v>
                </c:pt>
              </c:strCache>
            </c:strRef>
          </c:cat>
          <c:val>
            <c:numRef>
              <c:f>Sheet1!$C$2:$C$11</c:f>
              <c:numCache>
                <c:formatCode>General</c:formatCode>
                <c:ptCount val="10"/>
                <c:pt idx="0">
                  <c:v>0.19298245614035081</c:v>
                </c:pt>
                <c:pt idx="1">
                  <c:v>7.6638965835641712E-2</c:v>
                </c:pt>
                <c:pt idx="2">
                  <c:v>0.11819021237303784</c:v>
                </c:pt>
                <c:pt idx="3">
                  <c:v>0.17266851338873496</c:v>
                </c:pt>
                <c:pt idx="4">
                  <c:v>9.6029547553093231E-2</c:v>
                </c:pt>
                <c:pt idx="5">
                  <c:v>5.0784856879039691E-2</c:v>
                </c:pt>
                <c:pt idx="6">
                  <c:v>4.5244690674053539E-2</c:v>
                </c:pt>
                <c:pt idx="7">
                  <c:v>5.817174515235455E-2</c:v>
                </c:pt>
                <c:pt idx="8">
                  <c:v>3.8781163434903031E-2</c:v>
                </c:pt>
                <c:pt idx="9">
                  <c:v>0.15050784856879035</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Laurent Perrier</c:v>
                </c:pt>
                <c:pt idx="2">
                  <c:v>Deutz</c:v>
                </c:pt>
                <c:pt idx="3">
                  <c:v>Nicolas</c:v>
                </c:pt>
                <c:pt idx="4">
                  <c:v>Demoiselle</c:v>
                </c:pt>
                <c:pt idx="5">
                  <c:v>Nicolas Feuillatte</c:v>
                </c:pt>
                <c:pt idx="6">
                  <c:v>Pommery</c:v>
                </c:pt>
                <c:pt idx="7">
                  <c:v>Besserat De Bellefon</c:v>
                </c:pt>
                <c:pt idx="8">
                  <c:v>Malard</c:v>
                </c:pt>
                <c:pt idx="9">
                  <c:v>Others</c:v>
                </c:pt>
              </c:strCache>
            </c:strRef>
          </c:cat>
          <c:val>
            <c:numRef>
              <c:f>Sheet1!$D$2:$D$11</c:f>
              <c:numCache>
                <c:formatCode>General</c:formatCode>
                <c:ptCount val="10"/>
                <c:pt idx="0">
                  <c:v>55.232620685507385</c:v>
                </c:pt>
                <c:pt idx="1">
                  <c:v>57.632113401503318</c:v>
                </c:pt>
                <c:pt idx="2">
                  <c:v>95.052479867365719</c:v>
                </c:pt>
                <c:pt idx="3">
                  <c:v>182.67583695211215</c:v>
                </c:pt>
                <c:pt idx="4">
                  <c:v>104.31331963362096</c:v>
                </c:pt>
                <c:pt idx="5">
                  <c:v>102.52707825320641</c:v>
                </c:pt>
                <c:pt idx="6">
                  <c:v>117.3387709880316</c:v>
                </c:pt>
                <c:pt idx="7">
                  <c:v>169.8928799975842</c:v>
                </c:pt>
                <c:pt idx="8">
                  <c:v>150.26013522459758</c:v>
                </c:pt>
                <c:pt idx="9">
                  <c:v>257.02976755297078</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Deutz</c:v>
                </c:pt>
                <c:pt idx="2">
                  <c:v>Nicolas</c:v>
                </c:pt>
                <c:pt idx="3">
                  <c:v>Laurent Perrier</c:v>
                </c:pt>
                <c:pt idx="4">
                  <c:v>Demoiselle</c:v>
                </c:pt>
                <c:pt idx="5">
                  <c:v>Nicolas Feuillatte</c:v>
                </c:pt>
                <c:pt idx="6">
                  <c:v>Besserat De Bellefon</c:v>
                </c:pt>
                <c:pt idx="7">
                  <c:v>Pommery</c:v>
                </c:pt>
                <c:pt idx="8">
                  <c:v>Malard</c:v>
                </c:pt>
                <c:pt idx="9">
                  <c:v>Others</c:v>
                </c:pt>
              </c:strCache>
            </c:strRef>
          </c:cat>
          <c:val>
            <c:numRef>
              <c:f>Sheet1!$B$2:$B$11</c:f>
              <c:numCache>
                <c:formatCode>General</c:formatCode>
                <c:ptCount val="10"/>
                <c:pt idx="0">
                  <c:v>0.32414968401618971</c:v>
                </c:pt>
                <c:pt idx="1">
                  <c:v>0.16874329082623604</c:v>
                </c:pt>
                <c:pt idx="2">
                  <c:v>0.11071755266048762</c:v>
                </c:pt>
                <c:pt idx="3">
                  <c:v>9.2038377518159145E-2</c:v>
                </c:pt>
                <c:pt idx="4">
                  <c:v>8.4958502324454593E-2</c:v>
                </c:pt>
                <c:pt idx="5">
                  <c:v>6.9984253020955595E-2</c:v>
                </c:pt>
                <c:pt idx="6">
                  <c:v>4.6710468608376389E-2</c:v>
                </c:pt>
                <c:pt idx="7">
                  <c:v>3.3958339424671379E-2</c:v>
                </c:pt>
                <c:pt idx="8">
                  <c:v>3.321902502391285E-2</c:v>
                </c:pt>
                <c:pt idx="9">
                  <c:v>3.5520506576556636E-2</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Deutz</c:v>
                </c:pt>
                <c:pt idx="2">
                  <c:v>Nicolas</c:v>
                </c:pt>
                <c:pt idx="3">
                  <c:v>Laurent Perrier</c:v>
                </c:pt>
                <c:pt idx="4">
                  <c:v>Demoiselle</c:v>
                </c:pt>
                <c:pt idx="5">
                  <c:v>Nicolas Feuillatte</c:v>
                </c:pt>
                <c:pt idx="6">
                  <c:v>Besserat De Bellefon</c:v>
                </c:pt>
                <c:pt idx="7">
                  <c:v>Pommery</c:v>
                </c:pt>
                <c:pt idx="8">
                  <c:v>Malard</c:v>
                </c:pt>
                <c:pt idx="9">
                  <c:v>Others</c:v>
                </c:pt>
              </c:strCache>
            </c:strRef>
          </c:cat>
          <c:val>
            <c:numRef>
              <c:f>Sheet1!$C$2:$C$11</c:f>
              <c:numCache>
                <c:formatCode>General</c:formatCode>
                <c:ptCount val="10"/>
                <c:pt idx="0">
                  <c:v>0.20300751879699255</c:v>
                </c:pt>
                <c:pt idx="1">
                  <c:v>0.13533834586466167</c:v>
                </c:pt>
                <c:pt idx="2">
                  <c:v>0.18233082706766923</c:v>
                </c:pt>
                <c:pt idx="3">
                  <c:v>5.9210526315789498E-2</c:v>
                </c:pt>
                <c:pt idx="4">
                  <c:v>7.7067669172932354E-2</c:v>
                </c:pt>
                <c:pt idx="5">
                  <c:v>4.5112781954887229E-2</c:v>
                </c:pt>
                <c:pt idx="6">
                  <c:v>6.6729323308270708E-2</c:v>
                </c:pt>
                <c:pt idx="7">
                  <c:v>4.605263157894738E-2</c:v>
                </c:pt>
                <c:pt idx="8">
                  <c:v>4.4172932330827079E-2</c:v>
                </c:pt>
                <c:pt idx="9">
                  <c:v>0.14097744360902259</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Deutz</c:v>
                </c:pt>
                <c:pt idx="2">
                  <c:v>Nicolas</c:v>
                </c:pt>
                <c:pt idx="3">
                  <c:v>Laurent Perrier</c:v>
                </c:pt>
                <c:pt idx="4">
                  <c:v>Demoiselle</c:v>
                </c:pt>
                <c:pt idx="5">
                  <c:v>Nicolas Feuillatte</c:v>
                </c:pt>
                <c:pt idx="6">
                  <c:v>Besserat De Bellefon</c:v>
                </c:pt>
                <c:pt idx="7">
                  <c:v>Pommery</c:v>
                </c:pt>
                <c:pt idx="8">
                  <c:v>Malard</c:v>
                </c:pt>
                <c:pt idx="9">
                  <c:v>Others</c:v>
                </c:pt>
              </c:strCache>
            </c:strRef>
          </c:cat>
          <c:val>
            <c:numRef>
              <c:f>Sheet1!$D$2:$D$11</c:f>
              <c:numCache>
                <c:formatCode>General</c:formatCode>
                <c:ptCount val="10"/>
                <c:pt idx="0">
                  <c:v>62.627708372793997</c:v>
                </c:pt>
                <c:pt idx="1">
                  <c:v>80.203689996793287</c:v>
                </c:pt>
                <c:pt idx="2">
                  <c:v>164.68104892706742</c:v>
                </c:pt>
                <c:pt idx="3">
                  <c:v>64.332431657769362</c:v>
                </c:pt>
                <c:pt idx="4">
                  <c:v>90.712132469817647</c:v>
                </c:pt>
                <c:pt idx="5">
                  <c:v>64.461332381984533</c:v>
                </c:pt>
                <c:pt idx="6">
                  <c:v>142.85731934683358</c:v>
                </c:pt>
                <c:pt idx="7">
                  <c:v>135.6150870719234</c:v>
                </c:pt>
                <c:pt idx="8">
                  <c:v>132.97480073249898</c:v>
                </c:pt>
                <c:pt idx="9">
                  <c:v>396.89029576528344</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Deutz</c:v>
                </c:pt>
                <c:pt idx="2">
                  <c:v>Nicolas</c:v>
                </c:pt>
                <c:pt idx="3">
                  <c:v>Demoiselle</c:v>
                </c:pt>
                <c:pt idx="4">
                  <c:v>Laurent Perrier</c:v>
                </c:pt>
                <c:pt idx="5">
                  <c:v>Besserat De Bellefon</c:v>
                </c:pt>
                <c:pt idx="6">
                  <c:v>Malard</c:v>
                </c:pt>
                <c:pt idx="7">
                  <c:v>Pommery</c:v>
                </c:pt>
                <c:pt idx="8">
                  <c:v>Nicolas Feuillatte</c:v>
                </c:pt>
                <c:pt idx="9">
                  <c:v>Others</c:v>
                </c:pt>
              </c:strCache>
            </c:strRef>
          </c:cat>
          <c:val>
            <c:numRef>
              <c:f>Sheet1!$B$2:$B$11</c:f>
              <c:numCache>
                <c:formatCode>General</c:formatCode>
                <c:ptCount val="10"/>
                <c:pt idx="0">
                  <c:v>0.30246772098708841</c:v>
                </c:pt>
                <c:pt idx="1">
                  <c:v>0.17328290931316373</c:v>
                </c:pt>
                <c:pt idx="2">
                  <c:v>0.11579188631675452</c:v>
                </c:pt>
                <c:pt idx="3">
                  <c:v>9.3712277484910997E-2</c:v>
                </c:pt>
                <c:pt idx="4">
                  <c:v>8.7814195125678049E-2</c:v>
                </c:pt>
                <c:pt idx="5">
                  <c:v>6.0852624341049738E-2</c:v>
                </c:pt>
                <c:pt idx="6">
                  <c:v>5.3586981434792576E-2</c:v>
                </c:pt>
                <c:pt idx="7">
                  <c:v>4.8468179387271756E-2</c:v>
                </c:pt>
                <c:pt idx="8">
                  <c:v>4.6031018412407365E-2</c:v>
                </c:pt>
                <c:pt idx="9">
                  <c:v>1.7992207196882878E-2</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Deutz</c:v>
                </c:pt>
                <c:pt idx="2">
                  <c:v>Nicolas</c:v>
                </c:pt>
                <c:pt idx="3">
                  <c:v>Demoiselle</c:v>
                </c:pt>
                <c:pt idx="4">
                  <c:v>Laurent Perrier</c:v>
                </c:pt>
                <c:pt idx="5">
                  <c:v>Besserat De Bellefon</c:v>
                </c:pt>
                <c:pt idx="6">
                  <c:v>Malard</c:v>
                </c:pt>
                <c:pt idx="7">
                  <c:v>Pommery</c:v>
                </c:pt>
                <c:pt idx="8">
                  <c:v>Nicolas Feuillatte</c:v>
                </c:pt>
                <c:pt idx="9">
                  <c:v>Others</c:v>
                </c:pt>
              </c:strCache>
            </c:strRef>
          </c:cat>
          <c:val>
            <c:numRef>
              <c:f>Sheet1!$C$2:$C$11</c:f>
              <c:numCache>
                <c:formatCode>General</c:formatCode>
                <c:ptCount val="10"/>
                <c:pt idx="0">
                  <c:v>0.18627450980392157</c:v>
                </c:pt>
                <c:pt idx="1">
                  <c:v>0.14509803921568629</c:v>
                </c:pt>
                <c:pt idx="2">
                  <c:v>0.18039215686274512</c:v>
                </c:pt>
                <c:pt idx="3">
                  <c:v>9.6078431372549025E-2</c:v>
                </c:pt>
                <c:pt idx="4">
                  <c:v>5.4901960784313732E-2</c:v>
                </c:pt>
                <c:pt idx="5">
                  <c:v>8.7254901960784323E-2</c:v>
                </c:pt>
                <c:pt idx="6">
                  <c:v>6.4705882352941183E-2</c:v>
                </c:pt>
                <c:pt idx="7">
                  <c:v>7.3529411764705885E-2</c:v>
                </c:pt>
                <c:pt idx="8">
                  <c:v>5.19607843137255E-2</c:v>
                </c:pt>
                <c:pt idx="9">
                  <c:v>5.9803921568627454E-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Deutz</c:v>
                </c:pt>
                <c:pt idx="2">
                  <c:v>Nicolas</c:v>
                </c:pt>
                <c:pt idx="3">
                  <c:v>Demoiselle</c:v>
                </c:pt>
                <c:pt idx="4">
                  <c:v>Laurent Perrier</c:v>
                </c:pt>
                <c:pt idx="5">
                  <c:v>Besserat De Bellefon</c:v>
                </c:pt>
                <c:pt idx="6">
                  <c:v>Malard</c:v>
                </c:pt>
                <c:pt idx="7">
                  <c:v>Pommery</c:v>
                </c:pt>
                <c:pt idx="8">
                  <c:v>Nicolas Feuillatte</c:v>
                </c:pt>
                <c:pt idx="9">
                  <c:v>Others</c:v>
                </c:pt>
              </c:strCache>
            </c:strRef>
          </c:cat>
          <c:val>
            <c:numRef>
              <c:f>Sheet1!$D$2:$D$11</c:f>
              <c:numCache>
                <c:formatCode>General</c:formatCode>
                <c:ptCount val="10"/>
                <c:pt idx="0">
                  <c:v>61.584921920271007</c:v>
                </c:pt>
                <c:pt idx="1">
                  <c:v>83.734766337203723</c:v>
                </c:pt>
                <c:pt idx="2">
                  <c:v>155.78998028348317</c:v>
                </c:pt>
                <c:pt idx="3">
                  <c:v>102.52491343839019</c:v>
                </c:pt>
                <c:pt idx="4">
                  <c:v>62.520598982589391</c:v>
                </c:pt>
                <c:pt idx="5">
                  <c:v>143.38724567039623</c:v>
                </c:pt>
                <c:pt idx="6">
                  <c:v>120.74925778694711</c:v>
                </c:pt>
                <c:pt idx="7">
                  <c:v>151.70656850382019</c:v>
                </c:pt>
                <c:pt idx="8">
                  <c:v>112.88210886014159</c:v>
                </c:pt>
                <c:pt idx="9">
                  <c:v>332.3879105782440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Deutz</c:v>
                </c:pt>
                <c:pt idx="2">
                  <c:v>Nicolas</c:v>
                </c:pt>
                <c:pt idx="3">
                  <c:v>Demoiselle</c:v>
                </c:pt>
                <c:pt idx="4">
                  <c:v>Laurent Perrier</c:v>
                </c:pt>
                <c:pt idx="5">
                  <c:v>Malard</c:v>
                </c:pt>
                <c:pt idx="6">
                  <c:v>Nicolas Feuillatte</c:v>
                </c:pt>
                <c:pt idx="7">
                  <c:v>Pommery</c:v>
                </c:pt>
                <c:pt idx="8">
                  <c:v>Besserat De Bellefon</c:v>
                </c:pt>
                <c:pt idx="9">
                  <c:v>Others</c:v>
                </c:pt>
              </c:strCache>
            </c:strRef>
          </c:cat>
          <c:val>
            <c:numRef>
              <c:f>Sheet1!$B$2:$B$11</c:f>
              <c:numCache>
                <c:formatCode>General</c:formatCode>
                <c:ptCount val="10"/>
                <c:pt idx="0">
                  <c:v>0.2362720090693308</c:v>
                </c:pt>
                <c:pt idx="1">
                  <c:v>0.16895171289899741</c:v>
                </c:pt>
                <c:pt idx="2">
                  <c:v>0.16659581251992772</c:v>
                </c:pt>
                <c:pt idx="3">
                  <c:v>0.1044832961349063</c:v>
                </c:pt>
                <c:pt idx="4">
                  <c:v>8.111028447939915E-2</c:v>
                </c:pt>
                <c:pt idx="5">
                  <c:v>6.2750203705671873E-2</c:v>
                </c:pt>
                <c:pt idx="6">
                  <c:v>5.0669571686682964E-2</c:v>
                </c:pt>
                <c:pt idx="7">
                  <c:v>4.8499663442802987E-2</c:v>
                </c:pt>
                <c:pt idx="8">
                  <c:v>4.4469833847025894E-2</c:v>
                </c:pt>
                <c:pt idx="9">
                  <c:v>3.6197612215254901E-2</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Deutz</c:v>
                </c:pt>
                <c:pt idx="2">
                  <c:v>Nicolas</c:v>
                </c:pt>
                <c:pt idx="3">
                  <c:v>Demoiselle</c:v>
                </c:pt>
                <c:pt idx="4">
                  <c:v>Laurent Perrier</c:v>
                </c:pt>
                <c:pt idx="5">
                  <c:v>Malard</c:v>
                </c:pt>
                <c:pt idx="6">
                  <c:v>Nicolas Feuillatte</c:v>
                </c:pt>
                <c:pt idx="7">
                  <c:v>Pommery</c:v>
                </c:pt>
                <c:pt idx="8">
                  <c:v>Besserat De Bellefon</c:v>
                </c:pt>
                <c:pt idx="9">
                  <c:v>Others</c:v>
                </c:pt>
              </c:strCache>
            </c:strRef>
          </c:cat>
          <c:val>
            <c:numRef>
              <c:f>Sheet1!$C$2:$C$11</c:f>
              <c:numCache>
                <c:formatCode>General</c:formatCode>
                <c:ptCount val="10"/>
                <c:pt idx="0">
                  <c:v>0.18510405257393206</c:v>
                </c:pt>
                <c:pt idx="1">
                  <c:v>0.15334063526834613</c:v>
                </c:pt>
                <c:pt idx="2">
                  <c:v>0.1741511500547645</c:v>
                </c:pt>
                <c:pt idx="3">
                  <c:v>9.638554216867469E-2</c:v>
                </c:pt>
                <c:pt idx="4">
                  <c:v>8.762322015334062E-2</c:v>
                </c:pt>
                <c:pt idx="5">
                  <c:v>5.6955093099671408E-2</c:v>
                </c:pt>
                <c:pt idx="6">
                  <c:v>6.0240963855421686E-2</c:v>
                </c:pt>
                <c:pt idx="7">
                  <c:v>4.9288061336254102E-2</c:v>
                </c:pt>
                <c:pt idx="8">
                  <c:v>6.7907995618838993E-2</c:v>
                </c:pt>
                <c:pt idx="9">
                  <c:v>6.9003285870755743E-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Deutz</c:v>
                </c:pt>
                <c:pt idx="2">
                  <c:v>Nicolas</c:v>
                </c:pt>
                <c:pt idx="3">
                  <c:v>Demoiselle</c:v>
                </c:pt>
                <c:pt idx="4">
                  <c:v>Laurent Perrier</c:v>
                </c:pt>
                <c:pt idx="5">
                  <c:v>Malard</c:v>
                </c:pt>
                <c:pt idx="6">
                  <c:v>Nicolas Feuillatte</c:v>
                </c:pt>
                <c:pt idx="7">
                  <c:v>Pommery</c:v>
                </c:pt>
                <c:pt idx="8">
                  <c:v>Besserat De Bellefon</c:v>
                </c:pt>
                <c:pt idx="9">
                  <c:v>Others</c:v>
                </c:pt>
              </c:strCache>
            </c:strRef>
          </c:cat>
          <c:val>
            <c:numRef>
              <c:f>Sheet1!$D$2:$D$11</c:f>
              <c:numCache>
                <c:formatCode>General</c:formatCode>
                <c:ptCount val="10"/>
                <c:pt idx="0">
                  <c:v>78.343623226065588</c:v>
                </c:pt>
                <c:pt idx="1">
                  <c:v>90.760035892631706</c:v>
                </c:pt>
                <c:pt idx="2">
                  <c:v>104.53513051772117</c:v>
                </c:pt>
                <c:pt idx="3">
                  <c:v>92.249714293301025</c:v>
                </c:pt>
                <c:pt idx="4">
                  <c:v>108.0297285550708</c:v>
                </c:pt>
                <c:pt idx="5">
                  <c:v>90.764793954801689</c:v>
                </c:pt>
                <c:pt idx="6">
                  <c:v>118.88982253081544</c:v>
                </c:pt>
                <c:pt idx="7">
                  <c:v>101.62557394729326</c:v>
                </c:pt>
                <c:pt idx="8">
                  <c:v>152.70575521473558</c:v>
                </c:pt>
                <c:pt idx="9">
                  <c:v>190.62938588439658</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Deutz</c:v>
                </c:pt>
                <c:pt idx="2">
                  <c:v>Laurent Perrier</c:v>
                </c:pt>
                <c:pt idx="3">
                  <c:v>Demoiselle</c:v>
                </c:pt>
                <c:pt idx="4">
                  <c:v>Nicolas</c:v>
                </c:pt>
                <c:pt idx="5">
                  <c:v>Dom Perignon</c:v>
                </c:pt>
                <c:pt idx="6">
                  <c:v>Roederer</c:v>
                </c:pt>
                <c:pt idx="7">
                  <c:v>Nicolas Feuillatte</c:v>
                </c:pt>
                <c:pt idx="8">
                  <c:v>Besserat De Bellefon</c:v>
                </c:pt>
                <c:pt idx="9">
                  <c:v>Others</c:v>
                </c:pt>
              </c:strCache>
            </c:strRef>
          </c:cat>
          <c:val>
            <c:numRef>
              <c:f>Sheet1!$B$2:$B$11</c:f>
              <c:numCache>
                <c:formatCode>General</c:formatCode>
                <c:ptCount val="10"/>
                <c:pt idx="0">
                  <c:v>0.25604234983856683</c:v>
                </c:pt>
                <c:pt idx="1">
                  <c:v>0.13012782258520564</c:v>
                </c:pt>
                <c:pt idx="2">
                  <c:v>9.7447340461273679E-2</c:v>
                </c:pt>
                <c:pt idx="3">
                  <c:v>8.0109826431924977E-2</c:v>
                </c:pt>
                <c:pt idx="4">
                  <c:v>7.2242746485760415E-2</c:v>
                </c:pt>
                <c:pt idx="5">
                  <c:v>6.7885082752366946E-2</c:v>
                </c:pt>
                <c:pt idx="6">
                  <c:v>6.0025986312278831E-2</c:v>
                </c:pt>
                <c:pt idx="7">
                  <c:v>5.0186315073059061E-2</c:v>
                </c:pt>
                <c:pt idx="8">
                  <c:v>4.0443111198929675E-2</c:v>
                </c:pt>
                <c:pt idx="9">
                  <c:v>0.14548941886063391</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Deutz</c:v>
                </c:pt>
                <c:pt idx="2">
                  <c:v>Laurent Perrier</c:v>
                </c:pt>
                <c:pt idx="3">
                  <c:v>Demoiselle</c:v>
                </c:pt>
                <c:pt idx="4">
                  <c:v>Nicolas</c:v>
                </c:pt>
                <c:pt idx="5">
                  <c:v>Dom Perignon</c:v>
                </c:pt>
                <c:pt idx="6">
                  <c:v>Roederer</c:v>
                </c:pt>
                <c:pt idx="7">
                  <c:v>Nicolas Feuillatte</c:v>
                </c:pt>
                <c:pt idx="8">
                  <c:v>Besserat De Bellefon</c:v>
                </c:pt>
                <c:pt idx="9">
                  <c:v>Others</c:v>
                </c:pt>
              </c:strCache>
            </c:strRef>
          </c:cat>
          <c:val>
            <c:numRef>
              <c:f>Sheet1!$C$2:$C$11</c:f>
              <c:numCache>
                <c:formatCode>General</c:formatCode>
                <c:ptCount val="10"/>
                <c:pt idx="0">
                  <c:v>0.1785714285714286</c:v>
                </c:pt>
                <c:pt idx="1">
                  <c:v>0.1226708074534162</c:v>
                </c:pt>
                <c:pt idx="2">
                  <c:v>6.2111801242236045E-2</c:v>
                </c:pt>
                <c:pt idx="3">
                  <c:v>8.5403726708074557E-2</c:v>
                </c:pt>
                <c:pt idx="4">
                  <c:v>0.13819875776397517</c:v>
                </c:pt>
                <c:pt idx="5">
                  <c:v>2.9503105590062119E-2</c:v>
                </c:pt>
                <c:pt idx="6">
                  <c:v>2.7173913043478264E-2</c:v>
                </c:pt>
                <c:pt idx="7">
                  <c:v>5.5900621118012431E-2</c:v>
                </c:pt>
                <c:pt idx="8">
                  <c:v>5.978260869565219E-2</c:v>
                </c:pt>
                <c:pt idx="9">
                  <c:v>0.24068322981366463</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Deutz</c:v>
                </c:pt>
                <c:pt idx="2">
                  <c:v>Laurent Perrier</c:v>
                </c:pt>
                <c:pt idx="3">
                  <c:v>Demoiselle</c:v>
                </c:pt>
                <c:pt idx="4">
                  <c:v>Nicolas</c:v>
                </c:pt>
                <c:pt idx="5">
                  <c:v>Dom Perignon</c:v>
                </c:pt>
                <c:pt idx="6">
                  <c:v>Roederer</c:v>
                </c:pt>
                <c:pt idx="7">
                  <c:v>Nicolas Feuillatte</c:v>
                </c:pt>
                <c:pt idx="8">
                  <c:v>Besserat De Bellefon</c:v>
                </c:pt>
                <c:pt idx="9">
                  <c:v>Others</c:v>
                </c:pt>
              </c:strCache>
            </c:strRef>
          </c:cat>
          <c:val>
            <c:numRef>
              <c:f>Sheet1!$D$2:$D$11</c:f>
              <c:numCache>
                <c:formatCode>General</c:formatCode>
                <c:ptCount val="10"/>
                <c:pt idx="0">
                  <c:v>69.74292677911167</c:v>
                </c:pt>
                <c:pt idx="1">
                  <c:v>94.269469062308559</c:v>
                </c:pt>
                <c:pt idx="2">
                  <c:v>63.738836738104467</c:v>
                </c:pt>
                <c:pt idx="3">
                  <c:v>106.60830326557777</c:v>
                </c:pt>
                <c:pt idx="4">
                  <c:v>191.29776273278202</c:v>
                </c:pt>
                <c:pt idx="5">
                  <c:v>43.460366245238816</c:v>
                </c:pt>
                <c:pt idx="6">
                  <c:v>45.270248292312701</c:v>
                </c:pt>
                <c:pt idx="7">
                  <c:v>111.38618373681098</c:v>
                </c:pt>
                <c:pt idx="8">
                  <c:v>147.81901521274241</c:v>
                </c:pt>
                <c:pt idx="9">
                  <c:v>165.43005786848187</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Deutz</c:v>
                </c:pt>
                <c:pt idx="2">
                  <c:v>Demoiselle</c:v>
                </c:pt>
                <c:pt idx="3">
                  <c:v>Laurent Perrier</c:v>
                </c:pt>
                <c:pt idx="4">
                  <c:v>Nicolas</c:v>
                </c:pt>
                <c:pt idx="5">
                  <c:v>Nicolas Feuillatte</c:v>
                </c:pt>
                <c:pt idx="6">
                  <c:v>Besserat De Bellefon</c:v>
                </c:pt>
                <c:pt idx="7">
                  <c:v>Malard</c:v>
                </c:pt>
                <c:pt idx="8">
                  <c:v>Pommery</c:v>
                </c:pt>
                <c:pt idx="9">
                  <c:v>Others</c:v>
                </c:pt>
              </c:strCache>
            </c:strRef>
          </c:cat>
          <c:val>
            <c:numRef>
              <c:f>Sheet1!$B$2:$B$11</c:f>
              <c:numCache>
                <c:formatCode>General</c:formatCode>
                <c:ptCount val="10"/>
                <c:pt idx="0">
                  <c:v>0.30002914727240543</c:v>
                </c:pt>
                <c:pt idx="1">
                  <c:v>0.15136554077131192</c:v>
                </c:pt>
                <c:pt idx="2">
                  <c:v>0.11264616105387953</c:v>
                </c:pt>
                <c:pt idx="3">
                  <c:v>0.107941469415928</c:v>
                </c:pt>
                <c:pt idx="4">
                  <c:v>0.10336910281834454</c:v>
                </c:pt>
                <c:pt idx="5">
                  <c:v>6.0148883552176298E-2</c:v>
                </c:pt>
                <c:pt idx="6">
                  <c:v>5.4934561691185546E-2</c:v>
                </c:pt>
                <c:pt idx="7">
                  <c:v>4.9359028233514353E-2</c:v>
                </c:pt>
                <c:pt idx="8">
                  <c:v>3.4463520310999606E-2</c:v>
                </c:pt>
                <c:pt idx="9">
                  <c:v>2.5742584880254781E-2</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Deutz</c:v>
                </c:pt>
                <c:pt idx="2">
                  <c:v>Demoiselle</c:v>
                </c:pt>
                <c:pt idx="3">
                  <c:v>Laurent Perrier</c:v>
                </c:pt>
                <c:pt idx="4">
                  <c:v>Nicolas</c:v>
                </c:pt>
                <c:pt idx="5">
                  <c:v>Nicolas Feuillatte</c:v>
                </c:pt>
                <c:pt idx="6">
                  <c:v>Besserat De Bellefon</c:v>
                </c:pt>
                <c:pt idx="7">
                  <c:v>Malard</c:v>
                </c:pt>
                <c:pt idx="8">
                  <c:v>Pommery</c:v>
                </c:pt>
                <c:pt idx="9">
                  <c:v>Others</c:v>
                </c:pt>
              </c:strCache>
            </c:strRef>
          </c:cat>
          <c:val>
            <c:numRef>
              <c:f>Sheet1!$C$2:$C$11</c:f>
              <c:numCache>
                <c:formatCode>General</c:formatCode>
                <c:ptCount val="10"/>
                <c:pt idx="0">
                  <c:v>0.21323529411764716</c:v>
                </c:pt>
                <c:pt idx="1">
                  <c:v>0.1460084033613446</c:v>
                </c:pt>
                <c:pt idx="2">
                  <c:v>0.10924369747899167</c:v>
                </c:pt>
                <c:pt idx="3">
                  <c:v>8.2983193277310976E-2</c:v>
                </c:pt>
                <c:pt idx="4">
                  <c:v>0.16701680672268918</c:v>
                </c:pt>
                <c:pt idx="5">
                  <c:v>6.722689075630256E-2</c:v>
                </c:pt>
                <c:pt idx="6">
                  <c:v>7.2478991596638689E-2</c:v>
                </c:pt>
                <c:pt idx="7">
                  <c:v>5.3571428571428603E-2</c:v>
                </c:pt>
                <c:pt idx="8">
                  <c:v>5.2521008403361373E-2</c:v>
                </c:pt>
                <c:pt idx="9">
                  <c:v>3.5714285714285726E-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Deutz</c:v>
                </c:pt>
                <c:pt idx="2">
                  <c:v>Demoiselle</c:v>
                </c:pt>
                <c:pt idx="3">
                  <c:v>Laurent Perrier</c:v>
                </c:pt>
                <c:pt idx="4">
                  <c:v>Nicolas</c:v>
                </c:pt>
                <c:pt idx="5">
                  <c:v>Nicolas Feuillatte</c:v>
                </c:pt>
                <c:pt idx="6">
                  <c:v>Besserat De Bellefon</c:v>
                </c:pt>
                <c:pt idx="7">
                  <c:v>Malard</c:v>
                </c:pt>
                <c:pt idx="8">
                  <c:v>Pommery</c:v>
                </c:pt>
                <c:pt idx="9">
                  <c:v>Others</c:v>
                </c:pt>
              </c:strCache>
            </c:strRef>
          </c:cat>
          <c:val>
            <c:numRef>
              <c:f>Sheet1!$D$2:$D$11</c:f>
              <c:numCache>
                <c:formatCode>General</c:formatCode>
                <c:ptCount val="10"/>
                <c:pt idx="0">
                  <c:v>71.071526235430866</c:v>
                </c:pt>
                <c:pt idx="1">
                  <c:v>96.460794588603846</c:v>
                </c:pt>
                <c:pt idx="2">
                  <c:v>96.979512179504781</c:v>
                </c:pt>
                <c:pt idx="3">
                  <c:v>76.877954067453018</c:v>
                </c:pt>
                <c:pt idx="4">
                  <c:v>161.5732382007763</c:v>
                </c:pt>
                <c:pt idx="5">
                  <c:v>111.76747893913348</c:v>
                </c:pt>
                <c:pt idx="6">
                  <c:v>131.93696166009133</c:v>
                </c:pt>
                <c:pt idx="7">
                  <c:v>108.53420435666938</c:v>
                </c:pt>
                <c:pt idx="8">
                  <c:v>152.39594774245515</c:v>
                </c:pt>
                <c:pt idx="9">
                  <c:v>138.73620648592865</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Deutz</c:v>
                </c:pt>
                <c:pt idx="2">
                  <c:v>Demoiselle</c:v>
                </c:pt>
                <c:pt idx="3">
                  <c:v>Nicolas</c:v>
                </c:pt>
                <c:pt idx="4">
                  <c:v>Laurent Perrier</c:v>
                </c:pt>
                <c:pt idx="5">
                  <c:v>Nicolas Feuillatte</c:v>
                </c:pt>
                <c:pt idx="6">
                  <c:v>Besserat De Bellefon</c:v>
                </c:pt>
                <c:pt idx="7">
                  <c:v>Malard</c:v>
                </c:pt>
                <c:pt idx="8">
                  <c:v>Pommery</c:v>
                </c:pt>
                <c:pt idx="9">
                  <c:v>Others</c:v>
                </c:pt>
              </c:strCache>
            </c:strRef>
          </c:cat>
          <c:val>
            <c:numRef>
              <c:f>Sheet1!$B$2:$B$11</c:f>
              <c:numCache>
                <c:formatCode>General</c:formatCode>
                <c:ptCount val="10"/>
                <c:pt idx="0">
                  <c:v>0.30286136265961</c:v>
                </c:pt>
                <c:pt idx="1">
                  <c:v>0.1534426451242738</c:v>
                </c:pt>
                <c:pt idx="2">
                  <c:v>0.12253072212538423</c:v>
                </c:pt>
                <c:pt idx="3">
                  <c:v>0.10250489219713646</c:v>
                </c:pt>
                <c:pt idx="4">
                  <c:v>9.124138547895537E-2</c:v>
                </c:pt>
                <c:pt idx="5">
                  <c:v>5.7970081787500842E-2</c:v>
                </c:pt>
                <c:pt idx="6">
                  <c:v>4.9381194328760009E-2</c:v>
                </c:pt>
                <c:pt idx="7">
                  <c:v>4.5090022972056117E-2</c:v>
                </c:pt>
                <c:pt idx="8">
                  <c:v>3.7180698237063763E-2</c:v>
                </c:pt>
                <c:pt idx="9">
                  <c:v>3.7796995089259419E-2</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Deutz</c:v>
                </c:pt>
                <c:pt idx="2">
                  <c:v>Demoiselle</c:v>
                </c:pt>
                <c:pt idx="3">
                  <c:v>Nicolas</c:v>
                </c:pt>
                <c:pt idx="4">
                  <c:v>Laurent Perrier</c:v>
                </c:pt>
                <c:pt idx="5">
                  <c:v>Nicolas Feuillatte</c:v>
                </c:pt>
                <c:pt idx="6">
                  <c:v>Besserat De Bellefon</c:v>
                </c:pt>
                <c:pt idx="7">
                  <c:v>Malard</c:v>
                </c:pt>
                <c:pt idx="8">
                  <c:v>Pommery</c:v>
                </c:pt>
                <c:pt idx="9">
                  <c:v>Others</c:v>
                </c:pt>
              </c:strCache>
            </c:strRef>
          </c:cat>
          <c:val>
            <c:numRef>
              <c:f>Sheet1!$C$2:$C$11</c:f>
              <c:numCache>
                <c:formatCode>General</c:formatCode>
                <c:ptCount val="10"/>
                <c:pt idx="0">
                  <c:v>0.19342604298356522</c:v>
                </c:pt>
                <c:pt idx="1">
                  <c:v>0.14791403286978516</c:v>
                </c:pt>
                <c:pt idx="2">
                  <c:v>0.13400758533501905</c:v>
                </c:pt>
                <c:pt idx="3">
                  <c:v>0.15929203539823017</c:v>
                </c:pt>
                <c:pt idx="4">
                  <c:v>7.3324905183312306E-2</c:v>
                </c:pt>
                <c:pt idx="5">
                  <c:v>5.8154235145385619E-2</c:v>
                </c:pt>
                <c:pt idx="6">
                  <c:v>6.7003792667509526E-2</c:v>
                </c:pt>
                <c:pt idx="7">
                  <c:v>5.5625790139064504E-2</c:v>
                </c:pt>
                <c:pt idx="8">
                  <c:v>5.6890012642225062E-2</c:v>
                </c:pt>
                <c:pt idx="9">
                  <c:v>5.4361567635903947E-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Deutz</c:v>
                </c:pt>
                <c:pt idx="2">
                  <c:v>Demoiselle</c:v>
                </c:pt>
                <c:pt idx="3">
                  <c:v>Nicolas</c:v>
                </c:pt>
                <c:pt idx="4">
                  <c:v>Laurent Perrier</c:v>
                </c:pt>
                <c:pt idx="5">
                  <c:v>Nicolas Feuillatte</c:v>
                </c:pt>
                <c:pt idx="6">
                  <c:v>Besserat De Bellefon</c:v>
                </c:pt>
                <c:pt idx="7">
                  <c:v>Malard</c:v>
                </c:pt>
                <c:pt idx="8">
                  <c:v>Pommery</c:v>
                </c:pt>
                <c:pt idx="9">
                  <c:v>Others</c:v>
                </c:pt>
              </c:strCache>
            </c:strRef>
          </c:cat>
          <c:val>
            <c:numRef>
              <c:f>Sheet1!$D$2:$D$11</c:f>
              <c:numCache>
                <c:formatCode>General</c:formatCode>
                <c:ptCount val="10"/>
                <c:pt idx="0">
                  <c:v>63.866199796822343</c:v>
                </c:pt>
                <c:pt idx="1">
                  <c:v>96.396951936007753</c:v>
                </c:pt>
                <c:pt idx="2">
                  <c:v>109.36651887017419</c:v>
                </c:pt>
                <c:pt idx="3">
                  <c:v>155.39944678140941</c:v>
                </c:pt>
                <c:pt idx="4">
                  <c:v>80.363647262047039</c:v>
                </c:pt>
                <c:pt idx="5">
                  <c:v>100.31766965339091</c:v>
                </c:pt>
                <c:pt idx="6">
                  <c:v>135.68686132098262</c:v>
                </c:pt>
                <c:pt idx="7">
                  <c:v>123.36607185482646</c:v>
                </c:pt>
                <c:pt idx="8">
                  <c:v>153.0095327406035</c:v>
                </c:pt>
                <c:pt idx="9">
                  <c:v>143.82510437013974</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Deutz</c:v>
                </c:pt>
                <c:pt idx="2">
                  <c:v>Nicolas</c:v>
                </c:pt>
                <c:pt idx="3">
                  <c:v>Demoiselle</c:v>
                </c:pt>
                <c:pt idx="4">
                  <c:v>Laurent Perrier</c:v>
                </c:pt>
                <c:pt idx="5">
                  <c:v>Nicolas Feuillatte</c:v>
                </c:pt>
                <c:pt idx="6">
                  <c:v>Besserat De Bellefon</c:v>
                </c:pt>
                <c:pt idx="7">
                  <c:v>Malard</c:v>
                </c:pt>
                <c:pt idx="8">
                  <c:v>Pommery</c:v>
                </c:pt>
                <c:pt idx="9">
                  <c:v>Others</c:v>
                </c:pt>
              </c:strCache>
            </c:strRef>
          </c:cat>
          <c:val>
            <c:numRef>
              <c:f>Sheet1!$B$2:$B$11</c:f>
              <c:numCache>
                <c:formatCode>General</c:formatCode>
                <c:ptCount val="10"/>
                <c:pt idx="0">
                  <c:v>0.33502250914619663</c:v>
                </c:pt>
                <c:pt idx="1">
                  <c:v>0.13277278234427708</c:v>
                </c:pt>
                <c:pt idx="2">
                  <c:v>0.11827992112890198</c:v>
                </c:pt>
                <c:pt idx="3">
                  <c:v>9.8888796503064563E-2</c:v>
                </c:pt>
                <c:pt idx="4">
                  <c:v>8.1374423908395499E-2</c:v>
                </c:pt>
                <c:pt idx="5">
                  <c:v>5.6244654820164393E-2</c:v>
                </c:pt>
                <c:pt idx="6">
                  <c:v>5.4041252910153464E-2</c:v>
                </c:pt>
                <c:pt idx="7">
                  <c:v>4.9845286739202736E-2</c:v>
                </c:pt>
                <c:pt idx="8">
                  <c:v>4.408288592198413E-2</c:v>
                </c:pt>
                <c:pt idx="9">
                  <c:v>2.9447486577659526E-2</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Deutz</c:v>
                </c:pt>
                <c:pt idx="2">
                  <c:v>Nicolas</c:v>
                </c:pt>
                <c:pt idx="3">
                  <c:v>Demoiselle</c:v>
                </c:pt>
                <c:pt idx="4">
                  <c:v>Laurent Perrier</c:v>
                </c:pt>
                <c:pt idx="5">
                  <c:v>Nicolas Feuillatte</c:v>
                </c:pt>
                <c:pt idx="6">
                  <c:v>Besserat De Bellefon</c:v>
                </c:pt>
                <c:pt idx="7">
                  <c:v>Malard</c:v>
                </c:pt>
                <c:pt idx="8">
                  <c:v>Pommery</c:v>
                </c:pt>
                <c:pt idx="9">
                  <c:v>Others</c:v>
                </c:pt>
              </c:strCache>
            </c:strRef>
          </c:cat>
          <c:val>
            <c:numRef>
              <c:f>Sheet1!$C$2:$C$11</c:f>
              <c:numCache>
                <c:formatCode>General</c:formatCode>
                <c:ptCount val="10"/>
                <c:pt idx="0">
                  <c:v>0.2167182662538702</c:v>
                </c:pt>
                <c:pt idx="1">
                  <c:v>0.13312693498452027</c:v>
                </c:pt>
                <c:pt idx="2">
                  <c:v>0.17182662538699711</c:v>
                </c:pt>
                <c:pt idx="3">
                  <c:v>0.12383900928792584</c:v>
                </c:pt>
                <c:pt idx="4">
                  <c:v>7.5851393188854574E-2</c:v>
                </c:pt>
                <c:pt idx="5">
                  <c:v>5.5727554179566624E-2</c:v>
                </c:pt>
                <c:pt idx="6">
                  <c:v>6.8111455108359212E-2</c:v>
                </c:pt>
                <c:pt idx="7">
                  <c:v>5.1083591331269405E-2</c:v>
                </c:pt>
                <c:pt idx="8">
                  <c:v>4.7987616099071262E-2</c:v>
                </c:pt>
                <c:pt idx="9">
                  <c:v>5.5727554179566631E-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Deutz</c:v>
                </c:pt>
                <c:pt idx="2">
                  <c:v>Nicolas</c:v>
                </c:pt>
                <c:pt idx="3">
                  <c:v>Demoiselle</c:v>
                </c:pt>
                <c:pt idx="4">
                  <c:v>Laurent Perrier</c:v>
                </c:pt>
                <c:pt idx="5">
                  <c:v>Nicolas Feuillatte</c:v>
                </c:pt>
                <c:pt idx="6">
                  <c:v>Besserat De Bellefon</c:v>
                </c:pt>
                <c:pt idx="7">
                  <c:v>Malard</c:v>
                </c:pt>
                <c:pt idx="8">
                  <c:v>Pommery</c:v>
                </c:pt>
                <c:pt idx="9">
                  <c:v>Others</c:v>
                </c:pt>
              </c:strCache>
            </c:strRef>
          </c:cat>
          <c:val>
            <c:numRef>
              <c:f>Sheet1!$D$2:$D$11</c:f>
              <c:numCache>
                <c:formatCode>General</c:formatCode>
                <c:ptCount val="10"/>
                <c:pt idx="0">
                  <c:v>64.68767331669018</c:v>
                </c:pt>
                <c:pt idx="1">
                  <c:v>100.26673587311356</c:v>
                </c:pt>
                <c:pt idx="2">
                  <c:v>145.27117007436934</c:v>
                </c:pt>
                <c:pt idx="3">
                  <c:v>125.23057582573378</c:v>
                </c:pt>
                <c:pt idx="4">
                  <c:v>93.212817425585357</c:v>
                </c:pt>
                <c:pt idx="5">
                  <c:v>99.080622608048458</c:v>
                </c:pt>
                <c:pt idx="6">
                  <c:v>126.03603995192012</c:v>
                </c:pt>
                <c:pt idx="7">
                  <c:v>102.48429625562321</c:v>
                </c:pt>
                <c:pt idx="8">
                  <c:v>108.85770088645634</c:v>
                </c:pt>
                <c:pt idx="9">
                  <c:v>189.2438393090043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Nicolas</c:v>
                </c:pt>
                <c:pt idx="2">
                  <c:v>Deutz</c:v>
                </c:pt>
                <c:pt idx="3">
                  <c:v>Malard</c:v>
                </c:pt>
                <c:pt idx="4">
                  <c:v>Laurent Perrier</c:v>
                </c:pt>
                <c:pt idx="5">
                  <c:v>Heidsieck &amp; Co Monopole</c:v>
                </c:pt>
                <c:pt idx="6">
                  <c:v>Nicolas Feuillatte</c:v>
                </c:pt>
                <c:pt idx="7">
                  <c:v>De Bligny</c:v>
                </c:pt>
                <c:pt idx="8">
                  <c:v>Ayala</c:v>
                </c:pt>
                <c:pt idx="9">
                  <c:v>Others</c:v>
                </c:pt>
              </c:strCache>
            </c:strRef>
          </c:cat>
          <c:val>
            <c:numRef>
              <c:f>Sheet1!$B$2:$B$11</c:f>
              <c:numCache>
                <c:formatCode>General</c:formatCode>
                <c:ptCount val="10"/>
                <c:pt idx="0">
                  <c:v>0.22222306799782079</c:v>
                </c:pt>
                <c:pt idx="1">
                  <c:v>9.5350475513165278E-2</c:v>
                </c:pt>
                <c:pt idx="2">
                  <c:v>7.2581411036429122E-2</c:v>
                </c:pt>
                <c:pt idx="3">
                  <c:v>5.3362791697431751E-2</c:v>
                </c:pt>
                <c:pt idx="4">
                  <c:v>4.09413989877516E-2</c:v>
                </c:pt>
                <c:pt idx="5">
                  <c:v>3.3308666892126276E-2</c:v>
                </c:pt>
                <c:pt idx="6">
                  <c:v>3.2682853361722393E-2</c:v>
                </c:pt>
                <c:pt idx="7">
                  <c:v>3.1808019330080484E-2</c:v>
                </c:pt>
                <c:pt idx="8">
                  <c:v>3.0542255734267939E-2</c:v>
                </c:pt>
                <c:pt idx="9">
                  <c:v>0.38719905944920435</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Nicolas</c:v>
                </c:pt>
                <c:pt idx="2">
                  <c:v>Deutz</c:v>
                </c:pt>
                <c:pt idx="3">
                  <c:v>Malard</c:v>
                </c:pt>
                <c:pt idx="4">
                  <c:v>Laurent Perrier</c:v>
                </c:pt>
                <c:pt idx="5">
                  <c:v>Heidsieck &amp; Co Monopole</c:v>
                </c:pt>
                <c:pt idx="6">
                  <c:v>Nicolas Feuillatte</c:v>
                </c:pt>
                <c:pt idx="7">
                  <c:v>De Bligny</c:v>
                </c:pt>
                <c:pt idx="8">
                  <c:v>Ayala</c:v>
                </c:pt>
                <c:pt idx="9">
                  <c:v>Others</c:v>
                </c:pt>
              </c:strCache>
            </c:strRef>
          </c:cat>
          <c:val>
            <c:numRef>
              <c:f>Sheet1!$C$2:$C$11</c:f>
              <c:numCache>
                <c:formatCode>General</c:formatCode>
                <c:ptCount val="10"/>
                <c:pt idx="0">
                  <c:v>8.9798850574712555E-2</c:v>
                </c:pt>
                <c:pt idx="1">
                  <c:v>7.8124999999999931E-2</c:v>
                </c:pt>
                <c:pt idx="2">
                  <c:v>5.1364942528735573E-2</c:v>
                </c:pt>
                <c:pt idx="3">
                  <c:v>4.7593390804597659E-2</c:v>
                </c:pt>
                <c:pt idx="4">
                  <c:v>3.8793103448275815E-2</c:v>
                </c:pt>
                <c:pt idx="5">
                  <c:v>1.5265804597701136E-2</c:v>
                </c:pt>
                <c:pt idx="6">
                  <c:v>3.5919540229885027E-2</c:v>
                </c:pt>
                <c:pt idx="7">
                  <c:v>2.3886494252873543E-2</c:v>
                </c:pt>
                <c:pt idx="8">
                  <c:v>2.0294540229885038E-2</c:v>
                </c:pt>
                <c:pt idx="9">
                  <c:v>0.59895833333333248</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Nicolas</c:v>
                </c:pt>
                <c:pt idx="2">
                  <c:v>Deutz</c:v>
                </c:pt>
                <c:pt idx="3">
                  <c:v>Malard</c:v>
                </c:pt>
                <c:pt idx="4">
                  <c:v>Laurent Perrier</c:v>
                </c:pt>
                <c:pt idx="5">
                  <c:v>Heidsieck &amp; Co Monopole</c:v>
                </c:pt>
                <c:pt idx="6">
                  <c:v>Nicolas Feuillatte</c:v>
                </c:pt>
                <c:pt idx="7">
                  <c:v>De Bligny</c:v>
                </c:pt>
                <c:pt idx="8">
                  <c:v>Ayala</c:v>
                </c:pt>
                <c:pt idx="9">
                  <c:v>Others</c:v>
                </c:pt>
              </c:strCache>
            </c:strRef>
          </c:cat>
          <c:val>
            <c:numRef>
              <c:f>Sheet1!$D$2:$D$11</c:f>
              <c:numCache>
                <c:formatCode>General</c:formatCode>
                <c:ptCount val="10"/>
                <c:pt idx="0">
                  <c:v>40.409328961110894</c:v>
                </c:pt>
                <c:pt idx="1">
                  <c:v>81.934567792703888</c:v>
                </c:pt>
                <c:pt idx="2">
                  <c:v>70.768729617222718</c:v>
                </c:pt>
                <c:pt idx="3">
                  <c:v>89.188345082193734</c:v>
                </c:pt>
                <c:pt idx="4">
                  <c:v>94.752754931216472</c:v>
                </c:pt>
                <c:pt idx="5">
                  <c:v>45.831328666323081</c:v>
                </c:pt>
                <c:pt idx="6">
                  <c:v>109.90331790293864</c:v>
                </c:pt>
                <c:pt idx="7">
                  <c:v>75.095824122202899</c:v>
                </c:pt>
                <c:pt idx="8">
                  <c:v>66.447417657874169</c:v>
                </c:pt>
                <c:pt idx="9">
                  <c:v>154.6900279627120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Deutz</c:v>
                </c:pt>
                <c:pt idx="2">
                  <c:v>Nicolas</c:v>
                </c:pt>
                <c:pt idx="3">
                  <c:v>Demoiselle</c:v>
                </c:pt>
                <c:pt idx="4">
                  <c:v>Laurent Perrier</c:v>
                </c:pt>
                <c:pt idx="5">
                  <c:v>Nicolas Feuillatte</c:v>
                </c:pt>
                <c:pt idx="6">
                  <c:v>Malard</c:v>
                </c:pt>
                <c:pt idx="7">
                  <c:v>Besserat De Bellefon</c:v>
                </c:pt>
                <c:pt idx="8">
                  <c:v>Pommery</c:v>
                </c:pt>
                <c:pt idx="9">
                  <c:v>Others</c:v>
                </c:pt>
              </c:strCache>
            </c:strRef>
          </c:cat>
          <c:val>
            <c:numRef>
              <c:f>Sheet1!$B$2:$B$11</c:f>
              <c:numCache>
                <c:formatCode>General</c:formatCode>
                <c:ptCount val="10"/>
                <c:pt idx="0">
                  <c:v>0.32451524895254796</c:v>
                </c:pt>
                <c:pt idx="1">
                  <c:v>0.13769947163785978</c:v>
                </c:pt>
                <c:pt idx="2">
                  <c:v>0.11805012053948886</c:v>
                </c:pt>
                <c:pt idx="3">
                  <c:v>0.1083205250304099</c:v>
                </c:pt>
                <c:pt idx="4">
                  <c:v>8.3896741504873446E-2</c:v>
                </c:pt>
                <c:pt idx="5">
                  <c:v>5.8063258872303576E-2</c:v>
                </c:pt>
                <c:pt idx="6">
                  <c:v>5.1756544807058241E-2</c:v>
                </c:pt>
                <c:pt idx="7">
                  <c:v>4.9381901160762277E-2</c:v>
                </c:pt>
                <c:pt idx="8">
                  <c:v>4.7077978205454611E-2</c:v>
                </c:pt>
                <c:pt idx="9">
                  <c:v>2.1238209289241337E-2</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Deutz</c:v>
                </c:pt>
                <c:pt idx="2">
                  <c:v>Nicolas</c:v>
                </c:pt>
                <c:pt idx="3">
                  <c:v>Demoiselle</c:v>
                </c:pt>
                <c:pt idx="4">
                  <c:v>Laurent Perrier</c:v>
                </c:pt>
                <c:pt idx="5">
                  <c:v>Nicolas Feuillatte</c:v>
                </c:pt>
                <c:pt idx="6">
                  <c:v>Malard</c:v>
                </c:pt>
                <c:pt idx="7">
                  <c:v>Besserat De Bellefon</c:v>
                </c:pt>
                <c:pt idx="8">
                  <c:v>Pommery</c:v>
                </c:pt>
                <c:pt idx="9">
                  <c:v>Others</c:v>
                </c:pt>
              </c:strCache>
            </c:strRef>
          </c:cat>
          <c:val>
            <c:numRef>
              <c:f>Sheet1!$C$2:$C$11</c:f>
              <c:numCache>
                <c:formatCode>General</c:formatCode>
                <c:ptCount val="10"/>
                <c:pt idx="0">
                  <c:v>0.18852459016393458</c:v>
                </c:pt>
                <c:pt idx="1">
                  <c:v>0.15368852459016408</c:v>
                </c:pt>
                <c:pt idx="2">
                  <c:v>0.18237704918032807</c:v>
                </c:pt>
                <c:pt idx="3">
                  <c:v>0.1209016393442624</c:v>
                </c:pt>
                <c:pt idx="4">
                  <c:v>8.401639344262303E-2</c:v>
                </c:pt>
                <c:pt idx="5">
                  <c:v>5.7377049180327926E-2</c:v>
                </c:pt>
                <c:pt idx="6">
                  <c:v>5.7377049180327926E-2</c:v>
                </c:pt>
                <c:pt idx="7">
                  <c:v>5.1229508196721361E-2</c:v>
                </c:pt>
                <c:pt idx="8">
                  <c:v>6.3524590163934483E-2</c:v>
                </c:pt>
                <c:pt idx="9">
                  <c:v>4.0983606557377088E-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Deutz</c:v>
                </c:pt>
                <c:pt idx="2">
                  <c:v>Nicolas</c:v>
                </c:pt>
                <c:pt idx="3">
                  <c:v>Demoiselle</c:v>
                </c:pt>
                <c:pt idx="4">
                  <c:v>Laurent Perrier</c:v>
                </c:pt>
                <c:pt idx="5">
                  <c:v>Nicolas Feuillatte</c:v>
                </c:pt>
                <c:pt idx="6">
                  <c:v>Malard</c:v>
                </c:pt>
                <c:pt idx="7">
                  <c:v>Besserat De Bellefon</c:v>
                </c:pt>
                <c:pt idx="8">
                  <c:v>Pommery</c:v>
                </c:pt>
                <c:pt idx="9">
                  <c:v>Others</c:v>
                </c:pt>
              </c:strCache>
            </c:strRef>
          </c:cat>
          <c:val>
            <c:numRef>
              <c:f>Sheet1!$D$2:$D$11</c:f>
              <c:numCache>
                <c:formatCode>General</c:formatCode>
                <c:ptCount val="10"/>
                <c:pt idx="0">
                  <c:v>58.094216149300728</c:v>
                </c:pt>
                <c:pt idx="1">
                  <c:v>111.61155722830543</c:v>
                </c:pt>
                <c:pt idx="2">
                  <c:v>154.49120114987198</c:v>
                </c:pt>
                <c:pt idx="3">
                  <c:v>111.61470950248855</c:v>
                </c:pt>
                <c:pt idx="4">
                  <c:v>100.14261809887172</c:v>
                </c:pt>
                <c:pt idx="5">
                  <c:v>98.818168829474757</c:v>
                </c:pt>
                <c:pt idx="6">
                  <c:v>110.85950461767145</c:v>
                </c:pt>
                <c:pt idx="7">
                  <c:v>103.74146598759779</c:v>
                </c:pt>
                <c:pt idx="8">
                  <c:v>134.93483064779173</c:v>
                </c:pt>
                <c:pt idx="9">
                  <c:v>192.97110222064813</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Patriarche</c:v>
                </c:pt>
                <c:pt idx="1">
                  <c:v>Others</c:v>
                </c:pt>
              </c:strCache>
            </c:strRef>
          </c:cat>
          <c:val>
            <c:numRef>
              <c:f>Sheet1!$B$2:$B$3</c:f>
              <c:numCache>
                <c:formatCode>General</c:formatCode>
                <c:ptCount val="2"/>
                <c:pt idx="0">
                  <c:v>0.94941143445307385</c:v>
                </c:pt>
                <c:pt idx="1">
                  <c:v>5.0588565546926173E-2</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Patriarche</c:v>
                </c:pt>
                <c:pt idx="1">
                  <c:v>Others</c:v>
                </c:pt>
              </c:strCache>
            </c:strRef>
          </c:cat>
          <c:val>
            <c:numRef>
              <c:f>Sheet1!$C$2:$C$3</c:f>
              <c:numCache>
                <c:formatCode>General</c:formatCode>
                <c:ptCount val="2"/>
                <c:pt idx="0">
                  <c:v>0.96535947712418302</c:v>
                </c:pt>
                <c:pt idx="1">
                  <c:v>3.4640522875817002E-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Patriarche</c:v>
                </c:pt>
                <c:pt idx="1">
                  <c:v>Others</c:v>
                </c:pt>
              </c:strCache>
            </c:strRef>
          </c:cat>
          <c:val>
            <c:numRef>
              <c:f>Sheet1!$D$2:$D$3</c:f>
              <c:numCache>
                <c:formatCode>General</c:formatCode>
                <c:ptCount val="2"/>
                <c:pt idx="0">
                  <c:v>101.67978203046357</c:v>
                </c:pt>
                <c:pt idx="1">
                  <c:v>68.475005174211361</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Patriarche</c:v>
                </c:pt>
              </c:strCache>
            </c:strRef>
          </c:cat>
          <c:val>
            <c:numRef>
              <c:f>Sheet1!$B$2:$B$2</c:f>
              <c:numCache>
                <c:formatCode>General</c:formatCode>
                <c:ptCount val="1"/>
                <c:pt idx="0">
                  <c:v>1</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Patriarche</c:v>
                </c:pt>
              </c:strCache>
            </c:strRef>
          </c:cat>
          <c:val>
            <c:numRef>
              <c:f>Sheet1!$C$2:$C$2</c:f>
              <c:numCache>
                <c:formatCode>General</c:formatCode>
                <c:ptCount val="1"/>
                <c:pt idx="0">
                  <c:v>1</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Patriarche</c:v>
                </c:pt>
              </c:strCache>
            </c:strRef>
          </c:cat>
          <c:val>
            <c:numRef>
              <c:f>Sheet1!$D$2:$D$2</c:f>
              <c:numCache>
                <c:formatCode>General</c:formatCode>
                <c:ptCount val="1"/>
                <c:pt idx="0">
                  <c:v>100</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Patriarche</c:v>
                </c:pt>
                <c:pt idx="1">
                  <c:v>Others</c:v>
                </c:pt>
              </c:strCache>
            </c:strRef>
          </c:cat>
          <c:val>
            <c:numRef>
              <c:f>Sheet1!$B$2:$B$3</c:f>
              <c:numCache>
                <c:formatCode>General</c:formatCode>
                <c:ptCount val="2"/>
                <c:pt idx="0">
                  <c:v>0.90161228496999946</c:v>
                </c:pt>
                <c:pt idx="1">
                  <c:v>9.8387715030000544E-2</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Patriarche</c:v>
                </c:pt>
                <c:pt idx="1">
                  <c:v>Others</c:v>
                </c:pt>
              </c:strCache>
            </c:strRef>
          </c:cat>
          <c:val>
            <c:numRef>
              <c:f>Sheet1!$C$2:$C$3</c:f>
              <c:numCache>
                <c:formatCode>General</c:formatCode>
                <c:ptCount val="2"/>
                <c:pt idx="0">
                  <c:v>0.86419753086419737</c:v>
                </c:pt>
                <c:pt idx="1">
                  <c:v>0.13580246913580249</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Patriarche</c:v>
                </c:pt>
                <c:pt idx="1">
                  <c:v>Others</c:v>
                </c:pt>
              </c:strCache>
            </c:strRef>
          </c:cat>
          <c:val>
            <c:numRef>
              <c:f>Sheet1!$D$2:$D$3</c:f>
              <c:numCache>
                <c:formatCode>General</c:formatCode>
                <c:ptCount val="2"/>
                <c:pt idx="0">
                  <c:v>95.850239096171251</c:v>
                </c:pt>
                <c:pt idx="1">
                  <c:v>138.02787176670722</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Patriarche</c:v>
                </c:pt>
              </c:strCache>
            </c:strRef>
          </c:cat>
          <c:val>
            <c:numRef>
              <c:f>Sheet1!$B$2:$B$2</c:f>
              <c:numCache>
                <c:formatCode>General</c:formatCode>
                <c:ptCount val="1"/>
                <c:pt idx="0">
                  <c:v>1</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Patriarche</c:v>
                </c:pt>
              </c:strCache>
            </c:strRef>
          </c:cat>
          <c:val>
            <c:numRef>
              <c:f>Sheet1!$C$2:$C$2</c:f>
              <c:numCache>
                <c:formatCode>General</c:formatCode>
                <c:ptCount val="1"/>
                <c:pt idx="0">
                  <c:v>1</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Patriarche</c:v>
                </c:pt>
              </c:strCache>
            </c:strRef>
          </c:cat>
          <c:val>
            <c:numRef>
              <c:f>Sheet1!$D$2:$D$2</c:f>
              <c:numCache>
                <c:formatCode>General</c:formatCode>
                <c:ptCount val="1"/>
                <c:pt idx="0">
                  <c:v>100</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Patriarche</c:v>
                </c:pt>
              </c:strCache>
            </c:strRef>
          </c:cat>
          <c:val>
            <c:numRef>
              <c:f>Sheet1!$B$2:$B$2</c:f>
              <c:numCache>
                <c:formatCode>General</c:formatCode>
                <c:ptCount val="1"/>
                <c:pt idx="0">
                  <c:v>1</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Patriarche</c:v>
                </c:pt>
              </c:strCache>
            </c:strRef>
          </c:cat>
          <c:val>
            <c:numRef>
              <c:f>Sheet1!$C$2:$C$2</c:f>
              <c:numCache>
                <c:formatCode>General</c:formatCode>
                <c:ptCount val="1"/>
                <c:pt idx="0">
                  <c:v>1</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Patriarche</c:v>
                </c:pt>
              </c:strCache>
            </c:strRef>
          </c:cat>
          <c:val>
            <c:numRef>
              <c:f>Sheet1!$D$2:$D$2</c:f>
              <c:numCache>
                <c:formatCode>General</c:formatCode>
                <c:ptCount val="1"/>
                <c:pt idx="0">
                  <c:v>100</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Patriarche</c:v>
                </c:pt>
              </c:strCache>
            </c:strRef>
          </c:cat>
          <c:val>
            <c:numRef>
              <c:f>Sheet1!$B$2:$B$2</c:f>
              <c:numCache>
                <c:formatCode>General</c:formatCode>
                <c:ptCount val="1"/>
                <c:pt idx="0">
                  <c:v>1</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Patriarche</c:v>
                </c:pt>
              </c:strCache>
            </c:strRef>
          </c:cat>
          <c:val>
            <c:numRef>
              <c:f>Sheet1!$C$2:$C$2</c:f>
              <c:numCache>
                <c:formatCode>General</c:formatCode>
                <c:ptCount val="1"/>
                <c:pt idx="0">
                  <c:v>1</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Patriarche</c:v>
                </c:pt>
              </c:strCache>
            </c:strRef>
          </c:cat>
          <c:val>
            <c:numRef>
              <c:f>Sheet1!$D$2:$D$2</c:f>
              <c:numCache>
                <c:formatCode>General</c:formatCode>
                <c:ptCount val="1"/>
                <c:pt idx="0">
                  <c:v>100</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Patriarche</c:v>
                </c:pt>
              </c:strCache>
            </c:strRef>
          </c:cat>
          <c:val>
            <c:numRef>
              <c:f>Sheet1!$B$2:$B$2</c:f>
              <c:numCache>
                <c:formatCode>General</c:formatCode>
                <c:ptCount val="1"/>
                <c:pt idx="0">
                  <c:v>1</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Patriarche</c:v>
                </c:pt>
              </c:strCache>
            </c:strRef>
          </c:cat>
          <c:val>
            <c:numRef>
              <c:f>Sheet1!$C$2:$C$2</c:f>
              <c:numCache>
                <c:formatCode>General</c:formatCode>
                <c:ptCount val="1"/>
                <c:pt idx="0">
                  <c:v>1</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Patriarche</c:v>
                </c:pt>
              </c:strCache>
            </c:strRef>
          </c:cat>
          <c:val>
            <c:numRef>
              <c:f>Sheet1!$D$2:$D$2</c:f>
              <c:numCache>
                <c:formatCode>General</c:formatCode>
                <c:ptCount val="1"/>
                <c:pt idx="0">
                  <c:v>100</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Patriarche</c:v>
                </c:pt>
              </c:strCache>
            </c:strRef>
          </c:cat>
          <c:val>
            <c:numRef>
              <c:f>Sheet1!$B$2:$B$2</c:f>
              <c:numCache>
                <c:formatCode>General</c:formatCode>
                <c:ptCount val="1"/>
                <c:pt idx="0">
                  <c:v>1</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Patriarche</c:v>
                </c:pt>
              </c:strCache>
            </c:strRef>
          </c:cat>
          <c:val>
            <c:numRef>
              <c:f>Sheet1!$C$2:$C$2</c:f>
              <c:numCache>
                <c:formatCode>General</c:formatCode>
                <c:ptCount val="1"/>
                <c:pt idx="0">
                  <c:v>1</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Patriarche</c:v>
                </c:pt>
              </c:strCache>
            </c:strRef>
          </c:cat>
          <c:val>
            <c:numRef>
              <c:f>Sheet1!$D$2:$D$2</c:f>
              <c:numCache>
                <c:formatCode>General</c:formatCode>
                <c:ptCount val="1"/>
                <c:pt idx="0">
                  <c:v>100</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Patriarche</c:v>
                </c:pt>
              </c:strCache>
            </c:strRef>
          </c:cat>
          <c:val>
            <c:numRef>
              <c:f>Sheet1!$B$2:$B$2</c:f>
              <c:numCache>
                <c:formatCode>General</c:formatCode>
                <c:ptCount val="1"/>
                <c:pt idx="0">
                  <c:v>1</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Patriarche</c:v>
                </c:pt>
              </c:strCache>
            </c:strRef>
          </c:cat>
          <c:val>
            <c:numRef>
              <c:f>Sheet1!$C$2:$C$2</c:f>
              <c:numCache>
                <c:formatCode>General</c:formatCode>
                <c:ptCount val="1"/>
                <c:pt idx="0">
                  <c:v>1</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Patriarche</c:v>
                </c:pt>
              </c:strCache>
            </c:strRef>
          </c:cat>
          <c:val>
            <c:numRef>
              <c:f>Sheet1!$D$2:$D$2</c:f>
              <c:numCache>
                <c:formatCode>General</c:formatCode>
                <c:ptCount val="1"/>
                <c:pt idx="0">
                  <c:v>100</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Nicolas</c:v>
                </c:pt>
                <c:pt idx="2">
                  <c:v>Deutz</c:v>
                </c:pt>
                <c:pt idx="3">
                  <c:v>Laurent Perrier</c:v>
                </c:pt>
                <c:pt idx="4">
                  <c:v>Malard</c:v>
                </c:pt>
                <c:pt idx="5">
                  <c:v>Nicolas Feuillatte</c:v>
                </c:pt>
                <c:pt idx="6">
                  <c:v>Heidsieck &amp; Co Monopole</c:v>
                </c:pt>
                <c:pt idx="7">
                  <c:v>Roederer</c:v>
                </c:pt>
                <c:pt idx="8">
                  <c:v>Ayala</c:v>
                </c:pt>
                <c:pt idx="9">
                  <c:v>Others</c:v>
                </c:pt>
              </c:strCache>
            </c:strRef>
          </c:cat>
          <c:val>
            <c:numRef>
              <c:f>Sheet1!$B$2:$B$11</c:f>
              <c:numCache>
                <c:formatCode>General</c:formatCode>
                <c:ptCount val="10"/>
                <c:pt idx="0">
                  <c:v>0.24950112601169039</c:v>
                </c:pt>
                <c:pt idx="1">
                  <c:v>9.0706467251037079E-2</c:v>
                </c:pt>
                <c:pt idx="2">
                  <c:v>7.9304764249767928E-2</c:v>
                </c:pt>
                <c:pt idx="3">
                  <c:v>5.23080346247164E-2</c:v>
                </c:pt>
                <c:pt idx="4">
                  <c:v>5.1621470824233941E-2</c:v>
                </c:pt>
                <c:pt idx="5">
                  <c:v>3.6092229431924652E-2</c:v>
                </c:pt>
                <c:pt idx="6">
                  <c:v>3.3265642481654221E-2</c:v>
                </c:pt>
                <c:pt idx="7">
                  <c:v>3.2595119594307657E-2</c:v>
                </c:pt>
                <c:pt idx="8">
                  <c:v>3.0596507665871308E-2</c:v>
                </c:pt>
                <c:pt idx="9">
                  <c:v>0.34400863786479646</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Nicolas</c:v>
                </c:pt>
                <c:pt idx="2">
                  <c:v>Deutz</c:v>
                </c:pt>
                <c:pt idx="3">
                  <c:v>Laurent Perrier</c:v>
                </c:pt>
                <c:pt idx="4">
                  <c:v>Malard</c:v>
                </c:pt>
                <c:pt idx="5">
                  <c:v>Nicolas Feuillatte</c:v>
                </c:pt>
                <c:pt idx="6">
                  <c:v>Heidsieck &amp; Co Monopole</c:v>
                </c:pt>
                <c:pt idx="7">
                  <c:v>Roederer</c:v>
                </c:pt>
                <c:pt idx="8">
                  <c:v>Ayala</c:v>
                </c:pt>
                <c:pt idx="9">
                  <c:v>Others</c:v>
                </c:pt>
              </c:strCache>
            </c:strRef>
          </c:cat>
          <c:val>
            <c:numRef>
              <c:f>Sheet1!$C$2:$C$11</c:f>
              <c:numCache>
                <c:formatCode>General</c:formatCode>
                <c:ptCount val="10"/>
                <c:pt idx="0">
                  <c:v>0.11265320836337399</c:v>
                </c:pt>
                <c:pt idx="1">
                  <c:v>8.9429316177693841E-2</c:v>
                </c:pt>
                <c:pt idx="2">
                  <c:v>5.7886417835949111E-2</c:v>
                </c:pt>
                <c:pt idx="3">
                  <c:v>4.8347290776995101E-2</c:v>
                </c:pt>
                <c:pt idx="4">
                  <c:v>5.2312683711385859E-2</c:v>
                </c:pt>
                <c:pt idx="5">
                  <c:v>4.0042149631190668E-2</c:v>
                </c:pt>
                <c:pt idx="6">
                  <c:v>1.3268814818922945E-2</c:v>
                </c:pt>
                <c:pt idx="7">
                  <c:v>5.6804947035660712E-2</c:v>
                </c:pt>
                <c:pt idx="8">
                  <c:v>2.0506350174699095E-2</c:v>
                </c:pt>
                <c:pt idx="9">
                  <c:v>0.50874882147412714</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Nicolas</c:v>
                </c:pt>
                <c:pt idx="2">
                  <c:v>Deutz</c:v>
                </c:pt>
                <c:pt idx="3">
                  <c:v>Laurent Perrier</c:v>
                </c:pt>
                <c:pt idx="4">
                  <c:v>Malard</c:v>
                </c:pt>
                <c:pt idx="5">
                  <c:v>Nicolas Feuillatte</c:v>
                </c:pt>
                <c:pt idx="6">
                  <c:v>Heidsieck &amp; Co Monopole</c:v>
                </c:pt>
                <c:pt idx="7">
                  <c:v>Roederer</c:v>
                </c:pt>
                <c:pt idx="8">
                  <c:v>Ayala</c:v>
                </c:pt>
                <c:pt idx="9">
                  <c:v>Others</c:v>
                </c:pt>
              </c:strCache>
            </c:strRef>
          </c:cat>
          <c:val>
            <c:numRef>
              <c:f>Sheet1!$D$2:$D$11</c:f>
              <c:numCache>
                <c:formatCode>General</c:formatCode>
                <c:ptCount val="10"/>
                <c:pt idx="0">
                  <c:v>45.151382746904162</c:v>
                </c:pt>
                <c:pt idx="1">
                  <c:v>98.591995574242105</c:v>
                </c:pt>
                <c:pt idx="2">
                  <c:v>72.992358509051996</c:v>
                </c:pt>
                <c:pt idx="3">
                  <c:v>92.428039256038531</c:v>
                </c:pt>
                <c:pt idx="4">
                  <c:v>101.33900269813201</c:v>
                </c:pt>
                <c:pt idx="5">
                  <c:v>110.94396290125594</c:v>
                </c:pt>
                <c:pt idx="6">
                  <c:v>39.887444910287265</c:v>
                </c:pt>
                <c:pt idx="7">
                  <c:v>174.27439365978276</c:v>
                </c:pt>
                <c:pt idx="8">
                  <c:v>67.021865366591442</c:v>
                </c:pt>
                <c:pt idx="9">
                  <c:v>147.88838577770755</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Patriarche</c:v>
                </c:pt>
              </c:strCache>
            </c:strRef>
          </c:cat>
          <c:val>
            <c:numRef>
              <c:f>Sheet1!$B$2:$B$2</c:f>
              <c:numCache>
                <c:formatCode>General</c:formatCode>
                <c:ptCount val="1"/>
                <c:pt idx="0">
                  <c:v>1</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Patriarche</c:v>
                </c:pt>
              </c:strCache>
            </c:strRef>
          </c:cat>
          <c:val>
            <c:numRef>
              <c:f>Sheet1!$C$2:$C$2</c:f>
              <c:numCache>
                <c:formatCode>General</c:formatCode>
                <c:ptCount val="1"/>
                <c:pt idx="0">
                  <c:v>1</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Patriarche</c:v>
                </c:pt>
              </c:strCache>
            </c:strRef>
          </c:cat>
          <c:val>
            <c:numRef>
              <c:f>Sheet1!$D$2:$D$2</c:f>
              <c:numCache>
                <c:formatCode>General</c:formatCode>
                <c:ptCount val="1"/>
                <c:pt idx="0">
                  <c:v>100</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Patriarche</c:v>
                </c:pt>
              </c:strCache>
            </c:strRef>
          </c:cat>
          <c:val>
            <c:numRef>
              <c:f>Sheet1!$B$2:$B$2</c:f>
              <c:numCache>
                <c:formatCode>General</c:formatCode>
                <c:ptCount val="1"/>
                <c:pt idx="0">
                  <c:v>1</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Patriarche</c:v>
                </c:pt>
              </c:strCache>
            </c:strRef>
          </c:cat>
          <c:val>
            <c:numRef>
              <c:f>Sheet1!$C$2:$C$2</c:f>
              <c:numCache>
                <c:formatCode>General</c:formatCode>
                <c:ptCount val="1"/>
                <c:pt idx="0">
                  <c:v>1</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Patriarche</c:v>
                </c:pt>
              </c:strCache>
            </c:strRef>
          </c:cat>
          <c:val>
            <c:numRef>
              <c:f>Sheet1!$D$2:$D$2</c:f>
              <c:numCache>
                <c:formatCode>General</c:formatCode>
                <c:ptCount val="1"/>
                <c:pt idx="0">
                  <c:v>100</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Patriarche</c:v>
                </c:pt>
              </c:strCache>
            </c:strRef>
          </c:cat>
          <c:val>
            <c:numRef>
              <c:f>Sheet1!$B$2:$B$2</c:f>
              <c:numCache>
                <c:formatCode>General</c:formatCode>
                <c:ptCount val="1"/>
                <c:pt idx="0">
                  <c:v>1</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Patriarche</c:v>
                </c:pt>
              </c:strCache>
            </c:strRef>
          </c:cat>
          <c:val>
            <c:numRef>
              <c:f>Sheet1!$C$2:$C$2</c:f>
              <c:numCache>
                <c:formatCode>General</c:formatCode>
                <c:ptCount val="1"/>
                <c:pt idx="0">
                  <c:v>1</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Patriarche</c:v>
                </c:pt>
              </c:strCache>
            </c:strRef>
          </c:cat>
          <c:val>
            <c:numRef>
              <c:f>Sheet1!$D$2:$D$2</c:f>
              <c:numCache>
                <c:formatCode>General</c:formatCode>
                <c:ptCount val="1"/>
                <c:pt idx="0">
                  <c:v>100</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Patriarche</c:v>
                </c:pt>
              </c:strCache>
            </c:strRef>
          </c:cat>
          <c:val>
            <c:numRef>
              <c:f>Sheet1!$B$2:$B$2</c:f>
              <c:numCache>
                <c:formatCode>General</c:formatCode>
                <c:ptCount val="1"/>
                <c:pt idx="0">
                  <c:v>1</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Patriarche</c:v>
                </c:pt>
              </c:strCache>
            </c:strRef>
          </c:cat>
          <c:val>
            <c:numRef>
              <c:f>Sheet1!$C$2:$C$2</c:f>
              <c:numCache>
                <c:formatCode>General</c:formatCode>
                <c:ptCount val="1"/>
                <c:pt idx="0">
                  <c:v>1</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Patriarche</c:v>
                </c:pt>
              </c:strCache>
            </c:strRef>
          </c:cat>
          <c:val>
            <c:numRef>
              <c:f>Sheet1!$D$2:$D$2</c:f>
              <c:numCache>
                <c:formatCode>General</c:formatCode>
                <c:ptCount val="1"/>
                <c:pt idx="0">
                  <c:v>100</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Patriarche</c:v>
                </c:pt>
              </c:strCache>
            </c:strRef>
          </c:cat>
          <c:val>
            <c:numRef>
              <c:f>Sheet1!$B$2:$B$2</c:f>
              <c:numCache>
                <c:formatCode>General</c:formatCode>
                <c:ptCount val="1"/>
                <c:pt idx="0">
                  <c:v>1</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Patriarche</c:v>
                </c:pt>
              </c:strCache>
            </c:strRef>
          </c:cat>
          <c:val>
            <c:numRef>
              <c:f>Sheet1!$C$2:$C$2</c:f>
              <c:numCache>
                <c:formatCode>General</c:formatCode>
                <c:ptCount val="1"/>
                <c:pt idx="0">
                  <c:v>1</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Patriarche</c:v>
                </c:pt>
              </c:strCache>
            </c:strRef>
          </c:cat>
          <c:val>
            <c:numRef>
              <c:f>Sheet1!$D$2:$D$2</c:f>
              <c:numCache>
                <c:formatCode>General</c:formatCode>
                <c:ptCount val="1"/>
                <c:pt idx="0">
                  <c:v>100</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Patriarche</c:v>
                </c:pt>
                <c:pt idx="1">
                  <c:v>Others</c:v>
                </c:pt>
              </c:strCache>
            </c:strRef>
          </c:cat>
          <c:val>
            <c:numRef>
              <c:f>Sheet1!$B$2:$B$3</c:f>
              <c:numCache>
                <c:formatCode>General</c:formatCode>
                <c:ptCount val="2"/>
                <c:pt idx="0">
                  <c:v>0.80016142050040351</c:v>
                </c:pt>
                <c:pt idx="1">
                  <c:v>0.19983857949959644</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Patriarche</c:v>
                </c:pt>
                <c:pt idx="1">
                  <c:v>Others</c:v>
                </c:pt>
              </c:strCache>
            </c:strRef>
          </c:cat>
          <c:val>
            <c:numRef>
              <c:f>Sheet1!$C$2:$C$3</c:f>
              <c:numCache>
                <c:formatCode>General</c:formatCode>
                <c:ptCount val="2"/>
                <c:pt idx="0">
                  <c:v>0.82716049382716039</c:v>
                </c:pt>
                <c:pt idx="1">
                  <c:v>0.1728395061728395</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Patriarche</c:v>
                </c:pt>
                <c:pt idx="1">
                  <c:v>Others</c:v>
                </c:pt>
              </c:strCache>
            </c:strRef>
          </c:cat>
          <c:val>
            <c:numRef>
              <c:f>Sheet1!$D$2:$D$3</c:f>
              <c:numCache>
                <c:formatCode>General</c:formatCode>
                <c:ptCount val="2"/>
                <c:pt idx="0">
                  <c:v>103.37420333385634</c:v>
                </c:pt>
                <c:pt idx="1">
                  <c:v>86.48955902590798</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Patriarche</c:v>
                </c:pt>
                <c:pt idx="1">
                  <c:v>Others</c:v>
                </c:pt>
              </c:strCache>
            </c:strRef>
          </c:cat>
          <c:val>
            <c:numRef>
              <c:f>Sheet1!$B$2:$B$3</c:f>
              <c:numCache>
                <c:formatCode>General</c:formatCode>
                <c:ptCount val="2"/>
                <c:pt idx="0">
                  <c:v>0.97733629278682976</c:v>
                </c:pt>
                <c:pt idx="1">
                  <c:v>2.2663707213170233E-2</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Patriarche</c:v>
                </c:pt>
                <c:pt idx="1">
                  <c:v>Others</c:v>
                </c:pt>
              </c:strCache>
            </c:strRef>
          </c:cat>
          <c:val>
            <c:numRef>
              <c:f>Sheet1!$C$2:$C$3</c:f>
              <c:numCache>
                <c:formatCode>General</c:formatCode>
                <c:ptCount val="2"/>
                <c:pt idx="0">
                  <c:v>0.96</c:v>
                </c:pt>
                <c:pt idx="1">
                  <c:v>0.04</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Patriarche</c:v>
                </c:pt>
                <c:pt idx="1">
                  <c:v>Others</c:v>
                </c:pt>
              </c:strCache>
            </c:strRef>
          </c:cat>
          <c:val>
            <c:numRef>
              <c:f>Sheet1!$D$2:$D$3</c:f>
              <c:numCache>
                <c:formatCode>General</c:formatCode>
                <c:ptCount val="2"/>
                <c:pt idx="0">
                  <c:v>98.226169138015322</c:v>
                </c:pt>
                <c:pt idx="1">
                  <c:v>176.49363197189282</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Bottega</c:v>
                </c:pt>
                <c:pt idx="1">
                  <c:v>Savian</c:v>
                </c:pt>
                <c:pt idx="2">
                  <c:v>Contarini</c:v>
                </c:pt>
                <c:pt idx="3">
                  <c:v>Others</c:v>
                </c:pt>
              </c:strCache>
            </c:strRef>
          </c:cat>
          <c:val>
            <c:numRef>
              <c:f>Sheet1!$B$2:$B$5</c:f>
              <c:numCache>
                <c:formatCode>General</c:formatCode>
                <c:ptCount val="4"/>
                <c:pt idx="0">
                  <c:v>0.35738538499910588</c:v>
                </c:pt>
                <c:pt idx="1">
                  <c:v>0.19046067183073404</c:v>
                </c:pt>
                <c:pt idx="2">
                  <c:v>5.3475039295227157E-2</c:v>
                </c:pt>
                <c:pt idx="3">
                  <c:v>0.39867890387493293</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Bottega</c:v>
                </c:pt>
                <c:pt idx="1">
                  <c:v>Savian</c:v>
                </c:pt>
                <c:pt idx="2">
                  <c:v>Contarini</c:v>
                </c:pt>
                <c:pt idx="3">
                  <c:v>Others</c:v>
                </c:pt>
              </c:strCache>
            </c:strRef>
          </c:cat>
          <c:val>
            <c:numRef>
              <c:f>Sheet1!$C$2:$C$5</c:f>
              <c:numCache>
                <c:formatCode>General</c:formatCode>
                <c:ptCount val="4"/>
                <c:pt idx="0">
                  <c:v>0.33051257253384919</c:v>
                </c:pt>
                <c:pt idx="1">
                  <c:v>0.19342359767891687</c:v>
                </c:pt>
                <c:pt idx="2">
                  <c:v>0.24177949709864607</c:v>
                </c:pt>
                <c:pt idx="3">
                  <c:v>0.23428433268858806</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Bottega</c:v>
                </c:pt>
                <c:pt idx="1">
                  <c:v>Savian</c:v>
                </c:pt>
                <c:pt idx="2">
                  <c:v>Contarini</c:v>
                </c:pt>
                <c:pt idx="3">
                  <c:v>Others</c:v>
                </c:pt>
              </c:strCache>
            </c:strRef>
          </c:cat>
          <c:val>
            <c:numRef>
              <c:f>Sheet1!$D$2:$D$5</c:f>
              <c:numCache>
                <c:formatCode>General</c:formatCode>
                <c:ptCount val="4"/>
                <c:pt idx="0">
                  <c:v>92.480718688223945</c:v>
                </c:pt>
                <c:pt idx="1">
                  <c:v>101.55566281463926</c:v>
                </c:pt>
                <c:pt idx="2">
                  <c:v>452.13523970280801</c:v>
                </c:pt>
                <c:pt idx="3">
                  <c:v>58.765169265661456</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Bottega</c:v>
                </c:pt>
                <c:pt idx="1">
                  <c:v>Savian</c:v>
                </c:pt>
                <c:pt idx="2">
                  <c:v>Contarini</c:v>
                </c:pt>
                <c:pt idx="3">
                  <c:v>Others</c:v>
                </c:pt>
              </c:strCache>
            </c:strRef>
          </c:cat>
          <c:val>
            <c:numRef>
              <c:f>Sheet1!$B$2:$B$5</c:f>
              <c:numCache>
                <c:formatCode>General</c:formatCode>
                <c:ptCount val="4"/>
                <c:pt idx="0">
                  <c:v>0.34830762526398462</c:v>
                </c:pt>
                <c:pt idx="1">
                  <c:v>0.20604806076075452</c:v>
                </c:pt>
                <c:pt idx="2">
                  <c:v>5.2330008284686737E-2</c:v>
                </c:pt>
                <c:pt idx="3">
                  <c:v>0.39331430569057413</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Bottega</c:v>
                </c:pt>
                <c:pt idx="1">
                  <c:v>Savian</c:v>
                </c:pt>
                <c:pt idx="2">
                  <c:v>Contarini</c:v>
                </c:pt>
                <c:pt idx="3">
                  <c:v>Others</c:v>
                </c:pt>
              </c:strCache>
            </c:strRef>
          </c:cat>
          <c:val>
            <c:numRef>
              <c:f>Sheet1!$C$2:$C$5</c:f>
              <c:numCache>
                <c:formatCode>General</c:formatCode>
                <c:ptCount val="4"/>
                <c:pt idx="0">
                  <c:v>0.32682926829268288</c:v>
                </c:pt>
                <c:pt idx="1">
                  <c:v>0.19999999999999996</c:v>
                </c:pt>
                <c:pt idx="2">
                  <c:v>0.24878048780487802</c:v>
                </c:pt>
                <c:pt idx="3">
                  <c:v>0.224390243902439</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Bottega</c:v>
                </c:pt>
                <c:pt idx="1">
                  <c:v>Savian</c:v>
                </c:pt>
                <c:pt idx="2">
                  <c:v>Contarini</c:v>
                </c:pt>
                <c:pt idx="3">
                  <c:v>Others</c:v>
                </c:pt>
              </c:strCache>
            </c:strRef>
          </c:cat>
          <c:val>
            <c:numRef>
              <c:f>Sheet1!$D$2:$D$5</c:f>
              <c:numCache>
                <c:formatCode>General</c:formatCode>
                <c:ptCount val="4"/>
                <c:pt idx="0">
                  <c:v>93.833509399909588</c:v>
                </c:pt>
                <c:pt idx="1">
                  <c:v>97.06473298587504</c:v>
                </c:pt>
                <c:pt idx="2">
                  <c:v>475.40693372616636</c:v>
                </c:pt>
                <c:pt idx="3">
                  <c:v>57.0511269628137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Bottega</c:v>
                </c:pt>
                <c:pt idx="1">
                  <c:v>Savian</c:v>
                </c:pt>
                <c:pt idx="2">
                  <c:v>Contarini</c:v>
                </c:pt>
                <c:pt idx="3">
                  <c:v>Others</c:v>
                </c:pt>
              </c:strCache>
            </c:strRef>
          </c:cat>
          <c:val>
            <c:numRef>
              <c:f>Sheet1!$B$2:$B$5</c:f>
              <c:numCache>
                <c:formatCode>General</c:formatCode>
                <c:ptCount val="4"/>
                <c:pt idx="0">
                  <c:v>0.36068907406915951</c:v>
                </c:pt>
                <c:pt idx="1">
                  <c:v>0.18290385074706086</c:v>
                </c:pt>
                <c:pt idx="2">
                  <c:v>5.7346540696902946E-2</c:v>
                </c:pt>
                <c:pt idx="3">
                  <c:v>0.39906053448687667</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Bottega</c:v>
                </c:pt>
                <c:pt idx="1">
                  <c:v>Savian</c:v>
                </c:pt>
                <c:pt idx="2">
                  <c:v>Contarini</c:v>
                </c:pt>
                <c:pt idx="3">
                  <c:v>Others</c:v>
                </c:pt>
              </c:strCache>
            </c:strRef>
          </c:cat>
          <c:val>
            <c:numRef>
              <c:f>Sheet1!$C$2:$C$5</c:f>
              <c:numCache>
                <c:formatCode>General</c:formatCode>
                <c:ptCount val="4"/>
                <c:pt idx="0">
                  <c:v>0.32409972299168976</c:v>
                </c:pt>
                <c:pt idx="1">
                  <c:v>0.1994459833795014</c:v>
                </c:pt>
                <c:pt idx="2">
                  <c:v>0.24376731301939061</c:v>
                </c:pt>
                <c:pt idx="3">
                  <c:v>0.23268698060941831</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Bottega</c:v>
                </c:pt>
                <c:pt idx="1">
                  <c:v>Savian</c:v>
                </c:pt>
                <c:pt idx="2">
                  <c:v>Contarini</c:v>
                </c:pt>
                <c:pt idx="3">
                  <c:v>Others</c:v>
                </c:pt>
              </c:strCache>
            </c:strRef>
          </c:cat>
          <c:val>
            <c:numRef>
              <c:f>Sheet1!$D$2:$D$5</c:f>
              <c:numCache>
                <c:formatCode>General</c:formatCode>
                <c:ptCount val="4"/>
                <c:pt idx="0">
                  <c:v>89.855708501318787</c:v>
                </c:pt>
                <c:pt idx="1">
                  <c:v>109.04416859725757</c:v>
                </c:pt>
                <c:pt idx="2">
                  <c:v>425.07762466054987</c:v>
                </c:pt>
                <c:pt idx="3">
                  <c:v>58.308692667044568</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Nicolas</c:v>
                </c:pt>
                <c:pt idx="2">
                  <c:v>Deutz</c:v>
                </c:pt>
                <c:pt idx="3">
                  <c:v>Malard</c:v>
                </c:pt>
                <c:pt idx="4">
                  <c:v>Laurent Perrier</c:v>
                </c:pt>
                <c:pt idx="5">
                  <c:v>Nicolas Feuillatte</c:v>
                </c:pt>
                <c:pt idx="6">
                  <c:v>Heidsieck &amp; Co Monopole</c:v>
                </c:pt>
                <c:pt idx="7">
                  <c:v>Ayala</c:v>
                </c:pt>
                <c:pt idx="8">
                  <c:v>Roederer</c:v>
                </c:pt>
                <c:pt idx="9">
                  <c:v>Others</c:v>
                </c:pt>
              </c:strCache>
            </c:strRef>
          </c:cat>
          <c:val>
            <c:numRef>
              <c:f>Sheet1!$B$2:$B$11</c:f>
              <c:numCache>
                <c:formatCode>General</c:formatCode>
                <c:ptCount val="10"/>
                <c:pt idx="0">
                  <c:v>0.22074107765693302</c:v>
                </c:pt>
                <c:pt idx="1">
                  <c:v>9.285922743818123E-2</c:v>
                </c:pt>
                <c:pt idx="2">
                  <c:v>8.2524905733030327E-2</c:v>
                </c:pt>
                <c:pt idx="3">
                  <c:v>5.7592314438467532E-2</c:v>
                </c:pt>
                <c:pt idx="4">
                  <c:v>5.3229535525546087E-2</c:v>
                </c:pt>
                <c:pt idx="5">
                  <c:v>3.8771002747295856E-2</c:v>
                </c:pt>
                <c:pt idx="6">
                  <c:v>3.8018196058683555E-2</c:v>
                </c:pt>
                <c:pt idx="7">
                  <c:v>3.433342679886224E-2</c:v>
                </c:pt>
                <c:pt idx="8">
                  <c:v>3.2044068966115578E-2</c:v>
                </c:pt>
                <c:pt idx="9">
                  <c:v>0.34988624463688456</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Nicolas</c:v>
                </c:pt>
                <c:pt idx="2">
                  <c:v>Deutz</c:v>
                </c:pt>
                <c:pt idx="3">
                  <c:v>Malard</c:v>
                </c:pt>
                <c:pt idx="4">
                  <c:v>Laurent Perrier</c:v>
                </c:pt>
                <c:pt idx="5">
                  <c:v>Nicolas Feuillatte</c:v>
                </c:pt>
                <c:pt idx="6">
                  <c:v>Heidsieck &amp; Co Monopole</c:v>
                </c:pt>
                <c:pt idx="7">
                  <c:v>Ayala</c:v>
                </c:pt>
                <c:pt idx="8">
                  <c:v>Roederer</c:v>
                </c:pt>
                <c:pt idx="9">
                  <c:v>Others</c:v>
                </c:pt>
              </c:strCache>
            </c:strRef>
          </c:cat>
          <c:val>
            <c:numRef>
              <c:f>Sheet1!$C$2:$C$11</c:f>
              <c:numCache>
                <c:formatCode>General</c:formatCode>
                <c:ptCount val="10"/>
                <c:pt idx="0">
                  <c:v>0.11222290640394073</c:v>
                </c:pt>
                <c:pt idx="1">
                  <c:v>9.2518472906403845E-2</c:v>
                </c:pt>
                <c:pt idx="2">
                  <c:v>5.9883004926108291E-2</c:v>
                </c:pt>
                <c:pt idx="3">
                  <c:v>5.7727832512315197E-2</c:v>
                </c:pt>
                <c:pt idx="4">
                  <c:v>4.7413793103448197E-2</c:v>
                </c:pt>
                <c:pt idx="5">
                  <c:v>4.2949507389162506E-2</c:v>
                </c:pt>
                <c:pt idx="6">
                  <c:v>1.4932266009852199E-2</c:v>
                </c:pt>
                <c:pt idx="7">
                  <c:v>2.1397783251231504E-2</c:v>
                </c:pt>
                <c:pt idx="8">
                  <c:v>5.495689655172406E-2</c:v>
                </c:pt>
                <c:pt idx="9">
                  <c:v>0.49599753694581228</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Nicolas</c:v>
                </c:pt>
                <c:pt idx="2">
                  <c:v>Deutz</c:v>
                </c:pt>
                <c:pt idx="3">
                  <c:v>Malard</c:v>
                </c:pt>
                <c:pt idx="4">
                  <c:v>Laurent Perrier</c:v>
                </c:pt>
                <c:pt idx="5">
                  <c:v>Nicolas Feuillatte</c:v>
                </c:pt>
                <c:pt idx="6">
                  <c:v>Heidsieck &amp; Co Monopole</c:v>
                </c:pt>
                <c:pt idx="7">
                  <c:v>Ayala</c:v>
                </c:pt>
                <c:pt idx="8">
                  <c:v>Roederer</c:v>
                </c:pt>
                <c:pt idx="9">
                  <c:v>Others</c:v>
                </c:pt>
              </c:strCache>
            </c:strRef>
          </c:cat>
          <c:val>
            <c:numRef>
              <c:f>Sheet1!$D$2:$D$11</c:f>
              <c:numCache>
                <c:formatCode>General</c:formatCode>
                <c:ptCount val="10"/>
                <c:pt idx="0">
                  <c:v>50.839158526875138</c:v>
                </c:pt>
                <c:pt idx="1">
                  <c:v>99.633041819129673</c:v>
                </c:pt>
                <c:pt idx="2">
                  <c:v>72.563554473883286</c:v>
                </c:pt>
                <c:pt idx="3">
                  <c:v>100.23530583059386</c:v>
                </c:pt>
                <c:pt idx="4">
                  <c:v>89.074219106595848</c:v>
                </c:pt>
                <c:pt idx="5">
                  <c:v>110.77739636785144</c:v>
                </c:pt>
                <c:pt idx="6">
                  <c:v>39.276629503417986</c:v>
                </c:pt>
                <c:pt idx="7">
                  <c:v>62.323470874572287</c:v>
                </c:pt>
                <c:pt idx="8">
                  <c:v>171.5041139433236</c:v>
                </c:pt>
                <c:pt idx="9">
                  <c:v>141.75965604494212</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Bottega</c:v>
                </c:pt>
                <c:pt idx="1">
                  <c:v>Savian</c:v>
                </c:pt>
                <c:pt idx="2">
                  <c:v>Contarini</c:v>
                </c:pt>
                <c:pt idx="3">
                  <c:v>Others</c:v>
                </c:pt>
              </c:strCache>
            </c:strRef>
          </c:cat>
          <c:val>
            <c:numRef>
              <c:f>Sheet1!$B$2:$B$5</c:f>
              <c:numCache>
                <c:formatCode>General</c:formatCode>
                <c:ptCount val="4"/>
                <c:pt idx="0">
                  <c:v>0.38633199595189538</c:v>
                </c:pt>
                <c:pt idx="1">
                  <c:v>0.20727528652669541</c:v>
                </c:pt>
                <c:pt idx="2">
                  <c:v>4.729295845555561E-2</c:v>
                </c:pt>
                <c:pt idx="3">
                  <c:v>0.35909975906585362</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Bottega</c:v>
                </c:pt>
                <c:pt idx="1">
                  <c:v>Savian</c:v>
                </c:pt>
                <c:pt idx="2">
                  <c:v>Contarini</c:v>
                </c:pt>
                <c:pt idx="3">
                  <c:v>Others</c:v>
                </c:pt>
              </c:strCache>
            </c:strRef>
          </c:cat>
          <c:val>
            <c:numRef>
              <c:f>Sheet1!$C$2:$C$5</c:f>
              <c:numCache>
                <c:formatCode>General</c:formatCode>
                <c:ptCount val="4"/>
                <c:pt idx="0">
                  <c:v>0.33874709976798145</c:v>
                </c:pt>
                <c:pt idx="1">
                  <c:v>0.20881670533642691</c:v>
                </c:pt>
                <c:pt idx="2">
                  <c:v>0.24129930394431554</c:v>
                </c:pt>
                <c:pt idx="3">
                  <c:v>0.21113689095127608</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Bottega</c:v>
                </c:pt>
                <c:pt idx="1">
                  <c:v>Savian</c:v>
                </c:pt>
                <c:pt idx="2">
                  <c:v>Contarini</c:v>
                </c:pt>
                <c:pt idx="3">
                  <c:v>Others</c:v>
                </c:pt>
              </c:strCache>
            </c:strRef>
          </c:cat>
          <c:val>
            <c:numRef>
              <c:f>Sheet1!$D$2:$D$5</c:f>
              <c:numCache>
                <c:formatCode>General</c:formatCode>
                <c:ptCount val="4"/>
                <c:pt idx="0">
                  <c:v>87.682900540850099</c:v>
                </c:pt>
                <c:pt idx="1">
                  <c:v>100.74365778745793</c:v>
                </c:pt>
                <c:pt idx="2">
                  <c:v>510.22247671623421</c:v>
                </c:pt>
                <c:pt idx="3">
                  <c:v>58.796166140717652</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Bottega</c:v>
                </c:pt>
                <c:pt idx="1">
                  <c:v>Savian</c:v>
                </c:pt>
                <c:pt idx="2">
                  <c:v>Contarini</c:v>
                </c:pt>
                <c:pt idx="3">
                  <c:v>Others</c:v>
                </c:pt>
              </c:strCache>
            </c:strRef>
          </c:cat>
          <c:val>
            <c:numRef>
              <c:f>Sheet1!$B$2:$B$5</c:f>
              <c:numCache>
                <c:formatCode>General</c:formatCode>
                <c:ptCount val="4"/>
                <c:pt idx="0">
                  <c:v>0.36945139022461587</c:v>
                </c:pt>
                <c:pt idx="1">
                  <c:v>0.20899318244961637</c:v>
                </c:pt>
                <c:pt idx="2">
                  <c:v>4.7412964031544526E-2</c:v>
                </c:pt>
                <c:pt idx="3">
                  <c:v>0.37414246329422324</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Bottega</c:v>
                </c:pt>
                <c:pt idx="1">
                  <c:v>Savian</c:v>
                </c:pt>
                <c:pt idx="2">
                  <c:v>Contarini</c:v>
                </c:pt>
                <c:pt idx="3">
                  <c:v>Others</c:v>
                </c:pt>
              </c:strCache>
            </c:strRef>
          </c:cat>
          <c:val>
            <c:numRef>
              <c:f>Sheet1!$C$2:$C$5</c:f>
              <c:numCache>
                <c:formatCode>General</c:formatCode>
                <c:ptCount val="4"/>
                <c:pt idx="0">
                  <c:v>0.33108108108108114</c:v>
                </c:pt>
                <c:pt idx="1">
                  <c:v>0.20720720720720723</c:v>
                </c:pt>
                <c:pt idx="2">
                  <c:v>0.24324324324324328</c:v>
                </c:pt>
                <c:pt idx="3">
                  <c:v>0.21846846846846849</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Bottega</c:v>
                </c:pt>
                <c:pt idx="1">
                  <c:v>Savian</c:v>
                </c:pt>
                <c:pt idx="2">
                  <c:v>Contarini</c:v>
                </c:pt>
                <c:pt idx="3">
                  <c:v>Others</c:v>
                </c:pt>
              </c:strCache>
            </c:strRef>
          </c:cat>
          <c:val>
            <c:numRef>
              <c:f>Sheet1!$D$2:$D$5</c:f>
              <c:numCache>
                <c:formatCode>General</c:formatCode>
                <c:ptCount val="4"/>
                <c:pt idx="0">
                  <c:v>89.614246918868901</c:v>
                </c:pt>
                <c:pt idx="1">
                  <c:v>99.14543851551727</c:v>
                </c:pt>
                <c:pt idx="2">
                  <c:v>513.03108382215896</c:v>
                </c:pt>
                <c:pt idx="3">
                  <c:v>58.391786525622535</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Bottega</c:v>
                </c:pt>
                <c:pt idx="1">
                  <c:v>Savian</c:v>
                </c:pt>
                <c:pt idx="2">
                  <c:v>Contarini</c:v>
                </c:pt>
                <c:pt idx="3">
                  <c:v>Vilaveroni</c:v>
                </c:pt>
                <c:pt idx="4">
                  <c:v>Others</c:v>
                </c:pt>
              </c:strCache>
            </c:strRef>
          </c:cat>
          <c:val>
            <c:numRef>
              <c:f>Sheet1!$B$2:$B$6</c:f>
              <c:numCache>
                <c:formatCode>General</c:formatCode>
                <c:ptCount val="5"/>
                <c:pt idx="0">
                  <c:v>0.33717836994908956</c:v>
                </c:pt>
                <c:pt idx="1">
                  <c:v>0.14173508232811999</c:v>
                </c:pt>
                <c:pt idx="2">
                  <c:v>6.2743659129477589E-2</c:v>
                </c:pt>
                <c:pt idx="3">
                  <c:v>2.8952437737925975E-2</c:v>
                </c:pt>
                <c:pt idx="4">
                  <c:v>0.42939045085538685</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Bottega</c:v>
                </c:pt>
                <c:pt idx="1">
                  <c:v>Savian</c:v>
                </c:pt>
                <c:pt idx="2">
                  <c:v>Contarini</c:v>
                </c:pt>
                <c:pt idx="3">
                  <c:v>Vilaveroni</c:v>
                </c:pt>
                <c:pt idx="4">
                  <c:v>Others</c:v>
                </c:pt>
              </c:strCache>
            </c:strRef>
          </c:cat>
          <c:val>
            <c:numRef>
              <c:f>Sheet1!$C$2:$C$6</c:f>
              <c:numCache>
                <c:formatCode>General</c:formatCode>
                <c:ptCount val="5"/>
                <c:pt idx="0">
                  <c:v>0.31388329979879276</c:v>
                </c:pt>
                <c:pt idx="1">
                  <c:v>0.15090543259557346</c:v>
                </c:pt>
                <c:pt idx="2">
                  <c:v>0.21126760563380284</c:v>
                </c:pt>
                <c:pt idx="3">
                  <c:v>0.14285714285714288</c:v>
                </c:pt>
                <c:pt idx="4">
                  <c:v>0.18108651911468815</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Bottega</c:v>
                </c:pt>
                <c:pt idx="1">
                  <c:v>Savian</c:v>
                </c:pt>
                <c:pt idx="2">
                  <c:v>Contarini</c:v>
                </c:pt>
                <c:pt idx="3">
                  <c:v>Vilaveroni</c:v>
                </c:pt>
                <c:pt idx="4">
                  <c:v>Others</c:v>
                </c:pt>
              </c:strCache>
            </c:strRef>
          </c:cat>
          <c:val>
            <c:numRef>
              <c:f>Sheet1!$D$2:$D$6</c:f>
              <c:numCache>
                <c:formatCode>General</c:formatCode>
                <c:ptCount val="5"/>
                <c:pt idx="0">
                  <c:v>93.091173032892314</c:v>
                </c:pt>
                <c:pt idx="1">
                  <c:v>106.4700638097658</c:v>
                </c:pt>
                <c:pt idx="2">
                  <c:v>336.71546824808507</c:v>
                </c:pt>
                <c:pt idx="3">
                  <c:v>493.42008486562941</c:v>
                </c:pt>
                <c:pt idx="4">
                  <c:v>42.17292647145424</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Bottega</c:v>
                </c:pt>
                <c:pt idx="1">
                  <c:v>Savian</c:v>
                </c:pt>
                <c:pt idx="2">
                  <c:v>Contarini</c:v>
                </c:pt>
                <c:pt idx="3">
                  <c:v>Others</c:v>
                </c:pt>
              </c:strCache>
            </c:strRef>
          </c:cat>
          <c:val>
            <c:numRef>
              <c:f>Sheet1!$B$2:$B$5</c:f>
              <c:numCache>
                <c:formatCode>General</c:formatCode>
                <c:ptCount val="4"/>
                <c:pt idx="0">
                  <c:v>0.36477049049246596</c:v>
                </c:pt>
                <c:pt idx="1">
                  <c:v>0.20176098210776849</c:v>
                </c:pt>
                <c:pt idx="2">
                  <c:v>5.2122586539230381E-2</c:v>
                </c:pt>
                <c:pt idx="3">
                  <c:v>0.38134594086053519</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Bottega</c:v>
                </c:pt>
                <c:pt idx="1">
                  <c:v>Savian</c:v>
                </c:pt>
                <c:pt idx="2">
                  <c:v>Contarini</c:v>
                </c:pt>
                <c:pt idx="3">
                  <c:v>Others</c:v>
                </c:pt>
              </c:strCache>
            </c:strRef>
          </c:cat>
          <c:val>
            <c:numRef>
              <c:f>Sheet1!$C$2:$C$5</c:f>
              <c:numCache>
                <c:formatCode>General</c:formatCode>
                <c:ptCount val="4"/>
                <c:pt idx="0">
                  <c:v>0.32412060301507545</c:v>
                </c:pt>
                <c:pt idx="1">
                  <c:v>0.20603015075376885</c:v>
                </c:pt>
                <c:pt idx="2">
                  <c:v>0.24371859296482415</c:v>
                </c:pt>
                <c:pt idx="3">
                  <c:v>0.22613065326633169</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Bottega</c:v>
                </c:pt>
                <c:pt idx="1">
                  <c:v>Savian</c:v>
                </c:pt>
                <c:pt idx="2">
                  <c:v>Contarini</c:v>
                </c:pt>
                <c:pt idx="3">
                  <c:v>Others</c:v>
                </c:pt>
              </c:strCache>
            </c:strRef>
          </c:cat>
          <c:val>
            <c:numRef>
              <c:f>Sheet1!$D$2:$D$5</c:f>
              <c:numCache>
                <c:formatCode>General</c:formatCode>
                <c:ptCount val="4"/>
                <c:pt idx="0">
                  <c:v>88.856037279081903</c:v>
                </c:pt>
                <c:pt idx="1">
                  <c:v>102.11595354136411</c:v>
                </c:pt>
                <c:pt idx="2">
                  <c:v>467.58729592474822</c:v>
                </c:pt>
                <c:pt idx="3">
                  <c:v>59.298035992215162</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Bottega</c:v>
                </c:pt>
                <c:pt idx="1">
                  <c:v>Savian</c:v>
                </c:pt>
                <c:pt idx="2">
                  <c:v>Contarini</c:v>
                </c:pt>
                <c:pt idx="3">
                  <c:v>Others</c:v>
                </c:pt>
              </c:strCache>
            </c:strRef>
          </c:cat>
          <c:val>
            <c:numRef>
              <c:f>Sheet1!$B$2:$B$5</c:f>
              <c:numCache>
                <c:formatCode>General</c:formatCode>
                <c:ptCount val="4"/>
                <c:pt idx="0">
                  <c:v>0.40206762669734381</c:v>
                </c:pt>
                <c:pt idx="1">
                  <c:v>0.16465519012305102</c:v>
                </c:pt>
                <c:pt idx="2">
                  <c:v>4.2379670905318516E-2</c:v>
                </c:pt>
                <c:pt idx="3">
                  <c:v>0.39089751227428665</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Bottega</c:v>
                </c:pt>
                <c:pt idx="1">
                  <c:v>Savian</c:v>
                </c:pt>
                <c:pt idx="2">
                  <c:v>Contarini</c:v>
                </c:pt>
                <c:pt idx="3">
                  <c:v>Others</c:v>
                </c:pt>
              </c:strCache>
            </c:strRef>
          </c:cat>
          <c:val>
            <c:numRef>
              <c:f>Sheet1!$C$2:$C$5</c:f>
              <c:numCache>
                <c:formatCode>General</c:formatCode>
                <c:ptCount val="4"/>
                <c:pt idx="0">
                  <c:v>0.37416481069042318</c:v>
                </c:pt>
                <c:pt idx="1">
                  <c:v>0.1692650334075724</c:v>
                </c:pt>
                <c:pt idx="2">
                  <c:v>0.23830734966592432</c:v>
                </c:pt>
                <c:pt idx="3">
                  <c:v>0.21826280623608021</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Bottega</c:v>
                </c:pt>
                <c:pt idx="1">
                  <c:v>Savian</c:v>
                </c:pt>
                <c:pt idx="2">
                  <c:v>Contarini</c:v>
                </c:pt>
                <c:pt idx="3">
                  <c:v>Others</c:v>
                </c:pt>
              </c:strCache>
            </c:strRef>
          </c:cat>
          <c:val>
            <c:numRef>
              <c:f>Sheet1!$D$2:$D$5</c:f>
              <c:numCache>
                <c:formatCode>General</c:formatCode>
                <c:ptCount val="4"/>
                <c:pt idx="0">
                  <c:v>93.060168450735659</c:v>
                </c:pt>
                <c:pt idx="1">
                  <c:v>102.7996950968119</c:v>
                </c:pt>
                <c:pt idx="2">
                  <c:v>562.31524354762621</c:v>
                </c:pt>
                <c:pt idx="3">
                  <c:v>55.836325221463326</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Bottega</c:v>
                </c:pt>
                <c:pt idx="1">
                  <c:v>Savian</c:v>
                </c:pt>
                <c:pt idx="2">
                  <c:v>Contarini</c:v>
                </c:pt>
                <c:pt idx="3">
                  <c:v>Vilaveroni</c:v>
                </c:pt>
                <c:pt idx="4">
                  <c:v>Others</c:v>
                </c:pt>
              </c:strCache>
            </c:strRef>
          </c:cat>
          <c:val>
            <c:numRef>
              <c:f>Sheet1!$B$2:$B$6</c:f>
              <c:numCache>
                <c:formatCode>General</c:formatCode>
                <c:ptCount val="5"/>
                <c:pt idx="0">
                  <c:v>0.31833222519443971</c:v>
                </c:pt>
                <c:pt idx="1">
                  <c:v>0.17617862168138171</c:v>
                </c:pt>
                <c:pt idx="2">
                  <c:v>6.3851993876888349E-2</c:v>
                </c:pt>
                <c:pt idx="3">
                  <c:v>5.9731263432962749E-2</c:v>
                </c:pt>
                <c:pt idx="4">
                  <c:v>0.38190589581432749</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Bottega</c:v>
                </c:pt>
                <c:pt idx="1">
                  <c:v>Savian</c:v>
                </c:pt>
                <c:pt idx="2">
                  <c:v>Contarini</c:v>
                </c:pt>
                <c:pt idx="3">
                  <c:v>Vilaveroni</c:v>
                </c:pt>
                <c:pt idx="4">
                  <c:v>Others</c:v>
                </c:pt>
              </c:strCache>
            </c:strRef>
          </c:cat>
          <c:val>
            <c:numRef>
              <c:f>Sheet1!$C$2:$C$6</c:f>
              <c:numCache>
                <c:formatCode>General</c:formatCode>
                <c:ptCount val="5"/>
                <c:pt idx="0">
                  <c:v>0.25486381322957208</c:v>
                </c:pt>
                <c:pt idx="1">
                  <c:v>0.14202334630350197</c:v>
                </c:pt>
                <c:pt idx="2">
                  <c:v>0.2392996108949417</c:v>
                </c:pt>
                <c:pt idx="3">
                  <c:v>0.18287937743190666</c:v>
                </c:pt>
                <c:pt idx="4">
                  <c:v>0.18093385214007787</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Bottega</c:v>
                </c:pt>
                <c:pt idx="1">
                  <c:v>Savian</c:v>
                </c:pt>
                <c:pt idx="2">
                  <c:v>Contarini</c:v>
                </c:pt>
                <c:pt idx="3">
                  <c:v>Vilaveroni</c:v>
                </c:pt>
                <c:pt idx="4">
                  <c:v>Others</c:v>
                </c:pt>
              </c:strCache>
            </c:strRef>
          </c:cat>
          <c:val>
            <c:numRef>
              <c:f>Sheet1!$D$2:$D$6</c:f>
              <c:numCache>
                <c:formatCode>General</c:formatCode>
                <c:ptCount val="5"/>
                <c:pt idx="0">
                  <c:v>80.062209559179678</c:v>
                </c:pt>
                <c:pt idx="1">
                  <c:v>80.613269049380236</c:v>
                </c:pt>
                <c:pt idx="2">
                  <c:v>374.77233891290871</c:v>
                </c:pt>
                <c:pt idx="3">
                  <c:v>306.17028155976442</c:v>
                </c:pt>
                <c:pt idx="4">
                  <c:v>47.37655378539719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Bottega</c:v>
                </c:pt>
                <c:pt idx="1">
                  <c:v>Savian</c:v>
                </c:pt>
                <c:pt idx="2">
                  <c:v>Contarini</c:v>
                </c:pt>
                <c:pt idx="3">
                  <c:v>Others</c:v>
                </c:pt>
              </c:strCache>
            </c:strRef>
          </c:cat>
          <c:val>
            <c:numRef>
              <c:f>Sheet1!$B$2:$B$5</c:f>
              <c:numCache>
                <c:formatCode>General</c:formatCode>
                <c:ptCount val="4"/>
                <c:pt idx="0">
                  <c:v>0.31830225947873009</c:v>
                </c:pt>
                <c:pt idx="1">
                  <c:v>0.1338102808691044</c:v>
                </c:pt>
                <c:pt idx="2">
                  <c:v>5.5017584429349134E-2</c:v>
                </c:pt>
                <c:pt idx="3">
                  <c:v>0.49286987522281639</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Bottega</c:v>
                </c:pt>
                <c:pt idx="1">
                  <c:v>Savian</c:v>
                </c:pt>
                <c:pt idx="2">
                  <c:v>Contarini</c:v>
                </c:pt>
                <c:pt idx="3">
                  <c:v>Others</c:v>
                </c:pt>
              </c:strCache>
            </c:strRef>
          </c:cat>
          <c:val>
            <c:numRef>
              <c:f>Sheet1!$C$2:$C$5</c:f>
              <c:numCache>
                <c:formatCode>General</c:formatCode>
                <c:ptCount val="4"/>
                <c:pt idx="0">
                  <c:v>0.35071090047393366</c:v>
                </c:pt>
                <c:pt idx="1">
                  <c:v>0.1658767772511848</c:v>
                </c:pt>
                <c:pt idx="2">
                  <c:v>0.24881516587677721</c:v>
                </c:pt>
                <c:pt idx="3">
                  <c:v>0.2345971563981042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Bottega</c:v>
                </c:pt>
                <c:pt idx="1">
                  <c:v>Savian</c:v>
                </c:pt>
                <c:pt idx="2">
                  <c:v>Contarini</c:v>
                </c:pt>
                <c:pt idx="3">
                  <c:v>Others</c:v>
                </c:pt>
              </c:strCache>
            </c:strRef>
          </c:cat>
          <c:val>
            <c:numRef>
              <c:f>Sheet1!$D$2:$D$5</c:f>
              <c:numCache>
                <c:formatCode>General</c:formatCode>
                <c:ptCount val="4"/>
                <c:pt idx="0">
                  <c:v>110.1817188003245</c:v>
                </c:pt>
                <c:pt idx="1">
                  <c:v>123.96414996949929</c:v>
                </c:pt>
                <c:pt idx="2">
                  <c:v>452.2466197989724</c:v>
                </c:pt>
                <c:pt idx="3">
                  <c:v>47.59819339578172</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Savian</c:v>
                </c:pt>
                <c:pt idx="1">
                  <c:v>Bottega</c:v>
                </c:pt>
                <c:pt idx="2">
                  <c:v>Contarini</c:v>
                </c:pt>
                <c:pt idx="3">
                  <c:v>Others</c:v>
                </c:pt>
              </c:strCache>
            </c:strRef>
          </c:cat>
          <c:val>
            <c:numRef>
              <c:f>Sheet1!$B$2:$B$5</c:f>
              <c:numCache>
                <c:formatCode>General</c:formatCode>
                <c:ptCount val="4"/>
                <c:pt idx="0">
                  <c:v>0.2261480032224652</c:v>
                </c:pt>
                <c:pt idx="1">
                  <c:v>0.19835424099436069</c:v>
                </c:pt>
                <c:pt idx="2">
                  <c:v>0.10214063758775463</c:v>
                </c:pt>
                <c:pt idx="3">
                  <c:v>0.4733571181954194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Savian</c:v>
                </c:pt>
                <c:pt idx="1">
                  <c:v>Bottega</c:v>
                </c:pt>
                <c:pt idx="2">
                  <c:v>Contarini</c:v>
                </c:pt>
                <c:pt idx="3">
                  <c:v>Others</c:v>
                </c:pt>
              </c:strCache>
            </c:strRef>
          </c:cat>
          <c:val>
            <c:numRef>
              <c:f>Sheet1!$C$2:$C$5</c:f>
              <c:numCache>
                <c:formatCode>General</c:formatCode>
                <c:ptCount val="4"/>
                <c:pt idx="0">
                  <c:v>0.20718232044198895</c:v>
                </c:pt>
                <c:pt idx="1">
                  <c:v>0.27071823204419887</c:v>
                </c:pt>
                <c:pt idx="2">
                  <c:v>0.27071823204419887</c:v>
                </c:pt>
                <c:pt idx="3">
                  <c:v>0.25138121546961328</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Savian</c:v>
                </c:pt>
                <c:pt idx="1">
                  <c:v>Bottega</c:v>
                </c:pt>
                <c:pt idx="2">
                  <c:v>Contarini</c:v>
                </c:pt>
                <c:pt idx="3">
                  <c:v>Others</c:v>
                </c:pt>
              </c:strCache>
            </c:strRef>
          </c:cat>
          <c:val>
            <c:numRef>
              <c:f>Sheet1!$D$2:$D$5</c:f>
              <c:numCache>
                <c:formatCode>General</c:formatCode>
                <c:ptCount val="4"/>
                <c:pt idx="0">
                  <c:v>91.613597064653533</c:v>
                </c:pt>
                <c:pt idx="1">
                  <c:v>136.48220007148498</c:v>
                </c:pt>
                <c:pt idx="2">
                  <c:v>265.04458796980776</c:v>
                </c:pt>
                <c:pt idx="3">
                  <c:v>53.10603893059737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Bottega</c:v>
                </c:pt>
                <c:pt idx="1">
                  <c:v>Savian</c:v>
                </c:pt>
                <c:pt idx="2">
                  <c:v>Contarini</c:v>
                </c:pt>
                <c:pt idx="3">
                  <c:v>Vilaveroni</c:v>
                </c:pt>
                <c:pt idx="4">
                  <c:v>Others</c:v>
                </c:pt>
              </c:strCache>
            </c:strRef>
          </c:cat>
          <c:val>
            <c:numRef>
              <c:f>Sheet1!$B$2:$B$6</c:f>
              <c:numCache>
                <c:formatCode>General</c:formatCode>
                <c:ptCount val="5"/>
                <c:pt idx="0">
                  <c:v>0.38956439993706293</c:v>
                </c:pt>
                <c:pt idx="1">
                  <c:v>0.19302753097558401</c:v>
                </c:pt>
                <c:pt idx="2">
                  <c:v>3.9552748616281178E-2</c:v>
                </c:pt>
                <c:pt idx="3">
                  <c:v>1.5308042996361203E-2</c:v>
                </c:pt>
                <c:pt idx="4">
                  <c:v>0.36254727747471066</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Bottega</c:v>
                </c:pt>
                <c:pt idx="1">
                  <c:v>Savian</c:v>
                </c:pt>
                <c:pt idx="2">
                  <c:v>Contarini</c:v>
                </c:pt>
                <c:pt idx="3">
                  <c:v>Vilaveroni</c:v>
                </c:pt>
                <c:pt idx="4">
                  <c:v>Others</c:v>
                </c:pt>
              </c:strCache>
            </c:strRef>
          </c:cat>
          <c:val>
            <c:numRef>
              <c:f>Sheet1!$C$2:$C$6</c:f>
              <c:numCache>
                <c:formatCode>General</c:formatCode>
                <c:ptCount val="5"/>
                <c:pt idx="0">
                  <c:v>0.34897959183673471</c:v>
                </c:pt>
                <c:pt idx="1">
                  <c:v>0.18979591836734697</c:v>
                </c:pt>
                <c:pt idx="2">
                  <c:v>0.22653061224489796</c:v>
                </c:pt>
                <c:pt idx="3">
                  <c:v>3.4693877551020415E-2</c:v>
                </c:pt>
                <c:pt idx="4">
                  <c:v>0.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Bottega</c:v>
                </c:pt>
                <c:pt idx="1">
                  <c:v>Savian</c:v>
                </c:pt>
                <c:pt idx="2">
                  <c:v>Contarini</c:v>
                </c:pt>
                <c:pt idx="3">
                  <c:v>Vilaveroni</c:v>
                </c:pt>
                <c:pt idx="4">
                  <c:v>Others</c:v>
                </c:pt>
              </c:strCache>
            </c:strRef>
          </c:cat>
          <c:val>
            <c:numRef>
              <c:f>Sheet1!$D$2:$D$6</c:f>
              <c:numCache>
                <c:formatCode>General</c:formatCode>
                <c:ptCount val="5"/>
                <c:pt idx="0">
                  <c:v>89.58200284551539</c:v>
                </c:pt>
                <c:pt idx="1">
                  <c:v>98.325828138657684</c:v>
                </c:pt>
                <c:pt idx="2">
                  <c:v>572.73039212160018</c:v>
                </c:pt>
                <c:pt idx="3">
                  <c:v>226.63822906211669</c:v>
                </c:pt>
                <c:pt idx="4">
                  <c:v>55.165219111030538</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Bottega</c:v>
                </c:pt>
                <c:pt idx="1">
                  <c:v>Savian</c:v>
                </c:pt>
                <c:pt idx="2">
                  <c:v>Contarini</c:v>
                </c:pt>
                <c:pt idx="3">
                  <c:v>Others</c:v>
                </c:pt>
              </c:strCache>
            </c:strRef>
          </c:cat>
          <c:val>
            <c:numRef>
              <c:f>Sheet1!$B$2:$B$5</c:f>
              <c:numCache>
                <c:formatCode>General</c:formatCode>
                <c:ptCount val="4"/>
                <c:pt idx="0">
                  <c:v>0.34763884952345497</c:v>
                </c:pt>
                <c:pt idx="1">
                  <c:v>0.16725820575407485</c:v>
                </c:pt>
                <c:pt idx="2">
                  <c:v>5.1639458688856082E-2</c:v>
                </c:pt>
                <c:pt idx="3">
                  <c:v>0.43346348603361406</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Bottega</c:v>
                </c:pt>
                <c:pt idx="1">
                  <c:v>Savian</c:v>
                </c:pt>
                <c:pt idx="2">
                  <c:v>Contarini</c:v>
                </c:pt>
                <c:pt idx="3">
                  <c:v>Others</c:v>
                </c:pt>
              </c:strCache>
            </c:strRef>
          </c:cat>
          <c:val>
            <c:numRef>
              <c:f>Sheet1!$C$2:$C$5</c:f>
              <c:numCache>
                <c:formatCode>General</c:formatCode>
                <c:ptCount val="4"/>
                <c:pt idx="0">
                  <c:v>0.32850241545893716</c:v>
                </c:pt>
                <c:pt idx="1">
                  <c:v>0.18115942028985504</c:v>
                </c:pt>
                <c:pt idx="2">
                  <c:v>0.25120772946859898</c:v>
                </c:pt>
                <c:pt idx="3">
                  <c:v>0.23913043478260865</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Bottega</c:v>
                </c:pt>
                <c:pt idx="1">
                  <c:v>Savian</c:v>
                </c:pt>
                <c:pt idx="2">
                  <c:v>Contarini</c:v>
                </c:pt>
                <c:pt idx="3">
                  <c:v>Others</c:v>
                </c:pt>
              </c:strCache>
            </c:strRef>
          </c:cat>
          <c:val>
            <c:numRef>
              <c:f>Sheet1!$D$2:$D$5</c:f>
              <c:numCache>
                <c:formatCode>General</c:formatCode>
                <c:ptCount val="4"/>
                <c:pt idx="0">
                  <c:v>94.495311990949759</c:v>
                </c:pt>
                <c:pt idx="1">
                  <c:v>108.31123021624398</c:v>
                </c:pt>
                <c:pt idx="2">
                  <c:v>486.46468388099163</c:v>
                </c:pt>
                <c:pt idx="3">
                  <c:v>55.167376835073178</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Nicolas</c:v>
                </c:pt>
                <c:pt idx="2">
                  <c:v>Deutz</c:v>
                </c:pt>
                <c:pt idx="3">
                  <c:v>Malard</c:v>
                </c:pt>
                <c:pt idx="4">
                  <c:v>Laurent Perrier</c:v>
                </c:pt>
                <c:pt idx="5">
                  <c:v>Nicolas Feuillatte</c:v>
                </c:pt>
                <c:pt idx="6">
                  <c:v>De Bligny</c:v>
                </c:pt>
                <c:pt idx="7">
                  <c:v>Canard Duchêne</c:v>
                </c:pt>
                <c:pt idx="8">
                  <c:v>Heidsieck &amp; Co Monopole</c:v>
                </c:pt>
                <c:pt idx="9">
                  <c:v>Others</c:v>
                </c:pt>
              </c:strCache>
            </c:strRef>
          </c:cat>
          <c:val>
            <c:numRef>
              <c:f>Sheet1!$B$2:$B$11</c:f>
              <c:numCache>
                <c:formatCode>General</c:formatCode>
                <c:ptCount val="10"/>
                <c:pt idx="0">
                  <c:v>0.26011436020521261</c:v>
                </c:pt>
                <c:pt idx="1">
                  <c:v>0.10220354664459348</c:v>
                </c:pt>
                <c:pt idx="2">
                  <c:v>7.0919646650251314E-2</c:v>
                </c:pt>
                <c:pt idx="3">
                  <c:v>5.4383480824029246E-2</c:v>
                </c:pt>
                <c:pt idx="4">
                  <c:v>4.1360159753697785E-2</c:v>
                </c:pt>
                <c:pt idx="5">
                  <c:v>3.4903278829528137E-2</c:v>
                </c:pt>
                <c:pt idx="6">
                  <c:v>3.453707304198865E-2</c:v>
                </c:pt>
                <c:pt idx="7">
                  <c:v>3.3806541961018503E-2</c:v>
                </c:pt>
                <c:pt idx="8">
                  <c:v>3.0176043682406457E-2</c:v>
                </c:pt>
                <c:pt idx="9">
                  <c:v>0.33759586840727385</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Nicolas</c:v>
                </c:pt>
                <c:pt idx="2">
                  <c:v>Deutz</c:v>
                </c:pt>
                <c:pt idx="3">
                  <c:v>Malard</c:v>
                </c:pt>
                <c:pt idx="4">
                  <c:v>Laurent Perrier</c:v>
                </c:pt>
                <c:pt idx="5">
                  <c:v>Nicolas Feuillatte</c:v>
                </c:pt>
                <c:pt idx="6">
                  <c:v>De Bligny</c:v>
                </c:pt>
                <c:pt idx="7">
                  <c:v>Canard Duchêne</c:v>
                </c:pt>
                <c:pt idx="8">
                  <c:v>Heidsieck &amp; Co Monopole</c:v>
                </c:pt>
                <c:pt idx="9">
                  <c:v>Others</c:v>
                </c:pt>
              </c:strCache>
            </c:strRef>
          </c:cat>
          <c:val>
            <c:numRef>
              <c:f>Sheet1!$C$2:$C$11</c:f>
              <c:numCache>
                <c:formatCode>General</c:formatCode>
                <c:ptCount val="10"/>
                <c:pt idx="0">
                  <c:v>0.11733597752437604</c:v>
                </c:pt>
                <c:pt idx="1">
                  <c:v>9.7339282763179616E-2</c:v>
                </c:pt>
                <c:pt idx="2">
                  <c:v>5.9659560403239081E-2</c:v>
                </c:pt>
                <c:pt idx="3">
                  <c:v>5.7015369360436254E-2</c:v>
                </c:pt>
                <c:pt idx="4">
                  <c:v>4.5942819368699352E-2</c:v>
                </c:pt>
                <c:pt idx="5">
                  <c:v>4.115022310361921E-2</c:v>
                </c:pt>
                <c:pt idx="6">
                  <c:v>2.6111386547678056E-2</c:v>
                </c:pt>
                <c:pt idx="7">
                  <c:v>4.5281771607998643E-2</c:v>
                </c:pt>
                <c:pt idx="8">
                  <c:v>1.4708312675590803E-2</c:v>
                </c:pt>
                <c:pt idx="9">
                  <c:v>0.49545529664518234</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Nicolas</c:v>
                </c:pt>
                <c:pt idx="2">
                  <c:v>Deutz</c:v>
                </c:pt>
                <c:pt idx="3">
                  <c:v>Malard</c:v>
                </c:pt>
                <c:pt idx="4">
                  <c:v>Laurent Perrier</c:v>
                </c:pt>
                <c:pt idx="5">
                  <c:v>Nicolas Feuillatte</c:v>
                </c:pt>
                <c:pt idx="6">
                  <c:v>De Bligny</c:v>
                </c:pt>
                <c:pt idx="7">
                  <c:v>Canard Duchêne</c:v>
                </c:pt>
                <c:pt idx="8">
                  <c:v>Heidsieck &amp; Co Monopole</c:v>
                </c:pt>
                <c:pt idx="9">
                  <c:v>Others</c:v>
                </c:pt>
              </c:strCache>
            </c:strRef>
          </c:cat>
          <c:val>
            <c:numRef>
              <c:f>Sheet1!$D$2:$D$11</c:f>
              <c:numCache>
                <c:formatCode>General</c:formatCode>
                <c:ptCount val="10"/>
                <c:pt idx="0">
                  <c:v>45.109380901464228</c:v>
                </c:pt>
                <c:pt idx="1">
                  <c:v>95.240611464953318</c:v>
                </c:pt>
                <c:pt idx="2">
                  <c:v>84.122754724734193</c:v>
                </c:pt>
                <c:pt idx="3">
                  <c:v>104.83949996676954</c:v>
                </c:pt>
                <c:pt idx="4">
                  <c:v>111.079888574637</c:v>
                </c:pt>
                <c:pt idx="5">
                  <c:v>117.89787230191729</c:v>
                </c:pt>
                <c:pt idx="6">
                  <c:v>75.603935851578925</c:v>
                </c:pt>
                <c:pt idx="7">
                  <c:v>133.94381377489583</c:v>
                </c:pt>
                <c:pt idx="8">
                  <c:v>48.741686718084225</c:v>
                </c:pt>
                <c:pt idx="9">
                  <c:v>146.75988156569136</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Bottega</c:v>
                </c:pt>
                <c:pt idx="1">
                  <c:v>Savian</c:v>
                </c:pt>
                <c:pt idx="2">
                  <c:v>Contarini</c:v>
                </c:pt>
                <c:pt idx="3">
                  <c:v>Others</c:v>
                </c:pt>
              </c:strCache>
            </c:strRef>
          </c:cat>
          <c:val>
            <c:numRef>
              <c:f>Sheet1!$B$2:$B$5</c:f>
              <c:numCache>
                <c:formatCode>General</c:formatCode>
                <c:ptCount val="4"/>
                <c:pt idx="0">
                  <c:v>0.36716607495261017</c:v>
                </c:pt>
                <c:pt idx="1">
                  <c:v>0.20995344966456017</c:v>
                </c:pt>
                <c:pt idx="2">
                  <c:v>4.6482201127622864E-2</c:v>
                </c:pt>
                <c:pt idx="3">
                  <c:v>0.3763982742552067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Bottega</c:v>
                </c:pt>
                <c:pt idx="1">
                  <c:v>Savian</c:v>
                </c:pt>
                <c:pt idx="2">
                  <c:v>Contarini</c:v>
                </c:pt>
                <c:pt idx="3">
                  <c:v>Others</c:v>
                </c:pt>
              </c:strCache>
            </c:strRef>
          </c:cat>
          <c:val>
            <c:numRef>
              <c:f>Sheet1!$C$2:$C$5</c:f>
              <c:numCache>
                <c:formatCode>General</c:formatCode>
                <c:ptCount val="4"/>
                <c:pt idx="0">
                  <c:v>0.34558823529411775</c:v>
                </c:pt>
                <c:pt idx="1">
                  <c:v>0.19607843137254907</c:v>
                </c:pt>
                <c:pt idx="2">
                  <c:v>0.22794117647058826</c:v>
                </c:pt>
                <c:pt idx="3">
                  <c:v>0.23039215686274514</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Bottega</c:v>
                </c:pt>
                <c:pt idx="1">
                  <c:v>Savian</c:v>
                </c:pt>
                <c:pt idx="2">
                  <c:v>Contarini</c:v>
                </c:pt>
                <c:pt idx="3">
                  <c:v>Others</c:v>
                </c:pt>
              </c:strCache>
            </c:strRef>
          </c:cat>
          <c:val>
            <c:numRef>
              <c:f>Sheet1!$D$2:$D$5</c:f>
              <c:numCache>
                <c:formatCode>General</c:formatCode>
                <c:ptCount val="4"/>
                <c:pt idx="0">
                  <c:v>94.123139056004163</c:v>
                </c:pt>
                <c:pt idx="1">
                  <c:v>93.391383511831293</c:v>
                </c:pt>
                <c:pt idx="2">
                  <c:v>490.38378334267441</c:v>
                </c:pt>
                <c:pt idx="3">
                  <c:v>61.209674066288066</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Bottega</c:v>
                </c:pt>
                <c:pt idx="1">
                  <c:v>Savian</c:v>
                </c:pt>
                <c:pt idx="2">
                  <c:v>Contarini</c:v>
                </c:pt>
                <c:pt idx="3">
                  <c:v>Others</c:v>
                </c:pt>
              </c:strCache>
            </c:strRef>
          </c:cat>
          <c:val>
            <c:numRef>
              <c:f>Sheet1!$B$2:$B$5</c:f>
              <c:numCache>
                <c:formatCode>General</c:formatCode>
                <c:ptCount val="4"/>
                <c:pt idx="0">
                  <c:v>0.34219532076285175</c:v>
                </c:pt>
                <c:pt idx="1">
                  <c:v>0.19031210633037596</c:v>
                </c:pt>
                <c:pt idx="2">
                  <c:v>5.7779753844910166E-2</c:v>
                </c:pt>
                <c:pt idx="3">
                  <c:v>0.40971281906186213</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Bottega</c:v>
                </c:pt>
                <c:pt idx="1">
                  <c:v>Savian</c:v>
                </c:pt>
                <c:pt idx="2">
                  <c:v>Contarini</c:v>
                </c:pt>
                <c:pt idx="3">
                  <c:v>Others</c:v>
                </c:pt>
              </c:strCache>
            </c:strRef>
          </c:cat>
          <c:val>
            <c:numRef>
              <c:f>Sheet1!$C$2:$C$5</c:f>
              <c:numCache>
                <c:formatCode>General</c:formatCode>
                <c:ptCount val="4"/>
                <c:pt idx="0">
                  <c:v>0.31444759206798872</c:v>
                </c:pt>
                <c:pt idx="1">
                  <c:v>0.19830028328611904</c:v>
                </c:pt>
                <c:pt idx="2">
                  <c:v>0.24645892351274795</c:v>
                </c:pt>
                <c:pt idx="3">
                  <c:v>0.24079320113314454</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Bottega</c:v>
                </c:pt>
                <c:pt idx="1">
                  <c:v>Savian</c:v>
                </c:pt>
                <c:pt idx="2">
                  <c:v>Contarini</c:v>
                </c:pt>
                <c:pt idx="3">
                  <c:v>Others</c:v>
                </c:pt>
              </c:strCache>
            </c:strRef>
          </c:cat>
          <c:val>
            <c:numRef>
              <c:f>Sheet1!$D$2:$D$5</c:f>
              <c:numCache>
                <c:formatCode>General</c:formatCode>
                <c:ptCount val="4"/>
                <c:pt idx="0">
                  <c:v>91.891260046161534</c:v>
                </c:pt>
                <c:pt idx="1">
                  <c:v>104.19740872494778</c:v>
                </c:pt>
                <c:pt idx="2">
                  <c:v>426.54893299525298</c:v>
                </c:pt>
                <c:pt idx="3">
                  <c:v>58.771214843728728</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Bottega</c:v>
                </c:pt>
                <c:pt idx="1">
                  <c:v>Savian</c:v>
                </c:pt>
                <c:pt idx="2">
                  <c:v>Contarini</c:v>
                </c:pt>
                <c:pt idx="3">
                  <c:v>Others</c:v>
                </c:pt>
              </c:strCache>
            </c:strRef>
          </c:cat>
          <c:val>
            <c:numRef>
              <c:f>Sheet1!$B$2:$B$5</c:f>
              <c:numCache>
                <c:formatCode>General</c:formatCode>
                <c:ptCount val="4"/>
                <c:pt idx="0">
                  <c:v>0.304729402213964</c:v>
                </c:pt>
                <c:pt idx="1">
                  <c:v>0.17558413102505191</c:v>
                </c:pt>
                <c:pt idx="2">
                  <c:v>8.9098454008425518E-2</c:v>
                </c:pt>
                <c:pt idx="3">
                  <c:v>0.43058801275255859</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Bottega</c:v>
                </c:pt>
                <c:pt idx="1">
                  <c:v>Savian</c:v>
                </c:pt>
                <c:pt idx="2">
                  <c:v>Contarini</c:v>
                </c:pt>
                <c:pt idx="3">
                  <c:v>Others</c:v>
                </c:pt>
              </c:strCache>
            </c:strRef>
          </c:cat>
          <c:val>
            <c:numRef>
              <c:f>Sheet1!$C$2:$C$5</c:f>
              <c:numCache>
                <c:formatCode>General</c:formatCode>
                <c:ptCount val="4"/>
                <c:pt idx="0">
                  <c:v>0.28239202657807322</c:v>
                </c:pt>
                <c:pt idx="1">
                  <c:v>0.18936877076411965</c:v>
                </c:pt>
                <c:pt idx="2">
                  <c:v>0.27906976744186057</c:v>
                </c:pt>
                <c:pt idx="3">
                  <c:v>0.2491694352159469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Bottega</c:v>
                </c:pt>
                <c:pt idx="1">
                  <c:v>Savian</c:v>
                </c:pt>
                <c:pt idx="2">
                  <c:v>Contarini</c:v>
                </c:pt>
                <c:pt idx="3">
                  <c:v>Others</c:v>
                </c:pt>
              </c:strCache>
            </c:strRef>
          </c:cat>
          <c:val>
            <c:numRef>
              <c:f>Sheet1!$D$2:$D$5</c:f>
              <c:numCache>
                <c:formatCode>General</c:formatCode>
                <c:ptCount val="4"/>
                <c:pt idx="0">
                  <c:v>92.669766857545724</c:v>
                </c:pt>
                <c:pt idx="1">
                  <c:v>107.85073210124038</c:v>
                </c:pt>
                <c:pt idx="2">
                  <c:v>313.21505019096134</c:v>
                </c:pt>
                <c:pt idx="3">
                  <c:v>57.867248468696801</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Bouvet-Ladubay</c:v>
                </c:pt>
                <c:pt idx="1">
                  <c:v>French Bloom Sas</c:v>
                </c:pt>
                <c:pt idx="2">
                  <c:v>De Chanceny</c:v>
                </c:pt>
                <c:pt idx="3">
                  <c:v>Others</c:v>
                </c:pt>
              </c:strCache>
            </c:strRef>
          </c:cat>
          <c:val>
            <c:numRef>
              <c:f>Sheet1!$B$2:$B$5</c:f>
              <c:numCache>
                <c:formatCode>General</c:formatCode>
                <c:ptCount val="4"/>
                <c:pt idx="0">
                  <c:v>0.2785350251630006</c:v>
                </c:pt>
                <c:pt idx="1">
                  <c:v>0.25772661529125662</c:v>
                </c:pt>
                <c:pt idx="2">
                  <c:v>0.14421707251415561</c:v>
                </c:pt>
                <c:pt idx="3">
                  <c:v>0.31952128703158722</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Bouvet-Ladubay</c:v>
                </c:pt>
                <c:pt idx="1">
                  <c:v>French Bloom Sas</c:v>
                </c:pt>
                <c:pt idx="2">
                  <c:v>De Chanceny</c:v>
                </c:pt>
                <c:pt idx="3">
                  <c:v>Others</c:v>
                </c:pt>
              </c:strCache>
            </c:strRef>
          </c:cat>
          <c:val>
            <c:numRef>
              <c:f>Sheet1!$C$2:$C$5</c:f>
              <c:numCache>
                <c:formatCode>General</c:formatCode>
                <c:ptCount val="4"/>
                <c:pt idx="0">
                  <c:v>0.28647437692523109</c:v>
                </c:pt>
                <c:pt idx="1">
                  <c:v>0.20218426211145343</c:v>
                </c:pt>
                <c:pt idx="2">
                  <c:v>0.15513861663399614</c:v>
                </c:pt>
                <c:pt idx="3">
                  <c:v>0.35620274432931953</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Bouvet-Ladubay</c:v>
                </c:pt>
                <c:pt idx="1">
                  <c:v>French Bloom Sas</c:v>
                </c:pt>
                <c:pt idx="2">
                  <c:v>De Chanceny</c:v>
                </c:pt>
                <c:pt idx="3">
                  <c:v>Others</c:v>
                </c:pt>
              </c:strCache>
            </c:strRef>
          </c:cat>
          <c:val>
            <c:numRef>
              <c:f>Sheet1!$D$2:$D$5</c:f>
              <c:numCache>
                <c:formatCode>General</c:formatCode>
                <c:ptCount val="4"/>
                <c:pt idx="0">
                  <c:v>102.85039619616396</c:v>
                </c:pt>
                <c:pt idx="1">
                  <c:v>78.449120158958038</c:v>
                </c:pt>
                <c:pt idx="2">
                  <c:v>107.57298975041149</c:v>
                </c:pt>
                <c:pt idx="3">
                  <c:v>111.48012942690295</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French Bloom Sas</c:v>
                </c:pt>
                <c:pt idx="1">
                  <c:v>Bouvet-Ladubay</c:v>
                </c:pt>
                <c:pt idx="2">
                  <c:v>De Chanceny</c:v>
                </c:pt>
                <c:pt idx="3">
                  <c:v>Others</c:v>
                </c:pt>
              </c:strCache>
            </c:strRef>
          </c:cat>
          <c:val>
            <c:numRef>
              <c:f>Sheet1!$B$2:$B$5</c:f>
              <c:numCache>
                <c:formatCode>General</c:formatCode>
                <c:ptCount val="4"/>
                <c:pt idx="0">
                  <c:v>0.27085657085657083</c:v>
                </c:pt>
                <c:pt idx="1">
                  <c:v>0.25879987129987131</c:v>
                </c:pt>
                <c:pt idx="2">
                  <c:v>0.15967217217217217</c:v>
                </c:pt>
                <c:pt idx="3">
                  <c:v>0.31067138567138569</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French Bloom Sas</c:v>
                </c:pt>
                <c:pt idx="1">
                  <c:v>Bouvet-Ladubay</c:v>
                </c:pt>
                <c:pt idx="2">
                  <c:v>De Chanceny</c:v>
                </c:pt>
                <c:pt idx="3">
                  <c:v>Others</c:v>
                </c:pt>
              </c:strCache>
            </c:strRef>
          </c:cat>
          <c:val>
            <c:numRef>
              <c:f>Sheet1!$C$2:$C$5</c:f>
              <c:numCache>
                <c:formatCode>General</c:formatCode>
                <c:ptCount val="4"/>
                <c:pt idx="0">
                  <c:v>0.2097701149425289</c:v>
                </c:pt>
                <c:pt idx="1">
                  <c:v>0.27873563218390823</c:v>
                </c:pt>
                <c:pt idx="2">
                  <c:v>0.1752873563218392</c:v>
                </c:pt>
                <c:pt idx="3">
                  <c:v>0.33620689655172448</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French Bloom Sas</c:v>
                </c:pt>
                <c:pt idx="1">
                  <c:v>Bouvet-Ladubay</c:v>
                </c:pt>
                <c:pt idx="2">
                  <c:v>De Chanceny</c:v>
                </c:pt>
                <c:pt idx="3">
                  <c:v>Others</c:v>
                </c:pt>
              </c:strCache>
            </c:strRef>
          </c:cat>
          <c:val>
            <c:numRef>
              <c:f>Sheet1!$D$2:$D$5</c:f>
              <c:numCache>
                <c:formatCode>General</c:formatCode>
                <c:ptCount val="4"/>
                <c:pt idx="0">
                  <c:v>77.446935948107537</c:v>
                </c:pt>
                <c:pt idx="1">
                  <c:v>107.70315718624812</c:v>
                </c:pt>
                <c:pt idx="2">
                  <c:v>109.77952760160952</c:v>
                </c:pt>
                <c:pt idx="3">
                  <c:v>108.2194601942996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Bouvet-Ladubay</c:v>
                </c:pt>
                <c:pt idx="1">
                  <c:v>French Bloom Sas</c:v>
                </c:pt>
                <c:pt idx="2">
                  <c:v>De Chanceny</c:v>
                </c:pt>
                <c:pt idx="3">
                  <c:v>Others</c:v>
                </c:pt>
              </c:strCache>
            </c:strRef>
          </c:cat>
          <c:val>
            <c:numRef>
              <c:f>Sheet1!$B$2:$B$5</c:f>
              <c:numCache>
                <c:formatCode>General</c:formatCode>
                <c:ptCount val="4"/>
                <c:pt idx="0">
                  <c:v>0.27903497710827579</c:v>
                </c:pt>
                <c:pt idx="1">
                  <c:v>0.25164174112691462</c:v>
                </c:pt>
                <c:pt idx="2">
                  <c:v>0.12696884646500256</c:v>
                </c:pt>
                <c:pt idx="3">
                  <c:v>0.34235443529980703</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Bouvet-Ladubay</c:v>
                </c:pt>
                <c:pt idx="1">
                  <c:v>French Bloom Sas</c:v>
                </c:pt>
                <c:pt idx="2">
                  <c:v>De Chanceny</c:v>
                </c:pt>
                <c:pt idx="3">
                  <c:v>Others</c:v>
                </c:pt>
              </c:strCache>
            </c:strRef>
          </c:cat>
          <c:val>
            <c:numRef>
              <c:f>Sheet1!$C$2:$C$5</c:f>
              <c:numCache>
                <c:formatCode>General</c:formatCode>
                <c:ptCount val="4"/>
                <c:pt idx="0">
                  <c:v>0.27974276527331216</c:v>
                </c:pt>
                <c:pt idx="1">
                  <c:v>0.20578778135048248</c:v>
                </c:pt>
                <c:pt idx="2">
                  <c:v>0.15755627009646314</c:v>
                </c:pt>
                <c:pt idx="3">
                  <c:v>0.35691318327974314</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Bouvet-Ladubay</c:v>
                </c:pt>
                <c:pt idx="1">
                  <c:v>French Bloom Sas</c:v>
                </c:pt>
                <c:pt idx="2">
                  <c:v>De Chanceny</c:v>
                </c:pt>
                <c:pt idx="3">
                  <c:v>Others</c:v>
                </c:pt>
              </c:strCache>
            </c:strRef>
          </c:cat>
          <c:val>
            <c:numRef>
              <c:f>Sheet1!$D$2:$D$5</c:f>
              <c:numCache>
                <c:formatCode>General</c:formatCode>
                <c:ptCount val="4"/>
                <c:pt idx="0">
                  <c:v>100.25365571455285</c:v>
                </c:pt>
                <c:pt idx="1">
                  <c:v>81.778078799214057</c:v>
                </c:pt>
                <c:pt idx="2">
                  <c:v>124.09049501752514</c:v>
                </c:pt>
                <c:pt idx="3">
                  <c:v>104.25253669261996</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French Bloom Sas</c:v>
                </c:pt>
                <c:pt idx="1">
                  <c:v>Bouvet-Ladubay</c:v>
                </c:pt>
                <c:pt idx="2">
                  <c:v>De Chanceny</c:v>
                </c:pt>
                <c:pt idx="3">
                  <c:v>Others</c:v>
                </c:pt>
              </c:strCache>
            </c:strRef>
          </c:cat>
          <c:val>
            <c:numRef>
              <c:f>Sheet1!$B$2:$B$5</c:f>
              <c:numCache>
                <c:formatCode>General</c:formatCode>
                <c:ptCount val="4"/>
                <c:pt idx="0">
                  <c:v>0.32880546370139835</c:v>
                </c:pt>
                <c:pt idx="1">
                  <c:v>0.24444012189586981</c:v>
                </c:pt>
                <c:pt idx="2">
                  <c:v>0.20418638829453847</c:v>
                </c:pt>
                <c:pt idx="3">
                  <c:v>0.2225680261081934</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French Bloom Sas</c:v>
                </c:pt>
                <c:pt idx="1">
                  <c:v>Bouvet-Ladubay</c:v>
                </c:pt>
                <c:pt idx="2">
                  <c:v>De Chanceny</c:v>
                </c:pt>
                <c:pt idx="3">
                  <c:v>Others</c:v>
                </c:pt>
              </c:strCache>
            </c:strRef>
          </c:cat>
          <c:val>
            <c:numRef>
              <c:f>Sheet1!$C$2:$C$5</c:f>
              <c:numCache>
                <c:formatCode>General</c:formatCode>
                <c:ptCount val="4"/>
                <c:pt idx="0">
                  <c:v>0.23478260869565229</c:v>
                </c:pt>
                <c:pt idx="1">
                  <c:v>0.26086956521739146</c:v>
                </c:pt>
                <c:pt idx="2">
                  <c:v>0.17681159420289863</c:v>
                </c:pt>
                <c:pt idx="3">
                  <c:v>0.32753623188405817</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French Bloom Sas</c:v>
                </c:pt>
                <c:pt idx="1">
                  <c:v>Bouvet-Ladubay</c:v>
                </c:pt>
                <c:pt idx="2">
                  <c:v>De Chanceny</c:v>
                </c:pt>
                <c:pt idx="3">
                  <c:v>Others</c:v>
                </c:pt>
              </c:strCache>
            </c:strRef>
          </c:cat>
          <c:val>
            <c:numRef>
              <c:f>Sheet1!$D$2:$D$5</c:f>
              <c:numCache>
                <c:formatCode>General</c:formatCode>
                <c:ptCount val="4"/>
                <c:pt idx="0">
                  <c:v>71.404716348894965</c:v>
                </c:pt>
                <c:pt idx="1">
                  <c:v>106.72125475723684</c:v>
                </c:pt>
                <c:pt idx="2">
                  <c:v>86.593232624227738</c:v>
                </c:pt>
                <c:pt idx="3">
                  <c:v>147.16230251547375</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Bouvet-Ladubay</c:v>
                </c:pt>
                <c:pt idx="1">
                  <c:v>French Bloom Sas</c:v>
                </c:pt>
                <c:pt idx="2">
                  <c:v>De Chanceny</c:v>
                </c:pt>
                <c:pt idx="3">
                  <c:v>Others</c:v>
                </c:pt>
              </c:strCache>
            </c:strRef>
          </c:cat>
          <c:val>
            <c:numRef>
              <c:f>Sheet1!$B$2:$B$5</c:f>
              <c:numCache>
                <c:formatCode>General</c:formatCode>
                <c:ptCount val="4"/>
                <c:pt idx="0">
                  <c:v>0.39658740384990826</c:v>
                </c:pt>
                <c:pt idx="1">
                  <c:v>0.31970637616649095</c:v>
                </c:pt>
                <c:pt idx="2">
                  <c:v>0.10876186013822185</c:v>
                </c:pt>
                <c:pt idx="3">
                  <c:v>0.17494435984537893</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Bouvet-Ladubay</c:v>
                </c:pt>
                <c:pt idx="1">
                  <c:v>French Bloom Sas</c:v>
                </c:pt>
                <c:pt idx="2">
                  <c:v>De Chanceny</c:v>
                </c:pt>
                <c:pt idx="3">
                  <c:v>Others</c:v>
                </c:pt>
              </c:strCache>
            </c:strRef>
          </c:cat>
          <c:val>
            <c:numRef>
              <c:f>Sheet1!$C$2:$C$5</c:f>
              <c:numCache>
                <c:formatCode>General</c:formatCode>
                <c:ptCount val="4"/>
                <c:pt idx="0">
                  <c:v>0.37362637362637363</c:v>
                </c:pt>
                <c:pt idx="1">
                  <c:v>0.19230769230769229</c:v>
                </c:pt>
                <c:pt idx="2">
                  <c:v>0.11813186813186813</c:v>
                </c:pt>
                <c:pt idx="3">
                  <c:v>0.3159340659340659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Bouvet-Ladubay</c:v>
                </c:pt>
                <c:pt idx="1">
                  <c:v>French Bloom Sas</c:v>
                </c:pt>
                <c:pt idx="2">
                  <c:v>De Chanceny</c:v>
                </c:pt>
                <c:pt idx="3">
                  <c:v>Others</c:v>
                </c:pt>
              </c:strCache>
            </c:strRef>
          </c:cat>
          <c:val>
            <c:numRef>
              <c:f>Sheet1!$D$2:$D$5</c:f>
              <c:numCache>
                <c:formatCode>General</c:formatCode>
                <c:ptCount val="4"/>
                <c:pt idx="0">
                  <c:v>94.210348084523531</c:v>
                </c:pt>
                <c:pt idx="1">
                  <c:v>60.151347187253393</c:v>
                </c:pt>
                <c:pt idx="2">
                  <c:v>108.61515974601596</c:v>
                </c:pt>
                <c:pt idx="3">
                  <c:v>180.59116979438372</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Bouvet-Ladubay</c:v>
                </c:pt>
                <c:pt idx="1">
                  <c:v>French Bloom Sas</c:v>
                </c:pt>
                <c:pt idx="2">
                  <c:v>De Chanceny</c:v>
                </c:pt>
                <c:pt idx="3">
                  <c:v>Others</c:v>
                </c:pt>
              </c:strCache>
            </c:strRef>
          </c:cat>
          <c:val>
            <c:numRef>
              <c:f>Sheet1!$B$2:$B$5</c:f>
              <c:numCache>
                <c:formatCode>General</c:formatCode>
                <c:ptCount val="4"/>
                <c:pt idx="0">
                  <c:v>0.35403153205143001</c:v>
                </c:pt>
                <c:pt idx="1">
                  <c:v>0.19168532582350362</c:v>
                </c:pt>
                <c:pt idx="2">
                  <c:v>0.10895408693243462</c:v>
                </c:pt>
                <c:pt idx="3">
                  <c:v>0.34532905519263174</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Bouvet-Ladubay</c:v>
                </c:pt>
                <c:pt idx="1">
                  <c:v>French Bloom Sas</c:v>
                </c:pt>
                <c:pt idx="2">
                  <c:v>De Chanceny</c:v>
                </c:pt>
                <c:pt idx="3">
                  <c:v>Others</c:v>
                </c:pt>
              </c:strCache>
            </c:strRef>
          </c:cat>
          <c:val>
            <c:numRef>
              <c:f>Sheet1!$C$2:$C$5</c:f>
              <c:numCache>
                <c:formatCode>General</c:formatCode>
                <c:ptCount val="4"/>
                <c:pt idx="0">
                  <c:v>0.26634382566585973</c:v>
                </c:pt>
                <c:pt idx="1">
                  <c:v>0.17917675544794195</c:v>
                </c:pt>
                <c:pt idx="2">
                  <c:v>0.11138014527845042</c:v>
                </c:pt>
                <c:pt idx="3">
                  <c:v>0.44309927360774848</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Bouvet-Ladubay</c:v>
                </c:pt>
                <c:pt idx="1">
                  <c:v>French Bloom Sas</c:v>
                </c:pt>
                <c:pt idx="2">
                  <c:v>De Chanceny</c:v>
                </c:pt>
                <c:pt idx="3">
                  <c:v>Others</c:v>
                </c:pt>
              </c:strCache>
            </c:strRef>
          </c:cat>
          <c:val>
            <c:numRef>
              <c:f>Sheet1!$D$2:$D$5</c:f>
              <c:numCache>
                <c:formatCode>General</c:formatCode>
                <c:ptCount val="4"/>
                <c:pt idx="0">
                  <c:v>75.231667677320928</c:v>
                </c:pt>
                <c:pt idx="1">
                  <c:v>93.474424647884064</c:v>
                </c:pt>
                <c:pt idx="2">
                  <c:v>102.22667952558793</c:v>
                </c:pt>
                <c:pt idx="3">
                  <c:v>128.31219005321705</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French Bloom Sas</c:v>
                </c:pt>
                <c:pt idx="1">
                  <c:v>Bouvet-Ladubay</c:v>
                </c:pt>
                <c:pt idx="2">
                  <c:v>De Chanceny</c:v>
                </c:pt>
                <c:pt idx="3">
                  <c:v>Others</c:v>
                </c:pt>
              </c:strCache>
            </c:strRef>
          </c:cat>
          <c:val>
            <c:numRef>
              <c:f>Sheet1!$B$2:$B$5</c:f>
              <c:numCache>
                <c:formatCode>General</c:formatCode>
                <c:ptCount val="4"/>
                <c:pt idx="0">
                  <c:v>0.31859475408905846</c:v>
                </c:pt>
                <c:pt idx="1">
                  <c:v>0.29782106024711674</c:v>
                </c:pt>
                <c:pt idx="2">
                  <c:v>0.17417615933496944</c:v>
                </c:pt>
                <c:pt idx="3">
                  <c:v>0.20940802632885536</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French Bloom Sas</c:v>
                </c:pt>
                <c:pt idx="1">
                  <c:v>Bouvet-Ladubay</c:v>
                </c:pt>
                <c:pt idx="2">
                  <c:v>De Chanceny</c:v>
                </c:pt>
                <c:pt idx="3">
                  <c:v>Others</c:v>
                </c:pt>
              </c:strCache>
            </c:strRef>
          </c:cat>
          <c:val>
            <c:numRef>
              <c:f>Sheet1!$C$2:$C$5</c:f>
              <c:numCache>
                <c:formatCode>General</c:formatCode>
                <c:ptCount val="4"/>
                <c:pt idx="0">
                  <c:v>0.23469387755102053</c:v>
                </c:pt>
                <c:pt idx="1">
                  <c:v>0.30952380952380976</c:v>
                </c:pt>
                <c:pt idx="2">
                  <c:v>0.19387755102040827</c:v>
                </c:pt>
                <c:pt idx="3">
                  <c:v>0.26190476190476208</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French Bloom Sas</c:v>
                </c:pt>
                <c:pt idx="1">
                  <c:v>Bouvet-Ladubay</c:v>
                </c:pt>
                <c:pt idx="2">
                  <c:v>De Chanceny</c:v>
                </c:pt>
                <c:pt idx="3">
                  <c:v>Others</c:v>
                </c:pt>
              </c:strCache>
            </c:strRef>
          </c:cat>
          <c:val>
            <c:numRef>
              <c:f>Sheet1!$D$2:$D$5</c:f>
              <c:numCache>
                <c:formatCode>General</c:formatCode>
                <c:ptCount val="4"/>
                <c:pt idx="0">
                  <c:v>73.665330184757323</c:v>
                </c:pt>
                <c:pt idx="1">
                  <c:v>103.92945658946438</c:v>
                </c:pt>
                <c:pt idx="2">
                  <c:v>111.31118734082878</c:v>
                </c:pt>
                <c:pt idx="3">
                  <c:v>125.06911339370804</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Nicolas</c:v>
                </c:pt>
                <c:pt idx="2">
                  <c:v>Deutz</c:v>
                </c:pt>
                <c:pt idx="3">
                  <c:v>Malard</c:v>
                </c:pt>
                <c:pt idx="4">
                  <c:v>Laurent Perrier</c:v>
                </c:pt>
                <c:pt idx="5">
                  <c:v>Nicolas Feuillatte</c:v>
                </c:pt>
                <c:pt idx="6">
                  <c:v>Heidsieck &amp; Co Monopole</c:v>
                </c:pt>
                <c:pt idx="7">
                  <c:v>Ayala</c:v>
                </c:pt>
                <c:pt idx="8">
                  <c:v>Roederer</c:v>
                </c:pt>
                <c:pt idx="9">
                  <c:v>Others</c:v>
                </c:pt>
              </c:strCache>
            </c:strRef>
          </c:cat>
          <c:val>
            <c:numRef>
              <c:f>Sheet1!$B$2:$B$11</c:f>
              <c:numCache>
                <c:formatCode>General</c:formatCode>
                <c:ptCount val="10"/>
                <c:pt idx="0">
                  <c:v>0.20285655300472252</c:v>
                </c:pt>
                <c:pt idx="1">
                  <c:v>8.5335738108821182E-2</c:v>
                </c:pt>
                <c:pt idx="2">
                  <c:v>7.5838707012475276E-2</c:v>
                </c:pt>
                <c:pt idx="3">
                  <c:v>5.2926163587498902E-2</c:v>
                </c:pt>
                <c:pt idx="4">
                  <c:v>4.8916858653451259E-2</c:v>
                </c:pt>
                <c:pt idx="5">
                  <c:v>3.5629761607291137E-2</c:v>
                </c:pt>
                <c:pt idx="6">
                  <c:v>3.49379475980829E-2</c:v>
                </c:pt>
                <c:pt idx="7">
                  <c:v>3.1551719721516956E-2</c:v>
                </c:pt>
                <c:pt idx="8">
                  <c:v>2.9447846516425874E-2</c:v>
                </c:pt>
                <c:pt idx="9">
                  <c:v>0.40255870418971401</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Nicolas</c:v>
                </c:pt>
                <c:pt idx="2">
                  <c:v>Deutz</c:v>
                </c:pt>
                <c:pt idx="3">
                  <c:v>Malard</c:v>
                </c:pt>
                <c:pt idx="4">
                  <c:v>Laurent Perrier</c:v>
                </c:pt>
                <c:pt idx="5">
                  <c:v>Nicolas Feuillatte</c:v>
                </c:pt>
                <c:pt idx="6">
                  <c:v>Heidsieck &amp; Co Monopole</c:v>
                </c:pt>
                <c:pt idx="7">
                  <c:v>Ayala</c:v>
                </c:pt>
                <c:pt idx="8">
                  <c:v>Roederer</c:v>
                </c:pt>
                <c:pt idx="9">
                  <c:v>Others</c:v>
                </c:pt>
              </c:strCache>
            </c:strRef>
          </c:cat>
          <c:val>
            <c:numRef>
              <c:f>Sheet1!$C$2:$C$11</c:f>
              <c:numCache>
                <c:formatCode>General</c:formatCode>
                <c:ptCount val="10"/>
                <c:pt idx="0">
                  <c:v>9.049155908639496E-2</c:v>
                </c:pt>
                <c:pt idx="1">
                  <c:v>7.4602780536246069E-2</c:v>
                </c:pt>
                <c:pt idx="2">
                  <c:v>4.8286991062561915E-2</c:v>
                </c:pt>
                <c:pt idx="3">
                  <c:v>4.6549155908639388E-2</c:v>
                </c:pt>
                <c:pt idx="4">
                  <c:v>3.8232373386295801E-2</c:v>
                </c:pt>
                <c:pt idx="5">
                  <c:v>3.4632571996027699E-2</c:v>
                </c:pt>
                <c:pt idx="6">
                  <c:v>1.2040714995034722E-2</c:v>
                </c:pt>
                <c:pt idx="7">
                  <c:v>1.7254220456802336E-2</c:v>
                </c:pt>
                <c:pt idx="8">
                  <c:v>4.4314796425024693E-2</c:v>
                </c:pt>
                <c:pt idx="9">
                  <c:v>0.5935948361469694</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Nicolas</c:v>
                </c:pt>
                <c:pt idx="2">
                  <c:v>Deutz</c:v>
                </c:pt>
                <c:pt idx="3">
                  <c:v>Malard</c:v>
                </c:pt>
                <c:pt idx="4">
                  <c:v>Laurent Perrier</c:v>
                </c:pt>
                <c:pt idx="5">
                  <c:v>Nicolas Feuillatte</c:v>
                </c:pt>
                <c:pt idx="6">
                  <c:v>Heidsieck &amp; Co Monopole</c:v>
                </c:pt>
                <c:pt idx="7">
                  <c:v>Ayala</c:v>
                </c:pt>
                <c:pt idx="8">
                  <c:v>Roederer</c:v>
                </c:pt>
                <c:pt idx="9">
                  <c:v>Others</c:v>
                </c:pt>
              </c:strCache>
            </c:strRef>
          </c:cat>
          <c:val>
            <c:numRef>
              <c:f>Sheet1!$D$2:$D$11</c:f>
              <c:numCache>
                <c:formatCode>General</c:formatCode>
                <c:ptCount val="10"/>
                <c:pt idx="0">
                  <c:v>44.608644752180275</c:v>
                </c:pt>
                <c:pt idx="1">
                  <c:v>87.422669785912774</c:v>
                </c:pt>
                <c:pt idx="2">
                  <c:v>63.670641239464729</c:v>
                </c:pt>
                <c:pt idx="3">
                  <c:v>87.951124270859196</c:v>
                </c:pt>
                <c:pt idx="4">
                  <c:v>78.157867121335215</c:v>
                </c:pt>
                <c:pt idx="5">
                  <c:v>97.201245345802761</c:v>
                </c:pt>
                <c:pt idx="6">
                  <c:v>34.463143438040461</c:v>
                </c:pt>
                <c:pt idx="7">
                  <c:v>54.685515113256024</c:v>
                </c:pt>
                <c:pt idx="8">
                  <c:v>150.4856947699252</c:v>
                </c:pt>
                <c:pt idx="9">
                  <c:v>147.4554717036315</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Nicolas</c:v>
                </c:pt>
                <c:pt idx="2">
                  <c:v>Deutz</c:v>
                </c:pt>
                <c:pt idx="3">
                  <c:v>Laurent Perrier</c:v>
                </c:pt>
                <c:pt idx="4">
                  <c:v>Malard</c:v>
                </c:pt>
                <c:pt idx="5">
                  <c:v>Roederer</c:v>
                </c:pt>
                <c:pt idx="6">
                  <c:v>Nicolas Feuillatte</c:v>
                </c:pt>
                <c:pt idx="7">
                  <c:v>Taittinger</c:v>
                </c:pt>
                <c:pt idx="8">
                  <c:v>Bollinger</c:v>
                </c:pt>
                <c:pt idx="9">
                  <c:v>Others</c:v>
                </c:pt>
              </c:strCache>
            </c:strRef>
          </c:cat>
          <c:val>
            <c:numRef>
              <c:f>Sheet1!$B$2:$B$11</c:f>
              <c:numCache>
                <c:formatCode>General</c:formatCode>
                <c:ptCount val="10"/>
                <c:pt idx="0">
                  <c:v>0.24047096681946653</c:v>
                </c:pt>
                <c:pt idx="1">
                  <c:v>8.0419145789593943E-2</c:v>
                </c:pt>
                <c:pt idx="2">
                  <c:v>7.7110681622278673E-2</c:v>
                </c:pt>
                <c:pt idx="3">
                  <c:v>6.673016483522988E-2</c:v>
                </c:pt>
                <c:pt idx="4">
                  <c:v>4.6932653049681285E-2</c:v>
                </c:pt>
                <c:pt idx="5">
                  <c:v>3.7818986548709674E-2</c:v>
                </c:pt>
                <c:pt idx="6">
                  <c:v>3.7743220193732989E-2</c:v>
                </c:pt>
                <c:pt idx="7">
                  <c:v>3.1459479666664868E-2</c:v>
                </c:pt>
                <c:pt idx="8">
                  <c:v>3.0417692285735445E-2</c:v>
                </c:pt>
                <c:pt idx="9">
                  <c:v>0.35089700918890671</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Nicolas</c:v>
                </c:pt>
                <c:pt idx="2">
                  <c:v>Deutz</c:v>
                </c:pt>
                <c:pt idx="3">
                  <c:v>Laurent Perrier</c:v>
                </c:pt>
                <c:pt idx="4">
                  <c:v>Malard</c:v>
                </c:pt>
                <c:pt idx="5">
                  <c:v>Roederer</c:v>
                </c:pt>
                <c:pt idx="6">
                  <c:v>Nicolas Feuillatte</c:v>
                </c:pt>
                <c:pt idx="7">
                  <c:v>Taittinger</c:v>
                </c:pt>
                <c:pt idx="8">
                  <c:v>Bollinger</c:v>
                </c:pt>
                <c:pt idx="9">
                  <c:v>Others</c:v>
                </c:pt>
              </c:strCache>
            </c:strRef>
          </c:cat>
          <c:val>
            <c:numRef>
              <c:f>Sheet1!$C$2:$C$11</c:f>
              <c:numCache>
                <c:formatCode>General</c:formatCode>
                <c:ptCount val="10"/>
                <c:pt idx="0">
                  <c:v>9.464788732394358E-2</c:v>
                </c:pt>
                <c:pt idx="1">
                  <c:v>7.8309859154929523E-2</c:v>
                </c:pt>
                <c:pt idx="2">
                  <c:v>5.4535211267605598E-2</c:v>
                </c:pt>
                <c:pt idx="3">
                  <c:v>4.9014084507042227E-2</c:v>
                </c:pt>
                <c:pt idx="4">
                  <c:v>4.4169014084507012E-2</c:v>
                </c:pt>
                <c:pt idx="5">
                  <c:v>5.261971830985912E-2</c:v>
                </c:pt>
                <c:pt idx="6">
                  <c:v>3.819718309859152E-2</c:v>
                </c:pt>
                <c:pt idx="7">
                  <c:v>2.6478873239436599E-2</c:v>
                </c:pt>
                <c:pt idx="8">
                  <c:v>2.7830985915492937E-2</c:v>
                </c:pt>
                <c:pt idx="9">
                  <c:v>0.53419718309859121</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Nicolas</c:v>
                </c:pt>
                <c:pt idx="2">
                  <c:v>Deutz</c:v>
                </c:pt>
                <c:pt idx="3">
                  <c:v>Laurent Perrier</c:v>
                </c:pt>
                <c:pt idx="4">
                  <c:v>Malard</c:v>
                </c:pt>
                <c:pt idx="5">
                  <c:v>Roederer</c:v>
                </c:pt>
                <c:pt idx="6">
                  <c:v>Nicolas Feuillatte</c:v>
                </c:pt>
                <c:pt idx="7">
                  <c:v>Taittinger</c:v>
                </c:pt>
                <c:pt idx="8">
                  <c:v>Bollinger</c:v>
                </c:pt>
                <c:pt idx="9">
                  <c:v>Others</c:v>
                </c:pt>
              </c:strCache>
            </c:strRef>
          </c:cat>
          <c:val>
            <c:numRef>
              <c:f>Sheet1!$D$2:$D$11</c:f>
              <c:numCache>
                <c:formatCode>General</c:formatCode>
                <c:ptCount val="10"/>
                <c:pt idx="0">
                  <c:v>39.359382371927019</c:v>
                </c:pt>
                <c:pt idx="1">
                  <c:v>97.377133748494302</c:v>
                </c:pt>
                <c:pt idx="2">
                  <c:v>70.7232903668814</c:v>
                </c:pt>
                <c:pt idx="3">
                  <c:v>73.451166542249382</c:v>
                </c:pt>
                <c:pt idx="4">
                  <c:v>94.111479352661405</c:v>
                </c:pt>
                <c:pt idx="5">
                  <c:v>139.1357175636808</c:v>
                </c:pt>
                <c:pt idx="6">
                  <c:v>101.20276675526989</c:v>
                </c:pt>
                <c:pt idx="7">
                  <c:v>84.168185615269962</c:v>
                </c:pt>
                <c:pt idx="8">
                  <c:v>91.496046623314825</c:v>
                </c:pt>
                <c:pt idx="9">
                  <c:v>152.23759938375656</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Bouvet-Ladubay</c:v>
                </c:pt>
                <c:pt idx="1">
                  <c:v>French Bloom Sas</c:v>
                </c:pt>
                <c:pt idx="2">
                  <c:v>De Chanceny</c:v>
                </c:pt>
                <c:pt idx="3">
                  <c:v>Others</c:v>
                </c:pt>
              </c:strCache>
            </c:strRef>
          </c:cat>
          <c:val>
            <c:numRef>
              <c:f>Sheet1!$B$2:$B$5</c:f>
              <c:numCache>
                <c:formatCode>General</c:formatCode>
                <c:ptCount val="4"/>
                <c:pt idx="0">
                  <c:v>0.35108226938361375</c:v>
                </c:pt>
                <c:pt idx="1">
                  <c:v>0.25517882810518305</c:v>
                </c:pt>
                <c:pt idx="2">
                  <c:v>0.18155491671598883</c:v>
                </c:pt>
                <c:pt idx="3">
                  <c:v>0.21218398579521433</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Bouvet-Ladubay</c:v>
                </c:pt>
                <c:pt idx="1">
                  <c:v>French Bloom Sas</c:v>
                </c:pt>
                <c:pt idx="2">
                  <c:v>De Chanceny</c:v>
                </c:pt>
                <c:pt idx="3">
                  <c:v>Others</c:v>
                </c:pt>
              </c:strCache>
            </c:strRef>
          </c:cat>
          <c:val>
            <c:numRef>
              <c:f>Sheet1!$C$2:$C$5</c:f>
              <c:numCache>
                <c:formatCode>General</c:formatCode>
                <c:ptCount val="4"/>
                <c:pt idx="0">
                  <c:v>0.3236245954692557</c:v>
                </c:pt>
                <c:pt idx="1">
                  <c:v>0.20388349514563112</c:v>
                </c:pt>
                <c:pt idx="2">
                  <c:v>0.13915857605177995</c:v>
                </c:pt>
                <c:pt idx="3">
                  <c:v>0.33333333333333343</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Bouvet-Ladubay</c:v>
                </c:pt>
                <c:pt idx="1">
                  <c:v>French Bloom Sas</c:v>
                </c:pt>
                <c:pt idx="2">
                  <c:v>De Chanceny</c:v>
                </c:pt>
                <c:pt idx="3">
                  <c:v>Others</c:v>
                </c:pt>
              </c:strCache>
            </c:strRef>
          </c:cat>
          <c:val>
            <c:numRef>
              <c:f>Sheet1!$D$2:$D$5</c:f>
              <c:numCache>
                <c:formatCode>General</c:formatCode>
                <c:ptCount val="4"/>
                <c:pt idx="0">
                  <c:v>92.179133978322298</c:v>
                </c:pt>
                <c:pt idx="1">
                  <c:v>79.898280221583136</c:v>
                </c:pt>
                <c:pt idx="2">
                  <c:v>76.648200207912524</c:v>
                </c:pt>
                <c:pt idx="3">
                  <c:v>157.096367138208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French Bloom Sas</c:v>
                </c:pt>
                <c:pt idx="1">
                  <c:v>Bouvet-Ladubay</c:v>
                </c:pt>
                <c:pt idx="2">
                  <c:v>De Chanceny</c:v>
                </c:pt>
                <c:pt idx="3">
                  <c:v>Others</c:v>
                </c:pt>
              </c:strCache>
            </c:strRef>
          </c:cat>
          <c:val>
            <c:numRef>
              <c:f>Sheet1!$B$2:$B$5</c:f>
              <c:numCache>
                <c:formatCode>General</c:formatCode>
                <c:ptCount val="4"/>
                <c:pt idx="0">
                  <c:v>0.37239148580968279</c:v>
                </c:pt>
                <c:pt idx="1">
                  <c:v>0.25111296605453531</c:v>
                </c:pt>
                <c:pt idx="2">
                  <c:v>0.21330690038953812</c:v>
                </c:pt>
                <c:pt idx="3">
                  <c:v>0.16318864774624373</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French Bloom Sas</c:v>
                </c:pt>
                <c:pt idx="1">
                  <c:v>Bouvet-Ladubay</c:v>
                </c:pt>
                <c:pt idx="2">
                  <c:v>De Chanceny</c:v>
                </c:pt>
                <c:pt idx="3">
                  <c:v>Others</c:v>
                </c:pt>
              </c:strCache>
            </c:strRef>
          </c:cat>
          <c:val>
            <c:numRef>
              <c:f>Sheet1!$C$2:$C$5</c:f>
              <c:numCache>
                <c:formatCode>General</c:formatCode>
                <c:ptCount val="4"/>
                <c:pt idx="0">
                  <c:v>0.2083333333333334</c:v>
                </c:pt>
                <c:pt idx="1">
                  <c:v>0.34722222222222232</c:v>
                </c:pt>
                <c:pt idx="2">
                  <c:v>0.1319444444444445</c:v>
                </c:pt>
                <c:pt idx="3">
                  <c:v>0.31250000000000017</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French Bloom Sas</c:v>
                </c:pt>
                <c:pt idx="1">
                  <c:v>Bouvet-Ladubay</c:v>
                </c:pt>
                <c:pt idx="2">
                  <c:v>De Chanceny</c:v>
                </c:pt>
                <c:pt idx="3">
                  <c:v>Others</c:v>
                </c:pt>
              </c:strCache>
            </c:strRef>
          </c:cat>
          <c:val>
            <c:numRef>
              <c:f>Sheet1!$D$2:$D$5</c:f>
              <c:numCache>
                <c:formatCode>General</c:formatCode>
                <c:ptCount val="4"/>
                <c:pt idx="0">
                  <c:v>55.944709068833497</c:v>
                </c:pt>
                <c:pt idx="1">
                  <c:v>138.27331486611268</c:v>
                </c:pt>
                <c:pt idx="2">
                  <c:v>61.856622642534951</c:v>
                </c:pt>
                <c:pt idx="3">
                  <c:v>191.49616368286456</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Bouvet-Ladubay</c:v>
                </c:pt>
                <c:pt idx="1">
                  <c:v>French Bloom Sas</c:v>
                </c:pt>
                <c:pt idx="2">
                  <c:v>De Chanceny</c:v>
                </c:pt>
                <c:pt idx="3">
                  <c:v>Others</c:v>
                </c:pt>
              </c:strCache>
            </c:strRef>
          </c:cat>
          <c:val>
            <c:numRef>
              <c:f>Sheet1!$B$2:$B$5</c:f>
              <c:numCache>
                <c:formatCode>General</c:formatCode>
                <c:ptCount val="4"/>
                <c:pt idx="0">
                  <c:v>0.30095301788998496</c:v>
                </c:pt>
                <c:pt idx="1">
                  <c:v>0.1637964665886418</c:v>
                </c:pt>
                <c:pt idx="2">
                  <c:v>5.9215292871872043E-2</c:v>
                </c:pt>
                <c:pt idx="3">
                  <c:v>0.47603522264950121</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Bouvet-Ladubay</c:v>
                </c:pt>
                <c:pt idx="1">
                  <c:v>French Bloom Sas</c:v>
                </c:pt>
                <c:pt idx="2">
                  <c:v>De Chanceny</c:v>
                </c:pt>
                <c:pt idx="3">
                  <c:v>Others</c:v>
                </c:pt>
              </c:strCache>
            </c:strRef>
          </c:cat>
          <c:val>
            <c:numRef>
              <c:f>Sheet1!$C$2:$C$5</c:f>
              <c:numCache>
                <c:formatCode>General</c:formatCode>
                <c:ptCount val="4"/>
                <c:pt idx="0">
                  <c:v>0.23780487804878048</c:v>
                </c:pt>
                <c:pt idx="1">
                  <c:v>0.16463414634146342</c:v>
                </c:pt>
                <c:pt idx="2">
                  <c:v>9.3495934959349603E-2</c:v>
                </c:pt>
                <c:pt idx="3">
                  <c:v>0.50406504065040658</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Bouvet-Ladubay</c:v>
                </c:pt>
                <c:pt idx="1">
                  <c:v>French Bloom Sas</c:v>
                </c:pt>
                <c:pt idx="2">
                  <c:v>De Chanceny</c:v>
                </c:pt>
                <c:pt idx="3">
                  <c:v>Others</c:v>
                </c:pt>
              </c:strCache>
            </c:strRef>
          </c:cat>
          <c:val>
            <c:numRef>
              <c:f>Sheet1!$D$2:$D$5</c:f>
              <c:numCache>
                <c:formatCode>General</c:formatCode>
                <c:ptCount val="4"/>
                <c:pt idx="0">
                  <c:v>79.017276422764212</c:v>
                </c:pt>
                <c:pt idx="1">
                  <c:v>100.51141503248991</c:v>
                </c:pt>
                <c:pt idx="2">
                  <c:v>157.89153515064561</c:v>
                </c:pt>
                <c:pt idx="3">
                  <c:v>105.88818151835444</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French Bloom Sas</c:v>
                </c:pt>
                <c:pt idx="1">
                  <c:v>Bouvet-Ladubay</c:v>
                </c:pt>
                <c:pt idx="2">
                  <c:v>De Chanceny</c:v>
                </c:pt>
                <c:pt idx="3">
                  <c:v>Others</c:v>
                </c:pt>
              </c:strCache>
            </c:strRef>
          </c:cat>
          <c:val>
            <c:numRef>
              <c:f>Sheet1!$B$2:$B$5</c:f>
              <c:numCache>
                <c:formatCode>General</c:formatCode>
                <c:ptCount val="4"/>
                <c:pt idx="0">
                  <c:v>0.29499797761898344</c:v>
                </c:pt>
                <c:pt idx="1">
                  <c:v>0.24484292840771202</c:v>
                </c:pt>
                <c:pt idx="2">
                  <c:v>0.18996899015774571</c:v>
                </c:pt>
                <c:pt idx="3">
                  <c:v>0.27019010381555886</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French Bloom Sas</c:v>
                </c:pt>
                <c:pt idx="1">
                  <c:v>Bouvet-Ladubay</c:v>
                </c:pt>
                <c:pt idx="2">
                  <c:v>De Chanceny</c:v>
                </c:pt>
                <c:pt idx="3">
                  <c:v>Others</c:v>
                </c:pt>
              </c:strCache>
            </c:strRef>
          </c:cat>
          <c:val>
            <c:numRef>
              <c:f>Sheet1!$C$2:$C$5</c:f>
              <c:numCache>
                <c:formatCode>General</c:formatCode>
                <c:ptCount val="4"/>
                <c:pt idx="0">
                  <c:v>0.18611987381703471</c:v>
                </c:pt>
                <c:pt idx="1">
                  <c:v>0.27444794952681395</c:v>
                </c:pt>
                <c:pt idx="2">
                  <c:v>0.14826498422712936</c:v>
                </c:pt>
                <c:pt idx="3">
                  <c:v>0.39116719242902215</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French Bloom Sas</c:v>
                </c:pt>
                <c:pt idx="1">
                  <c:v>Bouvet-Ladubay</c:v>
                </c:pt>
                <c:pt idx="2">
                  <c:v>De Chanceny</c:v>
                </c:pt>
                <c:pt idx="3">
                  <c:v>Others</c:v>
                </c:pt>
              </c:strCache>
            </c:strRef>
          </c:cat>
          <c:val>
            <c:numRef>
              <c:f>Sheet1!$D$2:$D$5</c:f>
              <c:numCache>
                <c:formatCode>General</c:formatCode>
                <c:ptCount val="4"/>
                <c:pt idx="0">
                  <c:v>63.091915178288225</c:v>
                </c:pt>
                <c:pt idx="1">
                  <c:v>112.0914340110341</c:v>
                </c:pt>
                <c:pt idx="2">
                  <c:v>78.046940242201458</c:v>
                </c:pt>
                <c:pt idx="3">
                  <c:v>144.7748037048930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French Bloom Sas</c:v>
                </c:pt>
                <c:pt idx="1">
                  <c:v>Bouvet-Ladubay</c:v>
                </c:pt>
                <c:pt idx="2">
                  <c:v>De Chanceny</c:v>
                </c:pt>
                <c:pt idx="3">
                  <c:v>Others</c:v>
                </c:pt>
              </c:strCache>
            </c:strRef>
          </c:cat>
          <c:val>
            <c:numRef>
              <c:f>Sheet1!$B$2:$B$5</c:f>
              <c:numCache>
                <c:formatCode>General</c:formatCode>
                <c:ptCount val="4"/>
                <c:pt idx="0">
                  <c:v>0.30909861314111875</c:v>
                </c:pt>
                <c:pt idx="1">
                  <c:v>0.3060230524225992</c:v>
                </c:pt>
                <c:pt idx="2">
                  <c:v>0.17899668163185634</c:v>
                </c:pt>
                <c:pt idx="3">
                  <c:v>0.20588165280442577</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French Bloom Sas</c:v>
                </c:pt>
                <c:pt idx="1">
                  <c:v>Bouvet-Ladubay</c:v>
                </c:pt>
                <c:pt idx="2">
                  <c:v>De Chanceny</c:v>
                </c:pt>
                <c:pt idx="3">
                  <c:v>Others</c:v>
                </c:pt>
              </c:strCache>
            </c:strRef>
          </c:cat>
          <c:val>
            <c:numRef>
              <c:f>Sheet1!$C$2:$C$5</c:f>
              <c:numCache>
                <c:formatCode>General</c:formatCode>
                <c:ptCount val="4"/>
                <c:pt idx="0">
                  <c:v>0.20754716981132074</c:v>
                </c:pt>
                <c:pt idx="1">
                  <c:v>0.31805929919137466</c:v>
                </c:pt>
                <c:pt idx="2">
                  <c:v>0.18867924528301883</c:v>
                </c:pt>
                <c:pt idx="3">
                  <c:v>0.2857142857142857</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French Bloom Sas</c:v>
                </c:pt>
                <c:pt idx="1">
                  <c:v>Bouvet-Ladubay</c:v>
                </c:pt>
                <c:pt idx="2">
                  <c:v>De Chanceny</c:v>
                </c:pt>
                <c:pt idx="3">
                  <c:v>Others</c:v>
                </c:pt>
              </c:strCache>
            </c:strRef>
          </c:cat>
          <c:val>
            <c:numRef>
              <c:f>Sheet1!$D$2:$D$5</c:f>
              <c:numCache>
                <c:formatCode>General</c:formatCode>
                <c:ptCount val="4"/>
                <c:pt idx="0">
                  <c:v>67.145940158769079</c:v>
                </c:pt>
                <c:pt idx="1">
                  <c:v>103.93311767642723</c:v>
                </c:pt>
                <c:pt idx="2">
                  <c:v>105.40935371700169</c:v>
                </c:pt>
                <c:pt idx="3">
                  <c:v>138.77598213459834</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Bouvet-Ladubay</c:v>
                </c:pt>
                <c:pt idx="1">
                  <c:v>French Bloom Sas</c:v>
                </c:pt>
                <c:pt idx="2">
                  <c:v>De Chanceny</c:v>
                </c:pt>
                <c:pt idx="3">
                  <c:v>Others</c:v>
                </c:pt>
              </c:strCache>
            </c:strRef>
          </c:cat>
          <c:val>
            <c:numRef>
              <c:f>Sheet1!$B$2:$B$5</c:f>
              <c:numCache>
                <c:formatCode>General</c:formatCode>
                <c:ptCount val="4"/>
                <c:pt idx="0">
                  <c:v>0.27987204588699227</c:v>
                </c:pt>
                <c:pt idx="1">
                  <c:v>0.24006838926729723</c:v>
                </c:pt>
                <c:pt idx="2">
                  <c:v>0.12733640349667705</c:v>
                </c:pt>
                <c:pt idx="3">
                  <c:v>0.3527231613490334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Bouvet-Ladubay</c:v>
                </c:pt>
                <c:pt idx="1">
                  <c:v>French Bloom Sas</c:v>
                </c:pt>
                <c:pt idx="2">
                  <c:v>De Chanceny</c:v>
                </c:pt>
                <c:pt idx="3">
                  <c:v>Others</c:v>
                </c:pt>
              </c:strCache>
            </c:strRef>
          </c:cat>
          <c:val>
            <c:numRef>
              <c:f>Sheet1!$C$2:$C$5</c:f>
              <c:numCache>
                <c:formatCode>General</c:formatCode>
                <c:ptCount val="4"/>
                <c:pt idx="0">
                  <c:v>0.24759615384615391</c:v>
                </c:pt>
                <c:pt idx="1">
                  <c:v>0.17548076923076925</c:v>
                </c:pt>
                <c:pt idx="2">
                  <c:v>0.16105769230769235</c:v>
                </c:pt>
                <c:pt idx="3">
                  <c:v>0.41586538461538486</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Bouvet-Ladubay</c:v>
                </c:pt>
                <c:pt idx="1">
                  <c:v>French Bloom Sas</c:v>
                </c:pt>
                <c:pt idx="2">
                  <c:v>De Chanceny</c:v>
                </c:pt>
                <c:pt idx="3">
                  <c:v>Others</c:v>
                </c:pt>
              </c:strCache>
            </c:strRef>
          </c:cat>
          <c:val>
            <c:numRef>
              <c:f>Sheet1!$D$2:$D$5</c:f>
              <c:numCache>
                <c:formatCode>General</c:formatCode>
                <c:ptCount val="4"/>
                <c:pt idx="0">
                  <c:v>88.46762564708915</c:v>
                </c:pt>
                <c:pt idx="1">
                  <c:v>73.096158043275423</c:v>
                </c:pt>
                <c:pt idx="2">
                  <c:v>126.48204903313081</c:v>
                </c:pt>
                <c:pt idx="3">
                  <c:v>117.90135442902476</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Bouvet-Ladubay</c:v>
                </c:pt>
                <c:pt idx="1">
                  <c:v>French Bloom Sas</c:v>
                </c:pt>
                <c:pt idx="2">
                  <c:v>De Chanceny</c:v>
                </c:pt>
                <c:pt idx="3">
                  <c:v>Others</c:v>
                </c:pt>
              </c:strCache>
            </c:strRef>
          </c:cat>
          <c:val>
            <c:numRef>
              <c:f>Sheet1!$B$2:$B$5</c:f>
              <c:numCache>
                <c:formatCode>General</c:formatCode>
                <c:ptCount val="4"/>
                <c:pt idx="0">
                  <c:v>0.29125487786262527</c:v>
                </c:pt>
                <c:pt idx="1">
                  <c:v>0.27490205134427437</c:v>
                </c:pt>
                <c:pt idx="2">
                  <c:v>0.165778833696686</c:v>
                </c:pt>
                <c:pt idx="3">
                  <c:v>0.26806423709641436</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Bouvet-Ladubay</c:v>
                </c:pt>
                <c:pt idx="1">
                  <c:v>French Bloom Sas</c:v>
                </c:pt>
                <c:pt idx="2">
                  <c:v>De Chanceny</c:v>
                </c:pt>
                <c:pt idx="3">
                  <c:v>Others</c:v>
                </c:pt>
              </c:strCache>
            </c:strRef>
          </c:cat>
          <c:val>
            <c:numRef>
              <c:f>Sheet1!$C$2:$C$5</c:f>
              <c:numCache>
                <c:formatCode>General</c:formatCode>
                <c:ptCount val="4"/>
                <c:pt idx="0">
                  <c:v>0.26045016077170441</c:v>
                </c:pt>
                <c:pt idx="1">
                  <c:v>0.21864951768488761</c:v>
                </c:pt>
                <c:pt idx="2">
                  <c:v>0.16720257234726699</c:v>
                </c:pt>
                <c:pt idx="3">
                  <c:v>0.3536977491961417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Bouvet-Ladubay</c:v>
                </c:pt>
                <c:pt idx="1">
                  <c:v>French Bloom Sas</c:v>
                </c:pt>
                <c:pt idx="2">
                  <c:v>De Chanceny</c:v>
                </c:pt>
                <c:pt idx="3">
                  <c:v>Others</c:v>
                </c:pt>
              </c:strCache>
            </c:strRef>
          </c:cat>
          <c:val>
            <c:numRef>
              <c:f>Sheet1!$D$2:$D$5</c:f>
              <c:numCache>
                <c:formatCode>General</c:formatCode>
                <c:ptCount val="4"/>
                <c:pt idx="0">
                  <c:v>89.423450238162062</c:v>
                </c:pt>
                <c:pt idx="1">
                  <c:v>79.537244853462823</c:v>
                </c:pt>
                <c:pt idx="2">
                  <c:v>100.85881811256188</c:v>
                </c:pt>
                <c:pt idx="3">
                  <c:v>131.94514606919671</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Bouvet-Ladubay</c:v>
                </c:pt>
                <c:pt idx="1">
                  <c:v>French Bloom Sas</c:v>
                </c:pt>
                <c:pt idx="2">
                  <c:v>De Chanceny</c:v>
                </c:pt>
                <c:pt idx="3">
                  <c:v>Others</c:v>
                </c:pt>
              </c:strCache>
            </c:strRef>
          </c:cat>
          <c:val>
            <c:numRef>
              <c:f>Sheet1!$B$2:$B$5</c:f>
              <c:numCache>
                <c:formatCode>General</c:formatCode>
                <c:ptCount val="4"/>
                <c:pt idx="0">
                  <c:v>0.27334448441069514</c:v>
                </c:pt>
                <c:pt idx="1">
                  <c:v>0.26259306955607858</c:v>
                </c:pt>
                <c:pt idx="2">
                  <c:v>0.13751844121753976</c:v>
                </c:pt>
                <c:pt idx="3">
                  <c:v>0.32654400481568652</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Bouvet-Ladubay</c:v>
                </c:pt>
                <c:pt idx="1">
                  <c:v>French Bloom Sas</c:v>
                </c:pt>
                <c:pt idx="2">
                  <c:v>De Chanceny</c:v>
                </c:pt>
                <c:pt idx="3">
                  <c:v>Others</c:v>
                </c:pt>
              </c:strCache>
            </c:strRef>
          </c:cat>
          <c:val>
            <c:numRef>
              <c:f>Sheet1!$C$2:$C$5</c:f>
              <c:numCache>
                <c:formatCode>General</c:formatCode>
                <c:ptCount val="4"/>
                <c:pt idx="0">
                  <c:v>0.27960526315789491</c:v>
                </c:pt>
                <c:pt idx="1">
                  <c:v>0.18750000000000008</c:v>
                </c:pt>
                <c:pt idx="2">
                  <c:v>0.12171052631578955</c:v>
                </c:pt>
                <c:pt idx="3">
                  <c:v>0.41118421052631615</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Bouvet-Ladubay</c:v>
                </c:pt>
                <c:pt idx="1">
                  <c:v>French Bloom Sas</c:v>
                </c:pt>
                <c:pt idx="2">
                  <c:v>De Chanceny</c:v>
                </c:pt>
                <c:pt idx="3">
                  <c:v>Others</c:v>
                </c:pt>
              </c:strCache>
            </c:strRef>
          </c:cat>
          <c:val>
            <c:numRef>
              <c:f>Sheet1!$D$2:$D$5</c:f>
              <c:numCache>
                <c:formatCode>General</c:formatCode>
                <c:ptCount val="4"/>
                <c:pt idx="0">
                  <c:v>102.29043536791951</c:v>
                </c:pt>
                <c:pt idx="1">
                  <c:v>71.403255355129687</c:v>
                </c:pt>
                <c:pt idx="2">
                  <c:v>88.504876319283071</c:v>
                </c:pt>
                <c:pt idx="3">
                  <c:v>125.91999989661538</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Bouvet-Ladubay</c:v>
                </c:pt>
                <c:pt idx="1">
                  <c:v>French Bloom Sas</c:v>
                </c:pt>
                <c:pt idx="2">
                  <c:v>De Chanceny</c:v>
                </c:pt>
                <c:pt idx="3">
                  <c:v>Others</c:v>
                </c:pt>
              </c:strCache>
            </c:strRef>
          </c:cat>
          <c:val>
            <c:numRef>
              <c:f>Sheet1!$B$2:$B$5</c:f>
              <c:numCache>
                <c:formatCode>General</c:formatCode>
                <c:ptCount val="4"/>
                <c:pt idx="0">
                  <c:v>0.24517820259462003</c:v>
                </c:pt>
                <c:pt idx="1">
                  <c:v>0.20506993787358024</c:v>
                </c:pt>
                <c:pt idx="2">
                  <c:v>0.11014352785544144</c:v>
                </c:pt>
                <c:pt idx="3">
                  <c:v>0.43960833167635827</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Bouvet-Ladubay</c:v>
                </c:pt>
                <c:pt idx="1">
                  <c:v>French Bloom Sas</c:v>
                </c:pt>
                <c:pt idx="2">
                  <c:v>De Chanceny</c:v>
                </c:pt>
                <c:pt idx="3">
                  <c:v>Others</c:v>
                </c:pt>
              </c:strCache>
            </c:strRef>
          </c:cat>
          <c:val>
            <c:numRef>
              <c:f>Sheet1!$C$2:$C$5</c:f>
              <c:numCache>
                <c:formatCode>General</c:formatCode>
                <c:ptCount val="4"/>
                <c:pt idx="0">
                  <c:v>0.2625482625482628</c:v>
                </c:pt>
                <c:pt idx="1">
                  <c:v>0.17374517374517387</c:v>
                </c:pt>
                <c:pt idx="2">
                  <c:v>0.12741312741312752</c:v>
                </c:pt>
                <c:pt idx="3">
                  <c:v>0.43629343629343675</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Bouvet-Ladubay</c:v>
                </c:pt>
                <c:pt idx="1">
                  <c:v>French Bloom Sas</c:v>
                </c:pt>
                <c:pt idx="2">
                  <c:v>De Chanceny</c:v>
                </c:pt>
                <c:pt idx="3">
                  <c:v>Others</c:v>
                </c:pt>
              </c:strCache>
            </c:strRef>
          </c:cat>
          <c:val>
            <c:numRef>
              <c:f>Sheet1!$D$2:$D$5</c:f>
              <c:numCache>
                <c:formatCode>General</c:formatCode>
                <c:ptCount val="4"/>
                <c:pt idx="0">
                  <c:v>107.0846673031381</c:v>
                </c:pt>
                <c:pt idx="1">
                  <c:v>84.724838534004348</c:v>
                </c:pt>
                <c:pt idx="2">
                  <c:v>115.67917779095625</c:v>
                </c:pt>
                <c:pt idx="3">
                  <c:v>99.245943458286874</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Mure</c:v>
                </c:pt>
                <c:pt idx="1">
                  <c:v>Others</c:v>
                </c:pt>
              </c:strCache>
            </c:strRef>
          </c:cat>
          <c:val>
            <c:numRef>
              <c:f>Sheet1!$B$2:$B$3</c:f>
              <c:numCache>
                <c:formatCode>General</c:formatCode>
                <c:ptCount val="2"/>
                <c:pt idx="0">
                  <c:v>0.78552471882838415</c:v>
                </c:pt>
                <c:pt idx="1">
                  <c:v>0.21447528117161582</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Mure</c:v>
                </c:pt>
                <c:pt idx="1">
                  <c:v>Others</c:v>
                </c:pt>
              </c:strCache>
            </c:strRef>
          </c:cat>
          <c:val>
            <c:numRef>
              <c:f>Sheet1!$C$2:$C$3</c:f>
              <c:numCache>
                <c:formatCode>General</c:formatCode>
                <c:ptCount val="2"/>
                <c:pt idx="0">
                  <c:v>0.85268817204301062</c:v>
                </c:pt>
                <c:pt idx="1">
                  <c:v>0.14731182795698924</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Mure</c:v>
                </c:pt>
                <c:pt idx="1">
                  <c:v>Others</c:v>
                </c:pt>
              </c:strCache>
            </c:strRef>
          </c:cat>
          <c:val>
            <c:numRef>
              <c:f>Sheet1!$D$2:$D$3</c:f>
              <c:numCache>
                <c:formatCode>General</c:formatCode>
                <c:ptCount val="2"/>
                <c:pt idx="0">
                  <c:v>108.55013872953624</c:v>
                </c:pt>
                <c:pt idx="1">
                  <c:v>68.684758053360625</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Mure</c:v>
                </c:pt>
                <c:pt idx="1">
                  <c:v>Others</c:v>
                </c:pt>
              </c:strCache>
            </c:strRef>
          </c:cat>
          <c:val>
            <c:numRef>
              <c:f>Sheet1!$B$2:$B$3</c:f>
              <c:numCache>
                <c:formatCode>General</c:formatCode>
                <c:ptCount val="2"/>
                <c:pt idx="0">
                  <c:v>0.84380817178421674</c:v>
                </c:pt>
                <c:pt idx="1">
                  <c:v>0.15619182821578323</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Mure</c:v>
                </c:pt>
                <c:pt idx="1">
                  <c:v>Others</c:v>
                </c:pt>
              </c:strCache>
            </c:strRef>
          </c:cat>
          <c:val>
            <c:numRef>
              <c:f>Sheet1!$C$2:$C$3</c:f>
              <c:numCache>
                <c:formatCode>General</c:formatCode>
                <c:ptCount val="2"/>
                <c:pt idx="0">
                  <c:v>0.89534883720930225</c:v>
                </c:pt>
                <c:pt idx="1">
                  <c:v>0.10465116279069765</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Mure</c:v>
                </c:pt>
                <c:pt idx="1">
                  <c:v>Others</c:v>
                </c:pt>
              </c:strCache>
            </c:strRef>
          </c:cat>
          <c:val>
            <c:numRef>
              <c:f>Sheet1!$D$2:$D$3</c:f>
              <c:numCache>
                <c:formatCode>General</c:formatCode>
                <c:ptCount val="2"/>
                <c:pt idx="0">
                  <c:v>106.10810219058482</c:v>
                </c:pt>
                <c:pt idx="1">
                  <c:v>67.00168887588616</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Mure</c:v>
                </c:pt>
                <c:pt idx="1">
                  <c:v>Others</c:v>
                </c:pt>
              </c:strCache>
            </c:strRef>
          </c:cat>
          <c:val>
            <c:numRef>
              <c:f>Sheet1!$B$2:$B$3</c:f>
              <c:numCache>
                <c:formatCode>General</c:formatCode>
                <c:ptCount val="2"/>
                <c:pt idx="0">
                  <c:v>0.96998650047838109</c:v>
                </c:pt>
                <c:pt idx="1">
                  <c:v>3.0013499521618893E-2</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Mure</c:v>
                </c:pt>
                <c:pt idx="1">
                  <c:v>Others</c:v>
                </c:pt>
              </c:strCache>
            </c:strRef>
          </c:cat>
          <c:val>
            <c:numRef>
              <c:f>Sheet1!$C$2:$C$3</c:f>
              <c:numCache>
                <c:formatCode>General</c:formatCode>
                <c:ptCount val="2"/>
                <c:pt idx="0">
                  <c:v>0.92405063291139233</c:v>
                </c:pt>
                <c:pt idx="1">
                  <c:v>7.5949367088607597E-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Mure</c:v>
                </c:pt>
                <c:pt idx="1">
                  <c:v>Others</c:v>
                </c:pt>
              </c:strCache>
            </c:strRef>
          </c:cat>
          <c:val>
            <c:numRef>
              <c:f>Sheet1!$D$2:$D$3</c:f>
              <c:numCache>
                <c:formatCode>General</c:formatCode>
                <c:ptCount val="2"/>
                <c:pt idx="0">
                  <c:v>95.26427764259256</c:v>
                </c:pt>
                <c:pt idx="1">
                  <c:v>253.05068818749655</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Mure</c:v>
                </c:pt>
                <c:pt idx="1">
                  <c:v>Others</c:v>
                </c:pt>
              </c:strCache>
            </c:strRef>
          </c:cat>
          <c:val>
            <c:numRef>
              <c:f>Sheet1!$B$2:$B$3</c:f>
              <c:numCache>
                <c:formatCode>General</c:formatCode>
                <c:ptCount val="2"/>
                <c:pt idx="0">
                  <c:v>0.64253705187262167</c:v>
                </c:pt>
                <c:pt idx="1">
                  <c:v>0.35746294812737833</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Mure</c:v>
                </c:pt>
                <c:pt idx="1">
                  <c:v>Others</c:v>
                </c:pt>
              </c:strCache>
            </c:strRef>
          </c:cat>
          <c:val>
            <c:numRef>
              <c:f>Sheet1!$C$2:$C$3</c:f>
              <c:numCache>
                <c:formatCode>General</c:formatCode>
                <c:ptCount val="2"/>
                <c:pt idx="0">
                  <c:v>0.77391304347826073</c:v>
                </c:pt>
                <c:pt idx="1">
                  <c:v>0.22608695652173907</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Mure</c:v>
                </c:pt>
                <c:pt idx="1">
                  <c:v>Others</c:v>
                </c:pt>
              </c:strCache>
            </c:strRef>
          </c:cat>
          <c:val>
            <c:numRef>
              <c:f>Sheet1!$D$2:$D$3</c:f>
              <c:numCache>
                <c:formatCode>General</c:formatCode>
                <c:ptCount val="2"/>
                <c:pt idx="0">
                  <c:v>120.44644604116672</c:v>
                </c:pt>
                <c:pt idx="1">
                  <c:v>63.247661808343636</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Mure</c:v>
                </c:pt>
              </c:strCache>
            </c:strRef>
          </c:cat>
          <c:val>
            <c:numRef>
              <c:f>Sheet1!$B$2:$B$2</c:f>
              <c:numCache>
                <c:formatCode>General</c:formatCode>
                <c:ptCount val="1"/>
                <c:pt idx="0">
                  <c:v>1</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Mure</c:v>
                </c:pt>
              </c:strCache>
            </c:strRef>
          </c:cat>
          <c:val>
            <c:numRef>
              <c:f>Sheet1!$C$2:$C$2</c:f>
              <c:numCache>
                <c:formatCode>General</c:formatCode>
                <c:ptCount val="1"/>
                <c:pt idx="0">
                  <c:v>1</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Mure</c:v>
                </c:pt>
              </c:strCache>
            </c:strRef>
          </c:cat>
          <c:val>
            <c:numRef>
              <c:f>Sheet1!$D$2:$D$2</c:f>
              <c:numCache>
                <c:formatCode>General</c:formatCode>
                <c:ptCount val="1"/>
                <c:pt idx="0">
                  <c:v>100</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Mure</c:v>
                </c:pt>
                <c:pt idx="1">
                  <c:v>Others</c:v>
                </c:pt>
              </c:strCache>
            </c:strRef>
          </c:cat>
          <c:val>
            <c:numRef>
              <c:f>Sheet1!$B$2:$B$3</c:f>
              <c:numCache>
                <c:formatCode>General</c:formatCode>
                <c:ptCount val="2"/>
                <c:pt idx="0">
                  <c:v>0.59269562343349769</c:v>
                </c:pt>
                <c:pt idx="1">
                  <c:v>0.40730437656650231</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Mure</c:v>
                </c:pt>
                <c:pt idx="1">
                  <c:v>Others</c:v>
                </c:pt>
              </c:strCache>
            </c:strRef>
          </c:cat>
          <c:val>
            <c:numRef>
              <c:f>Sheet1!$C$2:$C$3</c:f>
              <c:numCache>
                <c:formatCode>General</c:formatCode>
                <c:ptCount val="2"/>
                <c:pt idx="0">
                  <c:v>0.6073619631901841</c:v>
                </c:pt>
                <c:pt idx="1">
                  <c:v>0.39263803680981607</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Mure</c:v>
                </c:pt>
                <c:pt idx="1">
                  <c:v>Others</c:v>
                </c:pt>
              </c:strCache>
            </c:strRef>
          </c:cat>
          <c:val>
            <c:numRef>
              <c:f>Sheet1!$D$2:$D$3</c:f>
              <c:numCache>
                <c:formatCode>General</c:formatCode>
                <c:ptCount val="2"/>
                <c:pt idx="0">
                  <c:v>102.47451460358758</c:v>
                </c:pt>
                <c:pt idx="1">
                  <c:v>96.399169613565007</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Mure</c:v>
                </c:pt>
              </c:strCache>
            </c:strRef>
          </c:cat>
          <c:val>
            <c:numRef>
              <c:f>Sheet1!$B$2:$B$2</c:f>
              <c:numCache>
                <c:formatCode>General</c:formatCode>
                <c:ptCount val="1"/>
                <c:pt idx="0">
                  <c:v>1</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Mure</c:v>
                </c:pt>
              </c:strCache>
            </c:strRef>
          </c:cat>
          <c:val>
            <c:numRef>
              <c:f>Sheet1!$C$2:$C$2</c:f>
              <c:numCache>
                <c:formatCode>General</c:formatCode>
                <c:ptCount val="1"/>
                <c:pt idx="0">
                  <c:v>1</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Mure</c:v>
                </c:pt>
              </c:strCache>
            </c:strRef>
          </c:cat>
          <c:val>
            <c:numRef>
              <c:f>Sheet1!$D$2:$D$2</c:f>
              <c:numCache>
                <c:formatCode>General</c:formatCode>
                <c:ptCount val="1"/>
                <c:pt idx="0">
                  <c:v>100</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Mure</c:v>
                </c:pt>
              </c:strCache>
            </c:strRef>
          </c:cat>
          <c:val>
            <c:numRef>
              <c:f>Sheet1!$B$2:$B$2</c:f>
              <c:numCache>
                <c:formatCode>General</c:formatCode>
                <c:ptCount val="1"/>
                <c:pt idx="0">
                  <c:v>1</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Mure</c:v>
                </c:pt>
              </c:strCache>
            </c:strRef>
          </c:cat>
          <c:val>
            <c:numRef>
              <c:f>Sheet1!$C$2:$C$2</c:f>
              <c:numCache>
                <c:formatCode>General</c:formatCode>
                <c:ptCount val="1"/>
                <c:pt idx="0">
                  <c:v>1</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Mure</c:v>
                </c:pt>
              </c:strCache>
            </c:strRef>
          </c:cat>
          <c:val>
            <c:numRef>
              <c:f>Sheet1!$D$2:$D$2</c:f>
              <c:numCache>
                <c:formatCode>General</c:formatCode>
                <c:ptCount val="1"/>
                <c:pt idx="0">
                  <c:v>100</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Mure</c:v>
                </c:pt>
              </c:strCache>
            </c:strRef>
          </c:cat>
          <c:val>
            <c:numRef>
              <c:f>Sheet1!$B$2:$B$2</c:f>
              <c:numCache>
                <c:formatCode>General</c:formatCode>
                <c:ptCount val="1"/>
                <c:pt idx="0">
                  <c:v>1</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Mure</c:v>
                </c:pt>
              </c:strCache>
            </c:strRef>
          </c:cat>
          <c:val>
            <c:numRef>
              <c:f>Sheet1!$C$2:$C$2</c:f>
              <c:numCache>
                <c:formatCode>General</c:formatCode>
                <c:ptCount val="1"/>
                <c:pt idx="0">
                  <c:v>1</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Mure</c:v>
                </c:pt>
              </c:strCache>
            </c:strRef>
          </c:cat>
          <c:val>
            <c:numRef>
              <c:f>Sheet1!$D$2:$D$2</c:f>
              <c:numCache>
                <c:formatCode>General</c:formatCode>
                <c:ptCount val="1"/>
                <c:pt idx="0">
                  <c:v>100</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Mure</c:v>
                </c:pt>
              </c:strCache>
            </c:strRef>
          </c:cat>
          <c:val>
            <c:numRef>
              <c:f>Sheet1!$B$2:$B$2</c:f>
              <c:numCache>
                <c:formatCode>General</c:formatCode>
                <c:ptCount val="1"/>
                <c:pt idx="0">
                  <c:v>1</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Mure</c:v>
                </c:pt>
              </c:strCache>
            </c:strRef>
          </c:cat>
          <c:val>
            <c:numRef>
              <c:f>Sheet1!$C$2:$C$2</c:f>
              <c:numCache>
                <c:formatCode>General</c:formatCode>
                <c:ptCount val="1"/>
                <c:pt idx="0">
                  <c:v>1</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Mure</c:v>
                </c:pt>
              </c:strCache>
            </c:strRef>
          </c:cat>
          <c:val>
            <c:numRef>
              <c:f>Sheet1!$D$2:$D$2</c:f>
              <c:numCache>
                <c:formatCode>General</c:formatCode>
                <c:ptCount val="1"/>
                <c:pt idx="0">
                  <c:v>100</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Mure</c:v>
                </c:pt>
                <c:pt idx="1">
                  <c:v>Others</c:v>
                </c:pt>
              </c:strCache>
            </c:strRef>
          </c:cat>
          <c:val>
            <c:numRef>
              <c:f>Sheet1!$B$2:$B$3</c:f>
              <c:numCache>
                <c:formatCode>General</c:formatCode>
                <c:ptCount val="2"/>
                <c:pt idx="0">
                  <c:v>0.39365964418130084</c:v>
                </c:pt>
                <c:pt idx="1">
                  <c:v>0.60634035581869916</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Mure</c:v>
                </c:pt>
                <c:pt idx="1">
                  <c:v>Others</c:v>
                </c:pt>
              </c:strCache>
            </c:strRef>
          </c:cat>
          <c:val>
            <c:numRef>
              <c:f>Sheet1!$C$2:$C$3</c:f>
              <c:numCache>
                <c:formatCode>General</c:formatCode>
                <c:ptCount val="2"/>
                <c:pt idx="0">
                  <c:v>0.38494623655913979</c:v>
                </c:pt>
                <c:pt idx="1">
                  <c:v>0.61505376344086027</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Mure</c:v>
                </c:pt>
                <c:pt idx="1">
                  <c:v>Others</c:v>
                </c:pt>
              </c:strCache>
            </c:strRef>
          </c:cat>
          <c:val>
            <c:numRef>
              <c:f>Sheet1!$D$2:$D$3</c:f>
              <c:numCache>
                <c:formatCode>General</c:formatCode>
                <c:ptCount val="2"/>
                <c:pt idx="0">
                  <c:v>97.786563151454743</c:v>
                </c:pt>
                <c:pt idx="1">
                  <c:v>101.43704893440517</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Mure</c:v>
                </c:pt>
              </c:strCache>
            </c:strRef>
          </c:cat>
          <c:val>
            <c:numRef>
              <c:f>Sheet1!$B$2:$B$2</c:f>
              <c:numCache>
                <c:formatCode>General</c:formatCode>
                <c:ptCount val="1"/>
                <c:pt idx="0">
                  <c:v>1</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Mure</c:v>
                </c:pt>
              </c:strCache>
            </c:strRef>
          </c:cat>
          <c:val>
            <c:numRef>
              <c:f>Sheet1!$C$2:$C$2</c:f>
              <c:numCache>
                <c:formatCode>General</c:formatCode>
                <c:ptCount val="1"/>
                <c:pt idx="0">
                  <c:v>1</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Mure</c:v>
                </c:pt>
              </c:strCache>
            </c:strRef>
          </c:cat>
          <c:val>
            <c:numRef>
              <c:f>Sheet1!$D$2:$D$2</c:f>
              <c:numCache>
                <c:formatCode>General</c:formatCode>
                <c:ptCount val="1"/>
                <c:pt idx="0">
                  <c:v>100</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Mure</c:v>
                </c:pt>
                <c:pt idx="1">
                  <c:v>Others</c:v>
                </c:pt>
              </c:strCache>
            </c:strRef>
          </c:cat>
          <c:val>
            <c:numRef>
              <c:f>Sheet1!$B$2:$B$3</c:f>
              <c:numCache>
                <c:formatCode>General</c:formatCode>
                <c:ptCount val="2"/>
                <c:pt idx="0">
                  <c:v>0.7146843354912028</c:v>
                </c:pt>
                <c:pt idx="1">
                  <c:v>0.2853156645087972</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Mure</c:v>
                </c:pt>
                <c:pt idx="1">
                  <c:v>Others</c:v>
                </c:pt>
              </c:strCache>
            </c:strRef>
          </c:cat>
          <c:val>
            <c:numRef>
              <c:f>Sheet1!$C$2:$C$3</c:f>
              <c:numCache>
                <c:formatCode>General</c:formatCode>
                <c:ptCount val="2"/>
                <c:pt idx="0">
                  <c:v>0.78571428571428559</c:v>
                </c:pt>
                <c:pt idx="1">
                  <c:v>0.21428571428571425</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Mure</c:v>
                </c:pt>
                <c:pt idx="1">
                  <c:v>Others</c:v>
                </c:pt>
              </c:strCache>
            </c:strRef>
          </c:cat>
          <c:val>
            <c:numRef>
              <c:f>Sheet1!$D$2:$D$3</c:f>
              <c:numCache>
                <c:formatCode>General</c:formatCode>
                <c:ptCount val="2"/>
                <c:pt idx="0">
                  <c:v>109.93864657384211</c:v>
                </c:pt>
                <c:pt idx="1">
                  <c:v>75.104784258737084</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Mure</c:v>
                </c:pt>
                <c:pt idx="1">
                  <c:v>Others</c:v>
                </c:pt>
              </c:strCache>
            </c:strRef>
          </c:cat>
          <c:val>
            <c:numRef>
              <c:f>Sheet1!$B$2:$B$3</c:f>
              <c:numCache>
                <c:formatCode>General</c:formatCode>
                <c:ptCount val="2"/>
                <c:pt idx="0">
                  <c:v>0.93187112277174311</c:v>
                </c:pt>
                <c:pt idx="1">
                  <c:v>6.8128877228256876E-2</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Mure</c:v>
                </c:pt>
                <c:pt idx="1">
                  <c:v>Others</c:v>
                </c:pt>
              </c:strCache>
            </c:strRef>
          </c:cat>
          <c:val>
            <c:numRef>
              <c:f>Sheet1!$C$2:$C$3</c:f>
              <c:numCache>
                <c:formatCode>General</c:formatCode>
                <c:ptCount val="2"/>
                <c:pt idx="0">
                  <c:v>0.92857142857142849</c:v>
                </c:pt>
                <c:pt idx="1">
                  <c:v>7.1428571428571425E-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Mure</c:v>
                </c:pt>
                <c:pt idx="1">
                  <c:v>Others</c:v>
                </c:pt>
              </c:strCache>
            </c:strRef>
          </c:cat>
          <c:val>
            <c:numRef>
              <c:f>Sheet1!$D$2:$D$3</c:f>
              <c:numCache>
                <c:formatCode>General</c:formatCode>
                <c:ptCount val="2"/>
                <c:pt idx="0">
                  <c:v>99.645906593768032</c:v>
                </c:pt>
                <c:pt idx="1">
                  <c:v>104.843312167407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Mure</c:v>
                </c:pt>
                <c:pt idx="1">
                  <c:v>Others</c:v>
                </c:pt>
              </c:strCache>
            </c:strRef>
          </c:cat>
          <c:val>
            <c:numRef>
              <c:f>Sheet1!$B$2:$B$3</c:f>
              <c:numCache>
                <c:formatCode>General</c:formatCode>
                <c:ptCount val="2"/>
                <c:pt idx="0">
                  <c:v>0.68625880311071064</c:v>
                </c:pt>
                <c:pt idx="1">
                  <c:v>0.31374119688928942</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Mure</c:v>
                </c:pt>
                <c:pt idx="1">
                  <c:v>Others</c:v>
                </c:pt>
              </c:strCache>
            </c:strRef>
          </c:cat>
          <c:val>
            <c:numRef>
              <c:f>Sheet1!$C$2:$C$3</c:f>
              <c:numCache>
                <c:formatCode>General</c:formatCode>
                <c:ptCount val="2"/>
                <c:pt idx="0">
                  <c:v>0.70873786407766992</c:v>
                </c:pt>
                <c:pt idx="1">
                  <c:v>0.29126213592233013</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Mure</c:v>
                </c:pt>
                <c:pt idx="1">
                  <c:v>Others</c:v>
                </c:pt>
              </c:strCache>
            </c:strRef>
          </c:cat>
          <c:val>
            <c:numRef>
              <c:f>Sheet1!$D$2:$D$3</c:f>
              <c:numCache>
                <c:formatCode>General</c:formatCode>
                <c:ptCount val="2"/>
                <c:pt idx="0">
                  <c:v>103.27559528053629</c:v>
                </c:pt>
                <c:pt idx="1">
                  <c:v>92.83515802520140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Mure</c:v>
                </c:pt>
                <c:pt idx="1">
                  <c:v>Others</c:v>
                </c:pt>
              </c:strCache>
            </c:strRef>
          </c:cat>
          <c:val>
            <c:numRef>
              <c:f>Sheet1!$B$2:$B$3</c:f>
              <c:numCache>
                <c:formatCode>General</c:formatCode>
                <c:ptCount val="2"/>
                <c:pt idx="0">
                  <c:v>0.69988705241285365</c:v>
                </c:pt>
                <c:pt idx="1">
                  <c:v>0.30011294758714641</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Mure</c:v>
                </c:pt>
                <c:pt idx="1">
                  <c:v>Others</c:v>
                </c:pt>
              </c:strCache>
            </c:strRef>
          </c:cat>
          <c:val>
            <c:numRef>
              <c:f>Sheet1!$C$2:$C$3</c:f>
              <c:numCache>
                <c:formatCode>General</c:formatCode>
                <c:ptCount val="2"/>
                <c:pt idx="0">
                  <c:v>0.82795698924731176</c:v>
                </c:pt>
                <c:pt idx="1">
                  <c:v>0.17204301075268816</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Mure</c:v>
                </c:pt>
                <c:pt idx="1">
                  <c:v>Others</c:v>
                </c:pt>
              </c:strCache>
            </c:strRef>
          </c:cat>
          <c:val>
            <c:numRef>
              <c:f>Sheet1!$D$2:$D$3</c:f>
              <c:numCache>
                <c:formatCode>General</c:formatCode>
                <c:ptCount val="2"/>
                <c:pt idx="0">
                  <c:v>118.29865781813484</c:v>
                </c:pt>
                <c:pt idx="1">
                  <c:v>57.326087440039728</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Cru La Maqueline</c:v>
                </c:pt>
                <c:pt idx="1">
                  <c:v>Celene</c:v>
                </c:pt>
                <c:pt idx="2">
                  <c:v>Others</c:v>
                </c:pt>
              </c:strCache>
            </c:strRef>
          </c:cat>
          <c:val>
            <c:numRef>
              <c:f>Sheet1!$B$2:$B$4</c:f>
              <c:numCache>
                <c:formatCode>General</c:formatCode>
                <c:ptCount val="3"/>
                <c:pt idx="0">
                  <c:v>0.81829358249323825</c:v>
                </c:pt>
                <c:pt idx="1">
                  <c:v>0.12791301259459606</c:v>
                </c:pt>
                <c:pt idx="2">
                  <c:v>5.3793404912165672E-2</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Cru La Maqueline</c:v>
                </c:pt>
                <c:pt idx="1">
                  <c:v>Celene</c:v>
                </c:pt>
                <c:pt idx="2">
                  <c:v>Others</c:v>
                </c:pt>
              </c:strCache>
            </c:strRef>
          </c:cat>
          <c:val>
            <c:numRef>
              <c:f>Sheet1!$C$2:$C$4</c:f>
              <c:numCache>
                <c:formatCode>General</c:formatCode>
                <c:ptCount val="3"/>
                <c:pt idx="0">
                  <c:v>0.69401709401709399</c:v>
                </c:pt>
                <c:pt idx="1">
                  <c:v>0.28034188034188029</c:v>
                </c:pt>
                <c:pt idx="2">
                  <c:v>2.5641025641025637E-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Cru La Maqueline</c:v>
                </c:pt>
                <c:pt idx="1">
                  <c:v>Celene</c:v>
                </c:pt>
                <c:pt idx="2">
                  <c:v>Others</c:v>
                </c:pt>
              </c:strCache>
            </c:strRef>
          </c:cat>
          <c:val>
            <c:numRef>
              <c:f>Sheet1!$D$2:$D$4</c:f>
              <c:numCache>
                <c:formatCode>General</c:formatCode>
                <c:ptCount val="3"/>
                <c:pt idx="0">
                  <c:v>84.812726002629844</c:v>
                </c:pt>
                <c:pt idx="1">
                  <c:v>219.16603686787366</c:v>
                </c:pt>
                <c:pt idx="2">
                  <c:v>47.665742079149894</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Cru La Maqueline</c:v>
                </c:pt>
                <c:pt idx="1">
                  <c:v>Celene</c:v>
                </c:pt>
                <c:pt idx="2">
                  <c:v>Others</c:v>
                </c:pt>
              </c:strCache>
            </c:strRef>
          </c:cat>
          <c:val>
            <c:numRef>
              <c:f>Sheet1!$B$2:$B$4</c:f>
              <c:numCache>
                <c:formatCode>General</c:formatCode>
                <c:ptCount val="3"/>
                <c:pt idx="0">
                  <c:v>0.87279121633213241</c:v>
                </c:pt>
                <c:pt idx="1">
                  <c:v>0.11774461028192372</c:v>
                </c:pt>
                <c:pt idx="2">
                  <c:v>9.4641733859438439E-3</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Cru La Maqueline</c:v>
                </c:pt>
                <c:pt idx="1">
                  <c:v>Celene</c:v>
                </c:pt>
                <c:pt idx="2">
                  <c:v>Others</c:v>
                </c:pt>
              </c:strCache>
            </c:strRef>
          </c:cat>
          <c:val>
            <c:numRef>
              <c:f>Sheet1!$C$2:$C$4</c:f>
              <c:numCache>
                <c:formatCode>General</c:formatCode>
                <c:ptCount val="3"/>
                <c:pt idx="0">
                  <c:v>0.7735849056603773</c:v>
                </c:pt>
                <c:pt idx="1">
                  <c:v>0.20754716981132074</c:v>
                </c:pt>
                <c:pt idx="2">
                  <c:v>1.8867924528301886E-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Cru La Maqueline</c:v>
                </c:pt>
                <c:pt idx="1">
                  <c:v>Celene</c:v>
                </c:pt>
                <c:pt idx="2">
                  <c:v>Others</c:v>
                </c:pt>
              </c:strCache>
            </c:strRef>
          </c:cat>
          <c:val>
            <c:numRef>
              <c:f>Sheet1!$D$2:$D$4</c:f>
              <c:numCache>
                <c:formatCode>General</c:formatCode>
                <c:ptCount val="3"/>
                <c:pt idx="0">
                  <c:v>88.633443048537387</c:v>
                </c:pt>
                <c:pt idx="1">
                  <c:v>176.26893436088224</c:v>
                </c:pt>
                <c:pt idx="2">
                  <c:v>199.36156871686711</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Cru La Maqueline</c:v>
                </c:pt>
                <c:pt idx="1">
                  <c:v>Celene</c:v>
                </c:pt>
                <c:pt idx="2">
                  <c:v>Others</c:v>
                </c:pt>
              </c:strCache>
            </c:strRef>
          </c:cat>
          <c:val>
            <c:numRef>
              <c:f>Sheet1!$B$2:$B$4</c:f>
              <c:numCache>
                <c:formatCode>General</c:formatCode>
                <c:ptCount val="3"/>
                <c:pt idx="0">
                  <c:v>0.81563458001226241</c:v>
                </c:pt>
                <c:pt idx="1">
                  <c:v>0.1598405885959534</c:v>
                </c:pt>
                <c:pt idx="2">
                  <c:v>2.4524831391784182E-2</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Cru La Maqueline</c:v>
                </c:pt>
                <c:pt idx="1">
                  <c:v>Celene</c:v>
                </c:pt>
                <c:pt idx="2">
                  <c:v>Others</c:v>
                </c:pt>
              </c:strCache>
            </c:strRef>
          </c:cat>
          <c:val>
            <c:numRef>
              <c:f>Sheet1!$C$2:$C$4</c:f>
              <c:numCache>
                <c:formatCode>General</c:formatCode>
                <c:ptCount val="3"/>
                <c:pt idx="0">
                  <c:v>0.73913043478260876</c:v>
                </c:pt>
                <c:pt idx="1">
                  <c:v>0.23913043478260868</c:v>
                </c:pt>
                <c:pt idx="2">
                  <c:v>2.1739130434782608E-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Cru La Maqueline</c:v>
                </c:pt>
                <c:pt idx="1">
                  <c:v>Celene</c:v>
                </c:pt>
                <c:pt idx="2">
                  <c:v>Others</c:v>
                </c:pt>
              </c:strCache>
            </c:strRef>
          </c:cat>
          <c:val>
            <c:numRef>
              <c:f>Sheet1!$D$2:$D$4</c:f>
              <c:numCache>
                <c:formatCode>General</c:formatCode>
                <c:ptCount val="3"/>
                <c:pt idx="0">
                  <c:v>90.62029159816845</c:v>
                </c:pt>
                <c:pt idx="1">
                  <c:v>149.60557695835627</c:v>
                </c:pt>
                <c:pt idx="2">
                  <c:v>88.64130434782607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Cru La Maqueline</c:v>
                </c:pt>
                <c:pt idx="1">
                  <c:v>Celene</c:v>
                </c:pt>
              </c:strCache>
            </c:strRef>
          </c:cat>
          <c:val>
            <c:numRef>
              <c:f>Sheet1!$B$2:$B$3</c:f>
              <c:numCache>
                <c:formatCode>General</c:formatCode>
                <c:ptCount val="2"/>
                <c:pt idx="0">
                  <c:v>0.86725772688092595</c:v>
                </c:pt>
                <c:pt idx="1">
                  <c:v>0.13274227311907399</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Cru La Maqueline</c:v>
                </c:pt>
                <c:pt idx="1">
                  <c:v>Celene</c:v>
                </c:pt>
              </c:strCache>
            </c:strRef>
          </c:cat>
          <c:val>
            <c:numRef>
              <c:f>Sheet1!$C$2:$C$3</c:f>
              <c:numCache>
                <c:formatCode>General</c:formatCode>
                <c:ptCount val="2"/>
                <c:pt idx="0">
                  <c:v>0.69811320754716977</c:v>
                </c:pt>
                <c:pt idx="1">
                  <c:v>0.30188679245283018</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Cru La Maqueline</c:v>
                </c:pt>
                <c:pt idx="1">
                  <c:v>Celene</c:v>
                </c:pt>
              </c:strCache>
            </c:strRef>
          </c:cat>
          <c:val>
            <c:numRef>
              <c:f>Sheet1!$D$2:$D$3</c:f>
              <c:numCache>
                <c:formatCode>General</c:formatCode>
                <c:ptCount val="2"/>
                <c:pt idx="0">
                  <c:v>80.496625848226117</c:v>
                </c:pt>
                <c:pt idx="1">
                  <c:v>227.4232506038436</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Cru La Maqueline</c:v>
                </c:pt>
                <c:pt idx="1">
                  <c:v>Celene</c:v>
                </c:pt>
              </c:strCache>
            </c:strRef>
          </c:cat>
          <c:val>
            <c:numRef>
              <c:f>Sheet1!$B$2:$B$3</c:f>
              <c:numCache>
                <c:formatCode>General</c:formatCode>
                <c:ptCount val="2"/>
                <c:pt idx="0">
                  <c:v>0.85038693035253654</c:v>
                </c:pt>
                <c:pt idx="1">
                  <c:v>0.14961306964746346</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Cru La Maqueline</c:v>
                </c:pt>
                <c:pt idx="1">
                  <c:v>Celene</c:v>
                </c:pt>
              </c:strCache>
            </c:strRef>
          </c:cat>
          <c:val>
            <c:numRef>
              <c:f>Sheet1!$C$2:$C$3</c:f>
              <c:numCache>
                <c:formatCode>General</c:formatCode>
                <c:ptCount val="2"/>
                <c:pt idx="0">
                  <c:v>0.66666666666666663</c:v>
                </c:pt>
                <c:pt idx="1">
                  <c:v>0.33333333333333331</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Cru La Maqueline</c:v>
                </c:pt>
                <c:pt idx="1">
                  <c:v>Celene</c:v>
                </c:pt>
              </c:strCache>
            </c:strRef>
          </c:cat>
          <c:val>
            <c:numRef>
              <c:f>Sheet1!$D$2:$D$3</c:f>
              <c:numCache>
                <c:formatCode>General</c:formatCode>
                <c:ptCount val="2"/>
                <c:pt idx="0">
                  <c:v>78.395685877991227</c:v>
                </c:pt>
                <c:pt idx="1">
                  <c:v>222.79693486590037</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Cru La Maqueline</c:v>
                </c:pt>
                <c:pt idx="1">
                  <c:v>Celene</c:v>
                </c:pt>
              </c:strCache>
            </c:strRef>
          </c:cat>
          <c:val>
            <c:numRef>
              <c:f>Sheet1!$B$2:$B$3</c:f>
              <c:numCache>
                <c:formatCode>General</c:formatCode>
                <c:ptCount val="2"/>
                <c:pt idx="0">
                  <c:v>0.91212781408859844</c:v>
                </c:pt>
                <c:pt idx="1">
                  <c:v>8.7872185911401599E-2</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Cru La Maqueline</c:v>
                </c:pt>
                <c:pt idx="1">
                  <c:v>Celene</c:v>
                </c:pt>
              </c:strCache>
            </c:strRef>
          </c:cat>
          <c:val>
            <c:numRef>
              <c:f>Sheet1!$C$2:$C$3</c:f>
              <c:numCache>
                <c:formatCode>General</c:formatCode>
                <c:ptCount val="2"/>
                <c:pt idx="0">
                  <c:v>0.68421052631578949</c:v>
                </c:pt>
                <c:pt idx="1">
                  <c:v>0.31578947368421051</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Cru La Maqueline</c:v>
                </c:pt>
                <c:pt idx="1">
                  <c:v>Celene</c:v>
                </c:pt>
              </c:strCache>
            </c:strRef>
          </c:cat>
          <c:val>
            <c:numRef>
              <c:f>Sheet1!$D$2:$D$3</c:f>
              <c:numCache>
                <c:formatCode>General</c:formatCode>
                <c:ptCount val="2"/>
                <c:pt idx="0">
                  <c:v>75.012571237009723</c:v>
                </c:pt>
                <c:pt idx="1">
                  <c:v>359.37364071335361</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Cru La Maqueline</c:v>
                </c:pt>
                <c:pt idx="1">
                  <c:v>Celene</c:v>
                </c:pt>
                <c:pt idx="2">
                  <c:v>Others</c:v>
                </c:pt>
              </c:strCache>
            </c:strRef>
          </c:cat>
          <c:val>
            <c:numRef>
              <c:f>Sheet1!$B$2:$B$4</c:f>
              <c:numCache>
                <c:formatCode>General</c:formatCode>
                <c:ptCount val="3"/>
                <c:pt idx="0">
                  <c:v>0.88107130377587306</c:v>
                </c:pt>
                <c:pt idx="1">
                  <c:v>0.11878481428953157</c:v>
                </c:pt>
                <c:pt idx="2">
                  <c:v>1.4388193459538345E-4</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Cru La Maqueline</c:v>
                </c:pt>
                <c:pt idx="1">
                  <c:v>Celene</c:v>
                </c:pt>
                <c:pt idx="2">
                  <c:v>Others</c:v>
                </c:pt>
              </c:strCache>
            </c:strRef>
          </c:cat>
          <c:val>
            <c:numRef>
              <c:f>Sheet1!$C$2:$C$4</c:f>
              <c:numCache>
                <c:formatCode>General</c:formatCode>
                <c:ptCount val="3"/>
                <c:pt idx="0">
                  <c:v>0.83333333333333326</c:v>
                </c:pt>
                <c:pt idx="1">
                  <c:v>0.16666666666666669</c:v>
                </c:pt>
                <c:pt idx="2">
                  <c:v>0</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Cru La Maqueline</c:v>
                </c:pt>
                <c:pt idx="1">
                  <c:v>Celene</c:v>
                </c:pt>
                <c:pt idx="2">
                  <c:v>Others</c:v>
                </c:pt>
              </c:strCache>
            </c:strRef>
          </c:cat>
          <c:val>
            <c:numRef>
              <c:f>Sheet1!$D$2:$D$4</c:f>
              <c:numCache>
                <c:formatCode>General</c:formatCode>
                <c:ptCount val="3"/>
                <c:pt idx="0">
                  <c:v>94.581826665111393</c:v>
                </c:pt>
                <c:pt idx="1">
                  <c:v>140.30974216992561</c:v>
                </c:pt>
                <c:pt idx="2">
                  <c:v>1</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Cru La Maqueline</c:v>
                </c:pt>
                <c:pt idx="1">
                  <c:v>Celene</c:v>
                </c:pt>
              </c:strCache>
            </c:strRef>
          </c:cat>
          <c:val>
            <c:numRef>
              <c:f>Sheet1!$B$2:$B$3</c:f>
              <c:numCache>
                <c:formatCode>General</c:formatCode>
                <c:ptCount val="2"/>
                <c:pt idx="0">
                  <c:v>0.87061994609164417</c:v>
                </c:pt>
                <c:pt idx="1">
                  <c:v>0.12938005390835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Cru La Maqueline</c:v>
                </c:pt>
                <c:pt idx="1">
                  <c:v>Celene</c:v>
                </c:pt>
              </c:strCache>
            </c:strRef>
          </c:cat>
          <c:val>
            <c:numRef>
              <c:f>Sheet1!$C$2:$C$3</c:f>
              <c:numCache>
                <c:formatCode>General</c:formatCode>
                <c:ptCount val="2"/>
                <c:pt idx="0">
                  <c:v>0.69841269841269837</c:v>
                </c:pt>
                <c:pt idx="1">
                  <c:v>0.30158730158730157</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Cru La Maqueline</c:v>
                </c:pt>
                <c:pt idx="1">
                  <c:v>Celene</c:v>
                </c:pt>
              </c:strCache>
            </c:strRef>
          </c:cat>
          <c:val>
            <c:numRef>
              <c:f>Sheet1!$D$2:$D$3</c:f>
              <c:numCache>
                <c:formatCode>General</c:formatCode>
                <c:ptCount val="2"/>
                <c:pt idx="0">
                  <c:v>80.220158238734086</c:v>
                </c:pt>
                <c:pt idx="1">
                  <c:v>233.10185185185182</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Cru La Maqueline</c:v>
                </c:pt>
                <c:pt idx="1">
                  <c:v>Celene</c:v>
                </c:pt>
              </c:strCache>
            </c:strRef>
          </c:cat>
          <c:val>
            <c:numRef>
              <c:f>Sheet1!$B$2:$B$3</c:f>
              <c:numCache>
                <c:formatCode>General</c:formatCode>
                <c:ptCount val="2"/>
                <c:pt idx="0">
                  <c:v>0.81449072453622684</c:v>
                </c:pt>
                <c:pt idx="1">
                  <c:v>0.18550927546377319</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Cru La Maqueline</c:v>
                </c:pt>
                <c:pt idx="1">
                  <c:v>Celene</c:v>
                </c:pt>
              </c:strCache>
            </c:strRef>
          </c:cat>
          <c:val>
            <c:numRef>
              <c:f>Sheet1!$C$2:$C$3</c:f>
              <c:numCache>
                <c:formatCode>General</c:formatCode>
                <c:ptCount val="2"/>
                <c:pt idx="0">
                  <c:v>0.52631578947368418</c:v>
                </c:pt>
                <c:pt idx="1">
                  <c:v>0.47368421052631587</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Cru La Maqueline</c:v>
                </c:pt>
                <c:pt idx="1">
                  <c:v>Celene</c:v>
                </c:pt>
              </c:strCache>
            </c:strRef>
          </c:cat>
          <c:val>
            <c:numRef>
              <c:f>Sheet1!$D$2:$D$3</c:f>
              <c:numCache>
                <c:formatCode>General</c:formatCode>
                <c:ptCount val="2"/>
                <c:pt idx="0">
                  <c:v>64.619003460520645</c:v>
                </c:pt>
                <c:pt idx="1">
                  <c:v>255.34260178748761</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Cru La Maqueline</c:v>
                </c:pt>
                <c:pt idx="1">
                  <c:v>Celene</c:v>
                </c:pt>
                <c:pt idx="2">
                  <c:v>Others</c:v>
                </c:pt>
              </c:strCache>
            </c:strRef>
          </c:cat>
          <c:val>
            <c:numRef>
              <c:f>Sheet1!$B$2:$B$4</c:f>
              <c:numCache>
                <c:formatCode>General</c:formatCode>
                <c:ptCount val="3"/>
                <c:pt idx="0">
                  <c:v>0.35865666775350508</c:v>
                </c:pt>
                <c:pt idx="1">
                  <c:v>6.455820019563091E-2</c:v>
                </c:pt>
                <c:pt idx="2">
                  <c:v>0.57678513205086401</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Cru La Maqueline</c:v>
                </c:pt>
                <c:pt idx="1">
                  <c:v>Celene</c:v>
                </c:pt>
                <c:pt idx="2">
                  <c:v>Others</c:v>
                </c:pt>
              </c:strCache>
            </c:strRef>
          </c:cat>
          <c:val>
            <c:numRef>
              <c:f>Sheet1!$C$2:$C$4</c:f>
              <c:numCache>
                <c:formatCode>General</c:formatCode>
                <c:ptCount val="3"/>
                <c:pt idx="0">
                  <c:v>0.44827586206896558</c:v>
                </c:pt>
                <c:pt idx="1">
                  <c:v>0.29310344827586204</c:v>
                </c:pt>
                <c:pt idx="2">
                  <c:v>0.25862068965517249</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Cru La Maqueline</c:v>
                </c:pt>
                <c:pt idx="1">
                  <c:v>Celene</c:v>
                </c:pt>
                <c:pt idx="2">
                  <c:v>Others</c:v>
                </c:pt>
              </c:strCache>
            </c:strRef>
          </c:cat>
          <c:val>
            <c:numRef>
              <c:f>Sheet1!$D$2:$D$4</c:f>
              <c:numCache>
                <c:formatCode>General</c:formatCode>
                <c:ptCount val="3"/>
                <c:pt idx="0">
                  <c:v>124.98746081504703</c:v>
                </c:pt>
                <c:pt idx="1">
                  <c:v>454.01428073841868</c:v>
                </c:pt>
                <c:pt idx="2">
                  <c:v>44.838307245472812</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Cru La Maqueline</c:v>
                </c:pt>
                <c:pt idx="1">
                  <c:v>Celene</c:v>
                </c:pt>
              </c:strCache>
            </c:strRef>
          </c:cat>
          <c:val>
            <c:numRef>
              <c:f>Sheet1!$B$2:$B$3</c:f>
              <c:numCache>
                <c:formatCode>General</c:formatCode>
                <c:ptCount val="2"/>
                <c:pt idx="0">
                  <c:v>0.67826552462526768</c:v>
                </c:pt>
                <c:pt idx="1">
                  <c:v>0.32173447537473232</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Cru La Maqueline</c:v>
                </c:pt>
                <c:pt idx="1">
                  <c:v>Celene</c:v>
                </c:pt>
              </c:strCache>
            </c:strRef>
          </c:cat>
          <c:val>
            <c:numRef>
              <c:f>Sheet1!$C$2:$C$3</c:f>
              <c:numCache>
                <c:formatCode>General</c:formatCode>
                <c:ptCount val="2"/>
                <c:pt idx="0">
                  <c:v>0.6</c:v>
                </c:pt>
                <c:pt idx="1">
                  <c:v>0.40000000000000008</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Cru La Maqueline</c:v>
                </c:pt>
                <c:pt idx="1">
                  <c:v>Celene</c:v>
                </c:pt>
              </c:strCache>
            </c:strRef>
          </c:cat>
          <c:val>
            <c:numRef>
              <c:f>Sheet1!$D$2:$D$3</c:f>
              <c:numCache>
                <c:formatCode>General</c:formatCode>
                <c:ptCount val="2"/>
                <c:pt idx="0">
                  <c:v>88.460931333859506</c:v>
                </c:pt>
                <c:pt idx="1">
                  <c:v>124.32612312811983</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Cru La Maqueline</c:v>
                </c:pt>
                <c:pt idx="1">
                  <c:v>Celene</c:v>
                </c:pt>
              </c:strCache>
            </c:strRef>
          </c:cat>
          <c:val>
            <c:numRef>
              <c:f>Sheet1!$B$2:$B$3</c:f>
              <c:numCache>
                <c:formatCode>General</c:formatCode>
                <c:ptCount val="2"/>
                <c:pt idx="0">
                  <c:v>0.95180314533622556</c:v>
                </c:pt>
                <c:pt idx="1">
                  <c:v>4.8196854663774401E-2</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Cru La Maqueline</c:v>
                </c:pt>
                <c:pt idx="1">
                  <c:v>Celene</c:v>
                </c:pt>
              </c:strCache>
            </c:strRef>
          </c:cat>
          <c:val>
            <c:numRef>
              <c:f>Sheet1!$C$2:$C$3</c:f>
              <c:numCache>
                <c:formatCode>General</c:formatCode>
                <c:ptCount val="2"/>
                <c:pt idx="0">
                  <c:v>0.86206896551724133</c:v>
                </c:pt>
                <c:pt idx="1">
                  <c:v>0.137931034482758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Cru La Maqueline</c:v>
                </c:pt>
                <c:pt idx="1">
                  <c:v>Celene</c:v>
                </c:pt>
              </c:strCache>
            </c:strRef>
          </c:cat>
          <c:val>
            <c:numRef>
              <c:f>Sheet1!$D$2:$D$3</c:f>
              <c:numCache>
                <c:formatCode>General</c:formatCode>
                <c:ptCount val="2"/>
                <c:pt idx="0">
                  <c:v>90.572191292004447</c:v>
                </c:pt>
                <c:pt idx="1">
                  <c:v>286.18264707308794</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Cru La Maqueline</c:v>
                </c:pt>
                <c:pt idx="1">
                  <c:v>Celene</c:v>
                </c:pt>
              </c:strCache>
            </c:strRef>
          </c:cat>
          <c:val>
            <c:numRef>
              <c:f>Sheet1!$B$2:$B$3</c:f>
              <c:numCache>
                <c:formatCode>General</c:formatCode>
                <c:ptCount val="2"/>
                <c:pt idx="0">
                  <c:v>0.94748358862144422</c:v>
                </c:pt>
                <c:pt idx="1">
                  <c:v>5.2516411378555797E-2</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Cru La Maqueline</c:v>
                </c:pt>
                <c:pt idx="1">
                  <c:v>Celene</c:v>
                </c:pt>
              </c:strCache>
            </c:strRef>
          </c:cat>
          <c:val>
            <c:numRef>
              <c:f>Sheet1!$C$2:$C$3</c:f>
              <c:numCache>
                <c:formatCode>General</c:formatCode>
                <c:ptCount val="2"/>
                <c:pt idx="0">
                  <c:v>0.79411764705882371</c:v>
                </c:pt>
                <c:pt idx="1">
                  <c:v>0.2058823529411765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Cru La Maqueline</c:v>
                </c:pt>
                <c:pt idx="1">
                  <c:v>Celene</c:v>
                </c:pt>
              </c:strCache>
            </c:strRef>
          </c:cat>
          <c:val>
            <c:numRef>
              <c:f>Sheet1!$D$2:$D$3</c:f>
              <c:numCache>
                <c:formatCode>General</c:formatCode>
                <c:ptCount val="2"/>
                <c:pt idx="0">
                  <c:v>83.813340578725743</c:v>
                </c:pt>
                <c:pt idx="1">
                  <c:v>392.03431372549028</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Cru La Maqueline</c:v>
                </c:pt>
                <c:pt idx="1">
                  <c:v>Celene</c:v>
                </c:pt>
                <c:pt idx="2">
                  <c:v>Others</c:v>
                </c:pt>
              </c:strCache>
            </c:strRef>
          </c:cat>
          <c:val>
            <c:numRef>
              <c:f>Sheet1!$B$2:$B$4</c:f>
              <c:numCache>
                <c:formatCode>General</c:formatCode>
                <c:ptCount val="3"/>
                <c:pt idx="0">
                  <c:v>0.73013469771327133</c:v>
                </c:pt>
                <c:pt idx="1">
                  <c:v>0.1024329121854443</c:v>
                </c:pt>
                <c:pt idx="2">
                  <c:v>0.16743239010128433</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Cru La Maqueline</c:v>
                </c:pt>
                <c:pt idx="1">
                  <c:v>Celene</c:v>
                </c:pt>
                <c:pt idx="2">
                  <c:v>Others</c:v>
                </c:pt>
              </c:strCache>
            </c:strRef>
          </c:cat>
          <c:val>
            <c:numRef>
              <c:f>Sheet1!$C$2:$C$4</c:f>
              <c:numCache>
                <c:formatCode>General</c:formatCode>
                <c:ptCount val="3"/>
                <c:pt idx="0">
                  <c:v>0.62745098039215685</c:v>
                </c:pt>
                <c:pt idx="1">
                  <c:v>0.29411764705882359</c:v>
                </c:pt>
                <c:pt idx="2">
                  <c:v>7.8431372549019607E-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Cru La Maqueline</c:v>
                </c:pt>
                <c:pt idx="1">
                  <c:v>Celene</c:v>
                </c:pt>
                <c:pt idx="2">
                  <c:v>Others</c:v>
                </c:pt>
              </c:strCache>
            </c:strRef>
          </c:cat>
          <c:val>
            <c:numRef>
              <c:f>Sheet1!$D$2:$D$4</c:f>
              <c:numCache>
                <c:formatCode>General</c:formatCode>
                <c:ptCount val="3"/>
                <c:pt idx="0">
                  <c:v>85.936332344879318</c:v>
                </c:pt>
                <c:pt idx="1">
                  <c:v>287.13197817353245</c:v>
                </c:pt>
                <c:pt idx="2">
                  <c:v>46.8436080387877</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Cru La Maqueline</c:v>
                </c:pt>
                <c:pt idx="1">
                  <c:v>Celene</c:v>
                </c:pt>
                <c:pt idx="2">
                  <c:v>Others</c:v>
                </c:pt>
              </c:strCache>
            </c:strRef>
          </c:cat>
          <c:val>
            <c:numRef>
              <c:f>Sheet1!$B$2:$B$4</c:f>
              <c:numCache>
                <c:formatCode>General</c:formatCode>
                <c:ptCount val="3"/>
                <c:pt idx="0">
                  <c:v>0.84429983128464692</c:v>
                </c:pt>
                <c:pt idx="1">
                  <c:v>0.15513778420502933</c:v>
                </c:pt>
                <c:pt idx="2">
                  <c:v>5.623845103237728E-4</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Cru La Maqueline</c:v>
                </c:pt>
                <c:pt idx="1">
                  <c:v>Celene</c:v>
                </c:pt>
                <c:pt idx="2">
                  <c:v>Others</c:v>
                </c:pt>
              </c:strCache>
            </c:strRef>
          </c:cat>
          <c:val>
            <c:numRef>
              <c:f>Sheet1!$C$2:$C$4</c:f>
              <c:numCache>
                <c:formatCode>General</c:formatCode>
                <c:ptCount val="3"/>
                <c:pt idx="0">
                  <c:v>0.7441860465116279</c:v>
                </c:pt>
                <c:pt idx="1">
                  <c:v>0.2558139534883721</c:v>
                </c:pt>
                <c:pt idx="2">
                  <c:v>0</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Cru La Maqueline</c:v>
                </c:pt>
                <c:pt idx="1">
                  <c:v>Celene</c:v>
                </c:pt>
                <c:pt idx="2">
                  <c:v>Others</c:v>
                </c:pt>
              </c:strCache>
            </c:strRef>
          </c:cat>
          <c:val>
            <c:numRef>
              <c:f>Sheet1!$D$2:$D$4</c:f>
              <c:numCache>
                <c:formatCode>General</c:formatCode>
                <c:ptCount val="3"/>
                <c:pt idx="0">
                  <c:v>88.142389579695802</c:v>
                </c:pt>
                <c:pt idx="1">
                  <c:v>164.89468042826348</c:v>
                </c:pt>
                <c:pt idx="2">
                  <c:v>1</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Cru La Maqueline</c:v>
                </c:pt>
                <c:pt idx="1">
                  <c:v>Celene</c:v>
                </c:pt>
                <c:pt idx="2">
                  <c:v>Others</c:v>
                </c:pt>
              </c:strCache>
            </c:strRef>
          </c:cat>
          <c:val>
            <c:numRef>
              <c:f>Sheet1!$B$2:$B$4</c:f>
              <c:numCache>
                <c:formatCode>General</c:formatCode>
                <c:ptCount val="3"/>
                <c:pt idx="0">
                  <c:v>0.69100276451369691</c:v>
                </c:pt>
                <c:pt idx="1">
                  <c:v>0.2635084192008042</c:v>
                </c:pt>
                <c:pt idx="2">
                  <c:v>4.5488816285498869E-2</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Cru La Maqueline</c:v>
                </c:pt>
                <c:pt idx="1">
                  <c:v>Celene</c:v>
                </c:pt>
                <c:pt idx="2">
                  <c:v>Others</c:v>
                </c:pt>
              </c:strCache>
            </c:strRef>
          </c:cat>
          <c:val>
            <c:numRef>
              <c:f>Sheet1!$C$2:$C$4</c:f>
              <c:numCache>
                <c:formatCode>General</c:formatCode>
                <c:ptCount val="3"/>
                <c:pt idx="0">
                  <c:v>0.54545454545454541</c:v>
                </c:pt>
                <c:pt idx="1">
                  <c:v>0.39393939393939392</c:v>
                </c:pt>
                <c:pt idx="2">
                  <c:v>6.0606060606060608E-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Cru La Maqueline</c:v>
                </c:pt>
                <c:pt idx="1">
                  <c:v>Celene</c:v>
                </c:pt>
                <c:pt idx="2">
                  <c:v>Others</c:v>
                </c:pt>
              </c:strCache>
            </c:strRef>
          </c:cat>
          <c:val>
            <c:numRef>
              <c:f>Sheet1!$D$2:$D$4</c:f>
              <c:numCache>
                <c:formatCode>General</c:formatCode>
                <c:ptCount val="3"/>
                <c:pt idx="0">
                  <c:v>78.936666170708719</c:v>
                </c:pt>
                <c:pt idx="1">
                  <c:v>149.49783962659501</c:v>
                </c:pt>
                <c:pt idx="2">
                  <c:v>133.23288129917964</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567</c:f>
              <c:strCache>
                <c:ptCount val="566"/>
                <c:pt idx="0">
                  <c:v>Ruinart</c:v>
                </c:pt>
                <c:pt idx="1">
                  <c:v>Nicolas</c:v>
                </c:pt>
                <c:pt idx="2">
                  <c:v>Deutz</c:v>
                </c:pt>
                <c:pt idx="3">
                  <c:v>Ruinart</c:v>
                </c:pt>
                <c:pt idx="4">
                  <c:v>Heidsieck &amp;</c:v>
                </c:pt>
                <c:pt idx="5">
                  <c:v>Malard</c:v>
                </c:pt>
                <c:pt idx="6">
                  <c:v>Laurent Per</c:v>
                </c:pt>
                <c:pt idx="7">
                  <c:v>Ayala</c:v>
                </c:pt>
                <c:pt idx="8">
                  <c:v>De Bligny</c:v>
                </c:pt>
                <c:pt idx="9">
                  <c:v>Nicolas Feu</c:v>
                </c:pt>
                <c:pt idx="10">
                  <c:v>Ruinart</c:v>
                </c:pt>
                <c:pt idx="11">
                  <c:v>Canard Duch</c:v>
                </c:pt>
                <c:pt idx="12">
                  <c:v>Taittinger</c:v>
                </c:pt>
                <c:pt idx="13">
                  <c:v>Ruinart</c:v>
                </c:pt>
                <c:pt idx="14">
                  <c:v>Bollinger</c:v>
                </c:pt>
                <c:pt idx="15">
                  <c:v>Besserat De</c:v>
                </c:pt>
                <c:pt idx="16">
                  <c:v>Demoiselle</c:v>
                </c:pt>
                <c:pt idx="17">
                  <c:v>Perrier Jou</c:v>
                </c:pt>
                <c:pt idx="18">
                  <c:v>Ruinart</c:v>
                </c:pt>
                <c:pt idx="19">
                  <c:v>Deutz</c:v>
                </c:pt>
                <c:pt idx="20">
                  <c:v>Ruinart</c:v>
                </c:pt>
                <c:pt idx="21">
                  <c:v>All Others</c:v>
                </c:pt>
                <c:pt idx="22">
                  <c:v>All Others</c:v>
                </c:pt>
                <c:pt idx="23">
                  <c:v>Laurent Per</c:v>
                </c:pt>
                <c:pt idx="24">
                  <c:v>Roederer</c:v>
                </c:pt>
                <c:pt idx="25">
                  <c:v>Pommery</c:v>
                </c:pt>
                <c:pt idx="26">
                  <c:v>Vesselle</c:v>
                </c:pt>
                <c:pt idx="27">
                  <c:v>Campari: Al</c:v>
                </c:pt>
                <c:pt idx="28">
                  <c:v>Bottega</c:v>
                </c:pt>
                <c:pt idx="29">
                  <c:v>Dom Perigno</c:v>
                </c:pt>
                <c:pt idx="30">
                  <c:v>Deutz</c:v>
                </c:pt>
                <c:pt idx="31">
                  <c:v>Ruinart</c:v>
                </c:pt>
                <c:pt idx="32">
                  <c:v>Savian</c:v>
                </c:pt>
                <c:pt idx="33">
                  <c:v>Moët &amp; Chan</c:v>
                </c:pt>
                <c:pt idx="34">
                  <c:v>Dom Perigno</c:v>
                </c:pt>
                <c:pt idx="35">
                  <c:v>Malard</c:v>
                </c:pt>
                <c:pt idx="36">
                  <c:v>All Others</c:v>
                </c:pt>
                <c:pt idx="37">
                  <c:v>Veuve Clicq</c:v>
                </c:pt>
                <c:pt idx="38">
                  <c:v>Taittinger</c:v>
                </c:pt>
                <c:pt idx="39">
                  <c:v>Demoiselle</c:v>
                </c:pt>
                <c:pt idx="40">
                  <c:v>Veuve Clicq</c:v>
                </c:pt>
                <c:pt idx="41">
                  <c:v>Laurent Per</c:v>
                </c:pt>
                <c:pt idx="42">
                  <c:v>Nicolas</c:v>
                </c:pt>
                <c:pt idx="43">
                  <c:v>Patriarche</c:v>
                </c:pt>
                <c:pt idx="44">
                  <c:v>Mure</c:v>
                </c:pt>
                <c:pt idx="45">
                  <c:v>Henriot</c:v>
                </c:pt>
                <c:pt idx="46">
                  <c:v>Ruinart</c:v>
                </c:pt>
                <c:pt idx="47">
                  <c:v>Roederer</c:v>
                </c:pt>
                <c:pt idx="48">
                  <c:v>Savian</c:v>
                </c:pt>
                <c:pt idx="49">
                  <c:v>De Chanceny</c:v>
                </c:pt>
                <c:pt idx="50">
                  <c:v>Veuve Clicq</c:v>
                </c:pt>
                <c:pt idx="51">
                  <c:v>Malard</c:v>
                </c:pt>
                <c:pt idx="52">
                  <c:v>All Others</c:v>
                </c:pt>
                <c:pt idx="53">
                  <c:v>Besserat De</c:v>
                </c:pt>
                <c:pt idx="54">
                  <c:v>De Venoge</c:v>
                </c:pt>
                <c:pt idx="55">
                  <c:v>French Bloo</c:v>
                </c:pt>
                <c:pt idx="56">
                  <c:v>Nicolas</c:v>
                </c:pt>
                <c:pt idx="57">
                  <c:v>Bouvet-Ladu</c:v>
                </c:pt>
                <c:pt idx="58">
                  <c:v>Ruinart</c:v>
                </c:pt>
                <c:pt idx="59">
                  <c:v>Deutz</c:v>
                </c:pt>
                <c:pt idx="60">
                  <c:v>Piper Heids</c:v>
                </c:pt>
                <c:pt idx="61">
                  <c:v>Nicolas Feu</c:v>
                </c:pt>
                <c:pt idx="62">
                  <c:v>Louis Marti</c:v>
                </c:pt>
                <c:pt idx="63">
                  <c:v>Moët &amp; Chan</c:v>
                </c:pt>
                <c:pt idx="64">
                  <c:v>Nicolas</c:v>
                </c:pt>
                <c:pt idx="65">
                  <c:v>Moët &amp; Chan</c:v>
                </c:pt>
                <c:pt idx="66">
                  <c:v>Nicolas Feu</c:v>
                </c:pt>
                <c:pt idx="67">
                  <c:v>Ruinart</c:v>
                </c:pt>
                <c:pt idx="68">
                  <c:v>Lyre's</c:v>
                </c:pt>
                <c:pt idx="69">
                  <c:v>Lanson</c:v>
                </c:pt>
                <c:pt idx="70">
                  <c:v>Campari: Al</c:v>
                </c:pt>
                <c:pt idx="71">
                  <c:v>Nicolas Feu</c:v>
                </c:pt>
                <c:pt idx="72">
                  <c:v>Roederer</c:v>
                </c:pt>
                <c:pt idx="73">
                  <c:v>Canard Duch</c:v>
                </c:pt>
                <c:pt idx="74">
                  <c:v>Bollinger</c:v>
                </c:pt>
                <c:pt idx="75">
                  <c:v>Malard</c:v>
                </c:pt>
                <c:pt idx="76">
                  <c:v>De Bligny</c:v>
                </c:pt>
                <c:pt idx="77">
                  <c:v>Malard</c:v>
                </c:pt>
                <c:pt idx="78">
                  <c:v>Krug</c:v>
                </c:pt>
                <c:pt idx="79">
                  <c:v>Delamotte</c:v>
                </c:pt>
                <c:pt idx="80">
                  <c:v>Henriot</c:v>
                </c:pt>
                <c:pt idx="81">
                  <c:v>Besserat De</c:v>
                </c:pt>
                <c:pt idx="82">
                  <c:v>Pommery</c:v>
                </c:pt>
                <c:pt idx="83">
                  <c:v>De Chanceny</c:v>
                </c:pt>
                <c:pt idx="84">
                  <c:v>Laurent Per</c:v>
                </c:pt>
                <c:pt idx="85">
                  <c:v>Henriot</c:v>
                </c:pt>
                <c:pt idx="86">
                  <c:v>Ayala</c:v>
                </c:pt>
                <c:pt idx="87">
                  <c:v>Roederer</c:v>
                </c:pt>
                <c:pt idx="88">
                  <c:v>All Others</c:v>
                </c:pt>
                <c:pt idx="89">
                  <c:v>Patriarche</c:v>
                </c:pt>
                <c:pt idx="90">
                  <c:v>Vranken</c:v>
                </c:pt>
                <c:pt idx="91">
                  <c:v>Canard Duch</c:v>
                </c:pt>
                <c:pt idx="92">
                  <c:v>Ruinart</c:v>
                </c:pt>
                <c:pt idx="93">
                  <c:v>De Venoge</c:v>
                </c:pt>
                <c:pt idx="94">
                  <c:v>Perrier Jou</c:v>
                </c:pt>
                <c:pt idx="95">
                  <c:v>Roederer</c:v>
                </c:pt>
                <c:pt idx="96">
                  <c:v>Henriot</c:v>
                </c:pt>
                <c:pt idx="97">
                  <c:v>Dom Perigno</c:v>
                </c:pt>
                <c:pt idx="98">
                  <c:v>Roederer</c:v>
                </c:pt>
                <c:pt idx="99">
                  <c:v>Roederer</c:v>
                </c:pt>
                <c:pt idx="100">
                  <c:v>Dom Perigno</c:v>
                </c:pt>
                <c:pt idx="101">
                  <c:v>Ruinart</c:v>
                </c:pt>
                <c:pt idx="102">
                  <c:v>Kriter</c:v>
                </c:pt>
                <c:pt idx="103">
                  <c:v>Ruinart</c:v>
                </c:pt>
                <c:pt idx="104">
                  <c:v>Nicolas</c:v>
                </c:pt>
                <c:pt idx="105">
                  <c:v>Ruinart</c:v>
                </c:pt>
                <c:pt idx="106">
                  <c:v>De Venoge</c:v>
                </c:pt>
                <c:pt idx="107">
                  <c:v>Malard</c:v>
                </c:pt>
                <c:pt idx="108">
                  <c:v>Bollinger</c:v>
                </c:pt>
                <c:pt idx="109">
                  <c:v>De Venoge</c:v>
                </c:pt>
                <c:pt idx="110">
                  <c:v>Bottega</c:v>
                </c:pt>
                <c:pt idx="111">
                  <c:v>Nicolas</c:v>
                </c:pt>
                <c:pt idx="112">
                  <c:v>Roederer</c:v>
                </c:pt>
                <c:pt idx="113">
                  <c:v>Vranken</c:v>
                </c:pt>
                <c:pt idx="114">
                  <c:v>Deutz</c:v>
                </c:pt>
                <c:pt idx="115">
                  <c:v>Roederer</c:v>
                </c:pt>
                <c:pt idx="116">
                  <c:v>Deutz</c:v>
                </c:pt>
                <c:pt idx="117">
                  <c:v>Canard Duch</c:v>
                </c:pt>
                <c:pt idx="118">
                  <c:v>Ruinart</c:v>
                </c:pt>
                <c:pt idx="119">
                  <c:v>Canard Duch</c:v>
                </c:pt>
                <c:pt idx="120">
                  <c:v>All Others</c:v>
                </c:pt>
                <c:pt idx="121">
                  <c:v>Veuve Clicq</c:v>
                </c:pt>
                <c:pt idx="122">
                  <c:v>Roederer</c:v>
                </c:pt>
                <c:pt idx="123">
                  <c:v>Laurent Per</c:v>
                </c:pt>
                <c:pt idx="124">
                  <c:v>Contarini</c:v>
                </c:pt>
                <c:pt idx="125">
                  <c:v>Moët &amp; Chan</c:v>
                </c:pt>
                <c:pt idx="126">
                  <c:v>All Others</c:v>
                </c:pt>
                <c:pt idx="127">
                  <c:v>Nicolas</c:v>
                </c:pt>
                <c:pt idx="128">
                  <c:v>All Others</c:v>
                </c:pt>
                <c:pt idx="129">
                  <c:v>Nicolas</c:v>
                </c:pt>
                <c:pt idx="130">
                  <c:v>All Others</c:v>
                </c:pt>
                <c:pt idx="131">
                  <c:v>Cru La Maqu</c:v>
                </c:pt>
                <c:pt idx="132">
                  <c:v>Nicolas</c:v>
                </c:pt>
                <c:pt idx="133">
                  <c:v>Nicolas</c:v>
                </c:pt>
                <c:pt idx="134">
                  <c:v>Bollinger</c:v>
                </c:pt>
                <c:pt idx="135">
                  <c:v>Nicolas Feu</c:v>
                </c:pt>
                <c:pt idx="136">
                  <c:v>All Others</c:v>
                </c:pt>
                <c:pt idx="137">
                  <c:v>All Others</c:v>
                </c:pt>
                <c:pt idx="138">
                  <c:v>Roederer</c:v>
                </c:pt>
                <c:pt idx="139">
                  <c:v>All Others</c:v>
                </c:pt>
                <c:pt idx="140">
                  <c:v>All Others</c:v>
                </c:pt>
                <c:pt idx="141">
                  <c:v>Laurent Per</c:v>
                </c:pt>
                <c:pt idx="142">
                  <c:v>Nicolas</c:v>
                </c:pt>
                <c:pt idx="143">
                  <c:v>All Others</c:v>
                </c:pt>
                <c:pt idx="144">
                  <c:v>All Others</c:v>
                </c:pt>
                <c:pt idx="145">
                  <c:v>Taittinger</c:v>
                </c:pt>
                <c:pt idx="146">
                  <c:v>Roederer</c:v>
                </c:pt>
                <c:pt idx="147">
                  <c:v>Besserat De</c:v>
                </c:pt>
                <c:pt idx="148">
                  <c:v>Demoiselle</c:v>
                </c:pt>
                <c:pt idx="149">
                  <c:v>Nicolas</c:v>
                </c:pt>
                <c:pt idx="150">
                  <c:v>Pommery</c:v>
                </c:pt>
                <c:pt idx="151">
                  <c:v>Nicolas</c:v>
                </c:pt>
                <c:pt idx="152">
                  <c:v>Nicolas</c:v>
                </c:pt>
                <c:pt idx="153">
                  <c:v>Laurent Per</c:v>
                </c:pt>
                <c:pt idx="154">
                  <c:v>Ruinart</c:v>
                </c:pt>
                <c:pt idx="155">
                  <c:v>All Others</c:v>
                </c:pt>
                <c:pt idx="156">
                  <c:v>Laurent Per</c:v>
                </c:pt>
                <c:pt idx="157">
                  <c:v>Roederer</c:v>
                </c:pt>
                <c:pt idx="158">
                  <c:v>Dom Perigno</c:v>
                </c:pt>
                <c:pt idx="159">
                  <c:v>Lanson</c:v>
                </c:pt>
                <c:pt idx="160">
                  <c:v>All Others</c:v>
                </c:pt>
                <c:pt idx="161">
                  <c:v>Pommery</c:v>
                </c:pt>
                <c:pt idx="162">
                  <c:v>Ruinart</c:v>
                </c:pt>
                <c:pt idx="163">
                  <c:v>Moët &amp; Chan</c:v>
                </c:pt>
                <c:pt idx="164">
                  <c:v>All Others</c:v>
                </c:pt>
                <c:pt idx="165">
                  <c:v>Perrier Jou</c:v>
                </c:pt>
                <c:pt idx="166">
                  <c:v>Perrier Jou</c:v>
                </c:pt>
                <c:pt idx="167">
                  <c:v>Canard Duch</c:v>
                </c:pt>
                <c:pt idx="168">
                  <c:v>All Others</c:v>
                </c:pt>
                <c:pt idx="169">
                  <c:v>Ruinart</c:v>
                </c:pt>
                <c:pt idx="170">
                  <c:v>All Others</c:v>
                </c:pt>
                <c:pt idx="171">
                  <c:v>Veuve Clicq</c:v>
                </c:pt>
                <c:pt idx="172">
                  <c:v>Vesselle</c:v>
                </c:pt>
                <c:pt idx="173">
                  <c:v>Taittinger</c:v>
                </c:pt>
                <c:pt idx="174">
                  <c:v>Louis Marti</c:v>
                </c:pt>
                <c:pt idx="175">
                  <c:v>Ruinart</c:v>
                </c:pt>
                <c:pt idx="176">
                  <c:v>Roederer</c:v>
                </c:pt>
                <c:pt idx="177">
                  <c:v>Contarini</c:v>
                </c:pt>
                <c:pt idx="178">
                  <c:v>Pommery</c:v>
                </c:pt>
                <c:pt idx="179">
                  <c:v>All Others</c:v>
                </c:pt>
                <c:pt idx="180">
                  <c:v>Laurent Per</c:v>
                </c:pt>
                <c:pt idx="181">
                  <c:v>All Others</c:v>
                </c:pt>
                <c:pt idx="182">
                  <c:v>Delamotte</c:v>
                </c:pt>
                <c:pt idx="183">
                  <c:v>Deutz</c:v>
                </c:pt>
                <c:pt idx="184">
                  <c:v>Laurent Per</c:v>
                </c:pt>
                <c:pt idx="185">
                  <c:v>All Others</c:v>
                </c:pt>
                <c:pt idx="186">
                  <c:v>Nicolas</c:v>
                </c:pt>
                <c:pt idx="187">
                  <c:v>Vranken</c:v>
                </c:pt>
                <c:pt idx="188">
                  <c:v>Nicolas</c:v>
                </c:pt>
                <c:pt idx="189">
                  <c:v>Pommery</c:v>
                </c:pt>
                <c:pt idx="190">
                  <c:v>All Others</c:v>
                </c:pt>
                <c:pt idx="191">
                  <c:v>Deutz</c:v>
                </c:pt>
                <c:pt idx="192">
                  <c:v>Ayala</c:v>
                </c:pt>
                <c:pt idx="193">
                  <c:v>Roederer</c:v>
                </c:pt>
                <c:pt idx="194">
                  <c:v>All Others</c:v>
                </c:pt>
                <c:pt idx="195">
                  <c:v>Demoiselle</c:v>
                </c:pt>
                <c:pt idx="196">
                  <c:v>Canard Duch</c:v>
                </c:pt>
                <c:pt idx="197">
                  <c:v>Piper Heids</c:v>
                </c:pt>
                <c:pt idx="198">
                  <c:v>Roederer</c:v>
                </c:pt>
                <c:pt idx="199">
                  <c:v>Piper Heids</c:v>
                </c:pt>
                <c:pt idx="200">
                  <c:v>Pommery</c:v>
                </c:pt>
                <c:pt idx="201">
                  <c:v>Lanson-Bcc:</c:v>
                </c:pt>
                <c:pt idx="202">
                  <c:v>All Others</c:v>
                </c:pt>
                <c:pt idx="203">
                  <c:v>Nicolas</c:v>
                </c:pt>
                <c:pt idx="204">
                  <c:v>Ruinart</c:v>
                </c:pt>
                <c:pt idx="205">
                  <c:v>Moët &amp; Chan</c:v>
                </c:pt>
                <c:pt idx="206">
                  <c:v>All Others</c:v>
                </c:pt>
                <c:pt idx="207">
                  <c:v>All Others</c:v>
                </c:pt>
                <c:pt idx="208">
                  <c:v>Nicolas</c:v>
                </c:pt>
                <c:pt idx="209">
                  <c:v>All Others</c:v>
                </c:pt>
                <c:pt idx="210">
                  <c:v>Vesselle</c:v>
                </c:pt>
                <c:pt idx="211">
                  <c:v>Bollinger</c:v>
                </c:pt>
                <c:pt idx="212">
                  <c:v>Besserat De</c:v>
                </c:pt>
                <c:pt idx="213">
                  <c:v>Veuve Clicq</c:v>
                </c:pt>
                <c:pt idx="214">
                  <c:v>All Others</c:v>
                </c:pt>
                <c:pt idx="215">
                  <c:v>All Others</c:v>
                </c:pt>
                <c:pt idx="216">
                  <c:v>Veuve Clicq</c:v>
                </c:pt>
                <c:pt idx="217">
                  <c:v>All Others</c:v>
                </c:pt>
                <c:pt idx="218">
                  <c:v>Dom Perigno</c:v>
                </c:pt>
                <c:pt idx="219">
                  <c:v>Taittinger</c:v>
                </c:pt>
                <c:pt idx="220">
                  <c:v>Roederer</c:v>
                </c:pt>
                <c:pt idx="221">
                  <c:v>All Others</c:v>
                </c:pt>
                <c:pt idx="222">
                  <c:v>All Others</c:v>
                </c:pt>
                <c:pt idx="223">
                  <c:v>Mure</c:v>
                </c:pt>
                <c:pt idx="224">
                  <c:v>Malard</c:v>
                </c:pt>
                <c:pt idx="225">
                  <c:v>All Others</c:v>
                </c:pt>
                <c:pt idx="226">
                  <c:v>All Others</c:v>
                </c:pt>
                <c:pt idx="227">
                  <c:v>Deutz</c:v>
                </c:pt>
                <c:pt idx="228">
                  <c:v>All Others</c:v>
                </c:pt>
                <c:pt idx="229">
                  <c:v>Bouvet-Ladu</c:v>
                </c:pt>
                <c:pt idx="230">
                  <c:v>All Others</c:v>
                </c:pt>
                <c:pt idx="231">
                  <c:v>All Others</c:v>
                </c:pt>
                <c:pt idx="232">
                  <c:v>Piper Heids</c:v>
                </c:pt>
                <c:pt idx="233">
                  <c:v>All Others</c:v>
                </c:pt>
                <c:pt idx="234">
                  <c:v>Moët &amp; Chan</c:v>
                </c:pt>
                <c:pt idx="235">
                  <c:v>All Others</c:v>
                </c:pt>
                <c:pt idx="236">
                  <c:v>Bollinger</c:v>
                </c:pt>
                <c:pt idx="237">
                  <c:v>Nicolas</c:v>
                </c:pt>
                <c:pt idx="238">
                  <c:v>Laurent Per</c:v>
                </c:pt>
                <c:pt idx="239">
                  <c:v>All Others</c:v>
                </c:pt>
                <c:pt idx="240">
                  <c:v>All Others</c:v>
                </c:pt>
                <c:pt idx="241">
                  <c:v>Henriot</c:v>
                </c:pt>
                <c:pt idx="242">
                  <c:v>All Others</c:v>
                </c:pt>
                <c:pt idx="243">
                  <c:v>Bouvet-Ladu</c:v>
                </c:pt>
                <c:pt idx="244">
                  <c:v>All Others</c:v>
                </c:pt>
                <c:pt idx="245">
                  <c:v>Roederer</c:v>
                </c:pt>
                <c:pt idx="246">
                  <c:v>Bollinger</c:v>
                </c:pt>
                <c:pt idx="247">
                  <c:v>Moët &amp; Chan</c:v>
                </c:pt>
                <c:pt idx="248">
                  <c:v>De Venoge</c:v>
                </c:pt>
                <c:pt idx="249">
                  <c:v>Ruinart</c:v>
                </c:pt>
                <c:pt idx="250">
                  <c:v>Nicolas</c:v>
                </c:pt>
                <c:pt idx="251">
                  <c:v>All Others</c:v>
                </c:pt>
                <c:pt idx="252">
                  <c:v>All Others</c:v>
                </c:pt>
                <c:pt idx="253">
                  <c:v>Canard Duch</c:v>
                </c:pt>
                <c:pt idx="254">
                  <c:v>Bollinger</c:v>
                </c:pt>
                <c:pt idx="255">
                  <c:v>Bouvet-Ladu</c:v>
                </c:pt>
                <c:pt idx="256">
                  <c:v>Krug</c:v>
                </c:pt>
                <c:pt idx="257">
                  <c:v>De Venoge</c:v>
                </c:pt>
                <c:pt idx="258">
                  <c:v>All Others</c:v>
                </c:pt>
                <c:pt idx="259">
                  <c:v>All Others</c:v>
                </c:pt>
                <c:pt idx="260">
                  <c:v>Ruinart</c:v>
                </c:pt>
                <c:pt idx="261">
                  <c:v>Henriot</c:v>
                </c:pt>
                <c:pt idx="262">
                  <c:v>Nicolas</c:v>
                </c:pt>
                <c:pt idx="263">
                  <c:v>De Venoge</c:v>
                </c:pt>
                <c:pt idx="264">
                  <c:v>All Others</c:v>
                </c:pt>
                <c:pt idx="265">
                  <c:v>All Others</c:v>
                </c:pt>
                <c:pt idx="266">
                  <c:v>Ruinart</c:v>
                </c:pt>
                <c:pt idx="267">
                  <c:v>Deutz</c:v>
                </c:pt>
                <c:pt idx="268">
                  <c:v>De Venoge</c:v>
                </c:pt>
                <c:pt idx="269">
                  <c:v>All Others</c:v>
                </c:pt>
                <c:pt idx="270">
                  <c:v>Dom Perigno</c:v>
                </c:pt>
                <c:pt idx="271">
                  <c:v>Vilaveroni</c:v>
                </c:pt>
                <c:pt idx="272">
                  <c:v>Laurent Per</c:v>
                </c:pt>
                <c:pt idx="273">
                  <c:v>Perrier Jou</c:v>
                </c:pt>
                <c:pt idx="274">
                  <c:v>Deutz</c:v>
                </c:pt>
                <c:pt idx="275">
                  <c:v>All Others</c:v>
                </c:pt>
                <c:pt idx="276">
                  <c:v>Celene</c:v>
                </c:pt>
                <c:pt idx="277">
                  <c:v>All Others</c:v>
                </c:pt>
                <c:pt idx="278">
                  <c:v>Piper Heids</c:v>
                </c:pt>
                <c:pt idx="279">
                  <c:v>Mure</c:v>
                </c:pt>
                <c:pt idx="280">
                  <c:v>Nicolas Feu</c:v>
                </c:pt>
                <c:pt idx="281">
                  <c:v>Demoiselle</c:v>
                </c:pt>
                <c:pt idx="282">
                  <c:v>Laurent Per</c:v>
                </c:pt>
                <c:pt idx="283">
                  <c:v>All Others</c:v>
                </c:pt>
                <c:pt idx="284">
                  <c:v>All Others</c:v>
                </c:pt>
                <c:pt idx="285">
                  <c:v>Roederer</c:v>
                </c:pt>
                <c:pt idx="286">
                  <c:v>All Others</c:v>
                </c:pt>
                <c:pt idx="287">
                  <c:v>Ruinart</c:v>
                </c:pt>
                <c:pt idx="288">
                  <c:v>Lanson</c:v>
                </c:pt>
                <c:pt idx="289">
                  <c:v>Celene</c:v>
                </c:pt>
                <c:pt idx="290">
                  <c:v>All Others</c:v>
                </c:pt>
                <c:pt idx="291">
                  <c:v>All Others</c:v>
                </c:pt>
                <c:pt idx="292">
                  <c:v>Taittinger</c:v>
                </c:pt>
                <c:pt idx="293">
                  <c:v>Roederer</c:v>
                </c:pt>
                <c:pt idx="294">
                  <c:v>All Others</c:v>
                </c:pt>
                <c:pt idx="295">
                  <c:v>Veuve Clicq</c:v>
                </c:pt>
                <c:pt idx="296">
                  <c:v>Bollinger</c:v>
                </c:pt>
                <c:pt idx="297">
                  <c:v>Pommery</c:v>
                </c:pt>
                <c:pt idx="298">
                  <c:v>Pommery</c:v>
                </c:pt>
                <c:pt idx="299">
                  <c:v>All Others</c:v>
                </c:pt>
                <c:pt idx="300">
                  <c:v>All Others</c:v>
                </c:pt>
                <c:pt idx="301">
                  <c:v>Krug</c:v>
                </c:pt>
                <c:pt idx="302">
                  <c:v>Deutz</c:v>
                </c:pt>
                <c:pt idx="303">
                  <c:v>Taittinger</c:v>
                </c:pt>
                <c:pt idx="304">
                  <c:v>Roederer</c:v>
                </c:pt>
                <c:pt idx="305">
                  <c:v>Laurent Per</c:v>
                </c:pt>
                <c:pt idx="306">
                  <c:v>All Others</c:v>
                </c:pt>
                <c:pt idx="307">
                  <c:v>All Others</c:v>
                </c:pt>
                <c:pt idx="308">
                  <c:v>Moët &amp; Chan</c:v>
                </c:pt>
                <c:pt idx="309">
                  <c:v>Bottega</c:v>
                </c:pt>
                <c:pt idx="310">
                  <c:v>All Others</c:v>
                </c:pt>
                <c:pt idx="311">
                  <c:v>Veuve Clicq</c:v>
                </c:pt>
                <c:pt idx="312">
                  <c:v>All Others</c:v>
                </c:pt>
                <c:pt idx="313">
                  <c:v>De Bligny</c:v>
                </c:pt>
                <c:pt idx="314">
                  <c:v>Krug</c:v>
                </c:pt>
                <c:pt idx="315">
                  <c:v>Roederer</c:v>
                </c:pt>
                <c:pt idx="316">
                  <c:v>Roederer</c:v>
                </c:pt>
                <c:pt idx="317">
                  <c:v>All Others</c:v>
                </c:pt>
                <c:pt idx="318">
                  <c:v>Veuve Clicq</c:v>
                </c:pt>
                <c:pt idx="319">
                  <c:v>Perrier Jou</c:v>
                </c:pt>
                <c:pt idx="320">
                  <c:v>Dom Perigno</c:v>
                </c:pt>
                <c:pt idx="321">
                  <c:v>All Others</c:v>
                </c:pt>
                <c:pt idx="322">
                  <c:v>Perrier Jou</c:v>
                </c:pt>
                <c:pt idx="323">
                  <c:v>Martel</c:v>
                </c:pt>
                <c:pt idx="324">
                  <c:v>Laurent Per</c:v>
                </c:pt>
                <c:pt idx="325">
                  <c:v>Canard Duch</c:v>
                </c:pt>
                <c:pt idx="326">
                  <c:v>Deutz</c:v>
                </c:pt>
                <c:pt idx="327">
                  <c:v>Dom Perigno</c:v>
                </c:pt>
                <c:pt idx="328">
                  <c:v>Malard</c:v>
                </c:pt>
                <c:pt idx="329">
                  <c:v>Roederer</c:v>
                </c:pt>
                <c:pt idx="330">
                  <c:v>Moët &amp; Chan</c:v>
                </c:pt>
                <c:pt idx="331">
                  <c:v>Bollinger</c:v>
                </c:pt>
                <c:pt idx="332">
                  <c:v>All Others</c:v>
                </c:pt>
                <c:pt idx="333">
                  <c:v>Lanson</c:v>
                </c:pt>
                <c:pt idx="334">
                  <c:v>Roederer</c:v>
                </c:pt>
                <c:pt idx="335">
                  <c:v>All Others</c:v>
                </c:pt>
                <c:pt idx="336">
                  <c:v>Ruinart</c:v>
                </c:pt>
                <c:pt idx="337">
                  <c:v>Bollinger</c:v>
                </c:pt>
                <c:pt idx="338">
                  <c:v>All Others</c:v>
                </c:pt>
                <c:pt idx="339">
                  <c:v>All Others</c:v>
                </c:pt>
                <c:pt idx="340">
                  <c:v>Deutz</c:v>
                </c:pt>
                <c:pt idx="341">
                  <c:v>All Others</c:v>
                </c:pt>
                <c:pt idx="342">
                  <c:v>All Others</c:v>
                </c:pt>
                <c:pt idx="343">
                  <c:v>Bollinger</c:v>
                </c:pt>
                <c:pt idx="344">
                  <c:v>Dom Perigno</c:v>
                </c:pt>
                <c:pt idx="345">
                  <c:v>Bollinger</c:v>
                </c:pt>
                <c:pt idx="346">
                  <c:v>Ruinart</c:v>
                </c:pt>
                <c:pt idx="347">
                  <c:v>Dom Perigno</c:v>
                </c:pt>
                <c:pt idx="348">
                  <c:v>All Others</c:v>
                </c:pt>
                <c:pt idx="349">
                  <c:v>All Others</c:v>
                </c:pt>
                <c:pt idx="350">
                  <c:v>Deutz</c:v>
                </c:pt>
                <c:pt idx="351">
                  <c:v>All Others</c:v>
                </c:pt>
                <c:pt idx="352">
                  <c:v>Laurent Per</c:v>
                </c:pt>
                <c:pt idx="353">
                  <c:v>Jaillance</c:v>
                </c:pt>
                <c:pt idx="354">
                  <c:v>Delamotte</c:v>
                </c:pt>
                <c:pt idx="355">
                  <c:v>Laurent Per</c:v>
                </c:pt>
                <c:pt idx="356">
                  <c:v>All Others</c:v>
                </c:pt>
                <c:pt idx="357">
                  <c:v>All Others</c:v>
                </c:pt>
                <c:pt idx="358">
                  <c:v>All Others</c:v>
                </c:pt>
                <c:pt idx="359">
                  <c:v>Ruinart</c:v>
                </c:pt>
                <c:pt idx="360">
                  <c:v>All Others</c:v>
                </c:pt>
                <c:pt idx="361">
                  <c:v>All Others</c:v>
                </c:pt>
                <c:pt idx="362">
                  <c:v>Pommery</c:v>
                </c:pt>
                <c:pt idx="363">
                  <c:v>Krug</c:v>
                </c:pt>
                <c:pt idx="364">
                  <c:v>Roederer</c:v>
                </c:pt>
                <c:pt idx="365">
                  <c:v>All Others</c:v>
                </c:pt>
                <c:pt idx="366">
                  <c:v>All Others</c:v>
                </c:pt>
                <c:pt idx="367">
                  <c:v>Ayala</c:v>
                </c:pt>
                <c:pt idx="368">
                  <c:v>Besserat De</c:v>
                </c:pt>
                <c:pt idx="369">
                  <c:v>De Venoge</c:v>
                </c:pt>
                <c:pt idx="370">
                  <c:v>Moët &amp; Chan</c:v>
                </c:pt>
                <c:pt idx="371">
                  <c:v>Ruinart</c:v>
                </c:pt>
                <c:pt idx="372">
                  <c:v>All Others</c:v>
                </c:pt>
                <c:pt idx="373">
                  <c:v>Nicolas Feu</c:v>
                </c:pt>
                <c:pt idx="374">
                  <c:v>All Others</c:v>
                </c:pt>
                <c:pt idx="375">
                  <c:v>All Others</c:v>
                </c:pt>
                <c:pt idx="376">
                  <c:v>De Venoge</c:v>
                </c:pt>
                <c:pt idx="377">
                  <c:v>Delamotte</c:v>
                </c:pt>
                <c:pt idx="378">
                  <c:v>All Others</c:v>
                </c:pt>
                <c:pt idx="379">
                  <c:v>Besserat De</c:v>
                </c:pt>
                <c:pt idx="380">
                  <c:v>Vilaveroni</c:v>
                </c:pt>
                <c:pt idx="381">
                  <c:v>All Others</c:v>
                </c:pt>
                <c:pt idx="382">
                  <c:v>All Others</c:v>
                </c:pt>
                <c:pt idx="383">
                  <c:v>Pommery</c:v>
                </c:pt>
                <c:pt idx="384">
                  <c:v>Lanson</c:v>
                </c:pt>
                <c:pt idx="385">
                  <c:v>Demoiselle</c:v>
                </c:pt>
                <c:pt idx="386">
                  <c:v>Perrier Jou</c:v>
                </c:pt>
                <c:pt idx="387">
                  <c:v>All Others</c:v>
                </c:pt>
                <c:pt idx="388">
                  <c:v>Bollinger</c:v>
                </c:pt>
                <c:pt idx="389">
                  <c:v>Demoiselle</c:v>
                </c:pt>
                <c:pt idx="390">
                  <c:v>Dom Perigno</c:v>
                </c:pt>
                <c:pt idx="391">
                  <c:v>Veuve Clicq</c:v>
                </c:pt>
                <c:pt idx="392">
                  <c:v>Dom Perigno</c:v>
                </c:pt>
                <c:pt idx="393">
                  <c:v>All Others</c:v>
                </c:pt>
                <c:pt idx="394">
                  <c:v>Roederer</c:v>
                </c:pt>
                <c:pt idx="395">
                  <c:v>Roederer</c:v>
                </c:pt>
                <c:pt idx="396">
                  <c:v>Roederer</c:v>
                </c:pt>
                <c:pt idx="397">
                  <c:v>De Venoge</c:v>
                </c:pt>
                <c:pt idx="398">
                  <c:v>Nicolas Feu</c:v>
                </c:pt>
                <c:pt idx="399">
                  <c:v>De Bligny</c:v>
                </c:pt>
                <c:pt idx="400">
                  <c:v>Ayala</c:v>
                </c:pt>
                <c:pt idx="401">
                  <c:v>Vesselle</c:v>
                </c:pt>
                <c:pt idx="402">
                  <c:v>Roederer</c:v>
                </c:pt>
                <c:pt idx="403">
                  <c:v>Bouvet-Ladu</c:v>
                </c:pt>
                <c:pt idx="404">
                  <c:v>Pommery</c:v>
                </c:pt>
                <c:pt idx="405">
                  <c:v>Ayala</c:v>
                </c:pt>
                <c:pt idx="406">
                  <c:v>Moët &amp; Chan</c:v>
                </c:pt>
                <c:pt idx="407">
                  <c:v>All Others</c:v>
                </c:pt>
                <c:pt idx="408">
                  <c:v>Krug</c:v>
                </c:pt>
                <c:pt idx="409">
                  <c:v>All Others</c:v>
                </c:pt>
                <c:pt idx="410">
                  <c:v>Bollinger</c:v>
                </c:pt>
                <c:pt idx="411">
                  <c:v>Demoiselle</c:v>
                </c:pt>
                <c:pt idx="412">
                  <c:v>Roederer</c:v>
                </c:pt>
                <c:pt idx="413">
                  <c:v>Ayala</c:v>
                </c:pt>
                <c:pt idx="414">
                  <c:v>Pommery</c:v>
                </c:pt>
                <c:pt idx="415">
                  <c:v>Canard Duch</c:v>
                </c:pt>
                <c:pt idx="416">
                  <c:v>Vranken</c:v>
                </c:pt>
                <c:pt idx="417">
                  <c:v>Veuve Clicq</c:v>
                </c:pt>
                <c:pt idx="418">
                  <c:v>Lanson</c:v>
                </c:pt>
                <c:pt idx="419">
                  <c:v>Laurent Per</c:v>
                </c:pt>
                <c:pt idx="420">
                  <c:v>Besserat De</c:v>
                </c:pt>
                <c:pt idx="421">
                  <c:v>All Others</c:v>
                </c:pt>
                <c:pt idx="422">
                  <c:v>De Venoge</c:v>
                </c:pt>
                <c:pt idx="423">
                  <c:v>Deutz</c:v>
                </c:pt>
                <c:pt idx="424">
                  <c:v>All Others</c:v>
                </c:pt>
                <c:pt idx="425">
                  <c:v>All Others</c:v>
                </c:pt>
                <c:pt idx="426">
                  <c:v>Heidsieck &amp;</c:v>
                </c:pt>
                <c:pt idx="427">
                  <c:v>All Others</c:v>
                </c:pt>
                <c:pt idx="428">
                  <c:v>Vilaveroni</c:v>
                </c:pt>
                <c:pt idx="429">
                  <c:v>Taittinger</c:v>
                </c:pt>
                <c:pt idx="430">
                  <c:v>Bouvet-Ladu</c:v>
                </c:pt>
                <c:pt idx="431">
                  <c:v>Krug</c:v>
                </c:pt>
                <c:pt idx="432">
                  <c:v>Moët &amp; Chan</c:v>
                </c:pt>
                <c:pt idx="433">
                  <c:v>Taittinger</c:v>
                </c:pt>
                <c:pt idx="434">
                  <c:v>Dom Perigno</c:v>
                </c:pt>
                <c:pt idx="435">
                  <c:v>All Others</c:v>
                </c:pt>
                <c:pt idx="436">
                  <c:v>Pommery</c:v>
                </c:pt>
                <c:pt idx="437">
                  <c:v>Roederer</c:v>
                </c:pt>
                <c:pt idx="438">
                  <c:v>Canard Duch</c:v>
                </c:pt>
                <c:pt idx="439">
                  <c:v>Laurent Per</c:v>
                </c:pt>
                <c:pt idx="440">
                  <c:v>Demoiselle</c:v>
                </c:pt>
                <c:pt idx="441">
                  <c:v>Roederer</c:v>
                </c:pt>
                <c:pt idx="442">
                  <c:v>Piper Heids</c:v>
                </c:pt>
                <c:pt idx="443">
                  <c:v>Roederer</c:v>
                </c:pt>
                <c:pt idx="444">
                  <c:v>Ruinart</c:v>
                </c:pt>
                <c:pt idx="445">
                  <c:v>All Others</c:v>
                </c:pt>
                <c:pt idx="446">
                  <c:v>All Others</c:v>
                </c:pt>
                <c:pt idx="447">
                  <c:v>Deutz</c:v>
                </c:pt>
                <c:pt idx="448">
                  <c:v>All Others</c:v>
                </c:pt>
                <c:pt idx="449">
                  <c:v>Laurent Per</c:v>
                </c:pt>
                <c:pt idx="450">
                  <c:v>Veuve Clicq</c:v>
                </c:pt>
                <c:pt idx="451">
                  <c:v>All Others</c:v>
                </c:pt>
                <c:pt idx="452">
                  <c:v>All Others</c:v>
                </c:pt>
                <c:pt idx="453">
                  <c:v>Heidsieck &amp;</c:v>
                </c:pt>
                <c:pt idx="454">
                  <c:v>Taittinger</c:v>
                </c:pt>
                <c:pt idx="455">
                  <c:v>Laurent Per</c:v>
                </c:pt>
                <c:pt idx="456">
                  <c:v>Laurent Per</c:v>
                </c:pt>
                <c:pt idx="457">
                  <c:v>All Others</c:v>
                </c:pt>
                <c:pt idx="458">
                  <c:v>Besserat De</c:v>
                </c:pt>
                <c:pt idx="459">
                  <c:v>Bollinger</c:v>
                </c:pt>
                <c:pt idx="460">
                  <c:v>Piper Heids</c:v>
                </c:pt>
                <c:pt idx="461">
                  <c:v>Ruinart</c:v>
                </c:pt>
                <c:pt idx="462">
                  <c:v>Nicolas Feu</c:v>
                </c:pt>
                <c:pt idx="463">
                  <c:v>Roederer</c:v>
                </c:pt>
                <c:pt idx="464">
                  <c:v>All Others</c:v>
                </c:pt>
                <c:pt idx="465">
                  <c:v>Bouvet-Ladu</c:v>
                </c:pt>
                <c:pt idx="466">
                  <c:v>Malard</c:v>
                </c:pt>
                <c:pt idx="467">
                  <c:v>Taittinger</c:v>
                </c:pt>
                <c:pt idx="468">
                  <c:v>Henriot</c:v>
                </c:pt>
                <c:pt idx="469">
                  <c:v>Nicolas</c:v>
                </c:pt>
                <c:pt idx="470">
                  <c:v>Roederer</c:v>
                </c:pt>
                <c:pt idx="471">
                  <c:v>De Venoge</c:v>
                </c:pt>
                <c:pt idx="472">
                  <c:v>Krug</c:v>
                </c:pt>
                <c:pt idx="473">
                  <c:v>Roederer</c:v>
                </c:pt>
                <c:pt idx="474">
                  <c:v>All Others</c:v>
                </c:pt>
                <c:pt idx="475">
                  <c:v>Ruinart</c:v>
                </c:pt>
                <c:pt idx="476">
                  <c:v>Dom Perigno</c:v>
                </c:pt>
                <c:pt idx="477">
                  <c:v>De Bligny</c:v>
                </c:pt>
                <c:pt idx="478">
                  <c:v>Vesselle</c:v>
                </c:pt>
                <c:pt idx="479">
                  <c:v>All Others</c:v>
                </c:pt>
                <c:pt idx="480">
                  <c:v>Ruinart</c:v>
                </c:pt>
                <c:pt idx="481">
                  <c:v>Moët &amp; Chan</c:v>
                </c:pt>
                <c:pt idx="482">
                  <c:v>Bollinger</c:v>
                </c:pt>
                <c:pt idx="483">
                  <c:v>Vilaveroni</c:v>
                </c:pt>
                <c:pt idx="484">
                  <c:v>Laurent Per</c:v>
                </c:pt>
                <c:pt idx="485">
                  <c:v>Roederer</c:v>
                </c:pt>
                <c:pt idx="486">
                  <c:v>All Others</c:v>
                </c:pt>
                <c:pt idx="487">
                  <c:v>Taittinger</c:v>
                </c:pt>
                <c:pt idx="488">
                  <c:v>All Others</c:v>
                </c:pt>
                <c:pt idx="489">
                  <c:v>Roederer</c:v>
                </c:pt>
                <c:pt idx="490">
                  <c:v>Bouvet-Ladu</c:v>
                </c:pt>
                <c:pt idx="491">
                  <c:v>All Others</c:v>
                </c:pt>
                <c:pt idx="492">
                  <c:v>Laurent Per</c:v>
                </c:pt>
                <c:pt idx="493">
                  <c:v>Ayala</c:v>
                </c:pt>
                <c:pt idx="494">
                  <c:v>Pommery</c:v>
                </c:pt>
                <c:pt idx="495">
                  <c:v>Laurent Per</c:v>
                </c:pt>
                <c:pt idx="496">
                  <c:v>Laurent Per</c:v>
                </c:pt>
                <c:pt idx="497">
                  <c:v>Dom Perigno</c:v>
                </c:pt>
                <c:pt idx="498">
                  <c:v>Piper Heids</c:v>
                </c:pt>
                <c:pt idx="499">
                  <c:v>Roederer</c:v>
                </c:pt>
                <c:pt idx="500">
                  <c:v>Roederer</c:v>
                </c:pt>
                <c:pt idx="501">
                  <c:v>Ruinart</c:v>
                </c:pt>
                <c:pt idx="502">
                  <c:v>All Others</c:v>
                </c:pt>
                <c:pt idx="503">
                  <c:v>Laurent Per</c:v>
                </c:pt>
                <c:pt idx="504">
                  <c:v>Bottega</c:v>
                </c:pt>
                <c:pt idx="505">
                  <c:v>All Others</c:v>
                </c:pt>
                <c:pt idx="506">
                  <c:v>Roederer</c:v>
                </c:pt>
                <c:pt idx="507">
                  <c:v>Nicolas Feu</c:v>
                </c:pt>
                <c:pt idx="508">
                  <c:v>Vranken</c:v>
                </c:pt>
                <c:pt idx="509">
                  <c:v>Henriot</c:v>
                </c:pt>
                <c:pt idx="510">
                  <c:v>All Others</c:v>
                </c:pt>
                <c:pt idx="511">
                  <c:v>Bollinger</c:v>
                </c:pt>
                <c:pt idx="512">
                  <c:v>Malard</c:v>
                </c:pt>
                <c:pt idx="513">
                  <c:v>All Others</c:v>
                </c:pt>
                <c:pt idx="514">
                  <c:v>Bollinger</c:v>
                </c:pt>
                <c:pt idx="515">
                  <c:v>Bollinger</c:v>
                </c:pt>
                <c:pt idx="516">
                  <c:v>Mumm</c:v>
                </c:pt>
                <c:pt idx="517">
                  <c:v>Canard Duch</c:v>
                </c:pt>
                <c:pt idx="518">
                  <c:v>Taittinger</c:v>
                </c:pt>
                <c:pt idx="519">
                  <c:v>All Others</c:v>
                </c:pt>
                <c:pt idx="520">
                  <c:v>Pommery</c:v>
                </c:pt>
                <c:pt idx="521">
                  <c:v>All Others</c:v>
                </c:pt>
                <c:pt idx="522">
                  <c:v>Bottega</c:v>
                </c:pt>
                <c:pt idx="523">
                  <c:v>De Venoge</c:v>
                </c:pt>
                <c:pt idx="524">
                  <c:v>Malard</c:v>
                </c:pt>
                <c:pt idx="525">
                  <c:v>All Others</c:v>
                </c:pt>
                <c:pt idx="526">
                  <c:v>All Others</c:v>
                </c:pt>
                <c:pt idx="527">
                  <c:v>All Others</c:v>
                </c:pt>
                <c:pt idx="528">
                  <c:v>Mure</c:v>
                </c:pt>
                <c:pt idx="529">
                  <c:v>All Others</c:v>
                </c:pt>
                <c:pt idx="530">
                  <c:v>All Others</c:v>
                </c:pt>
                <c:pt idx="531">
                  <c:v>All Others</c:v>
                </c:pt>
                <c:pt idx="532">
                  <c:v>Veuve Clicq</c:v>
                </c:pt>
                <c:pt idx="533">
                  <c:v>Roederer</c:v>
                </c:pt>
                <c:pt idx="534">
                  <c:v>Roederer</c:v>
                </c:pt>
                <c:pt idx="535">
                  <c:v>Besserat De</c:v>
                </c:pt>
                <c:pt idx="536">
                  <c:v>Taittinger</c:v>
                </c:pt>
                <c:pt idx="537">
                  <c:v>All Others</c:v>
                </c:pt>
                <c:pt idx="538">
                  <c:v>Moët &amp; Chan</c:v>
                </c:pt>
                <c:pt idx="539">
                  <c:v>Henriot</c:v>
                </c:pt>
                <c:pt idx="540">
                  <c:v>Veuve Clicq</c:v>
                </c:pt>
                <c:pt idx="541">
                  <c:v>All Others</c:v>
                </c:pt>
                <c:pt idx="542">
                  <c:v>All Others</c:v>
                </c:pt>
                <c:pt idx="543">
                  <c:v>Demoiselle</c:v>
                </c:pt>
                <c:pt idx="544">
                  <c:v>Deutz</c:v>
                </c:pt>
                <c:pt idx="545">
                  <c:v>Besserat De</c:v>
                </c:pt>
                <c:pt idx="546">
                  <c:v>Lanson</c:v>
                </c:pt>
                <c:pt idx="547">
                  <c:v>Henriot</c:v>
                </c:pt>
                <c:pt idx="548">
                  <c:v>Vranken Pom</c:v>
                </c:pt>
                <c:pt idx="549">
                  <c:v>Ayala</c:v>
                </c:pt>
                <c:pt idx="550">
                  <c:v>Moët &amp; Chan</c:v>
                </c:pt>
                <c:pt idx="551">
                  <c:v>Nicolas</c:v>
                </c:pt>
                <c:pt idx="552">
                  <c:v>Nicolas</c:v>
                </c:pt>
                <c:pt idx="553">
                  <c:v>Pommery</c:v>
                </c:pt>
                <c:pt idx="554">
                  <c:v>Pommery</c:v>
                </c:pt>
                <c:pt idx="555">
                  <c:v>All Others</c:v>
                </c:pt>
                <c:pt idx="556">
                  <c:v>Bottega</c:v>
                </c:pt>
                <c:pt idx="557">
                  <c:v>All Others</c:v>
                </c:pt>
                <c:pt idx="558">
                  <c:v>Vranken</c:v>
                </c:pt>
                <c:pt idx="559">
                  <c:v>French Bloo</c:v>
                </c:pt>
                <c:pt idx="560">
                  <c:v>Vesselle</c:v>
                </c:pt>
                <c:pt idx="561">
                  <c:v>Vesselle</c:v>
                </c:pt>
                <c:pt idx="562">
                  <c:v>All Others</c:v>
                </c:pt>
                <c:pt idx="563">
                  <c:v>All Others</c:v>
                </c:pt>
                <c:pt idx="564">
                  <c:v>All Others</c:v>
                </c:pt>
                <c:pt idx="565">
                  <c:v>All Others</c:v>
                </c:pt>
              </c:strCache>
            </c:strRef>
          </c:cat>
          <c:val>
            <c:numRef>
              <c:f>Sheet1!$B$2:$B$567</c:f>
              <c:numCache>
                <c:formatCode>General</c:formatCode>
                <c:ptCount val="566"/>
                <c:pt idx="0">
                  <c:v>0.998</c:v>
                </c:pt>
                <c:pt idx="1">
                  <c:v>0.998</c:v>
                </c:pt>
                <c:pt idx="2">
                  <c:v>0.99299999999999999</c:v>
                </c:pt>
                <c:pt idx="3">
                  <c:v>0.83599999999999997</c:v>
                </c:pt>
                <c:pt idx="4">
                  <c:v>0.94199999999999995</c:v>
                </c:pt>
                <c:pt idx="5">
                  <c:v>0.95499999999999996</c:v>
                </c:pt>
                <c:pt idx="6">
                  <c:v>0.96099999999999997</c:v>
                </c:pt>
                <c:pt idx="7">
                  <c:v>0.95099999999999996</c:v>
                </c:pt>
                <c:pt idx="8">
                  <c:v>0.93899999999999995</c:v>
                </c:pt>
                <c:pt idx="9">
                  <c:v>0.95499999999999996</c:v>
                </c:pt>
                <c:pt idx="10">
                  <c:v>0.67300000000000004</c:v>
                </c:pt>
                <c:pt idx="11">
                  <c:v>0.96899999999999997</c:v>
                </c:pt>
                <c:pt idx="12">
                  <c:v>0.89500000000000002</c:v>
                </c:pt>
                <c:pt idx="13">
                  <c:v>0.69</c:v>
                </c:pt>
                <c:pt idx="14">
                  <c:v>0.88500000000000001</c:v>
                </c:pt>
                <c:pt idx="15">
                  <c:v>0.84699999999999998</c:v>
                </c:pt>
                <c:pt idx="16">
                  <c:v>0.91100000000000003</c:v>
                </c:pt>
                <c:pt idx="17">
                  <c:v>0.82</c:v>
                </c:pt>
                <c:pt idx="18">
                  <c:v>0.56899999999999995</c:v>
                </c:pt>
                <c:pt idx="19">
                  <c:v>0.72</c:v>
                </c:pt>
                <c:pt idx="20">
                  <c:v>0.67700000000000005</c:v>
                </c:pt>
                <c:pt idx="21">
                  <c:v>0.90900000000000003</c:v>
                </c:pt>
                <c:pt idx="22">
                  <c:v>0.80200000000000005</c:v>
                </c:pt>
                <c:pt idx="23">
                  <c:v>0.74099999999999999</c:v>
                </c:pt>
                <c:pt idx="24">
                  <c:v>0.63200000000000001</c:v>
                </c:pt>
                <c:pt idx="25">
                  <c:v>0.73</c:v>
                </c:pt>
                <c:pt idx="26">
                  <c:v>0.72799999999999998</c:v>
                </c:pt>
                <c:pt idx="27">
                  <c:v>0.65600000000000003</c:v>
                </c:pt>
                <c:pt idx="28">
                  <c:v>0.81</c:v>
                </c:pt>
                <c:pt idx="29">
                  <c:v>0.33700000000000002</c:v>
                </c:pt>
                <c:pt idx="30">
                  <c:v>0.70799999999999996</c:v>
                </c:pt>
                <c:pt idx="31">
                  <c:v>0.39100000000000001</c:v>
                </c:pt>
                <c:pt idx="32">
                  <c:v>0.72099999999999997</c:v>
                </c:pt>
                <c:pt idx="33">
                  <c:v>0.71699999999999997</c:v>
                </c:pt>
                <c:pt idx="34">
                  <c:v>0.33300000000000002</c:v>
                </c:pt>
                <c:pt idx="35">
                  <c:v>0.68200000000000005</c:v>
                </c:pt>
                <c:pt idx="36">
                  <c:v>0.64200000000000002</c:v>
                </c:pt>
                <c:pt idx="37">
                  <c:v>0.63100000000000001</c:v>
                </c:pt>
                <c:pt idx="38">
                  <c:v>0.499</c:v>
                </c:pt>
                <c:pt idx="39">
                  <c:v>0.77400000000000002</c:v>
                </c:pt>
                <c:pt idx="40">
                  <c:v>0.54700000000000004</c:v>
                </c:pt>
                <c:pt idx="41">
                  <c:v>0.57199999999999995</c:v>
                </c:pt>
                <c:pt idx="42">
                  <c:v>0.58499999999999996</c:v>
                </c:pt>
                <c:pt idx="43">
                  <c:v>0.877</c:v>
                </c:pt>
                <c:pt idx="44">
                  <c:v>0.751</c:v>
                </c:pt>
                <c:pt idx="45">
                  <c:v>0.63</c:v>
                </c:pt>
                <c:pt idx="46">
                  <c:v>0.502</c:v>
                </c:pt>
                <c:pt idx="47">
                  <c:v>0.50900000000000001</c:v>
                </c:pt>
                <c:pt idx="48">
                  <c:v>0.8</c:v>
                </c:pt>
                <c:pt idx="49">
                  <c:v>0.75</c:v>
                </c:pt>
                <c:pt idx="50">
                  <c:v>0.57499999999999996</c:v>
                </c:pt>
                <c:pt idx="51">
                  <c:v>0.61299999999999999</c:v>
                </c:pt>
                <c:pt idx="52">
                  <c:v>0.45600000000000002</c:v>
                </c:pt>
                <c:pt idx="53">
                  <c:v>0.47299999999999998</c:v>
                </c:pt>
                <c:pt idx="54">
                  <c:v>0.55700000000000005</c:v>
                </c:pt>
                <c:pt idx="55">
                  <c:v>0.72199999999999998</c:v>
                </c:pt>
                <c:pt idx="56">
                  <c:v>0.628</c:v>
                </c:pt>
                <c:pt idx="57">
                  <c:v>0.68100000000000005</c:v>
                </c:pt>
                <c:pt idx="58">
                  <c:v>0.61099999999999999</c:v>
                </c:pt>
                <c:pt idx="59">
                  <c:v>0.75900000000000001</c:v>
                </c:pt>
                <c:pt idx="60">
                  <c:v>0.61799999999999999</c:v>
                </c:pt>
                <c:pt idx="61">
                  <c:v>0.56499999999999995</c:v>
                </c:pt>
                <c:pt idx="62">
                  <c:v>0.49399999999999999</c:v>
                </c:pt>
                <c:pt idx="63">
                  <c:v>0.51900000000000002</c:v>
                </c:pt>
                <c:pt idx="64">
                  <c:v>0.76700000000000002</c:v>
                </c:pt>
                <c:pt idx="65">
                  <c:v>0.55800000000000005</c:v>
                </c:pt>
                <c:pt idx="66">
                  <c:v>0.54200000000000004</c:v>
                </c:pt>
                <c:pt idx="67">
                  <c:v>0.38700000000000001</c:v>
                </c:pt>
                <c:pt idx="68">
                  <c:v>0.83299999999999996</c:v>
                </c:pt>
                <c:pt idx="69">
                  <c:v>0.55400000000000005</c:v>
                </c:pt>
                <c:pt idx="70">
                  <c:v>0.48499999999999999</c:v>
                </c:pt>
                <c:pt idx="71">
                  <c:v>0.43</c:v>
                </c:pt>
                <c:pt idx="72">
                  <c:v>0.23</c:v>
                </c:pt>
                <c:pt idx="73">
                  <c:v>0.748</c:v>
                </c:pt>
                <c:pt idx="74">
                  <c:v>0.254</c:v>
                </c:pt>
                <c:pt idx="75">
                  <c:v>0.52500000000000002</c:v>
                </c:pt>
                <c:pt idx="76">
                  <c:v>0.56799999999999995</c:v>
                </c:pt>
                <c:pt idx="77">
                  <c:v>0.48199999999999998</c:v>
                </c:pt>
                <c:pt idx="78">
                  <c:v>0.17299999999999999</c:v>
                </c:pt>
                <c:pt idx="79">
                  <c:v>0.315</c:v>
                </c:pt>
                <c:pt idx="80">
                  <c:v>0.627</c:v>
                </c:pt>
                <c:pt idx="81">
                  <c:v>0.377</c:v>
                </c:pt>
                <c:pt idx="82">
                  <c:v>0.44600000000000001</c:v>
                </c:pt>
                <c:pt idx="83">
                  <c:v>0.55400000000000005</c:v>
                </c:pt>
                <c:pt idx="84">
                  <c:v>0.32500000000000001</c:v>
                </c:pt>
                <c:pt idx="85">
                  <c:v>0.40300000000000002</c:v>
                </c:pt>
                <c:pt idx="86">
                  <c:v>0.35899999999999999</c:v>
                </c:pt>
                <c:pt idx="87">
                  <c:v>0.219</c:v>
                </c:pt>
                <c:pt idx="88">
                  <c:v>0.45900000000000002</c:v>
                </c:pt>
                <c:pt idx="89">
                  <c:v>0.6</c:v>
                </c:pt>
                <c:pt idx="90">
                  <c:v>0.27700000000000002</c:v>
                </c:pt>
                <c:pt idx="91">
                  <c:v>0.32700000000000001</c:v>
                </c:pt>
                <c:pt idx="92">
                  <c:v>0.17100000000000001</c:v>
                </c:pt>
                <c:pt idx="93">
                  <c:v>0.26200000000000001</c:v>
                </c:pt>
                <c:pt idx="94">
                  <c:v>0.20599999999999999</c:v>
                </c:pt>
                <c:pt idx="95">
                  <c:v>0.23100000000000001</c:v>
                </c:pt>
                <c:pt idx="96">
                  <c:v>0.34300000000000003</c:v>
                </c:pt>
                <c:pt idx="97">
                  <c:v>0.159</c:v>
                </c:pt>
                <c:pt idx="98">
                  <c:v>0.26600000000000001</c:v>
                </c:pt>
                <c:pt idx="99">
                  <c:v>0.18</c:v>
                </c:pt>
                <c:pt idx="100">
                  <c:v>0.18</c:v>
                </c:pt>
                <c:pt idx="101">
                  <c:v>0.27400000000000002</c:v>
                </c:pt>
                <c:pt idx="102">
                  <c:v>0.47599999999999998</c:v>
                </c:pt>
                <c:pt idx="103">
                  <c:v>0.17</c:v>
                </c:pt>
                <c:pt idx="104">
                  <c:v>0.38800000000000001</c:v>
                </c:pt>
                <c:pt idx="105">
                  <c:v>0.32100000000000001</c:v>
                </c:pt>
                <c:pt idx="106">
                  <c:v>0.41899999999999998</c:v>
                </c:pt>
                <c:pt idx="107">
                  <c:v>0.39700000000000002</c:v>
                </c:pt>
                <c:pt idx="108">
                  <c:v>0.214</c:v>
                </c:pt>
                <c:pt idx="109">
                  <c:v>0.249</c:v>
                </c:pt>
                <c:pt idx="110">
                  <c:v>0.46500000000000002</c:v>
                </c:pt>
                <c:pt idx="111">
                  <c:v>0.254</c:v>
                </c:pt>
                <c:pt idx="112">
                  <c:v>0.246</c:v>
                </c:pt>
                <c:pt idx="113">
                  <c:v>0.22</c:v>
                </c:pt>
                <c:pt idx="114">
                  <c:v>0.437</c:v>
                </c:pt>
                <c:pt idx="115">
                  <c:v>0.105</c:v>
                </c:pt>
                <c:pt idx="116">
                  <c:v>0.15</c:v>
                </c:pt>
                <c:pt idx="117">
                  <c:v>0.29199999999999998</c:v>
                </c:pt>
                <c:pt idx="118">
                  <c:v>0.20899999999999999</c:v>
                </c:pt>
                <c:pt idx="119">
                  <c:v>0.17599999999999999</c:v>
                </c:pt>
                <c:pt idx="120">
                  <c:v>6.6000000000000003E-2</c:v>
                </c:pt>
                <c:pt idx="121">
                  <c:v>0.20300000000000001</c:v>
                </c:pt>
                <c:pt idx="122">
                  <c:v>0.33300000000000002</c:v>
                </c:pt>
                <c:pt idx="123">
                  <c:v>0.188</c:v>
                </c:pt>
                <c:pt idx="124">
                  <c:v>0.85</c:v>
                </c:pt>
                <c:pt idx="125">
                  <c:v>0.315</c:v>
                </c:pt>
                <c:pt idx="126">
                  <c:v>0.02</c:v>
                </c:pt>
                <c:pt idx="127">
                  <c:v>0.34899999999999998</c:v>
                </c:pt>
                <c:pt idx="128">
                  <c:v>0.48199999999999998</c:v>
                </c:pt>
                <c:pt idx="129">
                  <c:v>0.2</c:v>
                </c:pt>
                <c:pt idx="130">
                  <c:v>0.35399999999999998</c:v>
                </c:pt>
                <c:pt idx="131">
                  <c:v>0.40600000000000003</c:v>
                </c:pt>
                <c:pt idx="132">
                  <c:v>0.315</c:v>
                </c:pt>
                <c:pt idx="133">
                  <c:v>0.17100000000000001</c:v>
                </c:pt>
                <c:pt idx="134">
                  <c:v>0.129</c:v>
                </c:pt>
                <c:pt idx="135">
                  <c:v>0.314</c:v>
                </c:pt>
                <c:pt idx="136">
                  <c:v>0.217</c:v>
                </c:pt>
                <c:pt idx="137">
                  <c:v>3.9E-2</c:v>
                </c:pt>
                <c:pt idx="138">
                  <c:v>9.1999999999999998E-2</c:v>
                </c:pt>
                <c:pt idx="139">
                  <c:v>0.27600000000000002</c:v>
                </c:pt>
                <c:pt idx="140">
                  <c:v>0.45700000000000002</c:v>
                </c:pt>
                <c:pt idx="141">
                  <c:v>0.17499999999999999</c:v>
                </c:pt>
                <c:pt idx="142">
                  <c:v>0.29699999999999999</c:v>
                </c:pt>
                <c:pt idx="143">
                  <c:v>0.307</c:v>
                </c:pt>
                <c:pt idx="144">
                  <c:v>0.20100000000000001</c:v>
                </c:pt>
                <c:pt idx="145">
                  <c:v>0.10100000000000001</c:v>
                </c:pt>
                <c:pt idx="146">
                  <c:v>0.28000000000000003</c:v>
                </c:pt>
                <c:pt idx="147">
                  <c:v>0.252</c:v>
                </c:pt>
                <c:pt idx="148">
                  <c:v>0.28799999999999998</c:v>
                </c:pt>
                <c:pt idx="149">
                  <c:v>0.34699999999999998</c:v>
                </c:pt>
                <c:pt idx="150">
                  <c:v>0.158</c:v>
                </c:pt>
                <c:pt idx="151">
                  <c:v>0.20699999999999999</c:v>
                </c:pt>
                <c:pt idx="152">
                  <c:v>0.23599999999999999</c:v>
                </c:pt>
                <c:pt idx="153">
                  <c:v>0.11799999999999999</c:v>
                </c:pt>
                <c:pt idx="154">
                  <c:v>0.123</c:v>
                </c:pt>
                <c:pt idx="155">
                  <c:v>7.1999999999999995E-2</c:v>
                </c:pt>
                <c:pt idx="156">
                  <c:v>9.4E-2</c:v>
                </c:pt>
                <c:pt idx="157">
                  <c:v>0.253</c:v>
                </c:pt>
                <c:pt idx="158">
                  <c:v>6.4000000000000001E-2</c:v>
                </c:pt>
                <c:pt idx="159">
                  <c:v>0.154</c:v>
                </c:pt>
                <c:pt idx="160">
                  <c:v>1.6E-2</c:v>
                </c:pt>
                <c:pt idx="161">
                  <c:v>0.19700000000000001</c:v>
                </c:pt>
                <c:pt idx="162">
                  <c:v>8.6999999999999994E-2</c:v>
                </c:pt>
                <c:pt idx="163">
                  <c:v>0.156</c:v>
                </c:pt>
                <c:pt idx="164">
                  <c:v>0.34100000000000003</c:v>
                </c:pt>
                <c:pt idx="165">
                  <c:v>0.104</c:v>
                </c:pt>
                <c:pt idx="166">
                  <c:v>0.18</c:v>
                </c:pt>
                <c:pt idx="167">
                  <c:v>0.11799999999999999</c:v>
                </c:pt>
                <c:pt idx="168">
                  <c:v>0.25700000000000001</c:v>
                </c:pt>
                <c:pt idx="169">
                  <c:v>0.11</c:v>
                </c:pt>
                <c:pt idx="170">
                  <c:v>0.24199999999999999</c:v>
                </c:pt>
                <c:pt idx="171">
                  <c:v>0.10299999999999999</c:v>
                </c:pt>
                <c:pt idx="172">
                  <c:v>0.17499999999999999</c:v>
                </c:pt>
                <c:pt idx="173">
                  <c:v>7.8E-2</c:v>
                </c:pt>
                <c:pt idx="174">
                  <c:v>0.19700000000000001</c:v>
                </c:pt>
                <c:pt idx="175">
                  <c:v>8.5999999999999993E-2</c:v>
                </c:pt>
                <c:pt idx="176">
                  <c:v>5.2999999999999999E-2</c:v>
                </c:pt>
                <c:pt idx="177">
                  <c:v>0.15</c:v>
                </c:pt>
                <c:pt idx="178">
                  <c:v>0.185</c:v>
                </c:pt>
                <c:pt idx="179">
                  <c:v>0.12</c:v>
                </c:pt>
                <c:pt idx="180">
                  <c:v>0.08</c:v>
                </c:pt>
                <c:pt idx="181">
                  <c:v>0.20100000000000001</c:v>
                </c:pt>
                <c:pt idx="182">
                  <c:v>0.126</c:v>
                </c:pt>
                <c:pt idx="183">
                  <c:v>8.5000000000000006E-2</c:v>
                </c:pt>
                <c:pt idx="184">
                  <c:v>0.04</c:v>
                </c:pt>
                <c:pt idx="185">
                  <c:v>2.5000000000000001E-2</c:v>
                </c:pt>
                <c:pt idx="186">
                  <c:v>9.9000000000000005E-2</c:v>
                </c:pt>
                <c:pt idx="187">
                  <c:v>8.8999999999999996E-2</c:v>
                </c:pt>
                <c:pt idx="188">
                  <c:v>0.189</c:v>
                </c:pt>
                <c:pt idx="189">
                  <c:v>7.6999999999999999E-2</c:v>
                </c:pt>
                <c:pt idx="190">
                  <c:v>1.4E-2</c:v>
                </c:pt>
                <c:pt idx="191">
                  <c:v>7.2999999999999995E-2</c:v>
                </c:pt>
                <c:pt idx="192">
                  <c:v>8.1000000000000003E-2</c:v>
                </c:pt>
                <c:pt idx="193">
                  <c:v>5.6000000000000001E-2</c:v>
                </c:pt>
                <c:pt idx="194">
                  <c:v>3.7999999999999999E-2</c:v>
                </c:pt>
                <c:pt idx="195">
                  <c:v>0.17</c:v>
                </c:pt>
                <c:pt idx="196">
                  <c:v>0.11899999999999999</c:v>
                </c:pt>
                <c:pt idx="197">
                  <c:v>5.5E-2</c:v>
                </c:pt>
                <c:pt idx="198">
                  <c:v>7.5999999999999998E-2</c:v>
                </c:pt>
                <c:pt idx="199">
                  <c:v>0.06</c:v>
                </c:pt>
                <c:pt idx="200">
                  <c:v>0.11899999999999999</c:v>
                </c:pt>
                <c:pt idx="201">
                  <c:v>1.4E-2</c:v>
                </c:pt>
                <c:pt idx="202">
                  <c:v>1.6E-2</c:v>
                </c:pt>
                <c:pt idx="203">
                  <c:v>0.105</c:v>
                </c:pt>
                <c:pt idx="204">
                  <c:v>6.3E-2</c:v>
                </c:pt>
                <c:pt idx="205">
                  <c:v>0.11700000000000001</c:v>
                </c:pt>
                <c:pt idx="206">
                  <c:v>0.1</c:v>
                </c:pt>
                <c:pt idx="207">
                  <c:v>1.4E-2</c:v>
                </c:pt>
                <c:pt idx="208">
                  <c:v>0.13600000000000001</c:v>
                </c:pt>
                <c:pt idx="209">
                  <c:v>1.2E-2</c:v>
                </c:pt>
                <c:pt idx="210">
                  <c:v>8.6999999999999994E-2</c:v>
                </c:pt>
                <c:pt idx="211">
                  <c:v>3.7999999999999999E-2</c:v>
                </c:pt>
                <c:pt idx="212">
                  <c:v>0.111</c:v>
                </c:pt>
                <c:pt idx="213">
                  <c:v>2.9000000000000001E-2</c:v>
                </c:pt>
                <c:pt idx="214">
                  <c:v>4.0000000000000001E-3</c:v>
                </c:pt>
                <c:pt idx="215">
                  <c:v>3.1E-2</c:v>
                </c:pt>
                <c:pt idx="216">
                  <c:v>0.13700000000000001</c:v>
                </c:pt>
                <c:pt idx="217">
                  <c:v>3.1E-2</c:v>
                </c:pt>
                <c:pt idx="218">
                  <c:v>5.1999999999999998E-2</c:v>
                </c:pt>
                <c:pt idx="219">
                  <c:v>3.1E-2</c:v>
                </c:pt>
                <c:pt idx="220">
                  <c:v>5.5E-2</c:v>
                </c:pt>
                <c:pt idx="221">
                  <c:v>1.7000000000000001E-2</c:v>
                </c:pt>
                <c:pt idx="222">
                  <c:v>4.5999999999999999E-2</c:v>
                </c:pt>
                <c:pt idx="223">
                  <c:v>2.1000000000000001E-2</c:v>
                </c:pt>
                <c:pt idx="224">
                  <c:v>7.0000000000000007E-2</c:v>
                </c:pt>
                <c:pt idx="225">
                  <c:v>3.9E-2</c:v>
                </c:pt>
                <c:pt idx="226">
                  <c:v>1.4E-2</c:v>
                </c:pt>
                <c:pt idx="227">
                  <c:v>6.6000000000000003E-2</c:v>
                </c:pt>
                <c:pt idx="228">
                  <c:v>0.21299999999999999</c:v>
                </c:pt>
                <c:pt idx="229">
                  <c:v>0.104</c:v>
                </c:pt>
                <c:pt idx="230">
                  <c:v>1.7999999999999999E-2</c:v>
                </c:pt>
                <c:pt idx="231">
                  <c:v>5.6000000000000001E-2</c:v>
                </c:pt>
                <c:pt idx="232">
                  <c:v>7.5999999999999998E-2</c:v>
                </c:pt>
                <c:pt idx="233">
                  <c:v>5.8000000000000003E-2</c:v>
                </c:pt>
                <c:pt idx="234">
                  <c:v>4.1000000000000002E-2</c:v>
                </c:pt>
                <c:pt idx="235">
                  <c:v>3.7999999999999999E-2</c:v>
                </c:pt>
                <c:pt idx="236">
                  <c:v>3.2000000000000001E-2</c:v>
                </c:pt>
                <c:pt idx="237">
                  <c:v>8.1000000000000003E-2</c:v>
                </c:pt>
                <c:pt idx="238">
                  <c:v>3.1E-2</c:v>
                </c:pt>
                <c:pt idx="239">
                  <c:v>2.1999999999999999E-2</c:v>
                </c:pt>
                <c:pt idx="240">
                  <c:v>1.4E-2</c:v>
                </c:pt>
                <c:pt idx="241">
                  <c:v>4.9000000000000002E-2</c:v>
                </c:pt>
                <c:pt idx="242">
                  <c:v>2.5000000000000001E-2</c:v>
                </c:pt>
                <c:pt idx="243">
                  <c:v>0.10299999999999999</c:v>
                </c:pt>
                <c:pt idx="244">
                  <c:v>0.112</c:v>
                </c:pt>
                <c:pt idx="245">
                  <c:v>2.7E-2</c:v>
                </c:pt>
                <c:pt idx="246">
                  <c:v>6.6000000000000003E-2</c:v>
                </c:pt>
                <c:pt idx="247">
                  <c:v>4.9000000000000002E-2</c:v>
                </c:pt>
                <c:pt idx="248">
                  <c:v>7.0999999999999994E-2</c:v>
                </c:pt>
                <c:pt idx="249">
                  <c:v>3.7999999999999999E-2</c:v>
                </c:pt>
                <c:pt idx="250">
                  <c:v>5.7000000000000002E-2</c:v>
                </c:pt>
                <c:pt idx="251">
                  <c:v>7.2999999999999995E-2</c:v>
                </c:pt>
                <c:pt idx="252">
                  <c:v>3.7999999999999999E-2</c:v>
                </c:pt>
                <c:pt idx="253">
                  <c:v>0.11600000000000001</c:v>
                </c:pt>
                <c:pt idx="254">
                  <c:v>2.1999999999999999E-2</c:v>
                </c:pt>
                <c:pt idx="255">
                  <c:v>8.5000000000000006E-2</c:v>
                </c:pt>
                <c:pt idx="256">
                  <c:v>3.5000000000000003E-2</c:v>
                </c:pt>
                <c:pt idx="257">
                  <c:v>0.06</c:v>
                </c:pt>
                <c:pt idx="258">
                  <c:v>2.5000000000000001E-2</c:v>
                </c:pt>
                <c:pt idx="259">
                  <c:v>3.7999999999999999E-2</c:v>
                </c:pt>
                <c:pt idx="260">
                  <c:v>2.1999999999999999E-2</c:v>
                </c:pt>
                <c:pt idx="261">
                  <c:v>6.5000000000000002E-2</c:v>
                </c:pt>
                <c:pt idx="262">
                  <c:v>2.7E-2</c:v>
                </c:pt>
                <c:pt idx="263">
                  <c:v>3.5999999999999997E-2</c:v>
                </c:pt>
                <c:pt idx="264">
                  <c:v>3.5000000000000003E-2</c:v>
                </c:pt>
                <c:pt idx="265">
                  <c:v>1.4E-2</c:v>
                </c:pt>
                <c:pt idx="266">
                  <c:v>2.4E-2</c:v>
                </c:pt>
                <c:pt idx="267">
                  <c:v>0.04</c:v>
                </c:pt>
                <c:pt idx="268">
                  <c:v>3.9E-2</c:v>
                </c:pt>
                <c:pt idx="269">
                  <c:v>3.5999999999999997E-2</c:v>
                </c:pt>
                <c:pt idx="270">
                  <c:v>1.0999999999999999E-2</c:v>
                </c:pt>
                <c:pt idx="271">
                  <c:v>1.7000000000000001E-2</c:v>
                </c:pt>
                <c:pt idx="272">
                  <c:v>5.7000000000000002E-2</c:v>
                </c:pt>
                <c:pt idx="273">
                  <c:v>0.04</c:v>
                </c:pt>
                <c:pt idx="274">
                  <c:v>1.2E-2</c:v>
                </c:pt>
                <c:pt idx="275">
                  <c:v>4.1000000000000002E-2</c:v>
                </c:pt>
                <c:pt idx="276">
                  <c:v>9.0999999999999998E-2</c:v>
                </c:pt>
                <c:pt idx="277">
                  <c:v>1.6E-2</c:v>
                </c:pt>
                <c:pt idx="278">
                  <c:v>3.1E-2</c:v>
                </c:pt>
                <c:pt idx="279">
                  <c:v>1.7999999999999999E-2</c:v>
                </c:pt>
                <c:pt idx="280">
                  <c:v>4.8000000000000001E-2</c:v>
                </c:pt>
                <c:pt idx="281">
                  <c:v>1.0999999999999999E-2</c:v>
                </c:pt>
                <c:pt idx="282">
                  <c:v>0.02</c:v>
                </c:pt>
                <c:pt idx="283">
                  <c:v>1.7999999999999999E-2</c:v>
                </c:pt>
                <c:pt idx="284">
                  <c:v>4.0000000000000001E-3</c:v>
                </c:pt>
                <c:pt idx="285">
                  <c:v>1.6E-2</c:v>
                </c:pt>
                <c:pt idx="286">
                  <c:v>1.2E-2</c:v>
                </c:pt>
                <c:pt idx="287">
                  <c:v>2.1000000000000001E-2</c:v>
                </c:pt>
                <c:pt idx="288">
                  <c:v>3.5000000000000003E-2</c:v>
                </c:pt>
                <c:pt idx="289">
                  <c:v>7.2999999999999995E-2</c:v>
                </c:pt>
                <c:pt idx="290">
                  <c:v>2.3E-2</c:v>
                </c:pt>
                <c:pt idx="291">
                  <c:v>3.2000000000000001E-2</c:v>
                </c:pt>
                <c:pt idx="292">
                  <c:v>3.5000000000000003E-2</c:v>
                </c:pt>
                <c:pt idx="293">
                  <c:v>2.1999999999999999E-2</c:v>
                </c:pt>
                <c:pt idx="294">
                  <c:v>1.2E-2</c:v>
                </c:pt>
                <c:pt idx="295">
                  <c:v>0.158</c:v>
                </c:pt>
                <c:pt idx="296">
                  <c:v>3.5999999999999997E-2</c:v>
                </c:pt>
                <c:pt idx="297">
                  <c:v>1.2E-2</c:v>
                </c:pt>
                <c:pt idx="298">
                  <c:v>2.9000000000000001E-2</c:v>
                </c:pt>
                <c:pt idx="299">
                  <c:v>4.3999999999999997E-2</c:v>
                </c:pt>
                <c:pt idx="300">
                  <c:v>1.4E-2</c:v>
                </c:pt>
                <c:pt idx="301">
                  <c:v>1.2E-2</c:v>
                </c:pt>
                <c:pt idx="302">
                  <c:v>3.4000000000000002E-2</c:v>
                </c:pt>
                <c:pt idx="303">
                  <c:v>1.7000000000000001E-2</c:v>
                </c:pt>
                <c:pt idx="304">
                  <c:v>3.7999999999999999E-2</c:v>
                </c:pt>
                <c:pt idx="305">
                  <c:v>1.2999999999999999E-2</c:v>
                </c:pt>
                <c:pt idx="306">
                  <c:v>2.5000000000000001E-2</c:v>
                </c:pt>
                <c:pt idx="307">
                  <c:v>5.7000000000000002E-2</c:v>
                </c:pt>
                <c:pt idx="308">
                  <c:v>1.2E-2</c:v>
                </c:pt>
                <c:pt idx="309">
                  <c:v>7.0999999999999994E-2</c:v>
                </c:pt>
                <c:pt idx="310">
                  <c:v>8.6999999999999994E-2</c:v>
                </c:pt>
                <c:pt idx="311">
                  <c:v>2.3E-2</c:v>
                </c:pt>
                <c:pt idx="312">
                  <c:v>2.4E-2</c:v>
                </c:pt>
                <c:pt idx="313">
                  <c:v>3.2000000000000001E-2</c:v>
                </c:pt>
                <c:pt idx="314">
                  <c:v>3.1E-2</c:v>
                </c:pt>
                <c:pt idx="315">
                  <c:v>1.6E-2</c:v>
                </c:pt>
                <c:pt idx="316">
                  <c:v>1.4999999999999999E-2</c:v>
                </c:pt>
                <c:pt idx="317">
                  <c:v>1.7000000000000001E-2</c:v>
                </c:pt>
                <c:pt idx="318">
                  <c:v>4.4999999999999998E-2</c:v>
                </c:pt>
                <c:pt idx="319">
                  <c:v>2.7E-2</c:v>
                </c:pt>
                <c:pt idx="320">
                  <c:v>2.5000000000000001E-2</c:v>
                </c:pt>
                <c:pt idx="321">
                  <c:v>4.0000000000000001E-3</c:v>
                </c:pt>
                <c:pt idx="322">
                  <c:v>2.5999999999999999E-2</c:v>
                </c:pt>
                <c:pt idx="323">
                  <c:v>3.6999999999999998E-2</c:v>
                </c:pt>
                <c:pt idx="324">
                  <c:v>2.5000000000000001E-2</c:v>
                </c:pt>
                <c:pt idx="325">
                  <c:v>4.5999999999999999E-2</c:v>
                </c:pt>
                <c:pt idx="326">
                  <c:v>3.2000000000000001E-2</c:v>
                </c:pt>
                <c:pt idx="327">
                  <c:v>7.0000000000000001E-3</c:v>
                </c:pt>
                <c:pt idx="328">
                  <c:v>2.4E-2</c:v>
                </c:pt>
                <c:pt idx="329">
                  <c:v>1.0999999999999999E-2</c:v>
                </c:pt>
                <c:pt idx="330">
                  <c:v>4.4999999999999998E-2</c:v>
                </c:pt>
                <c:pt idx="331">
                  <c:v>2.4E-2</c:v>
                </c:pt>
                <c:pt idx="332">
                  <c:v>1.0999999999999999E-2</c:v>
                </c:pt>
                <c:pt idx="333">
                  <c:v>4.1000000000000002E-2</c:v>
                </c:pt>
                <c:pt idx="334">
                  <c:v>1.2999999999999999E-2</c:v>
                </c:pt>
                <c:pt idx="335">
                  <c:v>1.9E-2</c:v>
                </c:pt>
                <c:pt idx="336">
                  <c:v>1.2999999999999999E-2</c:v>
                </c:pt>
                <c:pt idx="337">
                  <c:v>5.0000000000000001E-3</c:v>
                </c:pt>
                <c:pt idx="338">
                  <c:v>0.02</c:v>
                </c:pt>
                <c:pt idx="339">
                  <c:v>5.6000000000000001E-2</c:v>
                </c:pt>
                <c:pt idx="340">
                  <c:v>1.2999999999999999E-2</c:v>
                </c:pt>
                <c:pt idx="341">
                  <c:v>0.01</c:v>
                </c:pt>
                <c:pt idx="342">
                  <c:v>1.2E-2</c:v>
                </c:pt>
                <c:pt idx="343">
                  <c:v>0.03</c:v>
                </c:pt>
                <c:pt idx="344">
                  <c:v>1.0999999999999999E-2</c:v>
                </c:pt>
                <c:pt idx="345">
                  <c:v>4.5999999999999999E-2</c:v>
                </c:pt>
                <c:pt idx="346">
                  <c:v>1.2E-2</c:v>
                </c:pt>
                <c:pt idx="347">
                  <c:v>8.0000000000000002E-3</c:v>
                </c:pt>
                <c:pt idx="348">
                  <c:v>4.0000000000000001E-3</c:v>
                </c:pt>
                <c:pt idx="349">
                  <c:v>8.0000000000000002E-3</c:v>
                </c:pt>
                <c:pt idx="350">
                  <c:v>2.7E-2</c:v>
                </c:pt>
                <c:pt idx="351">
                  <c:v>0.01</c:v>
                </c:pt>
                <c:pt idx="352">
                  <c:v>1.7999999999999999E-2</c:v>
                </c:pt>
                <c:pt idx="353">
                  <c:v>3.7999999999999999E-2</c:v>
                </c:pt>
                <c:pt idx="354">
                  <c:v>2.4E-2</c:v>
                </c:pt>
                <c:pt idx="355">
                  <c:v>1.4E-2</c:v>
                </c:pt>
                <c:pt idx="356">
                  <c:v>2.8000000000000001E-2</c:v>
                </c:pt>
                <c:pt idx="357">
                  <c:v>1.9E-2</c:v>
                </c:pt>
                <c:pt idx="358">
                  <c:v>2.4E-2</c:v>
                </c:pt>
                <c:pt idx="359">
                  <c:v>1.0999999999999999E-2</c:v>
                </c:pt>
                <c:pt idx="360">
                  <c:v>8.0000000000000002E-3</c:v>
                </c:pt>
                <c:pt idx="361">
                  <c:v>4.0000000000000001E-3</c:v>
                </c:pt>
                <c:pt idx="362">
                  <c:v>1.2E-2</c:v>
                </c:pt>
                <c:pt idx="363">
                  <c:v>7.0000000000000001E-3</c:v>
                </c:pt>
                <c:pt idx="364">
                  <c:v>3.0000000000000001E-3</c:v>
                </c:pt>
                <c:pt idx="365">
                  <c:v>5.6000000000000001E-2</c:v>
                </c:pt>
                <c:pt idx="366">
                  <c:v>0.05</c:v>
                </c:pt>
                <c:pt idx="367">
                  <c:v>3.9E-2</c:v>
                </c:pt>
                <c:pt idx="368">
                  <c:v>2.4E-2</c:v>
                </c:pt>
                <c:pt idx="369">
                  <c:v>0.01</c:v>
                </c:pt>
                <c:pt idx="370">
                  <c:v>4.2000000000000003E-2</c:v>
                </c:pt>
                <c:pt idx="371">
                  <c:v>1.6E-2</c:v>
                </c:pt>
                <c:pt idx="372">
                  <c:v>0.01</c:v>
                </c:pt>
                <c:pt idx="373">
                  <c:v>1.2E-2</c:v>
                </c:pt>
                <c:pt idx="374">
                  <c:v>6.3E-2</c:v>
                </c:pt>
                <c:pt idx="375">
                  <c:v>4.0000000000000001E-3</c:v>
                </c:pt>
                <c:pt idx="376">
                  <c:v>2.1999999999999999E-2</c:v>
                </c:pt>
                <c:pt idx="377">
                  <c:v>1.6E-2</c:v>
                </c:pt>
                <c:pt idx="378">
                  <c:v>0.01</c:v>
                </c:pt>
                <c:pt idx="379">
                  <c:v>8.0000000000000002E-3</c:v>
                </c:pt>
                <c:pt idx="380">
                  <c:v>1.4999999999999999E-2</c:v>
                </c:pt>
                <c:pt idx="381">
                  <c:v>2.3E-2</c:v>
                </c:pt>
                <c:pt idx="382">
                  <c:v>0.02</c:v>
                </c:pt>
                <c:pt idx="383">
                  <c:v>2.5999999999999999E-2</c:v>
                </c:pt>
                <c:pt idx="384">
                  <c:v>1E-3</c:v>
                </c:pt>
                <c:pt idx="385">
                  <c:v>2.1000000000000001E-2</c:v>
                </c:pt>
                <c:pt idx="386">
                  <c:v>1.9E-2</c:v>
                </c:pt>
                <c:pt idx="387">
                  <c:v>1.2E-2</c:v>
                </c:pt>
                <c:pt idx="388">
                  <c:v>0.01</c:v>
                </c:pt>
                <c:pt idx="389">
                  <c:v>3.1E-2</c:v>
                </c:pt>
                <c:pt idx="390">
                  <c:v>2.1999999999999999E-2</c:v>
                </c:pt>
                <c:pt idx="391">
                  <c:v>3.1E-2</c:v>
                </c:pt>
                <c:pt idx="392">
                  <c:v>0.01</c:v>
                </c:pt>
                <c:pt idx="393">
                  <c:v>2.1999999999999999E-2</c:v>
                </c:pt>
                <c:pt idx="394">
                  <c:v>0.01</c:v>
                </c:pt>
                <c:pt idx="395">
                  <c:v>5.0000000000000001E-3</c:v>
                </c:pt>
                <c:pt idx="396">
                  <c:v>1.7999999999999999E-2</c:v>
                </c:pt>
                <c:pt idx="397">
                  <c:v>2.7E-2</c:v>
                </c:pt>
                <c:pt idx="398">
                  <c:v>8.0000000000000002E-3</c:v>
                </c:pt>
                <c:pt idx="399">
                  <c:v>1.9E-2</c:v>
                </c:pt>
                <c:pt idx="400">
                  <c:v>7.0000000000000001E-3</c:v>
                </c:pt>
                <c:pt idx="401">
                  <c:v>4.5999999999999999E-2</c:v>
                </c:pt>
                <c:pt idx="402">
                  <c:v>5.0000000000000001E-3</c:v>
                </c:pt>
                <c:pt idx="403">
                  <c:v>2.5999999999999999E-2</c:v>
                </c:pt>
                <c:pt idx="404">
                  <c:v>1.7000000000000001E-2</c:v>
                </c:pt>
                <c:pt idx="405">
                  <c:v>2.5999999999999999E-2</c:v>
                </c:pt>
                <c:pt idx="406">
                  <c:v>1.4999999999999999E-2</c:v>
                </c:pt>
                <c:pt idx="407">
                  <c:v>1.9E-2</c:v>
                </c:pt>
                <c:pt idx="408">
                  <c:v>1.9E-2</c:v>
                </c:pt>
                <c:pt idx="409">
                  <c:v>8.9999999999999993E-3</c:v>
                </c:pt>
                <c:pt idx="410">
                  <c:v>1.2E-2</c:v>
                </c:pt>
                <c:pt idx="411">
                  <c:v>1.2E-2</c:v>
                </c:pt>
                <c:pt idx="412">
                  <c:v>8.9999999999999993E-3</c:v>
                </c:pt>
                <c:pt idx="413">
                  <c:v>1.2999999999999999E-2</c:v>
                </c:pt>
                <c:pt idx="414">
                  <c:v>1.2999999999999999E-2</c:v>
                </c:pt>
                <c:pt idx="415">
                  <c:v>1.2999999999999999E-2</c:v>
                </c:pt>
                <c:pt idx="416">
                  <c:v>2.4E-2</c:v>
                </c:pt>
                <c:pt idx="417">
                  <c:v>4.4999999999999998E-2</c:v>
                </c:pt>
                <c:pt idx="418">
                  <c:v>5.0000000000000001E-3</c:v>
                </c:pt>
                <c:pt idx="419">
                  <c:v>7.0000000000000001E-3</c:v>
                </c:pt>
                <c:pt idx="420">
                  <c:v>1.7999999999999999E-2</c:v>
                </c:pt>
                <c:pt idx="421">
                  <c:v>2E-3</c:v>
                </c:pt>
                <c:pt idx="422">
                  <c:v>1.2E-2</c:v>
                </c:pt>
                <c:pt idx="423">
                  <c:v>8.9999999999999993E-3</c:v>
                </c:pt>
                <c:pt idx="424">
                  <c:v>6.0000000000000001E-3</c:v>
                </c:pt>
                <c:pt idx="425">
                  <c:v>6.0000000000000001E-3</c:v>
                </c:pt>
                <c:pt idx="426">
                  <c:v>0.01</c:v>
                </c:pt>
                <c:pt idx="427">
                  <c:v>5.0000000000000001E-3</c:v>
                </c:pt>
                <c:pt idx="428">
                  <c:v>1.4999999999999999E-2</c:v>
                </c:pt>
                <c:pt idx="429">
                  <c:v>1.4E-2</c:v>
                </c:pt>
                <c:pt idx="430">
                  <c:v>1.0999999999999999E-2</c:v>
                </c:pt>
                <c:pt idx="431">
                  <c:v>1.4999999999999999E-2</c:v>
                </c:pt>
                <c:pt idx="432">
                  <c:v>1.9E-2</c:v>
                </c:pt>
                <c:pt idx="433">
                  <c:v>8.9999999999999993E-3</c:v>
                </c:pt>
                <c:pt idx="434">
                  <c:v>5.0000000000000001E-3</c:v>
                </c:pt>
                <c:pt idx="435">
                  <c:v>8.0000000000000002E-3</c:v>
                </c:pt>
                <c:pt idx="436">
                  <c:v>6.0000000000000001E-3</c:v>
                </c:pt>
                <c:pt idx="437">
                  <c:v>4.0000000000000001E-3</c:v>
                </c:pt>
                <c:pt idx="438">
                  <c:v>2.1999999999999999E-2</c:v>
                </c:pt>
                <c:pt idx="439">
                  <c:v>1.0999999999999999E-2</c:v>
                </c:pt>
                <c:pt idx="440">
                  <c:v>0.01</c:v>
                </c:pt>
                <c:pt idx="441">
                  <c:v>7.0000000000000001E-3</c:v>
                </c:pt>
                <c:pt idx="442">
                  <c:v>2.7E-2</c:v>
                </c:pt>
                <c:pt idx="443">
                  <c:v>6.0000000000000001E-3</c:v>
                </c:pt>
                <c:pt idx="444">
                  <c:v>1E-3</c:v>
                </c:pt>
                <c:pt idx="445">
                  <c:v>2E-3</c:v>
                </c:pt>
                <c:pt idx="446">
                  <c:v>2.1999999999999999E-2</c:v>
                </c:pt>
                <c:pt idx="447">
                  <c:v>1.0999999999999999E-2</c:v>
                </c:pt>
                <c:pt idx="448">
                  <c:v>2.8000000000000001E-2</c:v>
                </c:pt>
                <c:pt idx="449">
                  <c:v>8.0000000000000002E-3</c:v>
                </c:pt>
                <c:pt idx="450">
                  <c:v>1.2E-2</c:v>
                </c:pt>
                <c:pt idx="451">
                  <c:v>8.9999999999999993E-3</c:v>
                </c:pt>
                <c:pt idx="452">
                  <c:v>5.0000000000000001E-3</c:v>
                </c:pt>
                <c:pt idx="453">
                  <c:v>5.0000000000000001E-3</c:v>
                </c:pt>
                <c:pt idx="454">
                  <c:v>8.9999999999999993E-3</c:v>
                </c:pt>
                <c:pt idx="455">
                  <c:v>4.0000000000000001E-3</c:v>
                </c:pt>
                <c:pt idx="456">
                  <c:v>1E-3</c:v>
                </c:pt>
                <c:pt idx="457">
                  <c:v>8.9999999999999993E-3</c:v>
                </c:pt>
                <c:pt idx="458">
                  <c:v>5.0000000000000001E-3</c:v>
                </c:pt>
                <c:pt idx="459">
                  <c:v>3.0000000000000001E-3</c:v>
                </c:pt>
                <c:pt idx="460">
                  <c:v>2.1999999999999999E-2</c:v>
                </c:pt>
                <c:pt idx="461">
                  <c:v>7.0000000000000001E-3</c:v>
                </c:pt>
                <c:pt idx="462">
                  <c:v>4.0000000000000001E-3</c:v>
                </c:pt>
                <c:pt idx="463">
                  <c:v>8.0000000000000002E-3</c:v>
                </c:pt>
                <c:pt idx="464">
                  <c:v>5.0999999999999997E-2</c:v>
                </c:pt>
                <c:pt idx="465">
                  <c:v>1.0999999999999999E-2</c:v>
                </c:pt>
                <c:pt idx="466">
                  <c:v>1.4E-2</c:v>
                </c:pt>
                <c:pt idx="467">
                  <c:v>7.0000000000000001E-3</c:v>
                </c:pt>
                <c:pt idx="468">
                  <c:v>1.9E-2</c:v>
                </c:pt>
                <c:pt idx="469">
                  <c:v>0.01</c:v>
                </c:pt>
                <c:pt idx="470">
                  <c:v>8.9999999999999993E-3</c:v>
                </c:pt>
                <c:pt idx="471">
                  <c:v>4.0000000000000001E-3</c:v>
                </c:pt>
                <c:pt idx="472">
                  <c:v>5.0000000000000001E-3</c:v>
                </c:pt>
                <c:pt idx="473">
                  <c:v>7.0000000000000001E-3</c:v>
                </c:pt>
                <c:pt idx="474">
                  <c:v>1.7999999999999999E-2</c:v>
                </c:pt>
                <c:pt idx="475">
                  <c:v>5.0000000000000001E-3</c:v>
                </c:pt>
                <c:pt idx="476">
                  <c:v>5.0000000000000001E-3</c:v>
                </c:pt>
                <c:pt idx="477">
                  <c:v>4.0000000000000001E-3</c:v>
                </c:pt>
                <c:pt idx="478">
                  <c:v>1.6E-2</c:v>
                </c:pt>
                <c:pt idx="479">
                  <c:v>1.7000000000000001E-2</c:v>
                </c:pt>
                <c:pt idx="480">
                  <c:v>5.0000000000000001E-3</c:v>
                </c:pt>
                <c:pt idx="481">
                  <c:v>2.1999999999999999E-2</c:v>
                </c:pt>
                <c:pt idx="482">
                  <c:v>6.0000000000000001E-3</c:v>
                </c:pt>
                <c:pt idx="483">
                  <c:v>1.2999999999999999E-2</c:v>
                </c:pt>
                <c:pt idx="484">
                  <c:v>7.0000000000000001E-3</c:v>
                </c:pt>
                <c:pt idx="485">
                  <c:v>4.0000000000000001E-3</c:v>
                </c:pt>
                <c:pt idx="486">
                  <c:v>6.0000000000000001E-3</c:v>
                </c:pt>
                <c:pt idx="487">
                  <c:v>1.2E-2</c:v>
                </c:pt>
                <c:pt idx="488">
                  <c:v>5.0000000000000001E-3</c:v>
                </c:pt>
                <c:pt idx="489">
                  <c:v>7.0000000000000001E-3</c:v>
                </c:pt>
                <c:pt idx="490">
                  <c:v>2E-3</c:v>
                </c:pt>
                <c:pt idx="491">
                  <c:v>0.01</c:v>
                </c:pt>
                <c:pt idx="492">
                  <c:v>3.0000000000000001E-3</c:v>
                </c:pt>
                <c:pt idx="493">
                  <c:v>2E-3</c:v>
                </c:pt>
                <c:pt idx="494">
                  <c:v>5.0000000000000001E-3</c:v>
                </c:pt>
                <c:pt idx="495">
                  <c:v>5.0000000000000001E-3</c:v>
                </c:pt>
                <c:pt idx="496">
                  <c:v>6.0000000000000001E-3</c:v>
                </c:pt>
                <c:pt idx="497">
                  <c:v>1E-3</c:v>
                </c:pt>
                <c:pt idx="498">
                  <c:v>8.0000000000000002E-3</c:v>
                </c:pt>
                <c:pt idx="499">
                  <c:v>4.0000000000000001E-3</c:v>
                </c:pt>
                <c:pt idx="500">
                  <c:v>4.0000000000000001E-3</c:v>
                </c:pt>
                <c:pt idx="501">
                  <c:v>2E-3</c:v>
                </c:pt>
                <c:pt idx="502">
                  <c:v>3.0000000000000001E-3</c:v>
                </c:pt>
                <c:pt idx="503">
                  <c:v>3.0000000000000001E-3</c:v>
                </c:pt>
                <c:pt idx="504">
                  <c:v>0.01</c:v>
                </c:pt>
                <c:pt idx="505">
                  <c:v>4.0000000000000001E-3</c:v>
                </c:pt>
                <c:pt idx="506">
                  <c:v>5.0000000000000001E-3</c:v>
                </c:pt>
                <c:pt idx="507">
                  <c:v>5.0000000000000001E-3</c:v>
                </c:pt>
                <c:pt idx="508">
                  <c:v>0.01</c:v>
                </c:pt>
                <c:pt idx="509">
                  <c:v>1E-3</c:v>
                </c:pt>
                <c:pt idx="510">
                  <c:v>2E-3</c:v>
                </c:pt>
                <c:pt idx="511">
                  <c:v>2E-3</c:v>
                </c:pt>
                <c:pt idx="512">
                  <c:v>2E-3</c:v>
                </c:pt>
                <c:pt idx="513">
                  <c:v>5.0000000000000001E-3</c:v>
                </c:pt>
                <c:pt idx="514">
                  <c:v>5.0000000000000001E-3</c:v>
                </c:pt>
                <c:pt idx="515">
                  <c:v>1.6E-2</c:v>
                </c:pt>
                <c:pt idx="516">
                  <c:v>5.0000000000000001E-3</c:v>
                </c:pt>
                <c:pt idx="517">
                  <c:v>8.0000000000000002E-3</c:v>
                </c:pt>
                <c:pt idx="518">
                  <c:v>5.0000000000000001E-3</c:v>
                </c:pt>
                <c:pt idx="519">
                  <c:v>2.1000000000000001E-2</c:v>
                </c:pt>
                <c:pt idx="520">
                  <c:v>1.4E-2</c:v>
                </c:pt>
                <c:pt idx="521">
                  <c:v>5.0000000000000001E-3</c:v>
                </c:pt>
                <c:pt idx="522">
                  <c:v>1E-3</c:v>
                </c:pt>
                <c:pt idx="523">
                  <c:v>1E-3</c:v>
                </c:pt>
                <c:pt idx="524">
                  <c:v>8.9999999999999993E-3</c:v>
                </c:pt>
                <c:pt idx="525">
                  <c:v>2E-3</c:v>
                </c:pt>
                <c:pt idx="526">
                  <c:v>7.0000000000000001E-3</c:v>
                </c:pt>
                <c:pt idx="527">
                  <c:v>7.0000000000000001E-3</c:v>
                </c:pt>
                <c:pt idx="528">
                  <c:v>3.0000000000000001E-3</c:v>
                </c:pt>
                <c:pt idx="529">
                  <c:v>7.0000000000000001E-3</c:v>
                </c:pt>
                <c:pt idx="530">
                  <c:v>6.0000000000000001E-3</c:v>
                </c:pt>
                <c:pt idx="531">
                  <c:v>4.0000000000000001E-3</c:v>
                </c:pt>
                <c:pt idx="532">
                  <c:v>5.0000000000000001E-3</c:v>
                </c:pt>
                <c:pt idx="533">
                  <c:v>5.0000000000000001E-3</c:v>
                </c:pt>
                <c:pt idx="534">
                  <c:v>3.0000000000000001E-3</c:v>
                </c:pt>
                <c:pt idx="535">
                  <c:v>6.0000000000000001E-3</c:v>
                </c:pt>
                <c:pt idx="536">
                  <c:v>1.4999999999999999E-2</c:v>
                </c:pt>
                <c:pt idx="537">
                  <c:v>8.9999999999999993E-3</c:v>
                </c:pt>
                <c:pt idx="538">
                  <c:v>1.2E-2</c:v>
                </c:pt>
                <c:pt idx="539">
                  <c:v>5.0000000000000001E-3</c:v>
                </c:pt>
                <c:pt idx="540">
                  <c:v>4.0000000000000001E-3</c:v>
                </c:pt>
                <c:pt idx="541">
                  <c:v>2E-3</c:v>
                </c:pt>
                <c:pt idx="542">
                  <c:v>2E-3</c:v>
                </c:pt>
                <c:pt idx="543">
                  <c:v>3.0000000000000001E-3</c:v>
                </c:pt>
                <c:pt idx="544">
                  <c:v>6.0000000000000001E-3</c:v>
                </c:pt>
                <c:pt idx="545">
                  <c:v>4.0000000000000001E-3</c:v>
                </c:pt>
                <c:pt idx="546">
                  <c:v>5.0000000000000001E-3</c:v>
                </c:pt>
                <c:pt idx="547">
                  <c:v>1E-3</c:v>
                </c:pt>
                <c:pt idx="548">
                  <c:v>2E-3</c:v>
                </c:pt>
                <c:pt idx="549">
                  <c:v>1E-3</c:v>
                </c:pt>
                <c:pt idx="550">
                  <c:v>5.0000000000000001E-3</c:v>
                </c:pt>
                <c:pt idx="551">
                  <c:v>2E-3</c:v>
                </c:pt>
                <c:pt idx="552">
                  <c:v>2E-3</c:v>
                </c:pt>
                <c:pt idx="553">
                  <c:v>3.0000000000000001E-3</c:v>
                </c:pt>
                <c:pt idx="554">
                  <c:v>1E-3</c:v>
                </c:pt>
                <c:pt idx="555">
                  <c:v>3.0000000000000001E-3</c:v>
                </c:pt>
                <c:pt idx="556">
                  <c:v>0.01</c:v>
                </c:pt>
                <c:pt idx="557">
                  <c:v>5.0000000000000001E-3</c:v>
                </c:pt>
                <c:pt idx="558">
                  <c:v>3.0000000000000001E-3</c:v>
                </c:pt>
                <c:pt idx="559">
                  <c:v>2E-3</c:v>
                </c:pt>
                <c:pt idx="560">
                  <c:v>1E-3</c:v>
                </c:pt>
                <c:pt idx="561">
                  <c:v>1E-3</c:v>
                </c:pt>
                <c:pt idx="562">
                  <c:v>1E-3</c:v>
                </c:pt>
                <c:pt idx="563">
                  <c:v>2E-3</c:v>
                </c:pt>
                <c:pt idx="564">
                  <c:v>5.0000000000000001E-3</c:v>
                </c:pt>
                <c:pt idx="565">
                  <c:v>2E-3</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7ECAC4"/>
              </a:solidFill>
            </c:spPr>
            <c:extLst>
              <c:ext xmlns:c16="http://schemas.microsoft.com/office/drawing/2014/chart" uri="{C3380CC4-5D6E-409C-BE32-E72D297353CC}">
                <c16:uniqueId val="{0000007A-C76F-4230-900D-40618C09729F}"/>
              </c:ext>
            </c:extLst>
          </c:dPt>
          <c:dPt>
            <c:idx val="59"/>
            <c:invertIfNegative val="0"/>
            <c:bubble3D val="0"/>
            <c:spPr>
              <a:solidFill>
                <a:srgbClr val="7ECAC4"/>
              </a:solidFill>
            </c:spPr>
            <c:extLst>
              <c:ext xmlns:c16="http://schemas.microsoft.com/office/drawing/2014/chart" uri="{C3380CC4-5D6E-409C-BE32-E72D297353CC}">
                <c16:uniqueId val="{0000007C-C76F-4230-900D-40618C09729F}"/>
              </c:ext>
            </c:extLst>
          </c:dPt>
          <c:dPt>
            <c:idx val="60"/>
            <c:invertIfNegative val="0"/>
            <c:bubble3D val="0"/>
            <c:spPr>
              <a:solidFill>
                <a:srgbClr val="7ECAC4"/>
              </a:solidFill>
            </c:spPr>
            <c:extLst>
              <c:ext xmlns:c16="http://schemas.microsoft.com/office/drawing/2014/chart" uri="{C3380CC4-5D6E-409C-BE32-E72D297353CC}">
                <c16:uniqueId val="{0000007E-C76F-4230-900D-40618C09729F}"/>
              </c:ext>
            </c:extLst>
          </c:dPt>
          <c:dPt>
            <c:idx val="61"/>
            <c:invertIfNegative val="0"/>
            <c:bubble3D val="0"/>
            <c:spPr>
              <a:solidFill>
                <a:srgbClr val="7ECAC4"/>
              </a:solidFill>
            </c:spPr>
            <c:extLst>
              <c:ext xmlns:c16="http://schemas.microsoft.com/office/drawing/2014/chart" uri="{C3380CC4-5D6E-409C-BE32-E72D297353CC}">
                <c16:uniqueId val="{00000080-C76F-4230-900D-40618C09729F}"/>
              </c:ext>
            </c:extLst>
          </c:dPt>
          <c:dPt>
            <c:idx val="62"/>
            <c:invertIfNegative val="0"/>
            <c:bubble3D val="0"/>
            <c:spPr>
              <a:solidFill>
                <a:srgbClr val="7ECAC4"/>
              </a:solidFill>
            </c:spPr>
            <c:extLst>
              <c:ext xmlns:c16="http://schemas.microsoft.com/office/drawing/2014/chart" uri="{C3380CC4-5D6E-409C-BE32-E72D297353CC}">
                <c16:uniqueId val="{00000082-C76F-4230-900D-40618C09729F}"/>
              </c:ext>
            </c:extLst>
          </c:dPt>
          <c:dPt>
            <c:idx val="63"/>
            <c:invertIfNegative val="0"/>
            <c:bubble3D val="0"/>
            <c:spPr>
              <a:solidFill>
                <a:srgbClr val="7ECAC4"/>
              </a:solidFill>
            </c:spPr>
            <c:extLst>
              <c:ext xmlns:c16="http://schemas.microsoft.com/office/drawing/2014/chart" uri="{C3380CC4-5D6E-409C-BE32-E72D297353CC}">
                <c16:uniqueId val="{00000084-C76F-4230-900D-40618C09729F}"/>
              </c:ext>
            </c:extLst>
          </c:dPt>
          <c:dPt>
            <c:idx val="64"/>
            <c:invertIfNegative val="0"/>
            <c:bubble3D val="0"/>
            <c:spPr>
              <a:solidFill>
                <a:srgbClr val="7ECAC4"/>
              </a:solidFill>
            </c:spPr>
            <c:extLst>
              <c:ext xmlns:c16="http://schemas.microsoft.com/office/drawing/2014/chart" uri="{C3380CC4-5D6E-409C-BE32-E72D297353CC}">
                <c16:uniqueId val="{00000086-C76F-4230-900D-40618C09729F}"/>
              </c:ext>
            </c:extLst>
          </c:dPt>
          <c:dPt>
            <c:idx val="65"/>
            <c:invertIfNegative val="0"/>
            <c:bubble3D val="0"/>
            <c:spPr>
              <a:solidFill>
                <a:srgbClr val="7ECAC4"/>
              </a:solidFill>
            </c:spPr>
            <c:extLst>
              <c:ext xmlns:c16="http://schemas.microsoft.com/office/drawing/2014/chart" uri="{C3380CC4-5D6E-409C-BE32-E72D297353CC}">
                <c16:uniqueId val="{00000088-C76F-4230-900D-40618C09729F}"/>
              </c:ext>
            </c:extLst>
          </c:dPt>
          <c:dPt>
            <c:idx val="66"/>
            <c:invertIfNegative val="0"/>
            <c:bubble3D val="0"/>
            <c:spPr>
              <a:solidFill>
                <a:srgbClr val="7ECAC4"/>
              </a:solidFill>
            </c:spPr>
            <c:extLst>
              <c:ext xmlns:c16="http://schemas.microsoft.com/office/drawing/2014/chart" uri="{C3380CC4-5D6E-409C-BE32-E72D297353CC}">
                <c16:uniqueId val="{0000008A-C76F-4230-900D-40618C09729F}"/>
              </c:ext>
            </c:extLst>
          </c:dPt>
          <c:dPt>
            <c:idx val="67"/>
            <c:invertIfNegative val="0"/>
            <c:bubble3D val="0"/>
            <c:spPr>
              <a:solidFill>
                <a:srgbClr val="7ECAC4"/>
              </a:solidFill>
            </c:spPr>
            <c:extLst>
              <c:ext xmlns:c16="http://schemas.microsoft.com/office/drawing/2014/chart" uri="{C3380CC4-5D6E-409C-BE32-E72D297353CC}">
                <c16:uniqueId val="{0000008C-C76F-4230-900D-40618C09729F}"/>
              </c:ext>
            </c:extLst>
          </c:dPt>
          <c:dPt>
            <c:idx val="68"/>
            <c:invertIfNegative val="0"/>
            <c:bubble3D val="0"/>
            <c:spPr>
              <a:solidFill>
                <a:srgbClr val="7ECAC4"/>
              </a:solidFill>
            </c:spPr>
            <c:extLst>
              <c:ext xmlns:c16="http://schemas.microsoft.com/office/drawing/2014/chart" uri="{C3380CC4-5D6E-409C-BE32-E72D297353CC}">
                <c16:uniqueId val="{0000008E-C76F-4230-900D-40618C09729F}"/>
              </c:ext>
            </c:extLst>
          </c:dPt>
          <c:dPt>
            <c:idx val="69"/>
            <c:invertIfNegative val="0"/>
            <c:bubble3D val="0"/>
            <c:spPr>
              <a:solidFill>
                <a:srgbClr val="7ECAC4"/>
              </a:solidFill>
            </c:spPr>
            <c:extLst>
              <c:ext xmlns:c16="http://schemas.microsoft.com/office/drawing/2014/chart" uri="{C3380CC4-5D6E-409C-BE32-E72D297353CC}">
                <c16:uniqueId val="{00000090-C76F-4230-900D-40618C09729F}"/>
              </c:ext>
            </c:extLst>
          </c:dPt>
          <c:dPt>
            <c:idx val="70"/>
            <c:invertIfNegative val="0"/>
            <c:bubble3D val="0"/>
            <c:spPr>
              <a:solidFill>
                <a:srgbClr val="7ECAC4"/>
              </a:solidFill>
            </c:spPr>
            <c:extLst>
              <c:ext xmlns:c16="http://schemas.microsoft.com/office/drawing/2014/chart" uri="{C3380CC4-5D6E-409C-BE32-E72D297353CC}">
                <c16:uniqueId val="{00000092-C76F-4230-900D-40618C09729F}"/>
              </c:ext>
            </c:extLst>
          </c:dPt>
          <c:dPt>
            <c:idx val="71"/>
            <c:invertIfNegative val="0"/>
            <c:bubble3D val="0"/>
            <c:spPr>
              <a:solidFill>
                <a:srgbClr val="7ECAC4"/>
              </a:solidFill>
            </c:spPr>
            <c:extLst>
              <c:ext xmlns:c16="http://schemas.microsoft.com/office/drawing/2014/chart" uri="{C3380CC4-5D6E-409C-BE32-E72D297353CC}">
                <c16:uniqueId val="{00000094-C76F-4230-900D-40618C09729F}"/>
              </c:ext>
            </c:extLst>
          </c:dPt>
          <c:dPt>
            <c:idx val="72"/>
            <c:invertIfNegative val="0"/>
            <c:bubble3D val="0"/>
            <c:spPr>
              <a:solidFill>
                <a:srgbClr val="7ECAC4"/>
              </a:solidFill>
            </c:spPr>
            <c:extLst>
              <c:ext xmlns:c16="http://schemas.microsoft.com/office/drawing/2014/chart" uri="{C3380CC4-5D6E-409C-BE32-E72D297353CC}">
                <c16:uniqueId val="{00000096-C76F-4230-900D-40618C09729F}"/>
              </c:ext>
            </c:extLst>
          </c:dPt>
          <c:dPt>
            <c:idx val="73"/>
            <c:invertIfNegative val="0"/>
            <c:bubble3D val="0"/>
            <c:spPr>
              <a:solidFill>
                <a:srgbClr val="7ECAC4"/>
              </a:solidFill>
            </c:spPr>
            <c:extLst>
              <c:ext xmlns:c16="http://schemas.microsoft.com/office/drawing/2014/chart" uri="{C3380CC4-5D6E-409C-BE32-E72D297353CC}">
                <c16:uniqueId val="{00000098-C76F-4230-900D-40618C09729F}"/>
              </c:ext>
            </c:extLst>
          </c:dPt>
          <c:dPt>
            <c:idx val="74"/>
            <c:invertIfNegative val="0"/>
            <c:bubble3D val="0"/>
            <c:spPr>
              <a:solidFill>
                <a:srgbClr val="7ECAC4"/>
              </a:solidFill>
            </c:spPr>
            <c:extLst>
              <c:ext xmlns:c16="http://schemas.microsoft.com/office/drawing/2014/chart" uri="{C3380CC4-5D6E-409C-BE32-E72D297353CC}">
                <c16:uniqueId val="{0000009A-C76F-4230-900D-40618C09729F}"/>
              </c:ext>
            </c:extLst>
          </c:dPt>
          <c:dPt>
            <c:idx val="75"/>
            <c:invertIfNegative val="0"/>
            <c:bubble3D val="0"/>
            <c:spPr>
              <a:solidFill>
                <a:srgbClr val="7ECAC4"/>
              </a:solidFill>
            </c:spPr>
            <c:extLst>
              <c:ext xmlns:c16="http://schemas.microsoft.com/office/drawing/2014/chart" uri="{C3380CC4-5D6E-409C-BE32-E72D297353CC}">
                <c16:uniqueId val="{0000009C-C76F-4230-900D-40618C09729F}"/>
              </c:ext>
            </c:extLst>
          </c:dPt>
          <c:dPt>
            <c:idx val="76"/>
            <c:invertIfNegative val="0"/>
            <c:bubble3D val="0"/>
            <c:spPr>
              <a:solidFill>
                <a:srgbClr val="7ECAC4"/>
              </a:solidFill>
            </c:spPr>
            <c:extLst>
              <c:ext xmlns:c16="http://schemas.microsoft.com/office/drawing/2014/chart" uri="{C3380CC4-5D6E-409C-BE32-E72D297353CC}">
                <c16:uniqueId val="{0000009E-C76F-4230-900D-40618C09729F}"/>
              </c:ext>
            </c:extLst>
          </c:dPt>
          <c:dPt>
            <c:idx val="77"/>
            <c:invertIfNegative val="0"/>
            <c:bubble3D val="0"/>
            <c:spPr>
              <a:solidFill>
                <a:srgbClr val="7ECAC4"/>
              </a:solidFill>
            </c:spPr>
            <c:extLst>
              <c:ext xmlns:c16="http://schemas.microsoft.com/office/drawing/2014/chart" uri="{C3380CC4-5D6E-409C-BE32-E72D297353CC}">
                <c16:uniqueId val="{000000A0-C76F-4230-900D-40618C09729F}"/>
              </c:ext>
            </c:extLst>
          </c:dPt>
          <c:dPt>
            <c:idx val="78"/>
            <c:invertIfNegative val="0"/>
            <c:bubble3D val="0"/>
            <c:spPr>
              <a:solidFill>
                <a:srgbClr val="7ECAC4"/>
              </a:solidFill>
            </c:spPr>
            <c:extLst>
              <c:ext xmlns:c16="http://schemas.microsoft.com/office/drawing/2014/chart" uri="{C3380CC4-5D6E-409C-BE32-E72D297353CC}">
                <c16:uniqueId val="{000000A2-C76F-4230-900D-40618C09729F}"/>
              </c:ext>
            </c:extLst>
          </c:dPt>
          <c:dPt>
            <c:idx val="79"/>
            <c:invertIfNegative val="0"/>
            <c:bubble3D val="0"/>
            <c:spPr>
              <a:solidFill>
                <a:srgbClr val="7ECAC4"/>
              </a:solidFill>
            </c:spPr>
            <c:extLst>
              <c:ext xmlns:c16="http://schemas.microsoft.com/office/drawing/2014/chart" uri="{C3380CC4-5D6E-409C-BE32-E72D297353CC}">
                <c16:uniqueId val="{000000A4-C76F-4230-900D-40618C09729F}"/>
              </c:ext>
            </c:extLst>
          </c:dPt>
          <c:dPt>
            <c:idx val="80"/>
            <c:invertIfNegative val="0"/>
            <c:bubble3D val="0"/>
            <c:spPr>
              <a:solidFill>
                <a:srgbClr val="7ECAC4"/>
              </a:solidFill>
            </c:spPr>
            <c:extLst>
              <c:ext xmlns:c16="http://schemas.microsoft.com/office/drawing/2014/chart" uri="{C3380CC4-5D6E-409C-BE32-E72D297353CC}">
                <c16:uniqueId val="{000000A6-C76F-4230-900D-40618C09729F}"/>
              </c:ext>
            </c:extLst>
          </c:dPt>
          <c:dPt>
            <c:idx val="81"/>
            <c:invertIfNegative val="1"/>
            <c:bubble3D val="0"/>
            <c:spPr>
              <a:solidFill>
                <a:srgbClr val="7ECAC4"/>
              </a:solidFill>
            </c:spPr>
            <c:extLst>
              <c:ext xmlns:c16="http://schemas.microsoft.com/office/drawing/2014/chart" uri="{C3380CC4-5D6E-409C-BE32-E72D297353CC}">
                <c16:uniqueId val="{000000A5-2993-41DE-A2CB-63102DE87051}"/>
              </c:ext>
            </c:extLst>
          </c:dPt>
          <c:dPt>
            <c:idx val="82"/>
            <c:invertIfNegative val="1"/>
            <c:bubble3D val="0"/>
            <c:spPr>
              <a:solidFill>
                <a:srgbClr val="7ECAC4"/>
              </a:solidFill>
            </c:spPr>
            <c:extLst>
              <c:ext xmlns:c16="http://schemas.microsoft.com/office/drawing/2014/chart" uri="{C3380CC4-5D6E-409C-BE32-E72D297353CC}">
                <c16:uniqueId val="{000000A7-2993-41DE-A2CB-63102DE87051}"/>
              </c:ext>
            </c:extLst>
          </c:dPt>
          <c:dPt>
            <c:idx val="83"/>
            <c:invertIfNegative val="1"/>
            <c:bubble3D val="0"/>
            <c:spPr>
              <a:solidFill>
                <a:srgbClr val="7ECAC4"/>
              </a:solidFill>
            </c:spPr>
            <c:extLst>
              <c:ext xmlns:c16="http://schemas.microsoft.com/office/drawing/2014/chart" uri="{C3380CC4-5D6E-409C-BE32-E72D297353CC}">
                <c16:uniqueId val="{000000A9-2993-41DE-A2CB-63102DE87051}"/>
              </c:ext>
            </c:extLst>
          </c:dPt>
          <c:dPt>
            <c:idx val="84"/>
            <c:invertIfNegative val="1"/>
            <c:bubble3D val="0"/>
            <c:spPr>
              <a:solidFill>
                <a:srgbClr val="7ECAC4"/>
              </a:solidFill>
            </c:spPr>
            <c:extLst>
              <c:ext xmlns:c16="http://schemas.microsoft.com/office/drawing/2014/chart" uri="{C3380CC4-5D6E-409C-BE32-E72D297353CC}">
                <c16:uniqueId val="{000000AB-2993-41DE-A2CB-63102DE87051}"/>
              </c:ext>
            </c:extLst>
          </c:dPt>
          <c:dPt>
            <c:idx val="85"/>
            <c:invertIfNegative val="1"/>
            <c:bubble3D val="0"/>
            <c:spPr>
              <a:solidFill>
                <a:srgbClr val="7ECAC4"/>
              </a:solidFill>
            </c:spPr>
            <c:extLst>
              <c:ext xmlns:c16="http://schemas.microsoft.com/office/drawing/2014/chart" uri="{C3380CC4-5D6E-409C-BE32-E72D297353CC}">
                <c16:uniqueId val="{000000AD-2993-41DE-A2CB-63102DE87051}"/>
              </c:ext>
            </c:extLst>
          </c:dPt>
          <c:dPt>
            <c:idx val="86"/>
            <c:invertIfNegative val="1"/>
            <c:bubble3D val="0"/>
            <c:spPr>
              <a:solidFill>
                <a:srgbClr val="7ECAC4"/>
              </a:solidFill>
            </c:spPr>
            <c:extLst>
              <c:ext xmlns:c16="http://schemas.microsoft.com/office/drawing/2014/chart" uri="{C3380CC4-5D6E-409C-BE32-E72D297353CC}">
                <c16:uniqueId val="{000000AF-2993-41DE-A2CB-63102DE87051}"/>
              </c:ext>
            </c:extLst>
          </c:dPt>
          <c:dPt>
            <c:idx val="87"/>
            <c:invertIfNegative val="1"/>
            <c:bubble3D val="0"/>
            <c:spPr>
              <a:solidFill>
                <a:srgbClr val="7ECAC4"/>
              </a:solidFill>
            </c:spPr>
            <c:extLst>
              <c:ext xmlns:c16="http://schemas.microsoft.com/office/drawing/2014/chart" uri="{C3380CC4-5D6E-409C-BE32-E72D297353CC}">
                <c16:uniqueId val="{000000B1-2993-41DE-A2CB-63102DE87051}"/>
              </c:ext>
            </c:extLst>
          </c:dPt>
          <c:dPt>
            <c:idx val="88"/>
            <c:invertIfNegative val="1"/>
            <c:bubble3D val="0"/>
            <c:spPr>
              <a:solidFill>
                <a:srgbClr val="7ECAC4"/>
              </a:solidFill>
            </c:spPr>
            <c:extLst>
              <c:ext xmlns:c16="http://schemas.microsoft.com/office/drawing/2014/chart" uri="{C3380CC4-5D6E-409C-BE32-E72D297353CC}">
                <c16:uniqueId val="{000000B3-2993-41DE-A2CB-63102DE87051}"/>
              </c:ext>
            </c:extLst>
          </c:dPt>
          <c:dPt>
            <c:idx val="89"/>
            <c:invertIfNegative val="1"/>
            <c:bubble3D val="0"/>
            <c:spPr>
              <a:solidFill>
                <a:srgbClr val="7ECAC4"/>
              </a:solidFill>
            </c:spPr>
            <c:extLst>
              <c:ext xmlns:c16="http://schemas.microsoft.com/office/drawing/2014/chart" uri="{C3380CC4-5D6E-409C-BE32-E72D297353CC}">
                <c16:uniqueId val="{000000B5-2993-41DE-A2CB-63102DE87051}"/>
              </c:ext>
            </c:extLst>
          </c:dPt>
          <c:dPt>
            <c:idx val="90"/>
            <c:invertIfNegative val="1"/>
            <c:bubble3D val="0"/>
            <c:spPr>
              <a:solidFill>
                <a:srgbClr val="7ECAC4"/>
              </a:solidFill>
            </c:spPr>
            <c:extLst>
              <c:ext xmlns:c16="http://schemas.microsoft.com/office/drawing/2014/chart" uri="{C3380CC4-5D6E-409C-BE32-E72D297353CC}">
                <c16:uniqueId val="{000000B7-2993-41DE-A2CB-63102DE87051}"/>
              </c:ext>
            </c:extLst>
          </c:dPt>
          <c:dPt>
            <c:idx val="91"/>
            <c:invertIfNegative val="1"/>
            <c:bubble3D val="0"/>
            <c:spPr>
              <a:solidFill>
                <a:srgbClr val="7ECAC4"/>
              </a:solidFill>
            </c:spPr>
            <c:extLst>
              <c:ext xmlns:c16="http://schemas.microsoft.com/office/drawing/2014/chart" uri="{C3380CC4-5D6E-409C-BE32-E72D297353CC}">
                <c16:uniqueId val="{000000B9-2993-41DE-A2CB-63102DE87051}"/>
              </c:ext>
            </c:extLst>
          </c:dPt>
          <c:dPt>
            <c:idx val="92"/>
            <c:invertIfNegative val="1"/>
            <c:bubble3D val="0"/>
            <c:spPr>
              <a:solidFill>
                <a:srgbClr val="7ECAC4"/>
              </a:solidFill>
            </c:spPr>
            <c:extLst>
              <c:ext xmlns:c16="http://schemas.microsoft.com/office/drawing/2014/chart" uri="{C3380CC4-5D6E-409C-BE32-E72D297353CC}">
                <c16:uniqueId val="{000000BB-2993-41DE-A2CB-63102DE87051}"/>
              </c:ext>
            </c:extLst>
          </c:dPt>
          <c:dPt>
            <c:idx val="93"/>
            <c:invertIfNegative val="1"/>
            <c:bubble3D val="0"/>
            <c:spPr>
              <a:solidFill>
                <a:srgbClr val="7ECAC4"/>
              </a:solidFill>
            </c:spPr>
            <c:extLst>
              <c:ext xmlns:c16="http://schemas.microsoft.com/office/drawing/2014/chart" uri="{C3380CC4-5D6E-409C-BE32-E72D297353CC}">
                <c16:uniqueId val="{000000BD-2993-41DE-A2CB-63102DE87051}"/>
              </c:ext>
            </c:extLst>
          </c:dPt>
          <c:dPt>
            <c:idx val="94"/>
            <c:invertIfNegative val="1"/>
            <c:bubble3D val="0"/>
            <c:spPr>
              <a:solidFill>
                <a:srgbClr val="7ECAC4"/>
              </a:solidFill>
            </c:spPr>
            <c:extLst>
              <c:ext xmlns:c16="http://schemas.microsoft.com/office/drawing/2014/chart" uri="{C3380CC4-5D6E-409C-BE32-E72D297353CC}">
                <c16:uniqueId val="{000000BF-2993-41DE-A2CB-63102DE87051}"/>
              </c:ext>
            </c:extLst>
          </c:dPt>
          <c:dPt>
            <c:idx val="95"/>
            <c:invertIfNegative val="1"/>
            <c:bubble3D val="0"/>
            <c:spPr>
              <a:solidFill>
                <a:srgbClr val="7ECAC4"/>
              </a:solidFill>
            </c:spPr>
            <c:extLst>
              <c:ext xmlns:c16="http://schemas.microsoft.com/office/drawing/2014/chart" uri="{C3380CC4-5D6E-409C-BE32-E72D297353CC}">
                <c16:uniqueId val="{000000C1-2993-41DE-A2CB-63102DE87051}"/>
              </c:ext>
            </c:extLst>
          </c:dPt>
          <c:dPt>
            <c:idx val="96"/>
            <c:invertIfNegative val="1"/>
            <c:bubble3D val="0"/>
            <c:spPr>
              <a:solidFill>
                <a:srgbClr val="7ECAC4"/>
              </a:solidFill>
            </c:spPr>
            <c:extLst>
              <c:ext xmlns:c16="http://schemas.microsoft.com/office/drawing/2014/chart" uri="{C3380CC4-5D6E-409C-BE32-E72D297353CC}">
                <c16:uniqueId val="{000000C3-2993-41DE-A2CB-63102DE87051}"/>
              </c:ext>
            </c:extLst>
          </c:dPt>
          <c:dPt>
            <c:idx val="97"/>
            <c:invertIfNegative val="1"/>
            <c:bubble3D val="0"/>
            <c:spPr>
              <a:solidFill>
                <a:srgbClr val="7ECAC4"/>
              </a:solidFill>
            </c:spPr>
            <c:extLst>
              <c:ext xmlns:c16="http://schemas.microsoft.com/office/drawing/2014/chart" uri="{C3380CC4-5D6E-409C-BE32-E72D297353CC}">
                <c16:uniqueId val="{000000C5-2993-41DE-A2CB-63102DE87051}"/>
              </c:ext>
            </c:extLst>
          </c:dPt>
          <c:dPt>
            <c:idx val="98"/>
            <c:invertIfNegative val="1"/>
            <c:bubble3D val="0"/>
            <c:spPr>
              <a:solidFill>
                <a:srgbClr val="7ECAC4"/>
              </a:solidFill>
            </c:spPr>
            <c:extLst>
              <c:ext xmlns:c16="http://schemas.microsoft.com/office/drawing/2014/chart" uri="{C3380CC4-5D6E-409C-BE32-E72D297353CC}">
                <c16:uniqueId val="{000000C7-2993-41DE-A2CB-63102DE87051}"/>
              </c:ext>
            </c:extLst>
          </c:dPt>
          <c:dPt>
            <c:idx val="99"/>
            <c:invertIfNegative val="1"/>
            <c:bubble3D val="0"/>
            <c:spPr>
              <a:solidFill>
                <a:srgbClr val="7ECAC4"/>
              </a:solidFill>
            </c:spPr>
            <c:extLst>
              <c:ext xmlns:c16="http://schemas.microsoft.com/office/drawing/2014/chart" uri="{C3380CC4-5D6E-409C-BE32-E72D297353CC}">
                <c16:uniqueId val="{000000C9-2993-41DE-A2CB-63102DE87051}"/>
              </c:ext>
            </c:extLst>
          </c:dPt>
          <c:dPt>
            <c:idx val="100"/>
            <c:invertIfNegative val="1"/>
            <c:bubble3D val="0"/>
            <c:spPr>
              <a:solidFill>
                <a:srgbClr val="7ECAC4"/>
              </a:solidFill>
            </c:spPr>
            <c:extLst>
              <c:ext xmlns:c16="http://schemas.microsoft.com/office/drawing/2014/chart" uri="{C3380CC4-5D6E-409C-BE32-E72D297353CC}">
                <c16:uniqueId val="{000000CB-2993-41DE-A2CB-63102DE87051}"/>
              </c:ext>
            </c:extLst>
          </c:dPt>
          <c:dPt>
            <c:idx val="101"/>
            <c:invertIfNegative val="1"/>
            <c:bubble3D val="0"/>
            <c:spPr>
              <a:solidFill>
                <a:srgbClr val="7ECAC4"/>
              </a:solidFill>
            </c:spPr>
            <c:extLst>
              <c:ext xmlns:c16="http://schemas.microsoft.com/office/drawing/2014/chart" uri="{C3380CC4-5D6E-409C-BE32-E72D297353CC}">
                <c16:uniqueId val="{000000CD-2993-41DE-A2CB-63102DE87051}"/>
              </c:ext>
            </c:extLst>
          </c:dPt>
          <c:dPt>
            <c:idx val="102"/>
            <c:invertIfNegative val="1"/>
            <c:bubble3D val="0"/>
            <c:spPr>
              <a:solidFill>
                <a:srgbClr val="7ECAC4"/>
              </a:solidFill>
            </c:spPr>
            <c:extLst>
              <c:ext xmlns:c16="http://schemas.microsoft.com/office/drawing/2014/chart" uri="{C3380CC4-5D6E-409C-BE32-E72D297353CC}">
                <c16:uniqueId val="{000000CF-2993-41DE-A2CB-63102DE87051}"/>
              </c:ext>
            </c:extLst>
          </c:dPt>
          <c:dPt>
            <c:idx val="103"/>
            <c:invertIfNegative val="1"/>
            <c:bubble3D val="0"/>
            <c:spPr>
              <a:solidFill>
                <a:srgbClr val="7ECAC4"/>
              </a:solidFill>
            </c:spPr>
            <c:extLst>
              <c:ext xmlns:c16="http://schemas.microsoft.com/office/drawing/2014/chart" uri="{C3380CC4-5D6E-409C-BE32-E72D297353CC}">
                <c16:uniqueId val="{000000D1-2993-41DE-A2CB-63102DE87051}"/>
              </c:ext>
            </c:extLst>
          </c:dPt>
          <c:dPt>
            <c:idx val="104"/>
            <c:invertIfNegative val="1"/>
            <c:bubble3D val="0"/>
            <c:spPr>
              <a:solidFill>
                <a:srgbClr val="7ECAC4"/>
              </a:solidFill>
            </c:spPr>
            <c:extLst>
              <c:ext xmlns:c16="http://schemas.microsoft.com/office/drawing/2014/chart" uri="{C3380CC4-5D6E-409C-BE32-E72D297353CC}">
                <c16:uniqueId val="{000000D3-2993-41DE-A2CB-63102DE87051}"/>
              </c:ext>
            </c:extLst>
          </c:dPt>
          <c:dPt>
            <c:idx val="105"/>
            <c:invertIfNegative val="1"/>
            <c:bubble3D val="0"/>
            <c:spPr>
              <a:solidFill>
                <a:srgbClr val="7ECAC4"/>
              </a:solidFill>
            </c:spPr>
            <c:extLst>
              <c:ext xmlns:c16="http://schemas.microsoft.com/office/drawing/2014/chart" uri="{C3380CC4-5D6E-409C-BE32-E72D297353CC}">
                <c16:uniqueId val="{000000D5-2993-41DE-A2CB-63102DE87051}"/>
              </c:ext>
            </c:extLst>
          </c:dPt>
          <c:dPt>
            <c:idx val="106"/>
            <c:invertIfNegative val="1"/>
            <c:bubble3D val="0"/>
            <c:spPr>
              <a:solidFill>
                <a:srgbClr val="7ECAC4"/>
              </a:solidFill>
            </c:spPr>
            <c:extLst>
              <c:ext xmlns:c16="http://schemas.microsoft.com/office/drawing/2014/chart" uri="{C3380CC4-5D6E-409C-BE32-E72D297353CC}">
                <c16:uniqueId val="{000000D7-2993-41DE-A2CB-63102DE87051}"/>
              </c:ext>
            </c:extLst>
          </c:dPt>
          <c:dPt>
            <c:idx val="107"/>
            <c:invertIfNegative val="1"/>
            <c:bubble3D val="0"/>
            <c:spPr>
              <a:solidFill>
                <a:srgbClr val="7ECAC4"/>
              </a:solidFill>
            </c:spPr>
            <c:extLst>
              <c:ext xmlns:c16="http://schemas.microsoft.com/office/drawing/2014/chart" uri="{C3380CC4-5D6E-409C-BE32-E72D297353CC}">
                <c16:uniqueId val="{000000D9-2993-41DE-A2CB-63102DE87051}"/>
              </c:ext>
            </c:extLst>
          </c:dPt>
          <c:dPt>
            <c:idx val="108"/>
            <c:invertIfNegative val="1"/>
            <c:bubble3D val="0"/>
            <c:spPr>
              <a:solidFill>
                <a:srgbClr val="7ECAC4"/>
              </a:solidFill>
            </c:spPr>
            <c:extLst>
              <c:ext xmlns:c16="http://schemas.microsoft.com/office/drawing/2014/chart" uri="{C3380CC4-5D6E-409C-BE32-E72D297353CC}">
                <c16:uniqueId val="{000000DB-2993-41DE-A2CB-63102DE87051}"/>
              </c:ext>
            </c:extLst>
          </c:dPt>
          <c:dPt>
            <c:idx val="109"/>
            <c:invertIfNegative val="1"/>
            <c:bubble3D val="0"/>
            <c:spPr>
              <a:solidFill>
                <a:srgbClr val="7ECAC4"/>
              </a:solidFill>
            </c:spPr>
            <c:extLst>
              <c:ext xmlns:c16="http://schemas.microsoft.com/office/drawing/2014/chart" uri="{C3380CC4-5D6E-409C-BE32-E72D297353CC}">
                <c16:uniqueId val="{000000DD-2993-41DE-A2CB-63102DE87051}"/>
              </c:ext>
            </c:extLst>
          </c:dPt>
          <c:dPt>
            <c:idx val="110"/>
            <c:invertIfNegative val="1"/>
            <c:bubble3D val="0"/>
            <c:spPr>
              <a:solidFill>
                <a:srgbClr val="7ECAC4"/>
              </a:solidFill>
            </c:spPr>
            <c:extLst>
              <c:ext xmlns:c16="http://schemas.microsoft.com/office/drawing/2014/chart" uri="{C3380CC4-5D6E-409C-BE32-E72D297353CC}">
                <c16:uniqueId val="{000000DF-2993-41DE-A2CB-63102DE87051}"/>
              </c:ext>
            </c:extLst>
          </c:dPt>
          <c:dPt>
            <c:idx val="111"/>
            <c:invertIfNegative val="1"/>
            <c:bubble3D val="0"/>
            <c:spPr>
              <a:solidFill>
                <a:srgbClr val="7ECAC4"/>
              </a:solidFill>
            </c:spPr>
            <c:extLst>
              <c:ext xmlns:c16="http://schemas.microsoft.com/office/drawing/2014/chart" uri="{C3380CC4-5D6E-409C-BE32-E72D297353CC}">
                <c16:uniqueId val="{000000E1-2993-41DE-A2CB-63102DE87051}"/>
              </c:ext>
            </c:extLst>
          </c:dPt>
          <c:dPt>
            <c:idx val="112"/>
            <c:invertIfNegative val="1"/>
            <c:bubble3D val="0"/>
            <c:spPr>
              <a:solidFill>
                <a:srgbClr val="7ECAC4"/>
              </a:solidFill>
            </c:spPr>
            <c:extLst>
              <c:ext xmlns:c16="http://schemas.microsoft.com/office/drawing/2014/chart" uri="{C3380CC4-5D6E-409C-BE32-E72D297353CC}">
                <c16:uniqueId val="{000000E3-2993-41DE-A2CB-63102DE87051}"/>
              </c:ext>
            </c:extLst>
          </c:dPt>
          <c:dPt>
            <c:idx val="113"/>
            <c:invertIfNegative val="1"/>
            <c:bubble3D val="0"/>
            <c:spPr>
              <a:solidFill>
                <a:srgbClr val="7ECAC4"/>
              </a:solidFill>
            </c:spPr>
            <c:extLst>
              <c:ext xmlns:c16="http://schemas.microsoft.com/office/drawing/2014/chart" uri="{C3380CC4-5D6E-409C-BE32-E72D297353CC}">
                <c16:uniqueId val="{000000E5-2993-41DE-A2CB-63102DE87051}"/>
              </c:ext>
            </c:extLst>
          </c:dPt>
          <c:dPt>
            <c:idx val="114"/>
            <c:invertIfNegative val="1"/>
            <c:bubble3D val="0"/>
            <c:spPr>
              <a:solidFill>
                <a:srgbClr val="7ECAC4"/>
              </a:solidFill>
            </c:spPr>
            <c:extLst>
              <c:ext xmlns:c16="http://schemas.microsoft.com/office/drawing/2014/chart" uri="{C3380CC4-5D6E-409C-BE32-E72D297353CC}">
                <c16:uniqueId val="{000000E7-2993-41DE-A2CB-63102DE87051}"/>
              </c:ext>
            </c:extLst>
          </c:dPt>
          <c:dPt>
            <c:idx val="115"/>
            <c:invertIfNegative val="1"/>
            <c:bubble3D val="0"/>
            <c:spPr>
              <a:solidFill>
                <a:srgbClr val="7ECAC4"/>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AEABAB"/>
              </a:solidFill>
            </c:spPr>
            <c:extLst>
              <c:ext xmlns:c16="http://schemas.microsoft.com/office/drawing/2014/chart" uri="{C3380CC4-5D6E-409C-BE32-E72D297353CC}">
                <c16:uniqueId val="{0000010B-2993-41DE-A2CB-63102DE87051}"/>
              </c:ext>
            </c:extLst>
          </c:dPt>
          <c:dPt>
            <c:idx val="133"/>
            <c:invertIfNegative val="1"/>
            <c:bubble3D val="0"/>
            <c:spPr>
              <a:solidFill>
                <a:srgbClr val="AEABAB"/>
              </a:solidFill>
            </c:spPr>
            <c:extLst>
              <c:ext xmlns:c16="http://schemas.microsoft.com/office/drawing/2014/chart" uri="{C3380CC4-5D6E-409C-BE32-E72D297353CC}">
                <c16:uniqueId val="{0000010D-2993-41DE-A2CB-63102DE87051}"/>
              </c:ext>
            </c:extLst>
          </c:dPt>
          <c:dPt>
            <c:idx val="134"/>
            <c:invertIfNegative val="1"/>
            <c:bubble3D val="0"/>
            <c:spPr>
              <a:solidFill>
                <a:srgbClr val="AEABAB"/>
              </a:solidFill>
            </c:spPr>
            <c:extLst>
              <c:ext xmlns:c16="http://schemas.microsoft.com/office/drawing/2014/chart" uri="{C3380CC4-5D6E-409C-BE32-E72D297353CC}">
                <c16:uniqueId val="{0000010F-2993-41DE-A2CB-63102DE87051}"/>
              </c:ext>
            </c:extLst>
          </c:dPt>
          <c:dPt>
            <c:idx val="135"/>
            <c:invertIfNegative val="1"/>
            <c:bubble3D val="0"/>
            <c:spPr>
              <a:solidFill>
                <a:srgbClr val="AEABAB"/>
              </a:solidFill>
            </c:spPr>
            <c:extLst>
              <c:ext xmlns:c16="http://schemas.microsoft.com/office/drawing/2014/chart" uri="{C3380CC4-5D6E-409C-BE32-E72D297353CC}">
                <c16:uniqueId val="{00000111-2993-41DE-A2CB-63102DE87051}"/>
              </c:ext>
            </c:extLst>
          </c:dPt>
          <c:dPt>
            <c:idx val="136"/>
            <c:invertIfNegative val="1"/>
            <c:bubble3D val="0"/>
            <c:spPr>
              <a:solidFill>
                <a:srgbClr val="AEABAB"/>
              </a:solidFill>
            </c:spPr>
            <c:extLst>
              <c:ext xmlns:c16="http://schemas.microsoft.com/office/drawing/2014/chart" uri="{C3380CC4-5D6E-409C-BE32-E72D297353CC}">
                <c16:uniqueId val="{00000113-2993-41DE-A2CB-63102DE87051}"/>
              </c:ext>
            </c:extLst>
          </c:dPt>
          <c:dPt>
            <c:idx val="137"/>
            <c:invertIfNegative val="1"/>
            <c:bubble3D val="0"/>
            <c:spPr>
              <a:solidFill>
                <a:srgbClr val="AEABAB"/>
              </a:solidFill>
            </c:spPr>
            <c:extLst>
              <c:ext xmlns:c16="http://schemas.microsoft.com/office/drawing/2014/chart" uri="{C3380CC4-5D6E-409C-BE32-E72D297353CC}">
                <c16:uniqueId val="{00000115-2993-41DE-A2CB-63102DE87051}"/>
              </c:ext>
            </c:extLst>
          </c:dPt>
          <c:dPt>
            <c:idx val="138"/>
            <c:invertIfNegative val="1"/>
            <c:bubble3D val="0"/>
            <c:spPr>
              <a:solidFill>
                <a:srgbClr val="AEABAB"/>
              </a:solidFill>
            </c:spPr>
            <c:extLst>
              <c:ext xmlns:c16="http://schemas.microsoft.com/office/drawing/2014/chart" uri="{C3380CC4-5D6E-409C-BE32-E72D297353CC}">
                <c16:uniqueId val="{00000117-2993-41DE-A2CB-63102DE87051}"/>
              </c:ext>
            </c:extLst>
          </c:dPt>
          <c:dPt>
            <c:idx val="139"/>
            <c:invertIfNegative val="1"/>
            <c:bubble3D val="0"/>
            <c:spPr>
              <a:solidFill>
                <a:srgbClr val="AEABAB"/>
              </a:solidFill>
            </c:spPr>
            <c:extLst>
              <c:ext xmlns:c16="http://schemas.microsoft.com/office/drawing/2014/chart" uri="{C3380CC4-5D6E-409C-BE32-E72D297353CC}">
                <c16:uniqueId val="{00000119-2993-41DE-A2CB-63102DE87051}"/>
              </c:ext>
            </c:extLst>
          </c:dPt>
          <c:dPt>
            <c:idx val="140"/>
            <c:invertIfNegative val="1"/>
            <c:bubble3D val="0"/>
            <c:spPr>
              <a:solidFill>
                <a:srgbClr val="AEABAB"/>
              </a:solidFill>
            </c:spPr>
            <c:extLst>
              <c:ext xmlns:c16="http://schemas.microsoft.com/office/drawing/2014/chart" uri="{C3380CC4-5D6E-409C-BE32-E72D297353CC}">
                <c16:uniqueId val="{0000011B-2993-41DE-A2CB-63102DE87051}"/>
              </c:ext>
            </c:extLst>
          </c:dPt>
          <c:dPt>
            <c:idx val="141"/>
            <c:invertIfNegative val="1"/>
            <c:bubble3D val="0"/>
            <c:spPr>
              <a:solidFill>
                <a:srgbClr val="AEABAB"/>
              </a:solidFill>
            </c:spPr>
            <c:extLst>
              <c:ext xmlns:c16="http://schemas.microsoft.com/office/drawing/2014/chart" uri="{C3380CC4-5D6E-409C-BE32-E72D297353CC}">
                <c16:uniqueId val="{0000011D-2993-41DE-A2CB-63102DE87051}"/>
              </c:ext>
            </c:extLst>
          </c:dPt>
          <c:dPt>
            <c:idx val="142"/>
            <c:invertIfNegative val="1"/>
            <c:bubble3D val="0"/>
            <c:spPr>
              <a:solidFill>
                <a:srgbClr val="AEABAB"/>
              </a:solidFill>
            </c:spPr>
            <c:extLst>
              <c:ext xmlns:c16="http://schemas.microsoft.com/office/drawing/2014/chart" uri="{C3380CC4-5D6E-409C-BE32-E72D297353CC}">
                <c16:uniqueId val="{0000011F-2993-41DE-A2CB-63102DE87051}"/>
              </c:ext>
            </c:extLst>
          </c:dPt>
          <c:dPt>
            <c:idx val="143"/>
            <c:invertIfNegative val="1"/>
            <c:bubble3D val="0"/>
            <c:spPr>
              <a:solidFill>
                <a:srgbClr val="AEABAB"/>
              </a:solidFill>
            </c:spPr>
            <c:extLst>
              <c:ext xmlns:c16="http://schemas.microsoft.com/office/drawing/2014/chart" uri="{C3380CC4-5D6E-409C-BE32-E72D297353CC}">
                <c16:uniqueId val="{00000121-2993-41DE-A2CB-63102DE87051}"/>
              </c:ext>
            </c:extLst>
          </c:dPt>
          <c:dPt>
            <c:idx val="144"/>
            <c:invertIfNegative val="1"/>
            <c:bubble3D val="0"/>
            <c:spPr>
              <a:solidFill>
                <a:srgbClr val="AEABAB"/>
              </a:solidFill>
            </c:spPr>
            <c:extLst>
              <c:ext xmlns:c16="http://schemas.microsoft.com/office/drawing/2014/chart" uri="{C3380CC4-5D6E-409C-BE32-E72D297353CC}">
                <c16:uniqueId val="{00000123-2993-41DE-A2CB-63102DE87051}"/>
              </c:ext>
            </c:extLst>
          </c:dPt>
          <c:dPt>
            <c:idx val="145"/>
            <c:invertIfNegative val="1"/>
            <c:bubble3D val="0"/>
            <c:spPr>
              <a:solidFill>
                <a:srgbClr val="AEABAB"/>
              </a:solidFill>
            </c:spPr>
            <c:extLst>
              <c:ext xmlns:c16="http://schemas.microsoft.com/office/drawing/2014/chart" uri="{C3380CC4-5D6E-409C-BE32-E72D297353CC}">
                <c16:uniqueId val="{00000125-2993-41DE-A2CB-63102DE87051}"/>
              </c:ext>
            </c:extLst>
          </c:dPt>
          <c:dPt>
            <c:idx val="146"/>
            <c:invertIfNegative val="1"/>
            <c:bubble3D val="0"/>
            <c:spPr>
              <a:solidFill>
                <a:srgbClr val="AEABAB"/>
              </a:solidFill>
            </c:spPr>
            <c:extLst>
              <c:ext xmlns:c16="http://schemas.microsoft.com/office/drawing/2014/chart" uri="{C3380CC4-5D6E-409C-BE32-E72D297353CC}">
                <c16:uniqueId val="{00000127-2993-41DE-A2CB-63102DE87051}"/>
              </c:ext>
            </c:extLst>
          </c:dPt>
          <c:dPt>
            <c:idx val="147"/>
            <c:invertIfNegative val="1"/>
            <c:bubble3D val="0"/>
            <c:spPr>
              <a:solidFill>
                <a:srgbClr val="AEABAB"/>
              </a:solidFill>
            </c:spPr>
            <c:extLst>
              <c:ext xmlns:c16="http://schemas.microsoft.com/office/drawing/2014/chart" uri="{C3380CC4-5D6E-409C-BE32-E72D297353CC}">
                <c16:uniqueId val="{00000129-2993-41DE-A2CB-63102DE87051}"/>
              </c:ext>
            </c:extLst>
          </c:dPt>
          <c:dPt>
            <c:idx val="148"/>
            <c:invertIfNegative val="1"/>
            <c:bubble3D val="0"/>
            <c:spPr>
              <a:solidFill>
                <a:srgbClr val="AEABAB"/>
              </a:solidFill>
            </c:spPr>
            <c:extLst>
              <c:ext xmlns:c16="http://schemas.microsoft.com/office/drawing/2014/chart" uri="{C3380CC4-5D6E-409C-BE32-E72D297353CC}">
                <c16:uniqueId val="{0000012B-2993-41DE-A2CB-63102DE87051}"/>
              </c:ext>
            </c:extLst>
          </c:dPt>
          <c:dPt>
            <c:idx val="149"/>
            <c:invertIfNegative val="1"/>
            <c:bubble3D val="0"/>
            <c:spPr>
              <a:solidFill>
                <a:srgbClr val="AEABAB"/>
              </a:solidFill>
            </c:spPr>
            <c:extLst>
              <c:ext xmlns:c16="http://schemas.microsoft.com/office/drawing/2014/chart" uri="{C3380CC4-5D6E-409C-BE32-E72D297353CC}">
                <c16:uniqueId val="{0000012D-2993-41DE-A2CB-63102DE87051}"/>
              </c:ext>
            </c:extLst>
          </c:dPt>
          <c:dPt>
            <c:idx val="150"/>
            <c:invertIfNegative val="1"/>
            <c:bubble3D val="0"/>
            <c:spPr>
              <a:solidFill>
                <a:srgbClr val="AEABAB"/>
              </a:solidFill>
            </c:spPr>
            <c:extLst>
              <c:ext xmlns:c16="http://schemas.microsoft.com/office/drawing/2014/chart" uri="{C3380CC4-5D6E-409C-BE32-E72D297353CC}">
                <c16:uniqueId val="{0000012F-2993-41DE-A2CB-63102DE87051}"/>
              </c:ext>
            </c:extLst>
          </c:dPt>
          <c:dPt>
            <c:idx val="151"/>
            <c:invertIfNegative val="1"/>
            <c:bubble3D val="0"/>
            <c:spPr>
              <a:solidFill>
                <a:srgbClr val="AEABAB"/>
              </a:solidFill>
            </c:spPr>
            <c:extLst>
              <c:ext xmlns:c16="http://schemas.microsoft.com/office/drawing/2014/chart" uri="{C3380CC4-5D6E-409C-BE32-E72D297353CC}">
                <c16:uniqueId val="{00000131-2993-41DE-A2CB-63102DE87051}"/>
              </c:ext>
            </c:extLst>
          </c:dPt>
          <c:dPt>
            <c:idx val="152"/>
            <c:invertIfNegative val="1"/>
            <c:bubble3D val="0"/>
            <c:spPr>
              <a:solidFill>
                <a:srgbClr val="AEABAB"/>
              </a:solidFill>
            </c:spPr>
            <c:extLst>
              <c:ext xmlns:c16="http://schemas.microsoft.com/office/drawing/2014/chart" uri="{C3380CC4-5D6E-409C-BE32-E72D297353CC}">
                <c16:uniqueId val="{00000133-2993-41DE-A2CB-63102DE87051}"/>
              </c:ext>
            </c:extLst>
          </c:dPt>
          <c:dPt>
            <c:idx val="153"/>
            <c:invertIfNegative val="1"/>
            <c:bubble3D val="0"/>
            <c:spPr>
              <a:solidFill>
                <a:srgbClr val="AEABAB"/>
              </a:solidFill>
            </c:spPr>
            <c:extLst>
              <c:ext xmlns:c16="http://schemas.microsoft.com/office/drawing/2014/chart" uri="{C3380CC4-5D6E-409C-BE32-E72D297353CC}">
                <c16:uniqueId val="{00000135-2993-41DE-A2CB-63102DE87051}"/>
              </c:ext>
            </c:extLst>
          </c:dPt>
          <c:dPt>
            <c:idx val="154"/>
            <c:invertIfNegative val="1"/>
            <c:bubble3D val="0"/>
            <c:spPr>
              <a:solidFill>
                <a:srgbClr val="AEABAB"/>
              </a:solidFill>
            </c:spPr>
            <c:extLst>
              <c:ext xmlns:c16="http://schemas.microsoft.com/office/drawing/2014/chart" uri="{C3380CC4-5D6E-409C-BE32-E72D297353CC}">
                <c16:uniqueId val="{00000137-2993-41DE-A2CB-63102DE87051}"/>
              </c:ext>
            </c:extLst>
          </c:dPt>
          <c:dPt>
            <c:idx val="155"/>
            <c:invertIfNegative val="1"/>
            <c:bubble3D val="0"/>
            <c:spPr>
              <a:solidFill>
                <a:srgbClr val="AEABAB"/>
              </a:solidFill>
            </c:spPr>
            <c:extLst>
              <c:ext xmlns:c16="http://schemas.microsoft.com/office/drawing/2014/chart" uri="{C3380CC4-5D6E-409C-BE32-E72D297353CC}">
                <c16:uniqueId val="{00000139-2993-41DE-A2CB-63102DE87051}"/>
              </c:ext>
            </c:extLst>
          </c:dPt>
          <c:dPt>
            <c:idx val="156"/>
            <c:invertIfNegative val="1"/>
            <c:bubble3D val="0"/>
            <c:spPr>
              <a:solidFill>
                <a:srgbClr val="AEABAB"/>
              </a:solidFill>
            </c:spPr>
            <c:extLst>
              <c:ext xmlns:c16="http://schemas.microsoft.com/office/drawing/2014/chart" uri="{C3380CC4-5D6E-409C-BE32-E72D297353CC}">
                <c16:uniqueId val="{0000013B-2993-41DE-A2CB-63102DE87051}"/>
              </c:ext>
            </c:extLst>
          </c:dPt>
          <c:dPt>
            <c:idx val="157"/>
            <c:invertIfNegative val="1"/>
            <c:bubble3D val="0"/>
            <c:spPr>
              <a:solidFill>
                <a:srgbClr val="AEABAB"/>
              </a:solidFill>
            </c:spPr>
            <c:extLst>
              <c:ext xmlns:c16="http://schemas.microsoft.com/office/drawing/2014/chart" uri="{C3380CC4-5D6E-409C-BE32-E72D297353CC}">
                <c16:uniqueId val="{0000013D-2993-41DE-A2CB-63102DE87051}"/>
              </c:ext>
            </c:extLst>
          </c:dPt>
          <c:dPt>
            <c:idx val="158"/>
            <c:invertIfNegative val="1"/>
            <c:bubble3D val="0"/>
            <c:spPr>
              <a:solidFill>
                <a:srgbClr val="AEABAB"/>
              </a:solidFill>
            </c:spPr>
            <c:extLst>
              <c:ext xmlns:c16="http://schemas.microsoft.com/office/drawing/2014/chart" uri="{C3380CC4-5D6E-409C-BE32-E72D297353CC}">
                <c16:uniqueId val="{0000013F-2993-41DE-A2CB-63102DE87051}"/>
              </c:ext>
            </c:extLst>
          </c:dPt>
          <c:dPt>
            <c:idx val="159"/>
            <c:invertIfNegative val="1"/>
            <c:bubble3D val="0"/>
            <c:spPr>
              <a:solidFill>
                <a:srgbClr val="AEABAB"/>
              </a:solidFill>
            </c:spPr>
            <c:extLst>
              <c:ext xmlns:c16="http://schemas.microsoft.com/office/drawing/2014/chart" uri="{C3380CC4-5D6E-409C-BE32-E72D297353CC}">
                <c16:uniqueId val="{00000141-2993-41DE-A2CB-63102DE87051}"/>
              </c:ext>
            </c:extLst>
          </c:dPt>
          <c:dPt>
            <c:idx val="160"/>
            <c:invertIfNegative val="1"/>
            <c:bubble3D val="0"/>
            <c:spPr>
              <a:solidFill>
                <a:srgbClr val="AEABAB"/>
              </a:solidFill>
            </c:spPr>
            <c:extLst>
              <c:ext xmlns:c16="http://schemas.microsoft.com/office/drawing/2014/chart" uri="{C3380CC4-5D6E-409C-BE32-E72D297353CC}">
                <c16:uniqueId val="{00000143-2993-41DE-A2CB-63102DE87051}"/>
              </c:ext>
            </c:extLst>
          </c:dPt>
          <c:dPt>
            <c:idx val="161"/>
            <c:invertIfNegative val="1"/>
            <c:bubble3D val="0"/>
            <c:spPr>
              <a:solidFill>
                <a:srgbClr val="AEABAB"/>
              </a:solidFill>
            </c:spPr>
            <c:extLst>
              <c:ext xmlns:c16="http://schemas.microsoft.com/office/drawing/2014/chart" uri="{C3380CC4-5D6E-409C-BE32-E72D297353CC}">
                <c16:uniqueId val="{00000145-2993-41DE-A2CB-63102DE87051}"/>
              </c:ext>
            </c:extLst>
          </c:dPt>
          <c:dPt>
            <c:idx val="162"/>
            <c:invertIfNegative val="1"/>
            <c:bubble3D val="0"/>
            <c:spPr>
              <a:solidFill>
                <a:srgbClr val="AEABAB"/>
              </a:solidFill>
            </c:spPr>
            <c:extLst>
              <c:ext xmlns:c16="http://schemas.microsoft.com/office/drawing/2014/chart" uri="{C3380CC4-5D6E-409C-BE32-E72D297353CC}">
                <c16:uniqueId val="{00000147-2993-41DE-A2CB-63102DE87051}"/>
              </c:ext>
            </c:extLst>
          </c:dPt>
          <c:dPt>
            <c:idx val="163"/>
            <c:invertIfNegative val="1"/>
            <c:bubble3D val="0"/>
            <c:spPr>
              <a:solidFill>
                <a:srgbClr val="AEABAB"/>
              </a:solidFill>
            </c:spPr>
            <c:extLst>
              <c:ext xmlns:c16="http://schemas.microsoft.com/office/drawing/2014/chart" uri="{C3380CC4-5D6E-409C-BE32-E72D297353CC}">
                <c16:uniqueId val="{00000149-2993-41DE-A2CB-63102DE87051}"/>
              </c:ext>
            </c:extLst>
          </c:dPt>
          <c:dPt>
            <c:idx val="164"/>
            <c:invertIfNegative val="1"/>
            <c:bubble3D val="0"/>
            <c:spPr>
              <a:solidFill>
                <a:srgbClr val="AEABAB"/>
              </a:solidFill>
            </c:spPr>
            <c:extLst>
              <c:ext xmlns:c16="http://schemas.microsoft.com/office/drawing/2014/chart" uri="{C3380CC4-5D6E-409C-BE32-E72D297353CC}">
                <c16:uniqueId val="{0000014B-2993-41DE-A2CB-63102DE87051}"/>
              </c:ext>
            </c:extLst>
          </c:dPt>
          <c:dPt>
            <c:idx val="165"/>
            <c:invertIfNegative val="1"/>
            <c:bubble3D val="0"/>
            <c:spPr>
              <a:solidFill>
                <a:srgbClr val="AEABAB"/>
              </a:solidFill>
            </c:spPr>
            <c:extLst>
              <c:ext xmlns:c16="http://schemas.microsoft.com/office/drawing/2014/chart" uri="{C3380CC4-5D6E-409C-BE32-E72D297353CC}">
                <c16:uniqueId val="{0000014D-2993-41DE-A2CB-63102DE87051}"/>
              </c:ext>
            </c:extLst>
          </c:dPt>
          <c:dPt>
            <c:idx val="166"/>
            <c:invertIfNegative val="1"/>
            <c:bubble3D val="0"/>
            <c:spPr>
              <a:solidFill>
                <a:srgbClr val="AEABAB"/>
              </a:solidFill>
            </c:spPr>
            <c:extLst>
              <c:ext xmlns:c16="http://schemas.microsoft.com/office/drawing/2014/chart" uri="{C3380CC4-5D6E-409C-BE32-E72D297353CC}">
                <c16:uniqueId val="{0000014F-2993-41DE-A2CB-63102DE87051}"/>
              </c:ext>
            </c:extLst>
          </c:dPt>
          <c:dPt>
            <c:idx val="167"/>
            <c:invertIfNegative val="1"/>
            <c:bubble3D val="0"/>
            <c:spPr>
              <a:solidFill>
                <a:srgbClr val="AEABAB"/>
              </a:solidFill>
            </c:spPr>
            <c:extLst>
              <c:ext xmlns:c16="http://schemas.microsoft.com/office/drawing/2014/chart" uri="{C3380CC4-5D6E-409C-BE32-E72D297353CC}">
                <c16:uniqueId val="{00000151-2993-41DE-A2CB-63102DE87051}"/>
              </c:ext>
            </c:extLst>
          </c:dPt>
          <c:dPt>
            <c:idx val="168"/>
            <c:invertIfNegative val="1"/>
            <c:bubble3D val="0"/>
            <c:spPr>
              <a:solidFill>
                <a:srgbClr val="AEABAB"/>
              </a:solidFill>
            </c:spPr>
            <c:extLst>
              <c:ext xmlns:c16="http://schemas.microsoft.com/office/drawing/2014/chart" uri="{C3380CC4-5D6E-409C-BE32-E72D297353CC}">
                <c16:uniqueId val="{00000153-2993-41DE-A2CB-63102DE87051}"/>
              </c:ext>
            </c:extLst>
          </c:dPt>
          <c:dPt>
            <c:idx val="169"/>
            <c:invertIfNegative val="1"/>
            <c:bubble3D val="0"/>
            <c:spPr>
              <a:solidFill>
                <a:srgbClr val="AEABAB"/>
              </a:solidFill>
            </c:spPr>
            <c:extLst>
              <c:ext xmlns:c16="http://schemas.microsoft.com/office/drawing/2014/chart" uri="{C3380CC4-5D6E-409C-BE32-E72D297353CC}">
                <c16:uniqueId val="{00000155-2993-41DE-A2CB-63102DE87051}"/>
              </c:ext>
            </c:extLst>
          </c:dPt>
          <c:dPt>
            <c:idx val="170"/>
            <c:invertIfNegative val="1"/>
            <c:bubble3D val="0"/>
            <c:spPr>
              <a:solidFill>
                <a:srgbClr val="AEABAB"/>
              </a:solidFill>
            </c:spPr>
            <c:extLst>
              <c:ext xmlns:c16="http://schemas.microsoft.com/office/drawing/2014/chart" uri="{C3380CC4-5D6E-409C-BE32-E72D297353CC}">
                <c16:uniqueId val="{00000157-2993-41DE-A2CB-63102DE87051}"/>
              </c:ext>
            </c:extLst>
          </c:dPt>
          <c:dPt>
            <c:idx val="171"/>
            <c:invertIfNegative val="1"/>
            <c:bubble3D val="0"/>
            <c:spPr>
              <a:solidFill>
                <a:srgbClr val="AEABAB"/>
              </a:solidFill>
            </c:spPr>
            <c:extLst>
              <c:ext xmlns:c16="http://schemas.microsoft.com/office/drawing/2014/chart" uri="{C3380CC4-5D6E-409C-BE32-E72D297353CC}">
                <c16:uniqueId val="{00000159-2993-41DE-A2CB-63102DE87051}"/>
              </c:ext>
            </c:extLst>
          </c:dPt>
          <c:dPt>
            <c:idx val="172"/>
            <c:invertIfNegative val="1"/>
            <c:bubble3D val="0"/>
            <c:spPr>
              <a:solidFill>
                <a:srgbClr val="AEABAB"/>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dPt>
            <c:idx val="210"/>
            <c:invertIfNegative val="1"/>
            <c:bubble3D val="0"/>
            <c:spPr>
              <a:solidFill>
                <a:srgbClr val="AEABAB"/>
              </a:solidFill>
            </c:spPr>
            <c:extLst>
              <c:ext xmlns:c16="http://schemas.microsoft.com/office/drawing/2014/chart" uri="{C3380CC4-5D6E-409C-BE32-E72D297353CC}">
                <c16:uniqueId val="{000001A7-1744-4914-988D-66EF0C16342B}"/>
              </c:ext>
            </c:extLst>
          </c:dPt>
          <c:dPt>
            <c:idx val="211"/>
            <c:invertIfNegative val="1"/>
            <c:bubble3D val="0"/>
            <c:spPr>
              <a:solidFill>
                <a:srgbClr val="AEABAB"/>
              </a:solidFill>
            </c:spPr>
            <c:extLst>
              <c:ext xmlns:c16="http://schemas.microsoft.com/office/drawing/2014/chart" uri="{C3380CC4-5D6E-409C-BE32-E72D297353CC}">
                <c16:uniqueId val="{000001A9-1744-4914-988D-66EF0C16342B}"/>
              </c:ext>
            </c:extLst>
          </c:dPt>
          <c:dPt>
            <c:idx val="212"/>
            <c:invertIfNegative val="1"/>
            <c:bubble3D val="0"/>
            <c:spPr>
              <a:solidFill>
                <a:srgbClr val="AEABAB"/>
              </a:solidFill>
            </c:spPr>
            <c:extLst>
              <c:ext xmlns:c16="http://schemas.microsoft.com/office/drawing/2014/chart" uri="{C3380CC4-5D6E-409C-BE32-E72D297353CC}">
                <c16:uniqueId val="{000001AB-1744-4914-988D-66EF0C16342B}"/>
              </c:ext>
            </c:extLst>
          </c:dPt>
          <c:dPt>
            <c:idx val="213"/>
            <c:invertIfNegative val="1"/>
            <c:bubble3D val="0"/>
            <c:spPr>
              <a:solidFill>
                <a:srgbClr val="AEABAB"/>
              </a:solidFill>
            </c:spPr>
            <c:extLst>
              <c:ext xmlns:c16="http://schemas.microsoft.com/office/drawing/2014/chart" uri="{C3380CC4-5D6E-409C-BE32-E72D297353CC}">
                <c16:uniqueId val="{000001AD-1744-4914-988D-66EF0C16342B}"/>
              </c:ext>
            </c:extLst>
          </c:dPt>
          <c:dPt>
            <c:idx val="214"/>
            <c:invertIfNegative val="1"/>
            <c:bubble3D val="0"/>
            <c:spPr>
              <a:solidFill>
                <a:srgbClr val="AEABAB"/>
              </a:solidFill>
            </c:spPr>
            <c:extLst>
              <c:ext xmlns:c16="http://schemas.microsoft.com/office/drawing/2014/chart" uri="{C3380CC4-5D6E-409C-BE32-E72D297353CC}">
                <c16:uniqueId val="{000001AF-1744-4914-988D-66EF0C16342B}"/>
              </c:ext>
            </c:extLst>
          </c:dPt>
          <c:dPt>
            <c:idx val="215"/>
            <c:invertIfNegative val="1"/>
            <c:bubble3D val="0"/>
            <c:spPr>
              <a:solidFill>
                <a:srgbClr val="AEABAB"/>
              </a:solidFill>
            </c:spPr>
            <c:extLst>
              <c:ext xmlns:c16="http://schemas.microsoft.com/office/drawing/2014/chart" uri="{C3380CC4-5D6E-409C-BE32-E72D297353CC}">
                <c16:uniqueId val="{000001B1-1744-4914-988D-66EF0C16342B}"/>
              </c:ext>
            </c:extLst>
          </c:dPt>
          <c:dPt>
            <c:idx val="216"/>
            <c:invertIfNegative val="1"/>
            <c:bubble3D val="0"/>
            <c:spPr>
              <a:solidFill>
                <a:srgbClr val="AEABAB"/>
              </a:solidFill>
            </c:spPr>
            <c:extLst>
              <c:ext xmlns:c16="http://schemas.microsoft.com/office/drawing/2014/chart" uri="{C3380CC4-5D6E-409C-BE32-E72D297353CC}">
                <c16:uniqueId val="{000001B3-1744-4914-988D-66EF0C16342B}"/>
              </c:ext>
            </c:extLst>
          </c:dPt>
          <c:dPt>
            <c:idx val="217"/>
            <c:invertIfNegative val="1"/>
            <c:bubble3D val="0"/>
            <c:spPr>
              <a:solidFill>
                <a:srgbClr val="AEABAB"/>
              </a:solidFill>
            </c:spPr>
            <c:extLst>
              <c:ext xmlns:c16="http://schemas.microsoft.com/office/drawing/2014/chart" uri="{C3380CC4-5D6E-409C-BE32-E72D297353CC}">
                <c16:uniqueId val="{000001B5-1744-4914-988D-66EF0C16342B}"/>
              </c:ext>
            </c:extLst>
          </c:dPt>
          <c:dPt>
            <c:idx val="218"/>
            <c:invertIfNegative val="1"/>
            <c:bubble3D val="0"/>
            <c:spPr>
              <a:solidFill>
                <a:srgbClr val="AEABAB"/>
              </a:solidFill>
            </c:spPr>
            <c:extLst>
              <c:ext xmlns:c16="http://schemas.microsoft.com/office/drawing/2014/chart" uri="{C3380CC4-5D6E-409C-BE32-E72D297353CC}">
                <c16:uniqueId val="{000001B7-1744-4914-988D-66EF0C16342B}"/>
              </c:ext>
            </c:extLst>
          </c:dPt>
          <c:dPt>
            <c:idx val="219"/>
            <c:invertIfNegative val="1"/>
            <c:bubble3D val="0"/>
            <c:spPr>
              <a:solidFill>
                <a:srgbClr val="AEABAB"/>
              </a:solidFill>
            </c:spPr>
            <c:extLst>
              <c:ext xmlns:c16="http://schemas.microsoft.com/office/drawing/2014/chart" uri="{C3380CC4-5D6E-409C-BE32-E72D297353CC}">
                <c16:uniqueId val="{000001B9-1744-4914-988D-66EF0C16342B}"/>
              </c:ext>
            </c:extLst>
          </c:dPt>
          <c:dPt>
            <c:idx val="220"/>
            <c:invertIfNegative val="1"/>
            <c:bubble3D val="0"/>
            <c:spPr>
              <a:solidFill>
                <a:srgbClr val="AEABAB"/>
              </a:solidFill>
            </c:spPr>
            <c:extLst>
              <c:ext xmlns:c16="http://schemas.microsoft.com/office/drawing/2014/chart" uri="{C3380CC4-5D6E-409C-BE32-E72D297353CC}">
                <c16:uniqueId val="{000001BB-1744-4914-988D-66EF0C16342B}"/>
              </c:ext>
            </c:extLst>
          </c:dPt>
          <c:dPt>
            <c:idx val="221"/>
            <c:invertIfNegative val="1"/>
            <c:bubble3D val="0"/>
            <c:spPr>
              <a:solidFill>
                <a:srgbClr val="AEABAB"/>
              </a:solidFill>
            </c:spPr>
            <c:extLst>
              <c:ext xmlns:c16="http://schemas.microsoft.com/office/drawing/2014/chart" uri="{C3380CC4-5D6E-409C-BE32-E72D297353CC}">
                <c16:uniqueId val="{000001BD-1744-4914-988D-66EF0C16342B}"/>
              </c:ext>
            </c:extLst>
          </c:dPt>
          <c:dPt>
            <c:idx val="222"/>
            <c:invertIfNegative val="1"/>
            <c:bubble3D val="0"/>
            <c:spPr>
              <a:solidFill>
                <a:srgbClr val="AEABAB"/>
              </a:solidFill>
            </c:spPr>
            <c:extLst>
              <c:ext xmlns:c16="http://schemas.microsoft.com/office/drawing/2014/chart" uri="{C3380CC4-5D6E-409C-BE32-E72D297353CC}">
                <c16:uniqueId val="{000001BF-1744-4914-988D-66EF0C16342B}"/>
              </c:ext>
            </c:extLst>
          </c:dPt>
          <c:dPt>
            <c:idx val="223"/>
            <c:invertIfNegative val="1"/>
            <c:bubble3D val="0"/>
            <c:spPr>
              <a:solidFill>
                <a:srgbClr val="AEABAB"/>
              </a:solidFill>
            </c:spPr>
            <c:extLst>
              <c:ext xmlns:c16="http://schemas.microsoft.com/office/drawing/2014/chart" uri="{C3380CC4-5D6E-409C-BE32-E72D297353CC}">
                <c16:uniqueId val="{000001C1-1744-4914-988D-66EF0C16342B}"/>
              </c:ext>
            </c:extLst>
          </c:dPt>
          <c:dPt>
            <c:idx val="224"/>
            <c:invertIfNegative val="1"/>
            <c:bubble3D val="0"/>
            <c:spPr>
              <a:solidFill>
                <a:srgbClr val="AEABAB"/>
              </a:solidFill>
            </c:spPr>
            <c:extLst>
              <c:ext xmlns:c16="http://schemas.microsoft.com/office/drawing/2014/chart" uri="{C3380CC4-5D6E-409C-BE32-E72D297353CC}">
                <c16:uniqueId val="{000001C3-1744-4914-988D-66EF0C16342B}"/>
              </c:ext>
            </c:extLst>
          </c:dPt>
          <c:dPt>
            <c:idx val="225"/>
            <c:invertIfNegative val="1"/>
            <c:bubble3D val="0"/>
            <c:spPr>
              <a:solidFill>
                <a:srgbClr val="AEABAB"/>
              </a:solidFill>
            </c:spPr>
            <c:extLst>
              <c:ext xmlns:c16="http://schemas.microsoft.com/office/drawing/2014/chart" uri="{C3380CC4-5D6E-409C-BE32-E72D297353CC}">
                <c16:uniqueId val="{000001C5-1744-4914-988D-66EF0C16342B}"/>
              </c:ext>
            </c:extLst>
          </c:dPt>
          <c:dPt>
            <c:idx val="226"/>
            <c:invertIfNegative val="1"/>
            <c:bubble3D val="0"/>
            <c:spPr>
              <a:solidFill>
                <a:srgbClr val="AEABAB"/>
              </a:solidFill>
            </c:spPr>
            <c:extLst>
              <c:ext xmlns:c16="http://schemas.microsoft.com/office/drawing/2014/chart" uri="{C3380CC4-5D6E-409C-BE32-E72D297353CC}">
                <c16:uniqueId val="{000001C7-1744-4914-988D-66EF0C16342B}"/>
              </c:ext>
            </c:extLst>
          </c:dPt>
          <c:dPt>
            <c:idx val="227"/>
            <c:invertIfNegative val="1"/>
            <c:bubble3D val="0"/>
            <c:spPr>
              <a:solidFill>
                <a:srgbClr val="AEABAB"/>
              </a:solidFill>
            </c:spPr>
            <c:extLst>
              <c:ext xmlns:c16="http://schemas.microsoft.com/office/drawing/2014/chart" uri="{C3380CC4-5D6E-409C-BE32-E72D297353CC}">
                <c16:uniqueId val="{000001C9-1744-4914-988D-66EF0C16342B}"/>
              </c:ext>
            </c:extLst>
          </c:dPt>
          <c:dPt>
            <c:idx val="228"/>
            <c:invertIfNegative val="1"/>
            <c:bubble3D val="0"/>
            <c:spPr>
              <a:solidFill>
                <a:srgbClr val="AEABAB"/>
              </a:solidFill>
            </c:spPr>
            <c:extLst>
              <c:ext xmlns:c16="http://schemas.microsoft.com/office/drawing/2014/chart" uri="{C3380CC4-5D6E-409C-BE32-E72D297353CC}">
                <c16:uniqueId val="{000001CB-1744-4914-988D-66EF0C16342B}"/>
              </c:ext>
            </c:extLst>
          </c:dPt>
          <c:dPt>
            <c:idx val="229"/>
            <c:invertIfNegative val="1"/>
            <c:bubble3D val="0"/>
            <c:spPr>
              <a:solidFill>
                <a:srgbClr val="AEABAB"/>
              </a:solidFill>
            </c:spPr>
            <c:extLst>
              <c:ext xmlns:c16="http://schemas.microsoft.com/office/drawing/2014/chart" uri="{C3380CC4-5D6E-409C-BE32-E72D297353CC}">
                <c16:uniqueId val="{000001CD-1744-4914-988D-66EF0C16342B}"/>
              </c:ext>
            </c:extLst>
          </c:dPt>
          <c:dPt>
            <c:idx val="230"/>
            <c:invertIfNegative val="1"/>
            <c:bubble3D val="0"/>
            <c:spPr>
              <a:solidFill>
                <a:srgbClr val="AEABAB"/>
              </a:solidFill>
            </c:spPr>
            <c:extLst>
              <c:ext xmlns:c16="http://schemas.microsoft.com/office/drawing/2014/chart" uri="{C3380CC4-5D6E-409C-BE32-E72D297353CC}">
                <c16:uniqueId val="{000001CF-1744-4914-988D-66EF0C16342B}"/>
              </c:ext>
            </c:extLst>
          </c:dPt>
          <c:dPt>
            <c:idx val="231"/>
            <c:invertIfNegative val="1"/>
            <c:bubble3D val="0"/>
            <c:spPr>
              <a:solidFill>
                <a:srgbClr val="AEABAB"/>
              </a:solidFill>
            </c:spPr>
            <c:extLst>
              <c:ext xmlns:c16="http://schemas.microsoft.com/office/drawing/2014/chart" uri="{C3380CC4-5D6E-409C-BE32-E72D297353CC}">
                <c16:uniqueId val="{000001D1-1744-4914-988D-66EF0C16342B}"/>
              </c:ext>
            </c:extLst>
          </c:dPt>
          <c:dPt>
            <c:idx val="232"/>
            <c:invertIfNegative val="1"/>
            <c:bubble3D val="0"/>
            <c:spPr>
              <a:solidFill>
                <a:srgbClr val="AEABAB"/>
              </a:solidFill>
            </c:spPr>
            <c:extLst>
              <c:ext xmlns:c16="http://schemas.microsoft.com/office/drawing/2014/chart" uri="{C3380CC4-5D6E-409C-BE32-E72D297353CC}">
                <c16:uniqueId val="{000001D3-1744-4914-988D-66EF0C16342B}"/>
              </c:ext>
            </c:extLst>
          </c:dPt>
          <c:dPt>
            <c:idx val="233"/>
            <c:invertIfNegative val="1"/>
            <c:bubble3D val="0"/>
            <c:spPr>
              <a:solidFill>
                <a:srgbClr val="AEABAB"/>
              </a:solidFill>
            </c:spPr>
            <c:extLst>
              <c:ext xmlns:c16="http://schemas.microsoft.com/office/drawing/2014/chart" uri="{C3380CC4-5D6E-409C-BE32-E72D297353CC}">
                <c16:uniqueId val="{000001D5-1744-4914-988D-66EF0C16342B}"/>
              </c:ext>
            </c:extLst>
          </c:dPt>
          <c:dPt>
            <c:idx val="234"/>
            <c:invertIfNegative val="1"/>
            <c:bubble3D val="0"/>
            <c:spPr>
              <a:solidFill>
                <a:srgbClr val="AEABAB"/>
              </a:solidFill>
            </c:spPr>
            <c:extLst>
              <c:ext xmlns:c16="http://schemas.microsoft.com/office/drawing/2014/chart" uri="{C3380CC4-5D6E-409C-BE32-E72D297353CC}">
                <c16:uniqueId val="{000001D7-1744-4914-988D-66EF0C16342B}"/>
              </c:ext>
            </c:extLst>
          </c:dPt>
          <c:dPt>
            <c:idx val="235"/>
            <c:invertIfNegative val="1"/>
            <c:bubble3D val="0"/>
            <c:spPr>
              <a:solidFill>
                <a:srgbClr val="AEABAB"/>
              </a:solidFill>
            </c:spPr>
            <c:extLst>
              <c:ext xmlns:c16="http://schemas.microsoft.com/office/drawing/2014/chart" uri="{C3380CC4-5D6E-409C-BE32-E72D297353CC}">
                <c16:uniqueId val="{000001D9-1744-4914-988D-66EF0C16342B}"/>
              </c:ext>
            </c:extLst>
          </c:dPt>
          <c:dPt>
            <c:idx val="236"/>
            <c:invertIfNegative val="1"/>
            <c:bubble3D val="0"/>
            <c:spPr>
              <a:solidFill>
                <a:srgbClr val="AEABAB"/>
              </a:solidFill>
            </c:spPr>
            <c:extLst>
              <c:ext xmlns:c16="http://schemas.microsoft.com/office/drawing/2014/chart" uri="{C3380CC4-5D6E-409C-BE32-E72D297353CC}">
                <c16:uniqueId val="{000001DB-1744-4914-988D-66EF0C16342B}"/>
              </c:ext>
            </c:extLst>
          </c:dPt>
          <c:dPt>
            <c:idx val="237"/>
            <c:invertIfNegative val="1"/>
            <c:bubble3D val="0"/>
            <c:spPr>
              <a:solidFill>
                <a:srgbClr val="AEABAB"/>
              </a:solidFill>
            </c:spPr>
            <c:extLst>
              <c:ext xmlns:c16="http://schemas.microsoft.com/office/drawing/2014/chart" uri="{C3380CC4-5D6E-409C-BE32-E72D297353CC}">
                <c16:uniqueId val="{000001DD-1744-4914-988D-66EF0C16342B}"/>
              </c:ext>
            </c:extLst>
          </c:dPt>
          <c:dPt>
            <c:idx val="238"/>
            <c:invertIfNegative val="1"/>
            <c:bubble3D val="0"/>
            <c:spPr>
              <a:solidFill>
                <a:srgbClr val="AEABAB"/>
              </a:solidFill>
            </c:spPr>
            <c:extLst>
              <c:ext xmlns:c16="http://schemas.microsoft.com/office/drawing/2014/chart" uri="{C3380CC4-5D6E-409C-BE32-E72D297353CC}">
                <c16:uniqueId val="{000001DF-1744-4914-988D-66EF0C16342B}"/>
              </c:ext>
            </c:extLst>
          </c:dPt>
          <c:dPt>
            <c:idx val="239"/>
            <c:invertIfNegative val="1"/>
            <c:bubble3D val="0"/>
            <c:spPr>
              <a:solidFill>
                <a:srgbClr val="AEABAB"/>
              </a:solidFill>
            </c:spPr>
            <c:extLst>
              <c:ext xmlns:c16="http://schemas.microsoft.com/office/drawing/2014/chart" uri="{C3380CC4-5D6E-409C-BE32-E72D297353CC}">
                <c16:uniqueId val="{000001E1-1744-4914-988D-66EF0C16342B}"/>
              </c:ext>
            </c:extLst>
          </c:dPt>
          <c:dPt>
            <c:idx val="240"/>
            <c:invertIfNegative val="1"/>
            <c:bubble3D val="0"/>
            <c:spPr>
              <a:solidFill>
                <a:srgbClr val="AEABAB"/>
              </a:solidFill>
            </c:spPr>
            <c:extLst>
              <c:ext xmlns:c16="http://schemas.microsoft.com/office/drawing/2014/chart" uri="{C3380CC4-5D6E-409C-BE32-E72D297353CC}">
                <c16:uniqueId val="{000001E3-1744-4914-988D-66EF0C16342B}"/>
              </c:ext>
            </c:extLst>
          </c:dPt>
          <c:dPt>
            <c:idx val="241"/>
            <c:invertIfNegative val="1"/>
            <c:bubble3D val="0"/>
            <c:spPr>
              <a:solidFill>
                <a:srgbClr val="AEABAB"/>
              </a:solidFill>
            </c:spPr>
            <c:extLst>
              <c:ext xmlns:c16="http://schemas.microsoft.com/office/drawing/2014/chart" uri="{C3380CC4-5D6E-409C-BE32-E72D297353CC}">
                <c16:uniqueId val="{000001E5-1744-4914-988D-66EF0C16342B}"/>
              </c:ext>
            </c:extLst>
          </c:dPt>
          <c:dPt>
            <c:idx val="242"/>
            <c:invertIfNegative val="1"/>
            <c:bubble3D val="0"/>
            <c:spPr>
              <a:solidFill>
                <a:srgbClr val="AEABAB"/>
              </a:solidFill>
            </c:spPr>
            <c:extLst>
              <c:ext xmlns:c16="http://schemas.microsoft.com/office/drawing/2014/chart" uri="{C3380CC4-5D6E-409C-BE32-E72D297353CC}">
                <c16:uniqueId val="{000001E7-1744-4914-988D-66EF0C16342B}"/>
              </c:ext>
            </c:extLst>
          </c:dPt>
          <c:dPt>
            <c:idx val="243"/>
            <c:invertIfNegative val="1"/>
            <c:bubble3D val="0"/>
            <c:spPr>
              <a:solidFill>
                <a:srgbClr val="AEABAB"/>
              </a:solidFill>
            </c:spPr>
            <c:extLst>
              <c:ext xmlns:c16="http://schemas.microsoft.com/office/drawing/2014/chart" uri="{C3380CC4-5D6E-409C-BE32-E72D297353CC}">
                <c16:uniqueId val="{000001E9-1744-4914-988D-66EF0C16342B}"/>
              </c:ext>
            </c:extLst>
          </c:dPt>
          <c:dPt>
            <c:idx val="244"/>
            <c:invertIfNegative val="1"/>
            <c:bubble3D val="0"/>
            <c:spPr>
              <a:solidFill>
                <a:srgbClr val="AEABAB"/>
              </a:solidFill>
            </c:spPr>
            <c:extLst>
              <c:ext xmlns:c16="http://schemas.microsoft.com/office/drawing/2014/chart" uri="{C3380CC4-5D6E-409C-BE32-E72D297353CC}">
                <c16:uniqueId val="{000001EB-1744-4914-988D-66EF0C16342B}"/>
              </c:ext>
            </c:extLst>
          </c:dPt>
          <c:dPt>
            <c:idx val="245"/>
            <c:invertIfNegative val="1"/>
            <c:bubble3D val="0"/>
            <c:spPr>
              <a:solidFill>
                <a:srgbClr val="AEABAB"/>
              </a:solidFill>
            </c:spPr>
            <c:extLst>
              <c:ext xmlns:c16="http://schemas.microsoft.com/office/drawing/2014/chart" uri="{C3380CC4-5D6E-409C-BE32-E72D297353CC}">
                <c16:uniqueId val="{000001ED-1744-4914-988D-66EF0C16342B}"/>
              </c:ext>
            </c:extLst>
          </c:dPt>
          <c:dPt>
            <c:idx val="246"/>
            <c:invertIfNegative val="1"/>
            <c:bubble3D val="0"/>
            <c:spPr>
              <a:solidFill>
                <a:srgbClr val="AEABAB"/>
              </a:solidFill>
            </c:spPr>
            <c:extLst>
              <c:ext xmlns:c16="http://schemas.microsoft.com/office/drawing/2014/chart" uri="{C3380CC4-5D6E-409C-BE32-E72D297353CC}">
                <c16:uniqueId val="{000001EF-1744-4914-988D-66EF0C16342B}"/>
              </c:ext>
            </c:extLst>
          </c:dPt>
          <c:dPt>
            <c:idx val="247"/>
            <c:invertIfNegative val="1"/>
            <c:bubble3D val="0"/>
            <c:spPr>
              <a:solidFill>
                <a:srgbClr val="AEABAB"/>
              </a:solidFill>
            </c:spPr>
            <c:extLst>
              <c:ext xmlns:c16="http://schemas.microsoft.com/office/drawing/2014/chart" uri="{C3380CC4-5D6E-409C-BE32-E72D297353CC}">
                <c16:uniqueId val="{000001F1-1744-4914-988D-66EF0C16342B}"/>
              </c:ext>
            </c:extLst>
          </c:dPt>
          <c:dPt>
            <c:idx val="248"/>
            <c:invertIfNegative val="1"/>
            <c:bubble3D val="0"/>
            <c:spPr>
              <a:solidFill>
                <a:srgbClr val="AEABAB"/>
              </a:solidFill>
            </c:spPr>
            <c:extLst>
              <c:ext xmlns:c16="http://schemas.microsoft.com/office/drawing/2014/chart" uri="{C3380CC4-5D6E-409C-BE32-E72D297353CC}">
                <c16:uniqueId val="{000001F3-1744-4914-988D-66EF0C16342B}"/>
              </c:ext>
            </c:extLst>
          </c:dPt>
          <c:dPt>
            <c:idx val="249"/>
            <c:invertIfNegative val="1"/>
            <c:bubble3D val="0"/>
            <c:spPr>
              <a:solidFill>
                <a:srgbClr val="AEABAB"/>
              </a:solidFill>
            </c:spPr>
            <c:extLst>
              <c:ext xmlns:c16="http://schemas.microsoft.com/office/drawing/2014/chart" uri="{C3380CC4-5D6E-409C-BE32-E72D297353CC}">
                <c16:uniqueId val="{000001F5-1744-4914-988D-66EF0C16342B}"/>
              </c:ext>
            </c:extLst>
          </c:dPt>
          <c:dPt>
            <c:idx val="250"/>
            <c:invertIfNegative val="1"/>
            <c:bubble3D val="0"/>
            <c:spPr>
              <a:solidFill>
                <a:srgbClr val="AEABAB"/>
              </a:solidFill>
            </c:spPr>
            <c:extLst>
              <c:ext xmlns:c16="http://schemas.microsoft.com/office/drawing/2014/chart" uri="{C3380CC4-5D6E-409C-BE32-E72D297353CC}">
                <c16:uniqueId val="{000001F7-1744-4914-988D-66EF0C16342B}"/>
              </c:ext>
            </c:extLst>
          </c:dPt>
          <c:dPt>
            <c:idx val="251"/>
            <c:invertIfNegative val="1"/>
            <c:bubble3D val="0"/>
            <c:spPr>
              <a:solidFill>
                <a:srgbClr val="AEABAB"/>
              </a:solidFill>
            </c:spPr>
            <c:extLst>
              <c:ext xmlns:c16="http://schemas.microsoft.com/office/drawing/2014/chart" uri="{C3380CC4-5D6E-409C-BE32-E72D297353CC}">
                <c16:uniqueId val="{000001F9-1744-4914-988D-66EF0C16342B}"/>
              </c:ext>
            </c:extLst>
          </c:dPt>
          <c:dPt>
            <c:idx val="252"/>
            <c:invertIfNegative val="1"/>
            <c:bubble3D val="0"/>
            <c:spPr>
              <a:solidFill>
                <a:srgbClr val="AEABAB"/>
              </a:solidFill>
            </c:spPr>
            <c:extLst>
              <c:ext xmlns:c16="http://schemas.microsoft.com/office/drawing/2014/chart" uri="{C3380CC4-5D6E-409C-BE32-E72D297353CC}">
                <c16:uniqueId val="{000001FB-1744-4914-988D-66EF0C16342B}"/>
              </c:ext>
            </c:extLst>
          </c:dPt>
          <c:dPt>
            <c:idx val="253"/>
            <c:invertIfNegative val="1"/>
            <c:bubble3D val="0"/>
            <c:spPr>
              <a:solidFill>
                <a:srgbClr val="AEABAB"/>
              </a:solidFill>
            </c:spPr>
            <c:extLst>
              <c:ext xmlns:c16="http://schemas.microsoft.com/office/drawing/2014/chart" uri="{C3380CC4-5D6E-409C-BE32-E72D297353CC}">
                <c16:uniqueId val="{000001FD-1744-4914-988D-66EF0C16342B}"/>
              </c:ext>
            </c:extLst>
          </c:dPt>
          <c:dPt>
            <c:idx val="254"/>
            <c:invertIfNegative val="1"/>
            <c:bubble3D val="0"/>
            <c:spPr>
              <a:solidFill>
                <a:srgbClr val="AEABAB"/>
              </a:solidFill>
            </c:spPr>
            <c:extLst>
              <c:ext xmlns:c16="http://schemas.microsoft.com/office/drawing/2014/chart" uri="{C3380CC4-5D6E-409C-BE32-E72D297353CC}">
                <c16:uniqueId val="{000001FF-1744-4914-988D-66EF0C16342B}"/>
              </c:ext>
            </c:extLst>
          </c:dPt>
          <c:dPt>
            <c:idx val="255"/>
            <c:invertIfNegative val="1"/>
            <c:bubble3D val="0"/>
            <c:spPr>
              <a:solidFill>
                <a:srgbClr val="AEABAB"/>
              </a:solidFill>
            </c:spPr>
            <c:extLst>
              <c:ext xmlns:c16="http://schemas.microsoft.com/office/drawing/2014/chart" uri="{C3380CC4-5D6E-409C-BE32-E72D297353CC}">
                <c16:uniqueId val="{00000201-1744-4914-988D-66EF0C16342B}"/>
              </c:ext>
            </c:extLst>
          </c:dPt>
          <c:dPt>
            <c:idx val="256"/>
            <c:invertIfNegative val="1"/>
            <c:bubble3D val="0"/>
            <c:spPr>
              <a:solidFill>
                <a:srgbClr val="AEABAB"/>
              </a:solidFill>
            </c:spPr>
            <c:extLst>
              <c:ext xmlns:c16="http://schemas.microsoft.com/office/drawing/2014/chart" uri="{C3380CC4-5D6E-409C-BE32-E72D297353CC}">
                <c16:uniqueId val="{00000203-1744-4914-988D-66EF0C16342B}"/>
              </c:ext>
            </c:extLst>
          </c:dPt>
          <c:dPt>
            <c:idx val="257"/>
            <c:invertIfNegative val="1"/>
            <c:bubble3D val="0"/>
            <c:spPr>
              <a:solidFill>
                <a:srgbClr val="AEABAB"/>
              </a:solidFill>
            </c:spPr>
            <c:extLst>
              <c:ext xmlns:c16="http://schemas.microsoft.com/office/drawing/2014/chart" uri="{C3380CC4-5D6E-409C-BE32-E72D297353CC}">
                <c16:uniqueId val="{00000205-1744-4914-988D-66EF0C16342B}"/>
              </c:ext>
            </c:extLst>
          </c:dPt>
          <c:dPt>
            <c:idx val="258"/>
            <c:invertIfNegative val="1"/>
            <c:bubble3D val="0"/>
            <c:spPr>
              <a:solidFill>
                <a:srgbClr val="AEABAB"/>
              </a:solidFill>
            </c:spPr>
            <c:extLst>
              <c:ext xmlns:c16="http://schemas.microsoft.com/office/drawing/2014/chart" uri="{C3380CC4-5D6E-409C-BE32-E72D297353CC}">
                <c16:uniqueId val="{00000207-1744-4914-988D-66EF0C16342B}"/>
              </c:ext>
            </c:extLst>
          </c:dPt>
          <c:dPt>
            <c:idx val="259"/>
            <c:invertIfNegative val="1"/>
            <c:bubble3D val="0"/>
            <c:spPr>
              <a:solidFill>
                <a:srgbClr val="AEABAB"/>
              </a:solidFill>
            </c:spPr>
            <c:extLst>
              <c:ext xmlns:c16="http://schemas.microsoft.com/office/drawing/2014/chart" uri="{C3380CC4-5D6E-409C-BE32-E72D297353CC}">
                <c16:uniqueId val="{00000209-1744-4914-988D-66EF0C16342B}"/>
              </c:ext>
            </c:extLst>
          </c:dPt>
          <c:dPt>
            <c:idx val="260"/>
            <c:invertIfNegative val="1"/>
            <c:bubble3D val="0"/>
            <c:spPr>
              <a:solidFill>
                <a:srgbClr val="AEABAB"/>
              </a:solidFill>
            </c:spPr>
            <c:extLst>
              <c:ext xmlns:c16="http://schemas.microsoft.com/office/drawing/2014/chart" uri="{C3380CC4-5D6E-409C-BE32-E72D297353CC}">
                <c16:uniqueId val="{0000020B-1744-4914-988D-66EF0C16342B}"/>
              </c:ext>
            </c:extLst>
          </c:dPt>
          <c:dPt>
            <c:idx val="261"/>
            <c:invertIfNegative val="1"/>
            <c:bubble3D val="0"/>
            <c:spPr>
              <a:solidFill>
                <a:srgbClr val="AEABAB"/>
              </a:solidFill>
            </c:spPr>
            <c:extLst>
              <c:ext xmlns:c16="http://schemas.microsoft.com/office/drawing/2014/chart" uri="{C3380CC4-5D6E-409C-BE32-E72D297353CC}">
                <c16:uniqueId val="{0000020D-1744-4914-988D-66EF0C16342B}"/>
              </c:ext>
            </c:extLst>
          </c:dPt>
          <c:dPt>
            <c:idx val="262"/>
            <c:invertIfNegative val="1"/>
            <c:bubble3D val="0"/>
            <c:spPr>
              <a:solidFill>
                <a:srgbClr val="AEABAB"/>
              </a:solidFill>
            </c:spPr>
            <c:extLst>
              <c:ext xmlns:c16="http://schemas.microsoft.com/office/drawing/2014/chart" uri="{C3380CC4-5D6E-409C-BE32-E72D297353CC}">
                <c16:uniqueId val="{0000020F-1744-4914-988D-66EF0C16342B}"/>
              </c:ext>
            </c:extLst>
          </c:dPt>
          <c:dPt>
            <c:idx val="263"/>
            <c:invertIfNegative val="1"/>
            <c:bubble3D val="0"/>
            <c:spPr>
              <a:solidFill>
                <a:srgbClr val="AEABAB"/>
              </a:solidFill>
            </c:spPr>
            <c:extLst>
              <c:ext xmlns:c16="http://schemas.microsoft.com/office/drawing/2014/chart" uri="{C3380CC4-5D6E-409C-BE32-E72D297353CC}">
                <c16:uniqueId val="{00000211-1744-4914-988D-66EF0C16342B}"/>
              </c:ext>
            </c:extLst>
          </c:dPt>
          <c:dPt>
            <c:idx val="264"/>
            <c:invertIfNegative val="1"/>
            <c:bubble3D val="0"/>
            <c:spPr>
              <a:solidFill>
                <a:srgbClr val="AEABAB"/>
              </a:solidFill>
            </c:spPr>
            <c:extLst>
              <c:ext xmlns:c16="http://schemas.microsoft.com/office/drawing/2014/chart" uri="{C3380CC4-5D6E-409C-BE32-E72D297353CC}">
                <c16:uniqueId val="{00000213-1744-4914-988D-66EF0C16342B}"/>
              </c:ext>
            </c:extLst>
          </c:dPt>
          <c:dPt>
            <c:idx val="265"/>
            <c:invertIfNegative val="1"/>
            <c:bubble3D val="0"/>
            <c:spPr>
              <a:solidFill>
                <a:srgbClr val="AEABAB"/>
              </a:solidFill>
            </c:spPr>
            <c:extLst>
              <c:ext xmlns:c16="http://schemas.microsoft.com/office/drawing/2014/chart" uri="{C3380CC4-5D6E-409C-BE32-E72D297353CC}">
                <c16:uniqueId val="{00000215-1744-4914-988D-66EF0C16342B}"/>
              </c:ext>
            </c:extLst>
          </c:dPt>
          <c:dPt>
            <c:idx val="266"/>
            <c:invertIfNegative val="1"/>
            <c:bubble3D val="0"/>
            <c:spPr>
              <a:solidFill>
                <a:srgbClr val="AEABAB"/>
              </a:solidFill>
            </c:spPr>
            <c:extLst>
              <c:ext xmlns:c16="http://schemas.microsoft.com/office/drawing/2014/chart" uri="{C3380CC4-5D6E-409C-BE32-E72D297353CC}">
                <c16:uniqueId val="{00000217-1744-4914-988D-66EF0C16342B}"/>
              </c:ext>
            </c:extLst>
          </c:dPt>
          <c:dPt>
            <c:idx val="267"/>
            <c:invertIfNegative val="1"/>
            <c:bubble3D val="0"/>
            <c:spPr>
              <a:solidFill>
                <a:srgbClr val="AEABAB"/>
              </a:solidFill>
            </c:spPr>
            <c:extLst>
              <c:ext xmlns:c16="http://schemas.microsoft.com/office/drawing/2014/chart" uri="{C3380CC4-5D6E-409C-BE32-E72D297353CC}">
                <c16:uniqueId val="{00000219-1744-4914-988D-66EF0C16342B}"/>
              </c:ext>
            </c:extLst>
          </c:dPt>
          <c:dPt>
            <c:idx val="268"/>
            <c:invertIfNegative val="1"/>
            <c:bubble3D val="0"/>
            <c:spPr>
              <a:solidFill>
                <a:srgbClr val="AEABAB"/>
              </a:solidFill>
            </c:spPr>
            <c:extLst>
              <c:ext xmlns:c16="http://schemas.microsoft.com/office/drawing/2014/chart" uri="{C3380CC4-5D6E-409C-BE32-E72D297353CC}">
                <c16:uniqueId val="{0000021B-1744-4914-988D-66EF0C16342B}"/>
              </c:ext>
            </c:extLst>
          </c:dPt>
          <c:dPt>
            <c:idx val="269"/>
            <c:invertIfNegative val="1"/>
            <c:bubble3D val="0"/>
            <c:spPr>
              <a:solidFill>
                <a:srgbClr val="AEABAB"/>
              </a:solidFill>
            </c:spPr>
            <c:extLst>
              <c:ext xmlns:c16="http://schemas.microsoft.com/office/drawing/2014/chart" uri="{C3380CC4-5D6E-409C-BE32-E72D297353CC}">
                <c16:uniqueId val="{0000021D-1744-4914-988D-66EF0C16342B}"/>
              </c:ext>
            </c:extLst>
          </c:dPt>
          <c:dPt>
            <c:idx val="270"/>
            <c:invertIfNegative val="1"/>
            <c:bubble3D val="0"/>
            <c:spPr>
              <a:solidFill>
                <a:srgbClr val="AEABAB"/>
              </a:solidFill>
            </c:spPr>
            <c:extLst>
              <c:ext xmlns:c16="http://schemas.microsoft.com/office/drawing/2014/chart" uri="{C3380CC4-5D6E-409C-BE32-E72D297353CC}">
                <c16:uniqueId val="{0000021F-1744-4914-988D-66EF0C16342B}"/>
              </c:ext>
            </c:extLst>
          </c:dPt>
          <c:dPt>
            <c:idx val="271"/>
            <c:invertIfNegative val="1"/>
            <c:bubble3D val="0"/>
            <c:spPr>
              <a:solidFill>
                <a:srgbClr val="AEABAB"/>
              </a:solidFill>
            </c:spPr>
            <c:extLst>
              <c:ext xmlns:c16="http://schemas.microsoft.com/office/drawing/2014/chart" uri="{C3380CC4-5D6E-409C-BE32-E72D297353CC}">
                <c16:uniqueId val="{00000221-1744-4914-988D-66EF0C16342B}"/>
              </c:ext>
            </c:extLst>
          </c:dPt>
          <c:dPt>
            <c:idx val="272"/>
            <c:invertIfNegative val="1"/>
            <c:bubble3D val="0"/>
            <c:spPr>
              <a:solidFill>
                <a:srgbClr val="AEABAB"/>
              </a:solidFill>
            </c:spPr>
            <c:extLst>
              <c:ext xmlns:c16="http://schemas.microsoft.com/office/drawing/2014/chart" uri="{C3380CC4-5D6E-409C-BE32-E72D297353CC}">
                <c16:uniqueId val="{00000223-1744-4914-988D-66EF0C16342B}"/>
              </c:ext>
            </c:extLst>
          </c:dPt>
          <c:dPt>
            <c:idx val="273"/>
            <c:invertIfNegative val="1"/>
            <c:bubble3D val="0"/>
            <c:spPr>
              <a:solidFill>
                <a:srgbClr val="AEABAB"/>
              </a:solidFill>
            </c:spPr>
            <c:extLst>
              <c:ext xmlns:c16="http://schemas.microsoft.com/office/drawing/2014/chart" uri="{C3380CC4-5D6E-409C-BE32-E72D297353CC}">
                <c16:uniqueId val="{00000225-1744-4914-988D-66EF0C16342B}"/>
              </c:ext>
            </c:extLst>
          </c:dPt>
          <c:dPt>
            <c:idx val="274"/>
            <c:invertIfNegative val="1"/>
            <c:bubble3D val="0"/>
            <c:spPr>
              <a:solidFill>
                <a:srgbClr val="AEABAB"/>
              </a:solidFill>
            </c:spPr>
            <c:extLst>
              <c:ext xmlns:c16="http://schemas.microsoft.com/office/drawing/2014/chart" uri="{C3380CC4-5D6E-409C-BE32-E72D297353CC}">
                <c16:uniqueId val="{00000227-1744-4914-988D-66EF0C16342B}"/>
              </c:ext>
            </c:extLst>
          </c:dPt>
          <c:dPt>
            <c:idx val="275"/>
            <c:invertIfNegative val="1"/>
            <c:bubble3D val="0"/>
            <c:spPr>
              <a:solidFill>
                <a:srgbClr val="AEABAB"/>
              </a:solidFill>
            </c:spPr>
            <c:extLst>
              <c:ext xmlns:c16="http://schemas.microsoft.com/office/drawing/2014/chart" uri="{C3380CC4-5D6E-409C-BE32-E72D297353CC}">
                <c16:uniqueId val="{00000229-1744-4914-988D-66EF0C16342B}"/>
              </c:ext>
            </c:extLst>
          </c:dPt>
          <c:dPt>
            <c:idx val="276"/>
            <c:invertIfNegative val="1"/>
            <c:bubble3D val="0"/>
            <c:spPr>
              <a:solidFill>
                <a:srgbClr val="AEABAB"/>
              </a:solidFill>
            </c:spPr>
            <c:extLst>
              <c:ext xmlns:c16="http://schemas.microsoft.com/office/drawing/2014/chart" uri="{C3380CC4-5D6E-409C-BE32-E72D297353CC}">
                <c16:uniqueId val="{0000022B-1744-4914-988D-66EF0C16342B}"/>
              </c:ext>
            </c:extLst>
          </c:dPt>
          <c:dPt>
            <c:idx val="277"/>
            <c:invertIfNegative val="1"/>
            <c:bubble3D val="0"/>
            <c:spPr>
              <a:solidFill>
                <a:srgbClr val="AEABAB"/>
              </a:solidFill>
            </c:spPr>
            <c:extLst>
              <c:ext xmlns:c16="http://schemas.microsoft.com/office/drawing/2014/chart" uri="{C3380CC4-5D6E-409C-BE32-E72D297353CC}">
                <c16:uniqueId val="{0000022D-1744-4914-988D-66EF0C16342B}"/>
              </c:ext>
            </c:extLst>
          </c:dPt>
          <c:dPt>
            <c:idx val="278"/>
            <c:invertIfNegative val="1"/>
            <c:bubble3D val="0"/>
            <c:spPr>
              <a:solidFill>
                <a:srgbClr val="AEABAB"/>
              </a:solidFill>
            </c:spPr>
            <c:extLst>
              <c:ext xmlns:c16="http://schemas.microsoft.com/office/drawing/2014/chart" uri="{C3380CC4-5D6E-409C-BE32-E72D297353CC}">
                <c16:uniqueId val="{0000022F-1744-4914-988D-66EF0C16342B}"/>
              </c:ext>
            </c:extLst>
          </c:dPt>
          <c:dPt>
            <c:idx val="279"/>
            <c:invertIfNegative val="1"/>
            <c:bubble3D val="0"/>
            <c:spPr>
              <a:solidFill>
                <a:srgbClr val="AEABAB"/>
              </a:solidFill>
            </c:spPr>
            <c:extLst>
              <c:ext xmlns:c16="http://schemas.microsoft.com/office/drawing/2014/chart" uri="{C3380CC4-5D6E-409C-BE32-E72D297353CC}">
                <c16:uniqueId val="{00000231-1744-4914-988D-66EF0C16342B}"/>
              </c:ext>
            </c:extLst>
          </c:dPt>
          <c:dPt>
            <c:idx val="280"/>
            <c:invertIfNegative val="1"/>
            <c:bubble3D val="0"/>
            <c:spPr>
              <a:solidFill>
                <a:srgbClr val="AEABAB"/>
              </a:solidFill>
            </c:spPr>
            <c:extLst>
              <c:ext xmlns:c16="http://schemas.microsoft.com/office/drawing/2014/chart" uri="{C3380CC4-5D6E-409C-BE32-E72D297353CC}">
                <c16:uniqueId val="{00000233-1744-4914-988D-66EF0C16342B}"/>
              </c:ext>
            </c:extLst>
          </c:dPt>
          <c:dPt>
            <c:idx val="281"/>
            <c:invertIfNegative val="1"/>
            <c:bubble3D val="0"/>
            <c:spPr>
              <a:solidFill>
                <a:srgbClr val="AEABAB"/>
              </a:solidFill>
            </c:spPr>
            <c:extLst>
              <c:ext xmlns:c16="http://schemas.microsoft.com/office/drawing/2014/chart" uri="{C3380CC4-5D6E-409C-BE32-E72D297353CC}">
                <c16:uniqueId val="{00000235-1744-4914-988D-66EF0C16342B}"/>
              </c:ext>
            </c:extLst>
          </c:dPt>
          <c:dPt>
            <c:idx val="282"/>
            <c:invertIfNegative val="1"/>
            <c:bubble3D val="0"/>
            <c:spPr>
              <a:solidFill>
                <a:srgbClr val="AEABAB"/>
              </a:solidFill>
            </c:spPr>
            <c:extLst>
              <c:ext xmlns:c16="http://schemas.microsoft.com/office/drawing/2014/chart" uri="{C3380CC4-5D6E-409C-BE32-E72D297353CC}">
                <c16:uniqueId val="{00000237-1744-4914-988D-66EF0C16342B}"/>
              </c:ext>
            </c:extLst>
          </c:dPt>
          <c:dPt>
            <c:idx val="283"/>
            <c:invertIfNegative val="1"/>
            <c:bubble3D val="0"/>
            <c:spPr>
              <a:solidFill>
                <a:srgbClr val="AEABAB"/>
              </a:solidFill>
            </c:spPr>
            <c:extLst>
              <c:ext xmlns:c16="http://schemas.microsoft.com/office/drawing/2014/chart" uri="{C3380CC4-5D6E-409C-BE32-E72D297353CC}">
                <c16:uniqueId val="{00000239-1744-4914-988D-66EF0C16342B}"/>
              </c:ext>
            </c:extLst>
          </c:dPt>
          <c:dPt>
            <c:idx val="284"/>
            <c:invertIfNegative val="1"/>
            <c:bubble3D val="0"/>
            <c:spPr>
              <a:solidFill>
                <a:srgbClr val="AEABAB"/>
              </a:solidFill>
            </c:spPr>
            <c:extLst>
              <c:ext xmlns:c16="http://schemas.microsoft.com/office/drawing/2014/chart" uri="{C3380CC4-5D6E-409C-BE32-E72D297353CC}">
                <c16:uniqueId val="{0000023B-1744-4914-988D-66EF0C16342B}"/>
              </c:ext>
            </c:extLst>
          </c:dPt>
          <c:dPt>
            <c:idx val="285"/>
            <c:invertIfNegative val="1"/>
            <c:bubble3D val="0"/>
            <c:spPr>
              <a:solidFill>
                <a:srgbClr val="AEABAB"/>
              </a:solidFill>
            </c:spPr>
            <c:extLst>
              <c:ext xmlns:c16="http://schemas.microsoft.com/office/drawing/2014/chart" uri="{C3380CC4-5D6E-409C-BE32-E72D297353CC}">
                <c16:uniqueId val="{0000023D-1744-4914-988D-66EF0C16342B}"/>
              </c:ext>
            </c:extLst>
          </c:dPt>
          <c:dPt>
            <c:idx val="286"/>
            <c:invertIfNegative val="1"/>
            <c:bubble3D val="0"/>
            <c:spPr>
              <a:solidFill>
                <a:srgbClr val="AEABAB"/>
              </a:solidFill>
            </c:spPr>
            <c:extLst>
              <c:ext xmlns:c16="http://schemas.microsoft.com/office/drawing/2014/chart" uri="{C3380CC4-5D6E-409C-BE32-E72D297353CC}">
                <c16:uniqueId val="{0000023F-1744-4914-988D-66EF0C16342B}"/>
              </c:ext>
            </c:extLst>
          </c:dPt>
          <c:dPt>
            <c:idx val="287"/>
            <c:invertIfNegative val="1"/>
            <c:bubble3D val="0"/>
            <c:spPr>
              <a:solidFill>
                <a:srgbClr val="AEABAB"/>
              </a:solidFill>
            </c:spPr>
            <c:extLst>
              <c:ext xmlns:c16="http://schemas.microsoft.com/office/drawing/2014/chart" uri="{C3380CC4-5D6E-409C-BE32-E72D297353CC}">
                <c16:uniqueId val="{00000241-1744-4914-988D-66EF0C16342B}"/>
              </c:ext>
            </c:extLst>
          </c:dPt>
          <c:dPt>
            <c:idx val="288"/>
            <c:invertIfNegative val="1"/>
            <c:bubble3D val="0"/>
            <c:spPr>
              <a:solidFill>
                <a:srgbClr val="AEABAB"/>
              </a:solidFill>
            </c:spPr>
            <c:extLst>
              <c:ext xmlns:c16="http://schemas.microsoft.com/office/drawing/2014/chart" uri="{C3380CC4-5D6E-409C-BE32-E72D297353CC}">
                <c16:uniqueId val="{00000243-1744-4914-988D-66EF0C16342B}"/>
              </c:ext>
            </c:extLst>
          </c:dPt>
          <c:dPt>
            <c:idx val="289"/>
            <c:invertIfNegative val="1"/>
            <c:bubble3D val="0"/>
            <c:spPr>
              <a:solidFill>
                <a:srgbClr val="AEABAB"/>
              </a:solidFill>
            </c:spPr>
            <c:extLst>
              <c:ext xmlns:c16="http://schemas.microsoft.com/office/drawing/2014/chart" uri="{C3380CC4-5D6E-409C-BE32-E72D297353CC}">
                <c16:uniqueId val="{00000245-1744-4914-988D-66EF0C16342B}"/>
              </c:ext>
            </c:extLst>
          </c:dPt>
          <c:dPt>
            <c:idx val="290"/>
            <c:invertIfNegative val="1"/>
            <c:bubble3D val="0"/>
            <c:spPr>
              <a:solidFill>
                <a:srgbClr val="AEABAB"/>
              </a:solidFill>
            </c:spPr>
            <c:extLst>
              <c:ext xmlns:c16="http://schemas.microsoft.com/office/drawing/2014/chart" uri="{C3380CC4-5D6E-409C-BE32-E72D297353CC}">
                <c16:uniqueId val="{00000247-1744-4914-988D-66EF0C16342B}"/>
              </c:ext>
            </c:extLst>
          </c:dPt>
          <c:dPt>
            <c:idx val="291"/>
            <c:invertIfNegative val="1"/>
            <c:bubble3D val="0"/>
            <c:spPr>
              <a:solidFill>
                <a:srgbClr val="AEABAB"/>
              </a:solidFill>
            </c:spPr>
            <c:extLst>
              <c:ext xmlns:c16="http://schemas.microsoft.com/office/drawing/2014/chart" uri="{C3380CC4-5D6E-409C-BE32-E72D297353CC}">
                <c16:uniqueId val="{00000249-1744-4914-988D-66EF0C16342B}"/>
              </c:ext>
            </c:extLst>
          </c:dPt>
          <c:dPt>
            <c:idx val="292"/>
            <c:invertIfNegative val="1"/>
            <c:bubble3D val="0"/>
            <c:spPr>
              <a:solidFill>
                <a:srgbClr val="AEABAB"/>
              </a:solidFill>
            </c:spPr>
            <c:extLst>
              <c:ext xmlns:c16="http://schemas.microsoft.com/office/drawing/2014/chart" uri="{C3380CC4-5D6E-409C-BE32-E72D297353CC}">
                <c16:uniqueId val="{0000024B-1744-4914-988D-66EF0C16342B}"/>
              </c:ext>
            </c:extLst>
          </c:dPt>
          <c:dPt>
            <c:idx val="293"/>
            <c:invertIfNegative val="1"/>
            <c:bubble3D val="0"/>
            <c:spPr>
              <a:solidFill>
                <a:srgbClr val="AEABAB"/>
              </a:solidFill>
            </c:spPr>
            <c:extLst>
              <c:ext xmlns:c16="http://schemas.microsoft.com/office/drawing/2014/chart" uri="{C3380CC4-5D6E-409C-BE32-E72D297353CC}">
                <c16:uniqueId val="{0000024D-1744-4914-988D-66EF0C16342B}"/>
              </c:ext>
            </c:extLst>
          </c:dPt>
          <c:dPt>
            <c:idx val="294"/>
            <c:invertIfNegative val="1"/>
            <c:bubble3D val="0"/>
            <c:spPr>
              <a:solidFill>
                <a:srgbClr val="AEABAB"/>
              </a:solidFill>
            </c:spPr>
            <c:extLst>
              <c:ext xmlns:c16="http://schemas.microsoft.com/office/drawing/2014/chart" uri="{C3380CC4-5D6E-409C-BE32-E72D297353CC}">
                <c16:uniqueId val="{0000024F-1744-4914-988D-66EF0C16342B}"/>
              </c:ext>
            </c:extLst>
          </c:dPt>
          <c:dPt>
            <c:idx val="295"/>
            <c:invertIfNegative val="1"/>
            <c:bubble3D val="0"/>
            <c:spPr>
              <a:solidFill>
                <a:srgbClr val="AEABAB"/>
              </a:solidFill>
            </c:spPr>
            <c:extLst>
              <c:ext xmlns:c16="http://schemas.microsoft.com/office/drawing/2014/chart" uri="{C3380CC4-5D6E-409C-BE32-E72D297353CC}">
                <c16:uniqueId val="{00000251-1744-4914-988D-66EF0C16342B}"/>
              </c:ext>
            </c:extLst>
          </c:dPt>
          <c:dPt>
            <c:idx val="296"/>
            <c:invertIfNegative val="1"/>
            <c:bubble3D val="0"/>
            <c:spPr>
              <a:solidFill>
                <a:srgbClr val="AEABAB"/>
              </a:solidFill>
            </c:spPr>
            <c:extLst>
              <c:ext xmlns:c16="http://schemas.microsoft.com/office/drawing/2014/chart" uri="{C3380CC4-5D6E-409C-BE32-E72D297353CC}">
                <c16:uniqueId val="{00000253-1744-4914-988D-66EF0C16342B}"/>
              </c:ext>
            </c:extLst>
          </c:dPt>
          <c:dPt>
            <c:idx val="297"/>
            <c:invertIfNegative val="1"/>
            <c:bubble3D val="0"/>
            <c:spPr>
              <a:solidFill>
                <a:srgbClr val="AEABAB"/>
              </a:solidFill>
            </c:spPr>
            <c:extLst>
              <c:ext xmlns:c16="http://schemas.microsoft.com/office/drawing/2014/chart" uri="{C3380CC4-5D6E-409C-BE32-E72D297353CC}">
                <c16:uniqueId val="{00000255-1744-4914-988D-66EF0C16342B}"/>
              </c:ext>
            </c:extLst>
          </c:dPt>
          <c:dPt>
            <c:idx val="298"/>
            <c:invertIfNegative val="1"/>
            <c:bubble3D val="0"/>
            <c:spPr>
              <a:solidFill>
                <a:srgbClr val="AEABAB"/>
              </a:solidFill>
            </c:spPr>
            <c:extLst>
              <c:ext xmlns:c16="http://schemas.microsoft.com/office/drawing/2014/chart" uri="{C3380CC4-5D6E-409C-BE32-E72D297353CC}">
                <c16:uniqueId val="{00000257-1744-4914-988D-66EF0C16342B}"/>
              </c:ext>
            </c:extLst>
          </c:dPt>
          <c:dPt>
            <c:idx val="299"/>
            <c:invertIfNegative val="1"/>
            <c:bubble3D val="0"/>
            <c:spPr>
              <a:solidFill>
                <a:srgbClr val="AEABAB"/>
              </a:solidFill>
            </c:spPr>
            <c:extLst>
              <c:ext xmlns:c16="http://schemas.microsoft.com/office/drawing/2014/chart" uri="{C3380CC4-5D6E-409C-BE32-E72D297353CC}">
                <c16:uniqueId val="{00000259-1744-4914-988D-66EF0C16342B}"/>
              </c:ext>
            </c:extLst>
          </c:dPt>
          <c:dPt>
            <c:idx val="300"/>
            <c:invertIfNegative val="1"/>
            <c:bubble3D val="0"/>
            <c:spPr>
              <a:solidFill>
                <a:srgbClr val="AEABAB"/>
              </a:solidFill>
            </c:spPr>
            <c:extLst>
              <c:ext xmlns:c16="http://schemas.microsoft.com/office/drawing/2014/chart" uri="{C3380CC4-5D6E-409C-BE32-E72D297353CC}">
                <c16:uniqueId val="{0000025B-1744-4914-988D-66EF0C16342B}"/>
              </c:ext>
            </c:extLst>
          </c:dPt>
          <c:dPt>
            <c:idx val="301"/>
            <c:invertIfNegative val="1"/>
            <c:bubble3D val="0"/>
            <c:spPr>
              <a:solidFill>
                <a:srgbClr val="AEABAB"/>
              </a:solidFill>
            </c:spPr>
            <c:extLst>
              <c:ext xmlns:c16="http://schemas.microsoft.com/office/drawing/2014/chart" uri="{C3380CC4-5D6E-409C-BE32-E72D297353CC}">
                <c16:uniqueId val="{0000025D-1744-4914-988D-66EF0C16342B}"/>
              </c:ext>
            </c:extLst>
          </c:dPt>
          <c:dPt>
            <c:idx val="302"/>
            <c:invertIfNegative val="1"/>
            <c:bubble3D val="0"/>
            <c:spPr>
              <a:solidFill>
                <a:srgbClr val="AEABAB"/>
              </a:solidFill>
            </c:spPr>
            <c:extLst>
              <c:ext xmlns:c16="http://schemas.microsoft.com/office/drawing/2014/chart" uri="{C3380CC4-5D6E-409C-BE32-E72D297353CC}">
                <c16:uniqueId val="{0000025F-1744-4914-988D-66EF0C16342B}"/>
              </c:ext>
            </c:extLst>
          </c:dPt>
          <c:dPt>
            <c:idx val="303"/>
            <c:invertIfNegative val="1"/>
            <c:bubble3D val="0"/>
            <c:spPr>
              <a:solidFill>
                <a:srgbClr val="AEABAB"/>
              </a:solidFill>
            </c:spPr>
            <c:extLst>
              <c:ext xmlns:c16="http://schemas.microsoft.com/office/drawing/2014/chart" uri="{C3380CC4-5D6E-409C-BE32-E72D297353CC}">
                <c16:uniqueId val="{00000261-1744-4914-988D-66EF0C16342B}"/>
              </c:ext>
            </c:extLst>
          </c:dPt>
          <c:dPt>
            <c:idx val="304"/>
            <c:invertIfNegative val="1"/>
            <c:bubble3D val="0"/>
            <c:spPr>
              <a:solidFill>
                <a:srgbClr val="AEABAB"/>
              </a:solidFill>
            </c:spPr>
            <c:extLst>
              <c:ext xmlns:c16="http://schemas.microsoft.com/office/drawing/2014/chart" uri="{C3380CC4-5D6E-409C-BE32-E72D297353CC}">
                <c16:uniqueId val="{00000263-1744-4914-988D-66EF0C16342B}"/>
              </c:ext>
            </c:extLst>
          </c:dPt>
          <c:dPt>
            <c:idx val="305"/>
            <c:invertIfNegative val="1"/>
            <c:bubble3D val="0"/>
            <c:spPr>
              <a:solidFill>
                <a:srgbClr val="AEABAB"/>
              </a:solidFill>
            </c:spPr>
            <c:extLst>
              <c:ext xmlns:c16="http://schemas.microsoft.com/office/drawing/2014/chart" uri="{C3380CC4-5D6E-409C-BE32-E72D297353CC}">
                <c16:uniqueId val="{00000265-1744-4914-988D-66EF0C16342B}"/>
              </c:ext>
            </c:extLst>
          </c:dPt>
          <c:dPt>
            <c:idx val="306"/>
            <c:invertIfNegative val="1"/>
            <c:bubble3D val="0"/>
            <c:spPr>
              <a:solidFill>
                <a:srgbClr val="AEABAB"/>
              </a:solidFill>
            </c:spPr>
            <c:extLst>
              <c:ext xmlns:c16="http://schemas.microsoft.com/office/drawing/2014/chart" uri="{C3380CC4-5D6E-409C-BE32-E72D297353CC}">
                <c16:uniqueId val="{00000267-1744-4914-988D-66EF0C16342B}"/>
              </c:ext>
            </c:extLst>
          </c:dPt>
          <c:dPt>
            <c:idx val="307"/>
            <c:invertIfNegative val="1"/>
            <c:bubble3D val="0"/>
            <c:spPr>
              <a:solidFill>
                <a:srgbClr val="AEABAB"/>
              </a:solidFill>
            </c:spPr>
            <c:extLst>
              <c:ext xmlns:c16="http://schemas.microsoft.com/office/drawing/2014/chart" uri="{C3380CC4-5D6E-409C-BE32-E72D297353CC}">
                <c16:uniqueId val="{00000269-1744-4914-988D-66EF0C16342B}"/>
              </c:ext>
            </c:extLst>
          </c:dPt>
          <c:dPt>
            <c:idx val="308"/>
            <c:invertIfNegative val="1"/>
            <c:bubble3D val="0"/>
            <c:spPr>
              <a:solidFill>
                <a:srgbClr val="AEABAB"/>
              </a:solidFill>
            </c:spPr>
            <c:extLst>
              <c:ext xmlns:c16="http://schemas.microsoft.com/office/drawing/2014/chart" uri="{C3380CC4-5D6E-409C-BE32-E72D297353CC}">
                <c16:uniqueId val="{0000026B-1744-4914-988D-66EF0C16342B}"/>
              </c:ext>
            </c:extLst>
          </c:dPt>
          <c:dPt>
            <c:idx val="309"/>
            <c:invertIfNegative val="1"/>
            <c:bubble3D val="0"/>
            <c:spPr>
              <a:solidFill>
                <a:srgbClr val="AEABAB"/>
              </a:solidFill>
            </c:spPr>
            <c:extLst>
              <c:ext xmlns:c16="http://schemas.microsoft.com/office/drawing/2014/chart" uri="{C3380CC4-5D6E-409C-BE32-E72D297353CC}">
                <c16:uniqueId val="{0000026D-1744-4914-988D-66EF0C16342B}"/>
              </c:ext>
            </c:extLst>
          </c:dPt>
          <c:dPt>
            <c:idx val="310"/>
            <c:invertIfNegative val="1"/>
            <c:bubble3D val="0"/>
            <c:spPr>
              <a:solidFill>
                <a:srgbClr val="AEABAB"/>
              </a:solidFill>
            </c:spPr>
            <c:extLst>
              <c:ext xmlns:c16="http://schemas.microsoft.com/office/drawing/2014/chart" uri="{C3380CC4-5D6E-409C-BE32-E72D297353CC}">
                <c16:uniqueId val="{0000026F-1744-4914-988D-66EF0C16342B}"/>
              </c:ext>
            </c:extLst>
          </c:dPt>
          <c:dPt>
            <c:idx val="311"/>
            <c:invertIfNegative val="1"/>
            <c:bubble3D val="0"/>
            <c:spPr>
              <a:solidFill>
                <a:srgbClr val="AEABAB"/>
              </a:solidFill>
            </c:spPr>
            <c:extLst>
              <c:ext xmlns:c16="http://schemas.microsoft.com/office/drawing/2014/chart" uri="{C3380CC4-5D6E-409C-BE32-E72D297353CC}">
                <c16:uniqueId val="{00000271-1744-4914-988D-66EF0C16342B}"/>
              </c:ext>
            </c:extLst>
          </c:dPt>
          <c:dPt>
            <c:idx val="312"/>
            <c:invertIfNegative val="1"/>
            <c:bubble3D val="0"/>
            <c:spPr>
              <a:solidFill>
                <a:srgbClr val="AEABAB"/>
              </a:solidFill>
            </c:spPr>
            <c:extLst>
              <c:ext xmlns:c16="http://schemas.microsoft.com/office/drawing/2014/chart" uri="{C3380CC4-5D6E-409C-BE32-E72D297353CC}">
                <c16:uniqueId val="{00000273-1744-4914-988D-66EF0C16342B}"/>
              </c:ext>
            </c:extLst>
          </c:dPt>
          <c:dPt>
            <c:idx val="313"/>
            <c:invertIfNegative val="1"/>
            <c:bubble3D val="0"/>
            <c:spPr>
              <a:solidFill>
                <a:srgbClr val="AEABAB"/>
              </a:solidFill>
            </c:spPr>
            <c:extLst>
              <c:ext xmlns:c16="http://schemas.microsoft.com/office/drawing/2014/chart" uri="{C3380CC4-5D6E-409C-BE32-E72D297353CC}">
                <c16:uniqueId val="{00000275-1744-4914-988D-66EF0C16342B}"/>
              </c:ext>
            </c:extLst>
          </c:dPt>
          <c:dPt>
            <c:idx val="314"/>
            <c:invertIfNegative val="1"/>
            <c:bubble3D val="0"/>
            <c:spPr>
              <a:solidFill>
                <a:srgbClr val="AEABAB"/>
              </a:solidFill>
            </c:spPr>
            <c:extLst>
              <c:ext xmlns:c16="http://schemas.microsoft.com/office/drawing/2014/chart" uri="{C3380CC4-5D6E-409C-BE32-E72D297353CC}">
                <c16:uniqueId val="{00000277-1744-4914-988D-66EF0C16342B}"/>
              </c:ext>
            </c:extLst>
          </c:dPt>
          <c:dPt>
            <c:idx val="315"/>
            <c:invertIfNegative val="1"/>
            <c:bubble3D val="0"/>
            <c:spPr>
              <a:solidFill>
                <a:srgbClr val="AEABAB"/>
              </a:solidFill>
            </c:spPr>
            <c:extLst>
              <c:ext xmlns:c16="http://schemas.microsoft.com/office/drawing/2014/chart" uri="{C3380CC4-5D6E-409C-BE32-E72D297353CC}">
                <c16:uniqueId val="{00000279-1744-4914-988D-66EF0C16342B}"/>
              </c:ext>
            </c:extLst>
          </c:dPt>
          <c:dPt>
            <c:idx val="316"/>
            <c:invertIfNegative val="1"/>
            <c:bubble3D val="0"/>
            <c:spPr>
              <a:solidFill>
                <a:srgbClr val="AEABAB"/>
              </a:solidFill>
            </c:spPr>
            <c:extLst>
              <c:ext xmlns:c16="http://schemas.microsoft.com/office/drawing/2014/chart" uri="{C3380CC4-5D6E-409C-BE32-E72D297353CC}">
                <c16:uniqueId val="{0000027B-1744-4914-988D-66EF0C16342B}"/>
              </c:ext>
            </c:extLst>
          </c:dPt>
          <c:dPt>
            <c:idx val="317"/>
            <c:invertIfNegative val="1"/>
            <c:bubble3D val="0"/>
            <c:spPr>
              <a:solidFill>
                <a:srgbClr val="AEABAB"/>
              </a:solidFill>
            </c:spPr>
            <c:extLst>
              <c:ext xmlns:c16="http://schemas.microsoft.com/office/drawing/2014/chart" uri="{C3380CC4-5D6E-409C-BE32-E72D297353CC}">
                <c16:uniqueId val="{0000027D-1744-4914-988D-66EF0C16342B}"/>
              </c:ext>
            </c:extLst>
          </c:dPt>
          <c:dPt>
            <c:idx val="318"/>
            <c:invertIfNegative val="1"/>
            <c:bubble3D val="0"/>
            <c:spPr>
              <a:solidFill>
                <a:srgbClr val="AEABAB"/>
              </a:solidFill>
            </c:spPr>
            <c:extLst>
              <c:ext xmlns:c16="http://schemas.microsoft.com/office/drawing/2014/chart" uri="{C3380CC4-5D6E-409C-BE32-E72D297353CC}">
                <c16:uniqueId val="{0000027F-1744-4914-988D-66EF0C16342B}"/>
              </c:ext>
            </c:extLst>
          </c:dPt>
          <c:dPt>
            <c:idx val="319"/>
            <c:invertIfNegative val="1"/>
            <c:bubble3D val="0"/>
            <c:spPr>
              <a:solidFill>
                <a:srgbClr val="AEABAB"/>
              </a:solidFill>
            </c:spPr>
            <c:extLst>
              <c:ext xmlns:c16="http://schemas.microsoft.com/office/drawing/2014/chart" uri="{C3380CC4-5D6E-409C-BE32-E72D297353CC}">
                <c16:uniqueId val="{00000281-1744-4914-988D-66EF0C16342B}"/>
              </c:ext>
            </c:extLst>
          </c:dPt>
          <c:dPt>
            <c:idx val="320"/>
            <c:invertIfNegative val="1"/>
            <c:bubble3D val="0"/>
            <c:spPr>
              <a:solidFill>
                <a:srgbClr val="AEABAB"/>
              </a:solidFill>
            </c:spPr>
            <c:extLst>
              <c:ext xmlns:c16="http://schemas.microsoft.com/office/drawing/2014/chart" uri="{C3380CC4-5D6E-409C-BE32-E72D297353CC}">
                <c16:uniqueId val="{00000283-1744-4914-988D-66EF0C16342B}"/>
              </c:ext>
            </c:extLst>
          </c:dPt>
          <c:dPt>
            <c:idx val="321"/>
            <c:invertIfNegative val="1"/>
            <c:bubble3D val="0"/>
            <c:spPr>
              <a:solidFill>
                <a:srgbClr val="AEABAB"/>
              </a:solidFill>
            </c:spPr>
            <c:extLst>
              <c:ext xmlns:c16="http://schemas.microsoft.com/office/drawing/2014/chart" uri="{C3380CC4-5D6E-409C-BE32-E72D297353CC}">
                <c16:uniqueId val="{00000285-1744-4914-988D-66EF0C16342B}"/>
              </c:ext>
            </c:extLst>
          </c:dPt>
          <c:dPt>
            <c:idx val="322"/>
            <c:invertIfNegative val="1"/>
            <c:bubble3D val="0"/>
            <c:spPr>
              <a:solidFill>
                <a:srgbClr val="AEABAB"/>
              </a:solidFill>
            </c:spPr>
            <c:extLst>
              <c:ext xmlns:c16="http://schemas.microsoft.com/office/drawing/2014/chart" uri="{C3380CC4-5D6E-409C-BE32-E72D297353CC}">
                <c16:uniqueId val="{00000287-1744-4914-988D-66EF0C16342B}"/>
              </c:ext>
            </c:extLst>
          </c:dPt>
          <c:dPt>
            <c:idx val="323"/>
            <c:invertIfNegative val="1"/>
            <c:bubble3D val="0"/>
            <c:spPr>
              <a:solidFill>
                <a:srgbClr val="AEABAB"/>
              </a:solidFill>
            </c:spPr>
            <c:extLst>
              <c:ext xmlns:c16="http://schemas.microsoft.com/office/drawing/2014/chart" uri="{C3380CC4-5D6E-409C-BE32-E72D297353CC}">
                <c16:uniqueId val="{00000289-1744-4914-988D-66EF0C16342B}"/>
              </c:ext>
            </c:extLst>
          </c:dPt>
          <c:dPt>
            <c:idx val="324"/>
            <c:invertIfNegative val="1"/>
            <c:bubble3D val="0"/>
            <c:spPr>
              <a:solidFill>
                <a:srgbClr val="AEABAB"/>
              </a:solidFill>
            </c:spPr>
            <c:extLst>
              <c:ext xmlns:c16="http://schemas.microsoft.com/office/drawing/2014/chart" uri="{C3380CC4-5D6E-409C-BE32-E72D297353CC}">
                <c16:uniqueId val="{0000028B-1744-4914-988D-66EF0C16342B}"/>
              </c:ext>
            </c:extLst>
          </c:dPt>
          <c:dPt>
            <c:idx val="325"/>
            <c:invertIfNegative val="1"/>
            <c:bubble3D val="0"/>
            <c:spPr>
              <a:solidFill>
                <a:srgbClr val="AEABAB"/>
              </a:solidFill>
            </c:spPr>
            <c:extLst>
              <c:ext xmlns:c16="http://schemas.microsoft.com/office/drawing/2014/chart" uri="{C3380CC4-5D6E-409C-BE32-E72D297353CC}">
                <c16:uniqueId val="{0000028D-1744-4914-988D-66EF0C16342B}"/>
              </c:ext>
            </c:extLst>
          </c:dPt>
          <c:dPt>
            <c:idx val="326"/>
            <c:invertIfNegative val="1"/>
            <c:bubble3D val="0"/>
            <c:spPr>
              <a:solidFill>
                <a:srgbClr val="AEABAB"/>
              </a:solidFill>
            </c:spPr>
            <c:extLst>
              <c:ext xmlns:c16="http://schemas.microsoft.com/office/drawing/2014/chart" uri="{C3380CC4-5D6E-409C-BE32-E72D297353CC}">
                <c16:uniqueId val="{0000028F-1744-4914-988D-66EF0C16342B}"/>
              </c:ext>
            </c:extLst>
          </c:dPt>
          <c:dPt>
            <c:idx val="327"/>
            <c:invertIfNegative val="1"/>
            <c:bubble3D val="0"/>
            <c:spPr>
              <a:solidFill>
                <a:srgbClr val="AEABAB"/>
              </a:solidFill>
            </c:spPr>
            <c:extLst>
              <c:ext xmlns:c16="http://schemas.microsoft.com/office/drawing/2014/chart" uri="{C3380CC4-5D6E-409C-BE32-E72D297353CC}">
                <c16:uniqueId val="{00000291-1744-4914-988D-66EF0C16342B}"/>
              </c:ext>
            </c:extLst>
          </c:dPt>
          <c:dPt>
            <c:idx val="328"/>
            <c:invertIfNegative val="1"/>
            <c:bubble3D val="0"/>
            <c:spPr>
              <a:solidFill>
                <a:srgbClr val="AEABAB"/>
              </a:solidFill>
            </c:spPr>
            <c:extLst>
              <c:ext xmlns:c16="http://schemas.microsoft.com/office/drawing/2014/chart" uri="{C3380CC4-5D6E-409C-BE32-E72D297353CC}">
                <c16:uniqueId val="{00000293-1744-4914-988D-66EF0C16342B}"/>
              </c:ext>
            </c:extLst>
          </c:dPt>
          <c:dPt>
            <c:idx val="329"/>
            <c:invertIfNegative val="1"/>
            <c:bubble3D val="0"/>
            <c:spPr>
              <a:solidFill>
                <a:srgbClr val="AEABAB"/>
              </a:solidFill>
            </c:spPr>
            <c:extLst>
              <c:ext xmlns:c16="http://schemas.microsoft.com/office/drawing/2014/chart" uri="{C3380CC4-5D6E-409C-BE32-E72D297353CC}">
                <c16:uniqueId val="{00000295-1744-4914-988D-66EF0C16342B}"/>
              </c:ext>
            </c:extLst>
          </c:dPt>
          <c:dPt>
            <c:idx val="330"/>
            <c:invertIfNegative val="1"/>
            <c:bubble3D val="0"/>
            <c:spPr>
              <a:solidFill>
                <a:srgbClr val="AEABAB"/>
              </a:solidFill>
            </c:spPr>
            <c:extLst>
              <c:ext xmlns:c16="http://schemas.microsoft.com/office/drawing/2014/chart" uri="{C3380CC4-5D6E-409C-BE32-E72D297353CC}">
                <c16:uniqueId val="{00000297-1744-4914-988D-66EF0C16342B}"/>
              </c:ext>
            </c:extLst>
          </c:dPt>
          <c:dPt>
            <c:idx val="331"/>
            <c:invertIfNegative val="1"/>
            <c:bubble3D val="0"/>
            <c:spPr>
              <a:solidFill>
                <a:srgbClr val="AEABAB"/>
              </a:solidFill>
            </c:spPr>
            <c:extLst>
              <c:ext xmlns:c16="http://schemas.microsoft.com/office/drawing/2014/chart" uri="{C3380CC4-5D6E-409C-BE32-E72D297353CC}">
                <c16:uniqueId val="{00000299-1744-4914-988D-66EF0C16342B}"/>
              </c:ext>
            </c:extLst>
          </c:dPt>
          <c:dPt>
            <c:idx val="332"/>
            <c:invertIfNegative val="1"/>
            <c:bubble3D val="0"/>
            <c:spPr>
              <a:solidFill>
                <a:srgbClr val="AEABAB"/>
              </a:solidFill>
            </c:spPr>
            <c:extLst>
              <c:ext xmlns:c16="http://schemas.microsoft.com/office/drawing/2014/chart" uri="{C3380CC4-5D6E-409C-BE32-E72D297353CC}">
                <c16:uniqueId val="{0000029B-1744-4914-988D-66EF0C16342B}"/>
              </c:ext>
            </c:extLst>
          </c:dPt>
          <c:dPt>
            <c:idx val="333"/>
            <c:invertIfNegative val="1"/>
            <c:bubble3D val="0"/>
            <c:spPr>
              <a:solidFill>
                <a:srgbClr val="AEABAB"/>
              </a:solidFill>
            </c:spPr>
            <c:extLst>
              <c:ext xmlns:c16="http://schemas.microsoft.com/office/drawing/2014/chart" uri="{C3380CC4-5D6E-409C-BE32-E72D297353CC}">
                <c16:uniqueId val="{0000029D-1744-4914-988D-66EF0C16342B}"/>
              </c:ext>
            </c:extLst>
          </c:dPt>
          <c:dPt>
            <c:idx val="334"/>
            <c:invertIfNegative val="1"/>
            <c:bubble3D val="0"/>
            <c:spPr>
              <a:solidFill>
                <a:srgbClr val="AEABAB"/>
              </a:solidFill>
            </c:spPr>
            <c:extLst>
              <c:ext xmlns:c16="http://schemas.microsoft.com/office/drawing/2014/chart" uri="{C3380CC4-5D6E-409C-BE32-E72D297353CC}">
                <c16:uniqueId val="{0000029F-1744-4914-988D-66EF0C16342B}"/>
              </c:ext>
            </c:extLst>
          </c:dPt>
          <c:dPt>
            <c:idx val="335"/>
            <c:invertIfNegative val="1"/>
            <c:bubble3D val="0"/>
            <c:spPr>
              <a:solidFill>
                <a:srgbClr val="AEABAB"/>
              </a:solidFill>
            </c:spPr>
            <c:extLst>
              <c:ext xmlns:c16="http://schemas.microsoft.com/office/drawing/2014/chart" uri="{C3380CC4-5D6E-409C-BE32-E72D297353CC}">
                <c16:uniqueId val="{000002A1-1744-4914-988D-66EF0C16342B}"/>
              </c:ext>
            </c:extLst>
          </c:dPt>
          <c:dPt>
            <c:idx val="336"/>
            <c:invertIfNegative val="1"/>
            <c:bubble3D val="0"/>
            <c:spPr>
              <a:solidFill>
                <a:srgbClr val="AEABAB"/>
              </a:solidFill>
            </c:spPr>
            <c:extLst>
              <c:ext xmlns:c16="http://schemas.microsoft.com/office/drawing/2014/chart" uri="{C3380CC4-5D6E-409C-BE32-E72D297353CC}">
                <c16:uniqueId val="{000002A3-1744-4914-988D-66EF0C16342B}"/>
              </c:ext>
            </c:extLst>
          </c:dPt>
          <c:dPt>
            <c:idx val="337"/>
            <c:invertIfNegative val="1"/>
            <c:bubble3D val="0"/>
            <c:spPr>
              <a:solidFill>
                <a:srgbClr val="AEABAB"/>
              </a:solidFill>
            </c:spPr>
            <c:extLst>
              <c:ext xmlns:c16="http://schemas.microsoft.com/office/drawing/2014/chart" uri="{C3380CC4-5D6E-409C-BE32-E72D297353CC}">
                <c16:uniqueId val="{000002A5-1744-4914-988D-66EF0C16342B}"/>
              </c:ext>
            </c:extLst>
          </c:dPt>
          <c:dPt>
            <c:idx val="338"/>
            <c:invertIfNegative val="1"/>
            <c:bubble3D val="0"/>
            <c:spPr>
              <a:solidFill>
                <a:srgbClr val="AEABAB"/>
              </a:solidFill>
            </c:spPr>
            <c:extLst>
              <c:ext xmlns:c16="http://schemas.microsoft.com/office/drawing/2014/chart" uri="{C3380CC4-5D6E-409C-BE32-E72D297353CC}">
                <c16:uniqueId val="{000002A7-1744-4914-988D-66EF0C16342B}"/>
              </c:ext>
            </c:extLst>
          </c:dPt>
          <c:dPt>
            <c:idx val="339"/>
            <c:invertIfNegative val="1"/>
            <c:bubble3D val="0"/>
            <c:spPr>
              <a:solidFill>
                <a:srgbClr val="AEABAB"/>
              </a:solidFill>
            </c:spPr>
            <c:extLst>
              <c:ext xmlns:c16="http://schemas.microsoft.com/office/drawing/2014/chart" uri="{C3380CC4-5D6E-409C-BE32-E72D297353CC}">
                <c16:uniqueId val="{000002A9-1744-4914-988D-66EF0C16342B}"/>
              </c:ext>
            </c:extLst>
          </c:dPt>
          <c:dPt>
            <c:idx val="340"/>
            <c:invertIfNegative val="1"/>
            <c:bubble3D val="0"/>
            <c:spPr>
              <a:solidFill>
                <a:srgbClr val="AEABAB"/>
              </a:solidFill>
            </c:spPr>
            <c:extLst>
              <c:ext xmlns:c16="http://schemas.microsoft.com/office/drawing/2014/chart" uri="{C3380CC4-5D6E-409C-BE32-E72D297353CC}">
                <c16:uniqueId val="{000002AB-1744-4914-988D-66EF0C16342B}"/>
              </c:ext>
            </c:extLst>
          </c:dPt>
          <c:dPt>
            <c:idx val="341"/>
            <c:invertIfNegative val="1"/>
            <c:bubble3D val="0"/>
            <c:spPr>
              <a:solidFill>
                <a:srgbClr val="AEABAB"/>
              </a:solidFill>
            </c:spPr>
            <c:extLst>
              <c:ext xmlns:c16="http://schemas.microsoft.com/office/drawing/2014/chart" uri="{C3380CC4-5D6E-409C-BE32-E72D297353CC}">
                <c16:uniqueId val="{000002AD-1744-4914-988D-66EF0C16342B}"/>
              </c:ext>
            </c:extLst>
          </c:dPt>
          <c:dPt>
            <c:idx val="342"/>
            <c:invertIfNegative val="1"/>
            <c:bubble3D val="0"/>
            <c:spPr>
              <a:solidFill>
                <a:srgbClr val="AEABAB"/>
              </a:solidFill>
            </c:spPr>
            <c:extLst>
              <c:ext xmlns:c16="http://schemas.microsoft.com/office/drawing/2014/chart" uri="{C3380CC4-5D6E-409C-BE32-E72D297353CC}">
                <c16:uniqueId val="{000002AF-1744-4914-988D-66EF0C16342B}"/>
              </c:ext>
            </c:extLst>
          </c:dPt>
          <c:dPt>
            <c:idx val="343"/>
            <c:invertIfNegative val="1"/>
            <c:bubble3D val="0"/>
            <c:spPr>
              <a:solidFill>
                <a:srgbClr val="AEABAB"/>
              </a:solidFill>
            </c:spPr>
            <c:extLst>
              <c:ext xmlns:c16="http://schemas.microsoft.com/office/drawing/2014/chart" uri="{C3380CC4-5D6E-409C-BE32-E72D297353CC}">
                <c16:uniqueId val="{000002B1-1744-4914-988D-66EF0C16342B}"/>
              </c:ext>
            </c:extLst>
          </c:dPt>
          <c:dPt>
            <c:idx val="344"/>
            <c:invertIfNegative val="1"/>
            <c:bubble3D val="0"/>
            <c:spPr>
              <a:solidFill>
                <a:srgbClr val="AEABAB"/>
              </a:solidFill>
            </c:spPr>
            <c:extLst>
              <c:ext xmlns:c16="http://schemas.microsoft.com/office/drawing/2014/chart" uri="{C3380CC4-5D6E-409C-BE32-E72D297353CC}">
                <c16:uniqueId val="{000002B3-1744-4914-988D-66EF0C16342B}"/>
              </c:ext>
            </c:extLst>
          </c:dPt>
          <c:dPt>
            <c:idx val="345"/>
            <c:invertIfNegative val="1"/>
            <c:bubble3D val="0"/>
            <c:spPr>
              <a:solidFill>
                <a:srgbClr val="AEABAB"/>
              </a:solidFill>
            </c:spPr>
            <c:extLst>
              <c:ext xmlns:c16="http://schemas.microsoft.com/office/drawing/2014/chart" uri="{C3380CC4-5D6E-409C-BE32-E72D297353CC}">
                <c16:uniqueId val="{000002B5-1744-4914-988D-66EF0C16342B}"/>
              </c:ext>
            </c:extLst>
          </c:dPt>
          <c:dPt>
            <c:idx val="346"/>
            <c:invertIfNegative val="1"/>
            <c:bubble3D val="0"/>
            <c:spPr>
              <a:solidFill>
                <a:srgbClr val="AEABAB"/>
              </a:solidFill>
            </c:spPr>
            <c:extLst>
              <c:ext xmlns:c16="http://schemas.microsoft.com/office/drawing/2014/chart" uri="{C3380CC4-5D6E-409C-BE32-E72D297353CC}">
                <c16:uniqueId val="{000002B7-1744-4914-988D-66EF0C16342B}"/>
              </c:ext>
            </c:extLst>
          </c:dPt>
          <c:dPt>
            <c:idx val="347"/>
            <c:invertIfNegative val="1"/>
            <c:bubble3D val="0"/>
            <c:spPr>
              <a:solidFill>
                <a:srgbClr val="AEABAB"/>
              </a:solidFill>
            </c:spPr>
            <c:extLst>
              <c:ext xmlns:c16="http://schemas.microsoft.com/office/drawing/2014/chart" uri="{C3380CC4-5D6E-409C-BE32-E72D297353CC}">
                <c16:uniqueId val="{000002B9-1744-4914-988D-66EF0C16342B}"/>
              </c:ext>
            </c:extLst>
          </c:dPt>
          <c:dPt>
            <c:idx val="348"/>
            <c:invertIfNegative val="1"/>
            <c:bubble3D val="0"/>
            <c:spPr>
              <a:solidFill>
                <a:srgbClr val="AEABAB"/>
              </a:solidFill>
            </c:spPr>
            <c:extLst>
              <c:ext xmlns:c16="http://schemas.microsoft.com/office/drawing/2014/chart" uri="{C3380CC4-5D6E-409C-BE32-E72D297353CC}">
                <c16:uniqueId val="{000002BB-1744-4914-988D-66EF0C16342B}"/>
              </c:ext>
            </c:extLst>
          </c:dPt>
          <c:dPt>
            <c:idx val="349"/>
            <c:invertIfNegative val="1"/>
            <c:bubble3D val="0"/>
            <c:spPr>
              <a:solidFill>
                <a:srgbClr val="AEABAB"/>
              </a:solidFill>
            </c:spPr>
            <c:extLst>
              <c:ext xmlns:c16="http://schemas.microsoft.com/office/drawing/2014/chart" uri="{C3380CC4-5D6E-409C-BE32-E72D297353CC}">
                <c16:uniqueId val="{000002BD-1744-4914-988D-66EF0C16342B}"/>
              </c:ext>
            </c:extLst>
          </c:dPt>
          <c:dPt>
            <c:idx val="350"/>
            <c:invertIfNegative val="1"/>
            <c:bubble3D val="0"/>
            <c:spPr>
              <a:solidFill>
                <a:srgbClr val="AEABAB"/>
              </a:solidFill>
            </c:spPr>
            <c:extLst>
              <c:ext xmlns:c16="http://schemas.microsoft.com/office/drawing/2014/chart" uri="{C3380CC4-5D6E-409C-BE32-E72D297353CC}">
                <c16:uniqueId val="{000002BF-1744-4914-988D-66EF0C16342B}"/>
              </c:ext>
            </c:extLst>
          </c:dPt>
          <c:dPt>
            <c:idx val="351"/>
            <c:invertIfNegative val="1"/>
            <c:bubble3D val="0"/>
            <c:spPr>
              <a:solidFill>
                <a:srgbClr val="AEABAB"/>
              </a:solidFill>
            </c:spPr>
            <c:extLst>
              <c:ext xmlns:c16="http://schemas.microsoft.com/office/drawing/2014/chart" uri="{C3380CC4-5D6E-409C-BE32-E72D297353CC}">
                <c16:uniqueId val="{000002C1-1744-4914-988D-66EF0C16342B}"/>
              </c:ext>
            </c:extLst>
          </c:dPt>
          <c:dPt>
            <c:idx val="352"/>
            <c:invertIfNegative val="1"/>
            <c:bubble3D val="0"/>
            <c:spPr>
              <a:solidFill>
                <a:srgbClr val="AEABAB"/>
              </a:solidFill>
            </c:spPr>
            <c:extLst>
              <c:ext xmlns:c16="http://schemas.microsoft.com/office/drawing/2014/chart" uri="{C3380CC4-5D6E-409C-BE32-E72D297353CC}">
                <c16:uniqueId val="{000002C3-1744-4914-988D-66EF0C16342B}"/>
              </c:ext>
            </c:extLst>
          </c:dPt>
          <c:dPt>
            <c:idx val="353"/>
            <c:invertIfNegative val="1"/>
            <c:bubble3D val="0"/>
            <c:spPr>
              <a:solidFill>
                <a:srgbClr val="AEABAB"/>
              </a:solidFill>
            </c:spPr>
            <c:extLst>
              <c:ext xmlns:c16="http://schemas.microsoft.com/office/drawing/2014/chart" uri="{C3380CC4-5D6E-409C-BE32-E72D297353CC}">
                <c16:uniqueId val="{000002C5-1744-4914-988D-66EF0C16342B}"/>
              </c:ext>
            </c:extLst>
          </c:dPt>
          <c:dPt>
            <c:idx val="354"/>
            <c:invertIfNegative val="1"/>
            <c:bubble3D val="0"/>
            <c:spPr>
              <a:solidFill>
                <a:srgbClr val="AEABAB"/>
              </a:solidFill>
            </c:spPr>
            <c:extLst>
              <c:ext xmlns:c16="http://schemas.microsoft.com/office/drawing/2014/chart" uri="{C3380CC4-5D6E-409C-BE32-E72D297353CC}">
                <c16:uniqueId val="{000002C7-1744-4914-988D-66EF0C16342B}"/>
              </c:ext>
            </c:extLst>
          </c:dPt>
          <c:dPt>
            <c:idx val="355"/>
            <c:invertIfNegative val="1"/>
            <c:bubble3D val="0"/>
            <c:spPr>
              <a:solidFill>
                <a:srgbClr val="AEABAB"/>
              </a:solidFill>
            </c:spPr>
            <c:extLst>
              <c:ext xmlns:c16="http://schemas.microsoft.com/office/drawing/2014/chart" uri="{C3380CC4-5D6E-409C-BE32-E72D297353CC}">
                <c16:uniqueId val="{000002C9-1744-4914-988D-66EF0C16342B}"/>
              </c:ext>
            </c:extLst>
          </c:dPt>
          <c:dPt>
            <c:idx val="356"/>
            <c:invertIfNegative val="1"/>
            <c:bubble3D val="0"/>
            <c:spPr>
              <a:solidFill>
                <a:srgbClr val="AEABAB"/>
              </a:solidFill>
            </c:spPr>
            <c:extLst>
              <c:ext xmlns:c16="http://schemas.microsoft.com/office/drawing/2014/chart" uri="{C3380CC4-5D6E-409C-BE32-E72D297353CC}">
                <c16:uniqueId val="{000002CB-1744-4914-988D-66EF0C16342B}"/>
              </c:ext>
            </c:extLst>
          </c:dPt>
          <c:dPt>
            <c:idx val="357"/>
            <c:invertIfNegative val="1"/>
            <c:bubble3D val="0"/>
            <c:spPr>
              <a:solidFill>
                <a:srgbClr val="AEABAB"/>
              </a:solidFill>
            </c:spPr>
            <c:extLst>
              <c:ext xmlns:c16="http://schemas.microsoft.com/office/drawing/2014/chart" uri="{C3380CC4-5D6E-409C-BE32-E72D297353CC}">
                <c16:uniqueId val="{000002CD-1744-4914-988D-66EF0C16342B}"/>
              </c:ext>
            </c:extLst>
          </c:dPt>
          <c:dPt>
            <c:idx val="358"/>
            <c:invertIfNegative val="1"/>
            <c:bubble3D val="0"/>
            <c:spPr>
              <a:solidFill>
                <a:srgbClr val="AEABAB"/>
              </a:solidFill>
            </c:spPr>
            <c:extLst>
              <c:ext xmlns:c16="http://schemas.microsoft.com/office/drawing/2014/chart" uri="{C3380CC4-5D6E-409C-BE32-E72D297353CC}">
                <c16:uniqueId val="{000002CF-1744-4914-988D-66EF0C16342B}"/>
              </c:ext>
            </c:extLst>
          </c:dPt>
          <c:dPt>
            <c:idx val="359"/>
            <c:invertIfNegative val="1"/>
            <c:bubble3D val="0"/>
            <c:spPr>
              <a:solidFill>
                <a:srgbClr val="AEABAB"/>
              </a:solidFill>
            </c:spPr>
            <c:extLst>
              <c:ext xmlns:c16="http://schemas.microsoft.com/office/drawing/2014/chart" uri="{C3380CC4-5D6E-409C-BE32-E72D297353CC}">
                <c16:uniqueId val="{000002D1-1744-4914-988D-66EF0C16342B}"/>
              </c:ext>
            </c:extLst>
          </c:dPt>
          <c:dPt>
            <c:idx val="360"/>
            <c:invertIfNegative val="1"/>
            <c:bubble3D val="0"/>
            <c:spPr>
              <a:solidFill>
                <a:srgbClr val="AEABAB"/>
              </a:solidFill>
            </c:spPr>
            <c:extLst>
              <c:ext xmlns:c16="http://schemas.microsoft.com/office/drawing/2014/chart" uri="{C3380CC4-5D6E-409C-BE32-E72D297353CC}">
                <c16:uniqueId val="{000002D3-1744-4914-988D-66EF0C16342B}"/>
              </c:ext>
            </c:extLst>
          </c:dPt>
          <c:dPt>
            <c:idx val="361"/>
            <c:invertIfNegative val="1"/>
            <c:bubble3D val="0"/>
            <c:spPr>
              <a:solidFill>
                <a:srgbClr val="AEABAB"/>
              </a:solidFill>
            </c:spPr>
            <c:extLst>
              <c:ext xmlns:c16="http://schemas.microsoft.com/office/drawing/2014/chart" uri="{C3380CC4-5D6E-409C-BE32-E72D297353CC}">
                <c16:uniqueId val="{000002D5-1744-4914-988D-66EF0C16342B}"/>
              </c:ext>
            </c:extLst>
          </c:dPt>
          <c:dPt>
            <c:idx val="362"/>
            <c:invertIfNegative val="1"/>
            <c:bubble3D val="0"/>
            <c:spPr>
              <a:solidFill>
                <a:srgbClr val="AEABAB"/>
              </a:solidFill>
            </c:spPr>
            <c:extLst>
              <c:ext xmlns:c16="http://schemas.microsoft.com/office/drawing/2014/chart" uri="{C3380CC4-5D6E-409C-BE32-E72D297353CC}">
                <c16:uniqueId val="{000002D7-1744-4914-988D-66EF0C16342B}"/>
              </c:ext>
            </c:extLst>
          </c:dPt>
          <c:dPt>
            <c:idx val="363"/>
            <c:invertIfNegative val="1"/>
            <c:bubble3D val="0"/>
            <c:spPr>
              <a:solidFill>
                <a:srgbClr val="AEABAB"/>
              </a:solidFill>
            </c:spPr>
            <c:extLst>
              <c:ext xmlns:c16="http://schemas.microsoft.com/office/drawing/2014/chart" uri="{C3380CC4-5D6E-409C-BE32-E72D297353CC}">
                <c16:uniqueId val="{000002D9-1744-4914-988D-66EF0C16342B}"/>
              </c:ext>
            </c:extLst>
          </c:dPt>
          <c:dPt>
            <c:idx val="364"/>
            <c:invertIfNegative val="1"/>
            <c:bubble3D val="0"/>
            <c:spPr>
              <a:solidFill>
                <a:srgbClr val="AEABAB"/>
              </a:solidFill>
            </c:spPr>
            <c:extLst>
              <c:ext xmlns:c16="http://schemas.microsoft.com/office/drawing/2014/chart" uri="{C3380CC4-5D6E-409C-BE32-E72D297353CC}">
                <c16:uniqueId val="{000002DB-1744-4914-988D-66EF0C16342B}"/>
              </c:ext>
            </c:extLst>
          </c:dPt>
          <c:dPt>
            <c:idx val="365"/>
            <c:invertIfNegative val="1"/>
            <c:bubble3D val="0"/>
            <c:spPr>
              <a:solidFill>
                <a:srgbClr val="AEABAB"/>
              </a:solidFill>
            </c:spPr>
            <c:extLst>
              <c:ext xmlns:c16="http://schemas.microsoft.com/office/drawing/2014/chart" uri="{C3380CC4-5D6E-409C-BE32-E72D297353CC}">
                <c16:uniqueId val="{000002DD-1744-4914-988D-66EF0C16342B}"/>
              </c:ext>
            </c:extLst>
          </c:dPt>
          <c:dPt>
            <c:idx val="366"/>
            <c:invertIfNegative val="1"/>
            <c:bubble3D val="0"/>
            <c:spPr>
              <a:solidFill>
                <a:srgbClr val="AEABAB"/>
              </a:solidFill>
            </c:spPr>
            <c:extLst>
              <c:ext xmlns:c16="http://schemas.microsoft.com/office/drawing/2014/chart" uri="{C3380CC4-5D6E-409C-BE32-E72D297353CC}">
                <c16:uniqueId val="{000002DF-1744-4914-988D-66EF0C16342B}"/>
              </c:ext>
            </c:extLst>
          </c:dPt>
          <c:dPt>
            <c:idx val="367"/>
            <c:invertIfNegative val="1"/>
            <c:bubble3D val="0"/>
            <c:spPr>
              <a:solidFill>
                <a:srgbClr val="AEABAB"/>
              </a:solidFill>
            </c:spPr>
            <c:extLst>
              <c:ext xmlns:c16="http://schemas.microsoft.com/office/drawing/2014/chart" uri="{C3380CC4-5D6E-409C-BE32-E72D297353CC}">
                <c16:uniqueId val="{000002E1-1744-4914-988D-66EF0C16342B}"/>
              </c:ext>
            </c:extLst>
          </c:dPt>
          <c:dPt>
            <c:idx val="368"/>
            <c:invertIfNegative val="1"/>
            <c:bubble3D val="0"/>
            <c:spPr>
              <a:solidFill>
                <a:srgbClr val="AEABAB"/>
              </a:solidFill>
            </c:spPr>
            <c:extLst>
              <c:ext xmlns:c16="http://schemas.microsoft.com/office/drawing/2014/chart" uri="{C3380CC4-5D6E-409C-BE32-E72D297353CC}">
                <c16:uniqueId val="{000002E3-1744-4914-988D-66EF0C16342B}"/>
              </c:ext>
            </c:extLst>
          </c:dPt>
          <c:dPt>
            <c:idx val="369"/>
            <c:invertIfNegative val="1"/>
            <c:bubble3D val="0"/>
            <c:spPr>
              <a:solidFill>
                <a:srgbClr val="AEABAB"/>
              </a:solidFill>
            </c:spPr>
            <c:extLst>
              <c:ext xmlns:c16="http://schemas.microsoft.com/office/drawing/2014/chart" uri="{C3380CC4-5D6E-409C-BE32-E72D297353CC}">
                <c16:uniqueId val="{000002E5-1744-4914-988D-66EF0C16342B}"/>
              </c:ext>
            </c:extLst>
          </c:dPt>
          <c:dPt>
            <c:idx val="370"/>
            <c:invertIfNegative val="1"/>
            <c:bubble3D val="0"/>
            <c:spPr>
              <a:solidFill>
                <a:srgbClr val="AEABAB"/>
              </a:solidFill>
            </c:spPr>
            <c:extLst>
              <c:ext xmlns:c16="http://schemas.microsoft.com/office/drawing/2014/chart" uri="{C3380CC4-5D6E-409C-BE32-E72D297353CC}">
                <c16:uniqueId val="{000002E7-1744-4914-988D-66EF0C16342B}"/>
              </c:ext>
            </c:extLst>
          </c:dPt>
          <c:dPt>
            <c:idx val="371"/>
            <c:invertIfNegative val="1"/>
            <c:bubble3D val="0"/>
            <c:spPr>
              <a:solidFill>
                <a:srgbClr val="AEABAB"/>
              </a:solidFill>
            </c:spPr>
            <c:extLst>
              <c:ext xmlns:c16="http://schemas.microsoft.com/office/drawing/2014/chart" uri="{C3380CC4-5D6E-409C-BE32-E72D297353CC}">
                <c16:uniqueId val="{000002E9-1744-4914-988D-66EF0C16342B}"/>
              </c:ext>
            </c:extLst>
          </c:dPt>
          <c:dPt>
            <c:idx val="372"/>
            <c:invertIfNegative val="1"/>
            <c:bubble3D val="0"/>
            <c:spPr>
              <a:solidFill>
                <a:srgbClr val="AEABAB"/>
              </a:solidFill>
            </c:spPr>
            <c:extLst>
              <c:ext xmlns:c16="http://schemas.microsoft.com/office/drawing/2014/chart" uri="{C3380CC4-5D6E-409C-BE32-E72D297353CC}">
                <c16:uniqueId val="{000002EB-1744-4914-988D-66EF0C16342B}"/>
              </c:ext>
            </c:extLst>
          </c:dPt>
          <c:dPt>
            <c:idx val="373"/>
            <c:invertIfNegative val="1"/>
            <c:bubble3D val="0"/>
            <c:spPr>
              <a:solidFill>
                <a:srgbClr val="AEABAB"/>
              </a:solidFill>
            </c:spPr>
            <c:extLst>
              <c:ext xmlns:c16="http://schemas.microsoft.com/office/drawing/2014/chart" uri="{C3380CC4-5D6E-409C-BE32-E72D297353CC}">
                <c16:uniqueId val="{000002ED-1744-4914-988D-66EF0C16342B}"/>
              </c:ext>
            </c:extLst>
          </c:dPt>
          <c:dPt>
            <c:idx val="374"/>
            <c:invertIfNegative val="1"/>
            <c:bubble3D val="0"/>
            <c:spPr>
              <a:solidFill>
                <a:srgbClr val="AEABAB"/>
              </a:solidFill>
            </c:spPr>
            <c:extLst>
              <c:ext xmlns:c16="http://schemas.microsoft.com/office/drawing/2014/chart" uri="{C3380CC4-5D6E-409C-BE32-E72D297353CC}">
                <c16:uniqueId val="{000002EF-1744-4914-988D-66EF0C16342B}"/>
              </c:ext>
            </c:extLst>
          </c:dPt>
          <c:dPt>
            <c:idx val="375"/>
            <c:invertIfNegative val="1"/>
            <c:bubble3D val="0"/>
            <c:spPr>
              <a:solidFill>
                <a:srgbClr val="AEABAB"/>
              </a:solidFill>
            </c:spPr>
            <c:extLst>
              <c:ext xmlns:c16="http://schemas.microsoft.com/office/drawing/2014/chart" uri="{C3380CC4-5D6E-409C-BE32-E72D297353CC}">
                <c16:uniqueId val="{000002F1-1744-4914-988D-66EF0C16342B}"/>
              </c:ext>
            </c:extLst>
          </c:dPt>
          <c:dPt>
            <c:idx val="376"/>
            <c:invertIfNegative val="1"/>
            <c:bubble3D val="0"/>
            <c:spPr>
              <a:solidFill>
                <a:srgbClr val="AEABAB"/>
              </a:solidFill>
            </c:spPr>
            <c:extLst>
              <c:ext xmlns:c16="http://schemas.microsoft.com/office/drawing/2014/chart" uri="{C3380CC4-5D6E-409C-BE32-E72D297353CC}">
                <c16:uniqueId val="{000002F3-1744-4914-988D-66EF0C16342B}"/>
              </c:ext>
            </c:extLst>
          </c:dPt>
          <c:dPt>
            <c:idx val="377"/>
            <c:invertIfNegative val="1"/>
            <c:bubble3D val="0"/>
            <c:spPr>
              <a:solidFill>
                <a:srgbClr val="AEABAB"/>
              </a:solidFill>
            </c:spPr>
            <c:extLst>
              <c:ext xmlns:c16="http://schemas.microsoft.com/office/drawing/2014/chart" uri="{C3380CC4-5D6E-409C-BE32-E72D297353CC}">
                <c16:uniqueId val="{000002F5-1744-4914-988D-66EF0C16342B}"/>
              </c:ext>
            </c:extLst>
          </c:dPt>
          <c:dPt>
            <c:idx val="378"/>
            <c:invertIfNegative val="1"/>
            <c:bubble3D val="0"/>
            <c:spPr>
              <a:solidFill>
                <a:srgbClr val="AEABAB"/>
              </a:solidFill>
            </c:spPr>
            <c:extLst>
              <c:ext xmlns:c16="http://schemas.microsoft.com/office/drawing/2014/chart" uri="{C3380CC4-5D6E-409C-BE32-E72D297353CC}">
                <c16:uniqueId val="{000002F7-1744-4914-988D-66EF0C16342B}"/>
              </c:ext>
            </c:extLst>
          </c:dPt>
          <c:dPt>
            <c:idx val="379"/>
            <c:invertIfNegative val="1"/>
            <c:bubble3D val="0"/>
            <c:spPr>
              <a:solidFill>
                <a:srgbClr val="AEABAB"/>
              </a:solidFill>
            </c:spPr>
            <c:extLst>
              <c:ext xmlns:c16="http://schemas.microsoft.com/office/drawing/2014/chart" uri="{C3380CC4-5D6E-409C-BE32-E72D297353CC}">
                <c16:uniqueId val="{000002F9-1744-4914-988D-66EF0C16342B}"/>
              </c:ext>
            </c:extLst>
          </c:dPt>
          <c:dPt>
            <c:idx val="380"/>
            <c:invertIfNegative val="1"/>
            <c:bubble3D val="0"/>
            <c:spPr>
              <a:solidFill>
                <a:srgbClr val="AEABAB"/>
              </a:solidFill>
            </c:spPr>
            <c:extLst>
              <c:ext xmlns:c16="http://schemas.microsoft.com/office/drawing/2014/chart" uri="{C3380CC4-5D6E-409C-BE32-E72D297353CC}">
                <c16:uniqueId val="{000002FB-1744-4914-988D-66EF0C16342B}"/>
              </c:ext>
            </c:extLst>
          </c:dPt>
          <c:dPt>
            <c:idx val="381"/>
            <c:invertIfNegative val="1"/>
            <c:bubble3D val="0"/>
            <c:spPr>
              <a:solidFill>
                <a:srgbClr val="AEABAB"/>
              </a:solidFill>
            </c:spPr>
            <c:extLst>
              <c:ext xmlns:c16="http://schemas.microsoft.com/office/drawing/2014/chart" uri="{C3380CC4-5D6E-409C-BE32-E72D297353CC}">
                <c16:uniqueId val="{000002FD-1744-4914-988D-66EF0C16342B}"/>
              </c:ext>
            </c:extLst>
          </c:dPt>
          <c:dPt>
            <c:idx val="382"/>
            <c:invertIfNegative val="1"/>
            <c:bubble3D val="0"/>
            <c:spPr>
              <a:solidFill>
                <a:srgbClr val="AEABAB"/>
              </a:solidFill>
            </c:spPr>
            <c:extLst>
              <c:ext xmlns:c16="http://schemas.microsoft.com/office/drawing/2014/chart" uri="{C3380CC4-5D6E-409C-BE32-E72D297353CC}">
                <c16:uniqueId val="{000002FF-1744-4914-988D-66EF0C16342B}"/>
              </c:ext>
            </c:extLst>
          </c:dPt>
          <c:dPt>
            <c:idx val="383"/>
            <c:invertIfNegative val="1"/>
            <c:bubble3D val="0"/>
            <c:spPr>
              <a:solidFill>
                <a:srgbClr val="AEABAB"/>
              </a:solidFill>
            </c:spPr>
            <c:extLst>
              <c:ext xmlns:c16="http://schemas.microsoft.com/office/drawing/2014/chart" uri="{C3380CC4-5D6E-409C-BE32-E72D297353CC}">
                <c16:uniqueId val="{00000301-1744-4914-988D-66EF0C16342B}"/>
              </c:ext>
            </c:extLst>
          </c:dPt>
          <c:dPt>
            <c:idx val="384"/>
            <c:invertIfNegative val="1"/>
            <c:bubble3D val="0"/>
            <c:spPr>
              <a:solidFill>
                <a:srgbClr val="AEABAB"/>
              </a:solidFill>
            </c:spPr>
            <c:extLst>
              <c:ext xmlns:c16="http://schemas.microsoft.com/office/drawing/2014/chart" uri="{C3380CC4-5D6E-409C-BE32-E72D297353CC}">
                <c16:uniqueId val="{00000303-1744-4914-988D-66EF0C16342B}"/>
              </c:ext>
            </c:extLst>
          </c:dPt>
          <c:dPt>
            <c:idx val="385"/>
            <c:invertIfNegative val="1"/>
            <c:bubble3D val="0"/>
            <c:spPr>
              <a:solidFill>
                <a:srgbClr val="AEABAB"/>
              </a:solidFill>
            </c:spPr>
            <c:extLst>
              <c:ext xmlns:c16="http://schemas.microsoft.com/office/drawing/2014/chart" uri="{C3380CC4-5D6E-409C-BE32-E72D297353CC}">
                <c16:uniqueId val="{00000305-1744-4914-988D-66EF0C16342B}"/>
              </c:ext>
            </c:extLst>
          </c:dPt>
          <c:dPt>
            <c:idx val="386"/>
            <c:invertIfNegative val="1"/>
            <c:bubble3D val="0"/>
            <c:spPr>
              <a:solidFill>
                <a:srgbClr val="AEABAB"/>
              </a:solidFill>
            </c:spPr>
            <c:extLst>
              <c:ext xmlns:c16="http://schemas.microsoft.com/office/drawing/2014/chart" uri="{C3380CC4-5D6E-409C-BE32-E72D297353CC}">
                <c16:uniqueId val="{00000307-1744-4914-988D-66EF0C16342B}"/>
              </c:ext>
            </c:extLst>
          </c:dPt>
          <c:dPt>
            <c:idx val="387"/>
            <c:invertIfNegative val="1"/>
            <c:bubble3D val="0"/>
            <c:spPr>
              <a:solidFill>
                <a:srgbClr val="AEABAB"/>
              </a:solidFill>
            </c:spPr>
            <c:extLst>
              <c:ext xmlns:c16="http://schemas.microsoft.com/office/drawing/2014/chart" uri="{C3380CC4-5D6E-409C-BE32-E72D297353CC}">
                <c16:uniqueId val="{00000309-1744-4914-988D-66EF0C16342B}"/>
              </c:ext>
            </c:extLst>
          </c:dPt>
          <c:dPt>
            <c:idx val="388"/>
            <c:invertIfNegative val="1"/>
            <c:bubble3D val="0"/>
            <c:spPr>
              <a:solidFill>
                <a:srgbClr val="AEABAB"/>
              </a:solidFill>
            </c:spPr>
            <c:extLst>
              <c:ext xmlns:c16="http://schemas.microsoft.com/office/drawing/2014/chart" uri="{C3380CC4-5D6E-409C-BE32-E72D297353CC}">
                <c16:uniqueId val="{0000030B-1744-4914-988D-66EF0C16342B}"/>
              </c:ext>
            </c:extLst>
          </c:dPt>
          <c:dPt>
            <c:idx val="389"/>
            <c:invertIfNegative val="1"/>
            <c:bubble3D val="0"/>
            <c:spPr>
              <a:solidFill>
                <a:srgbClr val="AEABAB"/>
              </a:solidFill>
            </c:spPr>
            <c:extLst>
              <c:ext xmlns:c16="http://schemas.microsoft.com/office/drawing/2014/chart" uri="{C3380CC4-5D6E-409C-BE32-E72D297353CC}">
                <c16:uniqueId val="{0000030D-1744-4914-988D-66EF0C16342B}"/>
              </c:ext>
            </c:extLst>
          </c:dPt>
          <c:dPt>
            <c:idx val="390"/>
            <c:invertIfNegative val="1"/>
            <c:bubble3D val="0"/>
            <c:spPr>
              <a:solidFill>
                <a:srgbClr val="AEABAB"/>
              </a:solidFill>
            </c:spPr>
            <c:extLst>
              <c:ext xmlns:c16="http://schemas.microsoft.com/office/drawing/2014/chart" uri="{C3380CC4-5D6E-409C-BE32-E72D297353CC}">
                <c16:uniqueId val="{0000030F-1744-4914-988D-66EF0C16342B}"/>
              </c:ext>
            </c:extLst>
          </c:dPt>
          <c:dPt>
            <c:idx val="391"/>
            <c:invertIfNegative val="1"/>
            <c:bubble3D val="0"/>
            <c:spPr>
              <a:solidFill>
                <a:srgbClr val="AEABAB"/>
              </a:solidFill>
            </c:spPr>
            <c:extLst>
              <c:ext xmlns:c16="http://schemas.microsoft.com/office/drawing/2014/chart" uri="{C3380CC4-5D6E-409C-BE32-E72D297353CC}">
                <c16:uniqueId val="{00000311-1744-4914-988D-66EF0C16342B}"/>
              </c:ext>
            </c:extLst>
          </c:dPt>
          <c:dPt>
            <c:idx val="392"/>
            <c:invertIfNegative val="1"/>
            <c:bubble3D val="0"/>
            <c:spPr>
              <a:solidFill>
                <a:srgbClr val="AEABAB"/>
              </a:solidFill>
            </c:spPr>
            <c:extLst>
              <c:ext xmlns:c16="http://schemas.microsoft.com/office/drawing/2014/chart" uri="{C3380CC4-5D6E-409C-BE32-E72D297353CC}">
                <c16:uniqueId val="{00000313-1744-4914-988D-66EF0C16342B}"/>
              </c:ext>
            </c:extLst>
          </c:dPt>
          <c:dPt>
            <c:idx val="393"/>
            <c:invertIfNegative val="1"/>
            <c:bubble3D val="0"/>
            <c:spPr>
              <a:solidFill>
                <a:srgbClr val="AEABAB"/>
              </a:solidFill>
            </c:spPr>
            <c:extLst>
              <c:ext xmlns:c16="http://schemas.microsoft.com/office/drawing/2014/chart" uri="{C3380CC4-5D6E-409C-BE32-E72D297353CC}">
                <c16:uniqueId val="{00000315-1744-4914-988D-66EF0C16342B}"/>
              </c:ext>
            </c:extLst>
          </c:dPt>
          <c:dPt>
            <c:idx val="394"/>
            <c:invertIfNegative val="1"/>
            <c:bubble3D val="0"/>
            <c:spPr>
              <a:solidFill>
                <a:srgbClr val="AEABAB"/>
              </a:solidFill>
            </c:spPr>
            <c:extLst>
              <c:ext xmlns:c16="http://schemas.microsoft.com/office/drawing/2014/chart" uri="{C3380CC4-5D6E-409C-BE32-E72D297353CC}">
                <c16:uniqueId val="{00000317-1744-4914-988D-66EF0C16342B}"/>
              </c:ext>
            </c:extLst>
          </c:dPt>
          <c:dPt>
            <c:idx val="395"/>
            <c:invertIfNegative val="1"/>
            <c:bubble3D val="0"/>
            <c:spPr>
              <a:solidFill>
                <a:srgbClr val="AEABAB"/>
              </a:solidFill>
            </c:spPr>
            <c:extLst>
              <c:ext xmlns:c16="http://schemas.microsoft.com/office/drawing/2014/chart" uri="{C3380CC4-5D6E-409C-BE32-E72D297353CC}">
                <c16:uniqueId val="{00000319-1744-4914-988D-66EF0C16342B}"/>
              </c:ext>
            </c:extLst>
          </c:dPt>
          <c:dPt>
            <c:idx val="396"/>
            <c:invertIfNegative val="1"/>
            <c:bubble3D val="0"/>
            <c:spPr>
              <a:solidFill>
                <a:srgbClr val="AEABAB"/>
              </a:solidFill>
            </c:spPr>
            <c:extLst>
              <c:ext xmlns:c16="http://schemas.microsoft.com/office/drawing/2014/chart" uri="{C3380CC4-5D6E-409C-BE32-E72D297353CC}">
                <c16:uniqueId val="{0000031B-1744-4914-988D-66EF0C16342B}"/>
              </c:ext>
            </c:extLst>
          </c:dPt>
          <c:dPt>
            <c:idx val="397"/>
            <c:invertIfNegative val="1"/>
            <c:bubble3D val="0"/>
            <c:spPr>
              <a:solidFill>
                <a:srgbClr val="AEABAB"/>
              </a:solidFill>
            </c:spPr>
            <c:extLst>
              <c:ext xmlns:c16="http://schemas.microsoft.com/office/drawing/2014/chart" uri="{C3380CC4-5D6E-409C-BE32-E72D297353CC}">
                <c16:uniqueId val="{0000031D-1744-4914-988D-66EF0C16342B}"/>
              </c:ext>
            </c:extLst>
          </c:dPt>
          <c:dPt>
            <c:idx val="398"/>
            <c:invertIfNegative val="1"/>
            <c:bubble3D val="0"/>
            <c:spPr>
              <a:solidFill>
                <a:srgbClr val="AEABAB"/>
              </a:solidFill>
            </c:spPr>
            <c:extLst>
              <c:ext xmlns:c16="http://schemas.microsoft.com/office/drawing/2014/chart" uri="{C3380CC4-5D6E-409C-BE32-E72D297353CC}">
                <c16:uniqueId val="{0000031F-1744-4914-988D-66EF0C16342B}"/>
              </c:ext>
            </c:extLst>
          </c:dPt>
          <c:dPt>
            <c:idx val="399"/>
            <c:invertIfNegative val="1"/>
            <c:bubble3D val="0"/>
            <c:spPr>
              <a:solidFill>
                <a:srgbClr val="AEABAB"/>
              </a:solidFill>
            </c:spPr>
            <c:extLst>
              <c:ext xmlns:c16="http://schemas.microsoft.com/office/drawing/2014/chart" uri="{C3380CC4-5D6E-409C-BE32-E72D297353CC}">
                <c16:uniqueId val="{00000321-1744-4914-988D-66EF0C16342B}"/>
              </c:ext>
            </c:extLst>
          </c:dPt>
          <c:dPt>
            <c:idx val="400"/>
            <c:invertIfNegative val="1"/>
            <c:bubble3D val="0"/>
            <c:spPr>
              <a:solidFill>
                <a:srgbClr val="AEABAB"/>
              </a:solidFill>
            </c:spPr>
            <c:extLst>
              <c:ext xmlns:c16="http://schemas.microsoft.com/office/drawing/2014/chart" uri="{C3380CC4-5D6E-409C-BE32-E72D297353CC}">
                <c16:uniqueId val="{00000323-1744-4914-988D-66EF0C16342B}"/>
              </c:ext>
            </c:extLst>
          </c:dPt>
          <c:dPt>
            <c:idx val="401"/>
            <c:invertIfNegative val="1"/>
            <c:bubble3D val="0"/>
            <c:spPr>
              <a:solidFill>
                <a:srgbClr val="AEABAB"/>
              </a:solidFill>
            </c:spPr>
            <c:extLst>
              <c:ext xmlns:c16="http://schemas.microsoft.com/office/drawing/2014/chart" uri="{C3380CC4-5D6E-409C-BE32-E72D297353CC}">
                <c16:uniqueId val="{00000325-1744-4914-988D-66EF0C16342B}"/>
              </c:ext>
            </c:extLst>
          </c:dPt>
          <c:dPt>
            <c:idx val="402"/>
            <c:invertIfNegative val="1"/>
            <c:bubble3D val="0"/>
            <c:spPr>
              <a:solidFill>
                <a:srgbClr val="AEABAB"/>
              </a:solidFill>
            </c:spPr>
            <c:extLst>
              <c:ext xmlns:c16="http://schemas.microsoft.com/office/drawing/2014/chart" uri="{C3380CC4-5D6E-409C-BE32-E72D297353CC}">
                <c16:uniqueId val="{00000327-1744-4914-988D-66EF0C16342B}"/>
              </c:ext>
            </c:extLst>
          </c:dPt>
          <c:dPt>
            <c:idx val="403"/>
            <c:invertIfNegative val="1"/>
            <c:bubble3D val="0"/>
            <c:spPr>
              <a:solidFill>
                <a:srgbClr val="AEABAB"/>
              </a:solidFill>
            </c:spPr>
            <c:extLst>
              <c:ext xmlns:c16="http://schemas.microsoft.com/office/drawing/2014/chart" uri="{C3380CC4-5D6E-409C-BE32-E72D297353CC}">
                <c16:uniqueId val="{00000329-1744-4914-988D-66EF0C16342B}"/>
              </c:ext>
            </c:extLst>
          </c:dPt>
          <c:dPt>
            <c:idx val="404"/>
            <c:invertIfNegative val="1"/>
            <c:bubble3D val="0"/>
            <c:spPr>
              <a:solidFill>
                <a:srgbClr val="AEABAB"/>
              </a:solidFill>
            </c:spPr>
            <c:extLst>
              <c:ext xmlns:c16="http://schemas.microsoft.com/office/drawing/2014/chart" uri="{C3380CC4-5D6E-409C-BE32-E72D297353CC}">
                <c16:uniqueId val="{0000032B-1744-4914-988D-66EF0C16342B}"/>
              </c:ext>
            </c:extLst>
          </c:dPt>
          <c:dPt>
            <c:idx val="405"/>
            <c:invertIfNegative val="1"/>
            <c:bubble3D val="0"/>
            <c:spPr>
              <a:solidFill>
                <a:srgbClr val="AEABAB"/>
              </a:solidFill>
            </c:spPr>
            <c:extLst>
              <c:ext xmlns:c16="http://schemas.microsoft.com/office/drawing/2014/chart" uri="{C3380CC4-5D6E-409C-BE32-E72D297353CC}">
                <c16:uniqueId val="{0000032D-1744-4914-988D-66EF0C16342B}"/>
              </c:ext>
            </c:extLst>
          </c:dPt>
          <c:dPt>
            <c:idx val="406"/>
            <c:invertIfNegative val="1"/>
            <c:bubble3D val="0"/>
            <c:spPr>
              <a:solidFill>
                <a:srgbClr val="AEABAB"/>
              </a:solidFill>
            </c:spPr>
            <c:extLst>
              <c:ext xmlns:c16="http://schemas.microsoft.com/office/drawing/2014/chart" uri="{C3380CC4-5D6E-409C-BE32-E72D297353CC}">
                <c16:uniqueId val="{0000032F-1744-4914-988D-66EF0C16342B}"/>
              </c:ext>
            </c:extLst>
          </c:dPt>
          <c:dPt>
            <c:idx val="407"/>
            <c:invertIfNegative val="1"/>
            <c:bubble3D val="0"/>
            <c:spPr>
              <a:solidFill>
                <a:srgbClr val="AEABAB"/>
              </a:solidFill>
            </c:spPr>
            <c:extLst>
              <c:ext xmlns:c16="http://schemas.microsoft.com/office/drawing/2014/chart" uri="{C3380CC4-5D6E-409C-BE32-E72D297353CC}">
                <c16:uniqueId val="{00000331-1744-4914-988D-66EF0C16342B}"/>
              </c:ext>
            </c:extLst>
          </c:dPt>
          <c:dPt>
            <c:idx val="408"/>
            <c:invertIfNegative val="1"/>
            <c:bubble3D val="0"/>
            <c:spPr>
              <a:solidFill>
                <a:srgbClr val="AEABAB"/>
              </a:solidFill>
            </c:spPr>
            <c:extLst>
              <c:ext xmlns:c16="http://schemas.microsoft.com/office/drawing/2014/chart" uri="{C3380CC4-5D6E-409C-BE32-E72D297353CC}">
                <c16:uniqueId val="{00000333-1744-4914-988D-66EF0C16342B}"/>
              </c:ext>
            </c:extLst>
          </c:dPt>
          <c:dPt>
            <c:idx val="409"/>
            <c:invertIfNegative val="1"/>
            <c:bubble3D val="0"/>
            <c:spPr>
              <a:solidFill>
                <a:srgbClr val="AEABAB"/>
              </a:solidFill>
            </c:spPr>
            <c:extLst>
              <c:ext xmlns:c16="http://schemas.microsoft.com/office/drawing/2014/chart" uri="{C3380CC4-5D6E-409C-BE32-E72D297353CC}">
                <c16:uniqueId val="{00000335-1744-4914-988D-66EF0C16342B}"/>
              </c:ext>
            </c:extLst>
          </c:dPt>
          <c:dPt>
            <c:idx val="410"/>
            <c:invertIfNegative val="1"/>
            <c:bubble3D val="0"/>
            <c:spPr>
              <a:solidFill>
                <a:srgbClr val="AEABAB"/>
              </a:solidFill>
            </c:spPr>
            <c:extLst>
              <c:ext xmlns:c16="http://schemas.microsoft.com/office/drawing/2014/chart" uri="{C3380CC4-5D6E-409C-BE32-E72D297353CC}">
                <c16:uniqueId val="{00000337-1744-4914-988D-66EF0C16342B}"/>
              </c:ext>
            </c:extLst>
          </c:dPt>
          <c:dPt>
            <c:idx val="411"/>
            <c:invertIfNegative val="1"/>
            <c:bubble3D val="0"/>
            <c:spPr>
              <a:solidFill>
                <a:srgbClr val="AEABAB"/>
              </a:solidFill>
            </c:spPr>
            <c:extLst>
              <c:ext xmlns:c16="http://schemas.microsoft.com/office/drawing/2014/chart" uri="{C3380CC4-5D6E-409C-BE32-E72D297353CC}">
                <c16:uniqueId val="{00000339-1744-4914-988D-66EF0C16342B}"/>
              </c:ext>
            </c:extLst>
          </c:dPt>
          <c:dPt>
            <c:idx val="412"/>
            <c:invertIfNegative val="1"/>
            <c:bubble3D val="0"/>
            <c:spPr>
              <a:solidFill>
                <a:srgbClr val="AEABAB"/>
              </a:solidFill>
            </c:spPr>
            <c:extLst>
              <c:ext xmlns:c16="http://schemas.microsoft.com/office/drawing/2014/chart" uri="{C3380CC4-5D6E-409C-BE32-E72D297353CC}">
                <c16:uniqueId val="{0000033B-1744-4914-988D-66EF0C16342B}"/>
              </c:ext>
            </c:extLst>
          </c:dPt>
          <c:dPt>
            <c:idx val="413"/>
            <c:invertIfNegative val="1"/>
            <c:bubble3D val="0"/>
            <c:spPr>
              <a:solidFill>
                <a:srgbClr val="AEABAB"/>
              </a:solidFill>
            </c:spPr>
            <c:extLst>
              <c:ext xmlns:c16="http://schemas.microsoft.com/office/drawing/2014/chart" uri="{C3380CC4-5D6E-409C-BE32-E72D297353CC}">
                <c16:uniqueId val="{0000033D-1744-4914-988D-66EF0C16342B}"/>
              </c:ext>
            </c:extLst>
          </c:dPt>
          <c:dPt>
            <c:idx val="414"/>
            <c:invertIfNegative val="1"/>
            <c:bubble3D val="0"/>
            <c:spPr>
              <a:solidFill>
                <a:srgbClr val="AEABAB"/>
              </a:solidFill>
            </c:spPr>
            <c:extLst>
              <c:ext xmlns:c16="http://schemas.microsoft.com/office/drawing/2014/chart" uri="{C3380CC4-5D6E-409C-BE32-E72D297353CC}">
                <c16:uniqueId val="{0000033F-1744-4914-988D-66EF0C16342B}"/>
              </c:ext>
            </c:extLst>
          </c:dPt>
          <c:dPt>
            <c:idx val="415"/>
            <c:invertIfNegative val="1"/>
            <c:bubble3D val="0"/>
            <c:spPr>
              <a:solidFill>
                <a:srgbClr val="AEABAB"/>
              </a:solidFill>
            </c:spPr>
            <c:extLst>
              <c:ext xmlns:c16="http://schemas.microsoft.com/office/drawing/2014/chart" uri="{C3380CC4-5D6E-409C-BE32-E72D297353CC}">
                <c16:uniqueId val="{00000341-1744-4914-988D-66EF0C16342B}"/>
              </c:ext>
            </c:extLst>
          </c:dPt>
          <c:dPt>
            <c:idx val="416"/>
            <c:invertIfNegative val="1"/>
            <c:bubble3D val="0"/>
            <c:spPr>
              <a:solidFill>
                <a:srgbClr val="AEABAB"/>
              </a:solidFill>
            </c:spPr>
            <c:extLst>
              <c:ext xmlns:c16="http://schemas.microsoft.com/office/drawing/2014/chart" uri="{C3380CC4-5D6E-409C-BE32-E72D297353CC}">
                <c16:uniqueId val="{00000343-1744-4914-988D-66EF0C16342B}"/>
              </c:ext>
            </c:extLst>
          </c:dPt>
          <c:dPt>
            <c:idx val="417"/>
            <c:invertIfNegative val="1"/>
            <c:bubble3D val="0"/>
            <c:spPr>
              <a:solidFill>
                <a:srgbClr val="AEABAB"/>
              </a:solidFill>
            </c:spPr>
            <c:extLst>
              <c:ext xmlns:c16="http://schemas.microsoft.com/office/drawing/2014/chart" uri="{C3380CC4-5D6E-409C-BE32-E72D297353CC}">
                <c16:uniqueId val="{00000345-1744-4914-988D-66EF0C16342B}"/>
              </c:ext>
            </c:extLst>
          </c:dPt>
          <c:dPt>
            <c:idx val="418"/>
            <c:invertIfNegative val="1"/>
            <c:bubble3D val="0"/>
            <c:spPr>
              <a:solidFill>
                <a:srgbClr val="AEABAB"/>
              </a:solidFill>
            </c:spPr>
            <c:extLst>
              <c:ext xmlns:c16="http://schemas.microsoft.com/office/drawing/2014/chart" uri="{C3380CC4-5D6E-409C-BE32-E72D297353CC}">
                <c16:uniqueId val="{00000347-1744-4914-988D-66EF0C16342B}"/>
              </c:ext>
            </c:extLst>
          </c:dPt>
          <c:dPt>
            <c:idx val="419"/>
            <c:invertIfNegative val="1"/>
            <c:bubble3D val="0"/>
            <c:spPr>
              <a:solidFill>
                <a:srgbClr val="AEABAB"/>
              </a:solidFill>
            </c:spPr>
            <c:extLst>
              <c:ext xmlns:c16="http://schemas.microsoft.com/office/drawing/2014/chart" uri="{C3380CC4-5D6E-409C-BE32-E72D297353CC}">
                <c16:uniqueId val="{00000349-1744-4914-988D-66EF0C16342B}"/>
              </c:ext>
            </c:extLst>
          </c:dPt>
          <c:dPt>
            <c:idx val="420"/>
            <c:invertIfNegative val="1"/>
            <c:bubble3D val="0"/>
            <c:spPr>
              <a:solidFill>
                <a:srgbClr val="AEABAB"/>
              </a:solidFill>
            </c:spPr>
            <c:extLst>
              <c:ext xmlns:c16="http://schemas.microsoft.com/office/drawing/2014/chart" uri="{C3380CC4-5D6E-409C-BE32-E72D297353CC}">
                <c16:uniqueId val="{0000034B-1744-4914-988D-66EF0C16342B}"/>
              </c:ext>
            </c:extLst>
          </c:dPt>
          <c:dPt>
            <c:idx val="421"/>
            <c:invertIfNegative val="1"/>
            <c:bubble3D val="0"/>
            <c:spPr>
              <a:solidFill>
                <a:srgbClr val="AEABAB"/>
              </a:solidFill>
            </c:spPr>
            <c:extLst>
              <c:ext xmlns:c16="http://schemas.microsoft.com/office/drawing/2014/chart" uri="{C3380CC4-5D6E-409C-BE32-E72D297353CC}">
                <c16:uniqueId val="{0000034D-1744-4914-988D-66EF0C16342B}"/>
              </c:ext>
            </c:extLst>
          </c:dPt>
          <c:dPt>
            <c:idx val="422"/>
            <c:invertIfNegative val="1"/>
            <c:bubble3D val="0"/>
            <c:spPr>
              <a:solidFill>
                <a:srgbClr val="AEABAB"/>
              </a:solidFill>
            </c:spPr>
            <c:extLst>
              <c:ext xmlns:c16="http://schemas.microsoft.com/office/drawing/2014/chart" uri="{C3380CC4-5D6E-409C-BE32-E72D297353CC}">
                <c16:uniqueId val="{0000034F-1744-4914-988D-66EF0C16342B}"/>
              </c:ext>
            </c:extLst>
          </c:dPt>
          <c:dPt>
            <c:idx val="423"/>
            <c:invertIfNegative val="1"/>
            <c:bubble3D val="0"/>
            <c:spPr>
              <a:solidFill>
                <a:srgbClr val="AEABAB"/>
              </a:solidFill>
            </c:spPr>
            <c:extLst>
              <c:ext xmlns:c16="http://schemas.microsoft.com/office/drawing/2014/chart" uri="{C3380CC4-5D6E-409C-BE32-E72D297353CC}">
                <c16:uniqueId val="{00000351-1744-4914-988D-66EF0C16342B}"/>
              </c:ext>
            </c:extLst>
          </c:dPt>
          <c:dPt>
            <c:idx val="424"/>
            <c:invertIfNegative val="1"/>
            <c:bubble3D val="0"/>
            <c:spPr>
              <a:solidFill>
                <a:srgbClr val="AEABAB"/>
              </a:solidFill>
            </c:spPr>
            <c:extLst>
              <c:ext xmlns:c16="http://schemas.microsoft.com/office/drawing/2014/chart" uri="{C3380CC4-5D6E-409C-BE32-E72D297353CC}">
                <c16:uniqueId val="{00000353-1744-4914-988D-66EF0C16342B}"/>
              </c:ext>
            </c:extLst>
          </c:dPt>
          <c:dPt>
            <c:idx val="425"/>
            <c:invertIfNegative val="1"/>
            <c:bubble3D val="0"/>
            <c:spPr>
              <a:solidFill>
                <a:srgbClr val="AEABAB"/>
              </a:solidFill>
            </c:spPr>
            <c:extLst>
              <c:ext xmlns:c16="http://schemas.microsoft.com/office/drawing/2014/chart" uri="{C3380CC4-5D6E-409C-BE32-E72D297353CC}">
                <c16:uniqueId val="{00000355-1744-4914-988D-66EF0C16342B}"/>
              </c:ext>
            </c:extLst>
          </c:dPt>
          <c:dPt>
            <c:idx val="426"/>
            <c:invertIfNegative val="1"/>
            <c:bubble3D val="0"/>
            <c:spPr>
              <a:solidFill>
                <a:srgbClr val="AEABAB"/>
              </a:solidFill>
            </c:spPr>
            <c:extLst>
              <c:ext xmlns:c16="http://schemas.microsoft.com/office/drawing/2014/chart" uri="{C3380CC4-5D6E-409C-BE32-E72D297353CC}">
                <c16:uniqueId val="{00000357-1744-4914-988D-66EF0C16342B}"/>
              </c:ext>
            </c:extLst>
          </c:dPt>
          <c:dPt>
            <c:idx val="427"/>
            <c:invertIfNegative val="1"/>
            <c:bubble3D val="0"/>
            <c:spPr>
              <a:solidFill>
                <a:srgbClr val="AEABAB"/>
              </a:solidFill>
            </c:spPr>
            <c:extLst>
              <c:ext xmlns:c16="http://schemas.microsoft.com/office/drawing/2014/chart" uri="{C3380CC4-5D6E-409C-BE32-E72D297353CC}">
                <c16:uniqueId val="{00000359-1744-4914-988D-66EF0C16342B}"/>
              </c:ext>
            </c:extLst>
          </c:dPt>
          <c:dPt>
            <c:idx val="428"/>
            <c:invertIfNegative val="1"/>
            <c:bubble3D val="0"/>
            <c:spPr>
              <a:solidFill>
                <a:srgbClr val="AEABAB"/>
              </a:solidFill>
            </c:spPr>
            <c:extLst>
              <c:ext xmlns:c16="http://schemas.microsoft.com/office/drawing/2014/chart" uri="{C3380CC4-5D6E-409C-BE32-E72D297353CC}">
                <c16:uniqueId val="{0000035B-1744-4914-988D-66EF0C16342B}"/>
              </c:ext>
            </c:extLst>
          </c:dPt>
          <c:dPt>
            <c:idx val="429"/>
            <c:invertIfNegative val="1"/>
            <c:bubble3D val="0"/>
            <c:spPr>
              <a:solidFill>
                <a:srgbClr val="AEABAB"/>
              </a:solidFill>
            </c:spPr>
            <c:extLst>
              <c:ext xmlns:c16="http://schemas.microsoft.com/office/drawing/2014/chart" uri="{C3380CC4-5D6E-409C-BE32-E72D297353CC}">
                <c16:uniqueId val="{0000035D-1744-4914-988D-66EF0C16342B}"/>
              </c:ext>
            </c:extLst>
          </c:dPt>
          <c:dPt>
            <c:idx val="430"/>
            <c:invertIfNegative val="1"/>
            <c:bubble3D val="0"/>
            <c:spPr>
              <a:solidFill>
                <a:srgbClr val="AEABAB"/>
              </a:solidFill>
            </c:spPr>
            <c:extLst>
              <c:ext xmlns:c16="http://schemas.microsoft.com/office/drawing/2014/chart" uri="{C3380CC4-5D6E-409C-BE32-E72D297353CC}">
                <c16:uniqueId val="{0000035F-1744-4914-988D-66EF0C16342B}"/>
              </c:ext>
            </c:extLst>
          </c:dPt>
          <c:dPt>
            <c:idx val="431"/>
            <c:invertIfNegative val="1"/>
            <c:bubble3D val="0"/>
            <c:spPr>
              <a:solidFill>
                <a:srgbClr val="AEABAB"/>
              </a:solidFill>
            </c:spPr>
            <c:extLst>
              <c:ext xmlns:c16="http://schemas.microsoft.com/office/drawing/2014/chart" uri="{C3380CC4-5D6E-409C-BE32-E72D297353CC}">
                <c16:uniqueId val="{00000361-1744-4914-988D-66EF0C16342B}"/>
              </c:ext>
            </c:extLst>
          </c:dPt>
          <c:dPt>
            <c:idx val="432"/>
            <c:invertIfNegative val="1"/>
            <c:bubble3D val="0"/>
            <c:spPr>
              <a:solidFill>
                <a:srgbClr val="AEABAB"/>
              </a:solidFill>
            </c:spPr>
            <c:extLst>
              <c:ext xmlns:c16="http://schemas.microsoft.com/office/drawing/2014/chart" uri="{C3380CC4-5D6E-409C-BE32-E72D297353CC}">
                <c16:uniqueId val="{00000363-1744-4914-988D-66EF0C16342B}"/>
              </c:ext>
            </c:extLst>
          </c:dPt>
          <c:dPt>
            <c:idx val="433"/>
            <c:invertIfNegative val="1"/>
            <c:bubble3D val="0"/>
            <c:spPr>
              <a:solidFill>
                <a:srgbClr val="AEABAB"/>
              </a:solidFill>
            </c:spPr>
            <c:extLst>
              <c:ext xmlns:c16="http://schemas.microsoft.com/office/drawing/2014/chart" uri="{C3380CC4-5D6E-409C-BE32-E72D297353CC}">
                <c16:uniqueId val="{00000365-1744-4914-988D-66EF0C16342B}"/>
              </c:ext>
            </c:extLst>
          </c:dPt>
          <c:dPt>
            <c:idx val="434"/>
            <c:invertIfNegative val="1"/>
            <c:bubble3D val="0"/>
            <c:spPr>
              <a:solidFill>
                <a:srgbClr val="AEABAB"/>
              </a:solidFill>
            </c:spPr>
            <c:extLst>
              <c:ext xmlns:c16="http://schemas.microsoft.com/office/drawing/2014/chart" uri="{C3380CC4-5D6E-409C-BE32-E72D297353CC}">
                <c16:uniqueId val="{00000367-1744-4914-988D-66EF0C16342B}"/>
              </c:ext>
            </c:extLst>
          </c:dPt>
          <c:dPt>
            <c:idx val="435"/>
            <c:invertIfNegative val="1"/>
            <c:bubble3D val="0"/>
            <c:spPr>
              <a:solidFill>
                <a:srgbClr val="AEABAB"/>
              </a:solidFill>
            </c:spPr>
            <c:extLst>
              <c:ext xmlns:c16="http://schemas.microsoft.com/office/drawing/2014/chart" uri="{C3380CC4-5D6E-409C-BE32-E72D297353CC}">
                <c16:uniqueId val="{00000369-1744-4914-988D-66EF0C16342B}"/>
              </c:ext>
            </c:extLst>
          </c:dPt>
          <c:dPt>
            <c:idx val="436"/>
            <c:invertIfNegative val="1"/>
            <c:bubble3D val="0"/>
            <c:spPr>
              <a:solidFill>
                <a:srgbClr val="AEABAB"/>
              </a:solidFill>
            </c:spPr>
            <c:extLst>
              <c:ext xmlns:c16="http://schemas.microsoft.com/office/drawing/2014/chart" uri="{C3380CC4-5D6E-409C-BE32-E72D297353CC}">
                <c16:uniqueId val="{0000036B-1744-4914-988D-66EF0C16342B}"/>
              </c:ext>
            </c:extLst>
          </c:dPt>
          <c:dPt>
            <c:idx val="437"/>
            <c:invertIfNegative val="1"/>
            <c:bubble3D val="0"/>
            <c:spPr>
              <a:solidFill>
                <a:srgbClr val="AEABAB"/>
              </a:solidFill>
            </c:spPr>
            <c:extLst>
              <c:ext xmlns:c16="http://schemas.microsoft.com/office/drawing/2014/chart" uri="{C3380CC4-5D6E-409C-BE32-E72D297353CC}">
                <c16:uniqueId val="{0000036D-1744-4914-988D-66EF0C16342B}"/>
              </c:ext>
            </c:extLst>
          </c:dPt>
          <c:dPt>
            <c:idx val="438"/>
            <c:invertIfNegative val="1"/>
            <c:bubble3D val="0"/>
            <c:spPr>
              <a:solidFill>
                <a:srgbClr val="AEABAB"/>
              </a:solidFill>
            </c:spPr>
            <c:extLst>
              <c:ext xmlns:c16="http://schemas.microsoft.com/office/drawing/2014/chart" uri="{C3380CC4-5D6E-409C-BE32-E72D297353CC}">
                <c16:uniqueId val="{0000036F-1744-4914-988D-66EF0C16342B}"/>
              </c:ext>
            </c:extLst>
          </c:dPt>
          <c:dPt>
            <c:idx val="439"/>
            <c:invertIfNegative val="1"/>
            <c:bubble3D val="0"/>
            <c:spPr>
              <a:solidFill>
                <a:srgbClr val="AEABAB"/>
              </a:solidFill>
            </c:spPr>
            <c:extLst>
              <c:ext xmlns:c16="http://schemas.microsoft.com/office/drawing/2014/chart" uri="{C3380CC4-5D6E-409C-BE32-E72D297353CC}">
                <c16:uniqueId val="{00000371-1744-4914-988D-66EF0C16342B}"/>
              </c:ext>
            </c:extLst>
          </c:dPt>
          <c:dPt>
            <c:idx val="440"/>
            <c:invertIfNegative val="1"/>
            <c:bubble3D val="0"/>
            <c:spPr>
              <a:solidFill>
                <a:srgbClr val="AEABAB"/>
              </a:solidFill>
            </c:spPr>
            <c:extLst>
              <c:ext xmlns:c16="http://schemas.microsoft.com/office/drawing/2014/chart" uri="{C3380CC4-5D6E-409C-BE32-E72D297353CC}">
                <c16:uniqueId val="{00000373-1744-4914-988D-66EF0C16342B}"/>
              </c:ext>
            </c:extLst>
          </c:dPt>
          <c:dPt>
            <c:idx val="441"/>
            <c:invertIfNegative val="1"/>
            <c:bubble3D val="0"/>
            <c:spPr>
              <a:solidFill>
                <a:srgbClr val="AEABAB"/>
              </a:solidFill>
            </c:spPr>
            <c:extLst>
              <c:ext xmlns:c16="http://schemas.microsoft.com/office/drawing/2014/chart" uri="{C3380CC4-5D6E-409C-BE32-E72D297353CC}">
                <c16:uniqueId val="{00000375-1744-4914-988D-66EF0C16342B}"/>
              </c:ext>
            </c:extLst>
          </c:dPt>
          <c:dPt>
            <c:idx val="442"/>
            <c:invertIfNegative val="1"/>
            <c:bubble3D val="0"/>
            <c:spPr>
              <a:solidFill>
                <a:srgbClr val="AEABAB"/>
              </a:solidFill>
            </c:spPr>
            <c:extLst>
              <c:ext xmlns:c16="http://schemas.microsoft.com/office/drawing/2014/chart" uri="{C3380CC4-5D6E-409C-BE32-E72D297353CC}">
                <c16:uniqueId val="{00000377-1744-4914-988D-66EF0C16342B}"/>
              </c:ext>
            </c:extLst>
          </c:dPt>
          <c:dPt>
            <c:idx val="443"/>
            <c:invertIfNegative val="1"/>
            <c:bubble3D val="0"/>
            <c:spPr>
              <a:solidFill>
                <a:srgbClr val="AEABAB"/>
              </a:solidFill>
            </c:spPr>
            <c:extLst>
              <c:ext xmlns:c16="http://schemas.microsoft.com/office/drawing/2014/chart" uri="{C3380CC4-5D6E-409C-BE32-E72D297353CC}">
                <c16:uniqueId val="{00000379-1744-4914-988D-66EF0C16342B}"/>
              </c:ext>
            </c:extLst>
          </c:dPt>
          <c:dPt>
            <c:idx val="444"/>
            <c:invertIfNegative val="1"/>
            <c:bubble3D val="0"/>
            <c:spPr>
              <a:solidFill>
                <a:srgbClr val="AEABAB"/>
              </a:solidFill>
            </c:spPr>
            <c:extLst>
              <c:ext xmlns:c16="http://schemas.microsoft.com/office/drawing/2014/chart" uri="{C3380CC4-5D6E-409C-BE32-E72D297353CC}">
                <c16:uniqueId val="{0000037B-1744-4914-988D-66EF0C16342B}"/>
              </c:ext>
            </c:extLst>
          </c:dPt>
          <c:dPt>
            <c:idx val="445"/>
            <c:invertIfNegative val="1"/>
            <c:bubble3D val="0"/>
            <c:spPr>
              <a:solidFill>
                <a:srgbClr val="AEABAB"/>
              </a:solidFill>
            </c:spPr>
            <c:extLst>
              <c:ext xmlns:c16="http://schemas.microsoft.com/office/drawing/2014/chart" uri="{C3380CC4-5D6E-409C-BE32-E72D297353CC}">
                <c16:uniqueId val="{0000037D-1744-4914-988D-66EF0C16342B}"/>
              </c:ext>
            </c:extLst>
          </c:dPt>
          <c:dPt>
            <c:idx val="446"/>
            <c:invertIfNegative val="1"/>
            <c:bubble3D val="0"/>
            <c:spPr>
              <a:solidFill>
                <a:srgbClr val="AEABAB"/>
              </a:solidFill>
            </c:spPr>
            <c:extLst>
              <c:ext xmlns:c16="http://schemas.microsoft.com/office/drawing/2014/chart" uri="{C3380CC4-5D6E-409C-BE32-E72D297353CC}">
                <c16:uniqueId val="{0000037F-1744-4914-988D-66EF0C16342B}"/>
              </c:ext>
            </c:extLst>
          </c:dPt>
          <c:dPt>
            <c:idx val="447"/>
            <c:invertIfNegative val="1"/>
            <c:bubble3D val="0"/>
            <c:spPr>
              <a:solidFill>
                <a:srgbClr val="AEABAB"/>
              </a:solidFill>
            </c:spPr>
            <c:extLst>
              <c:ext xmlns:c16="http://schemas.microsoft.com/office/drawing/2014/chart" uri="{C3380CC4-5D6E-409C-BE32-E72D297353CC}">
                <c16:uniqueId val="{00000381-1744-4914-988D-66EF0C16342B}"/>
              </c:ext>
            </c:extLst>
          </c:dPt>
          <c:dPt>
            <c:idx val="448"/>
            <c:invertIfNegative val="1"/>
            <c:bubble3D val="0"/>
            <c:spPr>
              <a:solidFill>
                <a:srgbClr val="AEABAB"/>
              </a:solidFill>
            </c:spPr>
            <c:extLst>
              <c:ext xmlns:c16="http://schemas.microsoft.com/office/drawing/2014/chart" uri="{C3380CC4-5D6E-409C-BE32-E72D297353CC}">
                <c16:uniqueId val="{00000383-1744-4914-988D-66EF0C16342B}"/>
              </c:ext>
            </c:extLst>
          </c:dPt>
          <c:dPt>
            <c:idx val="449"/>
            <c:invertIfNegative val="1"/>
            <c:bubble3D val="0"/>
            <c:spPr>
              <a:solidFill>
                <a:srgbClr val="AEABAB"/>
              </a:solidFill>
            </c:spPr>
            <c:extLst>
              <c:ext xmlns:c16="http://schemas.microsoft.com/office/drawing/2014/chart" uri="{C3380CC4-5D6E-409C-BE32-E72D297353CC}">
                <c16:uniqueId val="{00000385-1744-4914-988D-66EF0C16342B}"/>
              </c:ext>
            </c:extLst>
          </c:dPt>
          <c:dPt>
            <c:idx val="450"/>
            <c:invertIfNegative val="1"/>
            <c:bubble3D val="0"/>
            <c:spPr>
              <a:solidFill>
                <a:srgbClr val="AEABAB"/>
              </a:solidFill>
            </c:spPr>
            <c:extLst>
              <c:ext xmlns:c16="http://schemas.microsoft.com/office/drawing/2014/chart" uri="{C3380CC4-5D6E-409C-BE32-E72D297353CC}">
                <c16:uniqueId val="{00000387-1744-4914-988D-66EF0C16342B}"/>
              </c:ext>
            </c:extLst>
          </c:dPt>
          <c:dPt>
            <c:idx val="451"/>
            <c:invertIfNegative val="1"/>
            <c:bubble3D val="0"/>
            <c:spPr>
              <a:solidFill>
                <a:srgbClr val="AEABAB"/>
              </a:solidFill>
            </c:spPr>
            <c:extLst>
              <c:ext xmlns:c16="http://schemas.microsoft.com/office/drawing/2014/chart" uri="{C3380CC4-5D6E-409C-BE32-E72D297353CC}">
                <c16:uniqueId val="{00000389-1744-4914-988D-66EF0C16342B}"/>
              </c:ext>
            </c:extLst>
          </c:dPt>
          <c:dPt>
            <c:idx val="452"/>
            <c:invertIfNegative val="1"/>
            <c:bubble3D val="0"/>
            <c:spPr>
              <a:solidFill>
                <a:srgbClr val="AEABAB"/>
              </a:solidFill>
            </c:spPr>
            <c:extLst>
              <c:ext xmlns:c16="http://schemas.microsoft.com/office/drawing/2014/chart" uri="{C3380CC4-5D6E-409C-BE32-E72D297353CC}">
                <c16:uniqueId val="{0000038B-1744-4914-988D-66EF0C16342B}"/>
              </c:ext>
            </c:extLst>
          </c:dPt>
          <c:dPt>
            <c:idx val="453"/>
            <c:invertIfNegative val="1"/>
            <c:bubble3D val="0"/>
            <c:spPr>
              <a:solidFill>
                <a:srgbClr val="AEABAB"/>
              </a:solidFill>
            </c:spPr>
            <c:extLst>
              <c:ext xmlns:c16="http://schemas.microsoft.com/office/drawing/2014/chart" uri="{C3380CC4-5D6E-409C-BE32-E72D297353CC}">
                <c16:uniqueId val="{0000038D-1744-4914-988D-66EF0C16342B}"/>
              </c:ext>
            </c:extLst>
          </c:dPt>
          <c:dPt>
            <c:idx val="454"/>
            <c:invertIfNegative val="1"/>
            <c:bubble3D val="0"/>
            <c:spPr>
              <a:solidFill>
                <a:srgbClr val="AEABAB"/>
              </a:solidFill>
            </c:spPr>
            <c:extLst>
              <c:ext xmlns:c16="http://schemas.microsoft.com/office/drawing/2014/chart" uri="{C3380CC4-5D6E-409C-BE32-E72D297353CC}">
                <c16:uniqueId val="{0000038F-1744-4914-988D-66EF0C16342B}"/>
              </c:ext>
            </c:extLst>
          </c:dPt>
          <c:dPt>
            <c:idx val="455"/>
            <c:invertIfNegative val="1"/>
            <c:bubble3D val="0"/>
            <c:spPr>
              <a:solidFill>
                <a:srgbClr val="AEABAB"/>
              </a:solidFill>
            </c:spPr>
            <c:extLst>
              <c:ext xmlns:c16="http://schemas.microsoft.com/office/drawing/2014/chart" uri="{C3380CC4-5D6E-409C-BE32-E72D297353CC}">
                <c16:uniqueId val="{00000391-1744-4914-988D-66EF0C16342B}"/>
              </c:ext>
            </c:extLst>
          </c:dPt>
          <c:dPt>
            <c:idx val="456"/>
            <c:invertIfNegative val="1"/>
            <c:bubble3D val="0"/>
            <c:spPr>
              <a:solidFill>
                <a:srgbClr val="AEABAB"/>
              </a:solidFill>
            </c:spPr>
            <c:extLst>
              <c:ext xmlns:c16="http://schemas.microsoft.com/office/drawing/2014/chart" uri="{C3380CC4-5D6E-409C-BE32-E72D297353CC}">
                <c16:uniqueId val="{00000393-1744-4914-988D-66EF0C16342B}"/>
              </c:ext>
            </c:extLst>
          </c:dPt>
          <c:dPt>
            <c:idx val="457"/>
            <c:invertIfNegative val="1"/>
            <c:bubble3D val="0"/>
            <c:spPr>
              <a:solidFill>
                <a:srgbClr val="AEABAB"/>
              </a:solidFill>
            </c:spPr>
            <c:extLst>
              <c:ext xmlns:c16="http://schemas.microsoft.com/office/drawing/2014/chart" uri="{C3380CC4-5D6E-409C-BE32-E72D297353CC}">
                <c16:uniqueId val="{00000395-1744-4914-988D-66EF0C16342B}"/>
              </c:ext>
            </c:extLst>
          </c:dPt>
          <c:dPt>
            <c:idx val="458"/>
            <c:invertIfNegative val="1"/>
            <c:bubble3D val="0"/>
            <c:spPr>
              <a:solidFill>
                <a:srgbClr val="AEABAB"/>
              </a:solidFill>
            </c:spPr>
            <c:extLst>
              <c:ext xmlns:c16="http://schemas.microsoft.com/office/drawing/2014/chart" uri="{C3380CC4-5D6E-409C-BE32-E72D297353CC}">
                <c16:uniqueId val="{00000397-1744-4914-988D-66EF0C16342B}"/>
              </c:ext>
            </c:extLst>
          </c:dPt>
          <c:dPt>
            <c:idx val="459"/>
            <c:invertIfNegative val="1"/>
            <c:bubble3D val="0"/>
            <c:spPr>
              <a:solidFill>
                <a:srgbClr val="AEABAB"/>
              </a:solidFill>
            </c:spPr>
            <c:extLst>
              <c:ext xmlns:c16="http://schemas.microsoft.com/office/drawing/2014/chart" uri="{C3380CC4-5D6E-409C-BE32-E72D297353CC}">
                <c16:uniqueId val="{00000399-1744-4914-988D-66EF0C16342B}"/>
              </c:ext>
            </c:extLst>
          </c:dPt>
          <c:dPt>
            <c:idx val="460"/>
            <c:invertIfNegative val="1"/>
            <c:bubble3D val="0"/>
            <c:spPr>
              <a:solidFill>
                <a:srgbClr val="AEABAB"/>
              </a:solidFill>
            </c:spPr>
            <c:extLst>
              <c:ext xmlns:c16="http://schemas.microsoft.com/office/drawing/2014/chart" uri="{C3380CC4-5D6E-409C-BE32-E72D297353CC}">
                <c16:uniqueId val="{0000039B-1744-4914-988D-66EF0C16342B}"/>
              </c:ext>
            </c:extLst>
          </c:dPt>
          <c:dPt>
            <c:idx val="461"/>
            <c:invertIfNegative val="1"/>
            <c:bubble3D val="0"/>
            <c:spPr>
              <a:solidFill>
                <a:srgbClr val="AEABAB"/>
              </a:solidFill>
            </c:spPr>
            <c:extLst>
              <c:ext xmlns:c16="http://schemas.microsoft.com/office/drawing/2014/chart" uri="{C3380CC4-5D6E-409C-BE32-E72D297353CC}">
                <c16:uniqueId val="{0000039D-1744-4914-988D-66EF0C16342B}"/>
              </c:ext>
            </c:extLst>
          </c:dPt>
          <c:dPt>
            <c:idx val="462"/>
            <c:invertIfNegative val="1"/>
            <c:bubble3D val="0"/>
            <c:spPr>
              <a:solidFill>
                <a:srgbClr val="AEABAB"/>
              </a:solidFill>
            </c:spPr>
            <c:extLst>
              <c:ext xmlns:c16="http://schemas.microsoft.com/office/drawing/2014/chart" uri="{C3380CC4-5D6E-409C-BE32-E72D297353CC}">
                <c16:uniqueId val="{0000039F-1744-4914-988D-66EF0C16342B}"/>
              </c:ext>
            </c:extLst>
          </c:dPt>
          <c:dPt>
            <c:idx val="463"/>
            <c:invertIfNegative val="1"/>
            <c:bubble3D val="0"/>
            <c:spPr>
              <a:solidFill>
                <a:srgbClr val="AEABAB"/>
              </a:solidFill>
            </c:spPr>
            <c:extLst>
              <c:ext xmlns:c16="http://schemas.microsoft.com/office/drawing/2014/chart" uri="{C3380CC4-5D6E-409C-BE32-E72D297353CC}">
                <c16:uniqueId val="{000003A1-1744-4914-988D-66EF0C16342B}"/>
              </c:ext>
            </c:extLst>
          </c:dPt>
          <c:dPt>
            <c:idx val="464"/>
            <c:invertIfNegative val="1"/>
            <c:bubble3D val="0"/>
            <c:spPr>
              <a:solidFill>
                <a:srgbClr val="AEABAB"/>
              </a:solidFill>
            </c:spPr>
            <c:extLst>
              <c:ext xmlns:c16="http://schemas.microsoft.com/office/drawing/2014/chart" uri="{C3380CC4-5D6E-409C-BE32-E72D297353CC}">
                <c16:uniqueId val="{000003A3-1744-4914-988D-66EF0C16342B}"/>
              </c:ext>
            </c:extLst>
          </c:dPt>
          <c:dPt>
            <c:idx val="465"/>
            <c:invertIfNegative val="1"/>
            <c:bubble3D val="0"/>
            <c:spPr>
              <a:solidFill>
                <a:srgbClr val="AEABAB"/>
              </a:solidFill>
            </c:spPr>
            <c:extLst>
              <c:ext xmlns:c16="http://schemas.microsoft.com/office/drawing/2014/chart" uri="{C3380CC4-5D6E-409C-BE32-E72D297353CC}">
                <c16:uniqueId val="{000003A5-1744-4914-988D-66EF0C16342B}"/>
              </c:ext>
            </c:extLst>
          </c:dPt>
          <c:dPt>
            <c:idx val="466"/>
            <c:invertIfNegative val="1"/>
            <c:bubble3D val="0"/>
            <c:spPr>
              <a:solidFill>
                <a:srgbClr val="AEABAB"/>
              </a:solidFill>
            </c:spPr>
            <c:extLst>
              <c:ext xmlns:c16="http://schemas.microsoft.com/office/drawing/2014/chart" uri="{C3380CC4-5D6E-409C-BE32-E72D297353CC}">
                <c16:uniqueId val="{000003A7-1744-4914-988D-66EF0C16342B}"/>
              </c:ext>
            </c:extLst>
          </c:dPt>
          <c:dPt>
            <c:idx val="467"/>
            <c:invertIfNegative val="1"/>
            <c:bubble3D val="0"/>
            <c:spPr>
              <a:solidFill>
                <a:srgbClr val="AEABAB"/>
              </a:solidFill>
            </c:spPr>
            <c:extLst>
              <c:ext xmlns:c16="http://schemas.microsoft.com/office/drawing/2014/chart" uri="{C3380CC4-5D6E-409C-BE32-E72D297353CC}">
                <c16:uniqueId val="{000003A9-1744-4914-988D-66EF0C16342B}"/>
              </c:ext>
            </c:extLst>
          </c:dPt>
          <c:dPt>
            <c:idx val="468"/>
            <c:invertIfNegative val="1"/>
            <c:bubble3D val="0"/>
            <c:spPr>
              <a:solidFill>
                <a:srgbClr val="AEABAB"/>
              </a:solidFill>
            </c:spPr>
            <c:extLst>
              <c:ext xmlns:c16="http://schemas.microsoft.com/office/drawing/2014/chart" uri="{C3380CC4-5D6E-409C-BE32-E72D297353CC}">
                <c16:uniqueId val="{000003AB-1744-4914-988D-66EF0C16342B}"/>
              </c:ext>
            </c:extLst>
          </c:dPt>
          <c:dPt>
            <c:idx val="469"/>
            <c:invertIfNegative val="1"/>
            <c:bubble3D val="0"/>
            <c:spPr>
              <a:solidFill>
                <a:srgbClr val="AEABAB"/>
              </a:solidFill>
            </c:spPr>
            <c:extLst>
              <c:ext xmlns:c16="http://schemas.microsoft.com/office/drawing/2014/chart" uri="{C3380CC4-5D6E-409C-BE32-E72D297353CC}">
                <c16:uniqueId val="{000003AD-1744-4914-988D-66EF0C16342B}"/>
              </c:ext>
            </c:extLst>
          </c:dPt>
          <c:dPt>
            <c:idx val="470"/>
            <c:invertIfNegative val="1"/>
            <c:bubble3D val="0"/>
            <c:spPr>
              <a:solidFill>
                <a:srgbClr val="AEABAB"/>
              </a:solidFill>
            </c:spPr>
            <c:extLst>
              <c:ext xmlns:c16="http://schemas.microsoft.com/office/drawing/2014/chart" uri="{C3380CC4-5D6E-409C-BE32-E72D297353CC}">
                <c16:uniqueId val="{000003AF-1744-4914-988D-66EF0C16342B}"/>
              </c:ext>
            </c:extLst>
          </c:dPt>
          <c:dPt>
            <c:idx val="471"/>
            <c:invertIfNegative val="1"/>
            <c:bubble3D val="0"/>
            <c:spPr>
              <a:solidFill>
                <a:srgbClr val="AEABAB"/>
              </a:solidFill>
            </c:spPr>
            <c:extLst>
              <c:ext xmlns:c16="http://schemas.microsoft.com/office/drawing/2014/chart" uri="{C3380CC4-5D6E-409C-BE32-E72D297353CC}">
                <c16:uniqueId val="{000003B1-1744-4914-988D-66EF0C16342B}"/>
              </c:ext>
            </c:extLst>
          </c:dPt>
          <c:dPt>
            <c:idx val="472"/>
            <c:invertIfNegative val="1"/>
            <c:bubble3D val="0"/>
            <c:spPr>
              <a:solidFill>
                <a:srgbClr val="AEABAB"/>
              </a:solidFill>
            </c:spPr>
            <c:extLst>
              <c:ext xmlns:c16="http://schemas.microsoft.com/office/drawing/2014/chart" uri="{C3380CC4-5D6E-409C-BE32-E72D297353CC}">
                <c16:uniqueId val="{000003B3-1744-4914-988D-66EF0C16342B}"/>
              </c:ext>
            </c:extLst>
          </c:dPt>
          <c:dPt>
            <c:idx val="473"/>
            <c:invertIfNegative val="1"/>
            <c:bubble3D val="0"/>
            <c:spPr>
              <a:solidFill>
                <a:srgbClr val="AEABAB"/>
              </a:solidFill>
            </c:spPr>
            <c:extLst>
              <c:ext xmlns:c16="http://schemas.microsoft.com/office/drawing/2014/chart" uri="{C3380CC4-5D6E-409C-BE32-E72D297353CC}">
                <c16:uniqueId val="{000003B5-1744-4914-988D-66EF0C16342B}"/>
              </c:ext>
            </c:extLst>
          </c:dPt>
          <c:dPt>
            <c:idx val="474"/>
            <c:invertIfNegative val="1"/>
            <c:bubble3D val="0"/>
            <c:spPr>
              <a:solidFill>
                <a:srgbClr val="AEABAB"/>
              </a:solidFill>
            </c:spPr>
            <c:extLst>
              <c:ext xmlns:c16="http://schemas.microsoft.com/office/drawing/2014/chart" uri="{C3380CC4-5D6E-409C-BE32-E72D297353CC}">
                <c16:uniqueId val="{000003B7-1744-4914-988D-66EF0C16342B}"/>
              </c:ext>
            </c:extLst>
          </c:dPt>
          <c:dPt>
            <c:idx val="475"/>
            <c:invertIfNegative val="1"/>
            <c:bubble3D val="0"/>
            <c:spPr>
              <a:solidFill>
                <a:srgbClr val="AEABAB"/>
              </a:solidFill>
            </c:spPr>
            <c:extLst>
              <c:ext xmlns:c16="http://schemas.microsoft.com/office/drawing/2014/chart" uri="{C3380CC4-5D6E-409C-BE32-E72D297353CC}">
                <c16:uniqueId val="{000003B9-1744-4914-988D-66EF0C16342B}"/>
              </c:ext>
            </c:extLst>
          </c:dPt>
          <c:dPt>
            <c:idx val="476"/>
            <c:invertIfNegative val="1"/>
            <c:bubble3D val="0"/>
            <c:spPr>
              <a:solidFill>
                <a:srgbClr val="AEABAB"/>
              </a:solidFill>
            </c:spPr>
            <c:extLst>
              <c:ext xmlns:c16="http://schemas.microsoft.com/office/drawing/2014/chart" uri="{C3380CC4-5D6E-409C-BE32-E72D297353CC}">
                <c16:uniqueId val="{000003BB-1744-4914-988D-66EF0C16342B}"/>
              </c:ext>
            </c:extLst>
          </c:dPt>
          <c:dPt>
            <c:idx val="477"/>
            <c:invertIfNegative val="1"/>
            <c:bubble3D val="0"/>
            <c:spPr>
              <a:solidFill>
                <a:srgbClr val="AEABAB"/>
              </a:solidFill>
            </c:spPr>
            <c:extLst>
              <c:ext xmlns:c16="http://schemas.microsoft.com/office/drawing/2014/chart" uri="{C3380CC4-5D6E-409C-BE32-E72D297353CC}">
                <c16:uniqueId val="{000003BD-1744-4914-988D-66EF0C16342B}"/>
              </c:ext>
            </c:extLst>
          </c:dPt>
          <c:dPt>
            <c:idx val="478"/>
            <c:invertIfNegative val="1"/>
            <c:bubble3D val="0"/>
            <c:spPr>
              <a:solidFill>
                <a:srgbClr val="AEABAB"/>
              </a:solidFill>
            </c:spPr>
            <c:extLst>
              <c:ext xmlns:c16="http://schemas.microsoft.com/office/drawing/2014/chart" uri="{C3380CC4-5D6E-409C-BE32-E72D297353CC}">
                <c16:uniqueId val="{000003BF-1744-4914-988D-66EF0C16342B}"/>
              </c:ext>
            </c:extLst>
          </c:dPt>
          <c:dPt>
            <c:idx val="479"/>
            <c:invertIfNegative val="1"/>
            <c:bubble3D val="0"/>
            <c:spPr>
              <a:solidFill>
                <a:srgbClr val="AEABAB"/>
              </a:solidFill>
            </c:spPr>
            <c:extLst>
              <c:ext xmlns:c16="http://schemas.microsoft.com/office/drawing/2014/chart" uri="{C3380CC4-5D6E-409C-BE32-E72D297353CC}">
                <c16:uniqueId val="{000003C1-1744-4914-988D-66EF0C16342B}"/>
              </c:ext>
            </c:extLst>
          </c:dPt>
          <c:dPt>
            <c:idx val="480"/>
            <c:invertIfNegative val="1"/>
            <c:bubble3D val="0"/>
            <c:spPr>
              <a:solidFill>
                <a:srgbClr val="AEABAB"/>
              </a:solidFill>
            </c:spPr>
            <c:extLst>
              <c:ext xmlns:c16="http://schemas.microsoft.com/office/drawing/2014/chart" uri="{C3380CC4-5D6E-409C-BE32-E72D297353CC}">
                <c16:uniqueId val="{000003C3-1744-4914-988D-66EF0C16342B}"/>
              </c:ext>
            </c:extLst>
          </c:dPt>
          <c:dPt>
            <c:idx val="481"/>
            <c:invertIfNegative val="1"/>
            <c:bubble3D val="0"/>
            <c:spPr>
              <a:solidFill>
                <a:srgbClr val="AEABAB"/>
              </a:solidFill>
            </c:spPr>
            <c:extLst>
              <c:ext xmlns:c16="http://schemas.microsoft.com/office/drawing/2014/chart" uri="{C3380CC4-5D6E-409C-BE32-E72D297353CC}">
                <c16:uniqueId val="{000003C5-1744-4914-988D-66EF0C16342B}"/>
              </c:ext>
            </c:extLst>
          </c:dPt>
          <c:dPt>
            <c:idx val="482"/>
            <c:invertIfNegative val="1"/>
            <c:bubble3D val="0"/>
            <c:spPr>
              <a:solidFill>
                <a:srgbClr val="AEABAB"/>
              </a:solidFill>
            </c:spPr>
            <c:extLst>
              <c:ext xmlns:c16="http://schemas.microsoft.com/office/drawing/2014/chart" uri="{C3380CC4-5D6E-409C-BE32-E72D297353CC}">
                <c16:uniqueId val="{000003C7-1744-4914-988D-66EF0C16342B}"/>
              </c:ext>
            </c:extLst>
          </c:dPt>
          <c:dPt>
            <c:idx val="483"/>
            <c:invertIfNegative val="1"/>
            <c:bubble3D val="0"/>
            <c:spPr>
              <a:solidFill>
                <a:srgbClr val="AEABAB"/>
              </a:solidFill>
            </c:spPr>
            <c:extLst>
              <c:ext xmlns:c16="http://schemas.microsoft.com/office/drawing/2014/chart" uri="{C3380CC4-5D6E-409C-BE32-E72D297353CC}">
                <c16:uniqueId val="{000003C9-1744-4914-988D-66EF0C16342B}"/>
              </c:ext>
            </c:extLst>
          </c:dPt>
          <c:dPt>
            <c:idx val="484"/>
            <c:invertIfNegative val="1"/>
            <c:bubble3D val="0"/>
            <c:spPr>
              <a:solidFill>
                <a:srgbClr val="AEABAB"/>
              </a:solidFill>
            </c:spPr>
            <c:extLst>
              <c:ext xmlns:c16="http://schemas.microsoft.com/office/drawing/2014/chart" uri="{C3380CC4-5D6E-409C-BE32-E72D297353CC}">
                <c16:uniqueId val="{000003CB-1744-4914-988D-66EF0C16342B}"/>
              </c:ext>
            </c:extLst>
          </c:dPt>
          <c:dPt>
            <c:idx val="485"/>
            <c:invertIfNegative val="1"/>
            <c:bubble3D val="0"/>
            <c:spPr>
              <a:solidFill>
                <a:srgbClr val="AEABAB"/>
              </a:solidFill>
            </c:spPr>
            <c:extLst>
              <c:ext xmlns:c16="http://schemas.microsoft.com/office/drawing/2014/chart" uri="{C3380CC4-5D6E-409C-BE32-E72D297353CC}">
                <c16:uniqueId val="{000003CD-1744-4914-988D-66EF0C16342B}"/>
              </c:ext>
            </c:extLst>
          </c:dPt>
          <c:dPt>
            <c:idx val="486"/>
            <c:invertIfNegative val="1"/>
            <c:bubble3D val="0"/>
            <c:spPr>
              <a:solidFill>
                <a:srgbClr val="AEABAB"/>
              </a:solidFill>
            </c:spPr>
            <c:extLst>
              <c:ext xmlns:c16="http://schemas.microsoft.com/office/drawing/2014/chart" uri="{C3380CC4-5D6E-409C-BE32-E72D297353CC}">
                <c16:uniqueId val="{000003CF-1744-4914-988D-66EF0C16342B}"/>
              </c:ext>
            </c:extLst>
          </c:dPt>
          <c:dPt>
            <c:idx val="487"/>
            <c:invertIfNegative val="1"/>
            <c:bubble3D val="0"/>
            <c:spPr>
              <a:solidFill>
                <a:srgbClr val="AEABAB"/>
              </a:solidFill>
            </c:spPr>
            <c:extLst>
              <c:ext xmlns:c16="http://schemas.microsoft.com/office/drawing/2014/chart" uri="{C3380CC4-5D6E-409C-BE32-E72D297353CC}">
                <c16:uniqueId val="{000003D1-1744-4914-988D-66EF0C16342B}"/>
              </c:ext>
            </c:extLst>
          </c:dPt>
          <c:dPt>
            <c:idx val="488"/>
            <c:invertIfNegative val="1"/>
            <c:bubble3D val="0"/>
            <c:spPr>
              <a:solidFill>
                <a:srgbClr val="AEABAB"/>
              </a:solidFill>
            </c:spPr>
            <c:extLst>
              <c:ext xmlns:c16="http://schemas.microsoft.com/office/drawing/2014/chart" uri="{C3380CC4-5D6E-409C-BE32-E72D297353CC}">
                <c16:uniqueId val="{000003D3-1744-4914-988D-66EF0C16342B}"/>
              </c:ext>
            </c:extLst>
          </c:dPt>
          <c:dPt>
            <c:idx val="489"/>
            <c:invertIfNegative val="1"/>
            <c:bubble3D val="0"/>
            <c:spPr>
              <a:solidFill>
                <a:srgbClr val="AEABAB"/>
              </a:solidFill>
            </c:spPr>
            <c:extLst>
              <c:ext xmlns:c16="http://schemas.microsoft.com/office/drawing/2014/chart" uri="{C3380CC4-5D6E-409C-BE32-E72D297353CC}">
                <c16:uniqueId val="{000003D5-1744-4914-988D-66EF0C16342B}"/>
              </c:ext>
            </c:extLst>
          </c:dPt>
          <c:dPt>
            <c:idx val="490"/>
            <c:invertIfNegative val="1"/>
            <c:bubble3D val="0"/>
            <c:spPr>
              <a:solidFill>
                <a:srgbClr val="AEABAB"/>
              </a:solidFill>
            </c:spPr>
            <c:extLst>
              <c:ext xmlns:c16="http://schemas.microsoft.com/office/drawing/2014/chart" uri="{C3380CC4-5D6E-409C-BE32-E72D297353CC}">
                <c16:uniqueId val="{000003D7-1744-4914-988D-66EF0C16342B}"/>
              </c:ext>
            </c:extLst>
          </c:dPt>
          <c:dPt>
            <c:idx val="491"/>
            <c:invertIfNegative val="1"/>
            <c:bubble3D val="0"/>
            <c:spPr>
              <a:solidFill>
                <a:srgbClr val="AEABAB"/>
              </a:solidFill>
            </c:spPr>
            <c:extLst>
              <c:ext xmlns:c16="http://schemas.microsoft.com/office/drawing/2014/chart" uri="{C3380CC4-5D6E-409C-BE32-E72D297353CC}">
                <c16:uniqueId val="{000003D9-1744-4914-988D-66EF0C16342B}"/>
              </c:ext>
            </c:extLst>
          </c:dPt>
          <c:dPt>
            <c:idx val="492"/>
            <c:invertIfNegative val="1"/>
            <c:bubble3D val="0"/>
            <c:spPr>
              <a:solidFill>
                <a:srgbClr val="AEABAB"/>
              </a:solidFill>
            </c:spPr>
            <c:extLst>
              <c:ext xmlns:c16="http://schemas.microsoft.com/office/drawing/2014/chart" uri="{C3380CC4-5D6E-409C-BE32-E72D297353CC}">
                <c16:uniqueId val="{000003DB-1744-4914-988D-66EF0C16342B}"/>
              </c:ext>
            </c:extLst>
          </c:dPt>
          <c:dPt>
            <c:idx val="493"/>
            <c:invertIfNegative val="1"/>
            <c:bubble3D val="0"/>
            <c:spPr>
              <a:solidFill>
                <a:srgbClr val="AEABAB"/>
              </a:solidFill>
            </c:spPr>
            <c:extLst>
              <c:ext xmlns:c16="http://schemas.microsoft.com/office/drawing/2014/chart" uri="{C3380CC4-5D6E-409C-BE32-E72D297353CC}">
                <c16:uniqueId val="{000003DD-1744-4914-988D-66EF0C16342B}"/>
              </c:ext>
            </c:extLst>
          </c:dPt>
          <c:dPt>
            <c:idx val="494"/>
            <c:invertIfNegative val="1"/>
            <c:bubble3D val="0"/>
            <c:spPr>
              <a:solidFill>
                <a:srgbClr val="AEABAB"/>
              </a:solidFill>
            </c:spPr>
            <c:extLst>
              <c:ext xmlns:c16="http://schemas.microsoft.com/office/drawing/2014/chart" uri="{C3380CC4-5D6E-409C-BE32-E72D297353CC}">
                <c16:uniqueId val="{000003DF-1744-4914-988D-66EF0C16342B}"/>
              </c:ext>
            </c:extLst>
          </c:dPt>
          <c:dPt>
            <c:idx val="495"/>
            <c:invertIfNegative val="1"/>
            <c:bubble3D val="0"/>
            <c:spPr>
              <a:solidFill>
                <a:srgbClr val="AEABAB"/>
              </a:solidFill>
            </c:spPr>
            <c:extLst>
              <c:ext xmlns:c16="http://schemas.microsoft.com/office/drawing/2014/chart" uri="{C3380CC4-5D6E-409C-BE32-E72D297353CC}">
                <c16:uniqueId val="{000003E1-1744-4914-988D-66EF0C16342B}"/>
              </c:ext>
            </c:extLst>
          </c:dPt>
          <c:dPt>
            <c:idx val="496"/>
            <c:invertIfNegative val="1"/>
            <c:bubble3D val="0"/>
            <c:spPr>
              <a:solidFill>
                <a:srgbClr val="AEABAB"/>
              </a:solidFill>
            </c:spPr>
            <c:extLst>
              <c:ext xmlns:c16="http://schemas.microsoft.com/office/drawing/2014/chart" uri="{C3380CC4-5D6E-409C-BE32-E72D297353CC}">
                <c16:uniqueId val="{000003E3-1744-4914-988D-66EF0C16342B}"/>
              </c:ext>
            </c:extLst>
          </c:dPt>
          <c:dPt>
            <c:idx val="497"/>
            <c:invertIfNegative val="1"/>
            <c:bubble3D val="0"/>
            <c:spPr>
              <a:solidFill>
                <a:srgbClr val="AEABAB"/>
              </a:solidFill>
            </c:spPr>
            <c:extLst>
              <c:ext xmlns:c16="http://schemas.microsoft.com/office/drawing/2014/chart" uri="{C3380CC4-5D6E-409C-BE32-E72D297353CC}">
                <c16:uniqueId val="{000003E5-1744-4914-988D-66EF0C16342B}"/>
              </c:ext>
            </c:extLst>
          </c:dPt>
          <c:dPt>
            <c:idx val="498"/>
            <c:invertIfNegative val="1"/>
            <c:bubble3D val="0"/>
            <c:spPr>
              <a:solidFill>
                <a:srgbClr val="AEABAB"/>
              </a:solidFill>
            </c:spPr>
            <c:extLst>
              <c:ext xmlns:c16="http://schemas.microsoft.com/office/drawing/2014/chart" uri="{C3380CC4-5D6E-409C-BE32-E72D297353CC}">
                <c16:uniqueId val="{000003E7-1744-4914-988D-66EF0C16342B}"/>
              </c:ext>
            </c:extLst>
          </c:dPt>
          <c:dPt>
            <c:idx val="499"/>
            <c:invertIfNegative val="1"/>
            <c:bubble3D val="0"/>
            <c:spPr>
              <a:solidFill>
                <a:srgbClr val="AEABAB"/>
              </a:solidFill>
            </c:spPr>
            <c:extLst>
              <c:ext xmlns:c16="http://schemas.microsoft.com/office/drawing/2014/chart" uri="{C3380CC4-5D6E-409C-BE32-E72D297353CC}">
                <c16:uniqueId val="{000003E9-1744-4914-988D-66EF0C16342B}"/>
              </c:ext>
            </c:extLst>
          </c:dPt>
          <c:dPt>
            <c:idx val="500"/>
            <c:invertIfNegative val="1"/>
            <c:bubble3D val="0"/>
            <c:spPr>
              <a:solidFill>
                <a:srgbClr val="AEABAB"/>
              </a:solidFill>
            </c:spPr>
            <c:extLst>
              <c:ext xmlns:c16="http://schemas.microsoft.com/office/drawing/2014/chart" uri="{C3380CC4-5D6E-409C-BE32-E72D297353CC}">
                <c16:uniqueId val="{000003EB-1744-4914-988D-66EF0C16342B}"/>
              </c:ext>
            </c:extLst>
          </c:dPt>
          <c:dPt>
            <c:idx val="501"/>
            <c:invertIfNegative val="1"/>
            <c:bubble3D val="0"/>
            <c:spPr>
              <a:solidFill>
                <a:srgbClr val="AEABAB"/>
              </a:solidFill>
            </c:spPr>
            <c:extLst>
              <c:ext xmlns:c16="http://schemas.microsoft.com/office/drawing/2014/chart" uri="{C3380CC4-5D6E-409C-BE32-E72D297353CC}">
                <c16:uniqueId val="{000003ED-1744-4914-988D-66EF0C16342B}"/>
              </c:ext>
            </c:extLst>
          </c:dPt>
          <c:dPt>
            <c:idx val="502"/>
            <c:invertIfNegative val="1"/>
            <c:bubble3D val="0"/>
            <c:spPr>
              <a:solidFill>
                <a:srgbClr val="AEABAB"/>
              </a:solidFill>
            </c:spPr>
            <c:extLst>
              <c:ext xmlns:c16="http://schemas.microsoft.com/office/drawing/2014/chart" uri="{C3380CC4-5D6E-409C-BE32-E72D297353CC}">
                <c16:uniqueId val="{000003EF-1744-4914-988D-66EF0C16342B}"/>
              </c:ext>
            </c:extLst>
          </c:dPt>
          <c:dPt>
            <c:idx val="503"/>
            <c:invertIfNegative val="1"/>
            <c:bubble3D val="0"/>
            <c:spPr>
              <a:solidFill>
                <a:srgbClr val="AEABAB"/>
              </a:solidFill>
            </c:spPr>
            <c:extLst>
              <c:ext xmlns:c16="http://schemas.microsoft.com/office/drawing/2014/chart" uri="{C3380CC4-5D6E-409C-BE32-E72D297353CC}">
                <c16:uniqueId val="{000003F1-1744-4914-988D-66EF0C16342B}"/>
              </c:ext>
            </c:extLst>
          </c:dPt>
          <c:dPt>
            <c:idx val="504"/>
            <c:invertIfNegative val="1"/>
            <c:bubble3D val="0"/>
            <c:spPr>
              <a:solidFill>
                <a:srgbClr val="AEABAB"/>
              </a:solidFill>
            </c:spPr>
            <c:extLst>
              <c:ext xmlns:c16="http://schemas.microsoft.com/office/drawing/2014/chart" uri="{C3380CC4-5D6E-409C-BE32-E72D297353CC}">
                <c16:uniqueId val="{000003F3-1744-4914-988D-66EF0C16342B}"/>
              </c:ext>
            </c:extLst>
          </c:dPt>
          <c:dPt>
            <c:idx val="505"/>
            <c:invertIfNegative val="1"/>
            <c:bubble3D val="0"/>
            <c:spPr>
              <a:solidFill>
                <a:srgbClr val="AEABAB"/>
              </a:solidFill>
            </c:spPr>
            <c:extLst>
              <c:ext xmlns:c16="http://schemas.microsoft.com/office/drawing/2014/chart" uri="{C3380CC4-5D6E-409C-BE32-E72D297353CC}">
                <c16:uniqueId val="{000003F5-1744-4914-988D-66EF0C16342B}"/>
              </c:ext>
            </c:extLst>
          </c:dPt>
          <c:dPt>
            <c:idx val="506"/>
            <c:invertIfNegative val="1"/>
            <c:bubble3D val="0"/>
            <c:spPr>
              <a:solidFill>
                <a:srgbClr val="AEABAB"/>
              </a:solidFill>
            </c:spPr>
            <c:extLst>
              <c:ext xmlns:c16="http://schemas.microsoft.com/office/drawing/2014/chart" uri="{C3380CC4-5D6E-409C-BE32-E72D297353CC}">
                <c16:uniqueId val="{000003F7-1744-4914-988D-66EF0C16342B}"/>
              </c:ext>
            </c:extLst>
          </c:dPt>
          <c:dPt>
            <c:idx val="507"/>
            <c:invertIfNegative val="1"/>
            <c:bubble3D val="0"/>
            <c:spPr>
              <a:solidFill>
                <a:srgbClr val="AEABAB"/>
              </a:solidFill>
            </c:spPr>
            <c:extLst>
              <c:ext xmlns:c16="http://schemas.microsoft.com/office/drawing/2014/chart" uri="{C3380CC4-5D6E-409C-BE32-E72D297353CC}">
                <c16:uniqueId val="{000003F9-1744-4914-988D-66EF0C16342B}"/>
              </c:ext>
            </c:extLst>
          </c:dPt>
          <c:dPt>
            <c:idx val="508"/>
            <c:invertIfNegative val="1"/>
            <c:bubble3D val="0"/>
            <c:spPr>
              <a:solidFill>
                <a:srgbClr val="AEABAB"/>
              </a:solidFill>
            </c:spPr>
            <c:extLst>
              <c:ext xmlns:c16="http://schemas.microsoft.com/office/drawing/2014/chart" uri="{C3380CC4-5D6E-409C-BE32-E72D297353CC}">
                <c16:uniqueId val="{000003FB-1744-4914-988D-66EF0C16342B}"/>
              </c:ext>
            </c:extLst>
          </c:dPt>
          <c:dPt>
            <c:idx val="509"/>
            <c:invertIfNegative val="1"/>
            <c:bubble3D val="0"/>
            <c:spPr>
              <a:solidFill>
                <a:srgbClr val="AEABAB"/>
              </a:solidFill>
            </c:spPr>
            <c:extLst>
              <c:ext xmlns:c16="http://schemas.microsoft.com/office/drawing/2014/chart" uri="{C3380CC4-5D6E-409C-BE32-E72D297353CC}">
                <c16:uniqueId val="{000003FD-1744-4914-988D-66EF0C16342B}"/>
              </c:ext>
            </c:extLst>
          </c:dPt>
          <c:dPt>
            <c:idx val="510"/>
            <c:invertIfNegative val="1"/>
            <c:bubble3D val="0"/>
            <c:spPr>
              <a:solidFill>
                <a:srgbClr val="AEABAB"/>
              </a:solidFill>
            </c:spPr>
            <c:extLst>
              <c:ext xmlns:c16="http://schemas.microsoft.com/office/drawing/2014/chart" uri="{C3380CC4-5D6E-409C-BE32-E72D297353CC}">
                <c16:uniqueId val="{000003FF-1744-4914-988D-66EF0C16342B}"/>
              </c:ext>
            </c:extLst>
          </c:dPt>
          <c:dPt>
            <c:idx val="511"/>
            <c:invertIfNegative val="1"/>
            <c:bubble3D val="0"/>
            <c:spPr>
              <a:solidFill>
                <a:srgbClr val="AEABAB"/>
              </a:solidFill>
            </c:spPr>
            <c:extLst>
              <c:ext xmlns:c16="http://schemas.microsoft.com/office/drawing/2014/chart" uri="{C3380CC4-5D6E-409C-BE32-E72D297353CC}">
                <c16:uniqueId val="{00000401-1744-4914-988D-66EF0C16342B}"/>
              </c:ext>
            </c:extLst>
          </c:dPt>
          <c:dPt>
            <c:idx val="512"/>
            <c:invertIfNegative val="1"/>
            <c:bubble3D val="0"/>
            <c:spPr>
              <a:solidFill>
                <a:srgbClr val="AEABAB"/>
              </a:solidFill>
            </c:spPr>
            <c:extLst>
              <c:ext xmlns:c16="http://schemas.microsoft.com/office/drawing/2014/chart" uri="{C3380CC4-5D6E-409C-BE32-E72D297353CC}">
                <c16:uniqueId val="{00000403-1744-4914-988D-66EF0C16342B}"/>
              </c:ext>
            </c:extLst>
          </c:dPt>
          <c:dPt>
            <c:idx val="513"/>
            <c:invertIfNegative val="1"/>
            <c:bubble3D val="0"/>
            <c:spPr>
              <a:solidFill>
                <a:srgbClr val="AEABAB"/>
              </a:solidFill>
            </c:spPr>
            <c:extLst>
              <c:ext xmlns:c16="http://schemas.microsoft.com/office/drawing/2014/chart" uri="{C3380CC4-5D6E-409C-BE32-E72D297353CC}">
                <c16:uniqueId val="{00000405-1744-4914-988D-66EF0C16342B}"/>
              </c:ext>
            </c:extLst>
          </c:dPt>
          <c:dPt>
            <c:idx val="514"/>
            <c:invertIfNegative val="1"/>
            <c:bubble3D val="0"/>
            <c:spPr>
              <a:solidFill>
                <a:srgbClr val="AEABAB"/>
              </a:solidFill>
            </c:spPr>
            <c:extLst>
              <c:ext xmlns:c16="http://schemas.microsoft.com/office/drawing/2014/chart" uri="{C3380CC4-5D6E-409C-BE32-E72D297353CC}">
                <c16:uniqueId val="{00000407-1744-4914-988D-66EF0C16342B}"/>
              </c:ext>
            </c:extLst>
          </c:dPt>
          <c:dPt>
            <c:idx val="515"/>
            <c:invertIfNegative val="1"/>
            <c:bubble3D val="0"/>
            <c:spPr>
              <a:solidFill>
                <a:srgbClr val="AEABAB"/>
              </a:solidFill>
            </c:spPr>
            <c:extLst>
              <c:ext xmlns:c16="http://schemas.microsoft.com/office/drawing/2014/chart" uri="{C3380CC4-5D6E-409C-BE32-E72D297353CC}">
                <c16:uniqueId val="{00000409-1744-4914-988D-66EF0C16342B}"/>
              </c:ext>
            </c:extLst>
          </c:dPt>
          <c:dPt>
            <c:idx val="516"/>
            <c:invertIfNegative val="1"/>
            <c:bubble3D val="0"/>
            <c:spPr>
              <a:solidFill>
                <a:srgbClr val="AEABAB"/>
              </a:solidFill>
            </c:spPr>
            <c:extLst>
              <c:ext xmlns:c16="http://schemas.microsoft.com/office/drawing/2014/chart" uri="{C3380CC4-5D6E-409C-BE32-E72D297353CC}">
                <c16:uniqueId val="{0000040B-1744-4914-988D-66EF0C16342B}"/>
              </c:ext>
            </c:extLst>
          </c:dPt>
          <c:dPt>
            <c:idx val="517"/>
            <c:invertIfNegative val="1"/>
            <c:bubble3D val="0"/>
            <c:spPr>
              <a:solidFill>
                <a:srgbClr val="AEABAB"/>
              </a:solidFill>
            </c:spPr>
            <c:extLst>
              <c:ext xmlns:c16="http://schemas.microsoft.com/office/drawing/2014/chart" uri="{C3380CC4-5D6E-409C-BE32-E72D297353CC}">
                <c16:uniqueId val="{0000040D-1744-4914-988D-66EF0C16342B}"/>
              </c:ext>
            </c:extLst>
          </c:dPt>
          <c:dPt>
            <c:idx val="518"/>
            <c:invertIfNegative val="1"/>
            <c:bubble3D val="0"/>
            <c:spPr>
              <a:solidFill>
                <a:srgbClr val="AEABAB"/>
              </a:solidFill>
            </c:spPr>
            <c:extLst>
              <c:ext xmlns:c16="http://schemas.microsoft.com/office/drawing/2014/chart" uri="{C3380CC4-5D6E-409C-BE32-E72D297353CC}">
                <c16:uniqueId val="{0000040F-1744-4914-988D-66EF0C16342B}"/>
              </c:ext>
            </c:extLst>
          </c:dPt>
          <c:dPt>
            <c:idx val="519"/>
            <c:invertIfNegative val="1"/>
            <c:bubble3D val="0"/>
            <c:spPr>
              <a:solidFill>
                <a:srgbClr val="AEABAB"/>
              </a:solidFill>
            </c:spPr>
            <c:extLst>
              <c:ext xmlns:c16="http://schemas.microsoft.com/office/drawing/2014/chart" uri="{C3380CC4-5D6E-409C-BE32-E72D297353CC}">
                <c16:uniqueId val="{00000411-1744-4914-988D-66EF0C16342B}"/>
              </c:ext>
            </c:extLst>
          </c:dPt>
          <c:dPt>
            <c:idx val="520"/>
            <c:invertIfNegative val="1"/>
            <c:bubble3D val="0"/>
            <c:spPr>
              <a:solidFill>
                <a:srgbClr val="AEABAB"/>
              </a:solidFill>
            </c:spPr>
            <c:extLst>
              <c:ext xmlns:c16="http://schemas.microsoft.com/office/drawing/2014/chart" uri="{C3380CC4-5D6E-409C-BE32-E72D297353CC}">
                <c16:uniqueId val="{00000413-1744-4914-988D-66EF0C16342B}"/>
              </c:ext>
            </c:extLst>
          </c:dPt>
          <c:dPt>
            <c:idx val="521"/>
            <c:invertIfNegative val="1"/>
            <c:bubble3D val="0"/>
            <c:spPr>
              <a:solidFill>
                <a:srgbClr val="AEABAB"/>
              </a:solidFill>
            </c:spPr>
            <c:extLst>
              <c:ext xmlns:c16="http://schemas.microsoft.com/office/drawing/2014/chart" uri="{C3380CC4-5D6E-409C-BE32-E72D297353CC}">
                <c16:uniqueId val="{00000415-1744-4914-988D-66EF0C16342B}"/>
              </c:ext>
            </c:extLst>
          </c:dPt>
          <c:dPt>
            <c:idx val="522"/>
            <c:invertIfNegative val="1"/>
            <c:bubble3D val="0"/>
            <c:spPr>
              <a:solidFill>
                <a:srgbClr val="AEABAB"/>
              </a:solidFill>
            </c:spPr>
            <c:extLst>
              <c:ext xmlns:c16="http://schemas.microsoft.com/office/drawing/2014/chart" uri="{C3380CC4-5D6E-409C-BE32-E72D297353CC}">
                <c16:uniqueId val="{00000417-1744-4914-988D-66EF0C16342B}"/>
              </c:ext>
            </c:extLst>
          </c:dPt>
          <c:dPt>
            <c:idx val="523"/>
            <c:invertIfNegative val="1"/>
            <c:bubble3D val="0"/>
            <c:spPr>
              <a:solidFill>
                <a:srgbClr val="AEABAB"/>
              </a:solidFill>
            </c:spPr>
            <c:extLst>
              <c:ext xmlns:c16="http://schemas.microsoft.com/office/drawing/2014/chart" uri="{C3380CC4-5D6E-409C-BE32-E72D297353CC}">
                <c16:uniqueId val="{00000419-1744-4914-988D-66EF0C16342B}"/>
              </c:ext>
            </c:extLst>
          </c:dPt>
          <c:dPt>
            <c:idx val="524"/>
            <c:invertIfNegative val="1"/>
            <c:bubble3D val="0"/>
            <c:spPr>
              <a:solidFill>
                <a:srgbClr val="AEABAB"/>
              </a:solidFill>
            </c:spPr>
            <c:extLst>
              <c:ext xmlns:c16="http://schemas.microsoft.com/office/drawing/2014/chart" uri="{C3380CC4-5D6E-409C-BE32-E72D297353CC}">
                <c16:uniqueId val="{0000041B-1744-4914-988D-66EF0C16342B}"/>
              </c:ext>
            </c:extLst>
          </c:dPt>
          <c:dPt>
            <c:idx val="525"/>
            <c:invertIfNegative val="1"/>
            <c:bubble3D val="0"/>
            <c:spPr>
              <a:solidFill>
                <a:srgbClr val="AEABAB"/>
              </a:solidFill>
            </c:spPr>
            <c:extLst>
              <c:ext xmlns:c16="http://schemas.microsoft.com/office/drawing/2014/chart" uri="{C3380CC4-5D6E-409C-BE32-E72D297353CC}">
                <c16:uniqueId val="{0000041D-1744-4914-988D-66EF0C16342B}"/>
              </c:ext>
            </c:extLst>
          </c:dPt>
          <c:dPt>
            <c:idx val="526"/>
            <c:invertIfNegative val="1"/>
            <c:bubble3D val="0"/>
            <c:spPr>
              <a:solidFill>
                <a:srgbClr val="AEABAB"/>
              </a:solidFill>
            </c:spPr>
            <c:extLst>
              <c:ext xmlns:c16="http://schemas.microsoft.com/office/drawing/2014/chart" uri="{C3380CC4-5D6E-409C-BE32-E72D297353CC}">
                <c16:uniqueId val="{0000041F-1744-4914-988D-66EF0C16342B}"/>
              </c:ext>
            </c:extLst>
          </c:dPt>
          <c:dPt>
            <c:idx val="527"/>
            <c:invertIfNegative val="1"/>
            <c:bubble3D val="0"/>
            <c:spPr>
              <a:solidFill>
                <a:srgbClr val="AEABAB"/>
              </a:solidFill>
            </c:spPr>
            <c:extLst>
              <c:ext xmlns:c16="http://schemas.microsoft.com/office/drawing/2014/chart" uri="{C3380CC4-5D6E-409C-BE32-E72D297353CC}">
                <c16:uniqueId val="{00000421-1744-4914-988D-66EF0C16342B}"/>
              </c:ext>
            </c:extLst>
          </c:dPt>
          <c:dPt>
            <c:idx val="528"/>
            <c:invertIfNegative val="1"/>
            <c:bubble3D val="0"/>
            <c:spPr>
              <a:solidFill>
                <a:srgbClr val="AEABAB"/>
              </a:solidFill>
            </c:spPr>
            <c:extLst>
              <c:ext xmlns:c16="http://schemas.microsoft.com/office/drawing/2014/chart" uri="{C3380CC4-5D6E-409C-BE32-E72D297353CC}">
                <c16:uniqueId val="{00000423-1744-4914-988D-66EF0C16342B}"/>
              </c:ext>
            </c:extLst>
          </c:dPt>
          <c:dPt>
            <c:idx val="529"/>
            <c:invertIfNegative val="1"/>
            <c:bubble3D val="0"/>
            <c:spPr>
              <a:solidFill>
                <a:srgbClr val="AEABAB"/>
              </a:solidFill>
            </c:spPr>
            <c:extLst>
              <c:ext xmlns:c16="http://schemas.microsoft.com/office/drawing/2014/chart" uri="{C3380CC4-5D6E-409C-BE32-E72D297353CC}">
                <c16:uniqueId val="{00000425-1744-4914-988D-66EF0C16342B}"/>
              </c:ext>
            </c:extLst>
          </c:dPt>
          <c:dPt>
            <c:idx val="530"/>
            <c:invertIfNegative val="1"/>
            <c:bubble3D val="0"/>
            <c:spPr>
              <a:solidFill>
                <a:srgbClr val="AEABAB"/>
              </a:solidFill>
            </c:spPr>
            <c:extLst>
              <c:ext xmlns:c16="http://schemas.microsoft.com/office/drawing/2014/chart" uri="{C3380CC4-5D6E-409C-BE32-E72D297353CC}">
                <c16:uniqueId val="{00000427-1744-4914-988D-66EF0C16342B}"/>
              </c:ext>
            </c:extLst>
          </c:dPt>
          <c:dPt>
            <c:idx val="531"/>
            <c:invertIfNegative val="1"/>
            <c:bubble3D val="0"/>
            <c:spPr>
              <a:solidFill>
                <a:srgbClr val="AEABAB"/>
              </a:solidFill>
            </c:spPr>
            <c:extLst>
              <c:ext xmlns:c16="http://schemas.microsoft.com/office/drawing/2014/chart" uri="{C3380CC4-5D6E-409C-BE32-E72D297353CC}">
                <c16:uniqueId val="{00000429-1744-4914-988D-66EF0C16342B}"/>
              </c:ext>
            </c:extLst>
          </c:dPt>
          <c:dPt>
            <c:idx val="532"/>
            <c:invertIfNegative val="1"/>
            <c:bubble3D val="0"/>
            <c:spPr>
              <a:solidFill>
                <a:srgbClr val="AEABAB"/>
              </a:solidFill>
            </c:spPr>
            <c:extLst>
              <c:ext xmlns:c16="http://schemas.microsoft.com/office/drawing/2014/chart" uri="{C3380CC4-5D6E-409C-BE32-E72D297353CC}">
                <c16:uniqueId val="{0000042B-1744-4914-988D-66EF0C16342B}"/>
              </c:ext>
            </c:extLst>
          </c:dPt>
          <c:dPt>
            <c:idx val="533"/>
            <c:invertIfNegative val="1"/>
            <c:bubble3D val="0"/>
            <c:spPr>
              <a:solidFill>
                <a:srgbClr val="AEABAB"/>
              </a:solidFill>
            </c:spPr>
            <c:extLst>
              <c:ext xmlns:c16="http://schemas.microsoft.com/office/drawing/2014/chart" uri="{C3380CC4-5D6E-409C-BE32-E72D297353CC}">
                <c16:uniqueId val="{0000042D-1744-4914-988D-66EF0C16342B}"/>
              </c:ext>
            </c:extLst>
          </c:dPt>
          <c:dPt>
            <c:idx val="534"/>
            <c:invertIfNegative val="1"/>
            <c:bubble3D val="0"/>
            <c:spPr>
              <a:solidFill>
                <a:srgbClr val="AEABAB"/>
              </a:solidFill>
            </c:spPr>
            <c:extLst>
              <c:ext xmlns:c16="http://schemas.microsoft.com/office/drawing/2014/chart" uri="{C3380CC4-5D6E-409C-BE32-E72D297353CC}">
                <c16:uniqueId val="{0000042F-1744-4914-988D-66EF0C16342B}"/>
              </c:ext>
            </c:extLst>
          </c:dPt>
          <c:dPt>
            <c:idx val="535"/>
            <c:invertIfNegative val="1"/>
            <c:bubble3D val="0"/>
            <c:spPr>
              <a:solidFill>
                <a:srgbClr val="AEABAB"/>
              </a:solidFill>
            </c:spPr>
            <c:extLst>
              <c:ext xmlns:c16="http://schemas.microsoft.com/office/drawing/2014/chart" uri="{C3380CC4-5D6E-409C-BE32-E72D297353CC}">
                <c16:uniqueId val="{00000431-1744-4914-988D-66EF0C16342B}"/>
              </c:ext>
            </c:extLst>
          </c:dPt>
          <c:dPt>
            <c:idx val="536"/>
            <c:invertIfNegative val="1"/>
            <c:bubble3D val="0"/>
            <c:spPr>
              <a:solidFill>
                <a:srgbClr val="AEABAB"/>
              </a:solidFill>
            </c:spPr>
            <c:extLst>
              <c:ext xmlns:c16="http://schemas.microsoft.com/office/drawing/2014/chart" uri="{C3380CC4-5D6E-409C-BE32-E72D297353CC}">
                <c16:uniqueId val="{00000433-1744-4914-988D-66EF0C16342B}"/>
              </c:ext>
            </c:extLst>
          </c:dPt>
          <c:dPt>
            <c:idx val="537"/>
            <c:invertIfNegative val="1"/>
            <c:bubble3D val="0"/>
            <c:spPr>
              <a:solidFill>
                <a:srgbClr val="AEABAB"/>
              </a:solidFill>
            </c:spPr>
            <c:extLst>
              <c:ext xmlns:c16="http://schemas.microsoft.com/office/drawing/2014/chart" uri="{C3380CC4-5D6E-409C-BE32-E72D297353CC}">
                <c16:uniqueId val="{00000435-1744-4914-988D-66EF0C16342B}"/>
              </c:ext>
            </c:extLst>
          </c:dPt>
          <c:dPt>
            <c:idx val="538"/>
            <c:invertIfNegative val="1"/>
            <c:bubble3D val="0"/>
            <c:spPr>
              <a:solidFill>
                <a:srgbClr val="AEABAB"/>
              </a:solidFill>
            </c:spPr>
            <c:extLst>
              <c:ext xmlns:c16="http://schemas.microsoft.com/office/drawing/2014/chart" uri="{C3380CC4-5D6E-409C-BE32-E72D297353CC}">
                <c16:uniqueId val="{00000437-1744-4914-988D-66EF0C16342B}"/>
              </c:ext>
            </c:extLst>
          </c:dPt>
          <c:dPt>
            <c:idx val="539"/>
            <c:invertIfNegative val="1"/>
            <c:bubble3D val="0"/>
            <c:spPr>
              <a:solidFill>
                <a:srgbClr val="AEABAB"/>
              </a:solidFill>
            </c:spPr>
            <c:extLst>
              <c:ext xmlns:c16="http://schemas.microsoft.com/office/drawing/2014/chart" uri="{C3380CC4-5D6E-409C-BE32-E72D297353CC}">
                <c16:uniqueId val="{00000439-1744-4914-988D-66EF0C16342B}"/>
              </c:ext>
            </c:extLst>
          </c:dPt>
          <c:dPt>
            <c:idx val="540"/>
            <c:invertIfNegative val="1"/>
            <c:bubble3D val="0"/>
            <c:spPr>
              <a:solidFill>
                <a:srgbClr val="AEABAB"/>
              </a:solidFill>
            </c:spPr>
            <c:extLst>
              <c:ext xmlns:c16="http://schemas.microsoft.com/office/drawing/2014/chart" uri="{C3380CC4-5D6E-409C-BE32-E72D297353CC}">
                <c16:uniqueId val="{0000043B-1744-4914-988D-66EF0C16342B}"/>
              </c:ext>
            </c:extLst>
          </c:dPt>
          <c:dPt>
            <c:idx val="541"/>
            <c:invertIfNegative val="1"/>
            <c:bubble3D val="0"/>
            <c:spPr>
              <a:solidFill>
                <a:srgbClr val="AEABAB"/>
              </a:solidFill>
            </c:spPr>
            <c:extLst>
              <c:ext xmlns:c16="http://schemas.microsoft.com/office/drawing/2014/chart" uri="{C3380CC4-5D6E-409C-BE32-E72D297353CC}">
                <c16:uniqueId val="{0000043D-1744-4914-988D-66EF0C16342B}"/>
              </c:ext>
            </c:extLst>
          </c:dPt>
          <c:dPt>
            <c:idx val="542"/>
            <c:invertIfNegative val="1"/>
            <c:bubble3D val="0"/>
            <c:spPr>
              <a:solidFill>
                <a:srgbClr val="AEABAB"/>
              </a:solidFill>
            </c:spPr>
            <c:extLst>
              <c:ext xmlns:c16="http://schemas.microsoft.com/office/drawing/2014/chart" uri="{C3380CC4-5D6E-409C-BE32-E72D297353CC}">
                <c16:uniqueId val="{0000043F-1744-4914-988D-66EF0C16342B}"/>
              </c:ext>
            </c:extLst>
          </c:dPt>
          <c:dPt>
            <c:idx val="543"/>
            <c:invertIfNegative val="1"/>
            <c:bubble3D val="0"/>
            <c:spPr>
              <a:solidFill>
                <a:srgbClr val="AEABAB"/>
              </a:solidFill>
            </c:spPr>
            <c:extLst>
              <c:ext xmlns:c16="http://schemas.microsoft.com/office/drawing/2014/chart" uri="{C3380CC4-5D6E-409C-BE32-E72D297353CC}">
                <c16:uniqueId val="{00000441-1744-4914-988D-66EF0C16342B}"/>
              </c:ext>
            </c:extLst>
          </c:dPt>
          <c:dPt>
            <c:idx val="544"/>
            <c:invertIfNegative val="1"/>
            <c:bubble3D val="0"/>
            <c:spPr>
              <a:solidFill>
                <a:srgbClr val="AEABAB"/>
              </a:solidFill>
            </c:spPr>
            <c:extLst>
              <c:ext xmlns:c16="http://schemas.microsoft.com/office/drawing/2014/chart" uri="{C3380CC4-5D6E-409C-BE32-E72D297353CC}">
                <c16:uniqueId val="{00000443-1744-4914-988D-66EF0C16342B}"/>
              </c:ext>
            </c:extLst>
          </c:dPt>
          <c:dPt>
            <c:idx val="545"/>
            <c:invertIfNegative val="1"/>
            <c:bubble3D val="0"/>
            <c:spPr>
              <a:solidFill>
                <a:srgbClr val="AEABAB"/>
              </a:solidFill>
            </c:spPr>
            <c:extLst>
              <c:ext xmlns:c16="http://schemas.microsoft.com/office/drawing/2014/chart" uri="{C3380CC4-5D6E-409C-BE32-E72D297353CC}">
                <c16:uniqueId val="{00000445-1744-4914-988D-66EF0C16342B}"/>
              </c:ext>
            </c:extLst>
          </c:dPt>
          <c:dPt>
            <c:idx val="546"/>
            <c:invertIfNegative val="1"/>
            <c:bubble3D val="0"/>
            <c:spPr>
              <a:solidFill>
                <a:srgbClr val="AEABAB"/>
              </a:solidFill>
            </c:spPr>
            <c:extLst>
              <c:ext xmlns:c16="http://schemas.microsoft.com/office/drawing/2014/chart" uri="{C3380CC4-5D6E-409C-BE32-E72D297353CC}">
                <c16:uniqueId val="{00000447-1744-4914-988D-66EF0C16342B}"/>
              </c:ext>
            </c:extLst>
          </c:dPt>
          <c:dPt>
            <c:idx val="547"/>
            <c:invertIfNegative val="1"/>
            <c:bubble3D val="0"/>
            <c:spPr>
              <a:solidFill>
                <a:srgbClr val="AEABAB"/>
              </a:solidFill>
            </c:spPr>
            <c:extLst>
              <c:ext xmlns:c16="http://schemas.microsoft.com/office/drawing/2014/chart" uri="{C3380CC4-5D6E-409C-BE32-E72D297353CC}">
                <c16:uniqueId val="{00000449-1744-4914-988D-66EF0C16342B}"/>
              </c:ext>
            </c:extLst>
          </c:dPt>
          <c:dPt>
            <c:idx val="548"/>
            <c:invertIfNegative val="1"/>
            <c:bubble3D val="0"/>
            <c:spPr>
              <a:solidFill>
                <a:srgbClr val="AEABAB"/>
              </a:solidFill>
            </c:spPr>
            <c:extLst>
              <c:ext xmlns:c16="http://schemas.microsoft.com/office/drawing/2014/chart" uri="{C3380CC4-5D6E-409C-BE32-E72D297353CC}">
                <c16:uniqueId val="{0000044B-1744-4914-988D-66EF0C16342B}"/>
              </c:ext>
            </c:extLst>
          </c:dPt>
          <c:dPt>
            <c:idx val="549"/>
            <c:invertIfNegative val="1"/>
            <c:bubble3D val="0"/>
            <c:spPr>
              <a:solidFill>
                <a:srgbClr val="AEABAB"/>
              </a:solidFill>
            </c:spPr>
            <c:extLst>
              <c:ext xmlns:c16="http://schemas.microsoft.com/office/drawing/2014/chart" uri="{C3380CC4-5D6E-409C-BE32-E72D297353CC}">
                <c16:uniqueId val="{0000044D-1744-4914-988D-66EF0C16342B}"/>
              </c:ext>
            </c:extLst>
          </c:dPt>
          <c:dPt>
            <c:idx val="550"/>
            <c:invertIfNegative val="1"/>
            <c:bubble3D val="0"/>
            <c:spPr>
              <a:solidFill>
                <a:srgbClr val="AEABAB"/>
              </a:solidFill>
            </c:spPr>
            <c:extLst>
              <c:ext xmlns:c16="http://schemas.microsoft.com/office/drawing/2014/chart" uri="{C3380CC4-5D6E-409C-BE32-E72D297353CC}">
                <c16:uniqueId val="{0000044F-1744-4914-988D-66EF0C16342B}"/>
              </c:ext>
            </c:extLst>
          </c:dPt>
          <c:dPt>
            <c:idx val="551"/>
            <c:invertIfNegative val="1"/>
            <c:bubble3D val="0"/>
            <c:spPr>
              <a:solidFill>
                <a:srgbClr val="AEABAB"/>
              </a:solidFill>
            </c:spPr>
            <c:extLst>
              <c:ext xmlns:c16="http://schemas.microsoft.com/office/drawing/2014/chart" uri="{C3380CC4-5D6E-409C-BE32-E72D297353CC}">
                <c16:uniqueId val="{00000451-1744-4914-988D-66EF0C16342B}"/>
              </c:ext>
            </c:extLst>
          </c:dPt>
          <c:dPt>
            <c:idx val="552"/>
            <c:invertIfNegative val="1"/>
            <c:bubble3D val="0"/>
            <c:spPr>
              <a:solidFill>
                <a:srgbClr val="AEABAB"/>
              </a:solidFill>
            </c:spPr>
            <c:extLst>
              <c:ext xmlns:c16="http://schemas.microsoft.com/office/drawing/2014/chart" uri="{C3380CC4-5D6E-409C-BE32-E72D297353CC}">
                <c16:uniqueId val="{00000453-1744-4914-988D-66EF0C16342B}"/>
              </c:ext>
            </c:extLst>
          </c:dPt>
          <c:dPt>
            <c:idx val="553"/>
            <c:invertIfNegative val="1"/>
            <c:bubble3D val="0"/>
            <c:spPr>
              <a:solidFill>
                <a:srgbClr val="AEABAB"/>
              </a:solidFill>
            </c:spPr>
            <c:extLst>
              <c:ext xmlns:c16="http://schemas.microsoft.com/office/drawing/2014/chart" uri="{C3380CC4-5D6E-409C-BE32-E72D297353CC}">
                <c16:uniqueId val="{00000455-1744-4914-988D-66EF0C16342B}"/>
              </c:ext>
            </c:extLst>
          </c:dPt>
          <c:dPt>
            <c:idx val="554"/>
            <c:invertIfNegative val="1"/>
            <c:bubble3D val="0"/>
            <c:spPr>
              <a:solidFill>
                <a:srgbClr val="AEABAB"/>
              </a:solidFill>
            </c:spPr>
            <c:extLst>
              <c:ext xmlns:c16="http://schemas.microsoft.com/office/drawing/2014/chart" uri="{C3380CC4-5D6E-409C-BE32-E72D297353CC}">
                <c16:uniqueId val="{00000457-1744-4914-988D-66EF0C16342B}"/>
              </c:ext>
            </c:extLst>
          </c:dPt>
          <c:dPt>
            <c:idx val="555"/>
            <c:invertIfNegative val="1"/>
            <c:bubble3D val="0"/>
            <c:spPr>
              <a:solidFill>
                <a:srgbClr val="AEABAB"/>
              </a:solidFill>
            </c:spPr>
            <c:extLst>
              <c:ext xmlns:c16="http://schemas.microsoft.com/office/drawing/2014/chart" uri="{C3380CC4-5D6E-409C-BE32-E72D297353CC}">
                <c16:uniqueId val="{00000459-1744-4914-988D-66EF0C16342B}"/>
              </c:ext>
            </c:extLst>
          </c:dPt>
          <c:dPt>
            <c:idx val="556"/>
            <c:invertIfNegative val="1"/>
            <c:bubble3D val="0"/>
            <c:spPr>
              <a:solidFill>
                <a:srgbClr val="AEABAB"/>
              </a:solidFill>
            </c:spPr>
            <c:extLst>
              <c:ext xmlns:c16="http://schemas.microsoft.com/office/drawing/2014/chart" uri="{C3380CC4-5D6E-409C-BE32-E72D297353CC}">
                <c16:uniqueId val="{0000045B-1744-4914-988D-66EF0C16342B}"/>
              </c:ext>
            </c:extLst>
          </c:dPt>
          <c:dPt>
            <c:idx val="557"/>
            <c:invertIfNegative val="1"/>
            <c:bubble3D val="0"/>
            <c:spPr>
              <a:solidFill>
                <a:srgbClr val="AEABAB"/>
              </a:solidFill>
            </c:spPr>
            <c:extLst>
              <c:ext xmlns:c16="http://schemas.microsoft.com/office/drawing/2014/chart" uri="{C3380CC4-5D6E-409C-BE32-E72D297353CC}">
                <c16:uniqueId val="{0000045D-1744-4914-988D-66EF0C16342B}"/>
              </c:ext>
            </c:extLst>
          </c:dPt>
          <c:dPt>
            <c:idx val="558"/>
            <c:invertIfNegative val="1"/>
            <c:bubble3D val="0"/>
            <c:spPr>
              <a:solidFill>
                <a:srgbClr val="AEABAB"/>
              </a:solidFill>
            </c:spPr>
            <c:extLst>
              <c:ext xmlns:c16="http://schemas.microsoft.com/office/drawing/2014/chart" uri="{C3380CC4-5D6E-409C-BE32-E72D297353CC}">
                <c16:uniqueId val="{0000045F-1744-4914-988D-66EF0C16342B}"/>
              </c:ext>
            </c:extLst>
          </c:dPt>
          <c:dPt>
            <c:idx val="559"/>
            <c:invertIfNegative val="1"/>
            <c:bubble3D val="0"/>
            <c:spPr>
              <a:solidFill>
                <a:srgbClr val="AEABAB"/>
              </a:solidFill>
            </c:spPr>
            <c:extLst>
              <c:ext xmlns:c16="http://schemas.microsoft.com/office/drawing/2014/chart" uri="{C3380CC4-5D6E-409C-BE32-E72D297353CC}">
                <c16:uniqueId val="{00000461-1744-4914-988D-66EF0C16342B}"/>
              </c:ext>
            </c:extLst>
          </c:dPt>
          <c:dPt>
            <c:idx val="560"/>
            <c:invertIfNegative val="1"/>
            <c:bubble3D val="0"/>
            <c:spPr>
              <a:solidFill>
                <a:srgbClr val="AEABAB"/>
              </a:solidFill>
            </c:spPr>
            <c:extLst>
              <c:ext xmlns:c16="http://schemas.microsoft.com/office/drawing/2014/chart" uri="{C3380CC4-5D6E-409C-BE32-E72D297353CC}">
                <c16:uniqueId val="{00000463-1744-4914-988D-66EF0C16342B}"/>
              </c:ext>
            </c:extLst>
          </c:dPt>
          <c:dPt>
            <c:idx val="561"/>
            <c:invertIfNegative val="1"/>
            <c:bubble3D val="0"/>
            <c:spPr>
              <a:solidFill>
                <a:srgbClr val="AEABAB"/>
              </a:solidFill>
            </c:spPr>
            <c:extLst>
              <c:ext xmlns:c16="http://schemas.microsoft.com/office/drawing/2014/chart" uri="{C3380CC4-5D6E-409C-BE32-E72D297353CC}">
                <c16:uniqueId val="{00000465-1744-4914-988D-66EF0C16342B}"/>
              </c:ext>
            </c:extLst>
          </c:dPt>
          <c:dPt>
            <c:idx val="562"/>
            <c:invertIfNegative val="1"/>
            <c:bubble3D val="0"/>
            <c:spPr>
              <a:solidFill>
                <a:srgbClr val="AEABAB"/>
              </a:solidFill>
            </c:spPr>
            <c:extLst>
              <c:ext xmlns:c16="http://schemas.microsoft.com/office/drawing/2014/chart" uri="{C3380CC4-5D6E-409C-BE32-E72D297353CC}">
                <c16:uniqueId val="{00000467-1744-4914-988D-66EF0C16342B}"/>
              </c:ext>
            </c:extLst>
          </c:dPt>
          <c:dPt>
            <c:idx val="563"/>
            <c:invertIfNegative val="1"/>
            <c:bubble3D val="0"/>
            <c:spPr>
              <a:solidFill>
                <a:srgbClr val="AEABAB"/>
              </a:solidFill>
            </c:spPr>
            <c:extLst>
              <c:ext xmlns:c16="http://schemas.microsoft.com/office/drawing/2014/chart" uri="{C3380CC4-5D6E-409C-BE32-E72D297353CC}">
                <c16:uniqueId val="{00000469-1744-4914-988D-66EF0C16342B}"/>
              </c:ext>
            </c:extLst>
          </c:dPt>
          <c:dPt>
            <c:idx val="564"/>
            <c:invertIfNegative val="1"/>
            <c:bubble3D val="0"/>
            <c:spPr>
              <a:solidFill>
                <a:srgbClr val="AEABAB"/>
              </a:solidFill>
            </c:spPr>
            <c:extLst>
              <c:ext xmlns:c16="http://schemas.microsoft.com/office/drawing/2014/chart" uri="{C3380CC4-5D6E-409C-BE32-E72D297353CC}">
                <c16:uniqueId val="{0000046B-1744-4914-988D-66EF0C16342B}"/>
              </c:ext>
            </c:extLst>
          </c:dPt>
          <c:dPt>
            <c:idx val="565"/>
            <c:invertIfNegative val="1"/>
            <c:bubble3D val="0"/>
            <c:spPr>
              <a:solidFill>
                <a:srgbClr val="AEABAB"/>
              </a:solidFill>
            </c:spPr>
            <c:extLst>
              <c:ext xmlns:c16="http://schemas.microsoft.com/office/drawing/2014/chart" uri="{C3380CC4-5D6E-409C-BE32-E72D297353CC}">
                <c16:uniqueId val="{0000046D-1744-4914-988D-66EF0C16342B}"/>
              </c:ext>
            </c:extLst>
          </c:dPt>
          <c:cat>
            <c:strRef>
              <c:f>Sheet1!$A$2:$A$567</c:f>
              <c:strCache>
                <c:ptCount val="566"/>
                <c:pt idx="0">
                  <c:v>Ruinart</c:v>
                </c:pt>
                <c:pt idx="1">
                  <c:v>Nicolas</c:v>
                </c:pt>
                <c:pt idx="2">
                  <c:v>Deutz</c:v>
                </c:pt>
                <c:pt idx="3">
                  <c:v>Ruinart</c:v>
                </c:pt>
                <c:pt idx="4">
                  <c:v>Heidsieck &amp;</c:v>
                </c:pt>
                <c:pt idx="5">
                  <c:v>Malard</c:v>
                </c:pt>
                <c:pt idx="6">
                  <c:v>Laurent Per</c:v>
                </c:pt>
                <c:pt idx="7">
                  <c:v>Ayala</c:v>
                </c:pt>
                <c:pt idx="8">
                  <c:v>De Bligny</c:v>
                </c:pt>
                <c:pt idx="9">
                  <c:v>Nicolas Feu</c:v>
                </c:pt>
                <c:pt idx="10">
                  <c:v>Ruinart</c:v>
                </c:pt>
                <c:pt idx="11">
                  <c:v>Canard Duch</c:v>
                </c:pt>
                <c:pt idx="12">
                  <c:v>Taittinger</c:v>
                </c:pt>
                <c:pt idx="13">
                  <c:v>Ruinart</c:v>
                </c:pt>
                <c:pt idx="14">
                  <c:v>Bollinger</c:v>
                </c:pt>
                <c:pt idx="15">
                  <c:v>Besserat De</c:v>
                </c:pt>
                <c:pt idx="16">
                  <c:v>Demoiselle</c:v>
                </c:pt>
                <c:pt idx="17">
                  <c:v>Perrier Jou</c:v>
                </c:pt>
                <c:pt idx="18">
                  <c:v>Ruinart</c:v>
                </c:pt>
                <c:pt idx="19">
                  <c:v>Deutz</c:v>
                </c:pt>
                <c:pt idx="20">
                  <c:v>Ruinart</c:v>
                </c:pt>
                <c:pt idx="21">
                  <c:v>All Others</c:v>
                </c:pt>
                <c:pt idx="22">
                  <c:v>All Others</c:v>
                </c:pt>
                <c:pt idx="23">
                  <c:v>Laurent Per</c:v>
                </c:pt>
                <c:pt idx="24">
                  <c:v>Roederer</c:v>
                </c:pt>
                <c:pt idx="25">
                  <c:v>Pommery</c:v>
                </c:pt>
                <c:pt idx="26">
                  <c:v>Vesselle</c:v>
                </c:pt>
                <c:pt idx="27">
                  <c:v>Campari: Al</c:v>
                </c:pt>
                <c:pt idx="28">
                  <c:v>Bottega</c:v>
                </c:pt>
                <c:pt idx="29">
                  <c:v>Dom Perigno</c:v>
                </c:pt>
                <c:pt idx="30">
                  <c:v>Deutz</c:v>
                </c:pt>
                <c:pt idx="31">
                  <c:v>Ruinart</c:v>
                </c:pt>
                <c:pt idx="32">
                  <c:v>Savian</c:v>
                </c:pt>
                <c:pt idx="33">
                  <c:v>Moët &amp; Chan</c:v>
                </c:pt>
                <c:pt idx="34">
                  <c:v>Dom Perigno</c:v>
                </c:pt>
                <c:pt idx="35">
                  <c:v>Malard</c:v>
                </c:pt>
                <c:pt idx="36">
                  <c:v>All Others</c:v>
                </c:pt>
                <c:pt idx="37">
                  <c:v>Veuve Clicq</c:v>
                </c:pt>
                <c:pt idx="38">
                  <c:v>Taittinger</c:v>
                </c:pt>
                <c:pt idx="39">
                  <c:v>Demoiselle</c:v>
                </c:pt>
                <c:pt idx="40">
                  <c:v>Veuve Clicq</c:v>
                </c:pt>
                <c:pt idx="41">
                  <c:v>Laurent Per</c:v>
                </c:pt>
                <c:pt idx="42">
                  <c:v>Nicolas</c:v>
                </c:pt>
                <c:pt idx="43">
                  <c:v>Patriarche</c:v>
                </c:pt>
                <c:pt idx="44">
                  <c:v>Mure</c:v>
                </c:pt>
                <c:pt idx="45">
                  <c:v>Henriot</c:v>
                </c:pt>
                <c:pt idx="46">
                  <c:v>Ruinart</c:v>
                </c:pt>
                <c:pt idx="47">
                  <c:v>Roederer</c:v>
                </c:pt>
                <c:pt idx="48">
                  <c:v>Savian</c:v>
                </c:pt>
                <c:pt idx="49">
                  <c:v>De Chanceny</c:v>
                </c:pt>
                <c:pt idx="50">
                  <c:v>Veuve Clicq</c:v>
                </c:pt>
                <c:pt idx="51">
                  <c:v>Malard</c:v>
                </c:pt>
                <c:pt idx="52">
                  <c:v>All Others</c:v>
                </c:pt>
                <c:pt idx="53">
                  <c:v>Besserat De</c:v>
                </c:pt>
                <c:pt idx="54">
                  <c:v>De Venoge</c:v>
                </c:pt>
                <c:pt idx="55">
                  <c:v>French Bloo</c:v>
                </c:pt>
                <c:pt idx="56">
                  <c:v>Nicolas</c:v>
                </c:pt>
                <c:pt idx="57">
                  <c:v>Bouvet-Ladu</c:v>
                </c:pt>
                <c:pt idx="58">
                  <c:v>Ruinart</c:v>
                </c:pt>
                <c:pt idx="59">
                  <c:v>Deutz</c:v>
                </c:pt>
                <c:pt idx="60">
                  <c:v>Piper Heids</c:v>
                </c:pt>
                <c:pt idx="61">
                  <c:v>Nicolas Feu</c:v>
                </c:pt>
                <c:pt idx="62">
                  <c:v>Louis Marti</c:v>
                </c:pt>
                <c:pt idx="63">
                  <c:v>Moët &amp; Chan</c:v>
                </c:pt>
                <c:pt idx="64">
                  <c:v>Nicolas</c:v>
                </c:pt>
                <c:pt idx="65">
                  <c:v>Moët &amp; Chan</c:v>
                </c:pt>
                <c:pt idx="66">
                  <c:v>Nicolas Feu</c:v>
                </c:pt>
                <c:pt idx="67">
                  <c:v>Ruinart</c:v>
                </c:pt>
                <c:pt idx="68">
                  <c:v>Lyre's</c:v>
                </c:pt>
                <c:pt idx="69">
                  <c:v>Lanson</c:v>
                </c:pt>
                <c:pt idx="70">
                  <c:v>Campari: Al</c:v>
                </c:pt>
                <c:pt idx="71">
                  <c:v>Nicolas Feu</c:v>
                </c:pt>
                <c:pt idx="72">
                  <c:v>Roederer</c:v>
                </c:pt>
                <c:pt idx="73">
                  <c:v>Canard Duch</c:v>
                </c:pt>
                <c:pt idx="74">
                  <c:v>Bollinger</c:v>
                </c:pt>
                <c:pt idx="75">
                  <c:v>Malard</c:v>
                </c:pt>
                <c:pt idx="76">
                  <c:v>De Bligny</c:v>
                </c:pt>
                <c:pt idx="77">
                  <c:v>Malard</c:v>
                </c:pt>
                <c:pt idx="78">
                  <c:v>Krug</c:v>
                </c:pt>
                <c:pt idx="79">
                  <c:v>Delamotte</c:v>
                </c:pt>
                <c:pt idx="80">
                  <c:v>Henriot</c:v>
                </c:pt>
                <c:pt idx="81">
                  <c:v>Besserat De</c:v>
                </c:pt>
                <c:pt idx="82">
                  <c:v>Pommery</c:v>
                </c:pt>
                <c:pt idx="83">
                  <c:v>De Chanceny</c:v>
                </c:pt>
                <c:pt idx="84">
                  <c:v>Laurent Per</c:v>
                </c:pt>
                <c:pt idx="85">
                  <c:v>Henriot</c:v>
                </c:pt>
                <c:pt idx="86">
                  <c:v>Ayala</c:v>
                </c:pt>
                <c:pt idx="87">
                  <c:v>Roederer</c:v>
                </c:pt>
                <c:pt idx="88">
                  <c:v>All Others</c:v>
                </c:pt>
                <c:pt idx="89">
                  <c:v>Patriarche</c:v>
                </c:pt>
                <c:pt idx="90">
                  <c:v>Vranken</c:v>
                </c:pt>
                <c:pt idx="91">
                  <c:v>Canard Duch</c:v>
                </c:pt>
                <c:pt idx="92">
                  <c:v>Ruinart</c:v>
                </c:pt>
                <c:pt idx="93">
                  <c:v>De Venoge</c:v>
                </c:pt>
                <c:pt idx="94">
                  <c:v>Perrier Jou</c:v>
                </c:pt>
                <c:pt idx="95">
                  <c:v>Roederer</c:v>
                </c:pt>
                <c:pt idx="96">
                  <c:v>Henriot</c:v>
                </c:pt>
                <c:pt idx="97">
                  <c:v>Dom Perigno</c:v>
                </c:pt>
                <c:pt idx="98">
                  <c:v>Roederer</c:v>
                </c:pt>
                <c:pt idx="99">
                  <c:v>Roederer</c:v>
                </c:pt>
                <c:pt idx="100">
                  <c:v>Dom Perigno</c:v>
                </c:pt>
                <c:pt idx="101">
                  <c:v>Ruinart</c:v>
                </c:pt>
                <c:pt idx="102">
                  <c:v>Kriter</c:v>
                </c:pt>
                <c:pt idx="103">
                  <c:v>Ruinart</c:v>
                </c:pt>
                <c:pt idx="104">
                  <c:v>Nicolas</c:v>
                </c:pt>
                <c:pt idx="105">
                  <c:v>Ruinart</c:v>
                </c:pt>
                <c:pt idx="106">
                  <c:v>De Venoge</c:v>
                </c:pt>
                <c:pt idx="107">
                  <c:v>Malard</c:v>
                </c:pt>
                <c:pt idx="108">
                  <c:v>Bollinger</c:v>
                </c:pt>
                <c:pt idx="109">
                  <c:v>De Venoge</c:v>
                </c:pt>
                <c:pt idx="110">
                  <c:v>Bottega</c:v>
                </c:pt>
                <c:pt idx="111">
                  <c:v>Nicolas</c:v>
                </c:pt>
                <c:pt idx="112">
                  <c:v>Roederer</c:v>
                </c:pt>
                <c:pt idx="113">
                  <c:v>Vranken</c:v>
                </c:pt>
                <c:pt idx="114">
                  <c:v>Deutz</c:v>
                </c:pt>
                <c:pt idx="115">
                  <c:v>Roederer</c:v>
                </c:pt>
                <c:pt idx="116">
                  <c:v>Deutz</c:v>
                </c:pt>
                <c:pt idx="117">
                  <c:v>Canard Duch</c:v>
                </c:pt>
                <c:pt idx="118">
                  <c:v>Ruinart</c:v>
                </c:pt>
                <c:pt idx="119">
                  <c:v>Canard Duch</c:v>
                </c:pt>
                <c:pt idx="120">
                  <c:v>All Others</c:v>
                </c:pt>
                <c:pt idx="121">
                  <c:v>Veuve Clicq</c:v>
                </c:pt>
                <c:pt idx="122">
                  <c:v>Roederer</c:v>
                </c:pt>
                <c:pt idx="123">
                  <c:v>Laurent Per</c:v>
                </c:pt>
                <c:pt idx="124">
                  <c:v>Contarini</c:v>
                </c:pt>
                <c:pt idx="125">
                  <c:v>Moët &amp; Chan</c:v>
                </c:pt>
                <c:pt idx="126">
                  <c:v>All Others</c:v>
                </c:pt>
                <c:pt idx="127">
                  <c:v>Nicolas</c:v>
                </c:pt>
                <c:pt idx="128">
                  <c:v>All Others</c:v>
                </c:pt>
                <c:pt idx="129">
                  <c:v>Nicolas</c:v>
                </c:pt>
                <c:pt idx="130">
                  <c:v>All Others</c:v>
                </c:pt>
                <c:pt idx="131">
                  <c:v>Cru La Maqu</c:v>
                </c:pt>
                <c:pt idx="132">
                  <c:v>Nicolas</c:v>
                </c:pt>
                <c:pt idx="133">
                  <c:v>Nicolas</c:v>
                </c:pt>
                <c:pt idx="134">
                  <c:v>Bollinger</c:v>
                </c:pt>
                <c:pt idx="135">
                  <c:v>Nicolas Feu</c:v>
                </c:pt>
                <c:pt idx="136">
                  <c:v>All Others</c:v>
                </c:pt>
                <c:pt idx="137">
                  <c:v>All Others</c:v>
                </c:pt>
                <c:pt idx="138">
                  <c:v>Roederer</c:v>
                </c:pt>
                <c:pt idx="139">
                  <c:v>All Others</c:v>
                </c:pt>
                <c:pt idx="140">
                  <c:v>All Others</c:v>
                </c:pt>
                <c:pt idx="141">
                  <c:v>Laurent Per</c:v>
                </c:pt>
                <c:pt idx="142">
                  <c:v>Nicolas</c:v>
                </c:pt>
                <c:pt idx="143">
                  <c:v>All Others</c:v>
                </c:pt>
                <c:pt idx="144">
                  <c:v>All Others</c:v>
                </c:pt>
                <c:pt idx="145">
                  <c:v>Taittinger</c:v>
                </c:pt>
                <c:pt idx="146">
                  <c:v>Roederer</c:v>
                </c:pt>
                <c:pt idx="147">
                  <c:v>Besserat De</c:v>
                </c:pt>
                <c:pt idx="148">
                  <c:v>Demoiselle</c:v>
                </c:pt>
                <c:pt idx="149">
                  <c:v>Nicolas</c:v>
                </c:pt>
                <c:pt idx="150">
                  <c:v>Pommery</c:v>
                </c:pt>
                <c:pt idx="151">
                  <c:v>Nicolas</c:v>
                </c:pt>
                <c:pt idx="152">
                  <c:v>Nicolas</c:v>
                </c:pt>
                <c:pt idx="153">
                  <c:v>Laurent Per</c:v>
                </c:pt>
                <c:pt idx="154">
                  <c:v>Ruinart</c:v>
                </c:pt>
                <c:pt idx="155">
                  <c:v>All Others</c:v>
                </c:pt>
                <c:pt idx="156">
                  <c:v>Laurent Per</c:v>
                </c:pt>
                <c:pt idx="157">
                  <c:v>Roederer</c:v>
                </c:pt>
                <c:pt idx="158">
                  <c:v>Dom Perigno</c:v>
                </c:pt>
                <c:pt idx="159">
                  <c:v>Lanson</c:v>
                </c:pt>
                <c:pt idx="160">
                  <c:v>All Others</c:v>
                </c:pt>
                <c:pt idx="161">
                  <c:v>Pommery</c:v>
                </c:pt>
                <c:pt idx="162">
                  <c:v>Ruinart</c:v>
                </c:pt>
                <c:pt idx="163">
                  <c:v>Moët &amp; Chan</c:v>
                </c:pt>
                <c:pt idx="164">
                  <c:v>All Others</c:v>
                </c:pt>
                <c:pt idx="165">
                  <c:v>Perrier Jou</c:v>
                </c:pt>
                <c:pt idx="166">
                  <c:v>Perrier Jou</c:v>
                </c:pt>
                <c:pt idx="167">
                  <c:v>Canard Duch</c:v>
                </c:pt>
                <c:pt idx="168">
                  <c:v>All Others</c:v>
                </c:pt>
                <c:pt idx="169">
                  <c:v>Ruinart</c:v>
                </c:pt>
                <c:pt idx="170">
                  <c:v>All Others</c:v>
                </c:pt>
                <c:pt idx="171">
                  <c:v>Veuve Clicq</c:v>
                </c:pt>
                <c:pt idx="172">
                  <c:v>Vesselle</c:v>
                </c:pt>
                <c:pt idx="173">
                  <c:v>Taittinger</c:v>
                </c:pt>
                <c:pt idx="174">
                  <c:v>Louis Marti</c:v>
                </c:pt>
                <c:pt idx="175">
                  <c:v>Ruinart</c:v>
                </c:pt>
                <c:pt idx="176">
                  <c:v>Roederer</c:v>
                </c:pt>
                <c:pt idx="177">
                  <c:v>Contarini</c:v>
                </c:pt>
                <c:pt idx="178">
                  <c:v>Pommery</c:v>
                </c:pt>
                <c:pt idx="179">
                  <c:v>All Others</c:v>
                </c:pt>
                <c:pt idx="180">
                  <c:v>Laurent Per</c:v>
                </c:pt>
                <c:pt idx="181">
                  <c:v>All Others</c:v>
                </c:pt>
                <c:pt idx="182">
                  <c:v>Delamotte</c:v>
                </c:pt>
                <c:pt idx="183">
                  <c:v>Deutz</c:v>
                </c:pt>
                <c:pt idx="184">
                  <c:v>Laurent Per</c:v>
                </c:pt>
                <c:pt idx="185">
                  <c:v>All Others</c:v>
                </c:pt>
                <c:pt idx="186">
                  <c:v>Nicolas</c:v>
                </c:pt>
                <c:pt idx="187">
                  <c:v>Vranken</c:v>
                </c:pt>
                <c:pt idx="188">
                  <c:v>Nicolas</c:v>
                </c:pt>
                <c:pt idx="189">
                  <c:v>Pommery</c:v>
                </c:pt>
                <c:pt idx="190">
                  <c:v>All Others</c:v>
                </c:pt>
                <c:pt idx="191">
                  <c:v>Deutz</c:v>
                </c:pt>
                <c:pt idx="192">
                  <c:v>Ayala</c:v>
                </c:pt>
                <c:pt idx="193">
                  <c:v>Roederer</c:v>
                </c:pt>
                <c:pt idx="194">
                  <c:v>All Others</c:v>
                </c:pt>
                <c:pt idx="195">
                  <c:v>Demoiselle</c:v>
                </c:pt>
                <c:pt idx="196">
                  <c:v>Canard Duch</c:v>
                </c:pt>
                <c:pt idx="197">
                  <c:v>Piper Heids</c:v>
                </c:pt>
                <c:pt idx="198">
                  <c:v>Roederer</c:v>
                </c:pt>
                <c:pt idx="199">
                  <c:v>Piper Heids</c:v>
                </c:pt>
                <c:pt idx="200">
                  <c:v>Pommery</c:v>
                </c:pt>
                <c:pt idx="201">
                  <c:v>Lanson-Bcc:</c:v>
                </c:pt>
                <c:pt idx="202">
                  <c:v>All Others</c:v>
                </c:pt>
                <c:pt idx="203">
                  <c:v>Nicolas</c:v>
                </c:pt>
                <c:pt idx="204">
                  <c:v>Ruinart</c:v>
                </c:pt>
                <c:pt idx="205">
                  <c:v>Moët &amp; Chan</c:v>
                </c:pt>
                <c:pt idx="206">
                  <c:v>All Others</c:v>
                </c:pt>
                <c:pt idx="207">
                  <c:v>All Others</c:v>
                </c:pt>
                <c:pt idx="208">
                  <c:v>Nicolas</c:v>
                </c:pt>
                <c:pt idx="209">
                  <c:v>All Others</c:v>
                </c:pt>
                <c:pt idx="210">
                  <c:v>Vesselle</c:v>
                </c:pt>
                <c:pt idx="211">
                  <c:v>Bollinger</c:v>
                </c:pt>
                <c:pt idx="212">
                  <c:v>Besserat De</c:v>
                </c:pt>
                <c:pt idx="213">
                  <c:v>Veuve Clicq</c:v>
                </c:pt>
                <c:pt idx="214">
                  <c:v>All Others</c:v>
                </c:pt>
                <c:pt idx="215">
                  <c:v>All Others</c:v>
                </c:pt>
                <c:pt idx="216">
                  <c:v>Veuve Clicq</c:v>
                </c:pt>
                <c:pt idx="217">
                  <c:v>All Others</c:v>
                </c:pt>
                <c:pt idx="218">
                  <c:v>Dom Perigno</c:v>
                </c:pt>
                <c:pt idx="219">
                  <c:v>Taittinger</c:v>
                </c:pt>
                <c:pt idx="220">
                  <c:v>Roederer</c:v>
                </c:pt>
                <c:pt idx="221">
                  <c:v>All Others</c:v>
                </c:pt>
                <c:pt idx="222">
                  <c:v>All Others</c:v>
                </c:pt>
                <c:pt idx="223">
                  <c:v>Mure</c:v>
                </c:pt>
                <c:pt idx="224">
                  <c:v>Malard</c:v>
                </c:pt>
                <c:pt idx="225">
                  <c:v>All Others</c:v>
                </c:pt>
                <c:pt idx="226">
                  <c:v>All Others</c:v>
                </c:pt>
                <c:pt idx="227">
                  <c:v>Deutz</c:v>
                </c:pt>
                <c:pt idx="228">
                  <c:v>All Others</c:v>
                </c:pt>
                <c:pt idx="229">
                  <c:v>Bouvet-Ladu</c:v>
                </c:pt>
                <c:pt idx="230">
                  <c:v>All Others</c:v>
                </c:pt>
                <c:pt idx="231">
                  <c:v>All Others</c:v>
                </c:pt>
                <c:pt idx="232">
                  <c:v>Piper Heids</c:v>
                </c:pt>
                <c:pt idx="233">
                  <c:v>All Others</c:v>
                </c:pt>
                <c:pt idx="234">
                  <c:v>Moët &amp; Chan</c:v>
                </c:pt>
                <c:pt idx="235">
                  <c:v>All Others</c:v>
                </c:pt>
                <c:pt idx="236">
                  <c:v>Bollinger</c:v>
                </c:pt>
                <c:pt idx="237">
                  <c:v>Nicolas</c:v>
                </c:pt>
                <c:pt idx="238">
                  <c:v>Laurent Per</c:v>
                </c:pt>
                <c:pt idx="239">
                  <c:v>All Others</c:v>
                </c:pt>
                <c:pt idx="240">
                  <c:v>All Others</c:v>
                </c:pt>
                <c:pt idx="241">
                  <c:v>Henriot</c:v>
                </c:pt>
                <c:pt idx="242">
                  <c:v>All Others</c:v>
                </c:pt>
                <c:pt idx="243">
                  <c:v>Bouvet-Ladu</c:v>
                </c:pt>
                <c:pt idx="244">
                  <c:v>All Others</c:v>
                </c:pt>
                <c:pt idx="245">
                  <c:v>Roederer</c:v>
                </c:pt>
                <c:pt idx="246">
                  <c:v>Bollinger</c:v>
                </c:pt>
                <c:pt idx="247">
                  <c:v>Moët &amp; Chan</c:v>
                </c:pt>
                <c:pt idx="248">
                  <c:v>De Venoge</c:v>
                </c:pt>
                <c:pt idx="249">
                  <c:v>Ruinart</c:v>
                </c:pt>
                <c:pt idx="250">
                  <c:v>Nicolas</c:v>
                </c:pt>
                <c:pt idx="251">
                  <c:v>All Others</c:v>
                </c:pt>
                <c:pt idx="252">
                  <c:v>All Others</c:v>
                </c:pt>
                <c:pt idx="253">
                  <c:v>Canard Duch</c:v>
                </c:pt>
                <c:pt idx="254">
                  <c:v>Bollinger</c:v>
                </c:pt>
                <c:pt idx="255">
                  <c:v>Bouvet-Ladu</c:v>
                </c:pt>
                <c:pt idx="256">
                  <c:v>Krug</c:v>
                </c:pt>
                <c:pt idx="257">
                  <c:v>De Venoge</c:v>
                </c:pt>
                <c:pt idx="258">
                  <c:v>All Others</c:v>
                </c:pt>
                <c:pt idx="259">
                  <c:v>All Others</c:v>
                </c:pt>
                <c:pt idx="260">
                  <c:v>Ruinart</c:v>
                </c:pt>
                <c:pt idx="261">
                  <c:v>Henriot</c:v>
                </c:pt>
                <c:pt idx="262">
                  <c:v>Nicolas</c:v>
                </c:pt>
                <c:pt idx="263">
                  <c:v>De Venoge</c:v>
                </c:pt>
                <c:pt idx="264">
                  <c:v>All Others</c:v>
                </c:pt>
                <c:pt idx="265">
                  <c:v>All Others</c:v>
                </c:pt>
                <c:pt idx="266">
                  <c:v>Ruinart</c:v>
                </c:pt>
                <c:pt idx="267">
                  <c:v>Deutz</c:v>
                </c:pt>
                <c:pt idx="268">
                  <c:v>De Venoge</c:v>
                </c:pt>
                <c:pt idx="269">
                  <c:v>All Others</c:v>
                </c:pt>
                <c:pt idx="270">
                  <c:v>Dom Perigno</c:v>
                </c:pt>
                <c:pt idx="271">
                  <c:v>Vilaveroni</c:v>
                </c:pt>
                <c:pt idx="272">
                  <c:v>Laurent Per</c:v>
                </c:pt>
                <c:pt idx="273">
                  <c:v>Perrier Jou</c:v>
                </c:pt>
                <c:pt idx="274">
                  <c:v>Deutz</c:v>
                </c:pt>
                <c:pt idx="275">
                  <c:v>All Others</c:v>
                </c:pt>
                <c:pt idx="276">
                  <c:v>Celene</c:v>
                </c:pt>
                <c:pt idx="277">
                  <c:v>All Others</c:v>
                </c:pt>
                <c:pt idx="278">
                  <c:v>Piper Heids</c:v>
                </c:pt>
                <c:pt idx="279">
                  <c:v>Mure</c:v>
                </c:pt>
                <c:pt idx="280">
                  <c:v>Nicolas Feu</c:v>
                </c:pt>
                <c:pt idx="281">
                  <c:v>Demoiselle</c:v>
                </c:pt>
                <c:pt idx="282">
                  <c:v>Laurent Per</c:v>
                </c:pt>
                <c:pt idx="283">
                  <c:v>All Others</c:v>
                </c:pt>
                <c:pt idx="284">
                  <c:v>All Others</c:v>
                </c:pt>
                <c:pt idx="285">
                  <c:v>Roederer</c:v>
                </c:pt>
                <c:pt idx="286">
                  <c:v>All Others</c:v>
                </c:pt>
                <c:pt idx="287">
                  <c:v>Ruinart</c:v>
                </c:pt>
                <c:pt idx="288">
                  <c:v>Lanson</c:v>
                </c:pt>
                <c:pt idx="289">
                  <c:v>Celene</c:v>
                </c:pt>
                <c:pt idx="290">
                  <c:v>All Others</c:v>
                </c:pt>
                <c:pt idx="291">
                  <c:v>All Others</c:v>
                </c:pt>
                <c:pt idx="292">
                  <c:v>Taittinger</c:v>
                </c:pt>
                <c:pt idx="293">
                  <c:v>Roederer</c:v>
                </c:pt>
                <c:pt idx="294">
                  <c:v>All Others</c:v>
                </c:pt>
                <c:pt idx="295">
                  <c:v>Veuve Clicq</c:v>
                </c:pt>
                <c:pt idx="296">
                  <c:v>Bollinger</c:v>
                </c:pt>
                <c:pt idx="297">
                  <c:v>Pommery</c:v>
                </c:pt>
                <c:pt idx="298">
                  <c:v>Pommery</c:v>
                </c:pt>
                <c:pt idx="299">
                  <c:v>All Others</c:v>
                </c:pt>
                <c:pt idx="300">
                  <c:v>All Others</c:v>
                </c:pt>
                <c:pt idx="301">
                  <c:v>Krug</c:v>
                </c:pt>
                <c:pt idx="302">
                  <c:v>Deutz</c:v>
                </c:pt>
                <c:pt idx="303">
                  <c:v>Taittinger</c:v>
                </c:pt>
                <c:pt idx="304">
                  <c:v>Roederer</c:v>
                </c:pt>
                <c:pt idx="305">
                  <c:v>Laurent Per</c:v>
                </c:pt>
                <c:pt idx="306">
                  <c:v>All Others</c:v>
                </c:pt>
                <c:pt idx="307">
                  <c:v>All Others</c:v>
                </c:pt>
                <c:pt idx="308">
                  <c:v>Moët &amp; Chan</c:v>
                </c:pt>
                <c:pt idx="309">
                  <c:v>Bottega</c:v>
                </c:pt>
                <c:pt idx="310">
                  <c:v>All Others</c:v>
                </c:pt>
                <c:pt idx="311">
                  <c:v>Veuve Clicq</c:v>
                </c:pt>
                <c:pt idx="312">
                  <c:v>All Others</c:v>
                </c:pt>
                <c:pt idx="313">
                  <c:v>De Bligny</c:v>
                </c:pt>
                <c:pt idx="314">
                  <c:v>Krug</c:v>
                </c:pt>
                <c:pt idx="315">
                  <c:v>Roederer</c:v>
                </c:pt>
                <c:pt idx="316">
                  <c:v>Roederer</c:v>
                </c:pt>
                <c:pt idx="317">
                  <c:v>All Others</c:v>
                </c:pt>
                <c:pt idx="318">
                  <c:v>Veuve Clicq</c:v>
                </c:pt>
                <c:pt idx="319">
                  <c:v>Perrier Jou</c:v>
                </c:pt>
                <c:pt idx="320">
                  <c:v>Dom Perigno</c:v>
                </c:pt>
                <c:pt idx="321">
                  <c:v>All Others</c:v>
                </c:pt>
                <c:pt idx="322">
                  <c:v>Perrier Jou</c:v>
                </c:pt>
                <c:pt idx="323">
                  <c:v>Martel</c:v>
                </c:pt>
                <c:pt idx="324">
                  <c:v>Laurent Per</c:v>
                </c:pt>
                <c:pt idx="325">
                  <c:v>Canard Duch</c:v>
                </c:pt>
                <c:pt idx="326">
                  <c:v>Deutz</c:v>
                </c:pt>
                <c:pt idx="327">
                  <c:v>Dom Perigno</c:v>
                </c:pt>
                <c:pt idx="328">
                  <c:v>Malard</c:v>
                </c:pt>
                <c:pt idx="329">
                  <c:v>Roederer</c:v>
                </c:pt>
                <c:pt idx="330">
                  <c:v>Moët &amp; Chan</c:v>
                </c:pt>
                <c:pt idx="331">
                  <c:v>Bollinger</c:v>
                </c:pt>
                <c:pt idx="332">
                  <c:v>All Others</c:v>
                </c:pt>
                <c:pt idx="333">
                  <c:v>Lanson</c:v>
                </c:pt>
                <c:pt idx="334">
                  <c:v>Roederer</c:v>
                </c:pt>
                <c:pt idx="335">
                  <c:v>All Others</c:v>
                </c:pt>
                <c:pt idx="336">
                  <c:v>Ruinart</c:v>
                </c:pt>
                <c:pt idx="337">
                  <c:v>Bollinger</c:v>
                </c:pt>
                <c:pt idx="338">
                  <c:v>All Others</c:v>
                </c:pt>
                <c:pt idx="339">
                  <c:v>All Others</c:v>
                </c:pt>
                <c:pt idx="340">
                  <c:v>Deutz</c:v>
                </c:pt>
                <c:pt idx="341">
                  <c:v>All Others</c:v>
                </c:pt>
                <c:pt idx="342">
                  <c:v>All Others</c:v>
                </c:pt>
                <c:pt idx="343">
                  <c:v>Bollinger</c:v>
                </c:pt>
                <c:pt idx="344">
                  <c:v>Dom Perigno</c:v>
                </c:pt>
                <c:pt idx="345">
                  <c:v>Bollinger</c:v>
                </c:pt>
                <c:pt idx="346">
                  <c:v>Ruinart</c:v>
                </c:pt>
                <c:pt idx="347">
                  <c:v>Dom Perigno</c:v>
                </c:pt>
                <c:pt idx="348">
                  <c:v>All Others</c:v>
                </c:pt>
                <c:pt idx="349">
                  <c:v>All Others</c:v>
                </c:pt>
                <c:pt idx="350">
                  <c:v>Deutz</c:v>
                </c:pt>
                <c:pt idx="351">
                  <c:v>All Others</c:v>
                </c:pt>
                <c:pt idx="352">
                  <c:v>Laurent Per</c:v>
                </c:pt>
                <c:pt idx="353">
                  <c:v>Jaillance</c:v>
                </c:pt>
                <c:pt idx="354">
                  <c:v>Delamotte</c:v>
                </c:pt>
                <c:pt idx="355">
                  <c:v>Laurent Per</c:v>
                </c:pt>
                <c:pt idx="356">
                  <c:v>All Others</c:v>
                </c:pt>
                <c:pt idx="357">
                  <c:v>All Others</c:v>
                </c:pt>
                <c:pt idx="358">
                  <c:v>All Others</c:v>
                </c:pt>
                <c:pt idx="359">
                  <c:v>Ruinart</c:v>
                </c:pt>
                <c:pt idx="360">
                  <c:v>All Others</c:v>
                </c:pt>
                <c:pt idx="361">
                  <c:v>All Others</c:v>
                </c:pt>
                <c:pt idx="362">
                  <c:v>Pommery</c:v>
                </c:pt>
                <c:pt idx="363">
                  <c:v>Krug</c:v>
                </c:pt>
                <c:pt idx="364">
                  <c:v>Roederer</c:v>
                </c:pt>
                <c:pt idx="365">
                  <c:v>All Others</c:v>
                </c:pt>
                <c:pt idx="366">
                  <c:v>All Others</c:v>
                </c:pt>
                <c:pt idx="367">
                  <c:v>Ayala</c:v>
                </c:pt>
                <c:pt idx="368">
                  <c:v>Besserat De</c:v>
                </c:pt>
                <c:pt idx="369">
                  <c:v>De Venoge</c:v>
                </c:pt>
                <c:pt idx="370">
                  <c:v>Moët &amp; Chan</c:v>
                </c:pt>
                <c:pt idx="371">
                  <c:v>Ruinart</c:v>
                </c:pt>
                <c:pt idx="372">
                  <c:v>All Others</c:v>
                </c:pt>
                <c:pt idx="373">
                  <c:v>Nicolas Feu</c:v>
                </c:pt>
                <c:pt idx="374">
                  <c:v>All Others</c:v>
                </c:pt>
                <c:pt idx="375">
                  <c:v>All Others</c:v>
                </c:pt>
                <c:pt idx="376">
                  <c:v>De Venoge</c:v>
                </c:pt>
                <c:pt idx="377">
                  <c:v>Delamotte</c:v>
                </c:pt>
                <c:pt idx="378">
                  <c:v>All Others</c:v>
                </c:pt>
                <c:pt idx="379">
                  <c:v>Besserat De</c:v>
                </c:pt>
                <c:pt idx="380">
                  <c:v>Vilaveroni</c:v>
                </c:pt>
                <c:pt idx="381">
                  <c:v>All Others</c:v>
                </c:pt>
                <c:pt idx="382">
                  <c:v>All Others</c:v>
                </c:pt>
                <c:pt idx="383">
                  <c:v>Pommery</c:v>
                </c:pt>
                <c:pt idx="384">
                  <c:v>Lanson</c:v>
                </c:pt>
                <c:pt idx="385">
                  <c:v>Demoiselle</c:v>
                </c:pt>
                <c:pt idx="386">
                  <c:v>Perrier Jou</c:v>
                </c:pt>
                <c:pt idx="387">
                  <c:v>All Others</c:v>
                </c:pt>
                <c:pt idx="388">
                  <c:v>Bollinger</c:v>
                </c:pt>
                <c:pt idx="389">
                  <c:v>Demoiselle</c:v>
                </c:pt>
                <c:pt idx="390">
                  <c:v>Dom Perigno</c:v>
                </c:pt>
                <c:pt idx="391">
                  <c:v>Veuve Clicq</c:v>
                </c:pt>
                <c:pt idx="392">
                  <c:v>Dom Perigno</c:v>
                </c:pt>
                <c:pt idx="393">
                  <c:v>All Others</c:v>
                </c:pt>
                <c:pt idx="394">
                  <c:v>Roederer</c:v>
                </c:pt>
                <c:pt idx="395">
                  <c:v>Roederer</c:v>
                </c:pt>
                <c:pt idx="396">
                  <c:v>Roederer</c:v>
                </c:pt>
                <c:pt idx="397">
                  <c:v>De Venoge</c:v>
                </c:pt>
                <c:pt idx="398">
                  <c:v>Nicolas Feu</c:v>
                </c:pt>
                <c:pt idx="399">
                  <c:v>De Bligny</c:v>
                </c:pt>
                <c:pt idx="400">
                  <c:v>Ayala</c:v>
                </c:pt>
                <c:pt idx="401">
                  <c:v>Vesselle</c:v>
                </c:pt>
                <c:pt idx="402">
                  <c:v>Roederer</c:v>
                </c:pt>
                <c:pt idx="403">
                  <c:v>Bouvet-Ladu</c:v>
                </c:pt>
                <c:pt idx="404">
                  <c:v>Pommery</c:v>
                </c:pt>
                <c:pt idx="405">
                  <c:v>Ayala</c:v>
                </c:pt>
                <c:pt idx="406">
                  <c:v>Moët &amp; Chan</c:v>
                </c:pt>
                <c:pt idx="407">
                  <c:v>All Others</c:v>
                </c:pt>
                <c:pt idx="408">
                  <c:v>Krug</c:v>
                </c:pt>
                <c:pt idx="409">
                  <c:v>All Others</c:v>
                </c:pt>
                <c:pt idx="410">
                  <c:v>Bollinger</c:v>
                </c:pt>
                <c:pt idx="411">
                  <c:v>Demoiselle</c:v>
                </c:pt>
                <c:pt idx="412">
                  <c:v>Roederer</c:v>
                </c:pt>
                <c:pt idx="413">
                  <c:v>Ayala</c:v>
                </c:pt>
                <c:pt idx="414">
                  <c:v>Pommery</c:v>
                </c:pt>
                <c:pt idx="415">
                  <c:v>Canard Duch</c:v>
                </c:pt>
                <c:pt idx="416">
                  <c:v>Vranken</c:v>
                </c:pt>
                <c:pt idx="417">
                  <c:v>Veuve Clicq</c:v>
                </c:pt>
                <c:pt idx="418">
                  <c:v>Lanson</c:v>
                </c:pt>
                <c:pt idx="419">
                  <c:v>Laurent Per</c:v>
                </c:pt>
                <c:pt idx="420">
                  <c:v>Besserat De</c:v>
                </c:pt>
                <c:pt idx="421">
                  <c:v>All Others</c:v>
                </c:pt>
                <c:pt idx="422">
                  <c:v>De Venoge</c:v>
                </c:pt>
                <c:pt idx="423">
                  <c:v>Deutz</c:v>
                </c:pt>
                <c:pt idx="424">
                  <c:v>All Others</c:v>
                </c:pt>
                <c:pt idx="425">
                  <c:v>All Others</c:v>
                </c:pt>
                <c:pt idx="426">
                  <c:v>Heidsieck &amp;</c:v>
                </c:pt>
                <c:pt idx="427">
                  <c:v>All Others</c:v>
                </c:pt>
                <c:pt idx="428">
                  <c:v>Vilaveroni</c:v>
                </c:pt>
                <c:pt idx="429">
                  <c:v>Taittinger</c:v>
                </c:pt>
                <c:pt idx="430">
                  <c:v>Bouvet-Ladu</c:v>
                </c:pt>
                <c:pt idx="431">
                  <c:v>Krug</c:v>
                </c:pt>
                <c:pt idx="432">
                  <c:v>Moët &amp; Chan</c:v>
                </c:pt>
                <c:pt idx="433">
                  <c:v>Taittinger</c:v>
                </c:pt>
                <c:pt idx="434">
                  <c:v>Dom Perigno</c:v>
                </c:pt>
                <c:pt idx="435">
                  <c:v>All Others</c:v>
                </c:pt>
                <c:pt idx="436">
                  <c:v>Pommery</c:v>
                </c:pt>
                <c:pt idx="437">
                  <c:v>Roederer</c:v>
                </c:pt>
                <c:pt idx="438">
                  <c:v>Canard Duch</c:v>
                </c:pt>
                <c:pt idx="439">
                  <c:v>Laurent Per</c:v>
                </c:pt>
                <c:pt idx="440">
                  <c:v>Demoiselle</c:v>
                </c:pt>
                <c:pt idx="441">
                  <c:v>Roederer</c:v>
                </c:pt>
                <c:pt idx="442">
                  <c:v>Piper Heids</c:v>
                </c:pt>
                <c:pt idx="443">
                  <c:v>Roederer</c:v>
                </c:pt>
                <c:pt idx="444">
                  <c:v>Ruinart</c:v>
                </c:pt>
                <c:pt idx="445">
                  <c:v>All Others</c:v>
                </c:pt>
                <c:pt idx="446">
                  <c:v>All Others</c:v>
                </c:pt>
                <c:pt idx="447">
                  <c:v>Deutz</c:v>
                </c:pt>
                <c:pt idx="448">
                  <c:v>All Others</c:v>
                </c:pt>
                <c:pt idx="449">
                  <c:v>Laurent Per</c:v>
                </c:pt>
                <c:pt idx="450">
                  <c:v>Veuve Clicq</c:v>
                </c:pt>
                <c:pt idx="451">
                  <c:v>All Others</c:v>
                </c:pt>
                <c:pt idx="452">
                  <c:v>All Others</c:v>
                </c:pt>
                <c:pt idx="453">
                  <c:v>Heidsieck &amp;</c:v>
                </c:pt>
                <c:pt idx="454">
                  <c:v>Taittinger</c:v>
                </c:pt>
                <c:pt idx="455">
                  <c:v>Laurent Per</c:v>
                </c:pt>
                <c:pt idx="456">
                  <c:v>Laurent Per</c:v>
                </c:pt>
                <c:pt idx="457">
                  <c:v>All Others</c:v>
                </c:pt>
                <c:pt idx="458">
                  <c:v>Besserat De</c:v>
                </c:pt>
                <c:pt idx="459">
                  <c:v>Bollinger</c:v>
                </c:pt>
                <c:pt idx="460">
                  <c:v>Piper Heids</c:v>
                </c:pt>
                <c:pt idx="461">
                  <c:v>Ruinart</c:v>
                </c:pt>
                <c:pt idx="462">
                  <c:v>Nicolas Feu</c:v>
                </c:pt>
                <c:pt idx="463">
                  <c:v>Roederer</c:v>
                </c:pt>
                <c:pt idx="464">
                  <c:v>All Others</c:v>
                </c:pt>
                <c:pt idx="465">
                  <c:v>Bouvet-Ladu</c:v>
                </c:pt>
                <c:pt idx="466">
                  <c:v>Malard</c:v>
                </c:pt>
                <c:pt idx="467">
                  <c:v>Taittinger</c:v>
                </c:pt>
                <c:pt idx="468">
                  <c:v>Henriot</c:v>
                </c:pt>
                <c:pt idx="469">
                  <c:v>Nicolas</c:v>
                </c:pt>
                <c:pt idx="470">
                  <c:v>Roederer</c:v>
                </c:pt>
                <c:pt idx="471">
                  <c:v>De Venoge</c:v>
                </c:pt>
                <c:pt idx="472">
                  <c:v>Krug</c:v>
                </c:pt>
                <c:pt idx="473">
                  <c:v>Roederer</c:v>
                </c:pt>
                <c:pt idx="474">
                  <c:v>All Others</c:v>
                </c:pt>
                <c:pt idx="475">
                  <c:v>Ruinart</c:v>
                </c:pt>
                <c:pt idx="476">
                  <c:v>Dom Perigno</c:v>
                </c:pt>
                <c:pt idx="477">
                  <c:v>De Bligny</c:v>
                </c:pt>
                <c:pt idx="478">
                  <c:v>Vesselle</c:v>
                </c:pt>
                <c:pt idx="479">
                  <c:v>All Others</c:v>
                </c:pt>
                <c:pt idx="480">
                  <c:v>Ruinart</c:v>
                </c:pt>
                <c:pt idx="481">
                  <c:v>Moët &amp; Chan</c:v>
                </c:pt>
                <c:pt idx="482">
                  <c:v>Bollinger</c:v>
                </c:pt>
                <c:pt idx="483">
                  <c:v>Vilaveroni</c:v>
                </c:pt>
                <c:pt idx="484">
                  <c:v>Laurent Per</c:v>
                </c:pt>
                <c:pt idx="485">
                  <c:v>Roederer</c:v>
                </c:pt>
                <c:pt idx="486">
                  <c:v>All Others</c:v>
                </c:pt>
                <c:pt idx="487">
                  <c:v>Taittinger</c:v>
                </c:pt>
                <c:pt idx="488">
                  <c:v>All Others</c:v>
                </c:pt>
                <c:pt idx="489">
                  <c:v>Roederer</c:v>
                </c:pt>
                <c:pt idx="490">
                  <c:v>Bouvet-Ladu</c:v>
                </c:pt>
                <c:pt idx="491">
                  <c:v>All Others</c:v>
                </c:pt>
                <c:pt idx="492">
                  <c:v>Laurent Per</c:v>
                </c:pt>
                <c:pt idx="493">
                  <c:v>Ayala</c:v>
                </c:pt>
                <c:pt idx="494">
                  <c:v>Pommery</c:v>
                </c:pt>
                <c:pt idx="495">
                  <c:v>Laurent Per</c:v>
                </c:pt>
                <c:pt idx="496">
                  <c:v>Laurent Per</c:v>
                </c:pt>
                <c:pt idx="497">
                  <c:v>Dom Perigno</c:v>
                </c:pt>
                <c:pt idx="498">
                  <c:v>Piper Heids</c:v>
                </c:pt>
                <c:pt idx="499">
                  <c:v>Roederer</c:v>
                </c:pt>
                <c:pt idx="500">
                  <c:v>Roederer</c:v>
                </c:pt>
                <c:pt idx="501">
                  <c:v>Ruinart</c:v>
                </c:pt>
                <c:pt idx="502">
                  <c:v>All Others</c:v>
                </c:pt>
                <c:pt idx="503">
                  <c:v>Laurent Per</c:v>
                </c:pt>
                <c:pt idx="504">
                  <c:v>Bottega</c:v>
                </c:pt>
                <c:pt idx="505">
                  <c:v>All Others</c:v>
                </c:pt>
                <c:pt idx="506">
                  <c:v>Roederer</c:v>
                </c:pt>
                <c:pt idx="507">
                  <c:v>Nicolas Feu</c:v>
                </c:pt>
                <c:pt idx="508">
                  <c:v>Vranken</c:v>
                </c:pt>
                <c:pt idx="509">
                  <c:v>Henriot</c:v>
                </c:pt>
                <c:pt idx="510">
                  <c:v>All Others</c:v>
                </c:pt>
                <c:pt idx="511">
                  <c:v>Bollinger</c:v>
                </c:pt>
                <c:pt idx="512">
                  <c:v>Malard</c:v>
                </c:pt>
                <c:pt idx="513">
                  <c:v>All Others</c:v>
                </c:pt>
                <c:pt idx="514">
                  <c:v>Bollinger</c:v>
                </c:pt>
                <c:pt idx="515">
                  <c:v>Bollinger</c:v>
                </c:pt>
                <c:pt idx="516">
                  <c:v>Mumm</c:v>
                </c:pt>
                <c:pt idx="517">
                  <c:v>Canard Duch</c:v>
                </c:pt>
                <c:pt idx="518">
                  <c:v>Taittinger</c:v>
                </c:pt>
                <c:pt idx="519">
                  <c:v>All Others</c:v>
                </c:pt>
                <c:pt idx="520">
                  <c:v>Pommery</c:v>
                </c:pt>
                <c:pt idx="521">
                  <c:v>All Others</c:v>
                </c:pt>
                <c:pt idx="522">
                  <c:v>Bottega</c:v>
                </c:pt>
                <c:pt idx="523">
                  <c:v>De Venoge</c:v>
                </c:pt>
                <c:pt idx="524">
                  <c:v>Malard</c:v>
                </c:pt>
                <c:pt idx="525">
                  <c:v>All Others</c:v>
                </c:pt>
                <c:pt idx="526">
                  <c:v>All Others</c:v>
                </c:pt>
                <c:pt idx="527">
                  <c:v>All Others</c:v>
                </c:pt>
                <c:pt idx="528">
                  <c:v>Mure</c:v>
                </c:pt>
                <c:pt idx="529">
                  <c:v>All Others</c:v>
                </c:pt>
                <c:pt idx="530">
                  <c:v>All Others</c:v>
                </c:pt>
                <c:pt idx="531">
                  <c:v>All Others</c:v>
                </c:pt>
                <c:pt idx="532">
                  <c:v>Veuve Clicq</c:v>
                </c:pt>
                <c:pt idx="533">
                  <c:v>Roederer</c:v>
                </c:pt>
                <c:pt idx="534">
                  <c:v>Roederer</c:v>
                </c:pt>
                <c:pt idx="535">
                  <c:v>Besserat De</c:v>
                </c:pt>
                <c:pt idx="536">
                  <c:v>Taittinger</c:v>
                </c:pt>
                <c:pt idx="537">
                  <c:v>All Others</c:v>
                </c:pt>
                <c:pt idx="538">
                  <c:v>Moët &amp; Chan</c:v>
                </c:pt>
                <c:pt idx="539">
                  <c:v>Henriot</c:v>
                </c:pt>
                <c:pt idx="540">
                  <c:v>Veuve Clicq</c:v>
                </c:pt>
                <c:pt idx="541">
                  <c:v>All Others</c:v>
                </c:pt>
                <c:pt idx="542">
                  <c:v>All Others</c:v>
                </c:pt>
                <c:pt idx="543">
                  <c:v>Demoiselle</c:v>
                </c:pt>
                <c:pt idx="544">
                  <c:v>Deutz</c:v>
                </c:pt>
                <c:pt idx="545">
                  <c:v>Besserat De</c:v>
                </c:pt>
                <c:pt idx="546">
                  <c:v>Lanson</c:v>
                </c:pt>
                <c:pt idx="547">
                  <c:v>Henriot</c:v>
                </c:pt>
                <c:pt idx="548">
                  <c:v>Vranken Pom</c:v>
                </c:pt>
                <c:pt idx="549">
                  <c:v>Ayala</c:v>
                </c:pt>
                <c:pt idx="550">
                  <c:v>Moët &amp; Chan</c:v>
                </c:pt>
                <c:pt idx="551">
                  <c:v>Nicolas</c:v>
                </c:pt>
                <c:pt idx="552">
                  <c:v>Nicolas</c:v>
                </c:pt>
                <c:pt idx="553">
                  <c:v>Pommery</c:v>
                </c:pt>
                <c:pt idx="554">
                  <c:v>Pommery</c:v>
                </c:pt>
                <c:pt idx="555">
                  <c:v>All Others</c:v>
                </c:pt>
                <c:pt idx="556">
                  <c:v>Bottega</c:v>
                </c:pt>
                <c:pt idx="557">
                  <c:v>All Others</c:v>
                </c:pt>
                <c:pt idx="558">
                  <c:v>Vranken</c:v>
                </c:pt>
                <c:pt idx="559">
                  <c:v>French Bloo</c:v>
                </c:pt>
                <c:pt idx="560">
                  <c:v>Vesselle</c:v>
                </c:pt>
                <c:pt idx="561">
                  <c:v>Vesselle</c:v>
                </c:pt>
                <c:pt idx="562">
                  <c:v>All Others</c:v>
                </c:pt>
                <c:pt idx="563">
                  <c:v>All Others</c:v>
                </c:pt>
                <c:pt idx="564">
                  <c:v>All Others</c:v>
                </c:pt>
                <c:pt idx="565">
                  <c:v>All Others</c:v>
                </c:pt>
              </c:strCache>
            </c:strRef>
          </c:cat>
          <c:val>
            <c:numRef>
              <c:f>Sheet1!$C$2:$C$567</c:f>
              <c:numCache>
                <c:formatCode>General</c:formatCode>
                <c:ptCount val="566"/>
                <c:pt idx="0">
                  <c:v>9.6728400124085484E-2</c:v>
                </c:pt>
                <c:pt idx="1">
                  <c:v>0.15713304523630864</c:v>
                </c:pt>
                <c:pt idx="2">
                  <c:v>0.20463270838510492</c:v>
                </c:pt>
                <c:pt idx="3">
                  <c:v>0.25144360963640722</c:v>
                </c:pt>
                <c:pt idx="4">
                  <c:v>0.28222862257910414</c:v>
                </c:pt>
                <c:pt idx="5">
                  <c:v>0.31177916952197099</c:v>
                </c:pt>
                <c:pt idx="6">
                  <c:v>0.33994424337890672</c:v>
                </c:pt>
                <c:pt idx="7">
                  <c:v>0.36584949575071385</c:v>
                </c:pt>
                <c:pt idx="8">
                  <c:v>0.38918824593698853</c:v>
                </c:pt>
                <c:pt idx="9">
                  <c:v>0.41148374001243349</c:v>
                </c:pt>
                <c:pt idx="10">
                  <c:v>0.4309251736629332</c:v>
                </c:pt>
                <c:pt idx="11">
                  <c:v>0.44924719993954998</c:v>
                </c:pt>
                <c:pt idx="12">
                  <c:v>0.467204692342788</c:v>
                </c:pt>
                <c:pt idx="13">
                  <c:v>0.48433453107066471</c:v>
                </c:pt>
                <c:pt idx="14">
                  <c:v>0.50095596848000135</c:v>
                </c:pt>
                <c:pt idx="15">
                  <c:v>0.51625903070733059</c:v>
                </c:pt>
                <c:pt idx="16">
                  <c:v>0.52893458730159348</c:v>
                </c:pt>
                <c:pt idx="17">
                  <c:v>0.54029249003839741</c:v>
                </c:pt>
                <c:pt idx="18">
                  <c:v>0.55148254496902827</c:v>
                </c:pt>
                <c:pt idx="19">
                  <c:v>0.56259226789840611</c:v>
                </c:pt>
                <c:pt idx="20">
                  <c:v>0.57285486138961206</c:v>
                </c:pt>
                <c:pt idx="21">
                  <c:v>0.58271813549910856</c:v>
                </c:pt>
                <c:pt idx="22">
                  <c:v>0.59233627702937386</c:v>
                </c:pt>
                <c:pt idx="23">
                  <c:v>0.60087324138682896</c:v>
                </c:pt>
                <c:pt idx="24">
                  <c:v>0.6090083690871092</c:v>
                </c:pt>
                <c:pt idx="25">
                  <c:v>0.61683724299335119</c:v>
                </c:pt>
                <c:pt idx="26">
                  <c:v>0.62464231318949126</c:v>
                </c:pt>
                <c:pt idx="27">
                  <c:v>0.63243029241010362</c:v>
                </c:pt>
                <c:pt idx="28">
                  <c:v>0.63993885405406525</c:v>
                </c:pt>
                <c:pt idx="29">
                  <c:v>0.64742735109885008</c:v>
                </c:pt>
                <c:pt idx="30">
                  <c:v>0.65473642970286683</c:v>
                </c:pt>
                <c:pt idx="31">
                  <c:v>0.66194783507464727</c:v>
                </c:pt>
                <c:pt idx="32">
                  <c:v>0.6691124721180457</c:v>
                </c:pt>
                <c:pt idx="33">
                  <c:v>0.67586567447150103</c:v>
                </c:pt>
                <c:pt idx="34">
                  <c:v>0.68250660045083933</c:v>
                </c:pt>
                <c:pt idx="35">
                  <c:v>0.68913845835013876</c:v>
                </c:pt>
                <c:pt idx="36">
                  <c:v>0.69554039036936299</c:v>
                </c:pt>
                <c:pt idx="37">
                  <c:v>0.70166046114101699</c:v>
                </c:pt>
                <c:pt idx="38">
                  <c:v>0.70776129168440682</c:v>
                </c:pt>
                <c:pt idx="39">
                  <c:v>0.71380070659480643</c:v>
                </c:pt>
                <c:pt idx="40">
                  <c:v>0.71957814820590282</c:v>
                </c:pt>
                <c:pt idx="41">
                  <c:v>0.72534691920150751</c:v>
                </c:pt>
                <c:pt idx="42">
                  <c:v>0.73106275380779462</c:v>
                </c:pt>
                <c:pt idx="43">
                  <c:v>0.736733851571163</c:v>
                </c:pt>
                <c:pt idx="44">
                  <c:v>0.74219208498816558</c:v>
                </c:pt>
                <c:pt idx="45">
                  <c:v>0.74740074011137247</c:v>
                </c:pt>
                <c:pt idx="46">
                  <c:v>0.75242645849652345</c:v>
                </c:pt>
                <c:pt idx="47">
                  <c:v>0.75737019613859624</c:v>
                </c:pt>
                <c:pt idx="48">
                  <c:v>0.76213644377900014</c:v>
                </c:pt>
                <c:pt idx="49">
                  <c:v>0.7668857476529678</c:v>
                </c:pt>
                <c:pt idx="50">
                  <c:v>0.77157853795669362</c:v>
                </c:pt>
                <c:pt idx="51">
                  <c:v>0.77614832034352921</c:v>
                </c:pt>
                <c:pt idx="52">
                  <c:v>0.78058150741432542</c:v>
                </c:pt>
                <c:pt idx="53">
                  <c:v>0.7849494366948423</c:v>
                </c:pt>
                <c:pt idx="54">
                  <c:v>0.7891675218410813</c:v>
                </c:pt>
                <c:pt idx="55">
                  <c:v>0.7933251629343343</c:v>
                </c:pt>
                <c:pt idx="56">
                  <c:v>0.79742144727823372</c:v>
                </c:pt>
                <c:pt idx="57">
                  <c:v>0.80148575780745079</c:v>
                </c:pt>
                <c:pt idx="58">
                  <c:v>0.80546060937173947</c:v>
                </c:pt>
                <c:pt idx="59">
                  <c:v>0.80929371330178501</c:v>
                </c:pt>
                <c:pt idx="60">
                  <c:v>0.81310221859263432</c:v>
                </c:pt>
                <c:pt idx="61">
                  <c:v>0.81682601977221192</c:v>
                </c:pt>
                <c:pt idx="62">
                  <c:v>0.82053498227536237</c:v>
                </c:pt>
                <c:pt idx="63">
                  <c:v>0.82417219506729655</c:v>
                </c:pt>
                <c:pt idx="64">
                  <c:v>0.82772747127888002</c:v>
                </c:pt>
                <c:pt idx="65">
                  <c:v>0.83122648417567713</c:v>
                </c:pt>
                <c:pt idx="66">
                  <c:v>0.83471564878425031</c:v>
                </c:pt>
                <c:pt idx="67">
                  <c:v>0.83812869157158854</c:v>
                </c:pt>
                <c:pt idx="68">
                  <c:v>0.84135803213359484</c:v>
                </c:pt>
                <c:pt idx="69">
                  <c:v>0.84457538987554992</c:v>
                </c:pt>
                <c:pt idx="70">
                  <c:v>0.84770645364804464</c:v>
                </c:pt>
                <c:pt idx="71">
                  <c:v>0.85065287305702164</c:v>
                </c:pt>
                <c:pt idx="72">
                  <c:v>0.85356979176405412</c:v>
                </c:pt>
                <c:pt idx="73">
                  <c:v>0.85635650402962016</c:v>
                </c:pt>
                <c:pt idx="74">
                  <c:v>0.85910101144864193</c:v>
                </c:pt>
                <c:pt idx="75">
                  <c:v>0.86184255996492365</c:v>
                </c:pt>
                <c:pt idx="76">
                  <c:v>0.86451452274363483</c:v>
                </c:pt>
                <c:pt idx="77">
                  <c:v>0.86718276113233006</c:v>
                </c:pt>
                <c:pt idx="78">
                  <c:v>0.8698198500772556</c:v>
                </c:pt>
                <c:pt idx="79">
                  <c:v>0.8723467235753456</c:v>
                </c:pt>
                <c:pt idx="80">
                  <c:v>0.87485899393155497</c:v>
                </c:pt>
                <c:pt idx="81">
                  <c:v>0.87725741277636782</c:v>
                </c:pt>
                <c:pt idx="82">
                  <c:v>0.879608238921886</c:v>
                </c:pt>
                <c:pt idx="83">
                  <c:v>0.88193474612548195</c:v>
                </c:pt>
                <c:pt idx="84">
                  <c:v>0.88425356901449947</c:v>
                </c:pt>
                <c:pt idx="85">
                  <c:v>0.88653280737880213</c:v>
                </c:pt>
                <c:pt idx="86">
                  <c:v>0.88857346396844705</c:v>
                </c:pt>
                <c:pt idx="87">
                  <c:v>0.89051328233038762</c:v>
                </c:pt>
                <c:pt idx="88">
                  <c:v>0.89242295227038093</c:v>
                </c:pt>
                <c:pt idx="89">
                  <c:v>0.89422003669716499</c:v>
                </c:pt>
                <c:pt idx="90">
                  <c:v>0.89601108555119591</c:v>
                </c:pt>
                <c:pt idx="91">
                  <c:v>0.89774226446769778</c:v>
                </c:pt>
                <c:pt idx="92">
                  <c:v>0.89944045382678572</c:v>
                </c:pt>
                <c:pt idx="93">
                  <c:v>0.90111806335487654</c:v>
                </c:pt>
                <c:pt idx="94">
                  <c:v>0.90279029975112612</c:v>
                </c:pt>
                <c:pt idx="95">
                  <c:v>0.90444850712095204</c:v>
                </c:pt>
                <c:pt idx="96">
                  <c:v>0.90610035505802344</c:v>
                </c:pt>
                <c:pt idx="97">
                  <c:v>0.90770496359761987</c:v>
                </c:pt>
                <c:pt idx="98">
                  <c:v>0.90930724623356995</c:v>
                </c:pt>
                <c:pt idx="99">
                  <c:v>0.91089302673035855</c:v>
                </c:pt>
                <c:pt idx="100">
                  <c:v>0.91244069479334766</c:v>
                </c:pt>
                <c:pt idx="101">
                  <c:v>0.9139780729408381</c:v>
                </c:pt>
                <c:pt idx="102">
                  <c:v>0.91546095428264074</c:v>
                </c:pt>
                <c:pt idx="103">
                  <c:v>0.91692686241618893</c:v>
                </c:pt>
                <c:pt idx="104">
                  <c:v>0.91836892267690773</c:v>
                </c:pt>
                <c:pt idx="105">
                  <c:v>0.91980164988122293</c:v>
                </c:pt>
                <c:pt idx="106">
                  <c:v>0.92121372364999521</c:v>
                </c:pt>
                <c:pt idx="107">
                  <c:v>0.92262255881875355</c:v>
                </c:pt>
                <c:pt idx="108">
                  <c:v>0.92401707054290516</c:v>
                </c:pt>
                <c:pt idx="109">
                  <c:v>0.9254038832315693</c:v>
                </c:pt>
                <c:pt idx="110">
                  <c:v>0.92678611771748654</c:v>
                </c:pt>
                <c:pt idx="111">
                  <c:v>0.92816165418973873</c:v>
                </c:pt>
                <c:pt idx="112">
                  <c:v>0.92952660632830919</c:v>
                </c:pt>
                <c:pt idx="113">
                  <c:v>0.93081275744017877</c:v>
                </c:pt>
                <c:pt idx="114">
                  <c:v>0.93209609685839989</c:v>
                </c:pt>
                <c:pt idx="115">
                  <c:v>0.93336399404291859</c:v>
                </c:pt>
                <c:pt idx="116">
                  <c:v>0.93457368475264258</c:v>
                </c:pt>
                <c:pt idx="117">
                  <c:v>0.93573007105032024</c:v>
                </c:pt>
                <c:pt idx="118">
                  <c:v>0.93686456735608603</c:v>
                </c:pt>
                <c:pt idx="119">
                  <c:v>0.93799027527908685</c:v>
                </c:pt>
                <c:pt idx="120">
                  <c:v>0.93909775871655521</c:v>
                </c:pt>
                <c:pt idx="121">
                  <c:v>0.94013536199826986</c:v>
                </c:pt>
                <c:pt idx="122">
                  <c:v>0.94116639975450178</c:v>
                </c:pt>
                <c:pt idx="123">
                  <c:v>0.94212093294586075</c:v>
                </c:pt>
                <c:pt idx="124">
                  <c:v>0.943069563052649</c:v>
                </c:pt>
                <c:pt idx="125">
                  <c:v>0.94401791346216335</c:v>
                </c:pt>
                <c:pt idx="126">
                  <c:v>0.94495872676619086</c:v>
                </c:pt>
                <c:pt idx="127">
                  <c:v>0.94587990237740704</c:v>
                </c:pt>
                <c:pt idx="128">
                  <c:v>0.94679223072222174</c:v>
                </c:pt>
                <c:pt idx="129">
                  <c:v>0.94768760057969115</c:v>
                </c:pt>
                <c:pt idx="130">
                  <c:v>0.9485778475607749</c:v>
                </c:pt>
                <c:pt idx="131">
                  <c:v>0.9494596889027318</c:v>
                </c:pt>
                <c:pt idx="132">
                  <c:v>0.95032289357369981</c:v>
                </c:pt>
                <c:pt idx="133">
                  <c:v>0.95117296719370259</c:v>
                </c:pt>
                <c:pt idx="134">
                  <c:v>0.95202273167461304</c:v>
                </c:pt>
                <c:pt idx="135">
                  <c:v>0.95287196620279402</c:v>
                </c:pt>
                <c:pt idx="136">
                  <c:v>0.9536980889036033</c:v>
                </c:pt>
                <c:pt idx="137">
                  <c:v>0.9545177049625666</c:v>
                </c:pt>
                <c:pt idx="138">
                  <c:v>0.95532555901511584</c:v>
                </c:pt>
                <c:pt idx="139">
                  <c:v>0.95613207346493212</c:v>
                </c:pt>
                <c:pt idx="140">
                  <c:v>0.95690807147007229</c:v>
                </c:pt>
                <c:pt idx="141">
                  <c:v>0.95766245918057447</c:v>
                </c:pt>
                <c:pt idx="142">
                  <c:v>0.95838622740003654</c:v>
                </c:pt>
                <c:pt idx="143">
                  <c:v>0.95909773310217339</c:v>
                </c:pt>
                <c:pt idx="144">
                  <c:v>0.95980380678883237</c:v>
                </c:pt>
                <c:pt idx="145">
                  <c:v>0.9604761990353472</c:v>
                </c:pt>
                <c:pt idx="146">
                  <c:v>0.96110207320893559</c:v>
                </c:pt>
                <c:pt idx="147">
                  <c:v>0.96171406556519179</c:v>
                </c:pt>
                <c:pt idx="148">
                  <c:v>0.96232370257598343</c:v>
                </c:pt>
                <c:pt idx="149">
                  <c:v>0.96291760293488948</c:v>
                </c:pt>
                <c:pt idx="150">
                  <c:v>0.96348605084186845</c:v>
                </c:pt>
                <c:pt idx="151">
                  <c:v>0.96403885042241677</c:v>
                </c:pt>
                <c:pt idx="152">
                  <c:v>0.96458100678564673</c:v>
                </c:pt>
                <c:pt idx="153">
                  <c:v>0.96512073419886635</c:v>
                </c:pt>
                <c:pt idx="154">
                  <c:v>0.96565143769477457</c:v>
                </c:pt>
                <c:pt idx="155">
                  <c:v>0.96618131681977026</c:v>
                </c:pt>
                <c:pt idx="156">
                  <c:v>0.96670761876384148</c:v>
                </c:pt>
                <c:pt idx="157">
                  <c:v>0.96723121206062834</c:v>
                </c:pt>
                <c:pt idx="158">
                  <c:v>0.96773878900825583</c:v>
                </c:pt>
                <c:pt idx="159">
                  <c:v>0.96823887301312395</c:v>
                </c:pt>
                <c:pt idx="160">
                  <c:v>0.96873751436889499</c:v>
                </c:pt>
                <c:pt idx="161">
                  <c:v>0.9692196683064136</c:v>
                </c:pt>
                <c:pt idx="162">
                  <c:v>0.96969889278301058</c:v>
                </c:pt>
                <c:pt idx="163">
                  <c:v>0.97016816592501953</c:v>
                </c:pt>
                <c:pt idx="164">
                  <c:v>0.97062429329515398</c:v>
                </c:pt>
                <c:pt idx="165">
                  <c:v>0.97107838917982525</c:v>
                </c:pt>
                <c:pt idx="166">
                  <c:v>0.9715318962281303</c:v>
                </c:pt>
                <c:pt idx="167">
                  <c:v>0.97198524134643471</c:v>
                </c:pt>
                <c:pt idx="168">
                  <c:v>0.97243749711746164</c:v>
                </c:pt>
                <c:pt idx="169">
                  <c:v>0.97288644068392893</c:v>
                </c:pt>
                <c:pt idx="170">
                  <c:v>0.97333266088220283</c:v>
                </c:pt>
                <c:pt idx="171">
                  <c:v>0.97377034295316744</c:v>
                </c:pt>
                <c:pt idx="172">
                  <c:v>0.97419928080409457</c:v>
                </c:pt>
                <c:pt idx="173">
                  <c:v>0.97460127939127006</c:v>
                </c:pt>
                <c:pt idx="174">
                  <c:v>0.97499977440206687</c:v>
                </c:pt>
                <c:pt idx="175">
                  <c:v>0.9753937500937534</c:v>
                </c:pt>
                <c:pt idx="176">
                  <c:v>0.97578363337269514</c:v>
                </c:pt>
                <c:pt idx="177">
                  <c:v>0.97617242730435949</c:v>
                </c:pt>
                <c:pt idx="178">
                  <c:v>0.9765545968269046</c:v>
                </c:pt>
                <c:pt idx="179">
                  <c:v>0.97693324805216197</c:v>
                </c:pt>
                <c:pt idx="180">
                  <c:v>0.97731186983560103</c:v>
                </c:pt>
                <c:pt idx="181">
                  <c:v>0.97768750327448184</c:v>
                </c:pt>
                <c:pt idx="182">
                  <c:v>0.97806310727154433</c:v>
                </c:pt>
                <c:pt idx="183">
                  <c:v>0.97842928988674827</c:v>
                </c:pt>
                <c:pt idx="184">
                  <c:v>0.97878915723192517</c:v>
                </c:pt>
                <c:pt idx="185">
                  <c:v>0.97913361178521796</c:v>
                </c:pt>
                <c:pt idx="186">
                  <c:v>0.97947786024578254</c:v>
                </c:pt>
                <c:pt idx="187">
                  <c:v>0.97980762333173965</c:v>
                </c:pt>
                <c:pt idx="188">
                  <c:v>0.98013333816767945</c:v>
                </c:pt>
                <c:pt idx="189">
                  <c:v>0.98045899411998261</c:v>
                </c:pt>
                <c:pt idx="190">
                  <c:v>0.98078413484046545</c:v>
                </c:pt>
                <c:pt idx="191">
                  <c:v>0.9811078034700329</c:v>
                </c:pt>
                <c:pt idx="192">
                  <c:v>0.98142583399139438</c:v>
                </c:pt>
                <c:pt idx="193">
                  <c:v>0.98172695018813794</c:v>
                </c:pt>
                <c:pt idx="194">
                  <c:v>0.98202703592124074</c:v>
                </c:pt>
                <c:pt idx="195">
                  <c:v>0.98232606174888448</c:v>
                </c:pt>
                <c:pt idx="196">
                  <c:v>0.98261859565559129</c:v>
                </c:pt>
                <c:pt idx="197">
                  <c:v>0.98289268426312826</c:v>
                </c:pt>
                <c:pt idx="198">
                  <c:v>0.98315614437425614</c:v>
                </c:pt>
                <c:pt idx="199">
                  <c:v>0.98341545318900259</c:v>
                </c:pt>
                <c:pt idx="200">
                  <c:v>0.98366132181369148</c:v>
                </c:pt>
                <c:pt idx="201">
                  <c:v>0.98390156705108356</c:v>
                </c:pt>
                <c:pt idx="202">
                  <c:v>0.98413758738754853</c:v>
                </c:pt>
                <c:pt idx="203">
                  <c:v>0.98436715996580404</c:v>
                </c:pt>
                <c:pt idx="204">
                  <c:v>0.98459243403858665</c:v>
                </c:pt>
                <c:pt idx="205">
                  <c:v>0.98481099537679506</c:v>
                </c:pt>
                <c:pt idx="206">
                  <c:v>0.98502893843681893</c:v>
                </c:pt>
                <c:pt idx="207">
                  <c:v>0.98524019820408693</c:v>
                </c:pt>
                <c:pt idx="208">
                  <c:v>0.98545041278680501</c:v>
                </c:pt>
                <c:pt idx="209">
                  <c:v>0.98566040655588583</c:v>
                </c:pt>
                <c:pt idx="210">
                  <c:v>0.98586981148860042</c:v>
                </c:pt>
                <c:pt idx="211">
                  <c:v>0.98607538898493508</c:v>
                </c:pt>
                <c:pt idx="212">
                  <c:v>0.98628009794762961</c:v>
                </c:pt>
                <c:pt idx="213">
                  <c:v>0.98648177440303841</c:v>
                </c:pt>
                <c:pt idx="214">
                  <c:v>0.98668278841753532</c:v>
                </c:pt>
                <c:pt idx="215">
                  <c:v>0.98688184455111472</c:v>
                </c:pt>
                <c:pt idx="216">
                  <c:v>0.9870786336646844</c:v>
                </c:pt>
                <c:pt idx="217">
                  <c:v>0.987272831898243</c:v>
                </c:pt>
                <c:pt idx="218">
                  <c:v>0.9874640565081525</c:v>
                </c:pt>
                <c:pt idx="219">
                  <c:v>0.98765329379532629</c:v>
                </c:pt>
                <c:pt idx="220">
                  <c:v>0.98784045543430932</c:v>
                </c:pt>
                <c:pt idx="221">
                  <c:v>0.98802742570147339</c:v>
                </c:pt>
                <c:pt idx="222">
                  <c:v>0.98821335078408745</c:v>
                </c:pt>
                <c:pt idx="223">
                  <c:v>0.98839853982124382</c:v>
                </c:pt>
                <c:pt idx="224">
                  <c:v>0.98857675114746124</c:v>
                </c:pt>
                <c:pt idx="225">
                  <c:v>0.98875215078003031</c:v>
                </c:pt>
                <c:pt idx="226">
                  <c:v>0.98892572501986431</c:v>
                </c:pt>
                <c:pt idx="227">
                  <c:v>0.98909748858787239</c:v>
                </c:pt>
                <c:pt idx="228">
                  <c:v>0.98926752980950938</c:v>
                </c:pt>
                <c:pt idx="229">
                  <c:v>0.98943227150385094</c:v>
                </c:pt>
                <c:pt idx="230">
                  <c:v>0.98958879893088469</c:v>
                </c:pt>
                <c:pt idx="231">
                  <c:v>0.98974504666064445</c:v>
                </c:pt>
                <c:pt idx="232">
                  <c:v>0.98990005783403534</c:v>
                </c:pt>
                <c:pt idx="233">
                  <c:v>0.99004916592285552</c:v>
                </c:pt>
                <c:pt idx="234">
                  <c:v>0.99019825929076655</c:v>
                </c:pt>
                <c:pt idx="235">
                  <c:v>0.9903428333395673</c:v>
                </c:pt>
                <c:pt idx="236">
                  <c:v>0.99048589113472518</c:v>
                </c:pt>
                <c:pt idx="237">
                  <c:v>0.99062557784168681</c:v>
                </c:pt>
                <c:pt idx="238">
                  <c:v>0.99076103964772122</c:v>
                </c:pt>
                <c:pt idx="239">
                  <c:v>0.99089636896557332</c:v>
                </c:pt>
                <c:pt idx="240">
                  <c:v>0.99102797389340946</c:v>
                </c:pt>
                <c:pt idx="241">
                  <c:v>0.9911589163803336</c:v>
                </c:pt>
                <c:pt idx="242">
                  <c:v>0.99128319029541101</c:v>
                </c:pt>
                <c:pt idx="243">
                  <c:v>0.99140618349139209</c:v>
                </c:pt>
                <c:pt idx="244">
                  <c:v>0.99152870561828022</c:v>
                </c:pt>
                <c:pt idx="245">
                  <c:v>0.9916501236769818</c:v>
                </c:pt>
                <c:pt idx="246">
                  <c:v>0.99176687520748164</c:v>
                </c:pt>
                <c:pt idx="247">
                  <c:v>0.99188265515797724</c:v>
                </c:pt>
                <c:pt idx="248">
                  <c:v>0.99199711022664905</c:v>
                </c:pt>
                <c:pt idx="249">
                  <c:v>0.99211138864441095</c:v>
                </c:pt>
                <c:pt idx="250">
                  <c:v>0.99222303201943429</c:v>
                </c:pt>
                <c:pt idx="251">
                  <c:v>0.992334130720819</c:v>
                </c:pt>
                <c:pt idx="252">
                  <c:v>0.9924424324494644</c:v>
                </c:pt>
                <c:pt idx="253">
                  <c:v>0.99254986564446979</c:v>
                </c:pt>
                <c:pt idx="254">
                  <c:v>0.99265544400492178</c:v>
                </c:pt>
                <c:pt idx="255">
                  <c:v>0.99276062490082662</c:v>
                </c:pt>
                <c:pt idx="256">
                  <c:v>0.9928626408012633</c:v>
                </c:pt>
                <c:pt idx="257">
                  <c:v>0.99296396481896976</c:v>
                </c:pt>
                <c:pt idx="258">
                  <c:v>0.99306446446576357</c:v>
                </c:pt>
                <c:pt idx="259">
                  <c:v>0.99315985595708101</c:v>
                </c:pt>
                <c:pt idx="260">
                  <c:v>0.99325508551839781</c:v>
                </c:pt>
                <c:pt idx="261">
                  <c:v>0.99334971152243923</c:v>
                </c:pt>
                <c:pt idx="262">
                  <c:v>0.99344024511373585</c:v>
                </c:pt>
                <c:pt idx="263">
                  <c:v>0.99352999849684731</c:v>
                </c:pt>
                <c:pt idx="264">
                  <c:v>0.9936188686254096</c:v>
                </c:pt>
                <c:pt idx="265">
                  <c:v>0.99370741489397052</c:v>
                </c:pt>
                <c:pt idx="266">
                  <c:v>0.99379036721705294</c:v>
                </c:pt>
                <c:pt idx="267">
                  <c:v>0.99387196521649313</c:v>
                </c:pt>
                <c:pt idx="268">
                  <c:v>0.99395335712320521</c:v>
                </c:pt>
                <c:pt idx="269">
                  <c:v>0.99403441044900676</c:v>
                </c:pt>
                <c:pt idx="270">
                  <c:v>0.99411530184480756</c:v>
                </c:pt>
                <c:pt idx="271">
                  <c:v>0.99419554552060563</c:v>
                </c:pt>
                <c:pt idx="272">
                  <c:v>0.99427564198731211</c:v>
                </c:pt>
                <c:pt idx="273">
                  <c:v>0.99435373641037372</c:v>
                </c:pt>
                <c:pt idx="274">
                  <c:v>0.99442987295251783</c:v>
                </c:pt>
                <c:pt idx="275">
                  <c:v>0.99450578868102468</c:v>
                </c:pt>
                <c:pt idx="276">
                  <c:v>0.99457959931952244</c:v>
                </c:pt>
                <c:pt idx="277">
                  <c:v>0.99465295360983652</c:v>
                </c:pt>
                <c:pt idx="278">
                  <c:v>0.99472492413469005</c:v>
                </c:pt>
                <c:pt idx="279">
                  <c:v>0.99479655607863304</c:v>
                </c:pt>
                <c:pt idx="280">
                  <c:v>0.99486671593166065</c:v>
                </c:pt>
                <c:pt idx="281">
                  <c:v>0.99493659608741436</c:v>
                </c:pt>
                <c:pt idx="282">
                  <c:v>0.99500447419952309</c:v>
                </c:pt>
                <c:pt idx="283">
                  <c:v>0.99507152794071918</c:v>
                </c:pt>
                <c:pt idx="284">
                  <c:v>0.99513799284554916</c:v>
                </c:pt>
                <c:pt idx="285">
                  <c:v>0.9952039130767405</c:v>
                </c:pt>
                <c:pt idx="286">
                  <c:v>0.99526849370519876</c:v>
                </c:pt>
                <c:pt idx="287">
                  <c:v>0.99533307433365703</c:v>
                </c:pt>
                <c:pt idx="288">
                  <c:v>0.99539713973029498</c:v>
                </c:pt>
                <c:pt idx="289">
                  <c:v>0.99546117568511461</c:v>
                </c:pt>
                <c:pt idx="290">
                  <c:v>0.99552487305902371</c:v>
                </c:pt>
                <c:pt idx="291">
                  <c:v>0.99558728971383637</c:v>
                </c:pt>
                <c:pt idx="292">
                  <c:v>0.9956494708341026</c:v>
                </c:pt>
                <c:pt idx="293">
                  <c:v>0.99571088646709283</c:v>
                </c:pt>
                <c:pt idx="294">
                  <c:v>0.99577006452189165</c:v>
                </c:pt>
                <c:pt idx="295">
                  <c:v>0.99582915425123553</c:v>
                </c:pt>
                <c:pt idx="296">
                  <c:v>0.99588622721602527</c:v>
                </c:pt>
                <c:pt idx="297">
                  <c:v>0.99594201946171868</c:v>
                </c:pt>
                <c:pt idx="298">
                  <c:v>0.99599694317377196</c:v>
                </c:pt>
                <c:pt idx="299">
                  <c:v>0.99605096891036693</c:v>
                </c:pt>
                <c:pt idx="300">
                  <c:v>0.99610487687968863</c:v>
                </c:pt>
                <c:pt idx="301">
                  <c:v>0.99615860819810043</c:v>
                </c:pt>
                <c:pt idx="302">
                  <c:v>0.99621024914741241</c:v>
                </c:pt>
                <c:pt idx="303">
                  <c:v>0.99626177232945112</c:v>
                </c:pt>
                <c:pt idx="304">
                  <c:v>0.99631135235148161</c:v>
                </c:pt>
                <c:pt idx="305">
                  <c:v>0.99636052018805576</c:v>
                </c:pt>
                <c:pt idx="306">
                  <c:v>0.99640892253735391</c:v>
                </c:pt>
                <c:pt idx="307">
                  <c:v>0.99645723656119711</c:v>
                </c:pt>
                <c:pt idx="308">
                  <c:v>0.99650469677230935</c:v>
                </c:pt>
                <c:pt idx="309">
                  <c:v>0.99655136205432726</c:v>
                </c:pt>
                <c:pt idx="310">
                  <c:v>0.9965977034763438</c:v>
                </c:pt>
                <c:pt idx="311">
                  <c:v>0.99664149818107672</c:v>
                </c:pt>
                <c:pt idx="312">
                  <c:v>0.99668527816490049</c:v>
                </c:pt>
                <c:pt idx="313">
                  <c:v>0.99672886677690531</c:v>
                </c:pt>
                <c:pt idx="314">
                  <c:v>0.99677170462254328</c:v>
                </c:pt>
                <c:pt idx="315">
                  <c:v>0.99681424804999808</c:v>
                </c:pt>
                <c:pt idx="316">
                  <c:v>0.9968566442683614</c:v>
                </c:pt>
                <c:pt idx="317">
                  <c:v>0.99689856941763177</c:v>
                </c:pt>
                <c:pt idx="318">
                  <c:v>0.99693992045144519</c:v>
                </c:pt>
                <c:pt idx="319">
                  <c:v>0.99698113899707619</c:v>
                </c:pt>
                <c:pt idx="320">
                  <c:v>0.99702147428815791</c:v>
                </c:pt>
                <c:pt idx="321">
                  <c:v>0.99706086744105382</c:v>
                </c:pt>
                <c:pt idx="322">
                  <c:v>0.99709914180485404</c:v>
                </c:pt>
                <c:pt idx="323">
                  <c:v>0.99713723951774436</c:v>
                </c:pt>
                <c:pt idx="324">
                  <c:v>0.99717532250972551</c:v>
                </c:pt>
                <c:pt idx="325">
                  <c:v>0.99721330245534268</c:v>
                </c:pt>
                <c:pt idx="326">
                  <c:v>0.99725107630823162</c:v>
                </c:pt>
                <c:pt idx="327">
                  <c:v>0.99728846741748256</c:v>
                </c:pt>
                <c:pt idx="328">
                  <c:v>0.99732450420309138</c:v>
                </c:pt>
                <c:pt idx="329">
                  <c:v>0.9973604673841544</c:v>
                </c:pt>
                <c:pt idx="330">
                  <c:v>0.99739632751885332</c:v>
                </c:pt>
                <c:pt idx="331">
                  <c:v>0.99743201100264245</c:v>
                </c:pt>
                <c:pt idx="332">
                  <c:v>0.99746759144006747</c:v>
                </c:pt>
                <c:pt idx="333">
                  <c:v>0.99750286273840028</c:v>
                </c:pt>
                <c:pt idx="334">
                  <c:v>0.99753739799127539</c:v>
                </c:pt>
                <c:pt idx="335">
                  <c:v>0.99757166826778576</c:v>
                </c:pt>
                <c:pt idx="336">
                  <c:v>0.99760582077702287</c:v>
                </c:pt>
                <c:pt idx="337">
                  <c:v>0.99763967886807692</c:v>
                </c:pt>
                <c:pt idx="338">
                  <c:v>0.99767344863367602</c:v>
                </c:pt>
                <c:pt idx="339">
                  <c:v>0.99770717423654764</c:v>
                </c:pt>
                <c:pt idx="340">
                  <c:v>0.99774073790941864</c:v>
                </c:pt>
                <c:pt idx="341">
                  <c:v>0.99777421325683469</c:v>
                </c:pt>
                <c:pt idx="342">
                  <c:v>0.99780761499970494</c:v>
                </c:pt>
                <c:pt idx="343">
                  <c:v>0.99784031013893582</c:v>
                </c:pt>
                <c:pt idx="344">
                  <c:v>0.99787269613907448</c:v>
                </c:pt>
                <c:pt idx="345">
                  <c:v>0.99790269735193016</c:v>
                </c:pt>
                <c:pt idx="346">
                  <c:v>0.99793118231114297</c:v>
                </c:pt>
                <c:pt idx="347">
                  <c:v>0.99795922564308126</c:v>
                </c:pt>
                <c:pt idx="348">
                  <c:v>0.99798678318501743</c:v>
                </c:pt>
                <c:pt idx="349">
                  <c:v>0.99801356051876844</c:v>
                </c:pt>
                <c:pt idx="350">
                  <c:v>0.99804029368979197</c:v>
                </c:pt>
                <c:pt idx="351">
                  <c:v>0.99806689437263307</c:v>
                </c:pt>
                <c:pt idx="352">
                  <c:v>0.99809318591638196</c:v>
                </c:pt>
                <c:pt idx="353">
                  <c:v>0.99811912415831117</c:v>
                </c:pt>
                <c:pt idx="354">
                  <c:v>0.99814422330841857</c:v>
                </c:pt>
                <c:pt idx="355">
                  <c:v>0.99816888083125144</c:v>
                </c:pt>
                <c:pt idx="356">
                  <c:v>0.99819314088953714</c:v>
                </c:pt>
                <c:pt idx="357">
                  <c:v>0.99821709180873064</c:v>
                </c:pt>
                <c:pt idx="358">
                  <c:v>0.99824020363610233</c:v>
                </c:pt>
                <c:pt idx="359">
                  <c:v>0.99826316825438244</c:v>
                </c:pt>
                <c:pt idx="360">
                  <c:v>0.99828582373357033</c:v>
                </c:pt>
                <c:pt idx="361">
                  <c:v>0.99830811119002938</c:v>
                </c:pt>
                <c:pt idx="362">
                  <c:v>0.998330266158306</c:v>
                </c:pt>
                <c:pt idx="363">
                  <c:v>0.99835161147657925</c:v>
                </c:pt>
                <c:pt idx="364">
                  <c:v>0.9983729567948525</c:v>
                </c:pt>
                <c:pt idx="365">
                  <c:v>0.99839369855585036</c:v>
                </c:pt>
                <c:pt idx="366">
                  <c:v>0.99841411645684686</c:v>
                </c:pt>
                <c:pt idx="367">
                  <c:v>0.99843432826511525</c:v>
                </c:pt>
                <c:pt idx="368">
                  <c:v>0.99845452535247448</c:v>
                </c:pt>
                <c:pt idx="369">
                  <c:v>0.9984746193934696</c:v>
                </c:pt>
                <c:pt idx="370">
                  <c:v>0.99849465455082809</c:v>
                </c:pt>
                <c:pt idx="371">
                  <c:v>0.99851451305727679</c:v>
                </c:pt>
                <c:pt idx="372">
                  <c:v>0.99853435684281633</c:v>
                </c:pt>
                <c:pt idx="373">
                  <c:v>0.99855377372199039</c:v>
                </c:pt>
                <c:pt idx="374">
                  <c:v>0.9985726459275257</c:v>
                </c:pt>
                <c:pt idx="375">
                  <c:v>0.99859129731942375</c:v>
                </c:pt>
                <c:pt idx="376">
                  <c:v>0.99860986038586685</c:v>
                </c:pt>
                <c:pt idx="377">
                  <c:v>0.99862830568503669</c:v>
                </c:pt>
                <c:pt idx="378">
                  <c:v>0.99864670682147905</c:v>
                </c:pt>
                <c:pt idx="379">
                  <c:v>0.99866509323701236</c:v>
                </c:pt>
                <c:pt idx="380">
                  <c:v>0.99868347965254567</c:v>
                </c:pt>
                <c:pt idx="381">
                  <c:v>0.99870164525444161</c:v>
                </c:pt>
                <c:pt idx="382">
                  <c:v>0.9987195458799728</c:v>
                </c:pt>
                <c:pt idx="383">
                  <c:v>0.99873672518095546</c:v>
                </c:pt>
                <c:pt idx="384">
                  <c:v>0.99875365422648243</c:v>
                </c:pt>
                <c:pt idx="385">
                  <c:v>0.99877043606291793</c:v>
                </c:pt>
                <c:pt idx="386">
                  <c:v>0.99878720317844427</c:v>
                </c:pt>
                <c:pt idx="387">
                  <c:v>0.99880389668942482</c:v>
                </c:pt>
                <c:pt idx="388">
                  <c:v>0.99882059020040537</c:v>
                </c:pt>
                <c:pt idx="389">
                  <c:v>0.99883704817683949</c:v>
                </c:pt>
                <c:pt idx="390">
                  <c:v>0.99885341782781867</c:v>
                </c:pt>
                <c:pt idx="391">
                  <c:v>0.99886961082788794</c:v>
                </c:pt>
                <c:pt idx="392">
                  <c:v>0.99888580382795722</c:v>
                </c:pt>
                <c:pt idx="393">
                  <c:v>0.99890177601438923</c:v>
                </c:pt>
                <c:pt idx="394">
                  <c:v>0.99891752738718398</c:v>
                </c:pt>
                <c:pt idx="395">
                  <c:v>0.99893305794634135</c:v>
                </c:pt>
                <c:pt idx="396">
                  <c:v>0.99894855906368041</c:v>
                </c:pt>
                <c:pt idx="397">
                  <c:v>0.99896378048374557</c:v>
                </c:pt>
                <c:pt idx="398">
                  <c:v>0.99897885469471914</c:v>
                </c:pt>
                <c:pt idx="399">
                  <c:v>0.99899373753387377</c:v>
                </c:pt>
                <c:pt idx="400">
                  <c:v>0.99900859093121008</c:v>
                </c:pt>
                <c:pt idx="401">
                  <c:v>0.99902341488672808</c:v>
                </c:pt>
                <c:pt idx="402">
                  <c:v>0.99905242979867048</c:v>
                </c:pt>
                <c:pt idx="403">
                  <c:v>0.9990663704996392</c:v>
                </c:pt>
                <c:pt idx="404">
                  <c:v>0.99908028175878971</c:v>
                </c:pt>
                <c:pt idx="405">
                  <c:v>0.99909389859975706</c:v>
                </c:pt>
                <c:pt idx="406">
                  <c:v>0.99910742711526956</c:v>
                </c:pt>
                <c:pt idx="407">
                  <c:v>0.9991208378635088</c:v>
                </c:pt>
                <c:pt idx="408">
                  <c:v>0.99913414556538394</c:v>
                </c:pt>
                <c:pt idx="409">
                  <c:v>0.99914724717453096</c:v>
                </c:pt>
                <c:pt idx="410">
                  <c:v>0.99916033406276883</c:v>
                </c:pt>
                <c:pt idx="411">
                  <c:v>0.99917333262555175</c:v>
                </c:pt>
                <c:pt idx="412">
                  <c:v>0.99918631646742551</c:v>
                </c:pt>
                <c:pt idx="413">
                  <c:v>0.99919912365838948</c:v>
                </c:pt>
                <c:pt idx="414">
                  <c:v>0.99921175419844355</c:v>
                </c:pt>
                <c:pt idx="415">
                  <c:v>0.99922411976213288</c:v>
                </c:pt>
                <c:pt idx="416">
                  <c:v>0.99923627923309399</c:v>
                </c:pt>
                <c:pt idx="417">
                  <c:v>0.99924830621587279</c:v>
                </c:pt>
                <c:pt idx="418">
                  <c:v>0.99926023015228749</c:v>
                </c:pt>
                <c:pt idx="419">
                  <c:v>0.99927208048415639</c:v>
                </c:pt>
                <c:pt idx="420">
                  <c:v>0.9992838572114795</c:v>
                </c:pt>
                <c:pt idx="421">
                  <c:v>0.99929547200880198</c:v>
                </c:pt>
                <c:pt idx="422">
                  <c:v>0.9993068954343054</c:v>
                </c:pt>
                <c:pt idx="423">
                  <c:v>0.9993180833252624</c:v>
                </c:pt>
                <c:pt idx="424">
                  <c:v>0.99932857933348918</c:v>
                </c:pt>
                <c:pt idx="425">
                  <c:v>0.99933891341171521</c:v>
                </c:pt>
                <c:pt idx="426">
                  <c:v>0.99934921804812293</c:v>
                </c:pt>
                <c:pt idx="427">
                  <c:v>0.9993595079636215</c:v>
                </c:pt>
                <c:pt idx="428">
                  <c:v>0.99936941513548205</c:v>
                </c:pt>
                <c:pt idx="429">
                  <c:v>0.99937926342370598</c:v>
                </c:pt>
                <c:pt idx="430">
                  <c:v>0.99938899394465674</c:v>
                </c:pt>
                <c:pt idx="431">
                  <c:v>0.99939870974469835</c:v>
                </c:pt>
                <c:pt idx="432">
                  <c:v>0.99940823417292091</c:v>
                </c:pt>
                <c:pt idx="433">
                  <c:v>0.99941759667114283</c:v>
                </c:pt>
                <c:pt idx="434">
                  <c:v>0.99942694444845559</c:v>
                </c:pt>
                <c:pt idx="435">
                  <c:v>0.99943624806304088</c:v>
                </c:pt>
                <c:pt idx="436">
                  <c:v>0.99944552223580785</c:v>
                </c:pt>
                <c:pt idx="437">
                  <c:v>0.99945461975766503</c:v>
                </c:pt>
                <c:pt idx="438">
                  <c:v>0.99946359951224895</c:v>
                </c:pt>
                <c:pt idx="439">
                  <c:v>0.99947243205774128</c:v>
                </c:pt>
                <c:pt idx="440">
                  <c:v>0.99948124988232445</c:v>
                </c:pt>
                <c:pt idx="441">
                  <c:v>0.99949005298599847</c:v>
                </c:pt>
                <c:pt idx="442">
                  <c:v>0.99949885608967248</c:v>
                </c:pt>
                <c:pt idx="443">
                  <c:v>0.99950743837970923</c:v>
                </c:pt>
                <c:pt idx="444">
                  <c:v>0.99951602066974599</c:v>
                </c:pt>
                <c:pt idx="445">
                  <c:v>0.99952442630887284</c:v>
                </c:pt>
                <c:pt idx="446">
                  <c:v>0.99953272890163569</c:v>
                </c:pt>
                <c:pt idx="447">
                  <c:v>0.99954079595985201</c:v>
                </c:pt>
                <c:pt idx="448">
                  <c:v>0.9995487746926135</c:v>
                </c:pt>
                <c:pt idx="449">
                  <c:v>0.99955665037901087</c:v>
                </c:pt>
                <c:pt idx="450">
                  <c:v>0.99956449662358993</c:v>
                </c:pt>
                <c:pt idx="451">
                  <c:v>0.99957229870544151</c:v>
                </c:pt>
                <c:pt idx="452">
                  <c:v>0.99958004190365646</c:v>
                </c:pt>
                <c:pt idx="453">
                  <c:v>0.99958769677641646</c:v>
                </c:pt>
                <c:pt idx="454">
                  <c:v>0.99959529276553993</c:v>
                </c:pt>
                <c:pt idx="455">
                  <c:v>0.99960287403375425</c:v>
                </c:pt>
                <c:pt idx="456">
                  <c:v>0.99961044058105941</c:v>
                </c:pt>
                <c:pt idx="457">
                  <c:v>0.99961794824472794</c:v>
                </c:pt>
                <c:pt idx="458">
                  <c:v>0.99962516149021341</c:v>
                </c:pt>
                <c:pt idx="459">
                  <c:v>0.99963237473569888</c:v>
                </c:pt>
                <c:pt idx="460">
                  <c:v>0.99963948493482024</c:v>
                </c:pt>
                <c:pt idx="461">
                  <c:v>0.99964655097121413</c:v>
                </c:pt>
                <c:pt idx="462">
                  <c:v>0.99965355812397139</c:v>
                </c:pt>
                <c:pt idx="463">
                  <c:v>0.99966035918400054</c:v>
                </c:pt>
                <c:pt idx="464">
                  <c:v>0.99966710136039305</c:v>
                </c:pt>
                <c:pt idx="465">
                  <c:v>0.99967379937405809</c:v>
                </c:pt>
                <c:pt idx="466">
                  <c:v>0.9996804385040865</c:v>
                </c:pt>
                <c:pt idx="467">
                  <c:v>0.99968693042502343</c:v>
                </c:pt>
                <c:pt idx="468">
                  <c:v>0.99969340762505121</c:v>
                </c:pt>
                <c:pt idx="469">
                  <c:v>0.99969985538326067</c:v>
                </c:pt>
                <c:pt idx="470">
                  <c:v>0.9997062442578335</c:v>
                </c:pt>
                <c:pt idx="471">
                  <c:v>0.99971254480695138</c:v>
                </c:pt>
                <c:pt idx="472">
                  <c:v>0.99971858037970451</c:v>
                </c:pt>
                <c:pt idx="473">
                  <c:v>0.99972448346427523</c:v>
                </c:pt>
                <c:pt idx="474">
                  <c:v>0.99973022461884531</c:v>
                </c:pt>
                <c:pt idx="475">
                  <c:v>0.99973593633159707</c:v>
                </c:pt>
                <c:pt idx="476">
                  <c:v>0.99974153027707557</c:v>
                </c:pt>
                <c:pt idx="477">
                  <c:v>0.99974702117618996</c:v>
                </c:pt>
                <c:pt idx="478">
                  <c:v>0.99975251207530436</c:v>
                </c:pt>
                <c:pt idx="479">
                  <c:v>0.99975795881169127</c:v>
                </c:pt>
                <c:pt idx="480">
                  <c:v>0.99976333194353251</c:v>
                </c:pt>
                <c:pt idx="481">
                  <c:v>0.99976869035446458</c:v>
                </c:pt>
                <c:pt idx="482">
                  <c:v>0.99977376906812265</c:v>
                </c:pt>
                <c:pt idx="483">
                  <c:v>0.99977883306087156</c:v>
                </c:pt>
                <c:pt idx="484">
                  <c:v>0.99978380872816563</c:v>
                </c:pt>
                <c:pt idx="485">
                  <c:v>0.99978875495364139</c:v>
                </c:pt>
                <c:pt idx="486">
                  <c:v>0.99979368645820799</c:v>
                </c:pt>
                <c:pt idx="487">
                  <c:v>0.99979861796277458</c:v>
                </c:pt>
                <c:pt idx="488">
                  <c:v>0.9998034022582496</c:v>
                </c:pt>
                <c:pt idx="489">
                  <c:v>0.99980817183281545</c:v>
                </c:pt>
                <c:pt idx="490">
                  <c:v>0.99981292668647215</c:v>
                </c:pt>
                <c:pt idx="491">
                  <c:v>0.99981756377285569</c:v>
                </c:pt>
                <c:pt idx="492">
                  <c:v>0.99982218613833007</c:v>
                </c:pt>
                <c:pt idx="493">
                  <c:v>0.99982670545744035</c:v>
                </c:pt>
                <c:pt idx="494">
                  <c:v>0.99983118061382315</c:v>
                </c:pt>
                <c:pt idx="495">
                  <c:v>0.99983559688656931</c:v>
                </c:pt>
                <c:pt idx="496">
                  <c:v>0.99984001315931548</c:v>
                </c:pt>
                <c:pt idx="497">
                  <c:v>0.99984435582751585</c:v>
                </c:pt>
                <c:pt idx="498">
                  <c:v>0.99985302644300744</c:v>
                </c:pt>
                <c:pt idx="499">
                  <c:v>0.99985720718120719</c:v>
                </c:pt>
                <c:pt idx="500">
                  <c:v>0.99986127015213366</c:v>
                </c:pt>
                <c:pt idx="501">
                  <c:v>0.99986530368124182</c:v>
                </c:pt>
                <c:pt idx="502">
                  <c:v>0.99987317936763909</c:v>
                </c:pt>
                <c:pt idx="503">
                  <c:v>0.99987699208310998</c:v>
                </c:pt>
                <c:pt idx="504">
                  <c:v>0.99988077535676256</c:v>
                </c:pt>
                <c:pt idx="505">
                  <c:v>0.9998843967004144</c:v>
                </c:pt>
                <c:pt idx="506">
                  <c:v>0.99988800332315708</c:v>
                </c:pt>
                <c:pt idx="507">
                  <c:v>0.99989160994589976</c:v>
                </c:pt>
                <c:pt idx="508">
                  <c:v>0.99989870542411197</c:v>
                </c:pt>
                <c:pt idx="509">
                  <c:v>0.99990219427958149</c:v>
                </c:pt>
                <c:pt idx="510">
                  <c:v>0.99990560953050522</c:v>
                </c:pt>
                <c:pt idx="511">
                  <c:v>0.99990899533961064</c:v>
                </c:pt>
                <c:pt idx="512">
                  <c:v>0.99991223393962447</c:v>
                </c:pt>
                <c:pt idx="513">
                  <c:v>0.99991536949327431</c:v>
                </c:pt>
                <c:pt idx="514">
                  <c:v>0.99991846088419667</c:v>
                </c:pt>
                <c:pt idx="515">
                  <c:v>0.99992155227511903</c:v>
                </c:pt>
                <c:pt idx="516">
                  <c:v>0.99992448173604065</c:v>
                </c:pt>
                <c:pt idx="517">
                  <c:v>0.99992989903060936</c:v>
                </c:pt>
                <c:pt idx="518">
                  <c:v>0.9999324015851655</c:v>
                </c:pt>
                <c:pt idx="519">
                  <c:v>0.99993712699700388</c:v>
                </c:pt>
                <c:pt idx="520">
                  <c:v>0.99993917320337622</c:v>
                </c:pt>
                <c:pt idx="521">
                  <c:v>0.99994113108429372</c:v>
                </c:pt>
                <c:pt idx="522">
                  <c:v>0.99994298591884712</c:v>
                </c:pt>
                <c:pt idx="523">
                  <c:v>0.99994475242794556</c:v>
                </c:pt>
                <c:pt idx="524">
                  <c:v>0.99994643061158905</c:v>
                </c:pt>
                <c:pt idx="525">
                  <c:v>0.9999480940743235</c:v>
                </c:pt>
                <c:pt idx="526">
                  <c:v>0.99994974281614879</c:v>
                </c:pt>
                <c:pt idx="527">
                  <c:v>0.99995290781161694</c:v>
                </c:pt>
                <c:pt idx="528">
                  <c:v>0.99995445350707812</c:v>
                </c:pt>
                <c:pt idx="529">
                  <c:v>0.99995594031890267</c:v>
                </c:pt>
                <c:pt idx="530">
                  <c:v>0.99995741240981806</c:v>
                </c:pt>
                <c:pt idx="531">
                  <c:v>0.99995884033800597</c:v>
                </c:pt>
                <c:pt idx="532">
                  <c:v>0.99996022410346641</c:v>
                </c:pt>
                <c:pt idx="533">
                  <c:v>0.99996157842710853</c:v>
                </c:pt>
                <c:pt idx="534">
                  <c:v>0.99996293275075065</c:v>
                </c:pt>
                <c:pt idx="535">
                  <c:v>0.99996542058439775</c:v>
                </c:pt>
                <c:pt idx="536">
                  <c:v>0.99996661297803924</c:v>
                </c:pt>
                <c:pt idx="537">
                  <c:v>0.99997005767078129</c:v>
                </c:pt>
                <c:pt idx="538">
                  <c:v>0.9999712059016953</c:v>
                </c:pt>
                <c:pt idx="539">
                  <c:v>0.99997335515443175</c:v>
                </c:pt>
                <c:pt idx="540">
                  <c:v>0.99997440033898166</c:v>
                </c:pt>
                <c:pt idx="541">
                  <c:v>0.99997646126626316</c:v>
                </c:pt>
                <c:pt idx="542">
                  <c:v>0.99997947905263962</c:v>
                </c:pt>
                <c:pt idx="543">
                  <c:v>0.99998142221264785</c:v>
                </c:pt>
                <c:pt idx="544">
                  <c:v>0.99998323288447388</c:v>
                </c:pt>
                <c:pt idx="545">
                  <c:v>0.99998411613902316</c:v>
                </c:pt>
                <c:pt idx="546">
                  <c:v>0.99998582376448508</c:v>
                </c:pt>
                <c:pt idx="547">
                  <c:v>0.99998664813539773</c:v>
                </c:pt>
                <c:pt idx="548">
                  <c:v>0.99998745778540121</c:v>
                </c:pt>
                <c:pt idx="549">
                  <c:v>0.99998898875995323</c:v>
                </c:pt>
                <c:pt idx="550">
                  <c:v>0.99999044612995946</c:v>
                </c:pt>
                <c:pt idx="551">
                  <c:v>0.99999112329178053</c:v>
                </c:pt>
                <c:pt idx="552">
                  <c:v>0.99999368472997319</c:v>
                </c:pt>
                <c:pt idx="553">
                  <c:v>0.99999480351906889</c:v>
                </c:pt>
                <c:pt idx="554">
                  <c:v>0.99999677612089566</c:v>
                </c:pt>
                <c:pt idx="555">
                  <c:v>0.99999720302726114</c:v>
                </c:pt>
                <c:pt idx="556">
                  <c:v>0.99999761521271746</c:v>
                </c:pt>
                <c:pt idx="557">
                  <c:v>0.99999798323544631</c:v>
                </c:pt>
                <c:pt idx="558">
                  <c:v>0.999998336537266</c:v>
                </c:pt>
                <c:pt idx="559">
                  <c:v>0.99999867511817653</c:v>
                </c:pt>
                <c:pt idx="560">
                  <c:v>0.99999901369908706</c:v>
                </c:pt>
                <c:pt idx="561">
                  <c:v>0.99999935227999759</c:v>
                </c:pt>
                <c:pt idx="562">
                  <c:v>0.99999958781454401</c:v>
                </c:pt>
                <c:pt idx="563">
                  <c:v>0.99999972030272644</c:v>
                </c:pt>
                <c:pt idx="564">
                  <c:v>0.99999991167454549</c:v>
                </c:pt>
                <c:pt idx="565">
                  <c:v>1.000000000000000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389</c:f>
              <c:strCache>
                <c:ptCount val="388"/>
                <c:pt idx="0">
                  <c:v>Ruinart</c:v>
                </c:pt>
                <c:pt idx="1">
                  <c:v>Nicolas</c:v>
                </c:pt>
                <c:pt idx="2">
                  <c:v>Deutz</c:v>
                </c:pt>
                <c:pt idx="3">
                  <c:v>Heidsieck &amp;</c:v>
                </c:pt>
                <c:pt idx="4">
                  <c:v>Ruinart</c:v>
                </c:pt>
                <c:pt idx="5">
                  <c:v>Malard</c:v>
                </c:pt>
                <c:pt idx="6">
                  <c:v>Laurent Per</c:v>
                </c:pt>
                <c:pt idx="7">
                  <c:v>Ayala</c:v>
                </c:pt>
                <c:pt idx="8">
                  <c:v>De Bligny</c:v>
                </c:pt>
                <c:pt idx="9">
                  <c:v>Nicolas Feu</c:v>
                </c:pt>
                <c:pt idx="10">
                  <c:v>Canard Duch</c:v>
                </c:pt>
                <c:pt idx="11">
                  <c:v>Taittinger</c:v>
                </c:pt>
                <c:pt idx="12">
                  <c:v>Besserat De</c:v>
                </c:pt>
                <c:pt idx="13">
                  <c:v>Bollinger</c:v>
                </c:pt>
                <c:pt idx="14">
                  <c:v>Ruinart</c:v>
                </c:pt>
                <c:pt idx="15">
                  <c:v>Ruinart</c:v>
                </c:pt>
                <c:pt idx="16">
                  <c:v>Perrier Jou</c:v>
                </c:pt>
                <c:pt idx="17">
                  <c:v>Demoiselle</c:v>
                </c:pt>
                <c:pt idx="18">
                  <c:v>All Others</c:v>
                </c:pt>
                <c:pt idx="19">
                  <c:v>Deutz</c:v>
                </c:pt>
                <c:pt idx="20">
                  <c:v>Ruinart</c:v>
                </c:pt>
                <c:pt idx="21">
                  <c:v>All Others</c:v>
                </c:pt>
                <c:pt idx="22">
                  <c:v>Ruinart</c:v>
                </c:pt>
                <c:pt idx="23">
                  <c:v>Vesselle</c:v>
                </c:pt>
                <c:pt idx="24">
                  <c:v>Bottega</c:v>
                </c:pt>
                <c:pt idx="25">
                  <c:v>Roederer</c:v>
                </c:pt>
                <c:pt idx="26">
                  <c:v>Laurent Per</c:v>
                </c:pt>
                <c:pt idx="27">
                  <c:v>Campari: Al</c:v>
                </c:pt>
                <c:pt idx="28">
                  <c:v>Pommery</c:v>
                </c:pt>
                <c:pt idx="29">
                  <c:v>All Others</c:v>
                </c:pt>
                <c:pt idx="30">
                  <c:v>Savian</c:v>
                </c:pt>
                <c:pt idx="31">
                  <c:v>Deutz</c:v>
                </c:pt>
                <c:pt idx="32">
                  <c:v>Malard</c:v>
                </c:pt>
                <c:pt idx="33">
                  <c:v>Veuve Clicq</c:v>
                </c:pt>
                <c:pt idx="34">
                  <c:v>Demoiselle</c:v>
                </c:pt>
                <c:pt idx="35">
                  <c:v>Moët &amp; Chan</c:v>
                </c:pt>
                <c:pt idx="36">
                  <c:v>Henriot</c:v>
                </c:pt>
                <c:pt idx="37">
                  <c:v>Patriarche</c:v>
                </c:pt>
                <c:pt idx="38">
                  <c:v>Mure</c:v>
                </c:pt>
                <c:pt idx="39">
                  <c:v>All Others</c:v>
                </c:pt>
                <c:pt idx="40">
                  <c:v>Savian</c:v>
                </c:pt>
                <c:pt idx="41">
                  <c:v>Nicolas</c:v>
                </c:pt>
                <c:pt idx="42">
                  <c:v>Taittinger</c:v>
                </c:pt>
                <c:pt idx="43">
                  <c:v>De Venoge</c:v>
                </c:pt>
                <c:pt idx="44">
                  <c:v>Dom Perigno</c:v>
                </c:pt>
                <c:pt idx="45">
                  <c:v>De Chanceny</c:v>
                </c:pt>
                <c:pt idx="46">
                  <c:v>Dom Perigno</c:v>
                </c:pt>
                <c:pt idx="47">
                  <c:v>Veuve Clicq</c:v>
                </c:pt>
                <c:pt idx="48">
                  <c:v>Ruinart</c:v>
                </c:pt>
                <c:pt idx="49">
                  <c:v>French Bloo</c:v>
                </c:pt>
                <c:pt idx="50">
                  <c:v>Laurent Per</c:v>
                </c:pt>
                <c:pt idx="51">
                  <c:v>Roederer</c:v>
                </c:pt>
                <c:pt idx="52">
                  <c:v>Veuve Clicq</c:v>
                </c:pt>
                <c:pt idx="53">
                  <c:v>Piper Heids</c:v>
                </c:pt>
                <c:pt idx="54">
                  <c:v>Malard</c:v>
                </c:pt>
                <c:pt idx="55">
                  <c:v>Deutz</c:v>
                </c:pt>
                <c:pt idx="56">
                  <c:v>Bouvet-Ladu</c:v>
                </c:pt>
                <c:pt idx="57">
                  <c:v>Louis Marti</c:v>
                </c:pt>
                <c:pt idx="58">
                  <c:v>Ruinart</c:v>
                </c:pt>
                <c:pt idx="59">
                  <c:v>Ruinart</c:v>
                </c:pt>
                <c:pt idx="60">
                  <c:v>Nicolas</c:v>
                </c:pt>
                <c:pt idx="61">
                  <c:v>Nicolas Feu</c:v>
                </c:pt>
                <c:pt idx="62">
                  <c:v>Nicolas</c:v>
                </c:pt>
                <c:pt idx="63">
                  <c:v>Moët &amp; Chan</c:v>
                </c:pt>
                <c:pt idx="64">
                  <c:v>Lyre's</c:v>
                </c:pt>
                <c:pt idx="65">
                  <c:v>Lanson</c:v>
                </c:pt>
                <c:pt idx="66">
                  <c:v>Nicolas Feu</c:v>
                </c:pt>
                <c:pt idx="67">
                  <c:v>Besserat De</c:v>
                </c:pt>
                <c:pt idx="68">
                  <c:v>Moët &amp; Chan</c:v>
                </c:pt>
                <c:pt idx="69">
                  <c:v>Campari: Al</c:v>
                </c:pt>
                <c:pt idx="70">
                  <c:v>Canard Duch</c:v>
                </c:pt>
                <c:pt idx="71">
                  <c:v>Malard</c:v>
                </c:pt>
                <c:pt idx="72">
                  <c:v>Roederer</c:v>
                </c:pt>
                <c:pt idx="73">
                  <c:v>De Chanceny</c:v>
                </c:pt>
                <c:pt idx="74">
                  <c:v>Henriot</c:v>
                </c:pt>
                <c:pt idx="75">
                  <c:v>Malard</c:v>
                </c:pt>
                <c:pt idx="76">
                  <c:v>Nicolas Feu</c:v>
                </c:pt>
                <c:pt idx="77">
                  <c:v>De Bligny</c:v>
                </c:pt>
                <c:pt idx="78">
                  <c:v>Delamotte</c:v>
                </c:pt>
                <c:pt idx="79">
                  <c:v>Besserat De</c:v>
                </c:pt>
                <c:pt idx="80">
                  <c:v>All Others</c:v>
                </c:pt>
                <c:pt idx="81">
                  <c:v>Bollinger</c:v>
                </c:pt>
                <c:pt idx="82">
                  <c:v>Ruinart</c:v>
                </c:pt>
                <c:pt idx="83">
                  <c:v>Pommery</c:v>
                </c:pt>
                <c:pt idx="84">
                  <c:v>Dom Perigno</c:v>
                </c:pt>
                <c:pt idx="85">
                  <c:v>Henriot</c:v>
                </c:pt>
                <c:pt idx="86">
                  <c:v>Krug</c:v>
                </c:pt>
                <c:pt idx="87">
                  <c:v>Vranken</c:v>
                </c:pt>
                <c:pt idx="88">
                  <c:v>Laurent Per</c:v>
                </c:pt>
                <c:pt idx="89">
                  <c:v>Henriot</c:v>
                </c:pt>
                <c:pt idx="90">
                  <c:v>Patriarche</c:v>
                </c:pt>
                <c:pt idx="91">
                  <c:v>Ayala</c:v>
                </c:pt>
                <c:pt idx="92">
                  <c:v>Roederer</c:v>
                </c:pt>
                <c:pt idx="93">
                  <c:v>De Venoge</c:v>
                </c:pt>
                <c:pt idx="94">
                  <c:v>Roederer</c:v>
                </c:pt>
                <c:pt idx="95">
                  <c:v>De Venoge</c:v>
                </c:pt>
                <c:pt idx="96">
                  <c:v>Kriter</c:v>
                </c:pt>
                <c:pt idx="97">
                  <c:v>Canard Duch</c:v>
                </c:pt>
                <c:pt idx="98">
                  <c:v>Nicolas</c:v>
                </c:pt>
                <c:pt idx="99">
                  <c:v>De Venoge</c:v>
                </c:pt>
                <c:pt idx="100">
                  <c:v>Roederer</c:v>
                </c:pt>
                <c:pt idx="101">
                  <c:v>Bottega</c:v>
                </c:pt>
                <c:pt idx="102">
                  <c:v>Deutz</c:v>
                </c:pt>
                <c:pt idx="103">
                  <c:v>Roederer</c:v>
                </c:pt>
                <c:pt idx="104">
                  <c:v>Bollinger</c:v>
                </c:pt>
                <c:pt idx="105">
                  <c:v>Ruinart</c:v>
                </c:pt>
                <c:pt idx="106">
                  <c:v>Ruinart</c:v>
                </c:pt>
                <c:pt idx="107">
                  <c:v>Nicolas</c:v>
                </c:pt>
                <c:pt idx="108">
                  <c:v>Roederer</c:v>
                </c:pt>
                <c:pt idx="109">
                  <c:v>Ruinart</c:v>
                </c:pt>
                <c:pt idx="110">
                  <c:v>Perrier Jou</c:v>
                </c:pt>
                <c:pt idx="111">
                  <c:v>Ruinart</c:v>
                </c:pt>
                <c:pt idx="112">
                  <c:v>Malard</c:v>
                </c:pt>
                <c:pt idx="113">
                  <c:v>All Others</c:v>
                </c:pt>
                <c:pt idx="114">
                  <c:v>Moët &amp; Chan</c:v>
                </c:pt>
                <c:pt idx="115">
                  <c:v>Roederer</c:v>
                </c:pt>
                <c:pt idx="116">
                  <c:v>Roederer</c:v>
                </c:pt>
                <c:pt idx="117">
                  <c:v>Ruinart</c:v>
                </c:pt>
                <c:pt idx="118">
                  <c:v>Contarini</c:v>
                </c:pt>
                <c:pt idx="119">
                  <c:v>Canard Duch</c:v>
                </c:pt>
                <c:pt idx="120">
                  <c:v>Nicolas Feu</c:v>
                </c:pt>
                <c:pt idx="121">
                  <c:v>Veuve Clicq</c:v>
                </c:pt>
                <c:pt idx="122">
                  <c:v>Cru La Maqu</c:v>
                </c:pt>
                <c:pt idx="123">
                  <c:v>Laurent Per</c:v>
                </c:pt>
                <c:pt idx="124">
                  <c:v>Nicolas</c:v>
                </c:pt>
                <c:pt idx="125">
                  <c:v>Nicolas</c:v>
                </c:pt>
                <c:pt idx="126">
                  <c:v>Perrier Jou</c:v>
                </c:pt>
                <c:pt idx="127">
                  <c:v>All Others</c:v>
                </c:pt>
                <c:pt idx="128">
                  <c:v>Vranken</c:v>
                </c:pt>
                <c:pt idx="129">
                  <c:v>Dom Perigno</c:v>
                </c:pt>
                <c:pt idx="130">
                  <c:v>Nicolas</c:v>
                </c:pt>
                <c:pt idx="131">
                  <c:v>Veuve Clicq</c:v>
                </c:pt>
                <c:pt idx="132">
                  <c:v>All Others</c:v>
                </c:pt>
                <c:pt idx="133">
                  <c:v>Nicolas</c:v>
                </c:pt>
                <c:pt idx="134">
                  <c:v>All Others</c:v>
                </c:pt>
                <c:pt idx="135">
                  <c:v>All Others</c:v>
                </c:pt>
                <c:pt idx="136">
                  <c:v>All Others</c:v>
                </c:pt>
                <c:pt idx="137">
                  <c:v>Nicolas</c:v>
                </c:pt>
                <c:pt idx="138">
                  <c:v>Deutz</c:v>
                </c:pt>
                <c:pt idx="139">
                  <c:v>Roederer</c:v>
                </c:pt>
                <c:pt idx="140">
                  <c:v>All Others</c:v>
                </c:pt>
                <c:pt idx="141">
                  <c:v>Laurent Per</c:v>
                </c:pt>
                <c:pt idx="142">
                  <c:v>Besserat De</c:v>
                </c:pt>
                <c:pt idx="143">
                  <c:v>Canard Duch</c:v>
                </c:pt>
                <c:pt idx="144">
                  <c:v>All Others</c:v>
                </c:pt>
                <c:pt idx="145">
                  <c:v>Bollinger</c:v>
                </c:pt>
                <c:pt idx="146">
                  <c:v>Demoiselle</c:v>
                </c:pt>
                <c:pt idx="147">
                  <c:v>Nicolas</c:v>
                </c:pt>
                <c:pt idx="148">
                  <c:v>Canard Duch</c:v>
                </c:pt>
                <c:pt idx="149">
                  <c:v>Roederer</c:v>
                </c:pt>
                <c:pt idx="150">
                  <c:v>Roederer</c:v>
                </c:pt>
                <c:pt idx="151">
                  <c:v>All Others</c:v>
                </c:pt>
                <c:pt idx="152">
                  <c:v>Pommery</c:v>
                </c:pt>
                <c:pt idx="153">
                  <c:v>Dom Perigno</c:v>
                </c:pt>
                <c:pt idx="154">
                  <c:v>Nicolas</c:v>
                </c:pt>
                <c:pt idx="155">
                  <c:v>Taittinger</c:v>
                </c:pt>
                <c:pt idx="156">
                  <c:v>Nicolas</c:v>
                </c:pt>
                <c:pt idx="157">
                  <c:v>All Others</c:v>
                </c:pt>
                <c:pt idx="158">
                  <c:v>All Others</c:v>
                </c:pt>
                <c:pt idx="159">
                  <c:v>All Others</c:v>
                </c:pt>
                <c:pt idx="160">
                  <c:v>Laurent Per</c:v>
                </c:pt>
                <c:pt idx="161">
                  <c:v>Lanson</c:v>
                </c:pt>
                <c:pt idx="162">
                  <c:v>Vranken</c:v>
                </c:pt>
                <c:pt idx="163">
                  <c:v>Contarini</c:v>
                </c:pt>
                <c:pt idx="164">
                  <c:v>All Others</c:v>
                </c:pt>
                <c:pt idx="165">
                  <c:v>All Others</c:v>
                </c:pt>
                <c:pt idx="166">
                  <c:v>Moët &amp; Chan</c:v>
                </c:pt>
                <c:pt idx="167">
                  <c:v>Louis Marti</c:v>
                </c:pt>
                <c:pt idx="168">
                  <c:v>All Others</c:v>
                </c:pt>
                <c:pt idx="169">
                  <c:v>Roederer</c:v>
                </c:pt>
                <c:pt idx="170">
                  <c:v>All Others</c:v>
                </c:pt>
                <c:pt idx="171">
                  <c:v>Vesselle</c:v>
                </c:pt>
                <c:pt idx="172">
                  <c:v>Pommery</c:v>
                </c:pt>
                <c:pt idx="173">
                  <c:v>Ayala</c:v>
                </c:pt>
                <c:pt idx="174">
                  <c:v>Demoiselle</c:v>
                </c:pt>
                <c:pt idx="175">
                  <c:v>Ruinart</c:v>
                </c:pt>
                <c:pt idx="176">
                  <c:v>Pommery</c:v>
                </c:pt>
                <c:pt idx="177">
                  <c:v>Piper Heids</c:v>
                </c:pt>
                <c:pt idx="178">
                  <c:v>Deutz</c:v>
                </c:pt>
                <c:pt idx="179">
                  <c:v>Nicolas</c:v>
                </c:pt>
                <c:pt idx="180">
                  <c:v>Pommery</c:v>
                </c:pt>
                <c:pt idx="181">
                  <c:v>Laurent Per</c:v>
                </c:pt>
                <c:pt idx="182">
                  <c:v>Deutz</c:v>
                </c:pt>
                <c:pt idx="183">
                  <c:v>Nicolas</c:v>
                </c:pt>
                <c:pt idx="184">
                  <c:v>Ruinart</c:v>
                </c:pt>
                <c:pt idx="185">
                  <c:v>Laurent Per</c:v>
                </c:pt>
                <c:pt idx="186">
                  <c:v>Roederer</c:v>
                </c:pt>
                <c:pt idx="187">
                  <c:v>Ruinart</c:v>
                </c:pt>
                <c:pt idx="188">
                  <c:v>All Others</c:v>
                </c:pt>
                <c:pt idx="189">
                  <c:v>Ruinart</c:v>
                </c:pt>
                <c:pt idx="190">
                  <c:v>Delamotte</c:v>
                </c:pt>
                <c:pt idx="191">
                  <c:v>All Others</c:v>
                </c:pt>
                <c:pt idx="192">
                  <c:v>Nicolas</c:v>
                </c:pt>
                <c:pt idx="193">
                  <c:v>Veuve Clicq</c:v>
                </c:pt>
                <c:pt idx="194">
                  <c:v>Nicolas</c:v>
                </c:pt>
                <c:pt idx="195">
                  <c:v>Pommery</c:v>
                </c:pt>
                <c:pt idx="196">
                  <c:v>Vesselle</c:v>
                </c:pt>
                <c:pt idx="197">
                  <c:v>Taittinger</c:v>
                </c:pt>
                <c:pt idx="198">
                  <c:v>Perrier Jou</c:v>
                </c:pt>
                <c:pt idx="199">
                  <c:v>All Others</c:v>
                </c:pt>
                <c:pt idx="200">
                  <c:v>Taittinger</c:v>
                </c:pt>
                <c:pt idx="201">
                  <c:v>All Others</c:v>
                </c:pt>
                <c:pt idx="202">
                  <c:v>Roederer</c:v>
                </c:pt>
                <c:pt idx="203">
                  <c:v>Bouvet-Ladu</c:v>
                </c:pt>
                <c:pt idx="204">
                  <c:v>Piper Heids</c:v>
                </c:pt>
                <c:pt idx="205">
                  <c:v>Canard Duch</c:v>
                </c:pt>
                <c:pt idx="206">
                  <c:v>Besserat De</c:v>
                </c:pt>
                <c:pt idx="207">
                  <c:v>All Others</c:v>
                </c:pt>
                <c:pt idx="208">
                  <c:v>All Others</c:v>
                </c:pt>
                <c:pt idx="209">
                  <c:v>All Others</c:v>
                </c:pt>
                <c:pt idx="210">
                  <c:v>Bouvet-Ladu</c:v>
                </c:pt>
                <c:pt idx="211">
                  <c:v>All Others</c:v>
                </c:pt>
                <c:pt idx="212">
                  <c:v>Bollinger</c:v>
                </c:pt>
                <c:pt idx="213">
                  <c:v>All Others</c:v>
                </c:pt>
                <c:pt idx="214">
                  <c:v>Ruinart</c:v>
                </c:pt>
                <c:pt idx="215">
                  <c:v>Nicolas</c:v>
                </c:pt>
                <c:pt idx="216">
                  <c:v>Roederer</c:v>
                </c:pt>
                <c:pt idx="217">
                  <c:v>All Others</c:v>
                </c:pt>
                <c:pt idx="218">
                  <c:v>Malard</c:v>
                </c:pt>
                <c:pt idx="219">
                  <c:v>Nicolas</c:v>
                </c:pt>
                <c:pt idx="220">
                  <c:v>All Others</c:v>
                </c:pt>
                <c:pt idx="221">
                  <c:v>Ruinart</c:v>
                </c:pt>
                <c:pt idx="222">
                  <c:v>Roederer</c:v>
                </c:pt>
                <c:pt idx="223">
                  <c:v>All Others</c:v>
                </c:pt>
                <c:pt idx="224">
                  <c:v>Mure</c:v>
                </c:pt>
                <c:pt idx="225">
                  <c:v>Bouvet-Ladu</c:v>
                </c:pt>
                <c:pt idx="226">
                  <c:v>All Others</c:v>
                </c:pt>
                <c:pt idx="227">
                  <c:v>All Others</c:v>
                </c:pt>
                <c:pt idx="228">
                  <c:v>Henriot</c:v>
                </c:pt>
                <c:pt idx="229">
                  <c:v>Piper Heids</c:v>
                </c:pt>
                <c:pt idx="230">
                  <c:v>Canard Duch</c:v>
                </c:pt>
                <c:pt idx="231">
                  <c:v>Henriot</c:v>
                </c:pt>
                <c:pt idx="232">
                  <c:v>Krug</c:v>
                </c:pt>
                <c:pt idx="233">
                  <c:v>Deutz</c:v>
                </c:pt>
                <c:pt idx="234">
                  <c:v>All Others</c:v>
                </c:pt>
                <c:pt idx="235">
                  <c:v>Moët &amp; Chan</c:v>
                </c:pt>
                <c:pt idx="236">
                  <c:v>Celene</c:v>
                </c:pt>
                <c:pt idx="237">
                  <c:v>Deutz</c:v>
                </c:pt>
                <c:pt idx="238">
                  <c:v>All Others</c:v>
                </c:pt>
                <c:pt idx="239">
                  <c:v>Bollinger</c:v>
                </c:pt>
                <c:pt idx="240">
                  <c:v>Nicolas</c:v>
                </c:pt>
                <c:pt idx="241">
                  <c:v>Veuve Clicq</c:v>
                </c:pt>
                <c:pt idx="242">
                  <c:v>Roederer</c:v>
                </c:pt>
                <c:pt idx="243">
                  <c:v>De Venoge</c:v>
                </c:pt>
                <c:pt idx="244">
                  <c:v>Nicolas Feu</c:v>
                </c:pt>
                <c:pt idx="245">
                  <c:v>Laurent Per</c:v>
                </c:pt>
                <c:pt idx="246">
                  <c:v>Ruinart</c:v>
                </c:pt>
                <c:pt idx="247">
                  <c:v>All Others</c:v>
                </c:pt>
                <c:pt idx="248">
                  <c:v>Ruinart</c:v>
                </c:pt>
                <c:pt idx="249">
                  <c:v>Laurent Per</c:v>
                </c:pt>
                <c:pt idx="250">
                  <c:v>Bollinger</c:v>
                </c:pt>
                <c:pt idx="251">
                  <c:v>Roederer</c:v>
                </c:pt>
                <c:pt idx="252">
                  <c:v>All Others</c:v>
                </c:pt>
                <c:pt idx="253">
                  <c:v>Mure</c:v>
                </c:pt>
                <c:pt idx="254">
                  <c:v>De Bligny</c:v>
                </c:pt>
                <c:pt idx="255">
                  <c:v>Ruinart</c:v>
                </c:pt>
                <c:pt idx="256">
                  <c:v>Ruinart</c:v>
                </c:pt>
                <c:pt idx="257">
                  <c:v>Celene</c:v>
                </c:pt>
                <c:pt idx="258">
                  <c:v>Veuve Clicq</c:v>
                </c:pt>
                <c:pt idx="259">
                  <c:v>Roederer</c:v>
                </c:pt>
                <c:pt idx="260">
                  <c:v>Taittinger</c:v>
                </c:pt>
                <c:pt idx="261">
                  <c:v>Ruinart</c:v>
                </c:pt>
                <c:pt idx="262">
                  <c:v>Veuve Clicq</c:v>
                </c:pt>
                <c:pt idx="263">
                  <c:v>All Others</c:v>
                </c:pt>
                <c:pt idx="264">
                  <c:v>All Others</c:v>
                </c:pt>
                <c:pt idx="265">
                  <c:v>Bollinger</c:v>
                </c:pt>
                <c:pt idx="266">
                  <c:v>De Venoge</c:v>
                </c:pt>
                <c:pt idx="267">
                  <c:v>Veuve Clicq</c:v>
                </c:pt>
                <c:pt idx="268">
                  <c:v>Laurent Per</c:v>
                </c:pt>
                <c:pt idx="269">
                  <c:v>De Venoge</c:v>
                </c:pt>
                <c:pt idx="270">
                  <c:v>Laurent Per</c:v>
                </c:pt>
                <c:pt idx="271">
                  <c:v>Bollinger</c:v>
                </c:pt>
                <c:pt idx="272">
                  <c:v>All Others</c:v>
                </c:pt>
                <c:pt idx="273">
                  <c:v>Deutz</c:v>
                </c:pt>
                <c:pt idx="274">
                  <c:v>Bollinger</c:v>
                </c:pt>
                <c:pt idx="275">
                  <c:v>Martel</c:v>
                </c:pt>
                <c:pt idx="276">
                  <c:v>De Venoge</c:v>
                </c:pt>
                <c:pt idx="277">
                  <c:v>All Others</c:v>
                </c:pt>
                <c:pt idx="278">
                  <c:v>Lanson</c:v>
                </c:pt>
                <c:pt idx="279">
                  <c:v>Malard</c:v>
                </c:pt>
                <c:pt idx="280">
                  <c:v>Piper Heids</c:v>
                </c:pt>
                <c:pt idx="281">
                  <c:v>Dom Perigno</c:v>
                </c:pt>
                <c:pt idx="282">
                  <c:v>Deutz</c:v>
                </c:pt>
                <c:pt idx="283">
                  <c:v>Pommery</c:v>
                </c:pt>
                <c:pt idx="284">
                  <c:v>All Others</c:v>
                </c:pt>
                <c:pt idx="285">
                  <c:v>Pommery</c:v>
                </c:pt>
                <c:pt idx="286">
                  <c:v>Roederer</c:v>
                </c:pt>
                <c:pt idx="287">
                  <c:v>Moët &amp; Chan</c:v>
                </c:pt>
                <c:pt idx="288">
                  <c:v>Besserat De</c:v>
                </c:pt>
                <c:pt idx="289">
                  <c:v>All Others</c:v>
                </c:pt>
                <c:pt idx="290">
                  <c:v>Ayala</c:v>
                </c:pt>
                <c:pt idx="291">
                  <c:v>Roederer</c:v>
                </c:pt>
                <c:pt idx="292">
                  <c:v>Deutz</c:v>
                </c:pt>
                <c:pt idx="293">
                  <c:v>All Others</c:v>
                </c:pt>
                <c:pt idx="294">
                  <c:v>Lanson</c:v>
                </c:pt>
                <c:pt idx="295">
                  <c:v>Besserat De</c:v>
                </c:pt>
                <c:pt idx="296">
                  <c:v>Laurent Per</c:v>
                </c:pt>
                <c:pt idx="297">
                  <c:v>All Others</c:v>
                </c:pt>
                <c:pt idx="298">
                  <c:v>Deutz</c:v>
                </c:pt>
                <c:pt idx="299">
                  <c:v>Jaillance</c:v>
                </c:pt>
                <c:pt idx="300">
                  <c:v>All Others</c:v>
                </c:pt>
                <c:pt idx="301">
                  <c:v>Taittinger</c:v>
                </c:pt>
                <c:pt idx="302">
                  <c:v>Dom Perigno</c:v>
                </c:pt>
                <c:pt idx="303">
                  <c:v>Vranken</c:v>
                </c:pt>
                <c:pt idx="304">
                  <c:v>Laurent Per</c:v>
                </c:pt>
                <c:pt idx="305">
                  <c:v>De Venoge</c:v>
                </c:pt>
                <c:pt idx="306">
                  <c:v>Bottega</c:v>
                </c:pt>
                <c:pt idx="307">
                  <c:v>All Others</c:v>
                </c:pt>
                <c:pt idx="308">
                  <c:v>De Venoge</c:v>
                </c:pt>
                <c:pt idx="309">
                  <c:v>All Others</c:v>
                </c:pt>
                <c:pt idx="310">
                  <c:v>Perrier Jou</c:v>
                </c:pt>
                <c:pt idx="311">
                  <c:v>Dom Perigno</c:v>
                </c:pt>
                <c:pt idx="312">
                  <c:v>Ruinart</c:v>
                </c:pt>
                <c:pt idx="313">
                  <c:v>Besserat De</c:v>
                </c:pt>
                <c:pt idx="314">
                  <c:v>Heidsieck &amp;</c:v>
                </c:pt>
                <c:pt idx="315">
                  <c:v>Perrier Jou</c:v>
                </c:pt>
                <c:pt idx="316">
                  <c:v>All Others</c:v>
                </c:pt>
                <c:pt idx="317">
                  <c:v>Roederer</c:v>
                </c:pt>
                <c:pt idx="318">
                  <c:v>All Others</c:v>
                </c:pt>
                <c:pt idx="319">
                  <c:v>All Others</c:v>
                </c:pt>
                <c:pt idx="320">
                  <c:v>Ayala</c:v>
                </c:pt>
                <c:pt idx="321">
                  <c:v>Besserat De</c:v>
                </c:pt>
                <c:pt idx="322">
                  <c:v>Canard Duch</c:v>
                </c:pt>
                <c:pt idx="323">
                  <c:v>Ayala</c:v>
                </c:pt>
                <c:pt idx="324">
                  <c:v>All Others</c:v>
                </c:pt>
                <c:pt idx="325">
                  <c:v>Demoiselle</c:v>
                </c:pt>
                <c:pt idx="326">
                  <c:v>Nicolas Feu</c:v>
                </c:pt>
                <c:pt idx="327">
                  <c:v>Canard Duch</c:v>
                </c:pt>
                <c:pt idx="328">
                  <c:v>Krug</c:v>
                </c:pt>
                <c:pt idx="329">
                  <c:v>Bollinger</c:v>
                </c:pt>
                <c:pt idx="330">
                  <c:v>Ruinart</c:v>
                </c:pt>
                <c:pt idx="331">
                  <c:v>Lanson</c:v>
                </c:pt>
                <c:pt idx="332">
                  <c:v>Ruinart</c:v>
                </c:pt>
                <c:pt idx="333">
                  <c:v>Bollinger</c:v>
                </c:pt>
                <c:pt idx="334">
                  <c:v>Ruinart</c:v>
                </c:pt>
                <c:pt idx="335">
                  <c:v>All Others</c:v>
                </c:pt>
                <c:pt idx="336">
                  <c:v>All Others</c:v>
                </c:pt>
                <c:pt idx="337">
                  <c:v>Laurent Per</c:v>
                </c:pt>
                <c:pt idx="338">
                  <c:v>Laurent Per</c:v>
                </c:pt>
                <c:pt idx="339">
                  <c:v>Pommery</c:v>
                </c:pt>
                <c:pt idx="340">
                  <c:v>Bouvet-Ladu</c:v>
                </c:pt>
                <c:pt idx="341">
                  <c:v>Laurent Per</c:v>
                </c:pt>
                <c:pt idx="342">
                  <c:v>Taittinger</c:v>
                </c:pt>
                <c:pt idx="343">
                  <c:v>Bouvet-Ladu</c:v>
                </c:pt>
                <c:pt idx="344">
                  <c:v>Bollinger</c:v>
                </c:pt>
                <c:pt idx="345">
                  <c:v>Demoiselle</c:v>
                </c:pt>
                <c:pt idx="346">
                  <c:v>Malard</c:v>
                </c:pt>
                <c:pt idx="347">
                  <c:v>Pommery</c:v>
                </c:pt>
                <c:pt idx="348">
                  <c:v>Roederer</c:v>
                </c:pt>
                <c:pt idx="349">
                  <c:v>Nicolas Feu</c:v>
                </c:pt>
                <c:pt idx="350">
                  <c:v>Laurent Per</c:v>
                </c:pt>
                <c:pt idx="351">
                  <c:v>All Others</c:v>
                </c:pt>
                <c:pt idx="352">
                  <c:v>Perrier Jou</c:v>
                </c:pt>
                <c:pt idx="353">
                  <c:v>All Others</c:v>
                </c:pt>
                <c:pt idx="354">
                  <c:v>All Others</c:v>
                </c:pt>
                <c:pt idx="355">
                  <c:v>Bollinger</c:v>
                </c:pt>
                <c:pt idx="356">
                  <c:v>All Others</c:v>
                </c:pt>
                <c:pt idx="357">
                  <c:v>Roederer</c:v>
                </c:pt>
                <c:pt idx="358">
                  <c:v>Mumm</c:v>
                </c:pt>
                <c:pt idx="359">
                  <c:v>Veuve Clicq</c:v>
                </c:pt>
                <c:pt idx="360">
                  <c:v>Pommery</c:v>
                </c:pt>
                <c:pt idx="361">
                  <c:v>Taittinger</c:v>
                </c:pt>
                <c:pt idx="362">
                  <c:v>Laurent Per</c:v>
                </c:pt>
                <c:pt idx="363">
                  <c:v>All Others</c:v>
                </c:pt>
                <c:pt idx="364">
                  <c:v>Roederer</c:v>
                </c:pt>
                <c:pt idx="365">
                  <c:v>Piper Heids</c:v>
                </c:pt>
                <c:pt idx="366">
                  <c:v>All Others</c:v>
                </c:pt>
                <c:pt idx="367">
                  <c:v>All Others</c:v>
                </c:pt>
                <c:pt idx="368">
                  <c:v>Bouvet-Ladu</c:v>
                </c:pt>
                <c:pt idx="369">
                  <c:v>Nicolas</c:v>
                </c:pt>
                <c:pt idx="370">
                  <c:v>De Venoge</c:v>
                </c:pt>
                <c:pt idx="371">
                  <c:v>Bottega</c:v>
                </c:pt>
                <c:pt idx="372">
                  <c:v>Veuve Clicq</c:v>
                </c:pt>
                <c:pt idx="373">
                  <c:v>All Others</c:v>
                </c:pt>
                <c:pt idx="374">
                  <c:v>Roederer</c:v>
                </c:pt>
                <c:pt idx="375">
                  <c:v>All Others</c:v>
                </c:pt>
                <c:pt idx="376">
                  <c:v>All Others</c:v>
                </c:pt>
                <c:pt idx="377">
                  <c:v>All Others</c:v>
                </c:pt>
                <c:pt idx="378">
                  <c:v>Ayala</c:v>
                </c:pt>
                <c:pt idx="379">
                  <c:v>Moët &amp; Chan</c:v>
                </c:pt>
                <c:pt idx="380">
                  <c:v>Lanson</c:v>
                </c:pt>
                <c:pt idx="381">
                  <c:v>All Others</c:v>
                </c:pt>
                <c:pt idx="382">
                  <c:v>Pommery</c:v>
                </c:pt>
                <c:pt idx="383">
                  <c:v>Moët &amp; Chan</c:v>
                </c:pt>
                <c:pt idx="384">
                  <c:v>All Others</c:v>
                </c:pt>
                <c:pt idx="385">
                  <c:v>All Others</c:v>
                </c:pt>
                <c:pt idx="386">
                  <c:v>All Others</c:v>
                </c:pt>
                <c:pt idx="387">
                  <c:v>Bottega</c:v>
                </c:pt>
              </c:strCache>
            </c:strRef>
          </c:cat>
          <c:val>
            <c:numRef>
              <c:f>Sheet1!$B$2:$B$389</c:f>
              <c:numCache>
                <c:formatCode>General</c:formatCode>
                <c:ptCount val="388"/>
                <c:pt idx="0">
                  <c:v>1</c:v>
                </c:pt>
                <c:pt idx="1">
                  <c:v>1</c:v>
                </c:pt>
                <c:pt idx="2">
                  <c:v>1</c:v>
                </c:pt>
                <c:pt idx="3">
                  <c:v>0.96</c:v>
                </c:pt>
                <c:pt idx="4">
                  <c:v>0.81</c:v>
                </c:pt>
                <c:pt idx="5">
                  <c:v>0.97</c:v>
                </c:pt>
                <c:pt idx="6">
                  <c:v>0.97</c:v>
                </c:pt>
                <c:pt idx="7">
                  <c:v>0.97</c:v>
                </c:pt>
                <c:pt idx="8">
                  <c:v>0.92</c:v>
                </c:pt>
                <c:pt idx="9">
                  <c:v>0.96</c:v>
                </c:pt>
                <c:pt idx="10">
                  <c:v>0.97</c:v>
                </c:pt>
                <c:pt idx="11">
                  <c:v>0.89</c:v>
                </c:pt>
                <c:pt idx="12">
                  <c:v>0.86</c:v>
                </c:pt>
                <c:pt idx="13">
                  <c:v>0.89</c:v>
                </c:pt>
                <c:pt idx="14">
                  <c:v>0.64</c:v>
                </c:pt>
                <c:pt idx="15">
                  <c:v>0.62</c:v>
                </c:pt>
                <c:pt idx="16">
                  <c:v>0.84</c:v>
                </c:pt>
                <c:pt idx="17">
                  <c:v>0.94</c:v>
                </c:pt>
                <c:pt idx="18">
                  <c:v>0.92</c:v>
                </c:pt>
                <c:pt idx="19">
                  <c:v>0.72</c:v>
                </c:pt>
                <c:pt idx="20">
                  <c:v>0.47</c:v>
                </c:pt>
                <c:pt idx="21">
                  <c:v>0.82</c:v>
                </c:pt>
                <c:pt idx="22">
                  <c:v>0.64</c:v>
                </c:pt>
                <c:pt idx="23">
                  <c:v>0.73</c:v>
                </c:pt>
                <c:pt idx="24">
                  <c:v>0.82</c:v>
                </c:pt>
                <c:pt idx="25">
                  <c:v>0.6</c:v>
                </c:pt>
                <c:pt idx="26">
                  <c:v>0.75</c:v>
                </c:pt>
                <c:pt idx="27">
                  <c:v>0.67</c:v>
                </c:pt>
                <c:pt idx="28">
                  <c:v>0.69</c:v>
                </c:pt>
                <c:pt idx="29">
                  <c:v>0.7</c:v>
                </c:pt>
                <c:pt idx="30">
                  <c:v>0.72</c:v>
                </c:pt>
                <c:pt idx="31">
                  <c:v>0.72</c:v>
                </c:pt>
                <c:pt idx="32">
                  <c:v>0.67</c:v>
                </c:pt>
                <c:pt idx="33">
                  <c:v>0.6</c:v>
                </c:pt>
                <c:pt idx="34">
                  <c:v>0.79</c:v>
                </c:pt>
                <c:pt idx="35">
                  <c:v>0.7</c:v>
                </c:pt>
                <c:pt idx="36">
                  <c:v>0.63</c:v>
                </c:pt>
                <c:pt idx="37">
                  <c:v>0.88</c:v>
                </c:pt>
                <c:pt idx="38">
                  <c:v>0.74</c:v>
                </c:pt>
                <c:pt idx="39">
                  <c:v>0.45</c:v>
                </c:pt>
                <c:pt idx="40">
                  <c:v>0.82</c:v>
                </c:pt>
                <c:pt idx="41">
                  <c:v>0.56999999999999995</c:v>
                </c:pt>
                <c:pt idx="42">
                  <c:v>0.44</c:v>
                </c:pt>
                <c:pt idx="43">
                  <c:v>0.56999999999999995</c:v>
                </c:pt>
                <c:pt idx="44">
                  <c:v>0.26</c:v>
                </c:pt>
                <c:pt idx="45">
                  <c:v>0.78</c:v>
                </c:pt>
                <c:pt idx="46">
                  <c:v>0.3</c:v>
                </c:pt>
                <c:pt idx="47">
                  <c:v>0.53</c:v>
                </c:pt>
                <c:pt idx="48">
                  <c:v>0.36</c:v>
                </c:pt>
                <c:pt idx="49">
                  <c:v>0.73</c:v>
                </c:pt>
                <c:pt idx="50">
                  <c:v>0.54</c:v>
                </c:pt>
                <c:pt idx="51">
                  <c:v>0.45</c:v>
                </c:pt>
                <c:pt idx="52">
                  <c:v>0.56000000000000005</c:v>
                </c:pt>
                <c:pt idx="53">
                  <c:v>0.66</c:v>
                </c:pt>
                <c:pt idx="54">
                  <c:v>0.62</c:v>
                </c:pt>
                <c:pt idx="55">
                  <c:v>0.78</c:v>
                </c:pt>
                <c:pt idx="56">
                  <c:v>0.71</c:v>
                </c:pt>
                <c:pt idx="57">
                  <c:v>0.55000000000000004</c:v>
                </c:pt>
                <c:pt idx="58">
                  <c:v>0.62</c:v>
                </c:pt>
                <c:pt idx="59">
                  <c:v>0.46</c:v>
                </c:pt>
                <c:pt idx="60">
                  <c:v>0.6</c:v>
                </c:pt>
                <c:pt idx="61">
                  <c:v>0.52</c:v>
                </c:pt>
                <c:pt idx="62">
                  <c:v>0.83</c:v>
                </c:pt>
                <c:pt idx="63">
                  <c:v>0.52</c:v>
                </c:pt>
                <c:pt idx="64">
                  <c:v>0.82</c:v>
                </c:pt>
                <c:pt idx="65">
                  <c:v>0.56000000000000005</c:v>
                </c:pt>
                <c:pt idx="66">
                  <c:v>0.55000000000000004</c:v>
                </c:pt>
                <c:pt idx="67">
                  <c:v>0.4</c:v>
                </c:pt>
                <c:pt idx="68">
                  <c:v>0.56000000000000005</c:v>
                </c:pt>
                <c:pt idx="69">
                  <c:v>0.5</c:v>
                </c:pt>
                <c:pt idx="70">
                  <c:v>0.79</c:v>
                </c:pt>
                <c:pt idx="71">
                  <c:v>0.56000000000000005</c:v>
                </c:pt>
                <c:pt idx="72">
                  <c:v>0.26</c:v>
                </c:pt>
                <c:pt idx="73">
                  <c:v>0.61</c:v>
                </c:pt>
                <c:pt idx="74">
                  <c:v>0.7</c:v>
                </c:pt>
                <c:pt idx="75">
                  <c:v>0.48</c:v>
                </c:pt>
                <c:pt idx="76">
                  <c:v>0.38</c:v>
                </c:pt>
                <c:pt idx="77">
                  <c:v>0.56000000000000005</c:v>
                </c:pt>
                <c:pt idx="78">
                  <c:v>0.26</c:v>
                </c:pt>
                <c:pt idx="79">
                  <c:v>0.33</c:v>
                </c:pt>
                <c:pt idx="80">
                  <c:v>0.48</c:v>
                </c:pt>
                <c:pt idx="81">
                  <c:v>0.2</c:v>
                </c:pt>
                <c:pt idx="82">
                  <c:v>0.34</c:v>
                </c:pt>
                <c:pt idx="83">
                  <c:v>0.41</c:v>
                </c:pt>
                <c:pt idx="84">
                  <c:v>0.25</c:v>
                </c:pt>
                <c:pt idx="85">
                  <c:v>0.36</c:v>
                </c:pt>
                <c:pt idx="86">
                  <c:v>0.11</c:v>
                </c:pt>
                <c:pt idx="87">
                  <c:v>0.27</c:v>
                </c:pt>
                <c:pt idx="88">
                  <c:v>0.28000000000000003</c:v>
                </c:pt>
                <c:pt idx="89">
                  <c:v>0.3</c:v>
                </c:pt>
                <c:pt idx="90">
                  <c:v>0.59</c:v>
                </c:pt>
                <c:pt idx="91">
                  <c:v>0.32</c:v>
                </c:pt>
                <c:pt idx="92">
                  <c:v>0.15</c:v>
                </c:pt>
                <c:pt idx="93">
                  <c:v>0.46</c:v>
                </c:pt>
                <c:pt idx="94">
                  <c:v>0.24</c:v>
                </c:pt>
                <c:pt idx="95">
                  <c:v>0.2</c:v>
                </c:pt>
                <c:pt idx="96">
                  <c:v>0.47</c:v>
                </c:pt>
                <c:pt idx="97">
                  <c:v>0.28000000000000003</c:v>
                </c:pt>
                <c:pt idx="98">
                  <c:v>0.37</c:v>
                </c:pt>
                <c:pt idx="99">
                  <c:v>0.22</c:v>
                </c:pt>
                <c:pt idx="100">
                  <c:v>0.2</c:v>
                </c:pt>
                <c:pt idx="101">
                  <c:v>0.46</c:v>
                </c:pt>
                <c:pt idx="102">
                  <c:v>0.4</c:v>
                </c:pt>
                <c:pt idx="103">
                  <c:v>0.15</c:v>
                </c:pt>
                <c:pt idx="104">
                  <c:v>0.14000000000000001</c:v>
                </c:pt>
                <c:pt idx="105">
                  <c:v>0.28000000000000003</c:v>
                </c:pt>
                <c:pt idx="106">
                  <c:v>0.12</c:v>
                </c:pt>
                <c:pt idx="107">
                  <c:v>0.18</c:v>
                </c:pt>
                <c:pt idx="108">
                  <c:v>0.17</c:v>
                </c:pt>
                <c:pt idx="109">
                  <c:v>0.13</c:v>
                </c:pt>
                <c:pt idx="110">
                  <c:v>0.1</c:v>
                </c:pt>
                <c:pt idx="111">
                  <c:v>0.25</c:v>
                </c:pt>
                <c:pt idx="112">
                  <c:v>0.37</c:v>
                </c:pt>
                <c:pt idx="113">
                  <c:v>7.0000000000000007E-2</c:v>
                </c:pt>
                <c:pt idx="114">
                  <c:v>0.3</c:v>
                </c:pt>
                <c:pt idx="115">
                  <c:v>0.36</c:v>
                </c:pt>
                <c:pt idx="116">
                  <c:v>0.19</c:v>
                </c:pt>
                <c:pt idx="117">
                  <c:v>0.23</c:v>
                </c:pt>
                <c:pt idx="118">
                  <c:v>0.91</c:v>
                </c:pt>
                <c:pt idx="119">
                  <c:v>0.25</c:v>
                </c:pt>
                <c:pt idx="120">
                  <c:v>0.33</c:v>
                </c:pt>
                <c:pt idx="121">
                  <c:v>0.19</c:v>
                </c:pt>
                <c:pt idx="122">
                  <c:v>0.41</c:v>
                </c:pt>
                <c:pt idx="123">
                  <c:v>0.13</c:v>
                </c:pt>
                <c:pt idx="124">
                  <c:v>0.19</c:v>
                </c:pt>
                <c:pt idx="125">
                  <c:v>0.32</c:v>
                </c:pt>
                <c:pt idx="126">
                  <c:v>0.25</c:v>
                </c:pt>
                <c:pt idx="127">
                  <c:v>0.5</c:v>
                </c:pt>
                <c:pt idx="128">
                  <c:v>0.12</c:v>
                </c:pt>
                <c:pt idx="129">
                  <c:v>0.09</c:v>
                </c:pt>
                <c:pt idx="130">
                  <c:v>0.12</c:v>
                </c:pt>
                <c:pt idx="131">
                  <c:v>0.17</c:v>
                </c:pt>
                <c:pt idx="132">
                  <c:v>0.28000000000000003</c:v>
                </c:pt>
                <c:pt idx="133">
                  <c:v>0.28000000000000003</c:v>
                </c:pt>
                <c:pt idx="134">
                  <c:v>0.43</c:v>
                </c:pt>
                <c:pt idx="135">
                  <c:v>0.34</c:v>
                </c:pt>
                <c:pt idx="136">
                  <c:v>0.18</c:v>
                </c:pt>
                <c:pt idx="137">
                  <c:v>0.25</c:v>
                </c:pt>
                <c:pt idx="138">
                  <c:v>0.08</c:v>
                </c:pt>
                <c:pt idx="139">
                  <c:v>0.24</c:v>
                </c:pt>
                <c:pt idx="140">
                  <c:v>0.03</c:v>
                </c:pt>
                <c:pt idx="141">
                  <c:v>0.14000000000000001</c:v>
                </c:pt>
                <c:pt idx="142">
                  <c:v>0.26</c:v>
                </c:pt>
                <c:pt idx="143">
                  <c:v>0.08</c:v>
                </c:pt>
                <c:pt idx="144">
                  <c:v>0.18</c:v>
                </c:pt>
                <c:pt idx="145">
                  <c:v>0.06</c:v>
                </c:pt>
                <c:pt idx="146">
                  <c:v>0.3</c:v>
                </c:pt>
                <c:pt idx="147">
                  <c:v>0.17</c:v>
                </c:pt>
                <c:pt idx="148">
                  <c:v>7.0000000000000007E-2</c:v>
                </c:pt>
                <c:pt idx="149">
                  <c:v>0.27</c:v>
                </c:pt>
                <c:pt idx="150">
                  <c:v>0.03</c:v>
                </c:pt>
                <c:pt idx="151">
                  <c:v>0.12</c:v>
                </c:pt>
                <c:pt idx="152">
                  <c:v>0.16</c:v>
                </c:pt>
                <c:pt idx="153">
                  <c:v>0.04</c:v>
                </c:pt>
                <c:pt idx="154">
                  <c:v>0.32</c:v>
                </c:pt>
                <c:pt idx="155">
                  <c:v>0.04</c:v>
                </c:pt>
                <c:pt idx="156">
                  <c:v>0.27</c:v>
                </c:pt>
                <c:pt idx="157">
                  <c:v>0.23</c:v>
                </c:pt>
                <c:pt idx="158">
                  <c:v>0.33</c:v>
                </c:pt>
                <c:pt idx="159">
                  <c:v>0.23</c:v>
                </c:pt>
                <c:pt idx="160">
                  <c:v>0.04</c:v>
                </c:pt>
                <c:pt idx="161">
                  <c:v>0.09</c:v>
                </c:pt>
                <c:pt idx="162">
                  <c:v>0.06</c:v>
                </c:pt>
                <c:pt idx="163">
                  <c:v>0.11</c:v>
                </c:pt>
                <c:pt idx="164">
                  <c:v>0.05</c:v>
                </c:pt>
                <c:pt idx="165">
                  <c:v>0.18</c:v>
                </c:pt>
                <c:pt idx="166">
                  <c:v>0.08</c:v>
                </c:pt>
                <c:pt idx="167">
                  <c:v>0.19</c:v>
                </c:pt>
                <c:pt idx="168">
                  <c:v>0.03</c:v>
                </c:pt>
                <c:pt idx="169">
                  <c:v>0.04</c:v>
                </c:pt>
                <c:pt idx="170">
                  <c:v>0.05</c:v>
                </c:pt>
                <c:pt idx="171">
                  <c:v>0.13</c:v>
                </c:pt>
                <c:pt idx="172">
                  <c:v>0.05</c:v>
                </c:pt>
                <c:pt idx="173">
                  <c:v>0.06</c:v>
                </c:pt>
                <c:pt idx="174">
                  <c:v>0.15</c:v>
                </c:pt>
                <c:pt idx="175">
                  <c:v>0.05</c:v>
                </c:pt>
                <c:pt idx="176">
                  <c:v>0.11</c:v>
                </c:pt>
                <c:pt idx="177">
                  <c:v>0.03</c:v>
                </c:pt>
                <c:pt idx="178">
                  <c:v>0.06</c:v>
                </c:pt>
                <c:pt idx="179">
                  <c:v>0.18</c:v>
                </c:pt>
                <c:pt idx="180">
                  <c:v>0.03</c:v>
                </c:pt>
                <c:pt idx="181">
                  <c:v>0.05</c:v>
                </c:pt>
                <c:pt idx="182">
                  <c:v>0.03</c:v>
                </c:pt>
                <c:pt idx="183">
                  <c:v>0.03</c:v>
                </c:pt>
                <c:pt idx="184">
                  <c:v>7.0000000000000007E-2</c:v>
                </c:pt>
                <c:pt idx="185">
                  <c:v>0.03</c:v>
                </c:pt>
                <c:pt idx="186">
                  <c:v>0.04</c:v>
                </c:pt>
                <c:pt idx="187">
                  <c:v>0.03</c:v>
                </c:pt>
                <c:pt idx="188">
                  <c:v>0.24</c:v>
                </c:pt>
                <c:pt idx="189">
                  <c:v>0.03</c:v>
                </c:pt>
                <c:pt idx="190">
                  <c:v>0.08</c:v>
                </c:pt>
                <c:pt idx="191">
                  <c:v>0.03</c:v>
                </c:pt>
                <c:pt idx="192">
                  <c:v>0.08</c:v>
                </c:pt>
                <c:pt idx="193">
                  <c:v>0.25</c:v>
                </c:pt>
                <c:pt idx="194">
                  <c:v>0.14000000000000001</c:v>
                </c:pt>
                <c:pt idx="195">
                  <c:v>7.0000000000000007E-2</c:v>
                </c:pt>
                <c:pt idx="196">
                  <c:v>0.05</c:v>
                </c:pt>
                <c:pt idx="197">
                  <c:v>0.03</c:v>
                </c:pt>
                <c:pt idx="198">
                  <c:v>0.02</c:v>
                </c:pt>
                <c:pt idx="199">
                  <c:v>0.02</c:v>
                </c:pt>
                <c:pt idx="200">
                  <c:v>0.01</c:v>
                </c:pt>
                <c:pt idx="201">
                  <c:v>0.04</c:v>
                </c:pt>
                <c:pt idx="202">
                  <c:v>0.03</c:v>
                </c:pt>
                <c:pt idx="203">
                  <c:v>0.06</c:v>
                </c:pt>
                <c:pt idx="204">
                  <c:v>0.03</c:v>
                </c:pt>
                <c:pt idx="205">
                  <c:v>0.06</c:v>
                </c:pt>
                <c:pt idx="206">
                  <c:v>0.05</c:v>
                </c:pt>
                <c:pt idx="207">
                  <c:v>0.04</c:v>
                </c:pt>
                <c:pt idx="208">
                  <c:v>0.02</c:v>
                </c:pt>
                <c:pt idx="209">
                  <c:v>0.04</c:v>
                </c:pt>
                <c:pt idx="210">
                  <c:v>0.1</c:v>
                </c:pt>
                <c:pt idx="211">
                  <c:v>0.01</c:v>
                </c:pt>
                <c:pt idx="212">
                  <c:v>0.01</c:v>
                </c:pt>
                <c:pt idx="213">
                  <c:v>0.03</c:v>
                </c:pt>
                <c:pt idx="214">
                  <c:v>0.02</c:v>
                </c:pt>
                <c:pt idx="215">
                  <c:v>0.04</c:v>
                </c:pt>
                <c:pt idx="216">
                  <c:v>0.01</c:v>
                </c:pt>
                <c:pt idx="217">
                  <c:v>0.02</c:v>
                </c:pt>
                <c:pt idx="218">
                  <c:v>0.05</c:v>
                </c:pt>
                <c:pt idx="219">
                  <c:v>0.04</c:v>
                </c:pt>
                <c:pt idx="220">
                  <c:v>7.0000000000000007E-2</c:v>
                </c:pt>
                <c:pt idx="221">
                  <c:v>0.01</c:v>
                </c:pt>
                <c:pt idx="222">
                  <c:v>0.01</c:v>
                </c:pt>
                <c:pt idx="223">
                  <c:v>0.02</c:v>
                </c:pt>
                <c:pt idx="224">
                  <c:v>0.01</c:v>
                </c:pt>
                <c:pt idx="225">
                  <c:v>0.06</c:v>
                </c:pt>
                <c:pt idx="226">
                  <c:v>0.04</c:v>
                </c:pt>
                <c:pt idx="227">
                  <c:v>0.02</c:v>
                </c:pt>
                <c:pt idx="228">
                  <c:v>0.05</c:v>
                </c:pt>
                <c:pt idx="229">
                  <c:v>0.04</c:v>
                </c:pt>
                <c:pt idx="230">
                  <c:v>0.09</c:v>
                </c:pt>
                <c:pt idx="231">
                  <c:v>0.02</c:v>
                </c:pt>
                <c:pt idx="232">
                  <c:v>0.01</c:v>
                </c:pt>
                <c:pt idx="233">
                  <c:v>0.03</c:v>
                </c:pt>
                <c:pt idx="234">
                  <c:v>0.03</c:v>
                </c:pt>
                <c:pt idx="235">
                  <c:v>0.04</c:v>
                </c:pt>
                <c:pt idx="236">
                  <c:v>0.06</c:v>
                </c:pt>
                <c:pt idx="237">
                  <c:v>0.01</c:v>
                </c:pt>
                <c:pt idx="238">
                  <c:v>0.02</c:v>
                </c:pt>
                <c:pt idx="239">
                  <c:v>0.01</c:v>
                </c:pt>
                <c:pt idx="240">
                  <c:v>0.02</c:v>
                </c:pt>
                <c:pt idx="241">
                  <c:v>0.01</c:v>
                </c:pt>
                <c:pt idx="242">
                  <c:v>0.01</c:v>
                </c:pt>
                <c:pt idx="243">
                  <c:v>0.04</c:v>
                </c:pt>
                <c:pt idx="244">
                  <c:v>0.02</c:v>
                </c:pt>
                <c:pt idx="245">
                  <c:v>0.01</c:v>
                </c:pt>
                <c:pt idx="246">
                  <c:v>0.01</c:v>
                </c:pt>
                <c:pt idx="247">
                  <c:v>0.02</c:v>
                </c:pt>
                <c:pt idx="248">
                  <c:v>0.02</c:v>
                </c:pt>
                <c:pt idx="249">
                  <c:v>0.02</c:v>
                </c:pt>
                <c:pt idx="250">
                  <c:v>0.02</c:v>
                </c:pt>
                <c:pt idx="251">
                  <c:v>0.02</c:v>
                </c:pt>
                <c:pt idx="252">
                  <c:v>0.03</c:v>
                </c:pt>
                <c:pt idx="253">
                  <c:v>0.02</c:v>
                </c:pt>
                <c:pt idx="254">
                  <c:v>0.03</c:v>
                </c:pt>
                <c:pt idx="255">
                  <c:v>0.02</c:v>
                </c:pt>
                <c:pt idx="256">
                  <c:v>0.01</c:v>
                </c:pt>
                <c:pt idx="257">
                  <c:v>0.05</c:v>
                </c:pt>
                <c:pt idx="258">
                  <c:v>0.25</c:v>
                </c:pt>
                <c:pt idx="259">
                  <c:v>0.02</c:v>
                </c:pt>
                <c:pt idx="260">
                  <c:v>0.01</c:v>
                </c:pt>
                <c:pt idx="261">
                  <c:v>0.01</c:v>
                </c:pt>
                <c:pt idx="262">
                  <c:v>0.02</c:v>
                </c:pt>
                <c:pt idx="263">
                  <c:v>0.01</c:v>
                </c:pt>
                <c:pt idx="264">
                  <c:v>0.01</c:v>
                </c:pt>
                <c:pt idx="265">
                  <c:v>0.02</c:v>
                </c:pt>
                <c:pt idx="266">
                  <c:v>0.03</c:v>
                </c:pt>
                <c:pt idx="267">
                  <c:v>0.01</c:v>
                </c:pt>
                <c:pt idx="268">
                  <c:v>0.05</c:v>
                </c:pt>
                <c:pt idx="269">
                  <c:v>0.01</c:v>
                </c:pt>
                <c:pt idx="270">
                  <c:v>0.01</c:v>
                </c:pt>
                <c:pt idx="271">
                  <c:v>0.01</c:v>
                </c:pt>
                <c:pt idx="272">
                  <c:v>0.02</c:v>
                </c:pt>
                <c:pt idx="273">
                  <c:v>0.02</c:v>
                </c:pt>
                <c:pt idx="274">
                  <c:v>0.02</c:v>
                </c:pt>
                <c:pt idx="275">
                  <c:v>0.02</c:v>
                </c:pt>
                <c:pt idx="276">
                  <c:v>0.01</c:v>
                </c:pt>
                <c:pt idx="277">
                  <c:v>0.02</c:v>
                </c:pt>
                <c:pt idx="278">
                  <c:v>0.03</c:v>
                </c:pt>
                <c:pt idx="279">
                  <c:v>0.02</c:v>
                </c:pt>
                <c:pt idx="280">
                  <c:v>0.01</c:v>
                </c:pt>
                <c:pt idx="281">
                  <c:v>0.01</c:v>
                </c:pt>
                <c:pt idx="282">
                  <c:v>0.01</c:v>
                </c:pt>
                <c:pt idx="283">
                  <c:v>0.01</c:v>
                </c:pt>
                <c:pt idx="284">
                  <c:v>0.01</c:v>
                </c:pt>
                <c:pt idx="285">
                  <c:v>0.02</c:v>
                </c:pt>
                <c:pt idx="286">
                  <c:v>0.02</c:v>
                </c:pt>
                <c:pt idx="287">
                  <c:v>0.04</c:v>
                </c:pt>
                <c:pt idx="288">
                  <c:v>0.01</c:v>
                </c:pt>
                <c:pt idx="289">
                  <c:v>0.02</c:v>
                </c:pt>
                <c:pt idx="290">
                  <c:v>0.01</c:v>
                </c:pt>
                <c:pt idx="291">
                  <c:v>0.01</c:v>
                </c:pt>
                <c:pt idx="292">
                  <c:v>0.01</c:v>
                </c:pt>
                <c:pt idx="293">
                  <c:v>0.02</c:v>
                </c:pt>
                <c:pt idx="294">
                  <c:v>0.01</c:v>
                </c:pt>
                <c:pt idx="295">
                  <c:v>0.01</c:v>
                </c:pt>
                <c:pt idx="296">
                  <c:v>0.01</c:v>
                </c:pt>
                <c:pt idx="297">
                  <c:v>0.04</c:v>
                </c:pt>
                <c:pt idx="298">
                  <c:v>0.02</c:v>
                </c:pt>
                <c:pt idx="299">
                  <c:v>0.01</c:v>
                </c:pt>
                <c:pt idx="300">
                  <c:v>0.02</c:v>
                </c:pt>
                <c:pt idx="301">
                  <c:v>0.02</c:v>
                </c:pt>
                <c:pt idx="302">
                  <c:v>0.01</c:v>
                </c:pt>
                <c:pt idx="303">
                  <c:v>0.01</c:v>
                </c:pt>
                <c:pt idx="304">
                  <c:v>0.01</c:v>
                </c:pt>
                <c:pt idx="305">
                  <c:v>0.01</c:v>
                </c:pt>
                <c:pt idx="306">
                  <c:v>0.03</c:v>
                </c:pt>
                <c:pt idx="307">
                  <c:v>0.01</c:v>
                </c:pt>
                <c:pt idx="308">
                  <c:v>0.03</c:v>
                </c:pt>
                <c:pt idx="309">
                  <c:v>0.01</c:v>
                </c:pt>
                <c:pt idx="310">
                  <c:v>0.03</c:v>
                </c:pt>
                <c:pt idx="311">
                  <c:v>0.01</c:v>
                </c:pt>
                <c:pt idx="312">
                  <c:v>0.01</c:v>
                </c:pt>
                <c:pt idx="313">
                  <c:v>0.01</c:v>
                </c:pt>
                <c:pt idx="314">
                  <c:v>0.01</c:v>
                </c:pt>
                <c:pt idx="315">
                  <c:v>0.01</c:v>
                </c:pt>
                <c:pt idx="316">
                  <c:v>0.02</c:v>
                </c:pt>
                <c:pt idx="317">
                  <c:v>0.01</c:v>
                </c:pt>
                <c:pt idx="318">
                  <c:v>0.03</c:v>
                </c:pt>
                <c:pt idx="319">
                  <c:v>0.01</c:v>
                </c:pt>
                <c:pt idx="320">
                  <c:v>0.01</c:v>
                </c:pt>
                <c:pt idx="321">
                  <c:v>0.01</c:v>
                </c:pt>
                <c:pt idx="322">
                  <c:v>0.02</c:v>
                </c:pt>
                <c:pt idx="323">
                  <c:v>0.01</c:v>
                </c:pt>
                <c:pt idx="324">
                  <c:v>0.01</c:v>
                </c:pt>
                <c:pt idx="325">
                  <c:v>0.01</c:v>
                </c:pt>
                <c:pt idx="326">
                  <c:v>0.01</c:v>
                </c:pt>
                <c:pt idx="327">
                  <c:v>0.02</c:v>
                </c:pt>
                <c:pt idx="328">
                  <c:v>0.01</c:v>
                </c:pt>
                <c:pt idx="329">
                  <c:v>0.02</c:v>
                </c:pt>
                <c:pt idx="330">
                  <c:v>0.01</c:v>
                </c:pt>
                <c:pt idx="331">
                  <c:v>0.01</c:v>
                </c:pt>
                <c:pt idx="332">
                  <c:v>0.01</c:v>
                </c:pt>
                <c:pt idx="333">
                  <c:v>0.01</c:v>
                </c:pt>
                <c:pt idx="334">
                  <c:v>0.01</c:v>
                </c:pt>
                <c:pt idx="335">
                  <c:v>0.02</c:v>
                </c:pt>
                <c:pt idx="336">
                  <c:v>0.01</c:v>
                </c:pt>
                <c:pt idx="337">
                  <c:v>0.01</c:v>
                </c:pt>
                <c:pt idx="338">
                  <c:v>0.01</c:v>
                </c:pt>
                <c:pt idx="339">
                  <c:v>0.01</c:v>
                </c:pt>
                <c:pt idx="340">
                  <c:v>0.02</c:v>
                </c:pt>
                <c:pt idx="341">
                  <c:v>0.01</c:v>
                </c:pt>
                <c:pt idx="342">
                  <c:v>0.01</c:v>
                </c:pt>
                <c:pt idx="343">
                  <c:v>0.01</c:v>
                </c:pt>
                <c:pt idx="344">
                  <c:v>0.01</c:v>
                </c:pt>
                <c:pt idx="345">
                  <c:v>0.01</c:v>
                </c:pt>
                <c:pt idx="346">
                  <c:v>0.01</c:v>
                </c:pt>
                <c:pt idx="347">
                  <c:v>0.01</c:v>
                </c:pt>
                <c:pt idx="348">
                  <c:v>0.01</c:v>
                </c:pt>
                <c:pt idx="349">
                  <c:v>0.01</c:v>
                </c:pt>
                <c:pt idx="350">
                  <c:v>0.01</c:v>
                </c:pt>
                <c:pt idx="351">
                  <c:v>0.04</c:v>
                </c:pt>
                <c:pt idx="352">
                  <c:v>0.01</c:v>
                </c:pt>
                <c:pt idx="353">
                  <c:v>0.01</c:v>
                </c:pt>
                <c:pt idx="354">
                  <c:v>0.01</c:v>
                </c:pt>
                <c:pt idx="355">
                  <c:v>0.01</c:v>
                </c:pt>
                <c:pt idx="356">
                  <c:v>0.02</c:v>
                </c:pt>
                <c:pt idx="357">
                  <c:v>0.01</c:v>
                </c:pt>
                <c:pt idx="358">
                  <c:v>0.01</c:v>
                </c:pt>
                <c:pt idx="359">
                  <c:v>0.01</c:v>
                </c:pt>
                <c:pt idx="360">
                  <c:v>0.01</c:v>
                </c:pt>
                <c:pt idx="361">
                  <c:v>0.01</c:v>
                </c:pt>
                <c:pt idx="362">
                  <c:v>0.01</c:v>
                </c:pt>
                <c:pt idx="363">
                  <c:v>0.02</c:v>
                </c:pt>
                <c:pt idx="364">
                  <c:v>0.01</c:v>
                </c:pt>
                <c:pt idx="365">
                  <c:v>0.01</c:v>
                </c:pt>
                <c:pt idx="366">
                  <c:v>0.01</c:v>
                </c:pt>
                <c:pt idx="367">
                  <c:v>0.01</c:v>
                </c:pt>
                <c:pt idx="368">
                  <c:v>0.01</c:v>
                </c:pt>
                <c:pt idx="369">
                  <c:v>0.01</c:v>
                </c:pt>
                <c:pt idx="370">
                  <c:v>0.01</c:v>
                </c:pt>
                <c:pt idx="371">
                  <c:v>0.01</c:v>
                </c:pt>
                <c:pt idx="372">
                  <c:v>0.01</c:v>
                </c:pt>
                <c:pt idx="373">
                  <c:v>0.01</c:v>
                </c:pt>
                <c:pt idx="374">
                  <c:v>0.01</c:v>
                </c:pt>
                <c:pt idx="375">
                  <c:v>0.01</c:v>
                </c:pt>
                <c:pt idx="376">
                  <c:v>0.02</c:v>
                </c:pt>
                <c:pt idx="377">
                  <c:v>0.01</c:v>
                </c:pt>
                <c:pt idx="378">
                  <c:v>0.01</c:v>
                </c:pt>
                <c:pt idx="379">
                  <c:v>0.01</c:v>
                </c:pt>
                <c:pt idx="380">
                  <c:v>0.01</c:v>
                </c:pt>
                <c:pt idx="381">
                  <c:v>0.01</c:v>
                </c:pt>
                <c:pt idx="382">
                  <c:v>0.01</c:v>
                </c:pt>
                <c:pt idx="383">
                  <c:v>0.01</c:v>
                </c:pt>
                <c:pt idx="384">
                  <c:v>0.01</c:v>
                </c:pt>
                <c:pt idx="385">
                  <c:v>0.01</c:v>
                </c:pt>
                <c:pt idx="386">
                  <c:v>0.01</c:v>
                </c:pt>
                <c:pt idx="387">
                  <c:v>0.02</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7ECAC4"/>
              </a:solidFill>
            </c:spPr>
            <c:extLst>
              <c:ext xmlns:c16="http://schemas.microsoft.com/office/drawing/2014/chart" uri="{C3380CC4-5D6E-409C-BE32-E72D297353CC}">
                <c16:uniqueId val="{00000076-C76F-4230-900D-40618C09729F}"/>
              </c:ext>
            </c:extLst>
          </c:dPt>
          <c:dPt>
            <c:idx val="57"/>
            <c:invertIfNegative val="0"/>
            <c:bubble3D val="0"/>
            <c:spPr>
              <a:solidFill>
                <a:srgbClr val="7ECAC4"/>
              </a:solidFill>
            </c:spPr>
            <c:extLst>
              <c:ext xmlns:c16="http://schemas.microsoft.com/office/drawing/2014/chart" uri="{C3380CC4-5D6E-409C-BE32-E72D297353CC}">
                <c16:uniqueId val="{00000078-C76F-4230-900D-40618C09729F}"/>
              </c:ext>
            </c:extLst>
          </c:dPt>
          <c:dPt>
            <c:idx val="58"/>
            <c:invertIfNegative val="0"/>
            <c:bubble3D val="0"/>
            <c:spPr>
              <a:solidFill>
                <a:srgbClr val="7ECAC4"/>
              </a:solidFill>
            </c:spPr>
            <c:extLst>
              <c:ext xmlns:c16="http://schemas.microsoft.com/office/drawing/2014/chart" uri="{C3380CC4-5D6E-409C-BE32-E72D297353CC}">
                <c16:uniqueId val="{0000007A-C76F-4230-900D-40618C09729F}"/>
              </c:ext>
            </c:extLst>
          </c:dPt>
          <c:dPt>
            <c:idx val="59"/>
            <c:invertIfNegative val="0"/>
            <c:bubble3D val="0"/>
            <c:spPr>
              <a:solidFill>
                <a:srgbClr val="7ECAC4"/>
              </a:solidFill>
            </c:spPr>
            <c:extLst>
              <c:ext xmlns:c16="http://schemas.microsoft.com/office/drawing/2014/chart" uri="{C3380CC4-5D6E-409C-BE32-E72D297353CC}">
                <c16:uniqueId val="{0000007C-C76F-4230-900D-40618C09729F}"/>
              </c:ext>
            </c:extLst>
          </c:dPt>
          <c:dPt>
            <c:idx val="60"/>
            <c:invertIfNegative val="0"/>
            <c:bubble3D val="0"/>
            <c:spPr>
              <a:solidFill>
                <a:srgbClr val="7ECAC4"/>
              </a:solidFill>
            </c:spPr>
            <c:extLst>
              <c:ext xmlns:c16="http://schemas.microsoft.com/office/drawing/2014/chart" uri="{C3380CC4-5D6E-409C-BE32-E72D297353CC}">
                <c16:uniqueId val="{0000007E-C76F-4230-900D-40618C09729F}"/>
              </c:ext>
            </c:extLst>
          </c:dPt>
          <c:dPt>
            <c:idx val="61"/>
            <c:invertIfNegative val="0"/>
            <c:bubble3D val="0"/>
            <c:spPr>
              <a:solidFill>
                <a:srgbClr val="7ECAC4"/>
              </a:solidFill>
            </c:spPr>
            <c:extLst>
              <c:ext xmlns:c16="http://schemas.microsoft.com/office/drawing/2014/chart" uri="{C3380CC4-5D6E-409C-BE32-E72D297353CC}">
                <c16:uniqueId val="{00000080-C76F-4230-900D-40618C09729F}"/>
              </c:ext>
            </c:extLst>
          </c:dPt>
          <c:dPt>
            <c:idx val="62"/>
            <c:invertIfNegative val="0"/>
            <c:bubble3D val="0"/>
            <c:spPr>
              <a:solidFill>
                <a:srgbClr val="7ECAC4"/>
              </a:solidFill>
            </c:spPr>
            <c:extLst>
              <c:ext xmlns:c16="http://schemas.microsoft.com/office/drawing/2014/chart" uri="{C3380CC4-5D6E-409C-BE32-E72D297353CC}">
                <c16:uniqueId val="{00000082-C76F-4230-900D-40618C09729F}"/>
              </c:ext>
            </c:extLst>
          </c:dPt>
          <c:dPt>
            <c:idx val="63"/>
            <c:invertIfNegative val="0"/>
            <c:bubble3D val="0"/>
            <c:spPr>
              <a:solidFill>
                <a:srgbClr val="7ECAC4"/>
              </a:solidFill>
            </c:spPr>
            <c:extLst>
              <c:ext xmlns:c16="http://schemas.microsoft.com/office/drawing/2014/chart" uri="{C3380CC4-5D6E-409C-BE32-E72D297353CC}">
                <c16:uniqueId val="{00000084-C76F-4230-900D-40618C09729F}"/>
              </c:ext>
            </c:extLst>
          </c:dPt>
          <c:dPt>
            <c:idx val="64"/>
            <c:invertIfNegative val="0"/>
            <c:bubble3D val="0"/>
            <c:spPr>
              <a:solidFill>
                <a:srgbClr val="7ECAC4"/>
              </a:solidFill>
            </c:spPr>
            <c:extLst>
              <c:ext xmlns:c16="http://schemas.microsoft.com/office/drawing/2014/chart" uri="{C3380CC4-5D6E-409C-BE32-E72D297353CC}">
                <c16:uniqueId val="{00000086-C76F-4230-900D-40618C09729F}"/>
              </c:ext>
            </c:extLst>
          </c:dPt>
          <c:dPt>
            <c:idx val="65"/>
            <c:invertIfNegative val="0"/>
            <c:bubble3D val="0"/>
            <c:spPr>
              <a:solidFill>
                <a:srgbClr val="7ECAC4"/>
              </a:solidFill>
            </c:spPr>
            <c:extLst>
              <c:ext xmlns:c16="http://schemas.microsoft.com/office/drawing/2014/chart" uri="{C3380CC4-5D6E-409C-BE32-E72D297353CC}">
                <c16:uniqueId val="{00000088-C76F-4230-900D-40618C09729F}"/>
              </c:ext>
            </c:extLst>
          </c:dPt>
          <c:dPt>
            <c:idx val="66"/>
            <c:invertIfNegative val="0"/>
            <c:bubble3D val="0"/>
            <c:spPr>
              <a:solidFill>
                <a:srgbClr val="7ECAC4"/>
              </a:solidFill>
            </c:spPr>
            <c:extLst>
              <c:ext xmlns:c16="http://schemas.microsoft.com/office/drawing/2014/chart" uri="{C3380CC4-5D6E-409C-BE32-E72D297353CC}">
                <c16:uniqueId val="{0000008A-C76F-4230-900D-40618C09729F}"/>
              </c:ext>
            </c:extLst>
          </c:dPt>
          <c:dPt>
            <c:idx val="67"/>
            <c:invertIfNegative val="0"/>
            <c:bubble3D val="0"/>
            <c:spPr>
              <a:solidFill>
                <a:srgbClr val="7ECAC4"/>
              </a:solidFill>
            </c:spPr>
            <c:extLst>
              <c:ext xmlns:c16="http://schemas.microsoft.com/office/drawing/2014/chart" uri="{C3380CC4-5D6E-409C-BE32-E72D297353CC}">
                <c16:uniqueId val="{0000008C-C76F-4230-900D-40618C09729F}"/>
              </c:ext>
            </c:extLst>
          </c:dPt>
          <c:dPt>
            <c:idx val="68"/>
            <c:invertIfNegative val="0"/>
            <c:bubble3D val="0"/>
            <c:spPr>
              <a:solidFill>
                <a:srgbClr val="7ECAC4"/>
              </a:solidFill>
            </c:spPr>
            <c:extLst>
              <c:ext xmlns:c16="http://schemas.microsoft.com/office/drawing/2014/chart" uri="{C3380CC4-5D6E-409C-BE32-E72D297353CC}">
                <c16:uniqueId val="{0000008E-C76F-4230-900D-40618C09729F}"/>
              </c:ext>
            </c:extLst>
          </c:dPt>
          <c:dPt>
            <c:idx val="69"/>
            <c:invertIfNegative val="0"/>
            <c:bubble3D val="0"/>
            <c:spPr>
              <a:solidFill>
                <a:srgbClr val="7ECAC4"/>
              </a:solidFill>
            </c:spPr>
            <c:extLst>
              <c:ext xmlns:c16="http://schemas.microsoft.com/office/drawing/2014/chart" uri="{C3380CC4-5D6E-409C-BE32-E72D297353CC}">
                <c16:uniqueId val="{00000090-C76F-4230-900D-40618C09729F}"/>
              </c:ext>
            </c:extLst>
          </c:dPt>
          <c:dPt>
            <c:idx val="70"/>
            <c:invertIfNegative val="0"/>
            <c:bubble3D val="0"/>
            <c:spPr>
              <a:solidFill>
                <a:srgbClr val="7ECAC4"/>
              </a:solidFill>
            </c:spPr>
            <c:extLst>
              <c:ext xmlns:c16="http://schemas.microsoft.com/office/drawing/2014/chart" uri="{C3380CC4-5D6E-409C-BE32-E72D297353CC}">
                <c16:uniqueId val="{00000092-C76F-4230-900D-40618C09729F}"/>
              </c:ext>
            </c:extLst>
          </c:dPt>
          <c:dPt>
            <c:idx val="71"/>
            <c:invertIfNegative val="0"/>
            <c:bubble3D val="0"/>
            <c:spPr>
              <a:solidFill>
                <a:srgbClr val="7ECAC4"/>
              </a:solidFill>
            </c:spPr>
            <c:extLst>
              <c:ext xmlns:c16="http://schemas.microsoft.com/office/drawing/2014/chart" uri="{C3380CC4-5D6E-409C-BE32-E72D297353CC}">
                <c16:uniqueId val="{00000094-C76F-4230-900D-40618C09729F}"/>
              </c:ext>
            </c:extLst>
          </c:dPt>
          <c:dPt>
            <c:idx val="72"/>
            <c:invertIfNegative val="0"/>
            <c:bubble3D val="0"/>
            <c:spPr>
              <a:solidFill>
                <a:srgbClr val="7ECAC4"/>
              </a:solidFill>
            </c:spPr>
            <c:extLst>
              <c:ext xmlns:c16="http://schemas.microsoft.com/office/drawing/2014/chart" uri="{C3380CC4-5D6E-409C-BE32-E72D297353CC}">
                <c16:uniqueId val="{00000096-C76F-4230-900D-40618C09729F}"/>
              </c:ext>
            </c:extLst>
          </c:dPt>
          <c:dPt>
            <c:idx val="73"/>
            <c:invertIfNegative val="0"/>
            <c:bubble3D val="0"/>
            <c:spPr>
              <a:solidFill>
                <a:srgbClr val="7ECAC4"/>
              </a:solidFill>
            </c:spPr>
            <c:extLst>
              <c:ext xmlns:c16="http://schemas.microsoft.com/office/drawing/2014/chart" uri="{C3380CC4-5D6E-409C-BE32-E72D297353CC}">
                <c16:uniqueId val="{00000098-C76F-4230-900D-40618C09729F}"/>
              </c:ext>
            </c:extLst>
          </c:dPt>
          <c:dPt>
            <c:idx val="74"/>
            <c:invertIfNegative val="0"/>
            <c:bubble3D val="0"/>
            <c:spPr>
              <a:solidFill>
                <a:srgbClr val="7ECAC4"/>
              </a:solidFill>
            </c:spPr>
            <c:extLst>
              <c:ext xmlns:c16="http://schemas.microsoft.com/office/drawing/2014/chart" uri="{C3380CC4-5D6E-409C-BE32-E72D297353CC}">
                <c16:uniqueId val="{0000009A-C76F-4230-900D-40618C09729F}"/>
              </c:ext>
            </c:extLst>
          </c:dPt>
          <c:dPt>
            <c:idx val="75"/>
            <c:invertIfNegative val="0"/>
            <c:bubble3D val="0"/>
            <c:spPr>
              <a:solidFill>
                <a:srgbClr val="7ECAC4"/>
              </a:solidFill>
            </c:spPr>
            <c:extLst>
              <c:ext xmlns:c16="http://schemas.microsoft.com/office/drawing/2014/chart" uri="{C3380CC4-5D6E-409C-BE32-E72D297353CC}">
                <c16:uniqueId val="{0000009C-C76F-4230-900D-40618C09729F}"/>
              </c:ext>
            </c:extLst>
          </c:dPt>
          <c:dPt>
            <c:idx val="76"/>
            <c:invertIfNegative val="0"/>
            <c:bubble3D val="0"/>
            <c:spPr>
              <a:solidFill>
                <a:srgbClr val="7ECAC4"/>
              </a:solidFill>
            </c:spPr>
            <c:extLst>
              <c:ext xmlns:c16="http://schemas.microsoft.com/office/drawing/2014/chart" uri="{C3380CC4-5D6E-409C-BE32-E72D297353CC}">
                <c16:uniqueId val="{0000009E-C76F-4230-900D-40618C09729F}"/>
              </c:ext>
            </c:extLst>
          </c:dPt>
          <c:dPt>
            <c:idx val="77"/>
            <c:invertIfNegative val="0"/>
            <c:bubble3D val="0"/>
            <c:spPr>
              <a:solidFill>
                <a:srgbClr val="7ECAC4"/>
              </a:solidFill>
            </c:spPr>
            <c:extLst>
              <c:ext xmlns:c16="http://schemas.microsoft.com/office/drawing/2014/chart" uri="{C3380CC4-5D6E-409C-BE32-E72D297353CC}">
                <c16:uniqueId val="{000000A0-C76F-4230-900D-40618C09729F}"/>
              </c:ext>
            </c:extLst>
          </c:dPt>
          <c:dPt>
            <c:idx val="78"/>
            <c:invertIfNegative val="0"/>
            <c:bubble3D val="0"/>
            <c:spPr>
              <a:solidFill>
                <a:srgbClr val="7ECAC4"/>
              </a:solidFill>
            </c:spPr>
            <c:extLst>
              <c:ext xmlns:c16="http://schemas.microsoft.com/office/drawing/2014/chart" uri="{C3380CC4-5D6E-409C-BE32-E72D297353CC}">
                <c16:uniqueId val="{000000A2-C76F-4230-900D-40618C09729F}"/>
              </c:ext>
            </c:extLst>
          </c:dPt>
          <c:dPt>
            <c:idx val="79"/>
            <c:invertIfNegative val="0"/>
            <c:bubble3D val="0"/>
            <c:spPr>
              <a:solidFill>
                <a:srgbClr val="7ECAC4"/>
              </a:solidFill>
            </c:spPr>
            <c:extLst>
              <c:ext xmlns:c16="http://schemas.microsoft.com/office/drawing/2014/chart" uri="{C3380CC4-5D6E-409C-BE32-E72D297353CC}">
                <c16:uniqueId val="{000000A4-C76F-4230-900D-40618C09729F}"/>
              </c:ext>
            </c:extLst>
          </c:dPt>
          <c:dPt>
            <c:idx val="80"/>
            <c:invertIfNegative val="0"/>
            <c:bubble3D val="0"/>
            <c:spPr>
              <a:solidFill>
                <a:srgbClr val="7ECAC4"/>
              </a:solidFill>
            </c:spPr>
            <c:extLst>
              <c:ext xmlns:c16="http://schemas.microsoft.com/office/drawing/2014/chart" uri="{C3380CC4-5D6E-409C-BE32-E72D297353CC}">
                <c16:uniqueId val="{000000A6-C76F-4230-900D-40618C09729F}"/>
              </c:ext>
            </c:extLst>
          </c:dPt>
          <c:dPt>
            <c:idx val="81"/>
            <c:invertIfNegative val="1"/>
            <c:bubble3D val="0"/>
            <c:spPr>
              <a:solidFill>
                <a:srgbClr val="7ECAC4"/>
              </a:solidFill>
            </c:spPr>
            <c:extLst>
              <c:ext xmlns:c16="http://schemas.microsoft.com/office/drawing/2014/chart" uri="{C3380CC4-5D6E-409C-BE32-E72D297353CC}">
                <c16:uniqueId val="{000000A5-2993-41DE-A2CB-63102DE87051}"/>
              </c:ext>
            </c:extLst>
          </c:dPt>
          <c:dPt>
            <c:idx val="82"/>
            <c:invertIfNegative val="1"/>
            <c:bubble3D val="0"/>
            <c:spPr>
              <a:solidFill>
                <a:srgbClr val="7ECAC4"/>
              </a:solidFill>
            </c:spPr>
            <c:extLst>
              <c:ext xmlns:c16="http://schemas.microsoft.com/office/drawing/2014/chart" uri="{C3380CC4-5D6E-409C-BE32-E72D297353CC}">
                <c16:uniqueId val="{000000A7-2993-41DE-A2CB-63102DE87051}"/>
              </c:ext>
            </c:extLst>
          </c:dPt>
          <c:dPt>
            <c:idx val="83"/>
            <c:invertIfNegative val="1"/>
            <c:bubble3D val="0"/>
            <c:spPr>
              <a:solidFill>
                <a:srgbClr val="7ECAC4"/>
              </a:solidFill>
            </c:spPr>
            <c:extLst>
              <c:ext xmlns:c16="http://schemas.microsoft.com/office/drawing/2014/chart" uri="{C3380CC4-5D6E-409C-BE32-E72D297353CC}">
                <c16:uniqueId val="{000000A9-2993-41DE-A2CB-63102DE87051}"/>
              </c:ext>
            </c:extLst>
          </c:dPt>
          <c:dPt>
            <c:idx val="84"/>
            <c:invertIfNegative val="1"/>
            <c:bubble3D val="0"/>
            <c:spPr>
              <a:solidFill>
                <a:srgbClr val="7ECAC4"/>
              </a:solidFill>
            </c:spPr>
            <c:extLst>
              <c:ext xmlns:c16="http://schemas.microsoft.com/office/drawing/2014/chart" uri="{C3380CC4-5D6E-409C-BE32-E72D297353CC}">
                <c16:uniqueId val="{000000AB-2993-41DE-A2CB-63102DE87051}"/>
              </c:ext>
            </c:extLst>
          </c:dPt>
          <c:dPt>
            <c:idx val="85"/>
            <c:invertIfNegative val="1"/>
            <c:bubble3D val="0"/>
            <c:spPr>
              <a:solidFill>
                <a:srgbClr val="7ECAC4"/>
              </a:solidFill>
            </c:spPr>
            <c:extLst>
              <c:ext xmlns:c16="http://schemas.microsoft.com/office/drawing/2014/chart" uri="{C3380CC4-5D6E-409C-BE32-E72D297353CC}">
                <c16:uniqueId val="{000000AD-2993-41DE-A2CB-63102DE87051}"/>
              </c:ext>
            </c:extLst>
          </c:dPt>
          <c:dPt>
            <c:idx val="86"/>
            <c:invertIfNegative val="1"/>
            <c:bubble3D val="0"/>
            <c:spPr>
              <a:solidFill>
                <a:srgbClr val="7ECAC4"/>
              </a:solidFill>
            </c:spPr>
            <c:extLst>
              <c:ext xmlns:c16="http://schemas.microsoft.com/office/drawing/2014/chart" uri="{C3380CC4-5D6E-409C-BE32-E72D297353CC}">
                <c16:uniqueId val="{000000AF-2993-41DE-A2CB-63102DE87051}"/>
              </c:ext>
            </c:extLst>
          </c:dPt>
          <c:dPt>
            <c:idx val="87"/>
            <c:invertIfNegative val="1"/>
            <c:bubble3D val="0"/>
            <c:spPr>
              <a:solidFill>
                <a:srgbClr val="7ECAC4"/>
              </a:solidFill>
            </c:spPr>
            <c:extLst>
              <c:ext xmlns:c16="http://schemas.microsoft.com/office/drawing/2014/chart" uri="{C3380CC4-5D6E-409C-BE32-E72D297353CC}">
                <c16:uniqueId val="{000000B1-2993-41DE-A2CB-63102DE87051}"/>
              </c:ext>
            </c:extLst>
          </c:dPt>
          <c:dPt>
            <c:idx val="88"/>
            <c:invertIfNegative val="1"/>
            <c:bubble3D val="0"/>
            <c:spPr>
              <a:solidFill>
                <a:srgbClr val="7ECAC4"/>
              </a:solidFill>
            </c:spPr>
            <c:extLst>
              <c:ext xmlns:c16="http://schemas.microsoft.com/office/drawing/2014/chart" uri="{C3380CC4-5D6E-409C-BE32-E72D297353CC}">
                <c16:uniqueId val="{000000B3-2993-41DE-A2CB-63102DE87051}"/>
              </c:ext>
            </c:extLst>
          </c:dPt>
          <c:dPt>
            <c:idx val="89"/>
            <c:invertIfNegative val="1"/>
            <c:bubble3D val="0"/>
            <c:spPr>
              <a:solidFill>
                <a:srgbClr val="7ECAC4"/>
              </a:solidFill>
            </c:spPr>
            <c:extLst>
              <c:ext xmlns:c16="http://schemas.microsoft.com/office/drawing/2014/chart" uri="{C3380CC4-5D6E-409C-BE32-E72D297353CC}">
                <c16:uniqueId val="{000000B5-2993-41DE-A2CB-63102DE87051}"/>
              </c:ext>
            </c:extLst>
          </c:dPt>
          <c:dPt>
            <c:idx val="90"/>
            <c:invertIfNegative val="1"/>
            <c:bubble3D val="0"/>
            <c:spPr>
              <a:solidFill>
                <a:srgbClr val="7ECAC4"/>
              </a:solidFill>
            </c:spPr>
            <c:extLst>
              <c:ext xmlns:c16="http://schemas.microsoft.com/office/drawing/2014/chart" uri="{C3380CC4-5D6E-409C-BE32-E72D297353CC}">
                <c16:uniqueId val="{000000B7-2993-41DE-A2CB-63102DE87051}"/>
              </c:ext>
            </c:extLst>
          </c:dPt>
          <c:dPt>
            <c:idx val="91"/>
            <c:invertIfNegative val="1"/>
            <c:bubble3D val="0"/>
            <c:spPr>
              <a:solidFill>
                <a:srgbClr val="7ECAC4"/>
              </a:solidFill>
            </c:spPr>
            <c:extLst>
              <c:ext xmlns:c16="http://schemas.microsoft.com/office/drawing/2014/chart" uri="{C3380CC4-5D6E-409C-BE32-E72D297353CC}">
                <c16:uniqueId val="{000000B9-2993-41DE-A2CB-63102DE87051}"/>
              </c:ext>
            </c:extLst>
          </c:dPt>
          <c:dPt>
            <c:idx val="92"/>
            <c:invertIfNegative val="1"/>
            <c:bubble3D val="0"/>
            <c:spPr>
              <a:solidFill>
                <a:srgbClr val="7ECAC4"/>
              </a:solidFill>
            </c:spPr>
            <c:extLst>
              <c:ext xmlns:c16="http://schemas.microsoft.com/office/drawing/2014/chart" uri="{C3380CC4-5D6E-409C-BE32-E72D297353CC}">
                <c16:uniqueId val="{000000BB-2993-41DE-A2CB-63102DE87051}"/>
              </c:ext>
            </c:extLst>
          </c:dPt>
          <c:dPt>
            <c:idx val="93"/>
            <c:invertIfNegative val="1"/>
            <c:bubble3D val="0"/>
            <c:spPr>
              <a:solidFill>
                <a:srgbClr val="7ECAC4"/>
              </a:solidFill>
            </c:spPr>
            <c:extLst>
              <c:ext xmlns:c16="http://schemas.microsoft.com/office/drawing/2014/chart" uri="{C3380CC4-5D6E-409C-BE32-E72D297353CC}">
                <c16:uniqueId val="{000000BD-2993-41DE-A2CB-63102DE87051}"/>
              </c:ext>
            </c:extLst>
          </c:dPt>
          <c:dPt>
            <c:idx val="94"/>
            <c:invertIfNegative val="1"/>
            <c:bubble3D val="0"/>
            <c:spPr>
              <a:solidFill>
                <a:srgbClr val="7ECAC4"/>
              </a:solidFill>
            </c:spPr>
            <c:extLst>
              <c:ext xmlns:c16="http://schemas.microsoft.com/office/drawing/2014/chart" uri="{C3380CC4-5D6E-409C-BE32-E72D297353CC}">
                <c16:uniqueId val="{000000BF-2993-41DE-A2CB-63102DE87051}"/>
              </c:ext>
            </c:extLst>
          </c:dPt>
          <c:dPt>
            <c:idx val="95"/>
            <c:invertIfNegative val="1"/>
            <c:bubble3D val="0"/>
            <c:spPr>
              <a:solidFill>
                <a:srgbClr val="7ECAC4"/>
              </a:solidFill>
            </c:spPr>
            <c:extLst>
              <c:ext xmlns:c16="http://schemas.microsoft.com/office/drawing/2014/chart" uri="{C3380CC4-5D6E-409C-BE32-E72D297353CC}">
                <c16:uniqueId val="{000000C1-2993-41DE-A2CB-63102DE87051}"/>
              </c:ext>
            </c:extLst>
          </c:dPt>
          <c:dPt>
            <c:idx val="96"/>
            <c:invertIfNegative val="1"/>
            <c:bubble3D val="0"/>
            <c:spPr>
              <a:solidFill>
                <a:srgbClr val="7ECAC4"/>
              </a:solidFill>
            </c:spPr>
            <c:extLst>
              <c:ext xmlns:c16="http://schemas.microsoft.com/office/drawing/2014/chart" uri="{C3380CC4-5D6E-409C-BE32-E72D297353CC}">
                <c16:uniqueId val="{000000C3-2993-41DE-A2CB-63102DE87051}"/>
              </c:ext>
            </c:extLst>
          </c:dPt>
          <c:dPt>
            <c:idx val="97"/>
            <c:invertIfNegative val="1"/>
            <c:bubble3D val="0"/>
            <c:spPr>
              <a:solidFill>
                <a:srgbClr val="7ECAC4"/>
              </a:solidFill>
            </c:spPr>
            <c:extLst>
              <c:ext xmlns:c16="http://schemas.microsoft.com/office/drawing/2014/chart" uri="{C3380CC4-5D6E-409C-BE32-E72D297353CC}">
                <c16:uniqueId val="{000000C5-2993-41DE-A2CB-63102DE87051}"/>
              </c:ext>
            </c:extLst>
          </c:dPt>
          <c:dPt>
            <c:idx val="98"/>
            <c:invertIfNegative val="1"/>
            <c:bubble3D val="0"/>
            <c:spPr>
              <a:solidFill>
                <a:srgbClr val="7ECAC4"/>
              </a:solidFill>
            </c:spPr>
            <c:extLst>
              <c:ext xmlns:c16="http://schemas.microsoft.com/office/drawing/2014/chart" uri="{C3380CC4-5D6E-409C-BE32-E72D297353CC}">
                <c16:uniqueId val="{000000C7-2993-41DE-A2CB-63102DE87051}"/>
              </c:ext>
            </c:extLst>
          </c:dPt>
          <c:dPt>
            <c:idx val="99"/>
            <c:invertIfNegative val="1"/>
            <c:bubble3D val="0"/>
            <c:spPr>
              <a:solidFill>
                <a:srgbClr val="7ECAC4"/>
              </a:solidFill>
            </c:spPr>
            <c:extLst>
              <c:ext xmlns:c16="http://schemas.microsoft.com/office/drawing/2014/chart" uri="{C3380CC4-5D6E-409C-BE32-E72D297353CC}">
                <c16:uniqueId val="{000000C9-2993-41DE-A2CB-63102DE87051}"/>
              </c:ext>
            </c:extLst>
          </c:dPt>
          <c:dPt>
            <c:idx val="100"/>
            <c:invertIfNegative val="1"/>
            <c:bubble3D val="0"/>
            <c:spPr>
              <a:solidFill>
                <a:srgbClr val="7ECAC4"/>
              </a:solidFill>
            </c:spPr>
            <c:extLst>
              <c:ext xmlns:c16="http://schemas.microsoft.com/office/drawing/2014/chart" uri="{C3380CC4-5D6E-409C-BE32-E72D297353CC}">
                <c16:uniqueId val="{000000CB-2993-41DE-A2CB-63102DE87051}"/>
              </c:ext>
            </c:extLst>
          </c:dPt>
          <c:dPt>
            <c:idx val="101"/>
            <c:invertIfNegative val="1"/>
            <c:bubble3D val="0"/>
            <c:spPr>
              <a:solidFill>
                <a:srgbClr val="7ECAC4"/>
              </a:solidFill>
            </c:spPr>
            <c:extLst>
              <c:ext xmlns:c16="http://schemas.microsoft.com/office/drawing/2014/chart" uri="{C3380CC4-5D6E-409C-BE32-E72D297353CC}">
                <c16:uniqueId val="{000000CD-2993-41DE-A2CB-63102DE87051}"/>
              </c:ext>
            </c:extLst>
          </c:dPt>
          <c:dPt>
            <c:idx val="102"/>
            <c:invertIfNegative val="1"/>
            <c:bubble3D val="0"/>
            <c:spPr>
              <a:solidFill>
                <a:srgbClr val="7ECAC4"/>
              </a:solidFill>
            </c:spPr>
            <c:extLst>
              <c:ext xmlns:c16="http://schemas.microsoft.com/office/drawing/2014/chart" uri="{C3380CC4-5D6E-409C-BE32-E72D297353CC}">
                <c16:uniqueId val="{000000CF-2993-41DE-A2CB-63102DE87051}"/>
              </c:ext>
            </c:extLst>
          </c:dPt>
          <c:dPt>
            <c:idx val="103"/>
            <c:invertIfNegative val="1"/>
            <c:bubble3D val="0"/>
            <c:spPr>
              <a:solidFill>
                <a:srgbClr val="7ECAC4"/>
              </a:solidFill>
            </c:spPr>
            <c:extLst>
              <c:ext xmlns:c16="http://schemas.microsoft.com/office/drawing/2014/chart" uri="{C3380CC4-5D6E-409C-BE32-E72D297353CC}">
                <c16:uniqueId val="{000000D1-2993-41DE-A2CB-63102DE87051}"/>
              </c:ext>
            </c:extLst>
          </c:dPt>
          <c:dPt>
            <c:idx val="104"/>
            <c:invertIfNegative val="1"/>
            <c:bubble3D val="0"/>
            <c:spPr>
              <a:solidFill>
                <a:srgbClr val="7ECAC4"/>
              </a:solidFill>
            </c:spPr>
            <c:extLst>
              <c:ext xmlns:c16="http://schemas.microsoft.com/office/drawing/2014/chart" uri="{C3380CC4-5D6E-409C-BE32-E72D297353CC}">
                <c16:uniqueId val="{000000D3-2993-41DE-A2CB-63102DE87051}"/>
              </c:ext>
            </c:extLst>
          </c:dPt>
          <c:dPt>
            <c:idx val="105"/>
            <c:invertIfNegative val="1"/>
            <c:bubble3D val="0"/>
            <c:spPr>
              <a:solidFill>
                <a:srgbClr val="7ECAC4"/>
              </a:solidFill>
            </c:spPr>
            <c:extLst>
              <c:ext xmlns:c16="http://schemas.microsoft.com/office/drawing/2014/chart" uri="{C3380CC4-5D6E-409C-BE32-E72D297353CC}">
                <c16:uniqueId val="{000000D5-2993-41DE-A2CB-63102DE87051}"/>
              </c:ext>
            </c:extLst>
          </c:dPt>
          <c:dPt>
            <c:idx val="106"/>
            <c:invertIfNegative val="1"/>
            <c:bubble3D val="0"/>
            <c:spPr>
              <a:solidFill>
                <a:srgbClr val="7ECAC4"/>
              </a:solidFill>
            </c:spPr>
            <c:extLst>
              <c:ext xmlns:c16="http://schemas.microsoft.com/office/drawing/2014/chart" uri="{C3380CC4-5D6E-409C-BE32-E72D297353CC}">
                <c16:uniqueId val="{000000D7-2993-41DE-A2CB-63102DE87051}"/>
              </c:ext>
            </c:extLst>
          </c:dPt>
          <c:dPt>
            <c:idx val="107"/>
            <c:invertIfNegative val="1"/>
            <c:bubble3D val="0"/>
            <c:spPr>
              <a:solidFill>
                <a:srgbClr val="7ECAC4"/>
              </a:solidFill>
            </c:spPr>
            <c:extLst>
              <c:ext xmlns:c16="http://schemas.microsoft.com/office/drawing/2014/chart" uri="{C3380CC4-5D6E-409C-BE32-E72D297353CC}">
                <c16:uniqueId val="{000000D9-2993-41DE-A2CB-63102DE87051}"/>
              </c:ext>
            </c:extLst>
          </c:dPt>
          <c:dPt>
            <c:idx val="108"/>
            <c:invertIfNegative val="1"/>
            <c:bubble3D val="0"/>
            <c:spPr>
              <a:solidFill>
                <a:srgbClr val="7ECAC4"/>
              </a:solidFill>
            </c:spPr>
            <c:extLst>
              <c:ext xmlns:c16="http://schemas.microsoft.com/office/drawing/2014/chart" uri="{C3380CC4-5D6E-409C-BE32-E72D297353CC}">
                <c16:uniqueId val="{000000DB-2993-41DE-A2CB-63102DE87051}"/>
              </c:ext>
            </c:extLst>
          </c:dPt>
          <c:dPt>
            <c:idx val="109"/>
            <c:invertIfNegative val="1"/>
            <c:bubble3D val="0"/>
            <c:spPr>
              <a:solidFill>
                <a:srgbClr val="7ECAC4"/>
              </a:solidFill>
            </c:spPr>
            <c:extLst>
              <c:ext xmlns:c16="http://schemas.microsoft.com/office/drawing/2014/chart" uri="{C3380CC4-5D6E-409C-BE32-E72D297353CC}">
                <c16:uniqueId val="{000000DD-2993-41DE-A2CB-63102DE87051}"/>
              </c:ext>
            </c:extLst>
          </c:dPt>
          <c:dPt>
            <c:idx val="110"/>
            <c:invertIfNegative val="1"/>
            <c:bubble3D val="0"/>
            <c:spPr>
              <a:solidFill>
                <a:srgbClr val="7ECAC4"/>
              </a:solidFill>
            </c:spPr>
            <c:extLst>
              <c:ext xmlns:c16="http://schemas.microsoft.com/office/drawing/2014/chart" uri="{C3380CC4-5D6E-409C-BE32-E72D297353CC}">
                <c16:uniqueId val="{000000DF-2993-41DE-A2CB-63102DE87051}"/>
              </c:ext>
            </c:extLst>
          </c:dPt>
          <c:dPt>
            <c:idx val="111"/>
            <c:invertIfNegative val="1"/>
            <c:bubble3D val="0"/>
            <c:spPr>
              <a:solidFill>
                <a:srgbClr val="7ECAC4"/>
              </a:solidFill>
            </c:spPr>
            <c:extLst>
              <c:ext xmlns:c16="http://schemas.microsoft.com/office/drawing/2014/chart" uri="{C3380CC4-5D6E-409C-BE32-E72D297353CC}">
                <c16:uniqueId val="{000000E1-2993-41DE-A2CB-63102DE87051}"/>
              </c:ext>
            </c:extLst>
          </c:dPt>
          <c:dPt>
            <c:idx val="112"/>
            <c:invertIfNegative val="1"/>
            <c:bubble3D val="0"/>
            <c:spPr>
              <a:solidFill>
                <a:srgbClr val="7ECAC4"/>
              </a:solidFill>
            </c:spPr>
            <c:extLst>
              <c:ext xmlns:c16="http://schemas.microsoft.com/office/drawing/2014/chart" uri="{C3380CC4-5D6E-409C-BE32-E72D297353CC}">
                <c16:uniqueId val="{000000E3-2993-41DE-A2CB-63102DE87051}"/>
              </c:ext>
            </c:extLst>
          </c:dPt>
          <c:dPt>
            <c:idx val="113"/>
            <c:invertIfNegative val="1"/>
            <c:bubble3D val="0"/>
            <c:spPr>
              <a:solidFill>
                <a:srgbClr val="7ECAC4"/>
              </a:solidFill>
            </c:spPr>
            <c:extLst>
              <c:ext xmlns:c16="http://schemas.microsoft.com/office/drawing/2014/chart" uri="{C3380CC4-5D6E-409C-BE32-E72D297353CC}">
                <c16:uniqueId val="{000000E5-2993-41DE-A2CB-63102DE87051}"/>
              </c:ext>
            </c:extLst>
          </c:dPt>
          <c:dPt>
            <c:idx val="114"/>
            <c:invertIfNegative val="1"/>
            <c:bubble3D val="0"/>
            <c:spPr>
              <a:solidFill>
                <a:srgbClr val="7ECAC4"/>
              </a:solidFill>
            </c:spPr>
            <c:extLst>
              <c:ext xmlns:c16="http://schemas.microsoft.com/office/drawing/2014/chart" uri="{C3380CC4-5D6E-409C-BE32-E72D297353CC}">
                <c16:uniqueId val="{000000E7-2993-41DE-A2CB-63102DE87051}"/>
              </c:ext>
            </c:extLst>
          </c:dPt>
          <c:dPt>
            <c:idx val="115"/>
            <c:invertIfNegative val="1"/>
            <c:bubble3D val="0"/>
            <c:spPr>
              <a:solidFill>
                <a:srgbClr val="7ECAC4"/>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AEABAB"/>
              </a:solidFill>
            </c:spPr>
            <c:extLst>
              <c:ext xmlns:c16="http://schemas.microsoft.com/office/drawing/2014/chart" uri="{C3380CC4-5D6E-409C-BE32-E72D297353CC}">
                <c16:uniqueId val="{000000F3-2993-41DE-A2CB-63102DE87051}"/>
              </c:ext>
            </c:extLst>
          </c:dPt>
          <c:dPt>
            <c:idx val="121"/>
            <c:invertIfNegative val="1"/>
            <c:bubble3D val="0"/>
            <c:spPr>
              <a:solidFill>
                <a:srgbClr val="AEABAB"/>
              </a:solidFill>
            </c:spPr>
            <c:extLst>
              <c:ext xmlns:c16="http://schemas.microsoft.com/office/drawing/2014/chart" uri="{C3380CC4-5D6E-409C-BE32-E72D297353CC}">
                <c16:uniqueId val="{000000F5-2993-41DE-A2CB-63102DE87051}"/>
              </c:ext>
            </c:extLst>
          </c:dPt>
          <c:dPt>
            <c:idx val="122"/>
            <c:invertIfNegative val="1"/>
            <c:bubble3D val="0"/>
            <c:spPr>
              <a:solidFill>
                <a:srgbClr val="AEABAB"/>
              </a:solidFill>
            </c:spPr>
            <c:extLst>
              <c:ext xmlns:c16="http://schemas.microsoft.com/office/drawing/2014/chart" uri="{C3380CC4-5D6E-409C-BE32-E72D297353CC}">
                <c16:uniqueId val="{000000F7-2993-41DE-A2CB-63102DE87051}"/>
              </c:ext>
            </c:extLst>
          </c:dPt>
          <c:dPt>
            <c:idx val="123"/>
            <c:invertIfNegative val="1"/>
            <c:bubble3D val="0"/>
            <c:spPr>
              <a:solidFill>
                <a:srgbClr val="AEABAB"/>
              </a:solidFill>
            </c:spPr>
            <c:extLst>
              <c:ext xmlns:c16="http://schemas.microsoft.com/office/drawing/2014/chart" uri="{C3380CC4-5D6E-409C-BE32-E72D297353CC}">
                <c16:uniqueId val="{000000F9-2993-41DE-A2CB-63102DE87051}"/>
              </c:ext>
            </c:extLst>
          </c:dPt>
          <c:dPt>
            <c:idx val="124"/>
            <c:invertIfNegative val="1"/>
            <c:bubble3D val="0"/>
            <c:spPr>
              <a:solidFill>
                <a:srgbClr val="AEABAB"/>
              </a:solidFill>
            </c:spPr>
            <c:extLst>
              <c:ext xmlns:c16="http://schemas.microsoft.com/office/drawing/2014/chart" uri="{C3380CC4-5D6E-409C-BE32-E72D297353CC}">
                <c16:uniqueId val="{000000FB-2993-41DE-A2CB-63102DE87051}"/>
              </c:ext>
            </c:extLst>
          </c:dPt>
          <c:dPt>
            <c:idx val="125"/>
            <c:invertIfNegative val="1"/>
            <c:bubble3D val="0"/>
            <c:spPr>
              <a:solidFill>
                <a:srgbClr val="AEABAB"/>
              </a:solidFill>
            </c:spPr>
            <c:extLst>
              <c:ext xmlns:c16="http://schemas.microsoft.com/office/drawing/2014/chart" uri="{C3380CC4-5D6E-409C-BE32-E72D297353CC}">
                <c16:uniqueId val="{000000FD-2993-41DE-A2CB-63102DE87051}"/>
              </c:ext>
            </c:extLst>
          </c:dPt>
          <c:dPt>
            <c:idx val="126"/>
            <c:invertIfNegative val="1"/>
            <c:bubble3D val="0"/>
            <c:spPr>
              <a:solidFill>
                <a:srgbClr val="AEABAB"/>
              </a:solidFill>
            </c:spPr>
            <c:extLst>
              <c:ext xmlns:c16="http://schemas.microsoft.com/office/drawing/2014/chart" uri="{C3380CC4-5D6E-409C-BE32-E72D297353CC}">
                <c16:uniqueId val="{000000FF-2993-41DE-A2CB-63102DE87051}"/>
              </c:ext>
            </c:extLst>
          </c:dPt>
          <c:dPt>
            <c:idx val="127"/>
            <c:invertIfNegative val="1"/>
            <c:bubble3D val="0"/>
            <c:spPr>
              <a:solidFill>
                <a:srgbClr val="AEABAB"/>
              </a:solidFill>
            </c:spPr>
            <c:extLst>
              <c:ext xmlns:c16="http://schemas.microsoft.com/office/drawing/2014/chart" uri="{C3380CC4-5D6E-409C-BE32-E72D297353CC}">
                <c16:uniqueId val="{00000101-2993-41DE-A2CB-63102DE87051}"/>
              </c:ext>
            </c:extLst>
          </c:dPt>
          <c:dPt>
            <c:idx val="128"/>
            <c:invertIfNegative val="1"/>
            <c:bubble3D val="0"/>
            <c:spPr>
              <a:solidFill>
                <a:srgbClr val="AEABAB"/>
              </a:solidFill>
            </c:spPr>
            <c:extLst>
              <c:ext xmlns:c16="http://schemas.microsoft.com/office/drawing/2014/chart" uri="{C3380CC4-5D6E-409C-BE32-E72D297353CC}">
                <c16:uniqueId val="{00000103-2993-41DE-A2CB-63102DE87051}"/>
              </c:ext>
            </c:extLst>
          </c:dPt>
          <c:dPt>
            <c:idx val="129"/>
            <c:invertIfNegative val="1"/>
            <c:bubble3D val="0"/>
            <c:spPr>
              <a:solidFill>
                <a:srgbClr val="AEABAB"/>
              </a:solidFill>
            </c:spPr>
            <c:extLst>
              <c:ext xmlns:c16="http://schemas.microsoft.com/office/drawing/2014/chart" uri="{C3380CC4-5D6E-409C-BE32-E72D297353CC}">
                <c16:uniqueId val="{00000105-2993-41DE-A2CB-63102DE87051}"/>
              </c:ext>
            </c:extLst>
          </c:dPt>
          <c:dPt>
            <c:idx val="130"/>
            <c:invertIfNegative val="1"/>
            <c:bubble3D val="0"/>
            <c:spPr>
              <a:solidFill>
                <a:srgbClr val="AEABAB"/>
              </a:solidFill>
            </c:spPr>
            <c:extLst>
              <c:ext xmlns:c16="http://schemas.microsoft.com/office/drawing/2014/chart" uri="{C3380CC4-5D6E-409C-BE32-E72D297353CC}">
                <c16:uniqueId val="{00000107-2993-41DE-A2CB-63102DE87051}"/>
              </c:ext>
            </c:extLst>
          </c:dPt>
          <c:dPt>
            <c:idx val="131"/>
            <c:invertIfNegative val="1"/>
            <c:bubble3D val="0"/>
            <c:spPr>
              <a:solidFill>
                <a:srgbClr val="AEABAB"/>
              </a:solidFill>
            </c:spPr>
            <c:extLst>
              <c:ext xmlns:c16="http://schemas.microsoft.com/office/drawing/2014/chart" uri="{C3380CC4-5D6E-409C-BE32-E72D297353CC}">
                <c16:uniqueId val="{00000109-2993-41DE-A2CB-63102DE87051}"/>
              </c:ext>
            </c:extLst>
          </c:dPt>
          <c:dPt>
            <c:idx val="132"/>
            <c:invertIfNegative val="1"/>
            <c:bubble3D val="0"/>
            <c:spPr>
              <a:solidFill>
                <a:srgbClr val="AEABAB"/>
              </a:solidFill>
            </c:spPr>
            <c:extLst>
              <c:ext xmlns:c16="http://schemas.microsoft.com/office/drawing/2014/chart" uri="{C3380CC4-5D6E-409C-BE32-E72D297353CC}">
                <c16:uniqueId val="{0000010B-2993-41DE-A2CB-63102DE87051}"/>
              </c:ext>
            </c:extLst>
          </c:dPt>
          <c:dPt>
            <c:idx val="133"/>
            <c:invertIfNegative val="1"/>
            <c:bubble3D val="0"/>
            <c:spPr>
              <a:solidFill>
                <a:srgbClr val="AEABAB"/>
              </a:solidFill>
            </c:spPr>
            <c:extLst>
              <c:ext xmlns:c16="http://schemas.microsoft.com/office/drawing/2014/chart" uri="{C3380CC4-5D6E-409C-BE32-E72D297353CC}">
                <c16:uniqueId val="{0000010D-2993-41DE-A2CB-63102DE87051}"/>
              </c:ext>
            </c:extLst>
          </c:dPt>
          <c:dPt>
            <c:idx val="134"/>
            <c:invertIfNegative val="1"/>
            <c:bubble3D val="0"/>
            <c:spPr>
              <a:solidFill>
                <a:srgbClr val="AEABAB"/>
              </a:solidFill>
            </c:spPr>
            <c:extLst>
              <c:ext xmlns:c16="http://schemas.microsoft.com/office/drawing/2014/chart" uri="{C3380CC4-5D6E-409C-BE32-E72D297353CC}">
                <c16:uniqueId val="{0000010F-2993-41DE-A2CB-63102DE87051}"/>
              </c:ext>
            </c:extLst>
          </c:dPt>
          <c:dPt>
            <c:idx val="135"/>
            <c:invertIfNegative val="1"/>
            <c:bubble3D val="0"/>
            <c:spPr>
              <a:solidFill>
                <a:srgbClr val="AEABAB"/>
              </a:solidFill>
            </c:spPr>
            <c:extLst>
              <c:ext xmlns:c16="http://schemas.microsoft.com/office/drawing/2014/chart" uri="{C3380CC4-5D6E-409C-BE32-E72D297353CC}">
                <c16:uniqueId val="{00000111-2993-41DE-A2CB-63102DE87051}"/>
              </c:ext>
            </c:extLst>
          </c:dPt>
          <c:dPt>
            <c:idx val="136"/>
            <c:invertIfNegative val="1"/>
            <c:bubble3D val="0"/>
            <c:spPr>
              <a:solidFill>
                <a:srgbClr val="AEABAB"/>
              </a:solidFill>
            </c:spPr>
            <c:extLst>
              <c:ext xmlns:c16="http://schemas.microsoft.com/office/drawing/2014/chart" uri="{C3380CC4-5D6E-409C-BE32-E72D297353CC}">
                <c16:uniqueId val="{00000113-2993-41DE-A2CB-63102DE87051}"/>
              </c:ext>
            </c:extLst>
          </c:dPt>
          <c:dPt>
            <c:idx val="137"/>
            <c:invertIfNegative val="1"/>
            <c:bubble3D val="0"/>
            <c:spPr>
              <a:solidFill>
                <a:srgbClr val="AEABAB"/>
              </a:solidFill>
            </c:spPr>
            <c:extLst>
              <c:ext xmlns:c16="http://schemas.microsoft.com/office/drawing/2014/chart" uri="{C3380CC4-5D6E-409C-BE32-E72D297353CC}">
                <c16:uniqueId val="{00000115-2993-41DE-A2CB-63102DE87051}"/>
              </c:ext>
            </c:extLst>
          </c:dPt>
          <c:dPt>
            <c:idx val="138"/>
            <c:invertIfNegative val="1"/>
            <c:bubble3D val="0"/>
            <c:spPr>
              <a:solidFill>
                <a:srgbClr val="AEABAB"/>
              </a:solidFill>
            </c:spPr>
            <c:extLst>
              <c:ext xmlns:c16="http://schemas.microsoft.com/office/drawing/2014/chart" uri="{C3380CC4-5D6E-409C-BE32-E72D297353CC}">
                <c16:uniqueId val="{00000117-2993-41DE-A2CB-63102DE87051}"/>
              </c:ext>
            </c:extLst>
          </c:dPt>
          <c:dPt>
            <c:idx val="139"/>
            <c:invertIfNegative val="1"/>
            <c:bubble3D val="0"/>
            <c:spPr>
              <a:solidFill>
                <a:srgbClr val="AEABAB"/>
              </a:solidFill>
            </c:spPr>
            <c:extLst>
              <c:ext xmlns:c16="http://schemas.microsoft.com/office/drawing/2014/chart" uri="{C3380CC4-5D6E-409C-BE32-E72D297353CC}">
                <c16:uniqueId val="{00000119-2993-41DE-A2CB-63102DE87051}"/>
              </c:ext>
            </c:extLst>
          </c:dPt>
          <c:dPt>
            <c:idx val="140"/>
            <c:invertIfNegative val="1"/>
            <c:bubble3D val="0"/>
            <c:spPr>
              <a:solidFill>
                <a:srgbClr val="AEABAB"/>
              </a:solidFill>
            </c:spPr>
            <c:extLst>
              <c:ext xmlns:c16="http://schemas.microsoft.com/office/drawing/2014/chart" uri="{C3380CC4-5D6E-409C-BE32-E72D297353CC}">
                <c16:uniqueId val="{0000011B-2993-41DE-A2CB-63102DE87051}"/>
              </c:ext>
            </c:extLst>
          </c:dPt>
          <c:dPt>
            <c:idx val="141"/>
            <c:invertIfNegative val="1"/>
            <c:bubble3D val="0"/>
            <c:spPr>
              <a:solidFill>
                <a:srgbClr val="AEABAB"/>
              </a:solidFill>
            </c:spPr>
            <c:extLst>
              <c:ext xmlns:c16="http://schemas.microsoft.com/office/drawing/2014/chart" uri="{C3380CC4-5D6E-409C-BE32-E72D297353CC}">
                <c16:uniqueId val="{0000011D-2993-41DE-A2CB-63102DE87051}"/>
              </c:ext>
            </c:extLst>
          </c:dPt>
          <c:dPt>
            <c:idx val="142"/>
            <c:invertIfNegative val="1"/>
            <c:bubble3D val="0"/>
            <c:spPr>
              <a:solidFill>
                <a:srgbClr val="AEABAB"/>
              </a:solidFill>
            </c:spPr>
            <c:extLst>
              <c:ext xmlns:c16="http://schemas.microsoft.com/office/drawing/2014/chart" uri="{C3380CC4-5D6E-409C-BE32-E72D297353CC}">
                <c16:uniqueId val="{0000011F-2993-41DE-A2CB-63102DE87051}"/>
              </c:ext>
            </c:extLst>
          </c:dPt>
          <c:dPt>
            <c:idx val="143"/>
            <c:invertIfNegative val="1"/>
            <c:bubble3D val="0"/>
            <c:spPr>
              <a:solidFill>
                <a:srgbClr val="AEABAB"/>
              </a:solidFill>
            </c:spPr>
            <c:extLst>
              <c:ext xmlns:c16="http://schemas.microsoft.com/office/drawing/2014/chart" uri="{C3380CC4-5D6E-409C-BE32-E72D297353CC}">
                <c16:uniqueId val="{00000121-2993-41DE-A2CB-63102DE87051}"/>
              </c:ext>
            </c:extLst>
          </c:dPt>
          <c:dPt>
            <c:idx val="144"/>
            <c:invertIfNegative val="1"/>
            <c:bubble3D val="0"/>
            <c:spPr>
              <a:solidFill>
                <a:srgbClr val="AEABAB"/>
              </a:solidFill>
            </c:spPr>
            <c:extLst>
              <c:ext xmlns:c16="http://schemas.microsoft.com/office/drawing/2014/chart" uri="{C3380CC4-5D6E-409C-BE32-E72D297353CC}">
                <c16:uniqueId val="{00000123-2993-41DE-A2CB-63102DE87051}"/>
              </c:ext>
            </c:extLst>
          </c:dPt>
          <c:dPt>
            <c:idx val="145"/>
            <c:invertIfNegative val="1"/>
            <c:bubble3D val="0"/>
            <c:spPr>
              <a:solidFill>
                <a:srgbClr val="AEABAB"/>
              </a:solidFill>
            </c:spPr>
            <c:extLst>
              <c:ext xmlns:c16="http://schemas.microsoft.com/office/drawing/2014/chart" uri="{C3380CC4-5D6E-409C-BE32-E72D297353CC}">
                <c16:uniqueId val="{00000125-2993-41DE-A2CB-63102DE87051}"/>
              </c:ext>
            </c:extLst>
          </c:dPt>
          <c:dPt>
            <c:idx val="146"/>
            <c:invertIfNegative val="1"/>
            <c:bubble3D val="0"/>
            <c:spPr>
              <a:solidFill>
                <a:srgbClr val="AEABAB"/>
              </a:solidFill>
            </c:spPr>
            <c:extLst>
              <c:ext xmlns:c16="http://schemas.microsoft.com/office/drawing/2014/chart" uri="{C3380CC4-5D6E-409C-BE32-E72D297353CC}">
                <c16:uniqueId val="{00000127-2993-41DE-A2CB-63102DE87051}"/>
              </c:ext>
            </c:extLst>
          </c:dPt>
          <c:dPt>
            <c:idx val="147"/>
            <c:invertIfNegative val="1"/>
            <c:bubble3D val="0"/>
            <c:spPr>
              <a:solidFill>
                <a:srgbClr val="AEABAB"/>
              </a:solidFill>
            </c:spPr>
            <c:extLst>
              <c:ext xmlns:c16="http://schemas.microsoft.com/office/drawing/2014/chart" uri="{C3380CC4-5D6E-409C-BE32-E72D297353CC}">
                <c16:uniqueId val="{00000129-2993-41DE-A2CB-63102DE87051}"/>
              </c:ext>
            </c:extLst>
          </c:dPt>
          <c:dPt>
            <c:idx val="148"/>
            <c:invertIfNegative val="1"/>
            <c:bubble3D val="0"/>
            <c:spPr>
              <a:solidFill>
                <a:srgbClr val="AEABAB"/>
              </a:solidFill>
            </c:spPr>
            <c:extLst>
              <c:ext xmlns:c16="http://schemas.microsoft.com/office/drawing/2014/chart" uri="{C3380CC4-5D6E-409C-BE32-E72D297353CC}">
                <c16:uniqueId val="{0000012B-2993-41DE-A2CB-63102DE87051}"/>
              </c:ext>
            </c:extLst>
          </c:dPt>
          <c:dPt>
            <c:idx val="149"/>
            <c:invertIfNegative val="1"/>
            <c:bubble3D val="0"/>
            <c:spPr>
              <a:solidFill>
                <a:srgbClr val="AEABAB"/>
              </a:solidFill>
            </c:spPr>
            <c:extLst>
              <c:ext xmlns:c16="http://schemas.microsoft.com/office/drawing/2014/chart" uri="{C3380CC4-5D6E-409C-BE32-E72D297353CC}">
                <c16:uniqueId val="{0000012D-2993-41DE-A2CB-63102DE87051}"/>
              </c:ext>
            </c:extLst>
          </c:dPt>
          <c:dPt>
            <c:idx val="150"/>
            <c:invertIfNegative val="1"/>
            <c:bubble3D val="0"/>
            <c:spPr>
              <a:solidFill>
                <a:srgbClr val="AEABAB"/>
              </a:solidFill>
            </c:spPr>
            <c:extLst>
              <c:ext xmlns:c16="http://schemas.microsoft.com/office/drawing/2014/chart" uri="{C3380CC4-5D6E-409C-BE32-E72D297353CC}">
                <c16:uniqueId val="{0000012F-2993-41DE-A2CB-63102DE87051}"/>
              </c:ext>
            </c:extLst>
          </c:dPt>
          <c:dPt>
            <c:idx val="151"/>
            <c:invertIfNegative val="1"/>
            <c:bubble3D val="0"/>
            <c:spPr>
              <a:solidFill>
                <a:srgbClr val="AEABAB"/>
              </a:solidFill>
            </c:spPr>
            <c:extLst>
              <c:ext xmlns:c16="http://schemas.microsoft.com/office/drawing/2014/chart" uri="{C3380CC4-5D6E-409C-BE32-E72D297353CC}">
                <c16:uniqueId val="{00000131-2993-41DE-A2CB-63102DE87051}"/>
              </c:ext>
            </c:extLst>
          </c:dPt>
          <c:dPt>
            <c:idx val="152"/>
            <c:invertIfNegative val="1"/>
            <c:bubble3D val="0"/>
            <c:spPr>
              <a:solidFill>
                <a:srgbClr val="AEABAB"/>
              </a:solidFill>
            </c:spPr>
            <c:extLst>
              <c:ext xmlns:c16="http://schemas.microsoft.com/office/drawing/2014/chart" uri="{C3380CC4-5D6E-409C-BE32-E72D297353CC}">
                <c16:uniqueId val="{00000133-2993-41DE-A2CB-63102DE87051}"/>
              </c:ext>
            </c:extLst>
          </c:dPt>
          <c:dPt>
            <c:idx val="153"/>
            <c:invertIfNegative val="1"/>
            <c:bubble3D val="0"/>
            <c:spPr>
              <a:solidFill>
                <a:srgbClr val="AEABAB"/>
              </a:solidFill>
            </c:spPr>
            <c:extLst>
              <c:ext xmlns:c16="http://schemas.microsoft.com/office/drawing/2014/chart" uri="{C3380CC4-5D6E-409C-BE32-E72D297353CC}">
                <c16:uniqueId val="{00000135-2993-41DE-A2CB-63102DE87051}"/>
              </c:ext>
            </c:extLst>
          </c:dPt>
          <c:dPt>
            <c:idx val="154"/>
            <c:invertIfNegative val="1"/>
            <c:bubble3D val="0"/>
            <c:spPr>
              <a:solidFill>
                <a:srgbClr val="AEABAB"/>
              </a:solidFill>
            </c:spPr>
            <c:extLst>
              <c:ext xmlns:c16="http://schemas.microsoft.com/office/drawing/2014/chart" uri="{C3380CC4-5D6E-409C-BE32-E72D297353CC}">
                <c16:uniqueId val="{00000137-2993-41DE-A2CB-63102DE87051}"/>
              </c:ext>
            </c:extLst>
          </c:dPt>
          <c:dPt>
            <c:idx val="155"/>
            <c:invertIfNegative val="1"/>
            <c:bubble3D val="0"/>
            <c:spPr>
              <a:solidFill>
                <a:srgbClr val="AEABAB"/>
              </a:solidFill>
            </c:spPr>
            <c:extLst>
              <c:ext xmlns:c16="http://schemas.microsoft.com/office/drawing/2014/chart" uri="{C3380CC4-5D6E-409C-BE32-E72D297353CC}">
                <c16:uniqueId val="{00000139-2993-41DE-A2CB-63102DE87051}"/>
              </c:ext>
            </c:extLst>
          </c:dPt>
          <c:dPt>
            <c:idx val="156"/>
            <c:invertIfNegative val="1"/>
            <c:bubble3D val="0"/>
            <c:spPr>
              <a:solidFill>
                <a:srgbClr val="AEABAB"/>
              </a:solidFill>
            </c:spPr>
            <c:extLst>
              <c:ext xmlns:c16="http://schemas.microsoft.com/office/drawing/2014/chart" uri="{C3380CC4-5D6E-409C-BE32-E72D297353CC}">
                <c16:uniqueId val="{0000013B-2993-41DE-A2CB-63102DE87051}"/>
              </c:ext>
            </c:extLst>
          </c:dPt>
          <c:dPt>
            <c:idx val="157"/>
            <c:invertIfNegative val="1"/>
            <c:bubble3D val="0"/>
            <c:spPr>
              <a:solidFill>
                <a:srgbClr val="AEABAB"/>
              </a:solidFill>
            </c:spPr>
            <c:extLst>
              <c:ext xmlns:c16="http://schemas.microsoft.com/office/drawing/2014/chart" uri="{C3380CC4-5D6E-409C-BE32-E72D297353CC}">
                <c16:uniqueId val="{0000013D-2993-41DE-A2CB-63102DE87051}"/>
              </c:ext>
            </c:extLst>
          </c:dPt>
          <c:dPt>
            <c:idx val="158"/>
            <c:invertIfNegative val="1"/>
            <c:bubble3D val="0"/>
            <c:spPr>
              <a:solidFill>
                <a:srgbClr val="AEABAB"/>
              </a:solidFill>
            </c:spPr>
            <c:extLst>
              <c:ext xmlns:c16="http://schemas.microsoft.com/office/drawing/2014/chart" uri="{C3380CC4-5D6E-409C-BE32-E72D297353CC}">
                <c16:uniqueId val="{0000013F-2993-41DE-A2CB-63102DE87051}"/>
              </c:ext>
            </c:extLst>
          </c:dPt>
          <c:dPt>
            <c:idx val="159"/>
            <c:invertIfNegative val="1"/>
            <c:bubble3D val="0"/>
            <c:spPr>
              <a:solidFill>
                <a:srgbClr val="AEABAB"/>
              </a:solidFill>
            </c:spPr>
            <c:extLst>
              <c:ext xmlns:c16="http://schemas.microsoft.com/office/drawing/2014/chart" uri="{C3380CC4-5D6E-409C-BE32-E72D297353CC}">
                <c16:uniqueId val="{00000141-2993-41DE-A2CB-63102DE87051}"/>
              </c:ext>
            </c:extLst>
          </c:dPt>
          <c:dPt>
            <c:idx val="160"/>
            <c:invertIfNegative val="1"/>
            <c:bubble3D val="0"/>
            <c:spPr>
              <a:solidFill>
                <a:srgbClr val="AEABAB"/>
              </a:solidFill>
            </c:spPr>
            <c:extLst>
              <c:ext xmlns:c16="http://schemas.microsoft.com/office/drawing/2014/chart" uri="{C3380CC4-5D6E-409C-BE32-E72D297353CC}">
                <c16:uniqueId val="{00000143-2993-41DE-A2CB-63102DE87051}"/>
              </c:ext>
            </c:extLst>
          </c:dPt>
          <c:dPt>
            <c:idx val="161"/>
            <c:invertIfNegative val="1"/>
            <c:bubble3D val="0"/>
            <c:spPr>
              <a:solidFill>
                <a:srgbClr val="AEABAB"/>
              </a:solidFill>
            </c:spPr>
            <c:extLst>
              <c:ext xmlns:c16="http://schemas.microsoft.com/office/drawing/2014/chart" uri="{C3380CC4-5D6E-409C-BE32-E72D297353CC}">
                <c16:uniqueId val="{00000145-2993-41DE-A2CB-63102DE87051}"/>
              </c:ext>
            </c:extLst>
          </c:dPt>
          <c:dPt>
            <c:idx val="162"/>
            <c:invertIfNegative val="1"/>
            <c:bubble3D val="0"/>
            <c:spPr>
              <a:solidFill>
                <a:srgbClr val="AEABAB"/>
              </a:solidFill>
            </c:spPr>
            <c:extLst>
              <c:ext xmlns:c16="http://schemas.microsoft.com/office/drawing/2014/chart" uri="{C3380CC4-5D6E-409C-BE32-E72D297353CC}">
                <c16:uniqueId val="{00000147-2993-41DE-A2CB-63102DE87051}"/>
              </c:ext>
            </c:extLst>
          </c:dPt>
          <c:dPt>
            <c:idx val="163"/>
            <c:invertIfNegative val="1"/>
            <c:bubble3D val="0"/>
            <c:spPr>
              <a:solidFill>
                <a:srgbClr val="AEABAB"/>
              </a:solidFill>
            </c:spPr>
            <c:extLst>
              <c:ext xmlns:c16="http://schemas.microsoft.com/office/drawing/2014/chart" uri="{C3380CC4-5D6E-409C-BE32-E72D297353CC}">
                <c16:uniqueId val="{00000149-2993-41DE-A2CB-63102DE87051}"/>
              </c:ext>
            </c:extLst>
          </c:dPt>
          <c:dPt>
            <c:idx val="164"/>
            <c:invertIfNegative val="1"/>
            <c:bubble3D val="0"/>
            <c:spPr>
              <a:solidFill>
                <a:srgbClr val="AEABAB"/>
              </a:solidFill>
            </c:spPr>
            <c:extLst>
              <c:ext xmlns:c16="http://schemas.microsoft.com/office/drawing/2014/chart" uri="{C3380CC4-5D6E-409C-BE32-E72D297353CC}">
                <c16:uniqueId val="{0000014B-2993-41DE-A2CB-63102DE87051}"/>
              </c:ext>
            </c:extLst>
          </c:dPt>
          <c:dPt>
            <c:idx val="165"/>
            <c:invertIfNegative val="1"/>
            <c:bubble3D val="0"/>
            <c:spPr>
              <a:solidFill>
                <a:srgbClr val="AEABAB"/>
              </a:solidFill>
            </c:spPr>
            <c:extLst>
              <c:ext xmlns:c16="http://schemas.microsoft.com/office/drawing/2014/chart" uri="{C3380CC4-5D6E-409C-BE32-E72D297353CC}">
                <c16:uniqueId val="{0000014D-2993-41DE-A2CB-63102DE87051}"/>
              </c:ext>
            </c:extLst>
          </c:dPt>
          <c:dPt>
            <c:idx val="166"/>
            <c:invertIfNegative val="1"/>
            <c:bubble3D val="0"/>
            <c:spPr>
              <a:solidFill>
                <a:srgbClr val="AEABAB"/>
              </a:solidFill>
            </c:spPr>
            <c:extLst>
              <c:ext xmlns:c16="http://schemas.microsoft.com/office/drawing/2014/chart" uri="{C3380CC4-5D6E-409C-BE32-E72D297353CC}">
                <c16:uniqueId val="{0000014F-2993-41DE-A2CB-63102DE87051}"/>
              </c:ext>
            </c:extLst>
          </c:dPt>
          <c:dPt>
            <c:idx val="167"/>
            <c:invertIfNegative val="1"/>
            <c:bubble3D val="0"/>
            <c:spPr>
              <a:solidFill>
                <a:srgbClr val="AEABAB"/>
              </a:solidFill>
            </c:spPr>
            <c:extLst>
              <c:ext xmlns:c16="http://schemas.microsoft.com/office/drawing/2014/chart" uri="{C3380CC4-5D6E-409C-BE32-E72D297353CC}">
                <c16:uniqueId val="{00000151-2993-41DE-A2CB-63102DE87051}"/>
              </c:ext>
            </c:extLst>
          </c:dPt>
          <c:dPt>
            <c:idx val="168"/>
            <c:invertIfNegative val="1"/>
            <c:bubble3D val="0"/>
            <c:spPr>
              <a:solidFill>
                <a:srgbClr val="AEABAB"/>
              </a:solidFill>
            </c:spPr>
            <c:extLst>
              <c:ext xmlns:c16="http://schemas.microsoft.com/office/drawing/2014/chart" uri="{C3380CC4-5D6E-409C-BE32-E72D297353CC}">
                <c16:uniqueId val="{00000153-2993-41DE-A2CB-63102DE87051}"/>
              </c:ext>
            </c:extLst>
          </c:dPt>
          <c:dPt>
            <c:idx val="169"/>
            <c:invertIfNegative val="1"/>
            <c:bubble3D val="0"/>
            <c:spPr>
              <a:solidFill>
                <a:srgbClr val="AEABAB"/>
              </a:solidFill>
            </c:spPr>
            <c:extLst>
              <c:ext xmlns:c16="http://schemas.microsoft.com/office/drawing/2014/chart" uri="{C3380CC4-5D6E-409C-BE32-E72D297353CC}">
                <c16:uniqueId val="{00000155-2993-41DE-A2CB-63102DE87051}"/>
              </c:ext>
            </c:extLst>
          </c:dPt>
          <c:dPt>
            <c:idx val="170"/>
            <c:invertIfNegative val="1"/>
            <c:bubble3D val="0"/>
            <c:spPr>
              <a:solidFill>
                <a:srgbClr val="AEABAB"/>
              </a:solidFill>
            </c:spPr>
            <c:extLst>
              <c:ext xmlns:c16="http://schemas.microsoft.com/office/drawing/2014/chart" uri="{C3380CC4-5D6E-409C-BE32-E72D297353CC}">
                <c16:uniqueId val="{00000157-2993-41DE-A2CB-63102DE87051}"/>
              </c:ext>
            </c:extLst>
          </c:dPt>
          <c:dPt>
            <c:idx val="171"/>
            <c:invertIfNegative val="1"/>
            <c:bubble3D val="0"/>
            <c:spPr>
              <a:solidFill>
                <a:srgbClr val="AEABAB"/>
              </a:solidFill>
            </c:spPr>
            <c:extLst>
              <c:ext xmlns:c16="http://schemas.microsoft.com/office/drawing/2014/chart" uri="{C3380CC4-5D6E-409C-BE32-E72D297353CC}">
                <c16:uniqueId val="{00000159-2993-41DE-A2CB-63102DE87051}"/>
              </c:ext>
            </c:extLst>
          </c:dPt>
          <c:dPt>
            <c:idx val="172"/>
            <c:invertIfNegative val="1"/>
            <c:bubble3D val="0"/>
            <c:spPr>
              <a:solidFill>
                <a:srgbClr val="AEABAB"/>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dPt>
            <c:idx val="210"/>
            <c:invertIfNegative val="1"/>
            <c:bubble3D val="0"/>
            <c:spPr>
              <a:solidFill>
                <a:srgbClr val="AEABAB"/>
              </a:solidFill>
            </c:spPr>
            <c:extLst>
              <c:ext xmlns:c16="http://schemas.microsoft.com/office/drawing/2014/chart" uri="{C3380CC4-5D6E-409C-BE32-E72D297353CC}">
                <c16:uniqueId val="{000001A7-B9F8-419D-9354-C797D15419D1}"/>
              </c:ext>
            </c:extLst>
          </c:dPt>
          <c:dPt>
            <c:idx val="211"/>
            <c:invertIfNegative val="1"/>
            <c:bubble3D val="0"/>
            <c:spPr>
              <a:solidFill>
                <a:srgbClr val="AEABAB"/>
              </a:solidFill>
            </c:spPr>
            <c:extLst>
              <c:ext xmlns:c16="http://schemas.microsoft.com/office/drawing/2014/chart" uri="{C3380CC4-5D6E-409C-BE32-E72D297353CC}">
                <c16:uniqueId val="{000001A9-B9F8-419D-9354-C797D15419D1}"/>
              </c:ext>
            </c:extLst>
          </c:dPt>
          <c:dPt>
            <c:idx val="212"/>
            <c:invertIfNegative val="1"/>
            <c:bubble3D val="0"/>
            <c:spPr>
              <a:solidFill>
                <a:srgbClr val="AEABAB"/>
              </a:solidFill>
            </c:spPr>
            <c:extLst>
              <c:ext xmlns:c16="http://schemas.microsoft.com/office/drawing/2014/chart" uri="{C3380CC4-5D6E-409C-BE32-E72D297353CC}">
                <c16:uniqueId val="{000001AB-B9F8-419D-9354-C797D15419D1}"/>
              </c:ext>
            </c:extLst>
          </c:dPt>
          <c:dPt>
            <c:idx val="213"/>
            <c:invertIfNegative val="1"/>
            <c:bubble3D val="0"/>
            <c:spPr>
              <a:solidFill>
                <a:srgbClr val="AEABAB"/>
              </a:solidFill>
            </c:spPr>
            <c:extLst>
              <c:ext xmlns:c16="http://schemas.microsoft.com/office/drawing/2014/chart" uri="{C3380CC4-5D6E-409C-BE32-E72D297353CC}">
                <c16:uniqueId val="{000001AD-B9F8-419D-9354-C797D15419D1}"/>
              </c:ext>
            </c:extLst>
          </c:dPt>
          <c:dPt>
            <c:idx val="214"/>
            <c:invertIfNegative val="1"/>
            <c:bubble3D val="0"/>
            <c:spPr>
              <a:solidFill>
                <a:srgbClr val="AEABAB"/>
              </a:solidFill>
            </c:spPr>
            <c:extLst>
              <c:ext xmlns:c16="http://schemas.microsoft.com/office/drawing/2014/chart" uri="{C3380CC4-5D6E-409C-BE32-E72D297353CC}">
                <c16:uniqueId val="{000001AF-B9F8-419D-9354-C797D15419D1}"/>
              </c:ext>
            </c:extLst>
          </c:dPt>
          <c:dPt>
            <c:idx val="215"/>
            <c:invertIfNegative val="1"/>
            <c:bubble3D val="0"/>
            <c:spPr>
              <a:solidFill>
                <a:srgbClr val="AEABAB"/>
              </a:solidFill>
            </c:spPr>
            <c:extLst>
              <c:ext xmlns:c16="http://schemas.microsoft.com/office/drawing/2014/chart" uri="{C3380CC4-5D6E-409C-BE32-E72D297353CC}">
                <c16:uniqueId val="{000001B1-B9F8-419D-9354-C797D15419D1}"/>
              </c:ext>
            </c:extLst>
          </c:dPt>
          <c:dPt>
            <c:idx val="216"/>
            <c:invertIfNegative val="1"/>
            <c:bubble3D val="0"/>
            <c:spPr>
              <a:solidFill>
                <a:srgbClr val="AEABAB"/>
              </a:solidFill>
            </c:spPr>
            <c:extLst>
              <c:ext xmlns:c16="http://schemas.microsoft.com/office/drawing/2014/chart" uri="{C3380CC4-5D6E-409C-BE32-E72D297353CC}">
                <c16:uniqueId val="{000001B3-B9F8-419D-9354-C797D15419D1}"/>
              </c:ext>
            </c:extLst>
          </c:dPt>
          <c:dPt>
            <c:idx val="217"/>
            <c:invertIfNegative val="1"/>
            <c:bubble3D val="0"/>
            <c:spPr>
              <a:solidFill>
                <a:srgbClr val="AEABAB"/>
              </a:solidFill>
            </c:spPr>
            <c:extLst>
              <c:ext xmlns:c16="http://schemas.microsoft.com/office/drawing/2014/chart" uri="{C3380CC4-5D6E-409C-BE32-E72D297353CC}">
                <c16:uniqueId val="{000001B5-B9F8-419D-9354-C797D15419D1}"/>
              </c:ext>
            </c:extLst>
          </c:dPt>
          <c:dPt>
            <c:idx val="218"/>
            <c:invertIfNegative val="1"/>
            <c:bubble3D val="0"/>
            <c:spPr>
              <a:solidFill>
                <a:srgbClr val="AEABAB"/>
              </a:solidFill>
            </c:spPr>
            <c:extLst>
              <c:ext xmlns:c16="http://schemas.microsoft.com/office/drawing/2014/chart" uri="{C3380CC4-5D6E-409C-BE32-E72D297353CC}">
                <c16:uniqueId val="{000001B7-B9F8-419D-9354-C797D15419D1}"/>
              </c:ext>
            </c:extLst>
          </c:dPt>
          <c:dPt>
            <c:idx val="219"/>
            <c:invertIfNegative val="1"/>
            <c:bubble3D val="0"/>
            <c:spPr>
              <a:solidFill>
                <a:srgbClr val="AEABAB"/>
              </a:solidFill>
            </c:spPr>
            <c:extLst>
              <c:ext xmlns:c16="http://schemas.microsoft.com/office/drawing/2014/chart" uri="{C3380CC4-5D6E-409C-BE32-E72D297353CC}">
                <c16:uniqueId val="{000001B9-B9F8-419D-9354-C797D15419D1}"/>
              </c:ext>
            </c:extLst>
          </c:dPt>
          <c:dPt>
            <c:idx val="220"/>
            <c:invertIfNegative val="1"/>
            <c:bubble3D val="0"/>
            <c:spPr>
              <a:solidFill>
                <a:srgbClr val="AEABAB"/>
              </a:solidFill>
            </c:spPr>
            <c:extLst>
              <c:ext xmlns:c16="http://schemas.microsoft.com/office/drawing/2014/chart" uri="{C3380CC4-5D6E-409C-BE32-E72D297353CC}">
                <c16:uniqueId val="{000001BB-B9F8-419D-9354-C797D15419D1}"/>
              </c:ext>
            </c:extLst>
          </c:dPt>
          <c:dPt>
            <c:idx val="221"/>
            <c:invertIfNegative val="1"/>
            <c:bubble3D val="0"/>
            <c:spPr>
              <a:solidFill>
                <a:srgbClr val="AEABAB"/>
              </a:solidFill>
            </c:spPr>
            <c:extLst>
              <c:ext xmlns:c16="http://schemas.microsoft.com/office/drawing/2014/chart" uri="{C3380CC4-5D6E-409C-BE32-E72D297353CC}">
                <c16:uniqueId val="{000001BD-B9F8-419D-9354-C797D15419D1}"/>
              </c:ext>
            </c:extLst>
          </c:dPt>
          <c:dPt>
            <c:idx val="222"/>
            <c:invertIfNegative val="1"/>
            <c:bubble3D val="0"/>
            <c:spPr>
              <a:solidFill>
                <a:srgbClr val="AEABAB"/>
              </a:solidFill>
            </c:spPr>
            <c:extLst>
              <c:ext xmlns:c16="http://schemas.microsoft.com/office/drawing/2014/chart" uri="{C3380CC4-5D6E-409C-BE32-E72D297353CC}">
                <c16:uniqueId val="{000001BF-B9F8-419D-9354-C797D15419D1}"/>
              </c:ext>
            </c:extLst>
          </c:dPt>
          <c:dPt>
            <c:idx val="223"/>
            <c:invertIfNegative val="1"/>
            <c:bubble3D val="0"/>
            <c:spPr>
              <a:solidFill>
                <a:srgbClr val="AEABAB"/>
              </a:solidFill>
            </c:spPr>
            <c:extLst>
              <c:ext xmlns:c16="http://schemas.microsoft.com/office/drawing/2014/chart" uri="{C3380CC4-5D6E-409C-BE32-E72D297353CC}">
                <c16:uniqueId val="{000001C1-B9F8-419D-9354-C797D15419D1}"/>
              </c:ext>
            </c:extLst>
          </c:dPt>
          <c:dPt>
            <c:idx val="224"/>
            <c:invertIfNegative val="1"/>
            <c:bubble3D val="0"/>
            <c:spPr>
              <a:solidFill>
                <a:srgbClr val="AEABAB"/>
              </a:solidFill>
            </c:spPr>
            <c:extLst>
              <c:ext xmlns:c16="http://schemas.microsoft.com/office/drawing/2014/chart" uri="{C3380CC4-5D6E-409C-BE32-E72D297353CC}">
                <c16:uniqueId val="{000001C3-B9F8-419D-9354-C797D15419D1}"/>
              </c:ext>
            </c:extLst>
          </c:dPt>
          <c:dPt>
            <c:idx val="225"/>
            <c:invertIfNegative val="1"/>
            <c:bubble3D val="0"/>
            <c:spPr>
              <a:solidFill>
                <a:srgbClr val="AEABAB"/>
              </a:solidFill>
            </c:spPr>
            <c:extLst>
              <c:ext xmlns:c16="http://schemas.microsoft.com/office/drawing/2014/chart" uri="{C3380CC4-5D6E-409C-BE32-E72D297353CC}">
                <c16:uniqueId val="{000001C5-B9F8-419D-9354-C797D15419D1}"/>
              </c:ext>
            </c:extLst>
          </c:dPt>
          <c:dPt>
            <c:idx val="226"/>
            <c:invertIfNegative val="1"/>
            <c:bubble3D val="0"/>
            <c:spPr>
              <a:solidFill>
                <a:srgbClr val="AEABAB"/>
              </a:solidFill>
            </c:spPr>
            <c:extLst>
              <c:ext xmlns:c16="http://schemas.microsoft.com/office/drawing/2014/chart" uri="{C3380CC4-5D6E-409C-BE32-E72D297353CC}">
                <c16:uniqueId val="{000001C7-B9F8-419D-9354-C797D15419D1}"/>
              </c:ext>
            </c:extLst>
          </c:dPt>
          <c:dPt>
            <c:idx val="227"/>
            <c:invertIfNegative val="1"/>
            <c:bubble3D val="0"/>
            <c:spPr>
              <a:solidFill>
                <a:srgbClr val="AEABAB"/>
              </a:solidFill>
            </c:spPr>
            <c:extLst>
              <c:ext xmlns:c16="http://schemas.microsoft.com/office/drawing/2014/chart" uri="{C3380CC4-5D6E-409C-BE32-E72D297353CC}">
                <c16:uniqueId val="{000001C9-B9F8-419D-9354-C797D15419D1}"/>
              </c:ext>
            </c:extLst>
          </c:dPt>
          <c:dPt>
            <c:idx val="228"/>
            <c:invertIfNegative val="1"/>
            <c:bubble3D val="0"/>
            <c:spPr>
              <a:solidFill>
                <a:srgbClr val="AEABAB"/>
              </a:solidFill>
            </c:spPr>
            <c:extLst>
              <c:ext xmlns:c16="http://schemas.microsoft.com/office/drawing/2014/chart" uri="{C3380CC4-5D6E-409C-BE32-E72D297353CC}">
                <c16:uniqueId val="{000001CB-B9F8-419D-9354-C797D15419D1}"/>
              </c:ext>
            </c:extLst>
          </c:dPt>
          <c:dPt>
            <c:idx val="229"/>
            <c:invertIfNegative val="1"/>
            <c:bubble3D val="0"/>
            <c:spPr>
              <a:solidFill>
                <a:srgbClr val="AEABAB"/>
              </a:solidFill>
            </c:spPr>
            <c:extLst>
              <c:ext xmlns:c16="http://schemas.microsoft.com/office/drawing/2014/chart" uri="{C3380CC4-5D6E-409C-BE32-E72D297353CC}">
                <c16:uniqueId val="{000001CD-B9F8-419D-9354-C797D15419D1}"/>
              </c:ext>
            </c:extLst>
          </c:dPt>
          <c:dPt>
            <c:idx val="230"/>
            <c:invertIfNegative val="1"/>
            <c:bubble3D val="0"/>
            <c:spPr>
              <a:solidFill>
                <a:srgbClr val="AEABAB"/>
              </a:solidFill>
            </c:spPr>
            <c:extLst>
              <c:ext xmlns:c16="http://schemas.microsoft.com/office/drawing/2014/chart" uri="{C3380CC4-5D6E-409C-BE32-E72D297353CC}">
                <c16:uniqueId val="{000001CF-B9F8-419D-9354-C797D15419D1}"/>
              </c:ext>
            </c:extLst>
          </c:dPt>
          <c:dPt>
            <c:idx val="231"/>
            <c:invertIfNegative val="1"/>
            <c:bubble3D val="0"/>
            <c:spPr>
              <a:solidFill>
                <a:srgbClr val="AEABAB"/>
              </a:solidFill>
            </c:spPr>
            <c:extLst>
              <c:ext xmlns:c16="http://schemas.microsoft.com/office/drawing/2014/chart" uri="{C3380CC4-5D6E-409C-BE32-E72D297353CC}">
                <c16:uniqueId val="{000001D1-B9F8-419D-9354-C797D15419D1}"/>
              </c:ext>
            </c:extLst>
          </c:dPt>
          <c:dPt>
            <c:idx val="232"/>
            <c:invertIfNegative val="1"/>
            <c:bubble3D val="0"/>
            <c:spPr>
              <a:solidFill>
                <a:srgbClr val="AEABAB"/>
              </a:solidFill>
            </c:spPr>
            <c:extLst>
              <c:ext xmlns:c16="http://schemas.microsoft.com/office/drawing/2014/chart" uri="{C3380CC4-5D6E-409C-BE32-E72D297353CC}">
                <c16:uniqueId val="{000001D3-B9F8-419D-9354-C797D15419D1}"/>
              </c:ext>
            </c:extLst>
          </c:dPt>
          <c:dPt>
            <c:idx val="233"/>
            <c:invertIfNegative val="1"/>
            <c:bubble3D val="0"/>
            <c:spPr>
              <a:solidFill>
                <a:srgbClr val="AEABAB"/>
              </a:solidFill>
            </c:spPr>
            <c:extLst>
              <c:ext xmlns:c16="http://schemas.microsoft.com/office/drawing/2014/chart" uri="{C3380CC4-5D6E-409C-BE32-E72D297353CC}">
                <c16:uniqueId val="{000001D5-B9F8-419D-9354-C797D15419D1}"/>
              </c:ext>
            </c:extLst>
          </c:dPt>
          <c:dPt>
            <c:idx val="234"/>
            <c:invertIfNegative val="1"/>
            <c:bubble3D val="0"/>
            <c:spPr>
              <a:solidFill>
                <a:srgbClr val="AEABAB"/>
              </a:solidFill>
            </c:spPr>
            <c:extLst>
              <c:ext xmlns:c16="http://schemas.microsoft.com/office/drawing/2014/chart" uri="{C3380CC4-5D6E-409C-BE32-E72D297353CC}">
                <c16:uniqueId val="{000001D7-B9F8-419D-9354-C797D15419D1}"/>
              </c:ext>
            </c:extLst>
          </c:dPt>
          <c:dPt>
            <c:idx val="235"/>
            <c:invertIfNegative val="1"/>
            <c:bubble3D val="0"/>
            <c:spPr>
              <a:solidFill>
                <a:srgbClr val="AEABAB"/>
              </a:solidFill>
            </c:spPr>
            <c:extLst>
              <c:ext xmlns:c16="http://schemas.microsoft.com/office/drawing/2014/chart" uri="{C3380CC4-5D6E-409C-BE32-E72D297353CC}">
                <c16:uniqueId val="{000001D9-B9F8-419D-9354-C797D15419D1}"/>
              </c:ext>
            </c:extLst>
          </c:dPt>
          <c:dPt>
            <c:idx val="236"/>
            <c:invertIfNegative val="1"/>
            <c:bubble3D val="0"/>
            <c:spPr>
              <a:solidFill>
                <a:srgbClr val="AEABAB"/>
              </a:solidFill>
            </c:spPr>
            <c:extLst>
              <c:ext xmlns:c16="http://schemas.microsoft.com/office/drawing/2014/chart" uri="{C3380CC4-5D6E-409C-BE32-E72D297353CC}">
                <c16:uniqueId val="{000001DB-B9F8-419D-9354-C797D15419D1}"/>
              </c:ext>
            </c:extLst>
          </c:dPt>
          <c:dPt>
            <c:idx val="237"/>
            <c:invertIfNegative val="1"/>
            <c:bubble3D val="0"/>
            <c:spPr>
              <a:solidFill>
                <a:srgbClr val="AEABAB"/>
              </a:solidFill>
            </c:spPr>
            <c:extLst>
              <c:ext xmlns:c16="http://schemas.microsoft.com/office/drawing/2014/chart" uri="{C3380CC4-5D6E-409C-BE32-E72D297353CC}">
                <c16:uniqueId val="{000001DD-B9F8-419D-9354-C797D15419D1}"/>
              </c:ext>
            </c:extLst>
          </c:dPt>
          <c:dPt>
            <c:idx val="238"/>
            <c:invertIfNegative val="1"/>
            <c:bubble3D val="0"/>
            <c:spPr>
              <a:solidFill>
                <a:srgbClr val="AEABAB"/>
              </a:solidFill>
            </c:spPr>
            <c:extLst>
              <c:ext xmlns:c16="http://schemas.microsoft.com/office/drawing/2014/chart" uri="{C3380CC4-5D6E-409C-BE32-E72D297353CC}">
                <c16:uniqueId val="{000001DF-B9F8-419D-9354-C797D15419D1}"/>
              </c:ext>
            </c:extLst>
          </c:dPt>
          <c:dPt>
            <c:idx val="239"/>
            <c:invertIfNegative val="1"/>
            <c:bubble3D val="0"/>
            <c:spPr>
              <a:solidFill>
                <a:srgbClr val="AEABAB"/>
              </a:solidFill>
            </c:spPr>
            <c:extLst>
              <c:ext xmlns:c16="http://schemas.microsoft.com/office/drawing/2014/chart" uri="{C3380CC4-5D6E-409C-BE32-E72D297353CC}">
                <c16:uniqueId val="{000001E1-B9F8-419D-9354-C797D15419D1}"/>
              </c:ext>
            </c:extLst>
          </c:dPt>
          <c:dPt>
            <c:idx val="240"/>
            <c:invertIfNegative val="1"/>
            <c:bubble3D val="0"/>
            <c:spPr>
              <a:solidFill>
                <a:srgbClr val="AEABAB"/>
              </a:solidFill>
            </c:spPr>
            <c:extLst>
              <c:ext xmlns:c16="http://schemas.microsoft.com/office/drawing/2014/chart" uri="{C3380CC4-5D6E-409C-BE32-E72D297353CC}">
                <c16:uniqueId val="{000001E3-B9F8-419D-9354-C797D15419D1}"/>
              </c:ext>
            </c:extLst>
          </c:dPt>
          <c:dPt>
            <c:idx val="241"/>
            <c:invertIfNegative val="1"/>
            <c:bubble3D val="0"/>
            <c:spPr>
              <a:solidFill>
                <a:srgbClr val="AEABAB"/>
              </a:solidFill>
            </c:spPr>
            <c:extLst>
              <c:ext xmlns:c16="http://schemas.microsoft.com/office/drawing/2014/chart" uri="{C3380CC4-5D6E-409C-BE32-E72D297353CC}">
                <c16:uniqueId val="{000001E5-B9F8-419D-9354-C797D15419D1}"/>
              </c:ext>
            </c:extLst>
          </c:dPt>
          <c:dPt>
            <c:idx val="242"/>
            <c:invertIfNegative val="1"/>
            <c:bubble3D val="0"/>
            <c:spPr>
              <a:solidFill>
                <a:srgbClr val="AEABAB"/>
              </a:solidFill>
            </c:spPr>
            <c:extLst>
              <c:ext xmlns:c16="http://schemas.microsoft.com/office/drawing/2014/chart" uri="{C3380CC4-5D6E-409C-BE32-E72D297353CC}">
                <c16:uniqueId val="{000001E7-B9F8-419D-9354-C797D15419D1}"/>
              </c:ext>
            </c:extLst>
          </c:dPt>
          <c:dPt>
            <c:idx val="243"/>
            <c:invertIfNegative val="1"/>
            <c:bubble3D val="0"/>
            <c:spPr>
              <a:solidFill>
                <a:srgbClr val="AEABAB"/>
              </a:solidFill>
            </c:spPr>
            <c:extLst>
              <c:ext xmlns:c16="http://schemas.microsoft.com/office/drawing/2014/chart" uri="{C3380CC4-5D6E-409C-BE32-E72D297353CC}">
                <c16:uniqueId val="{000001E9-B9F8-419D-9354-C797D15419D1}"/>
              </c:ext>
            </c:extLst>
          </c:dPt>
          <c:dPt>
            <c:idx val="244"/>
            <c:invertIfNegative val="1"/>
            <c:bubble3D val="0"/>
            <c:spPr>
              <a:solidFill>
                <a:srgbClr val="AEABAB"/>
              </a:solidFill>
            </c:spPr>
            <c:extLst>
              <c:ext xmlns:c16="http://schemas.microsoft.com/office/drawing/2014/chart" uri="{C3380CC4-5D6E-409C-BE32-E72D297353CC}">
                <c16:uniqueId val="{000001EB-B9F8-419D-9354-C797D15419D1}"/>
              </c:ext>
            </c:extLst>
          </c:dPt>
          <c:dPt>
            <c:idx val="245"/>
            <c:invertIfNegative val="1"/>
            <c:bubble3D val="0"/>
            <c:spPr>
              <a:solidFill>
                <a:srgbClr val="AEABAB"/>
              </a:solidFill>
            </c:spPr>
            <c:extLst>
              <c:ext xmlns:c16="http://schemas.microsoft.com/office/drawing/2014/chart" uri="{C3380CC4-5D6E-409C-BE32-E72D297353CC}">
                <c16:uniqueId val="{000001ED-B9F8-419D-9354-C797D15419D1}"/>
              </c:ext>
            </c:extLst>
          </c:dPt>
          <c:dPt>
            <c:idx val="246"/>
            <c:invertIfNegative val="1"/>
            <c:bubble3D val="0"/>
            <c:spPr>
              <a:solidFill>
                <a:srgbClr val="AEABAB"/>
              </a:solidFill>
            </c:spPr>
            <c:extLst>
              <c:ext xmlns:c16="http://schemas.microsoft.com/office/drawing/2014/chart" uri="{C3380CC4-5D6E-409C-BE32-E72D297353CC}">
                <c16:uniqueId val="{000001EF-B9F8-419D-9354-C797D15419D1}"/>
              </c:ext>
            </c:extLst>
          </c:dPt>
          <c:dPt>
            <c:idx val="247"/>
            <c:invertIfNegative val="1"/>
            <c:bubble3D val="0"/>
            <c:spPr>
              <a:solidFill>
                <a:srgbClr val="AEABAB"/>
              </a:solidFill>
            </c:spPr>
            <c:extLst>
              <c:ext xmlns:c16="http://schemas.microsoft.com/office/drawing/2014/chart" uri="{C3380CC4-5D6E-409C-BE32-E72D297353CC}">
                <c16:uniqueId val="{000001F1-B9F8-419D-9354-C797D15419D1}"/>
              </c:ext>
            </c:extLst>
          </c:dPt>
          <c:dPt>
            <c:idx val="248"/>
            <c:invertIfNegative val="1"/>
            <c:bubble3D val="0"/>
            <c:spPr>
              <a:solidFill>
                <a:srgbClr val="AEABAB"/>
              </a:solidFill>
            </c:spPr>
            <c:extLst>
              <c:ext xmlns:c16="http://schemas.microsoft.com/office/drawing/2014/chart" uri="{C3380CC4-5D6E-409C-BE32-E72D297353CC}">
                <c16:uniqueId val="{000001F3-B9F8-419D-9354-C797D15419D1}"/>
              </c:ext>
            </c:extLst>
          </c:dPt>
          <c:dPt>
            <c:idx val="249"/>
            <c:invertIfNegative val="1"/>
            <c:bubble3D val="0"/>
            <c:spPr>
              <a:solidFill>
                <a:srgbClr val="AEABAB"/>
              </a:solidFill>
            </c:spPr>
            <c:extLst>
              <c:ext xmlns:c16="http://schemas.microsoft.com/office/drawing/2014/chart" uri="{C3380CC4-5D6E-409C-BE32-E72D297353CC}">
                <c16:uniqueId val="{000001F5-B9F8-419D-9354-C797D15419D1}"/>
              </c:ext>
            </c:extLst>
          </c:dPt>
          <c:dPt>
            <c:idx val="250"/>
            <c:invertIfNegative val="1"/>
            <c:bubble3D val="0"/>
            <c:spPr>
              <a:solidFill>
                <a:srgbClr val="AEABAB"/>
              </a:solidFill>
            </c:spPr>
            <c:extLst>
              <c:ext xmlns:c16="http://schemas.microsoft.com/office/drawing/2014/chart" uri="{C3380CC4-5D6E-409C-BE32-E72D297353CC}">
                <c16:uniqueId val="{000001F7-B9F8-419D-9354-C797D15419D1}"/>
              </c:ext>
            </c:extLst>
          </c:dPt>
          <c:dPt>
            <c:idx val="251"/>
            <c:invertIfNegative val="1"/>
            <c:bubble3D val="0"/>
            <c:spPr>
              <a:solidFill>
                <a:srgbClr val="AEABAB"/>
              </a:solidFill>
            </c:spPr>
            <c:extLst>
              <c:ext xmlns:c16="http://schemas.microsoft.com/office/drawing/2014/chart" uri="{C3380CC4-5D6E-409C-BE32-E72D297353CC}">
                <c16:uniqueId val="{000001F9-B9F8-419D-9354-C797D15419D1}"/>
              </c:ext>
            </c:extLst>
          </c:dPt>
          <c:dPt>
            <c:idx val="252"/>
            <c:invertIfNegative val="1"/>
            <c:bubble3D val="0"/>
            <c:spPr>
              <a:solidFill>
                <a:srgbClr val="AEABAB"/>
              </a:solidFill>
            </c:spPr>
            <c:extLst>
              <c:ext xmlns:c16="http://schemas.microsoft.com/office/drawing/2014/chart" uri="{C3380CC4-5D6E-409C-BE32-E72D297353CC}">
                <c16:uniqueId val="{000001FB-B9F8-419D-9354-C797D15419D1}"/>
              </c:ext>
            </c:extLst>
          </c:dPt>
          <c:dPt>
            <c:idx val="253"/>
            <c:invertIfNegative val="1"/>
            <c:bubble3D val="0"/>
            <c:spPr>
              <a:solidFill>
                <a:srgbClr val="AEABAB"/>
              </a:solidFill>
            </c:spPr>
            <c:extLst>
              <c:ext xmlns:c16="http://schemas.microsoft.com/office/drawing/2014/chart" uri="{C3380CC4-5D6E-409C-BE32-E72D297353CC}">
                <c16:uniqueId val="{000001FD-B9F8-419D-9354-C797D15419D1}"/>
              </c:ext>
            </c:extLst>
          </c:dPt>
          <c:dPt>
            <c:idx val="254"/>
            <c:invertIfNegative val="1"/>
            <c:bubble3D val="0"/>
            <c:spPr>
              <a:solidFill>
                <a:srgbClr val="AEABAB"/>
              </a:solidFill>
            </c:spPr>
            <c:extLst>
              <c:ext xmlns:c16="http://schemas.microsoft.com/office/drawing/2014/chart" uri="{C3380CC4-5D6E-409C-BE32-E72D297353CC}">
                <c16:uniqueId val="{000001FF-B9F8-419D-9354-C797D15419D1}"/>
              </c:ext>
            </c:extLst>
          </c:dPt>
          <c:dPt>
            <c:idx val="255"/>
            <c:invertIfNegative val="1"/>
            <c:bubble3D val="0"/>
            <c:spPr>
              <a:solidFill>
                <a:srgbClr val="AEABAB"/>
              </a:solidFill>
            </c:spPr>
            <c:extLst>
              <c:ext xmlns:c16="http://schemas.microsoft.com/office/drawing/2014/chart" uri="{C3380CC4-5D6E-409C-BE32-E72D297353CC}">
                <c16:uniqueId val="{00000201-B9F8-419D-9354-C797D15419D1}"/>
              </c:ext>
            </c:extLst>
          </c:dPt>
          <c:dPt>
            <c:idx val="256"/>
            <c:invertIfNegative val="1"/>
            <c:bubble3D val="0"/>
            <c:spPr>
              <a:solidFill>
                <a:srgbClr val="AEABAB"/>
              </a:solidFill>
            </c:spPr>
            <c:extLst>
              <c:ext xmlns:c16="http://schemas.microsoft.com/office/drawing/2014/chart" uri="{C3380CC4-5D6E-409C-BE32-E72D297353CC}">
                <c16:uniqueId val="{00000203-B9F8-419D-9354-C797D15419D1}"/>
              </c:ext>
            </c:extLst>
          </c:dPt>
          <c:dPt>
            <c:idx val="257"/>
            <c:invertIfNegative val="1"/>
            <c:bubble3D val="0"/>
            <c:spPr>
              <a:solidFill>
                <a:srgbClr val="AEABAB"/>
              </a:solidFill>
            </c:spPr>
            <c:extLst>
              <c:ext xmlns:c16="http://schemas.microsoft.com/office/drawing/2014/chart" uri="{C3380CC4-5D6E-409C-BE32-E72D297353CC}">
                <c16:uniqueId val="{00000205-B9F8-419D-9354-C797D15419D1}"/>
              </c:ext>
            </c:extLst>
          </c:dPt>
          <c:dPt>
            <c:idx val="258"/>
            <c:invertIfNegative val="1"/>
            <c:bubble3D val="0"/>
            <c:spPr>
              <a:solidFill>
                <a:srgbClr val="AEABAB"/>
              </a:solidFill>
            </c:spPr>
            <c:extLst>
              <c:ext xmlns:c16="http://schemas.microsoft.com/office/drawing/2014/chart" uri="{C3380CC4-5D6E-409C-BE32-E72D297353CC}">
                <c16:uniqueId val="{00000207-B9F8-419D-9354-C797D15419D1}"/>
              </c:ext>
            </c:extLst>
          </c:dPt>
          <c:dPt>
            <c:idx val="259"/>
            <c:invertIfNegative val="1"/>
            <c:bubble3D val="0"/>
            <c:spPr>
              <a:solidFill>
                <a:srgbClr val="AEABAB"/>
              </a:solidFill>
            </c:spPr>
            <c:extLst>
              <c:ext xmlns:c16="http://schemas.microsoft.com/office/drawing/2014/chart" uri="{C3380CC4-5D6E-409C-BE32-E72D297353CC}">
                <c16:uniqueId val="{00000209-B9F8-419D-9354-C797D15419D1}"/>
              </c:ext>
            </c:extLst>
          </c:dPt>
          <c:dPt>
            <c:idx val="260"/>
            <c:invertIfNegative val="1"/>
            <c:bubble3D val="0"/>
            <c:spPr>
              <a:solidFill>
                <a:srgbClr val="AEABAB"/>
              </a:solidFill>
            </c:spPr>
            <c:extLst>
              <c:ext xmlns:c16="http://schemas.microsoft.com/office/drawing/2014/chart" uri="{C3380CC4-5D6E-409C-BE32-E72D297353CC}">
                <c16:uniqueId val="{0000020B-B9F8-419D-9354-C797D15419D1}"/>
              </c:ext>
            </c:extLst>
          </c:dPt>
          <c:dPt>
            <c:idx val="261"/>
            <c:invertIfNegative val="1"/>
            <c:bubble3D val="0"/>
            <c:spPr>
              <a:solidFill>
                <a:srgbClr val="AEABAB"/>
              </a:solidFill>
            </c:spPr>
            <c:extLst>
              <c:ext xmlns:c16="http://schemas.microsoft.com/office/drawing/2014/chart" uri="{C3380CC4-5D6E-409C-BE32-E72D297353CC}">
                <c16:uniqueId val="{0000020D-B9F8-419D-9354-C797D15419D1}"/>
              </c:ext>
            </c:extLst>
          </c:dPt>
          <c:dPt>
            <c:idx val="262"/>
            <c:invertIfNegative val="1"/>
            <c:bubble3D val="0"/>
            <c:spPr>
              <a:solidFill>
                <a:srgbClr val="AEABAB"/>
              </a:solidFill>
            </c:spPr>
            <c:extLst>
              <c:ext xmlns:c16="http://schemas.microsoft.com/office/drawing/2014/chart" uri="{C3380CC4-5D6E-409C-BE32-E72D297353CC}">
                <c16:uniqueId val="{0000020F-B9F8-419D-9354-C797D15419D1}"/>
              </c:ext>
            </c:extLst>
          </c:dPt>
          <c:dPt>
            <c:idx val="263"/>
            <c:invertIfNegative val="1"/>
            <c:bubble3D val="0"/>
            <c:spPr>
              <a:solidFill>
                <a:srgbClr val="AEABAB"/>
              </a:solidFill>
            </c:spPr>
            <c:extLst>
              <c:ext xmlns:c16="http://schemas.microsoft.com/office/drawing/2014/chart" uri="{C3380CC4-5D6E-409C-BE32-E72D297353CC}">
                <c16:uniqueId val="{00000211-B9F8-419D-9354-C797D15419D1}"/>
              </c:ext>
            </c:extLst>
          </c:dPt>
          <c:dPt>
            <c:idx val="264"/>
            <c:invertIfNegative val="1"/>
            <c:bubble3D val="0"/>
            <c:spPr>
              <a:solidFill>
                <a:srgbClr val="AEABAB"/>
              </a:solidFill>
            </c:spPr>
            <c:extLst>
              <c:ext xmlns:c16="http://schemas.microsoft.com/office/drawing/2014/chart" uri="{C3380CC4-5D6E-409C-BE32-E72D297353CC}">
                <c16:uniqueId val="{00000213-B9F8-419D-9354-C797D15419D1}"/>
              </c:ext>
            </c:extLst>
          </c:dPt>
          <c:dPt>
            <c:idx val="265"/>
            <c:invertIfNegative val="1"/>
            <c:bubble3D val="0"/>
            <c:spPr>
              <a:solidFill>
                <a:srgbClr val="AEABAB"/>
              </a:solidFill>
            </c:spPr>
            <c:extLst>
              <c:ext xmlns:c16="http://schemas.microsoft.com/office/drawing/2014/chart" uri="{C3380CC4-5D6E-409C-BE32-E72D297353CC}">
                <c16:uniqueId val="{00000215-B9F8-419D-9354-C797D15419D1}"/>
              </c:ext>
            </c:extLst>
          </c:dPt>
          <c:dPt>
            <c:idx val="266"/>
            <c:invertIfNegative val="1"/>
            <c:bubble3D val="0"/>
            <c:spPr>
              <a:solidFill>
                <a:srgbClr val="AEABAB"/>
              </a:solidFill>
            </c:spPr>
            <c:extLst>
              <c:ext xmlns:c16="http://schemas.microsoft.com/office/drawing/2014/chart" uri="{C3380CC4-5D6E-409C-BE32-E72D297353CC}">
                <c16:uniqueId val="{00000217-B9F8-419D-9354-C797D15419D1}"/>
              </c:ext>
            </c:extLst>
          </c:dPt>
          <c:dPt>
            <c:idx val="267"/>
            <c:invertIfNegative val="1"/>
            <c:bubble3D val="0"/>
            <c:spPr>
              <a:solidFill>
                <a:srgbClr val="AEABAB"/>
              </a:solidFill>
            </c:spPr>
            <c:extLst>
              <c:ext xmlns:c16="http://schemas.microsoft.com/office/drawing/2014/chart" uri="{C3380CC4-5D6E-409C-BE32-E72D297353CC}">
                <c16:uniqueId val="{00000219-B9F8-419D-9354-C797D15419D1}"/>
              </c:ext>
            </c:extLst>
          </c:dPt>
          <c:dPt>
            <c:idx val="268"/>
            <c:invertIfNegative val="1"/>
            <c:bubble3D val="0"/>
            <c:spPr>
              <a:solidFill>
                <a:srgbClr val="AEABAB"/>
              </a:solidFill>
            </c:spPr>
            <c:extLst>
              <c:ext xmlns:c16="http://schemas.microsoft.com/office/drawing/2014/chart" uri="{C3380CC4-5D6E-409C-BE32-E72D297353CC}">
                <c16:uniqueId val="{0000021B-B9F8-419D-9354-C797D15419D1}"/>
              </c:ext>
            </c:extLst>
          </c:dPt>
          <c:dPt>
            <c:idx val="269"/>
            <c:invertIfNegative val="1"/>
            <c:bubble3D val="0"/>
            <c:spPr>
              <a:solidFill>
                <a:srgbClr val="AEABAB"/>
              </a:solidFill>
            </c:spPr>
            <c:extLst>
              <c:ext xmlns:c16="http://schemas.microsoft.com/office/drawing/2014/chart" uri="{C3380CC4-5D6E-409C-BE32-E72D297353CC}">
                <c16:uniqueId val="{0000021D-B9F8-419D-9354-C797D15419D1}"/>
              </c:ext>
            </c:extLst>
          </c:dPt>
          <c:dPt>
            <c:idx val="270"/>
            <c:invertIfNegative val="1"/>
            <c:bubble3D val="0"/>
            <c:spPr>
              <a:solidFill>
                <a:srgbClr val="AEABAB"/>
              </a:solidFill>
            </c:spPr>
            <c:extLst>
              <c:ext xmlns:c16="http://schemas.microsoft.com/office/drawing/2014/chart" uri="{C3380CC4-5D6E-409C-BE32-E72D297353CC}">
                <c16:uniqueId val="{0000021F-B9F8-419D-9354-C797D15419D1}"/>
              </c:ext>
            </c:extLst>
          </c:dPt>
          <c:dPt>
            <c:idx val="271"/>
            <c:invertIfNegative val="1"/>
            <c:bubble3D val="0"/>
            <c:spPr>
              <a:solidFill>
                <a:srgbClr val="AEABAB"/>
              </a:solidFill>
            </c:spPr>
            <c:extLst>
              <c:ext xmlns:c16="http://schemas.microsoft.com/office/drawing/2014/chart" uri="{C3380CC4-5D6E-409C-BE32-E72D297353CC}">
                <c16:uniqueId val="{00000221-B9F8-419D-9354-C797D15419D1}"/>
              </c:ext>
            </c:extLst>
          </c:dPt>
          <c:dPt>
            <c:idx val="272"/>
            <c:invertIfNegative val="1"/>
            <c:bubble3D val="0"/>
            <c:spPr>
              <a:solidFill>
                <a:srgbClr val="AEABAB"/>
              </a:solidFill>
            </c:spPr>
            <c:extLst>
              <c:ext xmlns:c16="http://schemas.microsoft.com/office/drawing/2014/chart" uri="{C3380CC4-5D6E-409C-BE32-E72D297353CC}">
                <c16:uniqueId val="{00000223-B9F8-419D-9354-C797D15419D1}"/>
              </c:ext>
            </c:extLst>
          </c:dPt>
          <c:dPt>
            <c:idx val="273"/>
            <c:invertIfNegative val="1"/>
            <c:bubble3D val="0"/>
            <c:spPr>
              <a:solidFill>
                <a:srgbClr val="AEABAB"/>
              </a:solidFill>
            </c:spPr>
            <c:extLst>
              <c:ext xmlns:c16="http://schemas.microsoft.com/office/drawing/2014/chart" uri="{C3380CC4-5D6E-409C-BE32-E72D297353CC}">
                <c16:uniqueId val="{00000225-B9F8-419D-9354-C797D15419D1}"/>
              </c:ext>
            </c:extLst>
          </c:dPt>
          <c:dPt>
            <c:idx val="274"/>
            <c:invertIfNegative val="1"/>
            <c:bubble3D val="0"/>
            <c:spPr>
              <a:solidFill>
                <a:srgbClr val="AEABAB"/>
              </a:solidFill>
            </c:spPr>
            <c:extLst>
              <c:ext xmlns:c16="http://schemas.microsoft.com/office/drawing/2014/chart" uri="{C3380CC4-5D6E-409C-BE32-E72D297353CC}">
                <c16:uniqueId val="{00000227-B9F8-419D-9354-C797D15419D1}"/>
              </c:ext>
            </c:extLst>
          </c:dPt>
          <c:dPt>
            <c:idx val="275"/>
            <c:invertIfNegative val="1"/>
            <c:bubble3D val="0"/>
            <c:spPr>
              <a:solidFill>
                <a:srgbClr val="AEABAB"/>
              </a:solidFill>
            </c:spPr>
            <c:extLst>
              <c:ext xmlns:c16="http://schemas.microsoft.com/office/drawing/2014/chart" uri="{C3380CC4-5D6E-409C-BE32-E72D297353CC}">
                <c16:uniqueId val="{00000229-B9F8-419D-9354-C797D15419D1}"/>
              </c:ext>
            </c:extLst>
          </c:dPt>
          <c:dPt>
            <c:idx val="276"/>
            <c:invertIfNegative val="1"/>
            <c:bubble3D val="0"/>
            <c:spPr>
              <a:solidFill>
                <a:srgbClr val="AEABAB"/>
              </a:solidFill>
            </c:spPr>
            <c:extLst>
              <c:ext xmlns:c16="http://schemas.microsoft.com/office/drawing/2014/chart" uri="{C3380CC4-5D6E-409C-BE32-E72D297353CC}">
                <c16:uniqueId val="{0000022B-B9F8-419D-9354-C797D15419D1}"/>
              </c:ext>
            </c:extLst>
          </c:dPt>
          <c:dPt>
            <c:idx val="277"/>
            <c:invertIfNegative val="1"/>
            <c:bubble3D val="0"/>
            <c:spPr>
              <a:solidFill>
                <a:srgbClr val="AEABAB"/>
              </a:solidFill>
            </c:spPr>
            <c:extLst>
              <c:ext xmlns:c16="http://schemas.microsoft.com/office/drawing/2014/chart" uri="{C3380CC4-5D6E-409C-BE32-E72D297353CC}">
                <c16:uniqueId val="{0000022D-B9F8-419D-9354-C797D15419D1}"/>
              </c:ext>
            </c:extLst>
          </c:dPt>
          <c:dPt>
            <c:idx val="278"/>
            <c:invertIfNegative val="1"/>
            <c:bubble3D val="0"/>
            <c:spPr>
              <a:solidFill>
                <a:srgbClr val="AEABAB"/>
              </a:solidFill>
            </c:spPr>
            <c:extLst>
              <c:ext xmlns:c16="http://schemas.microsoft.com/office/drawing/2014/chart" uri="{C3380CC4-5D6E-409C-BE32-E72D297353CC}">
                <c16:uniqueId val="{0000022F-B9F8-419D-9354-C797D15419D1}"/>
              </c:ext>
            </c:extLst>
          </c:dPt>
          <c:dPt>
            <c:idx val="279"/>
            <c:invertIfNegative val="1"/>
            <c:bubble3D val="0"/>
            <c:spPr>
              <a:solidFill>
                <a:srgbClr val="AEABAB"/>
              </a:solidFill>
            </c:spPr>
            <c:extLst>
              <c:ext xmlns:c16="http://schemas.microsoft.com/office/drawing/2014/chart" uri="{C3380CC4-5D6E-409C-BE32-E72D297353CC}">
                <c16:uniqueId val="{00000231-B9F8-419D-9354-C797D15419D1}"/>
              </c:ext>
            </c:extLst>
          </c:dPt>
          <c:dPt>
            <c:idx val="280"/>
            <c:invertIfNegative val="1"/>
            <c:bubble3D val="0"/>
            <c:spPr>
              <a:solidFill>
                <a:srgbClr val="AEABAB"/>
              </a:solidFill>
            </c:spPr>
            <c:extLst>
              <c:ext xmlns:c16="http://schemas.microsoft.com/office/drawing/2014/chart" uri="{C3380CC4-5D6E-409C-BE32-E72D297353CC}">
                <c16:uniqueId val="{00000233-B9F8-419D-9354-C797D15419D1}"/>
              </c:ext>
            </c:extLst>
          </c:dPt>
          <c:dPt>
            <c:idx val="281"/>
            <c:invertIfNegative val="1"/>
            <c:bubble3D val="0"/>
            <c:spPr>
              <a:solidFill>
                <a:srgbClr val="AEABAB"/>
              </a:solidFill>
            </c:spPr>
            <c:extLst>
              <c:ext xmlns:c16="http://schemas.microsoft.com/office/drawing/2014/chart" uri="{C3380CC4-5D6E-409C-BE32-E72D297353CC}">
                <c16:uniqueId val="{00000235-B9F8-419D-9354-C797D15419D1}"/>
              </c:ext>
            </c:extLst>
          </c:dPt>
          <c:dPt>
            <c:idx val="282"/>
            <c:invertIfNegative val="1"/>
            <c:bubble3D val="0"/>
            <c:spPr>
              <a:solidFill>
                <a:srgbClr val="AEABAB"/>
              </a:solidFill>
            </c:spPr>
            <c:extLst>
              <c:ext xmlns:c16="http://schemas.microsoft.com/office/drawing/2014/chart" uri="{C3380CC4-5D6E-409C-BE32-E72D297353CC}">
                <c16:uniqueId val="{00000237-B9F8-419D-9354-C797D15419D1}"/>
              </c:ext>
            </c:extLst>
          </c:dPt>
          <c:dPt>
            <c:idx val="283"/>
            <c:invertIfNegative val="1"/>
            <c:bubble3D val="0"/>
            <c:spPr>
              <a:solidFill>
                <a:srgbClr val="AEABAB"/>
              </a:solidFill>
            </c:spPr>
            <c:extLst>
              <c:ext xmlns:c16="http://schemas.microsoft.com/office/drawing/2014/chart" uri="{C3380CC4-5D6E-409C-BE32-E72D297353CC}">
                <c16:uniqueId val="{00000239-B9F8-419D-9354-C797D15419D1}"/>
              </c:ext>
            </c:extLst>
          </c:dPt>
          <c:dPt>
            <c:idx val="284"/>
            <c:invertIfNegative val="1"/>
            <c:bubble3D val="0"/>
            <c:spPr>
              <a:solidFill>
                <a:srgbClr val="AEABAB"/>
              </a:solidFill>
            </c:spPr>
            <c:extLst>
              <c:ext xmlns:c16="http://schemas.microsoft.com/office/drawing/2014/chart" uri="{C3380CC4-5D6E-409C-BE32-E72D297353CC}">
                <c16:uniqueId val="{0000023B-B9F8-419D-9354-C797D15419D1}"/>
              </c:ext>
            </c:extLst>
          </c:dPt>
          <c:dPt>
            <c:idx val="285"/>
            <c:invertIfNegative val="1"/>
            <c:bubble3D val="0"/>
            <c:spPr>
              <a:solidFill>
                <a:srgbClr val="AEABAB"/>
              </a:solidFill>
            </c:spPr>
            <c:extLst>
              <c:ext xmlns:c16="http://schemas.microsoft.com/office/drawing/2014/chart" uri="{C3380CC4-5D6E-409C-BE32-E72D297353CC}">
                <c16:uniqueId val="{0000023D-B9F8-419D-9354-C797D15419D1}"/>
              </c:ext>
            </c:extLst>
          </c:dPt>
          <c:dPt>
            <c:idx val="286"/>
            <c:invertIfNegative val="1"/>
            <c:bubble3D val="0"/>
            <c:spPr>
              <a:solidFill>
                <a:srgbClr val="AEABAB"/>
              </a:solidFill>
            </c:spPr>
            <c:extLst>
              <c:ext xmlns:c16="http://schemas.microsoft.com/office/drawing/2014/chart" uri="{C3380CC4-5D6E-409C-BE32-E72D297353CC}">
                <c16:uniqueId val="{0000023F-B9F8-419D-9354-C797D15419D1}"/>
              </c:ext>
            </c:extLst>
          </c:dPt>
          <c:dPt>
            <c:idx val="287"/>
            <c:invertIfNegative val="1"/>
            <c:bubble3D val="0"/>
            <c:spPr>
              <a:solidFill>
                <a:srgbClr val="AEABAB"/>
              </a:solidFill>
            </c:spPr>
            <c:extLst>
              <c:ext xmlns:c16="http://schemas.microsoft.com/office/drawing/2014/chart" uri="{C3380CC4-5D6E-409C-BE32-E72D297353CC}">
                <c16:uniqueId val="{00000241-B9F8-419D-9354-C797D15419D1}"/>
              </c:ext>
            </c:extLst>
          </c:dPt>
          <c:dPt>
            <c:idx val="288"/>
            <c:invertIfNegative val="1"/>
            <c:bubble3D val="0"/>
            <c:spPr>
              <a:solidFill>
                <a:srgbClr val="AEABAB"/>
              </a:solidFill>
            </c:spPr>
            <c:extLst>
              <c:ext xmlns:c16="http://schemas.microsoft.com/office/drawing/2014/chart" uri="{C3380CC4-5D6E-409C-BE32-E72D297353CC}">
                <c16:uniqueId val="{00000243-B9F8-419D-9354-C797D15419D1}"/>
              </c:ext>
            </c:extLst>
          </c:dPt>
          <c:dPt>
            <c:idx val="289"/>
            <c:invertIfNegative val="1"/>
            <c:bubble3D val="0"/>
            <c:spPr>
              <a:solidFill>
                <a:srgbClr val="AEABAB"/>
              </a:solidFill>
            </c:spPr>
            <c:extLst>
              <c:ext xmlns:c16="http://schemas.microsoft.com/office/drawing/2014/chart" uri="{C3380CC4-5D6E-409C-BE32-E72D297353CC}">
                <c16:uniqueId val="{00000245-B9F8-419D-9354-C797D15419D1}"/>
              </c:ext>
            </c:extLst>
          </c:dPt>
          <c:dPt>
            <c:idx val="290"/>
            <c:invertIfNegative val="1"/>
            <c:bubble3D val="0"/>
            <c:spPr>
              <a:solidFill>
                <a:srgbClr val="AEABAB"/>
              </a:solidFill>
            </c:spPr>
            <c:extLst>
              <c:ext xmlns:c16="http://schemas.microsoft.com/office/drawing/2014/chart" uri="{C3380CC4-5D6E-409C-BE32-E72D297353CC}">
                <c16:uniqueId val="{00000247-B9F8-419D-9354-C797D15419D1}"/>
              </c:ext>
            </c:extLst>
          </c:dPt>
          <c:dPt>
            <c:idx val="291"/>
            <c:invertIfNegative val="1"/>
            <c:bubble3D val="0"/>
            <c:spPr>
              <a:solidFill>
                <a:srgbClr val="AEABAB"/>
              </a:solidFill>
            </c:spPr>
            <c:extLst>
              <c:ext xmlns:c16="http://schemas.microsoft.com/office/drawing/2014/chart" uri="{C3380CC4-5D6E-409C-BE32-E72D297353CC}">
                <c16:uniqueId val="{00000249-B9F8-419D-9354-C797D15419D1}"/>
              </c:ext>
            </c:extLst>
          </c:dPt>
          <c:dPt>
            <c:idx val="292"/>
            <c:invertIfNegative val="1"/>
            <c:bubble3D val="0"/>
            <c:spPr>
              <a:solidFill>
                <a:srgbClr val="AEABAB"/>
              </a:solidFill>
            </c:spPr>
            <c:extLst>
              <c:ext xmlns:c16="http://schemas.microsoft.com/office/drawing/2014/chart" uri="{C3380CC4-5D6E-409C-BE32-E72D297353CC}">
                <c16:uniqueId val="{0000024B-B9F8-419D-9354-C797D15419D1}"/>
              </c:ext>
            </c:extLst>
          </c:dPt>
          <c:dPt>
            <c:idx val="293"/>
            <c:invertIfNegative val="1"/>
            <c:bubble3D val="0"/>
            <c:spPr>
              <a:solidFill>
                <a:srgbClr val="AEABAB"/>
              </a:solidFill>
            </c:spPr>
            <c:extLst>
              <c:ext xmlns:c16="http://schemas.microsoft.com/office/drawing/2014/chart" uri="{C3380CC4-5D6E-409C-BE32-E72D297353CC}">
                <c16:uniqueId val="{0000024D-B9F8-419D-9354-C797D15419D1}"/>
              </c:ext>
            </c:extLst>
          </c:dPt>
          <c:dPt>
            <c:idx val="294"/>
            <c:invertIfNegative val="1"/>
            <c:bubble3D val="0"/>
            <c:spPr>
              <a:solidFill>
                <a:srgbClr val="AEABAB"/>
              </a:solidFill>
            </c:spPr>
            <c:extLst>
              <c:ext xmlns:c16="http://schemas.microsoft.com/office/drawing/2014/chart" uri="{C3380CC4-5D6E-409C-BE32-E72D297353CC}">
                <c16:uniqueId val="{0000024F-B9F8-419D-9354-C797D15419D1}"/>
              </c:ext>
            </c:extLst>
          </c:dPt>
          <c:dPt>
            <c:idx val="295"/>
            <c:invertIfNegative val="1"/>
            <c:bubble3D val="0"/>
            <c:spPr>
              <a:solidFill>
                <a:srgbClr val="AEABAB"/>
              </a:solidFill>
            </c:spPr>
            <c:extLst>
              <c:ext xmlns:c16="http://schemas.microsoft.com/office/drawing/2014/chart" uri="{C3380CC4-5D6E-409C-BE32-E72D297353CC}">
                <c16:uniqueId val="{00000251-B9F8-419D-9354-C797D15419D1}"/>
              </c:ext>
            </c:extLst>
          </c:dPt>
          <c:dPt>
            <c:idx val="296"/>
            <c:invertIfNegative val="1"/>
            <c:bubble3D val="0"/>
            <c:spPr>
              <a:solidFill>
                <a:srgbClr val="AEABAB"/>
              </a:solidFill>
            </c:spPr>
            <c:extLst>
              <c:ext xmlns:c16="http://schemas.microsoft.com/office/drawing/2014/chart" uri="{C3380CC4-5D6E-409C-BE32-E72D297353CC}">
                <c16:uniqueId val="{00000253-B9F8-419D-9354-C797D15419D1}"/>
              </c:ext>
            </c:extLst>
          </c:dPt>
          <c:dPt>
            <c:idx val="297"/>
            <c:invertIfNegative val="1"/>
            <c:bubble3D val="0"/>
            <c:spPr>
              <a:solidFill>
                <a:srgbClr val="AEABAB"/>
              </a:solidFill>
            </c:spPr>
            <c:extLst>
              <c:ext xmlns:c16="http://schemas.microsoft.com/office/drawing/2014/chart" uri="{C3380CC4-5D6E-409C-BE32-E72D297353CC}">
                <c16:uniqueId val="{00000255-B9F8-419D-9354-C797D15419D1}"/>
              </c:ext>
            </c:extLst>
          </c:dPt>
          <c:dPt>
            <c:idx val="298"/>
            <c:invertIfNegative val="1"/>
            <c:bubble3D val="0"/>
            <c:spPr>
              <a:solidFill>
                <a:srgbClr val="AEABAB"/>
              </a:solidFill>
            </c:spPr>
            <c:extLst>
              <c:ext xmlns:c16="http://schemas.microsoft.com/office/drawing/2014/chart" uri="{C3380CC4-5D6E-409C-BE32-E72D297353CC}">
                <c16:uniqueId val="{00000257-B9F8-419D-9354-C797D15419D1}"/>
              </c:ext>
            </c:extLst>
          </c:dPt>
          <c:dPt>
            <c:idx val="299"/>
            <c:invertIfNegative val="1"/>
            <c:bubble3D val="0"/>
            <c:spPr>
              <a:solidFill>
                <a:srgbClr val="AEABAB"/>
              </a:solidFill>
            </c:spPr>
            <c:extLst>
              <c:ext xmlns:c16="http://schemas.microsoft.com/office/drawing/2014/chart" uri="{C3380CC4-5D6E-409C-BE32-E72D297353CC}">
                <c16:uniqueId val="{00000259-B9F8-419D-9354-C797D15419D1}"/>
              </c:ext>
            </c:extLst>
          </c:dPt>
          <c:dPt>
            <c:idx val="300"/>
            <c:invertIfNegative val="1"/>
            <c:bubble3D val="0"/>
            <c:spPr>
              <a:solidFill>
                <a:srgbClr val="AEABAB"/>
              </a:solidFill>
            </c:spPr>
            <c:extLst>
              <c:ext xmlns:c16="http://schemas.microsoft.com/office/drawing/2014/chart" uri="{C3380CC4-5D6E-409C-BE32-E72D297353CC}">
                <c16:uniqueId val="{0000025B-B9F8-419D-9354-C797D15419D1}"/>
              </c:ext>
            </c:extLst>
          </c:dPt>
          <c:dPt>
            <c:idx val="301"/>
            <c:invertIfNegative val="1"/>
            <c:bubble3D val="0"/>
            <c:spPr>
              <a:solidFill>
                <a:srgbClr val="AEABAB"/>
              </a:solidFill>
            </c:spPr>
            <c:extLst>
              <c:ext xmlns:c16="http://schemas.microsoft.com/office/drawing/2014/chart" uri="{C3380CC4-5D6E-409C-BE32-E72D297353CC}">
                <c16:uniqueId val="{0000025D-B9F8-419D-9354-C797D15419D1}"/>
              </c:ext>
            </c:extLst>
          </c:dPt>
          <c:dPt>
            <c:idx val="302"/>
            <c:invertIfNegative val="1"/>
            <c:bubble3D val="0"/>
            <c:spPr>
              <a:solidFill>
                <a:srgbClr val="AEABAB"/>
              </a:solidFill>
            </c:spPr>
            <c:extLst>
              <c:ext xmlns:c16="http://schemas.microsoft.com/office/drawing/2014/chart" uri="{C3380CC4-5D6E-409C-BE32-E72D297353CC}">
                <c16:uniqueId val="{0000025F-B9F8-419D-9354-C797D15419D1}"/>
              </c:ext>
            </c:extLst>
          </c:dPt>
          <c:dPt>
            <c:idx val="303"/>
            <c:invertIfNegative val="1"/>
            <c:bubble3D val="0"/>
            <c:spPr>
              <a:solidFill>
                <a:srgbClr val="AEABAB"/>
              </a:solidFill>
            </c:spPr>
            <c:extLst>
              <c:ext xmlns:c16="http://schemas.microsoft.com/office/drawing/2014/chart" uri="{C3380CC4-5D6E-409C-BE32-E72D297353CC}">
                <c16:uniqueId val="{00000261-B9F8-419D-9354-C797D15419D1}"/>
              </c:ext>
            </c:extLst>
          </c:dPt>
          <c:dPt>
            <c:idx val="304"/>
            <c:invertIfNegative val="1"/>
            <c:bubble3D val="0"/>
            <c:spPr>
              <a:solidFill>
                <a:srgbClr val="AEABAB"/>
              </a:solidFill>
            </c:spPr>
            <c:extLst>
              <c:ext xmlns:c16="http://schemas.microsoft.com/office/drawing/2014/chart" uri="{C3380CC4-5D6E-409C-BE32-E72D297353CC}">
                <c16:uniqueId val="{00000263-B9F8-419D-9354-C797D15419D1}"/>
              </c:ext>
            </c:extLst>
          </c:dPt>
          <c:dPt>
            <c:idx val="305"/>
            <c:invertIfNegative val="1"/>
            <c:bubble3D val="0"/>
            <c:spPr>
              <a:solidFill>
                <a:srgbClr val="AEABAB"/>
              </a:solidFill>
            </c:spPr>
            <c:extLst>
              <c:ext xmlns:c16="http://schemas.microsoft.com/office/drawing/2014/chart" uri="{C3380CC4-5D6E-409C-BE32-E72D297353CC}">
                <c16:uniqueId val="{00000265-B9F8-419D-9354-C797D15419D1}"/>
              </c:ext>
            </c:extLst>
          </c:dPt>
          <c:dPt>
            <c:idx val="306"/>
            <c:invertIfNegative val="1"/>
            <c:bubble3D val="0"/>
            <c:spPr>
              <a:solidFill>
                <a:srgbClr val="AEABAB"/>
              </a:solidFill>
            </c:spPr>
            <c:extLst>
              <c:ext xmlns:c16="http://schemas.microsoft.com/office/drawing/2014/chart" uri="{C3380CC4-5D6E-409C-BE32-E72D297353CC}">
                <c16:uniqueId val="{00000267-B9F8-419D-9354-C797D15419D1}"/>
              </c:ext>
            </c:extLst>
          </c:dPt>
          <c:dPt>
            <c:idx val="307"/>
            <c:invertIfNegative val="1"/>
            <c:bubble3D val="0"/>
            <c:spPr>
              <a:solidFill>
                <a:srgbClr val="AEABAB"/>
              </a:solidFill>
            </c:spPr>
            <c:extLst>
              <c:ext xmlns:c16="http://schemas.microsoft.com/office/drawing/2014/chart" uri="{C3380CC4-5D6E-409C-BE32-E72D297353CC}">
                <c16:uniqueId val="{00000269-B9F8-419D-9354-C797D15419D1}"/>
              </c:ext>
            </c:extLst>
          </c:dPt>
          <c:dPt>
            <c:idx val="308"/>
            <c:invertIfNegative val="1"/>
            <c:bubble3D val="0"/>
            <c:spPr>
              <a:solidFill>
                <a:srgbClr val="AEABAB"/>
              </a:solidFill>
            </c:spPr>
            <c:extLst>
              <c:ext xmlns:c16="http://schemas.microsoft.com/office/drawing/2014/chart" uri="{C3380CC4-5D6E-409C-BE32-E72D297353CC}">
                <c16:uniqueId val="{0000026B-B9F8-419D-9354-C797D15419D1}"/>
              </c:ext>
            </c:extLst>
          </c:dPt>
          <c:dPt>
            <c:idx val="309"/>
            <c:invertIfNegative val="1"/>
            <c:bubble3D val="0"/>
            <c:spPr>
              <a:solidFill>
                <a:srgbClr val="AEABAB"/>
              </a:solidFill>
            </c:spPr>
            <c:extLst>
              <c:ext xmlns:c16="http://schemas.microsoft.com/office/drawing/2014/chart" uri="{C3380CC4-5D6E-409C-BE32-E72D297353CC}">
                <c16:uniqueId val="{0000026D-B9F8-419D-9354-C797D15419D1}"/>
              </c:ext>
            </c:extLst>
          </c:dPt>
          <c:dPt>
            <c:idx val="310"/>
            <c:invertIfNegative val="1"/>
            <c:bubble3D val="0"/>
            <c:spPr>
              <a:solidFill>
                <a:srgbClr val="AEABAB"/>
              </a:solidFill>
            </c:spPr>
            <c:extLst>
              <c:ext xmlns:c16="http://schemas.microsoft.com/office/drawing/2014/chart" uri="{C3380CC4-5D6E-409C-BE32-E72D297353CC}">
                <c16:uniqueId val="{0000026F-B9F8-419D-9354-C797D15419D1}"/>
              </c:ext>
            </c:extLst>
          </c:dPt>
          <c:dPt>
            <c:idx val="311"/>
            <c:invertIfNegative val="1"/>
            <c:bubble3D val="0"/>
            <c:spPr>
              <a:solidFill>
                <a:srgbClr val="AEABAB"/>
              </a:solidFill>
            </c:spPr>
            <c:extLst>
              <c:ext xmlns:c16="http://schemas.microsoft.com/office/drawing/2014/chart" uri="{C3380CC4-5D6E-409C-BE32-E72D297353CC}">
                <c16:uniqueId val="{00000271-B9F8-419D-9354-C797D15419D1}"/>
              </c:ext>
            </c:extLst>
          </c:dPt>
          <c:dPt>
            <c:idx val="312"/>
            <c:invertIfNegative val="1"/>
            <c:bubble3D val="0"/>
            <c:spPr>
              <a:solidFill>
                <a:srgbClr val="AEABAB"/>
              </a:solidFill>
            </c:spPr>
            <c:extLst>
              <c:ext xmlns:c16="http://schemas.microsoft.com/office/drawing/2014/chart" uri="{C3380CC4-5D6E-409C-BE32-E72D297353CC}">
                <c16:uniqueId val="{00000273-B9F8-419D-9354-C797D15419D1}"/>
              </c:ext>
            </c:extLst>
          </c:dPt>
          <c:dPt>
            <c:idx val="313"/>
            <c:invertIfNegative val="1"/>
            <c:bubble3D val="0"/>
            <c:spPr>
              <a:solidFill>
                <a:srgbClr val="AEABAB"/>
              </a:solidFill>
            </c:spPr>
            <c:extLst>
              <c:ext xmlns:c16="http://schemas.microsoft.com/office/drawing/2014/chart" uri="{C3380CC4-5D6E-409C-BE32-E72D297353CC}">
                <c16:uniqueId val="{00000275-B9F8-419D-9354-C797D15419D1}"/>
              </c:ext>
            </c:extLst>
          </c:dPt>
          <c:dPt>
            <c:idx val="314"/>
            <c:invertIfNegative val="1"/>
            <c:bubble3D val="0"/>
            <c:spPr>
              <a:solidFill>
                <a:srgbClr val="AEABAB"/>
              </a:solidFill>
            </c:spPr>
            <c:extLst>
              <c:ext xmlns:c16="http://schemas.microsoft.com/office/drawing/2014/chart" uri="{C3380CC4-5D6E-409C-BE32-E72D297353CC}">
                <c16:uniqueId val="{00000277-B9F8-419D-9354-C797D15419D1}"/>
              </c:ext>
            </c:extLst>
          </c:dPt>
          <c:dPt>
            <c:idx val="315"/>
            <c:invertIfNegative val="1"/>
            <c:bubble3D val="0"/>
            <c:spPr>
              <a:solidFill>
                <a:srgbClr val="AEABAB"/>
              </a:solidFill>
            </c:spPr>
            <c:extLst>
              <c:ext xmlns:c16="http://schemas.microsoft.com/office/drawing/2014/chart" uri="{C3380CC4-5D6E-409C-BE32-E72D297353CC}">
                <c16:uniqueId val="{00000279-B9F8-419D-9354-C797D15419D1}"/>
              </c:ext>
            </c:extLst>
          </c:dPt>
          <c:dPt>
            <c:idx val="316"/>
            <c:invertIfNegative val="1"/>
            <c:bubble3D val="0"/>
            <c:spPr>
              <a:solidFill>
                <a:srgbClr val="AEABAB"/>
              </a:solidFill>
            </c:spPr>
            <c:extLst>
              <c:ext xmlns:c16="http://schemas.microsoft.com/office/drawing/2014/chart" uri="{C3380CC4-5D6E-409C-BE32-E72D297353CC}">
                <c16:uniqueId val="{0000027B-B9F8-419D-9354-C797D15419D1}"/>
              </c:ext>
            </c:extLst>
          </c:dPt>
          <c:dPt>
            <c:idx val="317"/>
            <c:invertIfNegative val="1"/>
            <c:bubble3D val="0"/>
            <c:spPr>
              <a:solidFill>
                <a:srgbClr val="AEABAB"/>
              </a:solidFill>
            </c:spPr>
            <c:extLst>
              <c:ext xmlns:c16="http://schemas.microsoft.com/office/drawing/2014/chart" uri="{C3380CC4-5D6E-409C-BE32-E72D297353CC}">
                <c16:uniqueId val="{0000027D-B9F8-419D-9354-C797D15419D1}"/>
              </c:ext>
            </c:extLst>
          </c:dPt>
          <c:dPt>
            <c:idx val="318"/>
            <c:invertIfNegative val="1"/>
            <c:bubble3D val="0"/>
            <c:spPr>
              <a:solidFill>
                <a:srgbClr val="AEABAB"/>
              </a:solidFill>
            </c:spPr>
            <c:extLst>
              <c:ext xmlns:c16="http://schemas.microsoft.com/office/drawing/2014/chart" uri="{C3380CC4-5D6E-409C-BE32-E72D297353CC}">
                <c16:uniqueId val="{0000027F-B9F8-419D-9354-C797D15419D1}"/>
              </c:ext>
            </c:extLst>
          </c:dPt>
          <c:dPt>
            <c:idx val="319"/>
            <c:invertIfNegative val="1"/>
            <c:bubble3D val="0"/>
            <c:spPr>
              <a:solidFill>
                <a:srgbClr val="AEABAB"/>
              </a:solidFill>
            </c:spPr>
            <c:extLst>
              <c:ext xmlns:c16="http://schemas.microsoft.com/office/drawing/2014/chart" uri="{C3380CC4-5D6E-409C-BE32-E72D297353CC}">
                <c16:uniqueId val="{00000281-B9F8-419D-9354-C797D15419D1}"/>
              </c:ext>
            </c:extLst>
          </c:dPt>
          <c:dPt>
            <c:idx val="320"/>
            <c:invertIfNegative val="1"/>
            <c:bubble3D val="0"/>
            <c:spPr>
              <a:solidFill>
                <a:srgbClr val="AEABAB"/>
              </a:solidFill>
            </c:spPr>
            <c:extLst>
              <c:ext xmlns:c16="http://schemas.microsoft.com/office/drawing/2014/chart" uri="{C3380CC4-5D6E-409C-BE32-E72D297353CC}">
                <c16:uniqueId val="{00000283-B9F8-419D-9354-C797D15419D1}"/>
              </c:ext>
            </c:extLst>
          </c:dPt>
          <c:dPt>
            <c:idx val="321"/>
            <c:invertIfNegative val="1"/>
            <c:bubble3D val="0"/>
            <c:spPr>
              <a:solidFill>
                <a:srgbClr val="AEABAB"/>
              </a:solidFill>
            </c:spPr>
            <c:extLst>
              <c:ext xmlns:c16="http://schemas.microsoft.com/office/drawing/2014/chart" uri="{C3380CC4-5D6E-409C-BE32-E72D297353CC}">
                <c16:uniqueId val="{00000285-B9F8-419D-9354-C797D15419D1}"/>
              </c:ext>
            </c:extLst>
          </c:dPt>
          <c:dPt>
            <c:idx val="322"/>
            <c:invertIfNegative val="1"/>
            <c:bubble3D val="0"/>
            <c:spPr>
              <a:solidFill>
                <a:srgbClr val="AEABAB"/>
              </a:solidFill>
            </c:spPr>
            <c:extLst>
              <c:ext xmlns:c16="http://schemas.microsoft.com/office/drawing/2014/chart" uri="{C3380CC4-5D6E-409C-BE32-E72D297353CC}">
                <c16:uniqueId val="{00000287-B9F8-419D-9354-C797D15419D1}"/>
              </c:ext>
            </c:extLst>
          </c:dPt>
          <c:dPt>
            <c:idx val="323"/>
            <c:invertIfNegative val="1"/>
            <c:bubble3D val="0"/>
            <c:spPr>
              <a:solidFill>
                <a:srgbClr val="AEABAB"/>
              </a:solidFill>
            </c:spPr>
            <c:extLst>
              <c:ext xmlns:c16="http://schemas.microsoft.com/office/drawing/2014/chart" uri="{C3380CC4-5D6E-409C-BE32-E72D297353CC}">
                <c16:uniqueId val="{00000289-B9F8-419D-9354-C797D15419D1}"/>
              </c:ext>
            </c:extLst>
          </c:dPt>
          <c:dPt>
            <c:idx val="324"/>
            <c:invertIfNegative val="1"/>
            <c:bubble3D val="0"/>
            <c:spPr>
              <a:solidFill>
                <a:srgbClr val="AEABAB"/>
              </a:solidFill>
            </c:spPr>
            <c:extLst>
              <c:ext xmlns:c16="http://schemas.microsoft.com/office/drawing/2014/chart" uri="{C3380CC4-5D6E-409C-BE32-E72D297353CC}">
                <c16:uniqueId val="{0000028B-B9F8-419D-9354-C797D15419D1}"/>
              </c:ext>
            </c:extLst>
          </c:dPt>
          <c:dPt>
            <c:idx val="325"/>
            <c:invertIfNegative val="1"/>
            <c:bubble3D val="0"/>
            <c:spPr>
              <a:solidFill>
                <a:srgbClr val="AEABAB"/>
              </a:solidFill>
            </c:spPr>
            <c:extLst>
              <c:ext xmlns:c16="http://schemas.microsoft.com/office/drawing/2014/chart" uri="{C3380CC4-5D6E-409C-BE32-E72D297353CC}">
                <c16:uniqueId val="{0000028D-B9F8-419D-9354-C797D15419D1}"/>
              </c:ext>
            </c:extLst>
          </c:dPt>
          <c:dPt>
            <c:idx val="326"/>
            <c:invertIfNegative val="1"/>
            <c:bubble3D val="0"/>
            <c:spPr>
              <a:solidFill>
                <a:srgbClr val="AEABAB"/>
              </a:solidFill>
            </c:spPr>
            <c:extLst>
              <c:ext xmlns:c16="http://schemas.microsoft.com/office/drawing/2014/chart" uri="{C3380CC4-5D6E-409C-BE32-E72D297353CC}">
                <c16:uniqueId val="{0000028F-B9F8-419D-9354-C797D15419D1}"/>
              </c:ext>
            </c:extLst>
          </c:dPt>
          <c:dPt>
            <c:idx val="327"/>
            <c:invertIfNegative val="1"/>
            <c:bubble3D val="0"/>
            <c:spPr>
              <a:solidFill>
                <a:srgbClr val="AEABAB"/>
              </a:solidFill>
            </c:spPr>
            <c:extLst>
              <c:ext xmlns:c16="http://schemas.microsoft.com/office/drawing/2014/chart" uri="{C3380CC4-5D6E-409C-BE32-E72D297353CC}">
                <c16:uniqueId val="{00000291-B9F8-419D-9354-C797D15419D1}"/>
              </c:ext>
            </c:extLst>
          </c:dPt>
          <c:dPt>
            <c:idx val="328"/>
            <c:invertIfNegative val="1"/>
            <c:bubble3D val="0"/>
            <c:spPr>
              <a:solidFill>
                <a:srgbClr val="AEABAB"/>
              </a:solidFill>
            </c:spPr>
            <c:extLst>
              <c:ext xmlns:c16="http://schemas.microsoft.com/office/drawing/2014/chart" uri="{C3380CC4-5D6E-409C-BE32-E72D297353CC}">
                <c16:uniqueId val="{00000293-B9F8-419D-9354-C797D15419D1}"/>
              </c:ext>
            </c:extLst>
          </c:dPt>
          <c:dPt>
            <c:idx val="329"/>
            <c:invertIfNegative val="1"/>
            <c:bubble3D val="0"/>
            <c:spPr>
              <a:solidFill>
                <a:srgbClr val="AEABAB"/>
              </a:solidFill>
            </c:spPr>
            <c:extLst>
              <c:ext xmlns:c16="http://schemas.microsoft.com/office/drawing/2014/chart" uri="{C3380CC4-5D6E-409C-BE32-E72D297353CC}">
                <c16:uniqueId val="{00000295-B9F8-419D-9354-C797D15419D1}"/>
              </c:ext>
            </c:extLst>
          </c:dPt>
          <c:dPt>
            <c:idx val="330"/>
            <c:invertIfNegative val="1"/>
            <c:bubble3D val="0"/>
            <c:spPr>
              <a:solidFill>
                <a:srgbClr val="AEABAB"/>
              </a:solidFill>
            </c:spPr>
            <c:extLst>
              <c:ext xmlns:c16="http://schemas.microsoft.com/office/drawing/2014/chart" uri="{C3380CC4-5D6E-409C-BE32-E72D297353CC}">
                <c16:uniqueId val="{00000297-B9F8-419D-9354-C797D15419D1}"/>
              </c:ext>
            </c:extLst>
          </c:dPt>
          <c:dPt>
            <c:idx val="331"/>
            <c:invertIfNegative val="1"/>
            <c:bubble3D val="0"/>
            <c:spPr>
              <a:solidFill>
                <a:srgbClr val="AEABAB"/>
              </a:solidFill>
            </c:spPr>
            <c:extLst>
              <c:ext xmlns:c16="http://schemas.microsoft.com/office/drawing/2014/chart" uri="{C3380CC4-5D6E-409C-BE32-E72D297353CC}">
                <c16:uniqueId val="{00000299-B9F8-419D-9354-C797D15419D1}"/>
              </c:ext>
            </c:extLst>
          </c:dPt>
          <c:dPt>
            <c:idx val="332"/>
            <c:invertIfNegative val="1"/>
            <c:bubble3D val="0"/>
            <c:spPr>
              <a:solidFill>
                <a:srgbClr val="AEABAB"/>
              </a:solidFill>
            </c:spPr>
            <c:extLst>
              <c:ext xmlns:c16="http://schemas.microsoft.com/office/drawing/2014/chart" uri="{C3380CC4-5D6E-409C-BE32-E72D297353CC}">
                <c16:uniqueId val="{0000029B-B9F8-419D-9354-C797D15419D1}"/>
              </c:ext>
            </c:extLst>
          </c:dPt>
          <c:dPt>
            <c:idx val="333"/>
            <c:invertIfNegative val="1"/>
            <c:bubble3D val="0"/>
            <c:spPr>
              <a:solidFill>
                <a:srgbClr val="AEABAB"/>
              </a:solidFill>
            </c:spPr>
            <c:extLst>
              <c:ext xmlns:c16="http://schemas.microsoft.com/office/drawing/2014/chart" uri="{C3380CC4-5D6E-409C-BE32-E72D297353CC}">
                <c16:uniqueId val="{0000029D-B9F8-419D-9354-C797D15419D1}"/>
              </c:ext>
            </c:extLst>
          </c:dPt>
          <c:dPt>
            <c:idx val="334"/>
            <c:invertIfNegative val="1"/>
            <c:bubble3D val="0"/>
            <c:spPr>
              <a:solidFill>
                <a:srgbClr val="AEABAB"/>
              </a:solidFill>
            </c:spPr>
            <c:extLst>
              <c:ext xmlns:c16="http://schemas.microsoft.com/office/drawing/2014/chart" uri="{C3380CC4-5D6E-409C-BE32-E72D297353CC}">
                <c16:uniqueId val="{0000029F-B9F8-419D-9354-C797D15419D1}"/>
              </c:ext>
            </c:extLst>
          </c:dPt>
          <c:dPt>
            <c:idx val="335"/>
            <c:invertIfNegative val="1"/>
            <c:bubble3D val="0"/>
            <c:spPr>
              <a:solidFill>
                <a:srgbClr val="AEABAB"/>
              </a:solidFill>
            </c:spPr>
            <c:extLst>
              <c:ext xmlns:c16="http://schemas.microsoft.com/office/drawing/2014/chart" uri="{C3380CC4-5D6E-409C-BE32-E72D297353CC}">
                <c16:uniqueId val="{000002A1-B9F8-419D-9354-C797D15419D1}"/>
              </c:ext>
            </c:extLst>
          </c:dPt>
          <c:dPt>
            <c:idx val="336"/>
            <c:invertIfNegative val="1"/>
            <c:bubble3D val="0"/>
            <c:spPr>
              <a:solidFill>
                <a:srgbClr val="AEABAB"/>
              </a:solidFill>
            </c:spPr>
            <c:extLst>
              <c:ext xmlns:c16="http://schemas.microsoft.com/office/drawing/2014/chart" uri="{C3380CC4-5D6E-409C-BE32-E72D297353CC}">
                <c16:uniqueId val="{000002A3-B9F8-419D-9354-C797D15419D1}"/>
              </c:ext>
            </c:extLst>
          </c:dPt>
          <c:dPt>
            <c:idx val="337"/>
            <c:invertIfNegative val="1"/>
            <c:bubble3D val="0"/>
            <c:spPr>
              <a:solidFill>
                <a:srgbClr val="AEABAB"/>
              </a:solidFill>
            </c:spPr>
            <c:extLst>
              <c:ext xmlns:c16="http://schemas.microsoft.com/office/drawing/2014/chart" uri="{C3380CC4-5D6E-409C-BE32-E72D297353CC}">
                <c16:uniqueId val="{000002A5-B9F8-419D-9354-C797D15419D1}"/>
              </c:ext>
            </c:extLst>
          </c:dPt>
          <c:dPt>
            <c:idx val="338"/>
            <c:invertIfNegative val="1"/>
            <c:bubble3D val="0"/>
            <c:spPr>
              <a:solidFill>
                <a:srgbClr val="AEABAB"/>
              </a:solidFill>
            </c:spPr>
            <c:extLst>
              <c:ext xmlns:c16="http://schemas.microsoft.com/office/drawing/2014/chart" uri="{C3380CC4-5D6E-409C-BE32-E72D297353CC}">
                <c16:uniqueId val="{000002A7-B9F8-419D-9354-C797D15419D1}"/>
              </c:ext>
            </c:extLst>
          </c:dPt>
          <c:dPt>
            <c:idx val="339"/>
            <c:invertIfNegative val="1"/>
            <c:bubble3D val="0"/>
            <c:spPr>
              <a:solidFill>
                <a:srgbClr val="AEABAB"/>
              </a:solidFill>
            </c:spPr>
            <c:extLst>
              <c:ext xmlns:c16="http://schemas.microsoft.com/office/drawing/2014/chart" uri="{C3380CC4-5D6E-409C-BE32-E72D297353CC}">
                <c16:uniqueId val="{000002A9-B9F8-419D-9354-C797D15419D1}"/>
              </c:ext>
            </c:extLst>
          </c:dPt>
          <c:dPt>
            <c:idx val="340"/>
            <c:invertIfNegative val="1"/>
            <c:bubble3D val="0"/>
            <c:spPr>
              <a:solidFill>
                <a:srgbClr val="AEABAB"/>
              </a:solidFill>
            </c:spPr>
            <c:extLst>
              <c:ext xmlns:c16="http://schemas.microsoft.com/office/drawing/2014/chart" uri="{C3380CC4-5D6E-409C-BE32-E72D297353CC}">
                <c16:uniqueId val="{000002AB-B9F8-419D-9354-C797D15419D1}"/>
              </c:ext>
            </c:extLst>
          </c:dPt>
          <c:dPt>
            <c:idx val="341"/>
            <c:invertIfNegative val="1"/>
            <c:bubble3D val="0"/>
            <c:spPr>
              <a:solidFill>
                <a:srgbClr val="AEABAB"/>
              </a:solidFill>
            </c:spPr>
            <c:extLst>
              <c:ext xmlns:c16="http://schemas.microsoft.com/office/drawing/2014/chart" uri="{C3380CC4-5D6E-409C-BE32-E72D297353CC}">
                <c16:uniqueId val="{000002AD-B9F8-419D-9354-C797D15419D1}"/>
              </c:ext>
            </c:extLst>
          </c:dPt>
          <c:dPt>
            <c:idx val="342"/>
            <c:invertIfNegative val="1"/>
            <c:bubble3D val="0"/>
            <c:spPr>
              <a:solidFill>
                <a:srgbClr val="AEABAB"/>
              </a:solidFill>
            </c:spPr>
            <c:extLst>
              <c:ext xmlns:c16="http://schemas.microsoft.com/office/drawing/2014/chart" uri="{C3380CC4-5D6E-409C-BE32-E72D297353CC}">
                <c16:uniqueId val="{000002AF-B9F8-419D-9354-C797D15419D1}"/>
              </c:ext>
            </c:extLst>
          </c:dPt>
          <c:dPt>
            <c:idx val="343"/>
            <c:invertIfNegative val="1"/>
            <c:bubble3D val="0"/>
            <c:spPr>
              <a:solidFill>
                <a:srgbClr val="AEABAB"/>
              </a:solidFill>
            </c:spPr>
            <c:extLst>
              <c:ext xmlns:c16="http://schemas.microsoft.com/office/drawing/2014/chart" uri="{C3380CC4-5D6E-409C-BE32-E72D297353CC}">
                <c16:uniqueId val="{000002B1-B9F8-419D-9354-C797D15419D1}"/>
              </c:ext>
            </c:extLst>
          </c:dPt>
          <c:dPt>
            <c:idx val="344"/>
            <c:invertIfNegative val="1"/>
            <c:bubble3D val="0"/>
            <c:spPr>
              <a:solidFill>
                <a:srgbClr val="AEABAB"/>
              </a:solidFill>
            </c:spPr>
            <c:extLst>
              <c:ext xmlns:c16="http://schemas.microsoft.com/office/drawing/2014/chart" uri="{C3380CC4-5D6E-409C-BE32-E72D297353CC}">
                <c16:uniqueId val="{000002B3-B9F8-419D-9354-C797D15419D1}"/>
              </c:ext>
            </c:extLst>
          </c:dPt>
          <c:dPt>
            <c:idx val="345"/>
            <c:invertIfNegative val="1"/>
            <c:bubble3D val="0"/>
            <c:spPr>
              <a:solidFill>
                <a:srgbClr val="AEABAB"/>
              </a:solidFill>
            </c:spPr>
            <c:extLst>
              <c:ext xmlns:c16="http://schemas.microsoft.com/office/drawing/2014/chart" uri="{C3380CC4-5D6E-409C-BE32-E72D297353CC}">
                <c16:uniqueId val="{000002B5-B9F8-419D-9354-C797D15419D1}"/>
              </c:ext>
            </c:extLst>
          </c:dPt>
          <c:dPt>
            <c:idx val="346"/>
            <c:invertIfNegative val="1"/>
            <c:bubble3D val="0"/>
            <c:spPr>
              <a:solidFill>
                <a:srgbClr val="AEABAB"/>
              </a:solidFill>
            </c:spPr>
            <c:extLst>
              <c:ext xmlns:c16="http://schemas.microsoft.com/office/drawing/2014/chart" uri="{C3380CC4-5D6E-409C-BE32-E72D297353CC}">
                <c16:uniqueId val="{000002B7-B9F8-419D-9354-C797D15419D1}"/>
              </c:ext>
            </c:extLst>
          </c:dPt>
          <c:dPt>
            <c:idx val="347"/>
            <c:invertIfNegative val="1"/>
            <c:bubble3D val="0"/>
            <c:spPr>
              <a:solidFill>
                <a:srgbClr val="AEABAB"/>
              </a:solidFill>
            </c:spPr>
            <c:extLst>
              <c:ext xmlns:c16="http://schemas.microsoft.com/office/drawing/2014/chart" uri="{C3380CC4-5D6E-409C-BE32-E72D297353CC}">
                <c16:uniqueId val="{000002B9-B9F8-419D-9354-C797D15419D1}"/>
              </c:ext>
            </c:extLst>
          </c:dPt>
          <c:dPt>
            <c:idx val="348"/>
            <c:invertIfNegative val="1"/>
            <c:bubble3D val="0"/>
            <c:spPr>
              <a:solidFill>
                <a:srgbClr val="AEABAB"/>
              </a:solidFill>
            </c:spPr>
            <c:extLst>
              <c:ext xmlns:c16="http://schemas.microsoft.com/office/drawing/2014/chart" uri="{C3380CC4-5D6E-409C-BE32-E72D297353CC}">
                <c16:uniqueId val="{000002BB-B9F8-419D-9354-C797D15419D1}"/>
              </c:ext>
            </c:extLst>
          </c:dPt>
          <c:dPt>
            <c:idx val="349"/>
            <c:invertIfNegative val="1"/>
            <c:bubble3D val="0"/>
            <c:spPr>
              <a:solidFill>
                <a:srgbClr val="AEABAB"/>
              </a:solidFill>
            </c:spPr>
            <c:extLst>
              <c:ext xmlns:c16="http://schemas.microsoft.com/office/drawing/2014/chart" uri="{C3380CC4-5D6E-409C-BE32-E72D297353CC}">
                <c16:uniqueId val="{000002BD-B9F8-419D-9354-C797D15419D1}"/>
              </c:ext>
            </c:extLst>
          </c:dPt>
          <c:dPt>
            <c:idx val="350"/>
            <c:invertIfNegative val="1"/>
            <c:bubble3D val="0"/>
            <c:spPr>
              <a:solidFill>
                <a:srgbClr val="AEABAB"/>
              </a:solidFill>
            </c:spPr>
            <c:extLst>
              <c:ext xmlns:c16="http://schemas.microsoft.com/office/drawing/2014/chart" uri="{C3380CC4-5D6E-409C-BE32-E72D297353CC}">
                <c16:uniqueId val="{000002BF-B9F8-419D-9354-C797D15419D1}"/>
              </c:ext>
            </c:extLst>
          </c:dPt>
          <c:dPt>
            <c:idx val="351"/>
            <c:invertIfNegative val="1"/>
            <c:bubble3D val="0"/>
            <c:spPr>
              <a:solidFill>
                <a:srgbClr val="AEABAB"/>
              </a:solidFill>
            </c:spPr>
            <c:extLst>
              <c:ext xmlns:c16="http://schemas.microsoft.com/office/drawing/2014/chart" uri="{C3380CC4-5D6E-409C-BE32-E72D297353CC}">
                <c16:uniqueId val="{000002C1-B9F8-419D-9354-C797D15419D1}"/>
              </c:ext>
            </c:extLst>
          </c:dPt>
          <c:dPt>
            <c:idx val="352"/>
            <c:invertIfNegative val="1"/>
            <c:bubble3D val="0"/>
            <c:spPr>
              <a:solidFill>
                <a:srgbClr val="AEABAB"/>
              </a:solidFill>
            </c:spPr>
            <c:extLst>
              <c:ext xmlns:c16="http://schemas.microsoft.com/office/drawing/2014/chart" uri="{C3380CC4-5D6E-409C-BE32-E72D297353CC}">
                <c16:uniqueId val="{000002C3-B9F8-419D-9354-C797D15419D1}"/>
              </c:ext>
            </c:extLst>
          </c:dPt>
          <c:dPt>
            <c:idx val="353"/>
            <c:invertIfNegative val="1"/>
            <c:bubble3D val="0"/>
            <c:spPr>
              <a:solidFill>
                <a:srgbClr val="AEABAB"/>
              </a:solidFill>
            </c:spPr>
            <c:extLst>
              <c:ext xmlns:c16="http://schemas.microsoft.com/office/drawing/2014/chart" uri="{C3380CC4-5D6E-409C-BE32-E72D297353CC}">
                <c16:uniqueId val="{000002C5-B9F8-419D-9354-C797D15419D1}"/>
              </c:ext>
            </c:extLst>
          </c:dPt>
          <c:dPt>
            <c:idx val="354"/>
            <c:invertIfNegative val="1"/>
            <c:bubble3D val="0"/>
            <c:spPr>
              <a:solidFill>
                <a:srgbClr val="AEABAB"/>
              </a:solidFill>
            </c:spPr>
            <c:extLst>
              <c:ext xmlns:c16="http://schemas.microsoft.com/office/drawing/2014/chart" uri="{C3380CC4-5D6E-409C-BE32-E72D297353CC}">
                <c16:uniqueId val="{000002C7-B9F8-419D-9354-C797D15419D1}"/>
              </c:ext>
            </c:extLst>
          </c:dPt>
          <c:dPt>
            <c:idx val="355"/>
            <c:invertIfNegative val="1"/>
            <c:bubble3D val="0"/>
            <c:spPr>
              <a:solidFill>
                <a:srgbClr val="AEABAB"/>
              </a:solidFill>
            </c:spPr>
            <c:extLst>
              <c:ext xmlns:c16="http://schemas.microsoft.com/office/drawing/2014/chart" uri="{C3380CC4-5D6E-409C-BE32-E72D297353CC}">
                <c16:uniqueId val="{000002C9-B9F8-419D-9354-C797D15419D1}"/>
              </c:ext>
            </c:extLst>
          </c:dPt>
          <c:dPt>
            <c:idx val="356"/>
            <c:invertIfNegative val="1"/>
            <c:bubble3D val="0"/>
            <c:spPr>
              <a:solidFill>
                <a:srgbClr val="AEABAB"/>
              </a:solidFill>
            </c:spPr>
            <c:extLst>
              <c:ext xmlns:c16="http://schemas.microsoft.com/office/drawing/2014/chart" uri="{C3380CC4-5D6E-409C-BE32-E72D297353CC}">
                <c16:uniqueId val="{000002CB-B9F8-419D-9354-C797D15419D1}"/>
              </c:ext>
            </c:extLst>
          </c:dPt>
          <c:dPt>
            <c:idx val="357"/>
            <c:invertIfNegative val="1"/>
            <c:bubble3D val="0"/>
            <c:spPr>
              <a:solidFill>
                <a:srgbClr val="AEABAB"/>
              </a:solidFill>
            </c:spPr>
            <c:extLst>
              <c:ext xmlns:c16="http://schemas.microsoft.com/office/drawing/2014/chart" uri="{C3380CC4-5D6E-409C-BE32-E72D297353CC}">
                <c16:uniqueId val="{000002CD-B9F8-419D-9354-C797D15419D1}"/>
              </c:ext>
            </c:extLst>
          </c:dPt>
          <c:dPt>
            <c:idx val="358"/>
            <c:invertIfNegative val="1"/>
            <c:bubble3D val="0"/>
            <c:spPr>
              <a:solidFill>
                <a:srgbClr val="AEABAB"/>
              </a:solidFill>
            </c:spPr>
            <c:extLst>
              <c:ext xmlns:c16="http://schemas.microsoft.com/office/drawing/2014/chart" uri="{C3380CC4-5D6E-409C-BE32-E72D297353CC}">
                <c16:uniqueId val="{000002CF-B9F8-419D-9354-C797D15419D1}"/>
              </c:ext>
            </c:extLst>
          </c:dPt>
          <c:dPt>
            <c:idx val="359"/>
            <c:invertIfNegative val="1"/>
            <c:bubble3D val="0"/>
            <c:spPr>
              <a:solidFill>
                <a:srgbClr val="AEABAB"/>
              </a:solidFill>
            </c:spPr>
            <c:extLst>
              <c:ext xmlns:c16="http://schemas.microsoft.com/office/drawing/2014/chart" uri="{C3380CC4-5D6E-409C-BE32-E72D297353CC}">
                <c16:uniqueId val="{000002D1-B9F8-419D-9354-C797D15419D1}"/>
              </c:ext>
            </c:extLst>
          </c:dPt>
          <c:dPt>
            <c:idx val="360"/>
            <c:invertIfNegative val="1"/>
            <c:bubble3D val="0"/>
            <c:spPr>
              <a:solidFill>
                <a:srgbClr val="AEABAB"/>
              </a:solidFill>
            </c:spPr>
            <c:extLst>
              <c:ext xmlns:c16="http://schemas.microsoft.com/office/drawing/2014/chart" uri="{C3380CC4-5D6E-409C-BE32-E72D297353CC}">
                <c16:uniqueId val="{000002D3-B9F8-419D-9354-C797D15419D1}"/>
              </c:ext>
            </c:extLst>
          </c:dPt>
          <c:dPt>
            <c:idx val="361"/>
            <c:invertIfNegative val="1"/>
            <c:bubble3D val="0"/>
            <c:spPr>
              <a:solidFill>
                <a:srgbClr val="AEABAB"/>
              </a:solidFill>
            </c:spPr>
            <c:extLst>
              <c:ext xmlns:c16="http://schemas.microsoft.com/office/drawing/2014/chart" uri="{C3380CC4-5D6E-409C-BE32-E72D297353CC}">
                <c16:uniqueId val="{000002D5-B9F8-419D-9354-C797D15419D1}"/>
              </c:ext>
            </c:extLst>
          </c:dPt>
          <c:dPt>
            <c:idx val="362"/>
            <c:invertIfNegative val="1"/>
            <c:bubble3D val="0"/>
            <c:spPr>
              <a:solidFill>
                <a:srgbClr val="AEABAB"/>
              </a:solidFill>
            </c:spPr>
            <c:extLst>
              <c:ext xmlns:c16="http://schemas.microsoft.com/office/drawing/2014/chart" uri="{C3380CC4-5D6E-409C-BE32-E72D297353CC}">
                <c16:uniqueId val="{000002D7-B9F8-419D-9354-C797D15419D1}"/>
              </c:ext>
            </c:extLst>
          </c:dPt>
          <c:dPt>
            <c:idx val="363"/>
            <c:invertIfNegative val="1"/>
            <c:bubble3D val="0"/>
            <c:spPr>
              <a:solidFill>
                <a:srgbClr val="AEABAB"/>
              </a:solidFill>
            </c:spPr>
            <c:extLst>
              <c:ext xmlns:c16="http://schemas.microsoft.com/office/drawing/2014/chart" uri="{C3380CC4-5D6E-409C-BE32-E72D297353CC}">
                <c16:uniqueId val="{000002D9-B9F8-419D-9354-C797D15419D1}"/>
              </c:ext>
            </c:extLst>
          </c:dPt>
          <c:dPt>
            <c:idx val="364"/>
            <c:invertIfNegative val="1"/>
            <c:bubble3D val="0"/>
            <c:spPr>
              <a:solidFill>
                <a:srgbClr val="AEABAB"/>
              </a:solidFill>
            </c:spPr>
            <c:extLst>
              <c:ext xmlns:c16="http://schemas.microsoft.com/office/drawing/2014/chart" uri="{C3380CC4-5D6E-409C-BE32-E72D297353CC}">
                <c16:uniqueId val="{000002DB-B9F8-419D-9354-C797D15419D1}"/>
              </c:ext>
            </c:extLst>
          </c:dPt>
          <c:dPt>
            <c:idx val="365"/>
            <c:invertIfNegative val="1"/>
            <c:bubble3D val="0"/>
            <c:spPr>
              <a:solidFill>
                <a:srgbClr val="AEABAB"/>
              </a:solidFill>
            </c:spPr>
            <c:extLst>
              <c:ext xmlns:c16="http://schemas.microsoft.com/office/drawing/2014/chart" uri="{C3380CC4-5D6E-409C-BE32-E72D297353CC}">
                <c16:uniqueId val="{000002DD-B9F8-419D-9354-C797D15419D1}"/>
              </c:ext>
            </c:extLst>
          </c:dPt>
          <c:dPt>
            <c:idx val="366"/>
            <c:invertIfNegative val="1"/>
            <c:bubble3D val="0"/>
            <c:spPr>
              <a:solidFill>
                <a:srgbClr val="AEABAB"/>
              </a:solidFill>
            </c:spPr>
            <c:extLst>
              <c:ext xmlns:c16="http://schemas.microsoft.com/office/drawing/2014/chart" uri="{C3380CC4-5D6E-409C-BE32-E72D297353CC}">
                <c16:uniqueId val="{000002DF-B9F8-419D-9354-C797D15419D1}"/>
              </c:ext>
            </c:extLst>
          </c:dPt>
          <c:dPt>
            <c:idx val="367"/>
            <c:invertIfNegative val="1"/>
            <c:bubble3D val="0"/>
            <c:spPr>
              <a:solidFill>
                <a:srgbClr val="AEABAB"/>
              </a:solidFill>
            </c:spPr>
            <c:extLst>
              <c:ext xmlns:c16="http://schemas.microsoft.com/office/drawing/2014/chart" uri="{C3380CC4-5D6E-409C-BE32-E72D297353CC}">
                <c16:uniqueId val="{000002E1-B9F8-419D-9354-C797D15419D1}"/>
              </c:ext>
            </c:extLst>
          </c:dPt>
          <c:dPt>
            <c:idx val="368"/>
            <c:invertIfNegative val="1"/>
            <c:bubble3D val="0"/>
            <c:spPr>
              <a:solidFill>
                <a:srgbClr val="AEABAB"/>
              </a:solidFill>
            </c:spPr>
            <c:extLst>
              <c:ext xmlns:c16="http://schemas.microsoft.com/office/drawing/2014/chart" uri="{C3380CC4-5D6E-409C-BE32-E72D297353CC}">
                <c16:uniqueId val="{000002E3-B9F8-419D-9354-C797D15419D1}"/>
              </c:ext>
            </c:extLst>
          </c:dPt>
          <c:dPt>
            <c:idx val="369"/>
            <c:invertIfNegative val="1"/>
            <c:bubble3D val="0"/>
            <c:spPr>
              <a:solidFill>
                <a:srgbClr val="AEABAB"/>
              </a:solidFill>
            </c:spPr>
            <c:extLst>
              <c:ext xmlns:c16="http://schemas.microsoft.com/office/drawing/2014/chart" uri="{C3380CC4-5D6E-409C-BE32-E72D297353CC}">
                <c16:uniqueId val="{000002E5-B9F8-419D-9354-C797D15419D1}"/>
              </c:ext>
            </c:extLst>
          </c:dPt>
          <c:dPt>
            <c:idx val="370"/>
            <c:invertIfNegative val="1"/>
            <c:bubble3D val="0"/>
            <c:spPr>
              <a:solidFill>
                <a:srgbClr val="AEABAB"/>
              </a:solidFill>
            </c:spPr>
            <c:extLst>
              <c:ext xmlns:c16="http://schemas.microsoft.com/office/drawing/2014/chart" uri="{C3380CC4-5D6E-409C-BE32-E72D297353CC}">
                <c16:uniqueId val="{000002E7-B9F8-419D-9354-C797D15419D1}"/>
              </c:ext>
            </c:extLst>
          </c:dPt>
          <c:dPt>
            <c:idx val="371"/>
            <c:invertIfNegative val="1"/>
            <c:bubble3D val="0"/>
            <c:spPr>
              <a:solidFill>
                <a:srgbClr val="AEABAB"/>
              </a:solidFill>
            </c:spPr>
            <c:extLst>
              <c:ext xmlns:c16="http://schemas.microsoft.com/office/drawing/2014/chart" uri="{C3380CC4-5D6E-409C-BE32-E72D297353CC}">
                <c16:uniqueId val="{000002E9-B9F8-419D-9354-C797D15419D1}"/>
              </c:ext>
            </c:extLst>
          </c:dPt>
          <c:dPt>
            <c:idx val="372"/>
            <c:invertIfNegative val="1"/>
            <c:bubble3D val="0"/>
            <c:spPr>
              <a:solidFill>
                <a:srgbClr val="AEABAB"/>
              </a:solidFill>
            </c:spPr>
            <c:extLst>
              <c:ext xmlns:c16="http://schemas.microsoft.com/office/drawing/2014/chart" uri="{C3380CC4-5D6E-409C-BE32-E72D297353CC}">
                <c16:uniqueId val="{000002EB-B9F8-419D-9354-C797D15419D1}"/>
              </c:ext>
            </c:extLst>
          </c:dPt>
          <c:dPt>
            <c:idx val="373"/>
            <c:invertIfNegative val="1"/>
            <c:bubble3D val="0"/>
            <c:spPr>
              <a:solidFill>
                <a:srgbClr val="AEABAB"/>
              </a:solidFill>
            </c:spPr>
            <c:extLst>
              <c:ext xmlns:c16="http://schemas.microsoft.com/office/drawing/2014/chart" uri="{C3380CC4-5D6E-409C-BE32-E72D297353CC}">
                <c16:uniqueId val="{000002ED-B9F8-419D-9354-C797D15419D1}"/>
              </c:ext>
            </c:extLst>
          </c:dPt>
          <c:dPt>
            <c:idx val="374"/>
            <c:invertIfNegative val="1"/>
            <c:bubble3D val="0"/>
            <c:spPr>
              <a:solidFill>
                <a:srgbClr val="AEABAB"/>
              </a:solidFill>
            </c:spPr>
            <c:extLst>
              <c:ext xmlns:c16="http://schemas.microsoft.com/office/drawing/2014/chart" uri="{C3380CC4-5D6E-409C-BE32-E72D297353CC}">
                <c16:uniqueId val="{000002EF-B9F8-419D-9354-C797D15419D1}"/>
              </c:ext>
            </c:extLst>
          </c:dPt>
          <c:dPt>
            <c:idx val="375"/>
            <c:invertIfNegative val="1"/>
            <c:bubble3D val="0"/>
            <c:spPr>
              <a:solidFill>
                <a:srgbClr val="AEABAB"/>
              </a:solidFill>
            </c:spPr>
            <c:extLst>
              <c:ext xmlns:c16="http://schemas.microsoft.com/office/drawing/2014/chart" uri="{C3380CC4-5D6E-409C-BE32-E72D297353CC}">
                <c16:uniqueId val="{000002F1-B9F8-419D-9354-C797D15419D1}"/>
              </c:ext>
            </c:extLst>
          </c:dPt>
          <c:dPt>
            <c:idx val="376"/>
            <c:invertIfNegative val="1"/>
            <c:bubble3D val="0"/>
            <c:spPr>
              <a:solidFill>
                <a:srgbClr val="AEABAB"/>
              </a:solidFill>
            </c:spPr>
            <c:extLst>
              <c:ext xmlns:c16="http://schemas.microsoft.com/office/drawing/2014/chart" uri="{C3380CC4-5D6E-409C-BE32-E72D297353CC}">
                <c16:uniqueId val="{000002F3-B9F8-419D-9354-C797D15419D1}"/>
              </c:ext>
            </c:extLst>
          </c:dPt>
          <c:dPt>
            <c:idx val="377"/>
            <c:invertIfNegative val="1"/>
            <c:bubble3D val="0"/>
            <c:spPr>
              <a:solidFill>
                <a:srgbClr val="AEABAB"/>
              </a:solidFill>
            </c:spPr>
            <c:extLst>
              <c:ext xmlns:c16="http://schemas.microsoft.com/office/drawing/2014/chart" uri="{C3380CC4-5D6E-409C-BE32-E72D297353CC}">
                <c16:uniqueId val="{000002F5-B9F8-419D-9354-C797D15419D1}"/>
              </c:ext>
            </c:extLst>
          </c:dPt>
          <c:dPt>
            <c:idx val="378"/>
            <c:invertIfNegative val="1"/>
            <c:bubble3D val="0"/>
            <c:spPr>
              <a:solidFill>
                <a:srgbClr val="AEABAB"/>
              </a:solidFill>
            </c:spPr>
            <c:extLst>
              <c:ext xmlns:c16="http://schemas.microsoft.com/office/drawing/2014/chart" uri="{C3380CC4-5D6E-409C-BE32-E72D297353CC}">
                <c16:uniqueId val="{000002F7-B9F8-419D-9354-C797D15419D1}"/>
              </c:ext>
            </c:extLst>
          </c:dPt>
          <c:dPt>
            <c:idx val="379"/>
            <c:invertIfNegative val="1"/>
            <c:bubble3D val="0"/>
            <c:spPr>
              <a:solidFill>
                <a:srgbClr val="AEABAB"/>
              </a:solidFill>
            </c:spPr>
            <c:extLst>
              <c:ext xmlns:c16="http://schemas.microsoft.com/office/drawing/2014/chart" uri="{C3380CC4-5D6E-409C-BE32-E72D297353CC}">
                <c16:uniqueId val="{000002F9-B9F8-419D-9354-C797D15419D1}"/>
              </c:ext>
            </c:extLst>
          </c:dPt>
          <c:dPt>
            <c:idx val="380"/>
            <c:invertIfNegative val="1"/>
            <c:bubble3D val="0"/>
            <c:spPr>
              <a:solidFill>
                <a:srgbClr val="AEABAB"/>
              </a:solidFill>
            </c:spPr>
            <c:extLst>
              <c:ext xmlns:c16="http://schemas.microsoft.com/office/drawing/2014/chart" uri="{C3380CC4-5D6E-409C-BE32-E72D297353CC}">
                <c16:uniqueId val="{000002FB-B9F8-419D-9354-C797D15419D1}"/>
              </c:ext>
            </c:extLst>
          </c:dPt>
          <c:dPt>
            <c:idx val="381"/>
            <c:invertIfNegative val="1"/>
            <c:bubble3D val="0"/>
            <c:spPr>
              <a:solidFill>
                <a:srgbClr val="AEABAB"/>
              </a:solidFill>
            </c:spPr>
            <c:extLst>
              <c:ext xmlns:c16="http://schemas.microsoft.com/office/drawing/2014/chart" uri="{C3380CC4-5D6E-409C-BE32-E72D297353CC}">
                <c16:uniqueId val="{000002FD-B9F8-419D-9354-C797D15419D1}"/>
              </c:ext>
            </c:extLst>
          </c:dPt>
          <c:dPt>
            <c:idx val="382"/>
            <c:invertIfNegative val="1"/>
            <c:bubble3D val="0"/>
            <c:spPr>
              <a:solidFill>
                <a:srgbClr val="AEABAB"/>
              </a:solidFill>
            </c:spPr>
            <c:extLst>
              <c:ext xmlns:c16="http://schemas.microsoft.com/office/drawing/2014/chart" uri="{C3380CC4-5D6E-409C-BE32-E72D297353CC}">
                <c16:uniqueId val="{000002FF-B9F8-419D-9354-C797D15419D1}"/>
              </c:ext>
            </c:extLst>
          </c:dPt>
          <c:dPt>
            <c:idx val="383"/>
            <c:invertIfNegative val="1"/>
            <c:bubble3D val="0"/>
            <c:spPr>
              <a:solidFill>
                <a:srgbClr val="AEABAB"/>
              </a:solidFill>
            </c:spPr>
            <c:extLst>
              <c:ext xmlns:c16="http://schemas.microsoft.com/office/drawing/2014/chart" uri="{C3380CC4-5D6E-409C-BE32-E72D297353CC}">
                <c16:uniqueId val="{00000301-B9F8-419D-9354-C797D15419D1}"/>
              </c:ext>
            </c:extLst>
          </c:dPt>
          <c:dPt>
            <c:idx val="384"/>
            <c:invertIfNegative val="1"/>
            <c:bubble3D val="0"/>
            <c:spPr>
              <a:solidFill>
                <a:srgbClr val="AEABAB"/>
              </a:solidFill>
            </c:spPr>
            <c:extLst>
              <c:ext xmlns:c16="http://schemas.microsoft.com/office/drawing/2014/chart" uri="{C3380CC4-5D6E-409C-BE32-E72D297353CC}">
                <c16:uniqueId val="{00000303-B9F8-419D-9354-C797D15419D1}"/>
              </c:ext>
            </c:extLst>
          </c:dPt>
          <c:dPt>
            <c:idx val="385"/>
            <c:invertIfNegative val="1"/>
            <c:bubble3D val="0"/>
            <c:spPr>
              <a:solidFill>
                <a:srgbClr val="AEABAB"/>
              </a:solidFill>
            </c:spPr>
            <c:extLst>
              <c:ext xmlns:c16="http://schemas.microsoft.com/office/drawing/2014/chart" uri="{C3380CC4-5D6E-409C-BE32-E72D297353CC}">
                <c16:uniqueId val="{00000305-B9F8-419D-9354-C797D15419D1}"/>
              </c:ext>
            </c:extLst>
          </c:dPt>
          <c:dPt>
            <c:idx val="386"/>
            <c:invertIfNegative val="1"/>
            <c:bubble3D val="0"/>
            <c:spPr>
              <a:solidFill>
                <a:srgbClr val="AEABAB"/>
              </a:solidFill>
            </c:spPr>
            <c:extLst>
              <c:ext xmlns:c16="http://schemas.microsoft.com/office/drawing/2014/chart" uri="{C3380CC4-5D6E-409C-BE32-E72D297353CC}">
                <c16:uniqueId val="{00000307-B9F8-419D-9354-C797D15419D1}"/>
              </c:ext>
            </c:extLst>
          </c:dPt>
          <c:dPt>
            <c:idx val="387"/>
            <c:invertIfNegative val="1"/>
            <c:bubble3D val="0"/>
            <c:spPr>
              <a:solidFill>
                <a:srgbClr val="AEABAB"/>
              </a:solidFill>
            </c:spPr>
            <c:extLst>
              <c:ext xmlns:c16="http://schemas.microsoft.com/office/drawing/2014/chart" uri="{C3380CC4-5D6E-409C-BE32-E72D297353CC}">
                <c16:uniqueId val="{00000309-B9F8-419D-9354-C797D15419D1}"/>
              </c:ext>
            </c:extLst>
          </c:dPt>
          <c:cat>
            <c:strRef>
              <c:f>Sheet1!$A$2:$A$389</c:f>
              <c:strCache>
                <c:ptCount val="388"/>
                <c:pt idx="0">
                  <c:v>Ruinart</c:v>
                </c:pt>
                <c:pt idx="1">
                  <c:v>Nicolas</c:v>
                </c:pt>
                <c:pt idx="2">
                  <c:v>Deutz</c:v>
                </c:pt>
                <c:pt idx="3">
                  <c:v>Heidsieck &amp;</c:v>
                </c:pt>
                <c:pt idx="4">
                  <c:v>Ruinart</c:v>
                </c:pt>
                <c:pt idx="5">
                  <c:v>Malard</c:v>
                </c:pt>
                <c:pt idx="6">
                  <c:v>Laurent Per</c:v>
                </c:pt>
                <c:pt idx="7">
                  <c:v>Ayala</c:v>
                </c:pt>
                <c:pt idx="8">
                  <c:v>De Bligny</c:v>
                </c:pt>
                <c:pt idx="9">
                  <c:v>Nicolas Feu</c:v>
                </c:pt>
                <c:pt idx="10">
                  <c:v>Canard Duch</c:v>
                </c:pt>
                <c:pt idx="11">
                  <c:v>Taittinger</c:v>
                </c:pt>
                <c:pt idx="12">
                  <c:v>Besserat De</c:v>
                </c:pt>
                <c:pt idx="13">
                  <c:v>Bollinger</c:v>
                </c:pt>
                <c:pt idx="14">
                  <c:v>Ruinart</c:v>
                </c:pt>
                <c:pt idx="15">
                  <c:v>Ruinart</c:v>
                </c:pt>
                <c:pt idx="16">
                  <c:v>Perrier Jou</c:v>
                </c:pt>
                <c:pt idx="17">
                  <c:v>Demoiselle</c:v>
                </c:pt>
                <c:pt idx="18">
                  <c:v>All Others</c:v>
                </c:pt>
                <c:pt idx="19">
                  <c:v>Deutz</c:v>
                </c:pt>
                <c:pt idx="20">
                  <c:v>Ruinart</c:v>
                </c:pt>
                <c:pt idx="21">
                  <c:v>All Others</c:v>
                </c:pt>
                <c:pt idx="22">
                  <c:v>Ruinart</c:v>
                </c:pt>
                <c:pt idx="23">
                  <c:v>Vesselle</c:v>
                </c:pt>
                <c:pt idx="24">
                  <c:v>Bottega</c:v>
                </c:pt>
                <c:pt idx="25">
                  <c:v>Roederer</c:v>
                </c:pt>
                <c:pt idx="26">
                  <c:v>Laurent Per</c:v>
                </c:pt>
                <c:pt idx="27">
                  <c:v>Campari: Al</c:v>
                </c:pt>
                <c:pt idx="28">
                  <c:v>Pommery</c:v>
                </c:pt>
                <c:pt idx="29">
                  <c:v>All Others</c:v>
                </c:pt>
                <c:pt idx="30">
                  <c:v>Savian</c:v>
                </c:pt>
                <c:pt idx="31">
                  <c:v>Deutz</c:v>
                </c:pt>
                <c:pt idx="32">
                  <c:v>Malard</c:v>
                </c:pt>
                <c:pt idx="33">
                  <c:v>Veuve Clicq</c:v>
                </c:pt>
                <c:pt idx="34">
                  <c:v>Demoiselle</c:v>
                </c:pt>
                <c:pt idx="35">
                  <c:v>Moët &amp; Chan</c:v>
                </c:pt>
                <c:pt idx="36">
                  <c:v>Henriot</c:v>
                </c:pt>
                <c:pt idx="37">
                  <c:v>Patriarche</c:v>
                </c:pt>
                <c:pt idx="38">
                  <c:v>Mure</c:v>
                </c:pt>
                <c:pt idx="39">
                  <c:v>All Others</c:v>
                </c:pt>
                <c:pt idx="40">
                  <c:v>Savian</c:v>
                </c:pt>
                <c:pt idx="41">
                  <c:v>Nicolas</c:v>
                </c:pt>
                <c:pt idx="42">
                  <c:v>Taittinger</c:v>
                </c:pt>
                <c:pt idx="43">
                  <c:v>De Venoge</c:v>
                </c:pt>
                <c:pt idx="44">
                  <c:v>Dom Perigno</c:v>
                </c:pt>
                <c:pt idx="45">
                  <c:v>De Chanceny</c:v>
                </c:pt>
                <c:pt idx="46">
                  <c:v>Dom Perigno</c:v>
                </c:pt>
                <c:pt idx="47">
                  <c:v>Veuve Clicq</c:v>
                </c:pt>
                <c:pt idx="48">
                  <c:v>Ruinart</c:v>
                </c:pt>
                <c:pt idx="49">
                  <c:v>French Bloo</c:v>
                </c:pt>
                <c:pt idx="50">
                  <c:v>Laurent Per</c:v>
                </c:pt>
                <c:pt idx="51">
                  <c:v>Roederer</c:v>
                </c:pt>
                <c:pt idx="52">
                  <c:v>Veuve Clicq</c:v>
                </c:pt>
                <c:pt idx="53">
                  <c:v>Piper Heids</c:v>
                </c:pt>
                <c:pt idx="54">
                  <c:v>Malard</c:v>
                </c:pt>
                <c:pt idx="55">
                  <c:v>Deutz</c:v>
                </c:pt>
                <c:pt idx="56">
                  <c:v>Bouvet-Ladu</c:v>
                </c:pt>
                <c:pt idx="57">
                  <c:v>Louis Marti</c:v>
                </c:pt>
                <c:pt idx="58">
                  <c:v>Ruinart</c:v>
                </c:pt>
                <c:pt idx="59">
                  <c:v>Ruinart</c:v>
                </c:pt>
                <c:pt idx="60">
                  <c:v>Nicolas</c:v>
                </c:pt>
                <c:pt idx="61">
                  <c:v>Nicolas Feu</c:v>
                </c:pt>
                <c:pt idx="62">
                  <c:v>Nicolas</c:v>
                </c:pt>
                <c:pt idx="63">
                  <c:v>Moët &amp; Chan</c:v>
                </c:pt>
                <c:pt idx="64">
                  <c:v>Lyre's</c:v>
                </c:pt>
                <c:pt idx="65">
                  <c:v>Lanson</c:v>
                </c:pt>
                <c:pt idx="66">
                  <c:v>Nicolas Feu</c:v>
                </c:pt>
                <c:pt idx="67">
                  <c:v>Besserat De</c:v>
                </c:pt>
                <c:pt idx="68">
                  <c:v>Moët &amp; Chan</c:v>
                </c:pt>
                <c:pt idx="69">
                  <c:v>Campari: Al</c:v>
                </c:pt>
                <c:pt idx="70">
                  <c:v>Canard Duch</c:v>
                </c:pt>
                <c:pt idx="71">
                  <c:v>Malard</c:v>
                </c:pt>
                <c:pt idx="72">
                  <c:v>Roederer</c:v>
                </c:pt>
                <c:pt idx="73">
                  <c:v>De Chanceny</c:v>
                </c:pt>
                <c:pt idx="74">
                  <c:v>Henriot</c:v>
                </c:pt>
                <c:pt idx="75">
                  <c:v>Malard</c:v>
                </c:pt>
                <c:pt idx="76">
                  <c:v>Nicolas Feu</c:v>
                </c:pt>
                <c:pt idx="77">
                  <c:v>De Bligny</c:v>
                </c:pt>
                <c:pt idx="78">
                  <c:v>Delamotte</c:v>
                </c:pt>
                <c:pt idx="79">
                  <c:v>Besserat De</c:v>
                </c:pt>
                <c:pt idx="80">
                  <c:v>All Others</c:v>
                </c:pt>
                <c:pt idx="81">
                  <c:v>Bollinger</c:v>
                </c:pt>
                <c:pt idx="82">
                  <c:v>Ruinart</c:v>
                </c:pt>
                <c:pt idx="83">
                  <c:v>Pommery</c:v>
                </c:pt>
                <c:pt idx="84">
                  <c:v>Dom Perigno</c:v>
                </c:pt>
                <c:pt idx="85">
                  <c:v>Henriot</c:v>
                </c:pt>
                <c:pt idx="86">
                  <c:v>Krug</c:v>
                </c:pt>
                <c:pt idx="87">
                  <c:v>Vranken</c:v>
                </c:pt>
                <c:pt idx="88">
                  <c:v>Laurent Per</c:v>
                </c:pt>
                <c:pt idx="89">
                  <c:v>Henriot</c:v>
                </c:pt>
                <c:pt idx="90">
                  <c:v>Patriarche</c:v>
                </c:pt>
                <c:pt idx="91">
                  <c:v>Ayala</c:v>
                </c:pt>
                <c:pt idx="92">
                  <c:v>Roederer</c:v>
                </c:pt>
                <c:pt idx="93">
                  <c:v>De Venoge</c:v>
                </c:pt>
                <c:pt idx="94">
                  <c:v>Roederer</c:v>
                </c:pt>
                <c:pt idx="95">
                  <c:v>De Venoge</c:v>
                </c:pt>
                <c:pt idx="96">
                  <c:v>Kriter</c:v>
                </c:pt>
                <c:pt idx="97">
                  <c:v>Canard Duch</c:v>
                </c:pt>
                <c:pt idx="98">
                  <c:v>Nicolas</c:v>
                </c:pt>
                <c:pt idx="99">
                  <c:v>De Venoge</c:v>
                </c:pt>
                <c:pt idx="100">
                  <c:v>Roederer</c:v>
                </c:pt>
                <c:pt idx="101">
                  <c:v>Bottega</c:v>
                </c:pt>
                <c:pt idx="102">
                  <c:v>Deutz</c:v>
                </c:pt>
                <c:pt idx="103">
                  <c:v>Roederer</c:v>
                </c:pt>
                <c:pt idx="104">
                  <c:v>Bollinger</c:v>
                </c:pt>
                <c:pt idx="105">
                  <c:v>Ruinart</c:v>
                </c:pt>
                <c:pt idx="106">
                  <c:v>Ruinart</c:v>
                </c:pt>
                <c:pt idx="107">
                  <c:v>Nicolas</c:v>
                </c:pt>
                <c:pt idx="108">
                  <c:v>Roederer</c:v>
                </c:pt>
                <c:pt idx="109">
                  <c:v>Ruinart</c:v>
                </c:pt>
                <c:pt idx="110">
                  <c:v>Perrier Jou</c:v>
                </c:pt>
                <c:pt idx="111">
                  <c:v>Ruinart</c:v>
                </c:pt>
                <c:pt idx="112">
                  <c:v>Malard</c:v>
                </c:pt>
                <c:pt idx="113">
                  <c:v>All Others</c:v>
                </c:pt>
                <c:pt idx="114">
                  <c:v>Moët &amp; Chan</c:v>
                </c:pt>
                <c:pt idx="115">
                  <c:v>Roederer</c:v>
                </c:pt>
                <c:pt idx="116">
                  <c:v>Roederer</c:v>
                </c:pt>
                <c:pt idx="117">
                  <c:v>Ruinart</c:v>
                </c:pt>
                <c:pt idx="118">
                  <c:v>Contarini</c:v>
                </c:pt>
                <c:pt idx="119">
                  <c:v>Canard Duch</c:v>
                </c:pt>
                <c:pt idx="120">
                  <c:v>Nicolas Feu</c:v>
                </c:pt>
                <c:pt idx="121">
                  <c:v>Veuve Clicq</c:v>
                </c:pt>
                <c:pt idx="122">
                  <c:v>Cru La Maqu</c:v>
                </c:pt>
                <c:pt idx="123">
                  <c:v>Laurent Per</c:v>
                </c:pt>
                <c:pt idx="124">
                  <c:v>Nicolas</c:v>
                </c:pt>
                <c:pt idx="125">
                  <c:v>Nicolas</c:v>
                </c:pt>
                <c:pt idx="126">
                  <c:v>Perrier Jou</c:v>
                </c:pt>
                <c:pt idx="127">
                  <c:v>All Others</c:v>
                </c:pt>
                <c:pt idx="128">
                  <c:v>Vranken</c:v>
                </c:pt>
                <c:pt idx="129">
                  <c:v>Dom Perigno</c:v>
                </c:pt>
                <c:pt idx="130">
                  <c:v>Nicolas</c:v>
                </c:pt>
                <c:pt idx="131">
                  <c:v>Veuve Clicq</c:v>
                </c:pt>
                <c:pt idx="132">
                  <c:v>All Others</c:v>
                </c:pt>
                <c:pt idx="133">
                  <c:v>Nicolas</c:v>
                </c:pt>
                <c:pt idx="134">
                  <c:v>All Others</c:v>
                </c:pt>
                <c:pt idx="135">
                  <c:v>All Others</c:v>
                </c:pt>
                <c:pt idx="136">
                  <c:v>All Others</c:v>
                </c:pt>
                <c:pt idx="137">
                  <c:v>Nicolas</c:v>
                </c:pt>
                <c:pt idx="138">
                  <c:v>Deutz</c:v>
                </c:pt>
                <c:pt idx="139">
                  <c:v>Roederer</c:v>
                </c:pt>
                <c:pt idx="140">
                  <c:v>All Others</c:v>
                </c:pt>
                <c:pt idx="141">
                  <c:v>Laurent Per</c:v>
                </c:pt>
                <c:pt idx="142">
                  <c:v>Besserat De</c:v>
                </c:pt>
                <c:pt idx="143">
                  <c:v>Canard Duch</c:v>
                </c:pt>
                <c:pt idx="144">
                  <c:v>All Others</c:v>
                </c:pt>
                <c:pt idx="145">
                  <c:v>Bollinger</c:v>
                </c:pt>
                <c:pt idx="146">
                  <c:v>Demoiselle</c:v>
                </c:pt>
                <c:pt idx="147">
                  <c:v>Nicolas</c:v>
                </c:pt>
                <c:pt idx="148">
                  <c:v>Canard Duch</c:v>
                </c:pt>
                <c:pt idx="149">
                  <c:v>Roederer</c:v>
                </c:pt>
                <c:pt idx="150">
                  <c:v>Roederer</c:v>
                </c:pt>
                <c:pt idx="151">
                  <c:v>All Others</c:v>
                </c:pt>
                <c:pt idx="152">
                  <c:v>Pommery</c:v>
                </c:pt>
                <c:pt idx="153">
                  <c:v>Dom Perigno</c:v>
                </c:pt>
                <c:pt idx="154">
                  <c:v>Nicolas</c:v>
                </c:pt>
                <c:pt idx="155">
                  <c:v>Taittinger</c:v>
                </c:pt>
                <c:pt idx="156">
                  <c:v>Nicolas</c:v>
                </c:pt>
                <c:pt idx="157">
                  <c:v>All Others</c:v>
                </c:pt>
                <c:pt idx="158">
                  <c:v>All Others</c:v>
                </c:pt>
                <c:pt idx="159">
                  <c:v>All Others</c:v>
                </c:pt>
                <c:pt idx="160">
                  <c:v>Laurent Per</c:v>
                </c:pt>
                <c:pt idx="161">
                  <c:v>Lanson</c:v>
                </c:pt>
                <c:pt idx="162">
                  <c:v>Vranken</c:v>
                </c:pt>
                <c:pt idx="163">
                  <c:v>Contarini</c:v>
                </c:pt>
                <c:pt idx="164">
                  <c:v>All Others</c:v>
                </c:pt>
                <c:pt idx="165">
                  <c:v>All Others</c:v>
                </c:pt>
                <c:pt idx="166">
                  <c:v>Moët &amp; Chan</c:v>
                </c:pt>
                <c:pt idx="167">
                  <c:v>Louis Marti</c:v>
                </c:pt>
                <c:pt idx="168">
                  <c:v>All Others</c:v>
                </c:pt>
                <c:pt idx="169">
                  <c:v>Roederer</c:v>
                </c:pt>
                <c:pt idx="170">
                  <c:v>All Others</c:v>
                </c:pt>
                <c:pt idx="171">
                  <c:v>Vesselle</c:v>
                </c:pt>
                <c:pt idx="172">
                  <c:v>Pommery</c:v>
                </c:pt>
                <c:pt idx="173">
                  <c:v>Ayala</c:v>
                </c:pt>
                <c:pt idx="174">
                  <c:v>Demoiselle</c:v>
                </c:pt>
                <c:pt idx="175">
                  <c:v>Ruinart</c:v>
                </c:pt>
                <c:pt idx="176">
                  <c:v>Pommery</c:v>
                </c:pt>
                <c:pt idx="177">
                  <c:v>Piper Heids</c:v>
                </c:pt>
                <c:pt idx="178">
                  <c:v>Deutz</c:v>
                </c:pt>
                <c:pt idx="179">
                  <c:v>Nicolas</c:v>
                </c:pt>
                <c:pt idx="180">
                  <c:v>Pommery</c:v>
                </c:pt>
                <c:pt idx="181">
                  <c:v>Laurent Per</c:v>
                </c:pt>
                <c:pt idx="182">
                  <c:v>Deutz</c:v>
                </c:pt>
                <c:pt idx="183">
                  <c:v>Nicolas</c:v>
                </c:pt>
                <c:pt idx="184">
                  <c:v>Ruinart</c:v>
                </c:pt>
                <c:pt idx="185">
                  <c:v>Laurent Per</c:v>
                </c:pt>
                <c:pt idx="186">
                  <c:v>Roederer</c:v>
                </c:pt>
                <c:pt idx="187">
                  <c:v>Ruinart</c:v>
                </c:pt>
                <c:pt idx="188">
                  <c:v>All Others</c:v>
                </c:pt>
                <c:pt idx="189">
                  <c:v>Ruinart</c:v>
                </c:pt>
                <c:pt idx="190">
                  <c:v>Delamotte</c:v>
                </c:pt>
                <c:pt idx="191">
                  <c:v>All Others</c:v>
                </c:pt>
                <c:pt idx="192">
                  <c:v>Nicolas</c:v>
                </c:pt>
                <c:pt idx="193">
                  <c:v>Veuve Clicq</c:v>
                </c:pt>
                <c:pt idx="194">
                  <c:v>Nicolas</c:v>
                </c:pt>
                <c:pt idx="195">
                  <c:v>Pommery</c:v>
                </c:pt>
                <c:pt idx="196">
                  <c:v>Vesselle</c:v>
                </c:pt>
                <c:pt idx="197">
                  <c:v>Taittinger</c:v>
                </c:pt>
                <c:pt idx="198">
                  <c:v>Perrier Jou</c:v>
                </c:pt>
                <c:pt idx="199">
                  <c:v>All Others</c:v>
                </c:pt>
                <c:pt idx="200">
                  <c:v>Taittinger</c:v>
                </c:pt>
                <c:pt idx="201">
                  <c:v>All Others</c:v>
                </c:pt>
                <c:pt idx="202">
                  <c:v>Roederer</c:v>
                </c:pt>
                <c:pt idx="203">
                  <c:v>Bouvet-Ladu</c:v>
                </c:pt>
                <c:pt idx="204">
                  <c:v>Piper Heids</c:v>
                </c:pt>
                <c:pt idx="205">
                  <c:v>Canard Duch</c:v>
                </c:pt>
                <c:pt idx="206">
                  <c:v>Besserat De</c:v>
                </c:pt>
                <c:pt idx="207">
                  <c:v>All Others</c:v>
                </c:pt>
                <c:pt idx="208">
                  <c:v>All Others</c:v>
                </c:pt>
                <c:pt idx="209">
                  <c:v>All Others</c:v>
                </c:pt>
                <c:pt idx="210">
                  <c:v>Bouvet-Ladu</c:v>
                </c:pt>
                <c:pt idx="211">
                  <c:v>All Others</c:v>
                </c:pt>
                <c:pt idx="212">
                  <c:v>Bollinger</c:v>
                </c:pt>
                <c:pt idx="213">
                  <c:v>All Others</c:v>
                </c:pt>
                <c:pt idx="214">
                  <c:v>Ruinart</c:v>
                </c:pt>
                <c:pt idx="215">
                  <c:v>Nicolas</c:v>
                </c:pt>
                <c:pt idx="216">
                  <c:v>Roederer</c:v>
                </c:pt>
                <c:pt idx="217">
                  <c:v>All Others</c:v>
                </c:pt>
                <c:pt idx="218">
                  <c:v>Malard</c:v>
                </c:pt>
                <c:pt idx="219">
                  <c:v>Nicolas</c:v>
                </c:pt>
                <c:pt idx="220">
                  <c:v>All Others</c:v>
                </c:pt>
                <c:pt idx="221">
                  <c:v>Ruinart</c:v>
                </c:pt>
                <c:pt idx="222">
                  <c:v>Roederer</c:v>
                </c:pt>
                <c:pt idx="223">
                  <c:v>All Others</c:v>
                </c:pt>
                <c:pt idx="224">
                  <c:v>Mure</c:v>
                </c:pt>
                <c:pt idx="225">
                  <c:v>Bouvet-Ladu</c:v>
                </c:pt>
                <c:pt idx="226">
                  <c:v>All Others</c:v>
                </c:pt>
                <c:pt idx="227">
                  <c:v>All Others</c:v>
                </c:pt>
                <c:pt idx="228">
                  <c:v>Henriot</c:v>
                </c:pt>
                <c:pt idx="229">
                  <c:v>Piper Heids</c:v>
                </c:pt>
                <c:pt idx="230">
                  <c:v>Canard Duch</c:v>
                </c:pt>
                <c:pt idx="231">
                  <c:v>Henriot</c:v>
                </c:pt>
                <c:pt idx="232">
                  <c:v>Krug</c:v>
                </c:pt>
                <c:pt idx="233">
                  <c:v>Deutz</c:v>
                </c:pt>
                <c:pt idx="234">
                  <c:v>All Others</c:v>
                </c:pt>
                <c:pt idx="235">
                  <c:v>Moët &amp; Chan</c:v>
                </c:pt>
                <c:pt idx="236">
                  <c:v>Celene</c:v>
                </c:pt>
                <c:pt idx="237">
                  <c:v>Deutz</c:v>
                </c:pt>
                <c:pt idx="238">
                  <c:v>All Others</c:v>
                </c:pt>
                <c:pt idx="239">
                  <c:v>Bollinger</c:v>
                </c:pt>
                <c:pt idx="240">
                  <c:v>Nicolas</c:v>
                </c:pt>
                <c:pt idx="241">
                  <c:v>Veuve Clicq</c:v>
                </c:pt>
                <c:pt idx="242">
                  <c:v>Roederer</c:v>
                </c:pt>
                <c:pt idx="243">
                  <c:v>De Venoge</c:v>
                </c:pt>
                <c:pt idx="244">
                  <c:v>Nicolas Feu</c:v>
                </c:pt>
                <c:pt idx="245">
                  <c:v>Laurent Per</c:v>
                </c:pt>
                <c:pt idx="246">
                  <c:v>Ruinart</c:v>
                </c:pt>
                <c:pt idx="247">
                  <c:v>All Others</c:v>
                </c:pt>
                <c:pt idx="248">
                  <c:v>Ruinart</c:v>
                </c:pt>
                <c:pt idx="249">
                  <c:v>Laurent Per</c:v>
                </c:pt>
                <c:pt idx="250">
                  <c:v>Bollinger</c:v>
                </c:pt>
                <c:pt idx="251">
                  <c:v>Roederer</c:v>
                </c:pt>
                <c:pt idx="252">
                  <c:v>All Others</c:v>
                </c:pt>
                <c:pt idx="253">
                  <c:v>Mure</c:v>
                </c:pt>
                <c:pt idx="254">
                  <c:v>De Bligny</c:v>
                </c:pt>
                <c:pt idx="255">
                  <c:v>Ruinart</c:v>
                </c:pt>
                <c:pt idx="256">
                  <c:v>Ruinart</c:v>
                </c:pt>
                <c:pt idx="257">
                  <c:v>Celene</c:v>
                </c:pt>
                <c:pt idx="258">
                  <c:v>Veuve Clicq</c:v>
                </c:pt>
                <c:pt idx="259">
                  <c:v>Roederer</c:v>
                </c:pt>
                <c:pt idx="260">
                  <c:v>Taittinger</c:v>
                </c:pt>
                <c:pt idx="261">
                  <c:v>Ruinart</c:v>
                </c:pt>
                <c:pt idx="262">
                  <c:v>Veuve Clicq</c:v>
                </c:pt>
                <c:pt idx="263">
                  <c:v>All Others</c:v>
                </c:pt>
                <c:pt idx="264">
                  <c:v>All Others</c:v>
                </c:pt>
                <c:pt idx="265">
                  <c:v>Bollinger</c:v>
                </c:pt>
                <c:pt idx="266">
                  <c:v>De Venoge</c:v>
                </c:pt>
                <c:pt idx="267">
                  <c:v>Veuve Clicq</c:v>
                </c:pt>
                <c:pt idx="268">
                  <c:v>Laurent Per</c:v>
                </c:pt>
                <c:pt idx="269">
                  <c:v>De Venoge</c:v>
                </c:pt>
                <c:pt idx="270">
                  <c:v>Laurent Per</c:v>
                </c:pt>
                <c:pt idx="271">
                  <c:v>Bollinger</c:v>
                </c:pt>
                <c:pt idx="272">
                  <c:v>All Others</c:v>
                </c:pt>
                <c:pt idx="273">
                  <c:v>Deutz</c:v>
                </c:pt>
                <c:pt idx="274">
                  <c:v>Bollinger</c:v>
                </c:pt>
                <c:pt idx="275">
                  <c:v>Martel</c:v>
                </c:pt>
                <c:pt idx="276">
                  <c:v>De Venoge</c:v>
                </c:pt>
                <c:pt idx="277">
                  <c:v>All Others</c:v>
                </c:pt>
                <c:pt idx="278">
                  <c:v>Lanson</c:v>
                </c:pt>
                <c:pt idx="279">
                  <c:v>Malard</c:v>
                </c:pt>
                <c:pt idx="280">
                  <c:v>Piper Heids</c:v>
                </c:pt>
                <c:pt idx="281">
                  <c:v>Dom Perigno</c:v>
                </c:pt>
                <c:pt idx="282">
                  <c:v>Deutz</c:v>
                </c:pt>
                <c:pt idx="283">
                  <c:v>Pommery</c:v>
                </c:pt>
                <c:pt idx="284">
                  <c:v>All Others</c:v>
                </c:pt>
                <c:pt idx="285">
                  <c:v>Pommery</c:v>
                </c:pt>
                <c:pt idx="286">
                  <c:v>Roederer</c:v>
                </c:pt>
                <c:pt idx="287">
                  <c:v>Moët &amp; Chan</c:v>
                </c:pt>
                <c:pt idx="288">
                  <c:v>Besserat De</c:v>
                </c:pt>
                <c:pt idx="289">
                  <c:v>All Others</c:v>
                </c:pt>
                <c:pt idx="290">
                  <c:v>Ayala</c:v>
                </c:pt>
                <c:pt idx="291">
                  <c:v>Roederer</c:v>
                </c:pt>
                <c:pt idx="292">
                  <c:v>Deutz</c:v>
                </c:pt>
                <c:pt idx="293">
                  <c:v>All Others</c:v>
                </c:pt>
                <c:pt idx="294">
                  <c:v>Lanson</c:v>
                </c:pt>
                <c:pt idx="295">
                  <c:v>Besserat De</c:v>
                </c:pt>
                <c:pt idx="296">
                  <c:v>Laurent Per</c:v>
                </c:pt>
                <c:pt idx="297">
                  <c:v>All Others</c:v>
                </c:pt>
                <c:pt idx="298">
                  <c:v>Deutz</c:v>
                </c:pt>
                <c:pt idx="299">
                  <c:v>Jaillance</c:v>
                </c:pt>
                <c:pt idx="300">
                  <c:v>All Others</c:v>
                </c:pt>
                <c:pt idx="301">
                  <c:v>Taittinger</c:v>
                </c:pt>
                <c:pt idx="302">
                  <c:v>Dom Perigno</c:v>
                </c:pt>
                <c:pt idx="303">
                  <c:v>Vranken</c:v>
                </c:pt>
                <c:pt idx="304">
                  <c:v>Laurent Per</c:v>
                </c:pt>
                <c:pt idx="305">
                  <c:v>De Venoge</c:v>
                </c:pt>
                <c:pt idx="306">
                  <c:v>Bottega</c:v>
                </c:pt>
                <c:pt idx="307">
                  <c:v>All Others</c:v>
                </c:pt>
                <c:pt idx="308">
                  <c:v>De Venoge</c:v>
                </c:pt>
                <c:pt idx="309">
                  <c:v>All Others</c:v>
                </c:pt>
                <c:pt idx="310">
                  <c:v>Perrier Jou</c:v>
                </c:pt>
                <c:pt idx="311">
                  <c:v>Dom Perigno</c:v>
                </c:pt>
                <c:pt idx="312">
                  <c:v>Ruinart</c:v>
                </c:pt>
                <c:pt idx="313">
                  <c:v>Besserat De</c:v>
                </c:pt>
                <c:pt idx="314">
                  <c:v>Heidsieck &amp;</c:v>
                </c:pt>
                <c:pt idx="315">
                  <c:v>Perrier Jou</c:v>
                </c:pt>
                <c:pt idx="316">
                  <c:v>All Others</c:v>
                </c:pt>
                <c:pt idx="317">
                  <c:v>Roederer</c:v>
                </c:pt>
                <c:pt idx="318">
                  <c:v>All Others</c:v>
                </c:pt>
                <c:pt idx="319">
                  <c:v>All Others</c:v>
                </c:pt>
                <c:pt idx="320">
                  <c:v>Ayala</c:v>
                </c:pt>
                <c:pt idx="321">
                  <c:v>Besserat De</c:v>
                </c:pt>
                <c:pt idx="322">
                  <c:v>Canard Duch</c:v>
                </c:pt>
                <c:pt idx="323">
                  <c:v>Ayala</c:v>
                </c:pt>
                <c:pt idx="324">
                  <c:v>All Others</c:v>
                </c:pt>
                <c:pt idx="325">
                  <c:v>Demoiselle</c:v>
                </c:pt>
                <c:pt idx="326">
                  <c:v>Nicolas Feu</c:v>
                </c:pt>
                <c:pt idx="327">
                  <c:v>Canard Duch</c:v>
                </c:pt>
                <c:pt idx="328">
                  <c:v>Krug</c:v>
                </c:pt>
                <c:pt idx="329">
                  <c:v>Bollinger</c:v>
                </c:pt>
                <c:pt idx="330">
                  <c:v>Ruinart</c:v>
                </c:pt>
                <c:pt idx="331">
                  <c:v>Lanson</c:v>
                </c:pt>
                <c:pt idx="332">
                  <c:v>Ruinart</c:v>
                </c:pt>
                <c:pt idx="333">
                  <c:v>Bollinger</c:v>
                </c:pt>
                <c:pt idx="334">
                  <c:v>Ruinart</c:v>
                </c:pt>
                <c:pt idx="335">
                  <c:v>All Others</c:v>
                </c:pt>
                <c:pt idx="336">
                  <c:v>All Others</c:v>
                </c:pt>
                <c:pt idx="337">
                  <c:v>Laurent Per</c:v>
                </c:pt>
                <c:pt idx="338">
                  <c:v>Laurent Per</c:v>
                </c:pt>
                <c:pt idx="339">
                  <c:v>Pommery</c:v>
                </c:pt>
                <c:pt idx="340">
                  <c:v>Bouvet-Ladu</c:v>
                </c:pt>
                <c:pt idx="341">
                  <c:v>Laurent Per</c:v>
                </c:pt>
                <c:pt idx="342">
                  <c:v>Taittinger</c:v>
                </c:pt>
                <c:pt idx="343">
                  <c:v>Bouvet-Ladu</c:v>
                </c:pt>
                <c:pt idx="344">
                  <c:v>Bollinger</c:v>
                </c:pt>
                <c:pt idx="345">
                  <c:v>Demoiselle</c:v>
                </c:pt>
                <c:pt idx="346">
                  <c:v>Malard</c:v>
                </c:pt>
                <c:pt idx="347">
                  <c:v>Pommery</c:v>
                </c:pt>
                <c:pt idx="348">
                  <c:v>Roederer</c:v>
                </c:pt>
                <c:pt idx="349">
                  <c:v>Nicolas Feu</c:v>
                </c:pt>
                <c:pt idx="350">
                  <c:v>Laurent Per</c:v>
                </c:pt>
                <c:pt idx="351">
                  <c:v>All Others</c:v>
                </c:pt>
                <c:pt idx="352">
                  <c:v>Perrier Jou</c:v>
                </c:pt>
                <c:pt idx="353">
                  <c:v>All Others</c:v>
                </c:pt>
                <c:pt idx="354">
                  <c:v>All Others</c:v>
                </c:pt>
                <c:pt idx="355">
                  <c:v>Bollinger</c:v>
                </c:pt>
                <c:pt idx="356">
                  <c:v>All Others</c:v>
                </c:pt>
                <c:pt idx="357">
                  <c:v>Roederer</c:v>
                </c:pt>
                <c:pt idx="358">
                  <c:v>Mumm</c:v>
                </c:pt>
                <c:pt idx="359">
                  <c:v>Veuve Clicq</c:v>
                </c:pt>
                <c:pt idx="360">
                  <c:v>Pommery</c:v>
                </c:pt>
                <c:pt idx="361">
                  <c:v>Taittinger</c:v>
                </c:pt>
                <c:pt idx="362">
                  <c:v>Laurent Per</c:v>
                </c:pt>
                <c:pt idx="363">
                  <c:v>All Others</c:v>
                </c:pt>
                <c:pt idx="364">
                  <c:v>Roederer</c:v>
                </c:pt>
                <c:pt idx="365">
                  <c:v>Piper Heids</c:v>
                </c:pt>
                <c:pt idx="366">
                  <c:v>All Others</c:v>
                </c:pt>
                <c:pt idx="367">
                  <c:v>All Others</c:v>
                </c:pt>
                <c:pt idx="368">
                  <c:v>Bouvet-Ladu</c:v>
                </c:pt>
                <c:pt idx="369">
                  <c:v>Nicolas</c:v>
                </c:pt>
                <c:pt idx="370">
                  <c:v>De Venoge</c:v>
                </c:pt>
                <c:pt idx="371">
                  <c:v>Bottega</c:v>
                </c:pt>
                <c:pt idx="372">
                  <c:v>Veuve Clicq</c:v>
                </c:pt>
                <c:pt idx="373">
                  <c:v>All Others</c:v>
                </c:pt>
                <c:pt idx="374">
                  <c:v>Roederer</c:v>
                </c:pt>
                <c:pt idx="375">
                  <c:v>All Others</c:v>
                </c:pt>
                <c:pt idx="376">
                  <c:v>All Others</c:v>
                </c:pt>
                <c:pt idx="377">
                  <c:v>All Others</c:v>
                </c:pt>
                <c:pt idx="378">
                  <c:v>Ayala</c:v>
                </c:pt>
                <c:pt idx="379">
                  <c:v>Moët &amp; Chan</c:v>
                </c:pt>
                <c:pt idx="380">
                  <c:v>Lanson</c:v>
                </c:pt>
                <c:pt idx="381">
                  <c:v>All Others</c:v>
                </c:pt>
                <c:pt idx="382">
                  <c:v>Pommery</c:v>
                </c:pt>
                <c:pt idx="383">
                  <c:v>Moët &amp; Chan</c:v>
                </c:pt>
                <c:pt idx="384">
                  <c:v>All Others</c:v>
                </c:pt>
                <c:pt idx="385">
                  <c:v>All Others</c:v>
                </c:pt>
                <c:pt idx="386">
                  <c:v>All Others</c:v>
                </c:pt>
                <c:pt idx="387">
                  <c:v>Bottega</c:v>
                </c:pt>
              </c:strCache>
            </c:strRef>
          </c:cat>
          <c:val>
            <c:numRef>
              <c:f>Sheet1!$C$2:$C$389</c:f>
              <c:numCache>
                <c:formatCode>General</c:formatCode>
                <c:ptCount val="388"/>
                <c:pt idx="0">
                  <c:v>9.657674034514703E-2</c:v>
                </c:pt>
                <c:pt idx="1">
                  <c:v>0.15802950905158103</c:v>
                </c:pt>
                <c:pt idx="2">
                  <c:v>0.2086719501836915</c:v>
                </c:pt>
                <c:pt idx="3">
                  <c:v>0.24359225552368072</c:v>
                </c:pt>
                <c:pt idx="4">
                  <c:v>0.2779626313224382</c:v>
                </c:pt>
                <c:pt idx="5">
                  <c:v>0.3119657767334918</c:v>
                </c:pt>
                <c:pt idx="6">
                  <c:v>0.34252800326788901</c:v>
                </c:pt>
                <c:pt idx="7">
                  <c:v>0.37191413580840643</c:v>
                </c:pt>
                <c:pt idx="8">
                  <c:v>0.39605824455799954</c:v>
                </c:pt>
                <c:pt idx="9">
                  <c:v>0.42013985900103767</c:v>
                </c:pt>
                <c:pt idx="10">
                  <c:v>0.43952367938792219</c:v>
                </c:pt>
                <c:pt idx="11">
                  <c:v>0.45834155649161301</c:v>
                </c:pt>
                <c:pt idx="12">
                  <c:v>0.47574377809296348</c:v>
                </c:pt>
                <c:pt idx="13">
                  <c:v>0.49259878434663507</c:v>
                </c:pt>
                <c:pt idx="14">
                  <c:v>0.50715910958844845</c:v>
                </c:pt>
                <c:pt idx="15">
                  <c:v>0.52073207907056507</c:v>
                </c:pt>
                <c:pt idx="16">
                  <c:v>0.53417900818957009</c:v>
                </c:pt>
                <c:pt idx="17">
                  <c:v>0.54737331374364129</c:v>
                </c:pt>
                <c:pt idx="18">
                  <c:v>0.55851935313303591</c:v>
                </c:pt>
                <c:pt idx="19">
                  <c:v>0.56909273161019347</c:v>
                </c:pt>
                <c:pt idx="20">
                  <c:v>0.57949640513545764</c:v>
                </c:pt>
                <c:pt idx="21">
                  <c:v>0.58966743834582103</c:v>
                </c:pt>
                <c:pt idx="22">
                  <c:v>0.59907778488557195</c:v>
                </c:pt>
                <c:pt idx="23">
                  <c:v>0.60767295731913651</c:v>
                </c:pt>
                <c:pt idx="24">
                  <c:v>0.61611128329276443</c:v>
                </c:pt>
                <c:pt idx="25">
                  <c:v>0.62451968528247193</c:v>
                </c:pt>
                <c:pt idx="26">
                  <c:v>0.63290284527213758</c:v>
                </c:pt>
                <c:pt idx="27">
                  <c:v>0.64114466363253741</c:v>
                </c:pt>
                <c:pt idx="28">
                  <c:v>0.64896656232288819</c:v>
                </c:pt>
                <c:pt idx="29">
                  <c:v>0.65641207022229409</c:v>
                </c:pt>
                <c:pt idx="30">
                  <c:v>0.66349282443561308</c:v>
                </c:pt>
                <c:pt idx="31">
                  <c:v>0.67043196560031082</c:v>
                </c:pt>
                <c:pt idx="32">
                  <c:v>0.67728856135358184</c:v>
                </c:pt>
                <c:pt idx="33">
                  <c:v>0.68369483846901158</c:v>
                </c:pt>
                <c:pt idx="34">
                  <c:v>0.68990728823734671</c:v>
                </c:pt>
                <c:pt idx="35">
                  <c:v>0.69604194243297257</c:v>
                </c:pt>
                <c:pt idx="36">
                  <c:v>0.70210351696718731</c:v>
                </c:pt>
                <c:pt idx="37">
                  <c:v>0.70811993410616603</c:v>
                </c:pt>
                <c:pt idx="38">
                  <c:v>0.71403609572078552</c:v>
                </c:pt>
                <c:pt idx="39">
                  <c:v>0.7198779562868951</c:v>
                </c:pt>
                <c:pt idx="40">
                  <c:v>0.72571710265945177</c:v>
                </c:pt>
                <c:pt idx="41">
                  <c:v>0.73149290653996824</c:v>
                </c:pt>
                <c:pt idx="42">
                  <c:v>0.73723624188010839</c:v>
                </c:pt>
                <c:pt idx="43">
                  <c:v>0.74267755533265245</c:v>
                </c:pt>
                <c:pt idx="44">
                  <c:v>0.74810607814807861</c:v>
                </c:pt>
                <c:pt idx="45">
                  <c:v>0.75351848543928457</c:v>
                </c:pt>
                <c:pt idx="46">
                  <c:v>0.75876895715764225</c:v>
                </c:pt>
                <c:pt idx="47">
                  <c:v>0.76391764661776707</c:v>
                </c:pt>
                <c:pt idx="48">
                  <c:v>0.76905978808594555</c:v>
                </c:pt>
                <c:pt idx="49">
                  <c:v>0.77420074209444467</c:v>
                </c:pt>
                <c:pt idx="50">
                  <c:v>0.77919434932044218</c:v>
                </c:pt>
                <c:pt idx="51">
                  <c:v>0.7840609322881652</c:v>
                </c:pt>
                <c:pt idx="52">
                  <c:v>0.78877752213467245</c:v>
                </c:pt>
                <c:pt idx="53">
                  <c:v>0.79343378902946704</c:v>
                </c:pt>
                <c:pt idx="54">
                  <c:v>0.79805266790807083</c:v>
                </c:pt>
                <c:pt idx="55">
                  <c:v>0.8026632684963384</c:v>
                </c:pt>
                <c:pt idx="56">
                  <c:v>0.80711189958433815</c:v>
                </c:pt>
                <c:pt idx="57">
                  <c:v>0.81150509326902043</c:v>
                </c:pt>
                <c:pt idx="58">
                  <c:v>0.81577903207447333</c:v>
                </c:pt>
                <c:pt idx="59">
                  <c:v>0.81983325691182107</c:v>
                </c:pt>
                <c:pt idx="60">
                  <c:v>0.82384873663620151</c:v>
                </c:pt>
                <c:pt idx="61">
                  <c:v>0.82782944075568576</c:v>
                </c:pt>
                <c:pt idx="62">
                  <c:v>0.83159158443932479</c:v>
                </c:pt>
                <c:pt idx="63">
                  <c:v>0.83531810433258236</c:v>
                </c:pt>
                <c:pt idx="64">
                  <c:v>0.83903410672582257</c:v>
                </c:pt>
                <c:pt idx="65">
                  <c:v>0.84264578230437415</c:v>
                </c:pt>
                <c:pt idx="66">
                  <c:v>0.84615628631824236</c:v>
                </c:pt>
                <c:pt idx="67">
                  <c:v>0.84965057302563207</c:v>
                </c:pt>
                <c:pt idx="68">
                  <c:v>0.8530827725554998</c:v>
                </c:pt>
                <c:pt idx="69">
                  <c:v>0.85647700730304677</c:v>
                </c:pt>
                <c:pt idx="70">
                  <c:v>0.85969994250998794</c:v>
                </c:pt>
                <c:pt idx="71">
                  <c:v>0.8627943606522005</c:v>
                </c:pt>
                <c:pt idx="72">
                  <c:v>0.86585749771371612</c:v>
                </c:pt>
                <c:pt idx="73">
                  <c:v>0.86888813230743611</c:v>
                </c:pt>
                <c:pt idx="74">
                  <c:v>0.87187859683657354</c:v>
                </c:pt>
                <c:pt idx="75">
                  <c:v>0.87480721168012487</c:v>
                </c:pt>
                <c:pt idx="76">
                  <c:v>0.87773033028173164</c:v>
                </c:pt>
                <c:pt idx="77">
                  <c:v>0.88033602394732979</c:v>
                </c:pt>
                <c:pt idx="78">
                  <c:v>0.88287050395958433</c:v>
                </c:pt>
                <c:pt idx="79">
                  <c:v>0.88540369472990132</c:v>
                </c:pt>
                <c:pt idx="80">
                  <c:v>0.8878759857823757</c:v>
                </c:pt>
                <c:pt idx="81">
                  <c:v>0.89028934490733325</c:v>
                </c:pt>
                <c:pt idx="82">
                  <c:v>0.89266331429835477</c:v>
                </c:pt>
                <c:pt idx="83">
                  <c:v>0.89489109043913451</c:v>
                </c:pt>
                <c:pt idx="84">
                  <c:v>0.89708273387824167</c:v>
                </c:pt>
                <c:pt idx="85">
                  <c:v>0.89922494506726713</c:v>
                </c:pt>
                <c:pt idx="86">
                  <c:v>0.90136573130467734</c:v>
                </c:pt>
                <c:pt idx="87">
                  <c:v>0.90336795796121327</c:v>
                </c:pt>
                <c:pt idx="88">
                  <c:v>0.90529323723052524</c:v>
                </c:pt>
                <c:pt idx="89">
                  <c:v>0.90714272264487317</c:v>
                </c:pt>
                <c:pt idx="90">
                  <c:v>0.90898589755921066</c:v>
                </c:pt>
                <c:pt idx="91">
                  <c:v>0.91075504284439357</c:v>
                </c:pt>
                <c:pt idx="92">
                  <c:v>0.91250569768599743</c:v>
                </c:pt>
                <c:pt idx="93">
                  <c:v>0.91421027909204133</c:v>
                </c:pt>
                <c:pt idx="94">
                  <c:v>0.9158829687238389</c:v>
                </c:pt>
                <c:pt idx="95">
                  <c:v>0.91753835537173689</c:v>
                </c:pt>
                <c:pt idx="96">
                  <c:v>0.91916419123732795</c:v>
                </c:pt>
                <c:pt idx="97">
                  <c:v>0.92077933996580463</c:v>
                </c:pt>
                <c:pt idx="98">
                  <c:v>0.9223380334683815</c:v>
                </c:pt>
                <c:pt idx="99">
                  <c:v>0.92382005100308973</c:v>
                </c:pt>
                <c:pt idx="100">
                  <c:v>0.9252840530780907</c:v>
                </c:pt>
                <c:pt idx="101">
                  <c:v>0.92669271953203247</c:v>
                </c:pt>
                <c:pt idx="102">
                  <c:v>0.92808113131658587</c:v>
                </c:pt>
                <c:pt idx="103">
                  <c:v>0.92945895774628307</c:v>
                </c:pt>
                <c:pt idx="104">
                  <c:v>0.93082565598241351</c:v>
                </c:pt>
                <c:pt idx="105">
                  <c:v>0.93217121743625098</c:v>
                </c:pt>
                <c:pt idx="106">
                  <c:v>0.93350205439006406</c:v>
                </c:pt>
                <c:pt idx="107">
                  <c:v>0.93482919325516134</c:v>
                </c:pt>
                <c:pt idx="108">
                  <c:v>0.93615575535412865</c:v>
                </c:pt>
                <c:pt idx="109">
                  <c:v>0.93748228352567653</c:v>
                </c:pt>
                <c:pt idx="110">
                  <c:v>0.9387921872617131</c:v>
                </c:pt>
                <c:pt idx="111">
                  <c:v>0.94008149705416721</c:v>
                </c:pt>
                <c:pt idx="112">
                  <c:v>0.94131954251589145</c:v>
                </c:pt>
                <c:pt idx="113">
                  <c:v>0.94252634082433817</c:v>
                </c:pt>
                <c:pt idx="114">
                  <c:v>0.94372296090696162</c:v>
                </c:pt>
                <c:pt idx="115">
                  <c:v>0.94484053010235758</c:v>
                </c:pt>
                <c:pt idx="116">
                  <c:v>0.94594161057191983</c:v>
                </c:pt>
                <c:pt idx="117">
                  <c:v>0.94703315743662764</c:v>
                </c:pt>
                <c:pt idx="118">
                  <c:v>0.94810475497872182</c:v>
                </c:pt>
                <c:pt idx="119">
                  <c:v>0.94916172980304991</c:v>
                </c:pt>
                <c:pt idx="120">
                  <c:v>0.95020272481283541</c:v>
                </c:pt>
                <c:pt idx="121">
                  <c:v>0.95124243058068336</c:v>
                </c:pt>
                <c:pt idx="122">
                  <c:v>0.95227806505820201</c:v>
                </c:pt>
                <c:pt idx="123">
                  <c:v>0.95329096816471526</c:v>
                </c:pt>
                <c:pt idx="124">
                  <c:v>0.9542769329002162</c:v>
                </c:pt>
                <c:pt idx="125">
                  <c:v>0.9552468499663358</c:v>
                </c:pt>
                <c:pt idx="126">
                  <c:v>0.95619661414532531</c:v>
                </c:pt>
                <c:pt idx="127">
                  <c:v>0.9571379982517203</c:v>
                </c:pt>
                <c:pt idx="128">
                  <c:v>0.9580437246403144</c:v>
                </c:pt>
                <c:pt idx="129">
                  <c:v>0.95892848388371255</c:v>
                </c:pt>
                <c:pt idx="130">
                  <c:v>0.95979488839320948</c:v>
                </c:pt>
                <c:pt idx="131">
                  <c:v>0.96065559309624537</c:v>
                </c:pt>
                <c:pt idx="132">
                  <c:v>0.96151348182347007</c:v>
                </c:pt>
                <c:pt idx="133">
                  <c:v>0.96235606928454043</c:v>
                </c:pt>
                <c:pt idx="134">
                  <c:v>0.96319204089882571</c:v>
                </c:pt>
                <c:pt idx="135">
                  <c:v>0.96401668075502778</c:v>
                </c:pt>
                <c:pt idx="136">
                  <c:v>0.96484037064348627</c:v>
                </c:pt>
                <c:pt idx="137">
                  <c:v>0.96562538327381631</c:v>
                </c:pt>
                <c:pt idx="138">
                  <c:v>0.96640893702511166</c:v>
                </c:pt>
                <c:pt idx="139">
                  <c:v>0.9671565616392509</c:v>
                </c:pt>
                <c:pt idx="140">
                  <c:v>0.96790123456790134</c:v>
                </c:pt>
                <c:pt idx="141">
                  <c:v>0.96864058089170424</c:v>
                </c:pt>
                <c:pt idx="142">
                  <c:v>0.96937456668324029</c:v>
                </c:pt>
                <c:pt idx="143">
                  <c:v>0.97008504077312452</c:v>
                </c:pt>
                <c:pt idx="144">
                  <c:v>0.97078744013718898</c:v>
                </c:pt>
                <c:pt idx="145">
                  <c:v>0.97148827883996058</c:v>
                </c:pt>
                <c:pt idx="146">
                  <c:v>0.97209351007483213</c:v>
                </c:pt>
                <c:pt idx="147">
                  <c:v>0.97268710420484572</c:v>
                </c:pt>
                <c:pt idx="148">
                  <c:v>0.97327703417356293</c:v>
                </c:pt>
                <c:pt idx="149">
                  <c:v>0.97384416491643599</c:v>
                </c:pt>
                <c:pt idx="150">
                  <c:v>0.97440247453026219</c:v>
                </c:pt>
                <c:pt idx="151">
                  <c:v>0.97495925741021494</c:v>
                </c:pt>
                <c:pt idx="152">
                  <c:v>0.9755148189030689</c:v>
                </c:pt>
                <c:pt idx="153">
                  <c:v>0.97606281458139421</c:v>
                </c:pt>
                <c:pt idx="154">
                  <c:v>0.976600937380671</c:v>
                </c:pt>
                <c:pt idx="155">
                  <c:v>0.97711819481701001</c:v>
                </c:pt>
                <c:pt idx="156">
                  <c:v>0.97761238160814956</c:v>
                </c:pt>
                <c:pt idx="157">
                  <c:v>0.97809445631055947</c:v>
                </c:pt>
                <c:pt idx="158">
                  <c:v>0.97857015265812008</c:v>
                </c:pt>
                <c:pt idx="159">
                  <c:v>0.97903648503792329</c:v>
                </c:pt>
                <c:pt idx="160">
                  <c:v>0.97947604868381133</c:v>
                </c:pt>
                <c:pt idx="161">
                  <c:v>0.97988826682965413</c:v>
                </c:pt>
                <c:pt idx="162">
                  <c:v>0.98030028141098047</c:v>
                </c:pt>
                <c:pt idx="163">
                  <c:v>0.98071104067778858</c:v>
                </c:pt>
                <c:pt idx="164">
                  <c:v>0.98111535373490866</c:v>
                </c:pt>
                <c:pt idx="165">
                  <c:v>0.98149846215489689</c:v>
                </c:pt>
                <c:pt idx="166">
                  <c:v>0.98185788923613626</c:v>
                </c:pt>
                <c:pt idx="167">
                  <c:v>0.98221704489802031</c:v>
                </c:pt>
                <c:pt idx="168">
                  <c:v>0.98256093322116944</c:v>
                </c:pt>
                <c:pt idx="169">
                  <c:v>0.98290248055237928</c:v>
                </c:pt>
                <c:pt idx="170">
                  <c:v>0.98324216187552149</c:v>
                </c:pt>
                <c:pt idx="171">
                  <c:v>0.98358140214221135</c:v>
                </c:pt>
                <c:pt idx="172">
                  <c:v>0.9839205066992236</c:v>
                </c:pt>
                <c:pt idx="173">
                  <c:v>0.98424943303041257</c:v>
                </c:pt>
                <c:pt idx="174">
                  <c:v>0.98457476305514391</c:v>
                </c:pt>
                <c:pt idx="175">
                  <c:v>0.9848960896443848</c:v>
                </c:pt>
                <c:pt idx="176">
                  <c:v>0.98520421846747486</c:v>
                </c:pt>
                <c:pt idx="177">
                  <c:v>0.98551177052443495</c:v>
                </c:pt>
                <c:pt idx="178">
                  <c:v>0.9858162012588092</c:v>
                </c:pt>
                <c:pt idx="179">
                  <c:v>0.98611964809802055</c:v>
                </c:pt>
                <c:pt idx="180">
                  <c:v>0.98641902364690259</c:v>
                </c:pt>
                <c:pt idx="181">
                  <c:v>0.9867179920667517</c:v>
                </c:pt>
                <c:pt idx="182">
                  <c:v>0.98700148958334943</c:v>
                </c:pt>
                <c:pt idx="183">
                  <c:v>0.98728081402735957</c:v>
                </c:pt>
                <c:pt idx="184">
                  <c:v>0.98755929028588452</c:v>
                </c:pt>
                <c:pt idx="185">
                  <c:v>0.98783681657666589</c:v>
                </c:pt>
                <c:pt idx="186">
                  <c:v>0.98810321467388051</c:v>
                </c:pt>
                <c:pt idx="187">
                  <c:v>0.98835451506945726</c:v>
                </c:pt>
                <c:pt idx="188">
                  <c:v>0.98859960674728176</c:v>
                </c:pt>
                <c:pt idx="189">
                  <c:v>0.98884225565090866</c:v>
                </c:pt>
                <c:pt idx="190">
                  <c:v>0.98906217318353029</c:v>
                </c:pt>
                <c:pt idx="191">
                  <c:v>0.98928205678873249</c:v>
                </c:pt>
                <c:pt idx="192">
                  <c:v>0.98950031187780296</c:v>
                </c:pt>
                <c:pt idx="193">
                  <c:v>0.98971775270880757</c:v>
                </c:pt>
                <c:pt idx="194">
                  <c:v>0.98993410786239111</c:v>
                </c:pt>
                <c:pt idx="195">
                  <c:v>0.99014761311274413</c:v>
                </c:pt>
                <c:pt idx="196">
                  <c:v>0.99035395967760143</c:v>
                </c:pt>
                <c:pt idx="197">
                  <c:v>0.99055772775858342</c:v>
                </c:pt>
                <c:pt idx="198">
                  <c:v>0.99075423537181151</c:v>
                </c:pt>
                <c:pt idx="199">
                  <c:v>0.99093890231566517</c:v>
                </c:pt>
                <c:pt idx="200">
                  <c:v>0.99111980331596428</c:v>
                </c:pt>
                <c:pt idx="201">
                  <c:v>0.99129625982432057</c:v>
                </c:pt>
                <c:pt idx="202">
                  <c:v>0.99147098603428685</c:v>
                </c:pt>
                <c:pt idx="203">
                  <c:v>0.99164245521198968</c:v>
                </c:pt>
                <c:pt idx="204">
                  <c:v>0.99181205838162489</c:v>
                </c:pt>
                <c:pt idx="205">
                  <c:v>0.99197630101899315</c:v>
                </c:pt>
                <c:pt idx="206">
                  <c:v>0.99213935619668203</c:v>
                </c:pt>
                <c:pt idx="207">
                  <c:v>0.99229521876145588</c:v>
                </c:pt>
                <c:pt idx="208">
                  <c:v>0.99245064026977736</c:v>
                </c:pt>
                <c:pt idx="209">
                  <c:v>0.99260216012486657</c:v>
                </c:pt>
                <c:pt idx="210">
                  <c:v>0.9927516104073717</c:v>
                </c:pt>
                <c:pt idx="211">
                  <c:v>0.99289861791567924</c:v>
                </c:pt>
                <c:pt idx="212">
                  <c:v>0.99304342014172509</c:v>
                </c:pt>
                <c:pt idx="213">
                  <c:v>0.99318499926292692</c:v>
                </c:pt>
                <c:pt idx="214">
                  <c:v>0.99332569627122402</c:v>
                </c:pt>
                <c:pt idx="215">
                  <c:v>0.99346473083596998</c:v>
                </c:pt>
                <c:pt idx="216">
                  <c:v>0.99359908341683723</c:v>
                </c:pt>
                <c:pt idx="217">
                  <c:v>0.99373136642512039</c:v>
                </c:pt>
                <c:pt idx="218">
                  <c:v>0.99386195306243308</c:v>
                </c:pt>
                <c:pt idx="219">
                  <c:v>0.9939923361352293</c:v>
                </c:pt>
                <c:pt idx="220">
                  <c:v>0.99412085319995791</c:v>
                </c:pt>
                <c:pt idx="221">
                  <c:v>0.99424777567597422</c:v>
                </c:pt>
                <c:pt idx="222">
                  <c:v>0.99437313749069756</c:v>
                </c:pt>
                <c:pt idx="223">
                  <c:v>0.9944972779183221</c:v>
                </c:pt>
                <c:pt idx="224">
                  <c:v>0.99461174903141458</c:v>
                </c:pt>
                <c:pt idx="225">
                  <c:v>0.99472418449934241</c:v>
                </c:pt>
                <c:pt idx="226">
                  <c:v>0.99483611105597902</c:v>
                </c:pt>
                <c:pt idx="227">
                  <c:v>0.99494715549971102</c:v>
                </c:pt>
                <c:pt idx="228">
                  <c:v>0.99505148231439966</c:v>
                </c:pt>
                <c:pt idx="229">
                  <c:v>0.9951508896532737</c:v>
                </c:pt>
                <c:pt idx="230">
                  <c:v>0.99524944880666244</c:v>
                </c:pt>
                <c:pt idx="231">
                  <c:v>0.99534634551650003</c:v>
                </c:pt>
                <c:pt idx="232">
                  <c:v>0.99543777991181248</c:v>
                </c:pt>
                <c:pt idx="233">
                  <c:v>0.99552816255712318</c:v>
                </c:pt>
                <c:pt idx="234">
                  <c:v>0.99561633992017218</c:v>
                </c:pt>
                <c:pt idx="235">
                  <c:v>0.9957002424283754</c:v>
                </c:pt>
                <c:pt idx="236">
                  <c:v>0.99578333067851277</c:v>
                </c:pt>
                <c:pt idx="237">
                  <c:v>0.99586628321897253</c:v>
                </c:pt>
                <c:pt idx="238">
                  <c:v>0.99594553767071647</c:v>
                </c:pt>
                <c:pt idx="239">
                  <c:v>0.99602357073536163</c:v>
                </c:pt>
                <c:pt idx="240">
                  <c:v>0.99610024670323027</c:v>
                </c:pt>
                <c:pt idx="241">
                  <c:v>0.99617610841303306</c:v>
                </c:pt>
                <c:pt idx="242">
                  <c:v>0.99624691493734363</c:v>
                </c:pt>
                <c:pt idx="243">
                  <c:v>0.99631653400197484</c:v>
                </c:pt>
                <c:pt idx="244">
                  <c:v>0.99638445669563547</c:v>
                </c:pt>
                <c:pt idx="245">
                  <c:v>0.99645214189736031</c:v>
                </c:pt>
                <c:pt idx="246">
                  <c:v>0.99651965746198801</c:v>
                </c:pt>
                <c:pt idx="247">
                  <c:v>0.9965860534217752</c:v>
                </c:pt>
                <c:pt idx="248">
                  <c:v>0.9966502440993007</c:v>
                </c:pt>
                <c:pt idx="249">
                  <c:v>0.99671389193811555</c:v>
                </c:pt>
                <c:pt idx="250">
                  <c:v>0.9967775397769304</c:v>
                </c:pt>
                <c:pt idx="251">
                  <c:v>0.99684064477703471</c:v>
                </c:pt>
                <c:pt idx="252">
                  <c:v>0.99690320693842849</c:v>
                </c:pt>
                <c:pt idx="253">
                  <c:v>0.99696271563207528</c:v>
                </c:pt>
                <c:pt idx="254">
                  <c:v>0.99702208861604436</c:v>
                </c:pt>
                <c:pt idx="255">
                  <c:v>0.9970804437774311</c:v>
                </c:pt>
                <c:pt idx="256">
                  <c:v>0.99713744184204145</c:v>
                </c:pt>
                <c:pt idx="257">
                  <c:v>0.9971940667050383</c:v>
                </c:pt>
                <c:pt idx="258">
                  <c:v>0.99724970767287224</c:v>
                </c:pt>
                <c:pt idx="259">
                  <c:v>0.99730528078586733</c:v>
                </c:pt>
                <c:pt idx="260">
                  <c:v>0.99736041284241006</c:v>
                </c:pt>
                <c:pt idx="261">
                  <c:v>0.99741384852798232</c:v>
                </c:pt>
                <c:pt idx="262">
                  <c:v>0.99746728421355457</c:v>
                </c:pt>
                <c:pt idx="263">
                  <c:v>0.99751936280235032</c:v>
                </c:pt>
                <c:pt idx="264">
                  <c:v>0.99757032178630556</c:v>
                </c:pt>
                <c:pt idx="265">
                  <c:v>0.99762060222187254</c:v>
                </c:pt>
                <c:pt idx="266">
                  <c:v>0.99767033981872899</c:v>
                </c:pt>
                <c:pt idx="267">
                  <c:v>0.99771973814139125</c:v>
                </c:pt>
                <c:pt idx="268">
                  <c:v>0.99776869540760127</c:v>
                </c:pt>
                <c:pt idx="269">
                  <c:v>0.99781700805284246</c:v>
                </c:pt>
                <c:pt idx="270">
                  <c:v>0.99786450644001778</c:v>
                </c:pt>
                <c:pt idx="271">
                  <c:v>0.99790844244815491</c:v>
                </c:pt>
                <c:pt idx="272">
                  <c:v>0.997952208819195</c:v>
                </c:pt>
                <c:pt idx="273">
                  <c:v>0.99799539842410512</c:v>
                </c:pt>
                <c:pt idx="274">
                  <c:v>0.9980380451903047</c:v>
                </c:pt>
                <c:pt idx="275">
                  <c:v>0.99808038660972953</c:v>
                </c:pt>
                <c:pt idx="276">
                  <c:v>0.99812245660979904</c:v>
                </c:pt>
                <c:pt idx="277">
                  <c:v>0.99816374627922211</c:v>
                </c:pt>
                <c:pt idx="278">
                  <c:v>0.99820374670670764</c:v>
                </c:pt>
                <c:pt idx="279">
                  <c:v>0.99824310251322435</c:v>
                </c:pt>
                <c:pt idx="280">
                  <c:v>0.99828208511812755</c:v>
                </c:pt>
                <c:pt idx="281">
                  <c:v>0.99831957491657664</c:v>
                </c:pt>
                <c:pt idx="282">
                  <c:v>0.99835621652954043</c:v>
                </c:pt>
                <c:pt idx="283">
                  <c:v>0.99839268850540719</c:v>
                </c:pt>
                <c:pt idx="284">
                  <c:v>0.99842838015062751</c:v>
                </c:pt>
                <c:pt idx="285">
                  <c:v>0.9984629182635878</c:v>
                </c:pt>
                <c:pt idx="286">
                  <c:v>0.99849694746525697</c:v>
                </c:pt>
                <c:pt idx="287">
                  <c:v>0.99853090881208728</c:v>
                </c:pt>
                <c:pt idx="288">
                  <c:v>0.99859872972348973</c:v>
                </c:pt>
                <c:pt idx="289">
                  <c:v>0.99863167324773772</c:v>
                </c:pt>
                <c:pt idx="290">
                  <c:v>0.99866451498972753</c:v>
                </c:pt>
                <c:pt idx="291">
                  <c:v>0.99869674603816794</c:v>
                </c:pt>
                <c:pt idx="292">
                  <c:v>0.99872897708660835</c:v>
                </c:pt>
                <c:pt idx="293">
                  <c:v>0.99875784932052702</c:v>
                </c:pt>
                <c:pt idx="294">
                  <c:v>0.99878533053024987</c:v>
                </c:pt>
                <c:pt idx="295">
                  <c:v>0.99881267603029511</c:v>
                </c:pt>
                <c:pt idx="296">
                  <c:v>0.99883903763517745</c:v>
                </c:pt>
                <c:pt idx="297">
                  <c:v>0.99886519567554333</c:v>
                </c:pt>
                <c:pt idx="298">
                  <c:v>0.99889098051429559</c:v>
                </c:pt>
                <c:pt idx="299">
                  <c:v>0.99891574753046553</c:v>
                </c:pt>
                <c:pt idx="300">
                  <c:v>0.9989393270869561</c:v>
                </c:pt>
                <c:pt idx="301">
                  <c:v>0.99896090492570144</c:v>
                </c:pt>
                <c:pt idx="302">
                  <c:v>0.99898244883702736</c:v>
                </c:pt>
                <c:pt idx="303">
                  <c:v>0.99900348383706217</c:v>
                </c:pt>
                <c:pt idx="304">
                  <c:v>0.99902370457903111</c:v>
                </c:pt>
                <c:pt idx="305">
                  <c:v>0.99904355211938656</c:v>
                </c:pt>
                <c:pt idx="306">
                  <c:v>0.999063399659742</c:v>
                </c:pt>
                <c:pt idx="307">
                  <c:v>0.99908321327267802</c:v>
                </c:pt>
                <c:pt idx="308">
                  <c:v>0.99910295903077517</c:v>
                </c:pt>
                <c:pt idx="309">
                  <c:v>0.99912236551467826</c:v>
                </c:pt>
                <c:pt idx="310">
                  <c:v>0.99914170414374248</c:v>
                </c:pt>
                <c:pt idx="311">
                  <c:v>0.99918004212767686</c:v>
                </c:pt>
                <c:pt idx="312">
                  <c:v>0.99919836293415876</c:v>
                </c:pt>
                <c:pt idx="313">
                  <c:v>0.99921614090193012</c:v>
                </c:pt>
                <c:pt idx="314">
                  <c:v>0.99923378316002376</c:v>
                </c:pt>
                <c:pt idx="315">
                  <c:v>0.9992514254181174</c:v>
                </c:pt>
                <c:pt idx="316">
                  <c:v>0.99926872840201697</c:v>
                </c:pt>
                <c:pt idx="317">
                  <c:v>0.99928599745849711</c:v>
                </c:pt>
                <c:pt idx="318">
                  <c:v>0.99930316473271907</c:v>
                </c:pt>
                <c:pt idx="319">
                  <c:v>0.99932012844242457</c:v>
                </c:pt>
                <c:pt idx="320">
                  <c:v>0.99933692251503303</c:v>
                </c:pt>
                <c:pt idx="321">
                  <c:v>0.99935354695054435</c:v>
                </c:pt>
                <c:pt idx="322">
                  <c:v>0.99936949283766752</c:v>
                </c:pt>
                <c:pt idx="323">
                  <c:v>0.99938523516027422</c:v>
                </c:pt>
                <c:pt idx="324">
                  <c:v>0.99940063820868674</c:v>
                </c:pt>
                <c:pt idx="325">
                  <c:v>0.99941526092645283</c:v>
                </c:pt>
                <c:pt idx="326">
                  <c:v>0.99942971400712188</c:v>
                </c:pt>
                <c:pt idx="327">
                  <c:v>0.99944396352327447</c:v>
                </c:pt>
                <c:pt idx="328">
                  <c:v>0.99945787376523298</c:v>
                </c:pt>
                <c:pt idx="329">
                  <c:v>0.99947168222493321</c:v>
                </c:pt>
                <c:pt idx="330">
                  <c:v>0.99948525319269754</c:v>
                </c:pt>
                <c:pt idx="331">
                  <c:v>0.9994984848862678</c:v>
                </c:pt>
                <c:pt idx="332">
                  <c:v>0.9995116487249992</c:v>
                </c:pt>
                <c:pt idx="333">
                  <c:v>0.99952447328953653</c:v>
                </c:pt>
                <c:pt idx="334">
                  <c:v>0.9995368567976215</c:v>
                </c:pt>
                <c:pt idx="335">
                  <c:v>0.99954873139441536</c:v>
                </c:pt>
                <c:pt idx="336">
                  <c:v>0.99956026671701503</c:v>
                </c:pt>
                <c:pt idx="337">
                  <c:v>0.99957146276542064</c:v>
                </c:pt>
                <c:pt idx="338">
                  <c:v>0.99958238739447092</c:v>
                </c:pt>
                <c:pt idx="339">
                  <c:v>0.9995927013299718</c:v>
                </c:pt>
                <c:pt idx="340">
                  <c:v>0.99960294741063394</c:v>
                </c:pt>
                <c:pt idx="341">
                  <c:v>0.99961312563645721</c:v>
                </c:pt>
                <c:pt idx="342">
                  <c:v>0.99963310888649026</c:v>
                </c:pt>
                <c:pt idx="343">
                  <c:v>0.99967131116074703</c:v>
                </c:pt>
                <c:pt idx="344">
                  <c:v>0.99968047156398798</c:v>
                </c:pt>
                <c:pt idx="345">
                  <c:v>0.9996986905882117</c:v>
                </c:pt>
                <c:pt idx="346">
                  <c:v>0.99970761349951676</c:v>
                </c:pt>
                <c:pt idx="347">
                  <c:v>0.99971643462856363</c:v>
                </c:pt>
                <c:pt idx="348">
                  <c:v>0.99972474684631929</c:v>
                </c:pt>
                <c:pt idx="349">
                  <c:v>0.9997413712818306</c:v>
                </c:pt>
                <c:pt idx="350">
                  <c:v>0.99974951386248923</c:v>
                </c:pt>
                <c:pt idx="351">
                  <c:v>0.99975762251572842</c:v>
                </c:pt>
                <c:pt idx="352">
                  <c:v>0.99976498476574061</c:v>
                </c:pt>
                <c:pt idx="353">
                  <c:v>0.99977221130607519</c:v>
                </c:pt>
                <c:pt idx="354">
                  <c:v>0.99977943784640977</c:v>
                </c:pt>
                <c:pt idx="355">
                  <c:v>0.99979372128998178</c:v>
                </c:pt>
                <c:pt idx="356">
                  <c:v>0.99980060855612218</c:v>
                </c:pt>
                <c:pt idx="357">
                  <c:v>0.9998073940400044</c:v>
                </c:pt>
                <c:pt idx="358">
                  <c:v>0.9998141455964672</c:v>
                </c:pt>
                <c:pt idx="359">
                  <c:v>0.9998201846771223</c:v>
                </c:pt>
                <c:pt idx="360">
                  <c:v>0.99982598626584163</c:v>
                </c:pt>
                <c:pt idx="361">
                  <c:v>0.99983175392714152</c:v>
                </c:pt>
                <c:pt idx="362">
                  <c:v>0.99983752158844141</c:v>
                </c:pt>
                <c:pt idx="363">
                  <c:v>0.99984844621749169</c:v>
                </c:pt>
                <c:pt idx="364">
                  <c:v>0.99985367104008094</c:v>
                </c:pt>
                <c:pt idx="365">
                  <c:v>0.9998586583707344</c:v>
                </c:pt>
                <c:pt idx="366">
                  <c:v>0.99986825983042771</c:v>
                </c:pt>
                <c:pt idx="367">
                  <c:v>0.99987290788688699</c:v>
                </c:pt>
                <c:pt idx="368">
                  <c:v>0.99988206829012805</c:v>
                </c:pt>
                <c:pt idx="369">
                  <c:v>0.9998909912014331</c:v>
                </c:pt>
                <c:pt idx="370">
                  <c:v>0.99989536783853716</c:v>
                </c:pt>
                <c:pt idx="371">
                  <c:v>0.99992217049987175</c:v>
                </c:pt>
                <c:pt idx="372">
                  <c:v>0.99992535967729634</c:v>
                </c:pt>
                <c:pt idx="373">
                  <c:v>0.99992841314504333</c:v>
                </c:pt>
                <c:pt idx="374">
                  <c:v>0.99993435044344026</c:v>
                </c:pt>
                <c:pt idx="375">
                  <c:v>0.99993699678215431</c:v>
                </c:pt>
                <c:pt idx="376">
                  <c:v>0.99994493579829646</c:v>
                </c:pt>
                <c:pt idx="377">
                  <c:v>0.99995901567735201</c:v>
                </c:pt>
                <c:pt idx="378">
                  <c:v>0.9999632905321979</c:v>
                </c:pt>
                <c:pt idx="379">
                  <c:v>0.99996739574994664</c:v>
                </c:pt>
                <c:pt idx="380">
                  <c:v>0.99997336697576289</c:v>
                </c:pt>
                <c:pt idx="381">
                  <c:v>0.99997526691124994</c:v>
                </c:pt>
                <c:pt idx="382">
                  <c:v>0.99997696328222052</c:v>
                </c:pt>
                <c:pt idx="383">
                  <c:v>0.99997862572577167</c:v>
                </c:pt>
                <c:pt idx="384">
                  <c:v>0.99998171312093809</c:v>
                </c:pt>
                <c:pt idx="385">
                  <c:v>0.99998754863707695</c:v>
                </c:pt>
                <c:pt idx="386">
                  <c:v>0.9999988125403213</c:v>
                </c:pt>
                <c:pt idx="387">
                  <c:v>1.0000000000000007</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389</c:f>
              <c:strCache>
                <c:ptCount val="388"/>
                <c:pt idx="0">
                  <c:v>Ruinart</c:v>
                </c:pt>
                <c:pt idx="1">
                  <c:v>Nicolas</c:v>
                </c:pt>
                <c:pt idx="2">
                  <c:v>Ruinart</c:v>
                </c:pt>
                <c:pt idx="3">
                  <c:v>Deutz</c:v>
                </c:pt>
                <c:pt idx="4">
                  <c:v>Malard</c:v>
                </c:pt>
                <c:pt idx="5">
                  <c:v>De Bligny</c:v>
                </c:pt>
                <c:pt idx="6">
                  <c:v>Heidsieck &amp;</c:v>
                </c:pt>
                <c:pt idx="7">
                  <c:v>Ayala</c:v>
                </c:pt>
                <c:pt idx="8">
                  <c:v>Canard Duch</c:v>
                </c:pt>
                <c:pt idx="9">
                  <c:v>Ruinart</c:v>
                </c:pt>
                <c:pt idx="10">
                  <c:v>Laurent Per</c:v>
                </c:pt>
                <c:pt idx="11">
                  <c:v>Nicolas Feu</c:v>
                </c:pt>
                <c:pt idx="12">
                  <c:v>Ruinart</c:v>
                </c:pt>
                <c:pt idx="13">
                  <c:v>Demoiselle</c:v>
                </c:pt>
                <c:pt idx="14">
                  <c:v>Taittinger</c:v>
                </c:pt>
                <c:pt idx="15">
                  <c:v>Besserat De</c:v>
                </c:pt>
                <c:pt idx="16">
                  <c:v>Bollinger</c:v>
                </c:pt>
                <c:pt idx="17">
                  <c:v>Ruinart</c:v>
                </c:pt>
                <c:pt idx="18">
                  <c:v>Deutz</c:v>
                </c:pt>
                <c:pt idx="19">
                  <c:v>Ruinart</c:v>
                </c:pt>
                <c:pt idx="20">
                  <c:v>All Others</c:v>
                </c:pt>
                <c:pt idx="21">
                  <c:v>Perrier Jou</c:v>
                </c:pt>
                <c:pt idx="22">
                  <c:v>Vesselle</c:v>
                </c:pt>
                <c:pt idx="23">
                  <c:v>Pommery</c:v>
                </c:pt>
                <c:pt idx="24">
                  <c:v>All Others</c:v>
                </c:pt>
                <c:pt idx="25">
                  <c:v>Deutz</c:v>
                </c:pt>
                <c:pt idx="26">
                  <c:v>Demoiselle</c:v>
                </c:pt>
                <c:pt idx="27">
                  <c:v>Ruinart</c:v>
                </c:pt>
                <c:pt idx="28">
                  <c:v>Laurent Per</c:v>
                </c:pt>
                <c:pt idx="29">
                  <c:v>Savian</c:v>
                </c:pt>
                <c:pt idx="30">
                  <c:v>Roederer</c:v>
                </c:pt>
                <c:pt idx="31">
                  <c:v>Nicolas</c:v>
                </c:pt>
                <c:pt idx="32">
                  <c:v>Malard</c:v>
                </c:pt>
                <c:pt idx="33">
                  <c:v>Dom Perigno</c:v>
                </c:pt>
                <c:pt idx="34">
                  <c:v>Patriarche</c:v>
                </c:pt>
                <c:pt idx="35">
                  <c:v>Bottega</c:v>
                </c:pt>
                <c:pt idx="36">
                  <c:v>Taittinger</c:v>
                </c:pt>
                <c:pt idx="37">
                  <c:v>Malard</c:v>
                </c:pt>
                <c:pt idx="38">
                  <c:v>Campari: Al</c:v>
                </c:pt>
                <c:pt idx="39">
                  <c:v>Moët &amp; Chan</c:v>
                </c:pt>
                <c:pt idx="40">
                  <c:v>Besserat De</c:v>
                </c:pt>
                <c:pt idx="41">
                  <c:v>All Others</c:v>
                </c:pt>
                <c:pt idx="42">
                  <c:v>Mure</c:v>
                </c:pt>
                <c:pt idx="43">
                  <c:v>Ruinart</c:v>
                </c:pt>
                <c:pt idx="44">
                  <c:v>Nicolas</c:v>
                </c:pt>
                <c:pt idx="45">
                  <c:v>Laurent Per</c:v>
                </c:pt>
                <c:pt idx="46">
                  <c:v>All Others</c:v>
                </c:pt>
                <c:pt idx="47">
                  <c:v>Dom Perigno</c:v>
                </c:pt>
                <c:pt idx="48">
                  <c:v>Henriot</c:v>
                </c:pt>
                <c:pt idx="49">
                  <c:v>Roederer</c:v>
                </c:pt>
                <c:pt idx="50">
                  <c:v>Veuve Clicq</c:v>
                </c:pt>
                <c:pt idx="51">
                  <c:v>Nicolas</c:v>
                </c:pt>
                <c:pt idx="52">
                  <c:v>Veuve Clicq</c:v>
                </c:pt>
                <c:pt idx="53">
                  <c:v>Bouvet-Ladu</c:v>
                </c:pt>
                <c:pt idx="54">
                  <c:v>French Bloo</c:v>
                </c:pt>
                <c:pt idx="55">
                  <c:v>Veuve Clicq</c:v>
                </c:pt>
                <c:pt idx="56">
                  <c:v>Savian</c:v>
                </c:pt>
                <c:pt idx="57">
                  <c:v>De Venoge</c:v>
                </c:pt>
                <c:pt idx="58">
                  <c:v>De Chanceny</c:v>
                </c:pt>
                <c:pt idx="59">
                  <c:v>Nicolas Feu</c:v>
                </c:pt>
                <c:pt idx="60">
                  <c:v>Lyre's</c:v>
                </c:pt>
                <c:pt idx="61">
                  <c:v>Piper Heids</c:v>
                </c:pt>
                <c:pt idx="62">
                  <c:v>De Bligny</c:v>
                </c:pt>
                <c:pt idx="63">
                  <c:v>All Others</c:v>
                </c:pt>
                <c:pt idx="64">
                  <c:v>Ruinart</c:v>
                </c:pt>
                <c:pt idx="65">
                  <c:v>Nicolas Feu</c:v>
                </c:pt>
                <c:pt idx="66">
                  <c:v>Nicolas Feu</c:v>
                </c:pt>
                <c:pt idx="67">
                  <c:v>Moët &amp; Chan</c:v>
                </c:pt>
                <c:pt idx="68">
                  <c:v>Deutz</c:v>
                </c:pt>
                <c:pt idx="69">
                  <c:v>Lanson</c:v>
                </c:pt>
                <c:pt idx="70">
                  <c:v>Malard</c:v>
                </c:pt>
                <c:pt idx="71">
                  <c:v>Canard Duch</c:v>
                </c:pt>
                <c:pt idx="72">
                  <c:v>Henriot</c:v>
                </c:pt>
                <c:pt idx="73">
                  <c:v>Malard</c:v>
                </c:pt>
                <c:pt idx="74">
                  <c:v>Pommery</c:v>
                </c:pt>
                <c:pt idx="75">
                  <c:v>Louis Marti</c:v>
                </c:pt>
                <c:pt idx="76">
                  <c:v>Bollinger</c:v>
                </c:pt>
                <c:pt idx="77">
                  <c:v>Ayala</c:v>
                </c:pt>
                <c:pt idx="78">
                  <c:v>Ruinart</c:v>
                </c:pt>
                <c:pt idx="79">
                  <c:v>Moët &amp; Chan</c:v>
                </c:pt>
                <c:pt idx="80">
                  <c:v>All Others</c:v>
                </c:pt>
                <c:pt idx="81">
                  <c:v>Campari: Al</c:v>
                </c:pt>
                <c:pt idx="82">
                  <c:v>Besserat De</c:v>
                </c:pt>
                <c:pt idx="83">
                  <c:v>Henriot</c:v>
                </c:pt>
                <c:pt idx="84">
                  <c:v>Ruinart</c:v>
                </c:pt>
                <c:pt idx="85">
                  <c:v>Delamotte</c:v>
                </c:pt>
                <c:pt idx="86">
                  <c:v>De Chanceny</c:v>
                </c:pt>
                <c:pt idx="87">
                  <c:v>Patriarche</c:v>
                </c:pt>
                <c:pt idx="88">
                  <c:v>Canard Duch</c:v>
                </c:pt>
                <c:pt idx="89">
                  <c:v>Canard Duch</c:v>
                </c:pt>
                <c:pt idx="90">
                  <c:v>Kriter</c:v>
                </c:pt>
                <c:pt idx="91">
                  <c:v>Krug</c:v>
                </c:pt>
                <c:pt idx="92">
                  <c:v>Vranken</c:v>
                </c:pt>
                <c:pt idx="93">
                  <c:v>Malard</c:v>
                </c:pt>
                <c:pt idx="94">
                  <c:v>De Venoge</c:v>
                </c:pt>
                <c:pt idx="95">
                  <c:v>Roederer</c:v>
                </c:pt>
                <c:pt idx="96">
                  <c:v>Roederer</c:v>
                </c:pt>
                <c:pt idx="97">
                  <c:v>Ruinart</c:v>
                </c:pt>
                <c:pt idx="98">
                  <c:v>Henriot</c:v>
                </c:pt>
                <c:pt idx="99">
                  <c:v>All Others</c:v>
                </c:pt>
                <c:pt idx="100">
                  <c:v>All Others</c:v>
                </c:pt>
                <c:pt idx="101">
                  <c:v>Ruinart</c:v>
                </c:pt>
                <c:pt idx="102">
                  <c:v>All Others</c:v>
                </c:pt>
                <c:pt idx="103">
                  <c:v>Vranken</c:v>
                </c:pt>
                <c:pt idx="104">
                  <c:v>Roederer</c:v>
                </c:pt>
                <c:pt idx="105">
                  <c:v>Bottega</c:v>
                </c:pt>
                <c:pt idx="106">
                  <c:v>Laurent Per</c:v>
                </c:pt>
                <c:pt idx="107">
                  <c:v>De Venoge</c:v>
                </c:pt>
                <c:pt idx="108">
                  <c:v>Canard Duch</c:v>
                </c:pt>
                <c:pt idx="109">
                  <c:v>Nicolas</c:v>
                </c:pt>
                <c:pt idx="110">
                  <c:v>Roederer</c:v>
                </c:pt>
                <c:pt idx="111">
                  <c:v>Nicolas</c:v>
                </c:pt>
                <c:pt idx="112">
                  <c:v>Roederer</c:v>
                </c:pt>
                <c:pt idx="113">
                  <c:v>Dom Perigno</c:v>
                </c:pt>
                <c:pt idx="114">
                  <c:v>De Venoge</c:v>
                </c:pt>
                <c:pt idx="115">
                  <c:v>Deutz</c:v>
                </c:pt>
                <c:pt idx="116">
                  <c:v>Deutz</c:v>
                </c:pt>
                <c:pt idx="117">
                  <c:v>Lanson-Bcc:</c:v>
                </c:pt>
                <c:pt idx="118">
                  <c:v>Perrier Jou</c:v>
                </c:pt>
                <c:pt idx="119">
                  <c:v>Ruinart</c:v>
                </c:pt>
                <c:pt idx="120">
                  <c:v>Veuve Clicq</c:v>
                </c:pt>
                <c:pt idx="121">
                  <c:v>All Others</c:v>
                </c:pt>
                <c:pt idx="122">
                  <c:v>Ruinart</c:v>
                </c:pt>
                <c:pt idx="123">
                  <c:v>All Others</c:v>
                </c:pt>
                <c:pt idx="124">
                  <c:v>All Others</c:v>
                </c:pt>
                <c:pt idx="125">
                  <c:v>All Others</c:v>
                </c:pt>
                <c:pt idx="126">
                  <c:v>Roederer</c:v>
                </c:pt>
                <c:pt idx="127">
                  <c:v>All Others</c:v>
                </c:pt>
                <c:pt idx="128">
                  <c:v>All Others</c:v>
                </c:pt>
                <c:pt idx="129">
                  <c:v>Bollinger</c:v>
                </c:pt>
                <c:pt idx="130">
                  <c:v>Cru La Maqu</c:v>
                </c:pt>
                <c:pt idx="131">
                  <c:v>Nicolas</c:v>
                </c:pt>
                <c:pt idx="132">
                  <c:v>Nicolas</c:v>
                </c:pt>
                <c:pt idx="133">
                  <c:v>All Others</c:v>
                </c:pt>
                <c:pt idx="134">
                  <c:v>Nicolas</c:v>
                </c:pt>
                <c:pt idx="135">
                  <c:v>Nicolas</c:v>
                </c:pt>
                <c:pt idx="136">
                  <c:v>All Others</c:v>
                </c:pt>
                <c:pt idx="137">
                  <c:v>All Others</c:v>
                </c:pt>
                <c:pt idx="138">
                  <c:v>Contarini</c:v>
                </c:pt>
                <c:pt idx="139">
                  <c:v>Pommery</c:v>
                </c:pt>
                <c:pt idx="140">
                  <c:v>Nicolas</c:v>
                </c:pt>
                <c:pt idx="141">
                  <c:v>Laurent Per</c:v>
                </c:pt>
                <c:pt idx="142">
                  <c:v>Bollinger</c:v>
                </c:pt>
                <c:pt idx="143">
                  <c:v>Nicolas</c:v>
                </c:pt>
                <c:pt idx="144">
                  <c:v>Nicolas</c:v>
                </c:pt>
                <c:pt idx="145">
                  <c:v>Bollinger</c:v>
                </c:pt>
                <c:pt idx="146">
                  <c:v>All Others</c:v>
                </c:pt>
                <c:pt idx="147">
                  <c:v>Roederer</c:v>
                </c:pt>
                <c:pt idx="148">
                  <c:v>Nicolas</c:v>
                </c:pt>
                <c:pt idx="149">
                  <c:v>Ruinart</c:v>
                </c:pt>
                <c:pt idx="150">
                  <c:v>Roederer</c:v>
                </c:pt>
                <c:pt idx="151">
                  <c:v>Ruinart</c:v>
                </c:pt>
                <c:pt idx="152">
                  <c:v>All Others</c:v>
                </c:pt>
                <c:pt idx="153">
                  <c:v>Dom Perigno</c:v>
                </c:pt>
                <c:pt idx="154">
                  <c:v>All Others</c:v>
                </c:pt>
                <c:pt idx="155">
                  <c:v>Lanson</c:v>
                </c:pt>
                <c:pt idx="156">
                  <c:v>Besserat De</c:v>
                </c:pt>
                <c:pt idx="157">
                  <c:v>All Others</c:v>
                </c:pt>
                <c:pt idx="158">
                  <c:v>Nicolas Feu</c:v>
                </c:pt>
                <c:pt idx="159">
                  <c:v>Vesselle</c:v>
                </c:pt>
                <c:pt idx="160">
                  <c:v>Laurent Per</c:v>
                </c:pt>
                <c:pt idx="161">
                  <c:v>Roederer</c:v>
                </c:pt>
                <c:pt idx="162">
                  <c:v>Demoiselle</c:v>
                </c:pt>
                <c:pt idx="163">
                  <c:v>Roederer</c:v>
                </c:pt>
                <c:pt idx="164">
                  <c:v>All Others</c:v>
                </c:pt>
                <c:pt idx="165">
                  <c:v>All Others</c:v>
                </c:pt>
                <c:pt idx="166">
                  <c:v>Laurent Per</c:v>
                </c:pt>
                <c:pt idx="167">
                  <c:v>All Others</c:v>
                </c:pt>
                <c:pt idx="168">
                  <c:v>Delamotte</c:v>
                </c:pt>
                <c:pt idx="169">
                  <c:v>Canard Duch</c:v>
                </c:pt>
                <c:pt idx="170">
                  <c:v>Ruinart</c:v>
                </c:pt>
                <c:pt idx="171">
                  <c:v>Louis Marti</c:v>
                </c:pt>
                <c:pt idx="172">
                  <c:v>All Others</c:v>
                </c:pt>
                <c:pt idx="173">
                  <c:v>Demoiselle</c:v>
                </c:pt>
                <c:pt idx="174">
                  <c:v>Contarini</c:v>
                </c:pt>
                <c:pt idx="175">
                  <c:v>All Others</c:v>
                </c:pt>
                <c:pt idx="176">
                  <c:v>Taittinger</c:v>
                </c:pt>
                <c:pt idx="177">
                  <c:v>All Others</c:v>
                </c:pt>
                <c:pt idx="178">
                  <c:v>Piper Heids</c:v>
                </c:pt>
                <c:pt idx="179">
                  <c:v>All Others</c:v>
                </c:pt>
                <c:pt idx="180">
                  <c:v>Canard Duch</c:v>
                </c:pt>
                <c:pt idx="181">
                  <c:v>Vranken</c:v>
                </c:pt>
                <c:pt idx="182">
                  <c:v>Roederer</c:v>
                </c:pt>
                <c:pt idx="183">
                  <c:v>All Others</c:v>
                </c:pt>
                <c:pt idx="184">
                  <c:v>Nicolas</c:v>
                </c:pt>
                <c:pt idx="185">
                  <c:v>All Others</c:v>
                </c:pt>
                <c:pt idx="186">
                  <c:v>Dom Perigno</c:v>
                </c:pt>
                <c:pt idx="187">
                  <c:v>All Others</c:v>
                </c:pt>
                <c:pt idx="188">
                  <c:v>Ruinart</c:v>
                </c:pt>
                <c:pt idx="189">
                  <c:v>Moët &amp; Chan</c:v>
                </c:pt>
                <c:pt idx="190">
                  <c:v>All Others</c:v>
                </c:pt>
                <c:pt idx="191">
                  <c:v>Perrier Jou</c:v>
                </c:pt>
                <c:pt idx="192">
                  <c:v>Pommery</c:v>
                </c:pt>
                <c:pt idx="193">
                  <c:v>Deutz</c:v>
                </c:pt>
                <c:pt idx="194">
                  <c:v>Moët &amp; Chan</c:v>
                </c:pt>
                <c:pt idx="195">
                  <c:v>All Others</c:v>
                </c:pt>
                <c:pt idx="196">
                  <c:v>Pommery</c:v>
                </c:pt>
                <c:pt idx="197">
                  <c:v>Nicolas</c:v>
                </c:pt>
                <c:pt idx="198">
                  <c:v>Ayala</c:v>
                </c:pt>
                <c:pt idx="199">
                  <c:v>Nicolas</c:v>
                </c:pt>
                <c:pt idx="200">
                  <c:v>Nicolas</c:v>
                </c:pt>
                <c:pt idx="201">
                  <c:v>Roederer</c:v>
                </c:pt>
                <c:pt idx="202">
                  <c:v>All Others</c:v>
                </c:pt>
                <c:pt idx="203">
                  <c:v>Laurent Per</c:v>
                </c:pt>
                <c:pt idx="204">
                  <c:v>Piper Heids</c:v>
                </c:pt>
                <c:pt idx="205">
                  <c:v>Malard</c:v>
                </c:pt>
                <c:pt idx="206">
                  <c:v>Dom Perigno</c:v>
                </c:pt>
                <c:pt idx="207">
                  <c:v>Deutz</c:v>
                </c:pt>
                <c:pt idx="208">
                  <c:v>All Others</c:v>
                </c:pt>
                <c:pt idx="209">
                  <c:v>Taittinger</c:v>
                </c:pt>
                <c:pt idx="210">
                  <c:v>Pommery</c:v>
                </c:pt>
                <c:pt idx="211">
                  <c:v>Vesselle</c:v>
                </c:pt>
                <c:pt idx="212">
                  <c:v>Moët &amp; Chan</c:v>
                </c:pt>
                <c:pt idx="213">
                  <c:v>Nicolas</c:v>
                </c:pt>
                <c:pt idx="214">
                  <c:v>All Others</c:v>
                </c:pt>
                <c:pt idx="215">
                  <c:v>All Others</c:v>
                </c:pt>
                <c:pt idx="216">
                  <c:v>Besserat De</c:v>
                </c:pt>
                <c:pt idx="217">
                  <c:v>Deutz</c:v>
                </c:pt>
                <c:pt idx="218">
                  <c:v>Piper Heids</c:v>
                </c:pt>
                <c:pt idx="219">
                  <c:v>De Venoge</c:v>
                </c:pt>
                <c:pt idx="220">
                  <c:v>Piper Heids</c:v>
                </c:pt>
                <c:pt idx="221">
                  <c:v>Laurent Per</c:v>
                </c:pt>
                <c:pt idx="222">
                  <c:v>All Others</c:v>
                </c:pt>
                <c:pt idx="223">
                  <c:v>All Others</c:v>
                </c:pt>
                <c:pt idx="224">
                  <c:v>All Others</c:v>
                </c:pt>
                <c:pt idx="225">
                  <c:v>Bouvet-Ladu</c:v>
                </c:pt>
                <c:pt idx="226">
                  <c:v>Roederer</c:v>
                </c:pt>
                <c:pt idx="227">
                  <c:v>Bollinger</c:v>
                </c:pt>
                <c:pt idx="228">
                  <c:v>Ruinart</c:v>
                </c:pt>
                <c:pt idx="229">
                  <c:v>Ruinart</c:v>
                </c:pt>
                <c:pt idx="230">
                  <c:v>All Others</c:v>
                </c:pt>
                <c:pt idx="231">
                  <c:v>Bollinger</c:v>
                </c:pt>
                <c:pt idx="232">
                  <c:v>Nicolas</c:v>
                </c:pt>
                <c:pt idx="233">
                  <c:v>All Others</c:v>
                </c:pt>
                <c:pt idx="234">
                  <c:v>All Others</c:v>
                </c:pt>
                <c:pt idx="235">
                  <c:v>Pommery</c:v>
                </c:pt>
                <c:pt idx="236">
                  <c:v>All Others</c:v>
                </c:pt>
                <c:pt idx="237">
                  <c:v>Ruinart</c:v>
                </c:pt>
                <c:pt idx="238">
                  <c:v>Laurent Per</c:v>
                </c:pt>
                <c:pt idx="239">
                  <c:v>Henriot</c:v>
                </c:pt>
                <c:pt idx="240">
                  <c:v>All Others</c:v>
                </c:pt>
                <c:pt idx="241">
                  <c:v>Taittinger</c:v>
                </c:pt>
                <c:pt idx="242">
                  <c:v>Nicolas</c:v>
                </c:pt>
                <c:pt idx="243">
                  <c:v>All Others</c:v>
                </c:pt>
                <c:pt idx="244">
                  <c:v>Bouvet-Ladu</c:v>
                </c:pt>
                <c:pt idx="245">
                  <c:v>All Others</c:v>
                </c:pt>
                <c:pt idx="246">
                  <c:v>De Venoge</c:v>
                </c:pt>
                <c:pt idx="247">
                  <c:v>All Others</c:v>
                </c:pt>
                <c:pt idx="248">
                  <c:v>Bouvet-Ladu</c:v>
                </c:pt>
                <c:pt idx="249">
                  <c:v>De Venoge</c:v>
                </c:pt>
                <c:pt idx="250">
                  <c:v>All Others</c:v>
                </c:pt>
                <c:pt idx="251">
                  <c:v>De Venoge</c:v>
                </c:pt>
                <c:pt idx="252">
                  <c:v>Nicolas Feu</c:v>
                </c:pt>
                <c:pt idx="253">
                  <c:v>Laurent Per</c:v>
                </c:pt>
                <c:pt idx="254">
                  <c:v>Celene</c:v>
                </c:pt>
                <c:pt idx="255">
                  <c:v>All Others</c:v>
                </c:pt>
                <c:pt idx="256">
                  <c:v>Canard Duch</c:v>
                </c:pt>
                <c:pt idx="257">
                  <c:v>Henriot</c:v>
                </c:pt>
                <c:pt idx="258">
                  <c:v>All Others</c:v>
                </c:pt>
                <c:pt idx="259">
                  <c:v>Celene</c:v>
                </c:pt>
                <c:pt idx="260">
                  <c:v>Roederer</c:v>
                </c:pt>
                <c:pt idx="261">
                  <c:v>All Others</c:v>
                </c:pt>
                <c:pt idx="262">
                  <c:v>Canard Duch</c:v>
                </c:pt>
                <c:pt idx="263">
                  <c:v>All Others</c:v>
                </c:pt>
                <c:pt idx="264">
                  <c:v>All Others</c:v>
                </c:pt>
                <c:pt idx="265">
                  <c:v>Veuve Clicq</c:v>
                </c:pt>
                <c:pt idx="266">
                  <c:v>All Others</c:v>
                </c:pt>
                <c:pt idx="267">
                  <c:v>All Others</c:v>
                </c:pt>
                <c:pt idx="268">
                  <c:v>Roederer</c:v>
                </c:pt>
                <c:pt idx="269">
                  <c:v>Bottega</c:v>
                </c:pt>
                <c:pt idx="270">
                  <c:v>Bollinger</c:v>
                </c:pt>
                <c:pt idx="271">
                  <c:v>Laurent Per</c:v>
                </c:pt>
                <c:pt idx="272">
                  <c:v>Roederer</c:v>
                </c:pt>
                <c:pt idx="273">
                  <c:v>Lanson</c:v>
                </c:pt>
                <c:pt idx="274">
                  <c:v>Pommery</c:v>
                </c:pt>
                <c:pt idx="275">
                  <c:v>Perrier Jou</c:v>
                </c:pt>
                <c:pt idx="276">
                  <c:v>Dom Perigno</c:v>
                </c:pt>
                <c:pt idx="277">
                  <c:v>All Others</c:v>
                </c:pt>
                <c:pt idx="278">
                  <c:v>Moët &amp; Chan</c:v>
                </c:pt>
                <c:pt idx="279">
                  <c:v>All Others</c:v>
                </c:pt>
                <c:pt idx="280">
                  <c:v>All Others</c:v>
                </c:pt>
                <c:pt idx="281">
                  <c:v>All Others</c:v>
                </c:pt>
                <c:pt idx="282">
                  <c:v>All Others</c:v>
                </c:pt>
                <c:pt idx="283">
                  <c:v>Roederer</c:v>
                </c:pt>
                <c:pt idx="284">
                  <c:v>All Others</c:v>
                </c:pt>
                <c:pt idx="285">
                  <c:v>De Bligny</c:v>
                </c:pt>
                <c:pt idx="286">
                  <c:v>Malard</c:v>
                </c:pt>
                <c:pt idx="287">
                  <c:v>Deutz</c:v>
                </c:pt>
                <c:pt idx="288">
                  <c:v>Demoiselle</c:v>
                </c:pt>
                <c:pt idx="289">
                  <c:v>All Others</c:v>
                </c:pt>
                <c:pt idx="290">
                  <c:v>All Others</c:v>
                </c:pt>
                <c:pt idx="291">
                  <c:v>De Bligny</c:v>
                </c:pt>
                <c:pt idx="292">
                  <c:v>Martel</c:v>
                </c:pt>
                <c:pt idx="293">
                  <c:v>Deutz</c:v>
                </c:pt>
                <c:pt idx="294">
                  <c:v>Ruinart</c:v>
                </c:pt>
                <c:pt idx="295">
                  <c:v>Roederer</c:v>
                </c:pt>
                <c:pt idx="296">
                  <c:v>All Others</c:v>
                </c:pt>
                <c:pt idx="297">
                  <c:v>Laurent Per</c:v>
                </c:pt>
                <c:pt idx="298">
                  <c:v>Laurent Per</c:v>
                </c:pt>
                <c:pt idx="299">
                  <c:v>All Others</c:v>
                </c:pt>
                <c:pt idx="300">
                  <c:v>Roederer</c:v>
                </c:pt>
                <c:pt idx="301">
                  <c:v>Ruinart</c:v>
                </c:pt>
                <c:pt idx="302">
                  <c:v>De Venoge</c:v>
                </c:pt>
                <c:pt idx="303">
                  <c:v>All Others</c:v>
                </c:pt>
                <c:pt idx="304">
                  <c:v>All Others</c:v>
                </c:pt>
                <c:pt idx="305">
                  <c:v>Demoiselle</c:v>
                </c:pt>
                <c:pt idx="306">
                  <c:v>All Others</c:v>
                </c:pt>
                <c:pt idx="307">
                  <c:v>Pommery</c:v>
                </c:pt>
                <c:pt idx="308">
                  <c:v>Moët &amp; Chan</c:v>
                </c:pt>
                <c:pt idx="309">
                  <c:v>All Others</c:v>
                </c:pt>
                <c:pt idx="310">
                  <c:v>Perrier Jou</c:v>
                </c:pt>
                <c:pt idx="311">
                  <c:v>Bollinger</c:v>
                </c:pt>
                <c:pt idx="312">
                  <c:v>All Others</c:v>
                </c:pt>
                <c:pt idx="313">
                  <c:v>All Others</c:v>
                </c:pt>
                <c:pt idx="314">
                  <c:v>Laurent Per</c:v>
                </c:pt>
                <c:pt idx="315">
                  <c:v>Roederer</c:v>
                </c:pt>
                <c:pt idx="316">
                  <c:v>Veuve Clicq</c:v>
                </c:pt>
                <c:pt idx="317">
                  <c:v>All Others</c:v>
                </c:pt>
                <c:pt idx="318">
                  <c:v>All Others</c:v>
                </c:pt>
                <c:pt idx="319">
                  <c:v>All Others</c:v>
                </c:pt>
                <c:pt idx="320">
                  <c:v>All Others</c:v>
                </c:pt>
                <c:pt idx="321">
                  <c:v>Ayala</c:v>
                </c:pt>
                <c:pt idx="322">
                  <c:v>Bouvet-Ladu</c:v>
                </c:pt>
                <c:pt idx="323">
                  <c:v>All Others</c:v>
                </c:pt>
                <c:pt idx="324">
                  <c:v>Jaillance</c:v>
                </c:pt>
                <c:pt idx="325">
                  <c:v>Roederer</c:v>
                </c:pt>
                <c:pt idx="326">
                  <c:v>Roederer</c:v>
                </c:pt>
                <c:pt idx="327">
                  <c:v>Roederer</c:v>
                </c:pt>
                <c:pt idx="328">
                  <c:v>Roederer</c:v>
                </c:pt>
                <c:pt idx="329">
                  <c:v>De Venoge</c:v>
                </c:pt>
                <c:pt idx="330">
                  <c:v>Veuve Clicq</c:v>
                </c:pt>
                <c:pt idx="331">
                  <c:v>Veuve Clicq</c:v>
                </c:pt>
                <c:pt idx="332">
                  <c:v>Veuve Clicq</c:v>
                </c:pt>
                <c:pt idx="333">
                  <c:v>All Others</c:v>
                </c:pt>
                <c:pt idx="334">
                  <c:v>Deutz</c:v>
                </c:pt>
                <c:pt idx="335">
                  <c:v>All Others</c:v>
                </c:pt>
                <c:pt idx="336">
                  <c:v>Demoiselle</c:v>
                </c:pt>
                <c:pt idx="337">
                  <c:v>Malard</c:v>
                </c:pt>
                <c:pt idx="338">
                  <c:v>Veuve Clicq</c:v>
                </c:pt>
                <c:pt idx="339">
                  <c:v>Bouvet-Ladu</c:v>
                </c:pt>
                <c:pt idx="340">
                  <c:v>Bouvet-Ladu</c:v>
                </c:pt>
                <c:pt idx="341">
                  <c:v>Roederer</c:v>
                </c:pt>
                <c:pt idx="342">
                  <c:v>Nicolas</c:v>
                </c:pt>
                <c:pt idx="343">
                  <c:v>All Others</c:v>
                </c:pt>
                <c:pt idx="344">
                  <c:v>De Venoge</c:v>
                </c:pt>
                <c:pt idx="345">
                  <c:v>De Venoge</c:v>
                </c:pt>
                <c:pt idx="346">
                  <c:v>Roederer</c:v>
                </c:pt>
                <c:pt idx="347">
                  <c:v>Deutz</c:v>
                </c:pt>
                <c:pt idx="348">
                  <c:v>Ayala</c:v>
                </c:pt>
                <c:pt idx="349">
                  <c:v>All Others</c:v>
                </c:pt>
                <c:pt idx="350">
                  <c:v>Laurent Per</c:v>
                </c:pt>
                <c:pt idx="351">
                  <c:v>Bollinger</c:v>
                </c:pt>
                <c:pt idx="352">
                  <c:v>Ruinart</c:v>
                </c:pt>
                <c:pt idx="353">
                  <c:v>De Bligny</c:v>
                </c:pt>
                <c:pt idx="354">
                  <c:v>Bouvet-Ladu</c:v>
                </c:pt>
                <c:pt idx="355">
                  <c:v>Vesselle</c:v>
                </c:pt>
                <c:pt idx="356">
                  <c:v>Roederer</c:v>
                </c:pt>
                <c:pt idx="357">
                  <c:v>Besserat De</c:v>
                </c:pt>
                <c:pt idx="358">
                  <c:v>Taittinger</c:v>
                </c:pt>
                <c:pt idx="359">
                  <c:v>Roederer</c:v>
                </c:pt>
                <c:pt idx="360">
                  <c:v>Roederer</c:v>
                </c:pt>
                <c:pt idx="361">
                  <c:v>Bollinger</c:v>
                </c:pt>
                <c:pt idx="362">
                  <c:v>All Others</c:v>
                </c:pt>
                <c:pt idx="363">
                  <c:v>Laurent Per</c:v>
                </c:pt>
                <c:pt idx="364">
                  <c:v>Nicolas Feu</c:v>
                </c:pt>
                <c:pt idx="365">
                  <c:v>Bottega</c:v>
                </c:pt>
                <c:pt idx="366">
                  <c:v>All Others</c:v>
                </c:pt>
                <c:pt idx="367">
                  <c:v>All Others</c:v>
                </c:pt>
                <c:pt idx="368">
                  <c:v>Besserat De</c:v>
                </c:pt>
                <c:pt idx="369">
                  <c:v>Perrier Jou</c:v>
                </c:pt>
                <c:pt idx="370">
                  <c:v>All Others</c:v>
                </c:pt>
                <c:pt idx="371">
                  <c:v>Moët &amp; Chan</c:v>
                </c:pt>
                <c:pt idx="372">
                  <c:v>All Others</c:v>
                </c:pt>
                <c:pt idx="373">
                  <c:v>All Others</c:v>
                </c:pt>
                <c:pt idx="374">
                  <c:v>Besserat De</c:v>
                </c:pt>
                <c:pt idx="375">
                  <c:v>All Others</c:v>
                </c:pt>
                <c:pt idx="376">
                  <c:v>All Others</c:v>
                </c:pt>
                <c:pt idx="377">
                  <c:v>Vranken Pom</c:v>
                </c:pt>
                <c:pt idx="378">
                  <c:v>All Others</c:v>
                </c:pt>
                <c:pt idx="379">
                  <c:v>All Others</c:v>
                </c:pt>
                <c:pt idx="380">
                  <c:v>All Others</c:v>
                </c:pt>
                <c:pt idx="381">
                  <c:v>Malard</c:v>
                </c:pt>
                <c:pt idx="382">
                  <c:v>All Others</c:v>
                </c:pt>
                <c:pt idx="383">
                  <c:v>Veuve Clicq</c:v>
                </c:pt>
                <c:pt idx="384">
                  <c:v>French Bloo</c:v>
                </c:pt>
                <c:pt idx="385">
                  <c:v>All Others</c:v>
                </c:pt>
                <c:pt idx="386">
                  <c:v>All Others</c:v>
                </c:pt>
                <c:pt idx="387">
                  <c:v>All Others</c:v>
                </c:pt>
              </c:strCache>
            </c:strRef>
          </c:cat>
          <c:val>
            <c:numRef>
              <c:f>Sheet1!$B$2:$B$389</c:f>
              <c:numCache>
                <c:formatCode>General</c:formatCode>
                <c:ptCount val="388"/>
                <c:pt idx="0">
                  <c:v>0.99</c:v>
                </c:pt>
                <c:pt idx="1">
                  <c:v>0.99</c:v>
                </c:pt>
                <c:pt idx="2">
                  <c:v>0.84</c:v>
                </c:pt>
                <c:pt idx="3">
                  <c:v>0.98</c:v>
                </c:pt>
                <c:pt idx="4">
                  <c:v>0.91</c:v>
                </c:pt>
                <c:pt idx="5">
                  <c:v>0.91</c:v>
                </c:pt>
                <c:pt idx="6">
                  <c:v>0.89</c:v>
                </c:pt>
                <c:pt idx="7">
                  <c:v>0.89</c:v>
                </c:pt>
                <c:pt idx="8">
                  <c:v>0.96</c:v>
                </c:pt>
                <c:pt idx="9">
                  <c:v>0.61</c:v>
                </c:pt>
                <c:pt idx="10">
                  <c:v>0.92</c:v>
                </c:pt>
                <c:pt idx="11">
                  <c:v>0.93</c:v>
                </c:pt>
                <c:pt idx="12">
                  <c:v>0.69</c:v>
                </c:pt>
                <c:pt idx="13">
                  <c:v>0.9</c:v>
                </c:pt>
                <c:pt idx="14">
                  <c:v>0.86</c:v>
                </c:pt>
                <c:pt idx="15">
                  <c:v>0.81</c:v>
                </c:pt>
                <c:pt idx="16">
                  <c:v>0.8</c:v>
                </c:pt>
                <c:pt idx="17">
                  <c:v>0.68</c:v>
                </c:pt>
                <c:pt idx="18">
                  <c:v>0.65</c:v>
                </c:pt>
                <c:pt idx="19">
                  <c:v>0.47</c:v>
                </c:pt>
                <c:pt idx="20">
                  <c:v>0.84</c:v>
                </c:pt>
                <c:pt idx="21">
                  <c:v>0.69</c:v>
                </c:pt>
                <c:pt idx="22">
                  <c:v>0.67</c:v>
                </c:pt>
                <c:pt idx="23">
                  <c:v>0.69</c:v>
                </c:pt>
                <c:pt idx="24">
                  <c:v>0.68</c:v>
                </c:pt>
                <c:pt idx="25">
                  <c:v>0.63</c:v>
                </c:pt>
                <c:pt idx="26">
                  <c:v>0.75</c:v>
                </c:pt>
                <c:pt idx="27">
                  <c:v>0.28000000000000003</c:v>
                </c:pt>
                <c:pt idx="28">
                  <c:v>0.63</c:v>
                </c:pt>
                <c:pt idx="29">
                  <c:v>0.64</c:v>
                </c:pt>
                <c:pt idx="30">
                  <c:v>0.54</c:v>
                </c:pt>
                <c:pt idx="31">
                  <c:v>0.56999999999999995</c:v>
                </c:pt>
                <c:pt idx="32">
                  <c:v>0.6</c:v>
                </c:pt>
                <c:pt idx="33">
                  <c:v>0.24</c:v>
                </c:pt>
                <c:pt idx="34">
                  <c:v>0.85</c:v>
                </c:pt>
                <c:pt idx="35">
                  <c:v>0.71</c:v>
                </c:pt>
                <c:pt idx="36">
                  <c:v>0.52</c:v>
                </c:pt>
                <c:pt idx="37">
                  <c:v>0.62</c:v>
                </c:pt>
                <c:pt idx="38">
                  <c:v>0.5</c:v>
                </c:pt>
                <c:pt idx="39">
                  <c:v>0.56000000000000005</c:v>
                </c:pt>
                <c:pt idx="40">
                  <c:v>0.46</c:v>
                </c:pt>
                <c:pt idx="41">
                  <c:v>0.52</c:v>
                </c:pt>
                <c:pt idx="42">
                  <c:v>0.73</c:v>
                </c:pt>
                <c:pt idx="43">
                  <c:v>0.43</c:v>
                </c:pt>
                <c:pt idx="44">
                  <c:v>0.61</c:v>
                </c:pt>
                <c:pt idx="45">
                  <c:v>0.48</c:v>
                </c:pt>
                <c:pt idx="46">
                  <c:v>0.1</c:v>
                </c:pt>
                <c:pt idx="47">
                  <c:v>0.18</c:v>
                </c:pt>
                <c:pt idx="48">
                  <c:v>0.53</c:v>
                </c:pt>
                <c:pt idx="49">
                  <c:v>0.42</c:v>
                </c:pt>
                <c:pt idx="50">
                  <c:v>0.52</c:v>
                </c:pt>
                <c:pt idx="51">
                  <c:v>0.74</c:v>
                </c:pt>
                <c:pt idx="52">
                  <c:v>0.39</c:v>
                </c:pt>
                <c:pt idx="53">
                  <c:v>0.62</c:v>
                </c:pt>
                <c:pt idx="54">
                  <c:v>0.64</c:v>
                </c:pt>
                <c:pt idx="55">
                  <c:v>0.47</c:v>
                </c:pt>
                <c:pt idx="56">
                  <c:v>0.72</c:v>
                </c:pt>
                <c:pt idx="57">
                  <c:v>0.47</c:v>
                </c:pt>
                <c:pt idx="58">
                  <c:v>0.62</c:v>
                </c:pt>
                <c:pt idx="59">
                  <c:v>0.49</c:v>
                </c:pt>
                <c:pt idx="60">
                  <c:v>0.83</c:v>
                </c:pt>
                <c:pt idx="61">
                  <c:v>0.56999999999999995</c:v>
                </c:pt>
                <c:pt idx="62">
                  <c:v>0.62</c:v>
                </c:pt>
                <c:pt idx="63">
                  <c:v>0.36</c:v>
                </c:pt>
                <c:pt idx="64">
                  <c:v>0.53</c:v>
                </c:pt>
                <c:pt idx="65">
                  <c:v>0.41</c:v>
                </c:pt>
                <c:pt idx="66">
                  <c:v>0.42</c:v>
                </c:pt>
                <c:pt idx="67">
                  <c:v>0.44</c:v>
                </c:pt>
                <c:pt idx="68">
                  <c:v>0.67</c:v>
                </c:pt>
                <c:pt idx="69">
                  <c:v>0.46</c:v>
                </c:pt>
                <c:pt idx="70">
                  <c:v>0.36</c:v>
                </c:pt>
                <c:pt idx="71">
                  <c:v>0.71</c:v>
                </c:pt>
                <c:pt idx="72">
                  <c:v>0.41</c:v>
                </c:pt>
                <c:pt idx="73">
                  <c:v>0.45</c:v>
                </c:pt>
                <c:pt idx="74">
                  <c:v>0.43</c:v>
                </c:pt>
                <c:pt idx="75">
                  <c:v>0.39</c:v>
                </c:pt>
                <c:pt idx="76">
                  <c:v>0.2</c:v>
                </c:pt>
                <c:pt idx="77">
                  <c:v>0.34</c:v>
                </c:pt>
                <c:pt idx="78">
                  <c:v>0.3</c:v>
                </c:pt>
                <c:pt idx="79">
                  <c:v>0.37</c:v>
                </c:pt>
                <c:pt idx="80">
                  <c:v>0.08</c:v>
                </c:pt>
                <c:pt idx="81">
                  <c:v>0.34</c:v>
                </c:pt>
                <c:pt idx="82">
                  <c:v>0.35</c:v>
                </c:pt>
                <c:pt idx="83">
                  <c:v>0.49</c:v>
                </c:pt>
                <c:pt idx="84">
                  <c:v>0.34</c:v>
                </c:pt>
                <c:pt idx="85">
                  <c:v>0.22</c:v>
                </c:pt>
                <c:pt idx="86">
                  <c:v>0.49</c:v>
                </c:pt>
                <c:pt idx="87">
                  <c:v>0.55000000000000004</c:v>
                </c:pt>
                <c:pt idx="88">
                  <c:v>0.22</c:v>
                </c:pt>
                <c:pt idx="89">
                  <c:v>0.3</c:v>
                </c:pt>
                <c:pt idx="90">
                  <c:v>0.46</c:v>
                </c:pt>
                <c:pt idx="91">
                  <c:v>0.08</c:v>
                </c:pt>
                <c:pt idx="92">
                  <c:v>0.3</c:v>
                </c:pt>
                <c:pt idx="93">
                  <c:v>0.43</c:v>
                </c:pt>
                <c:pt idx="94">
                  <c:v>0.2</c:v>
                </c:pt>
                <c:pt idx="95">
                  <c:v>0.12</c:v>
                </c:pt>
                <c:pt idx="96">
                  <c:v>0.23</c:v>
                </c:pt>
                <c:pt idx="97">
                  <c:v>0.13</c:v>
                </c:pt>
                <c:pt idx="98">
                  <c:v>0.25</c:v>
                </c:pt>
                <c:pt idx="99">
                  <c:v>0.34</c:v>
                </c:pt>
                <c:pt idx="100">
                  <c:v>7.0000000000000007E-2</c:v>
                </c:pt>
                <c:pt idx="101">
                  <c:v>0.11</c:v>
                </c:pt>
                <c:pt idx="102">
                  <c:v>0.08</c:v>
                </c:pt>
                <c:pt idx="103">
                  <c:v>0.18</c:v>
                </c:pt>
                <c:pt idx="104">
                  <c:v>7.0000000000000007E-2</c:v>
                </c:pt>
                <c:pt idx="105">
                  <c:v>0.4</c:v>
                </c:pt>
                <c:pt idx="106">
                  <c:v>0.24</c:v>
                </c:pt>
                <c:pt idx="107">
                  <c:v>0.34</c:v>
                </c:pt>
                <c:pt idx="108">
                  <c:v>0.25</c:v>
                </c:pt>
                <c:pt idx="109">
                  <c:v>0.24</c:v>
                </c:pt>
                <c:pt idx="110">
                  <c:v>0.16</c:v>
                </c:pt>
                <c:pt idx="111">
                  <c:v>0.26</c:v>
                </c:pt>
                <c:pt idx="112">
                  <c:v>0.21</c:v>
                </c:pt>
                <c:pt idx="113">
                  <c:v>0.13</c:v>
                </c:pt>
                <c:pt idx="114">
                  <c:v>0.15</c:v>
                </c:pt>
                <c:pt idx="115">
                  <c:v>7.0000000000000007E-2</c:v>
                </c:pt>
                <c:pt idx="116">
                  <c:v>0.45</c:v>
                </c:pt>
                <c:pt idx="117">
                  <c:v>7.0000000000000007E-2</c:v>
                </c:pt>
                <c:pt idx="118">
                  <c:v>0.22</c:v>
                </c:pt>
                <c:pt idx="119">
                  <c:v>0.26</c:v>
                </c:pt>
                <c:pt idx="120">
                  <c:v>0.12</c:v>
                </c:pt>
                <c:pt idx="121">
                  <c:v>0.08</c:v>
                </c:pt>
                <c:pt idx="122">
                  <c:v>7.0000000000000007E-2</c:v>
                </c:pt>
                <c:pt idx="123">
                  <c:v>0.19</c:v>
                </c:pt>
                <c:pt idx="124">
                  <c:v>0.56000000000000005</c:v>
                </c:pt>
                <c:pt idx="125">
                  <c:v>0.3</c:v>
                </c:pt>
                <c:pt idx="126">
                  <c:v>0.21</c:v>
                </c:pt>
                <c:pt idx="127">
                  <c:v>7.0000000000000007E-2</c:v>
                </c:pt>
                <c:pt idx="128">
                  <c:v>0.06</c:v>
                </c:pt>
                <c:pt idx="129">
                  <c:v>0.12</c:v>
                </c:pt>
                <c:pt idx="130">
                  <c:v>0.34</c:v>
                </c:pt>
                <c:pt idx="131">
                  <c:v>0.16</c:v>
                </c:pt>
                <c:pt idx="132">
                  <c:v>0.28000000000000003</c:v>
                </c:pt>
                <c:pt idx="133">
                  <c:v>0.2</c:v>
                </c:pt>
                <c:pt idx="134">
                  <c:v>0.46</c:v>
                </c:pt>
                <c:pt idx="135">
                  <c:v>0.28000000000000003</c:v>
                </c:pt>
                <c:pt idx="136">
                  <c:v>7.0000000000000007E-2</c:v>
                </c:pt>
                <c:pt idx="137">
                  <c:v>0.38</c:v>
                </c:pt>
                <c:pt idx="138">
                  <c:v>0.76</c:v>
                </c:pt>
                <c:pt idx="139">
                  <c:v>0.14000000000000001</c:v>
                </c:pt>
                <c:pt idx="140">
                  <c:v>0.14000000000000001</c:v>
                </c:pt>
                <c:pt idx="141">
                  <c:v>0.14000000000000001</c:v>
                </c:pt>
                <c:pt idx="142">
                  <c:v>0.05</c:v>
                </c:pt>
                <c:pt idx="143">
                  <c:v>0.19</c:v>
                </c:pt>
                <c:pt idx="144">
                  <c:v>0.25</c:v>
                </c:pt>
                <c:pt idx="145">
                  <c:v>7.0000000000000007E-2</c:v>
                </c:pt>
                <c:pt idx="146">
                  <c:v>0.24</c:v>
                </c:pt>
                <c:pt idx="147">
                  <c:v>0.22</c:v>
                </c:pt>
                <c:pt idx="148">
                  <c:v>0.11</c:v>
                </c:pt>
                <c:pt idx="149">
                  <c:v>0.09</c:v>
                </c:pt>
                <c:pt idx="150">
                  <c:v>0.04</c:v>
                </c:pt>
                <c:pt idx="151">
                  <c:v>0.03</c:v>
                </c:pt>
                <c:pt idx="152">
                  <c:v>0.18</c:v>
                </c:pt>
                <c:pt idx="153">
                  <c:v>0.05</c:v>
                </c:pt>
                <c:pt idx="154">
                  <c:v>0.39</c:v>
                </c:pt>
                <c:pt idx="155">
                  <c:v>0.15</c:v>
                </c:pt>
                <c:pt idx="156">
                  <c:v>0.17</c:v>
                </c:pt>
                <c:pt idx="157">
                  <c:v>0.05</c:v>
                </c:pt>
                <c:pt idx="158">
                  <c:v>0.2</c:v>
                </c:pt>
                <c:pt idx="159">
                  <c:v>0.16</c:v>
                </c:pt>
                <c:pt idx="160">
                  <c:v>0.06</c:v>
                </c:pt>
                <c:pt idx="161">
                  <c:v>0.19</c:v>
                </c:pt>
                <c:pt idx="162">
                  <c:v>0.18</c:v>
                </c:pt>
                <c:pt idx="163">
                  <c:v>0.06</c:v>
                </c:pt>
                <c:pt idx="164">
                  <c:v>0.2</c:v>
                </c:pt>
                <c:pt idx="165">
                  <c:v>0.18</c:v>
                </c:pt>
                <c:pt idx="166">
                  <c:v>0.06</c:v>
                </c:pt>
                <c:pt idx="167">
                  <c:v>0.05</c:v>
                </c:pt>
                <c:pt idx="168">
                  <c:v>0.13</c:v>
                </c:pt>
                <c:pt idx="169">
                  <c:v>0.11</c:v>
                </c:pt>
                <c:pt idx="170">
                  <c:v>0.05</c:v>
                </c:pt>
                <c:pt idx="171">
                  <c:v>0.15</c:v>
                </c:pt>
                <c:pt idx="172">
                  <c:v>7.0000000000000007E-2</c:v>
                </c:pt>
                <c:pt idx="173">
                  <c:v>0.2</c:v>
                </c:pt>
                <c:pt idx="174">
                  <c:v>0.12</c:v>
                </c:pt>
                <c:pt idx="175">
                  <c:v>0.11</c:v>
                </c:pt>
                <c:pt idx="176">
                  <c:v>7.0000000000000007E-2</c:v>
                </c:pt>
                <c:pt idx="177">
                  <c:v>0.01</c:v>
                </c:pt>
                <c:pt idx="178">
                  <c:v>0.04</c:v>
                </c:pt>
                <c:pt idx="179">
                  <c:v>0.14000000000000001</c:v>
                </c:pt>
                <c:pt idx="180">
                  <c:v>0.09</c:v>
                </c:pt>
                <c:pt idx="181">
                  <c:v>7.0000000000000007E-2</c:v>
                </c:pt>
                <c:pt idx="182">
                  <c:v>0.17</c:v>
                </c:pt>
                <c:pt idx="183">
                  <c:v>0.01</c:v>
                </c:pt>
                <c:pt idx="184">
                  <c:v>0.08</c:v>
                </c:pt>
                <c:pt idx="185">
                  <c:v>0.08</c:v>
                </c:pt>
                <c:pt idx="186">
                  <c:v>0.02</c:v>
                </c:pt>
                <c:pt idx="187">
                  <c:v>0.05</c:v>
                </c:pt>
                <c:pt idx="188">
                  <c:v>7.0000000000000007E-2</c:v>
                </c:pt>
                <c:pt idx="189">
                  <c:v>0.11</c:v>
                </c:pt>
                <c:pt idx="190">
                  <c:v>0.04</c:v>
                </c:pt>
                <c:pt idx="191">
                  <c:v>0.05</c:v>
                </c:pt>
                <c:pt idx="192">
                  <c:v>0.06</c:v>
                </c:pt>
                <c:pt idx="193">
                  <c:v>0.03</c:v>
                </c:pt>
                <c:pt idx="194">
                  <c:v>0.05</c:v>
                </c:pt>
                <c:pt idx="195">
                  <c:v>0.06</c:v>
                </c:pt>
                <c:pt idx="196">
                  <c:v>0.14000000000000001</c:v>
                </c:pt>
                <c:pt idx="197">
                  <c:v>0.09</c:v>
                </c:pt>
                <c:pt idx="198">
                  <c:v>0.03</c:v>
                </c:pt>
                <c:pt idx="199">
                  <c:v>0.11</c:v>
                </c:pt>
                <c:pt idx="200">
                  <c:v>0.11</c:v>
                </c:pt>
                <c:pt idx="201">
                  <c:v>7.0000000000000007E-2</c:v>
                </c:pt>
                <c:pt idx="202">
                  <c:v>7.0000000000000007E-2</c:v>
                </c:pt>
                <c:pt idx="203">
                  <c:v>0.02</c:v>
                </c:pt>
                <c:pt idx="204">
                  <c:v>0.09</c:v>
                </c:pt>
                <c:pt idx="205">
                  <c:v>0.04</c:v>
                </c:pt>
                <c:pt idx="206">
                  <c:v>0.02</c:v>
                </c:pt>
                <c:pt idx="207">
                  <c:v>0.04</c:v>
                </c:pt>
                <c:pt idx="208">
                  <c:v>0.04</c:v>
                </c:pt>
                <c:pt idx="209">
                  <c:v>0.04</c:v>
                </c:pt>
                <c:pt idx="210">
                  <c:v>0.1</c:v>
                </c:pt>
                <c:pt idx="211">
                  <c:v>0.06</c:v>
                </c:pt>
                <c:pt idx="212">
                  <c:v>0.03</c:v>
                </c:pt>
                <c:pt idx="213">
                  <c:v>0.08</c:v>
                </c:pt>
                <c:pt idx="214">
                  <c:v>0.06</c:v>
                </c:pt>
                <c:pt idx="215">
                  <c:v>0.01</c:v>
                </c:pt>
                <c:pt idx="216">
                  <c:v>0.1</c:v>
                </c:pt>
                <c:pt idx="217">
                  <c:v>0.04</c:v>
                </c:pt>
                <c:pt idx="218">
                  <c:v>0.06</c:v>
                </c:pt>
                <c:pt idx="219">
                  <c:v>0.06</c:v>
                </c:pt>
                <c:pt idx="220">
                  <c:v>0.04</c:v>
                </c:pt>
                <c:pt idx="221">
                  <c:v>0.06</c:v>
                </c:pt>
                <c:pt idx="222">
                  <c:v>0.1</c:v>
                </c:pt>
                <c:pt idx="223">
                  <c:v>0.05</c:v>
                </c:pt>
                <c:pt idx="224">
                  <c:v>0.09</c:v>
                </c:pt>
                <c:pt idx="225">
                  <c:v>0.05</c:v>
                </c:pt>
                <c:pt idx="226">
                  <c:v>0.03</c:v>
                </c:pt>
                <c:pt idx="227">
                  <c:v>0.04</c:v>
                </c:pt>
                <c:pt idx="228">
                  <c:v>0.02</c:v>
                </c:pt>
                <c:pt idx="229">
                  <c:v>0.04</c:v>
                </c:pt>
                <c:pt idx="230">
                  <c:v>0.08</c:v>
                </c:pt>
                <c:pt idx="231">
                  <c:v>0.04</c:v>
                </c:pt>
                <c:pt idx="232">
                  <c:v>0.09</c:v>
                </c:pt>
                <c:pt idx="233">
                  <c:v>0.04</c:v>
                </c:pt>
                <c:pt idx="234">
                  <c:v>0.05</c:v>
                </c:pt>
                <c:pt idx="235">
                  <c:v>0.06</c:v>
                </c:pt>
                <c:pt idx="236">
                  <c:v>0.01</c:v>
                </c:pt>
                <c:pt idx="237">
                  <c:v>0.03</c:v>
                </c:pt>
                <c:pt idx="238">
                  <c:v>7.0000000000000007E-2</c:v>
                </c:pt>
                <c:pt idx="239">
                  <c:v>0.02</c:v>
                </c:pt>
                <c:pt idx="240">
                  <c:v>0.15</c:v>
                </c:pt>
                <c:pt idx="241">
                  <c:v>0.03</c:v>
                </c:pt>
                <c:pt idx="242">
                  <c:v>0.04</c:v>
                </c:pt>
                <c:pt idx="243">
                  <c:v>0.02</c:v>
                </c:pt>
                <c:pt idx="244">
                  <c:v>0.08</c:v>
                </c:pt>
                <c:pt idx="245">
                  <c:v>0.04</c:v>
                </c:pt>
                <c:pt idx="246">
                  <c:v>0.03</c:v>
                </c:pt>
                <c:pt idx="247">
                  <c:v>0.02</c:v>
                </c:pt>
                <c:pt idx="248">
                  <c:v>0.05</c:v>
                </c:pt>
                <c:pt idx="249">
                  <c:v>0.04</c:v>
                </c:pt>
                <c:pt idx="250">
                  <c:v>0.01</c:v>
                </c:pt>
                <c:pt idx="251">
                  <c:v>0.02</c:v>
                </c:pt>
                <c:pt idx="252">
                  <c:v>0.03</c:v>
                </c:pt>
                <c:pt idx="253">
                  <c:v>0.01</c:v>
                </c:pt>
                <c:pt idx="254">
                  <c:v>0.06</c:v>
                </c:pt>
                <c:pt idx="255">
                  <c:v>0.05</c:v>
                </c:pt>
                <c:pt idx="256">
                  <c:v>0.09</c:v>
                </c:pt>
                <c:pt idx="257">
                  <c:v>0.02</c:v>
                </c:pt>
                <c:pt idx="258">
                  <c:v>0.05</c:v>
                </c:pt>
                <c:pt idx="259">
                  <c:v>0.05</c:v>
                </c:pt>
                <c:pt idx="260">
                  <c:v>0.02</c:v>
                </c:pt>
                <c:pt idx="261">
                  <c:v>0.02</c:v>
                </c:pt>
                <c:pt idx="262">
                  <c:v>0.01</c:v>
                </c:pt>
                <c:pt idx="263">
                  <c:v>7.0000000000000007E-2</c:v>
                </c:pt>
                <c:pt idx="264">
                  <c:v>0.04</c:v>
                </c:pt>
                <c:pt idx="265">
                  <c:v>0.02</c:v>
                </c:pt>
                <c:pt idx="266">
                  <c:v>0.01</c:v>
                </c:pt>
                <c:pt idx="267">
                  <c:v>0.02</c:v>
                </c:pt>
                <c:pt idx="268">
                  <c:v>0.03</c:v>
                </c:pt>
                <c:pt idx="269">
                  <c:v>0.05</c:v>
                </c:pt>
                <c:pt idx="270">
                  <c:v>0.03</c:v>
                </c:pt>
                <c:pt idx="271">
                  <c:v>0.02</c:v>
                </c:pt>
                <c:pt idx="272">
                  <c:v>0.03</c:v>
                </c:pt>
                <c:pt idx="273">
                  <c:v>0.02</c:v>
                </c:pt>
                <c:pt idx="274">
                  <c:v>0.02</c:v>
                </c:pt>
                <c:pt idx="275">
                  <c:v>0.02</c:v>
                </c:pt>
                <c:pt idx="276">
                  <c:v>0.01</c:v>
                </c:pt>
                <c:pt idx="277">
                  <c:v>0.01</c:v>
                </c:pt>
                <c:pt idx="278">
                  <c:v>0.03</c:v>
                </c:pt>
                <c:pt idx="279">
                  <c:v>0.01</c:v>
                </c:pt>
                <c:pt idx="280">
                  <c:v>0.02</c:v>
                </c:pt>
                <c:pt idx="281">
                  <c:v>0.02</c:v>
                </c:pt>
                <c:pt idx="282">
                  <c:v>0.02</c:v>
                </c:pt>
                <c:pt idx="283">
                  <c:v>0.02</c:v>
                </c:pt>
                <c:pt idx="284">
                  <c:v>0.04</c:v>
                </c:pt>
                <c:pt idx="285">
                  <c:v>0.01</c:v>
                </c:pt>
                <c:pt idx="286">
                  <c:v>0.02</c:v>
                </c:pt>
                <c:pt idx="287">
                  <c:v>0.01</c:v>
                </c:pt>
                <c:pt idx="288">
                  <c:v>0.04</c:v>
                </c:pt>
                <c:pt idx="289">
                  <c:v>0.03</c:v>
                </c:pt>
                <c:pt idx="290">
                  <c:v>0.01</c:v>
                </c:pt>
                <c:pt idx="291">
                  <c:v>0.03</c:v>
                </c:pt>
                <c:pt idx="292">
                  <c:v>0.05</c:v>
                </c:pt>
                <c:pt idx="293">
                  <c:v>0.01</c:v>
                </c:pt>
                <c:pt idx="294">
                  <c:v>0.01</c:v>
                </c:pt>
                <c:pt idx="295">
                  <c:v>0.01</c:v>
                </c:pt>
                <c:pt idx="296">
                  <c:v>0.01</c:v>
                </c:pt>
                <c:pt idx="297">
                  <c:v>0.02</c:v>
                </c:pt>
                <c:pt idx="298">
                  <c:v>0.02</c:v>
                </c:pt>
                <c:pt idx="299">
                  <c:v>0.02</c:v>
                </c:pt>
                <c:pt idx="300">
                  <c:v>0.03</c:v>
                </c:pt>
                <c:pt idx="301">
                  <c:v>0.02</c:v>
                </c:pt>
                <c:pt idx="302">
                  <c:v>0.02</c:v>
                </c:pt>
                <c:pt idx="303">
                  <c:v>0.05</c:v>
                </c:pt>
                <c:pt idx="304">
                  <c:v>0.01</c:v>
                </c:pt>
                <c:pt idx="305">
                  <c:v>0.03</c:v>
                </c:pt>
                <c:pt idx="306">
                  <c:v>0.01</c:v>
                </c:pt>
                <c:pt idx="307">
                  <c:v>0.01</c:v>
                </c:pt>
                <c:pt idx="308">
                  <c:v>0.02</c:v>
                </c:pt>
                <c:pt idx="309">
                  <c:v>0.02</c:v>
                </c:pt>
                <c:pt idx="310">
                  <c:v>0.02</c:v>
                </c:pt>
                <c:pt idx="311">
                  <c:v>0.01</c:v>
                </c:pt>
                <c:pt idx="312">
                  <c:v>0.01</c:v>
                </c:pt>
                <c:pt idx="313">
                  <c:v>0.01</c:v>
                </c:pt>
                <c:pt idx="314">
                  <c:v>0.01</c:v>
                </c:pt>
                <c:pt idx="315">
                  <c:v>0.01</c:v>
                </c:pt>
                <c:pt idx="316">
                  <c:v>0.01</c:v>
                </c:pt>
                <c:pt idx="317">
                  <c:v>0.02</c:v>
                </c:pt>
                <c:pt idx="318">
                  <c:v>0.03</c:v>
                </c:pt>
                <c:pt idx="319">
                  <c:v>0.01</c:v>
                </c:pt>
                <c:pt idx="320">
                  <c:v>0.03</c:v>
                </c:pt>
                <c:pt idx="321">
                  <c:v>0.01</c:v>
                </c:pt>
                <c:pt idx="322">
                  <c:v>0.03</c:v>
                </c:pt>
                <c:pt idx="323">
                  <c:v>0.01</c:v>
                </c:pt>
                <c:pt idx="324">
                  <c:v>0.02</c:v>
                </c:pt>
                <c:pt idx="325">
                  <c:v>0.01</c:v>
                </c:pt>
                <c:pt idx="326">
                  <c:v>0.01</c:v>
                </c:pt>
                <c:pt idx="327">
                  <c:v>0.01</c:v>
                </c:pt>
                <c:pt idx="328">
                  <c:v>0.01</c:v>
                </c:pt>
                <c:pt idx="329">
                  <c:v>0.01</c:v>
                </c:pt>
                <c:pt idx="330">
                  <c:v>0.03</c:v>
                </c:pt>
                <c:pt idx="331">
                  <c:v>0.02</c:v>
                </c:pt>
                <c:pt idx="332">
                  <c:v>0.01</c:v>
                </c:pt>
                <c:pt idx="333">
                  <c:v>0.02</c:v>
                </c:pt>
                <c:pt idx="334">
                  <c:v>0.02</c:v>
                </c:pt>
                <c:pt idx="335">
                  <c:v>0.01</c:v>
                </c:pt>
                <c:pt idx="336">
                  <c:v>0.03</c:v>
                </c:pt>
                <c:pt idx="337">
                  <c:v>0.01</c:v>
                </c:pt>
                <c:pt idx="338">
                  <c:v>0.03</c:v>
                </c:pt>
                <c:pt idx="339">
                  <c:v>0.01</c:v>
                </c:pt>
                <c:pt idx="340">
                  <c:v>0.02</c:v>
                </c:pt>
                <c:pt idx="341">
                  <c:v>0.01</c:v>
                </c:pt>
                <c:pt idx="342">
                  <c:v>0.01</c:v>
                </c:pt>
                <c:pt idx="343">
                  <c:v>0.02</c:v>
                </c:pt>
                <c:pt idx="344">
                  <c:v>0.01</c:v>
                </c:pt>
                <c:pt idx="345">
                  <c:v>0.02</c:v>
                </c:pt>
                <c:pt idx="346">
                  <c:v>0.01</c:v>
                </c:pt>
                <c:pt idx="347">
                  <c:v>0.01</c:v>
                </c:pt>
                <c:pt idx="348">
                  <c:v>0.01</c:v>
                </c:pt>
                <c:pt idx="349">
                  <c:v>0.01</c:v>
                </c:pt>
                <c:pt idx="350">
                  <c:v>0.01</c:v>
                </c:pt>
                <c:pt idx="351">
                  <c:v>0.02</c:v>
                </c:pt>
                <c:pt idx="352">
                  <c:v>0.01</c:v>
                </c:pt>
                <c:pt idx="353">
                  <c:v>0.01</c:v>
                </c:pt>
                <c:pt idx="354">
                  <c:v>0.01</c:v>
                </c:pt>
                <c:pt idx="355">
                  <c:v>0.01</c:v>
                </c:pt>
                <c:pt idx="356">
                  <c:v>0.01</c:v>
                </c:pt>
                <c:pt idx="357">
                  <c:v>0.02</c:v>
                </c:pt>
                <c:pt idx="358">
                  <c:v>0.01</c:v>
                </c:pt>
                <c:pt idx="359">
                  <c:v>0.01</c:v>
                </c:pt>
                <c:pt idx="360">
                  <c:v>0.01</c:v>
                </c:pt>
                <c:pt idx="361">
                  <c:v>0.01</c:v>
                </c:pt>
                <c:pt idx="362">
                  <c:v>0.02</c:v>
                </c:pt>
                <c:pt idx="363">
                  <c:v>0.01</c:v>
                </c:pt>
                <c:pt idx="364">
                  <c:v>0.01</c:v>
                </c:pt>
                <c:pt idx="365">
                  <c:v>0.01</c:v>
                </c:pt>
                <c:pt idx="366">
                  <c:v>0.01</c:v>
                </c:pt>
                <c:pt idx="367">
                  <c:v>0.01</c:v>
                </c:pt>
                <c:pt idx="368">
                  <c:v>0.01</c:v>
                </c:pt>
                <c:pt idx="369">
                  <c:v>0.01</c:v>
                </c:pt>
                <c:pt idx="370">
                  <c:v>0.03</c:v>
                </c:pt>
                <c:pt idx="371">
                  <c:v>0.01</c:v>
                </c:pt>
                <c:pt idx="372">
                  <c:v>0.01</c:v>
                </c:pt>
                <c:pt idx="373">
                  <c:v>0.01</c:v>
                </c:pt>
                <c:pt idx="374">
                  <c:v>0.02</c:v>
                </c:pt>
                <c:pt idx="375">
                  <c:v>0.01</c:v>
                </c:pt>
                <c:pt idx="376">
                  <c:v>0.01</c:v>
                </c:pt>
                <c:pt idx="377">
                  <c:v>0.01</c:v>
                </c:pt>
                <c:pt idx="378">
                  <c:v>0.03</c:v>
                </c:pt>
                <c:pt idx="379">
                  <c:v>0.01</c:v>
                </c:pt>
                <c:pt idx="380">
                  <c:v>0.01</c:v>
                </c:pt>
                <c:pt idx="381">
                  <c:v>0.01</c:v>
                </c:pt>
                <c:pt idx="382">
                  <c:v>0.01</c:v>
                </c:pt>
                <c:pt idx="383">
                  <c:v>0.01</c:v>
                </c:pt>
                <c:pt idx="384">
                  <c:v>0.01</c:v>
                </c:pt>
                <c:pt idx="385">
                  <c:v>0.01</c:v>
                </c:pt>
                <c:pt idx="386">
                  <c:v>0.01</c:v>
                </c:pt>
                <c:pt idx="387">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7ECAC4"/>
              </a:solidFill>
            </c:spPr>
            <c:extLst>
              <c:ext xmlns:c16="http://schemas.microsoft.com/office/drawing/2014/chart" uri="{C3380CC4-5D6E-409C-BE32-E72D297353CC}">
                <c16:uniqueId val="{0000007C-C76F-4230-900D-40618C09729F}"/>
              </c:ext>
            </c:extLst>
          </c:dPt>
          <c:dPt>
            <c:idx val="60"/>
            <c:invertIfNegative val="0"/>
            <c:bubble3D val="0"/>
            <c:spPr>
              <a:solidFill>
                <a:srgbClr val="7ECAC4"/>
              </a:solidFill>
            </c:spPr>
            <c:extLst>
              <c:ext xmlns:c16="http://schemas.microsoft.com/office/drawing/2014/chart" uri="{C3380CC4-5D6E-409C-BE32-E72D297353CC}">
                <c16:uniqueId val="{0000007E-C76F-4230-900D-40618C09729F}"/>
              </c:ext>
            </c:extLst>
          </c:dPt>
          <c:dPt>
            <c:idx val="61"/>
            <c:invertIfNegative val="0"/>
            <c:bubble3D val="0"/>
            <c:spPr>
              <a:solidFill>
                <a:srgbClr val="7ECAC4"/>
              </a:solidFill>
            </c:spPr>
            <c:extLst>
              <c:ext xmlns:c16="http://schemas.microsoft.com/office/drawing/2014/chart" uri="{C3380CC4-5D6E-409C-BE32-E72D297353CC}">
                <c16:uniqueId val="{00000080-C76F-4230-900D-40618C09729F}"/>
              </c:ext>
            </c:extLst>
          </c:dPt>
          <c:dPt>
            <c:idx val="62"/>
            <c:invertIfNegative val="0"/>
            <c:bubble3D val="0"/>
            <c:spPr>
              <a:solidFill>
                <a:srgbClr val="7ECAC4"/>
              </a:solidFill>
            </c:spPr>
            <c:extLst>
              <c:ext xmlns:c16="http://schemas.microsoft.com/office/drawing/2014/chart" uri="{C3380CC4-5D6E-409C-BE32-E72D297353CC}">
                <c16:uniqueId val="{00000082-C76F-4230-900D-40618C09729F}"/>
              </c:ext>
            </c:extLst>
          </c:dPt>
          <c:dPt>
            <c:idx val="63"/>
            <c:invertIfNegative val="0"/>
            <c:bubble3D val="0"/>
            <c:spPr>
              <a:solidFill>
                <a:srgbClr val="7ECAC4"/>
              </a:solidFill>
            </c:spPr>
            <c:extLst>
              <c:ext xmlns:c16="http://schemas.microsoft.com/office/drawing/2014/chart" uri="{C3380CC4-5D6E-409C-BE32-E72D297353CC}">
                <c16:uniqueId val="{00000084-C76F-4230-900D-40618C09729F}"/>
              </c:ext>
            </c:extLst>
          </c:dPt>
          <c:dPt>
            <c:idx val="64"/>
            <c:invertIfNegative val="0"/>
            <c:bubble3D val="0"/>
            <c:spPr>
              <a:solidFill>
                <a:srgbClr val="7ECAC4"/>
              </a:solidFill>
            </c:spPr>
            <c:extLst>
              <c:ext xmlns:c16="http://schemas.microsoft.com/office/drawing/2014/chart" uri="{C3380CC4-5D6E-409C-BE32-E72D297353CC}">
                <c16:uniqueId val="{00000086-C76F-4230-900D-40618C09729F}"/>
              </c:ext>
            </c:extLst>
          </c:dPt>
          <c:dPt>
            <c:idx val="65"/>
            <c:invertIfNegative val="0"/>
            <c:bubble3D val="0"/>
            <c:spPr>
              <a:solidFill>
                <a:srgbClr val="7ECAC4"/>
              </a:solidFill>
            </c:spPr>
            <c:extLst>
              <c:ext xmlns:c16="http://schemas.microsoft.com/office/drawing/2014/chart" uri="{C3380CC4-5D6E-409C-BE32-E72D297353CC}">
                <c16:uniqueId val="{00000088-C76F-4230-900D-40618C09729F}"/>
              </c:ext>
            </c:extLst>
          </c:dPt>
          <c:dPt>
            <c:idx val="66"/>
            <c:invertIfNegative val="0"/>
            <c:bubble3D val="0"/>
            <c:spPr>
              <a:solidFill>
                <a:srgbClr val="7ECAC4"/>
              </a:solidFill>
            </c:spPr>
            <c:extLst>
              <c:ext xmlns:c16="http://schemas.microsoft.com/office/drawing/2014/chart" uri="{C3380CC4-5D6E-409C-BE32-E72D297353CC}">
                <c16:uniqueId val="{0000008A-C76F-4230-900D-40618C09729F}"/>
              </c:ext>
            </c:extLst>
          </c:dPt>
          <c:dPt>
            <c:idx val="67"/>
            <c:invertIfNegative val="0"/>
            <c:bubble3D val="0"/>
            <c:spPr>
              <a:solidFill>
                <a:srgbClr val="7ECAC4"/>
              </a:solidFill>
            </c:spPr>
            <c:extLst>
              <c:ext xmlns:c16="http://schemas.microsoft.com/office/drawing/2014/chart" uri="{C3380CC4-5D6E-409C-BE32-E72D297353CC}">
                <c16:uniqueId val="{0000008C-C76F-4230-900D-40618C09729F}"/>
              </c:ext>
            </c:extLst>
          </c:dPt>
          <c:dPt>
            <c:idx val="68"/>
            <c:invertIfNegative val="0"/>
            <c:bubble3D val="0"/>
            <c:spPr>
              <a:solidFill>
                <a:srgbClr val="7ECAC4"/>
              </a:solidFill>
            </c:spPr>
            <c:extLst>
              <c:ext xmlns:c16="http://schemas.microsoft.com/office/drawing/2014/chart" uri="{C3380CC4-5D6E-409C-BE32-E72D297353CC}">
                <c16:uniqueId val="{0000008E-C76F-4230-900D-40618C09729F}"/>
              </c:ext>
            </c:extLst>
          </c:dPt>
          <c:dPt>
            <c:idx val="69"/>
            <c:invertIfNegative val="0"/>
            <c:bubble3D val="0"/>
            <c:spPr>
              <a:solidFill>
                <a:srgbClr val="7ECAC4"/>
              </a:solidFill>
            </c:spPr>
            <c:extLst>
              <c:ext xmlns:c16="http://schemas.microsoft.com/office/drawing/2014/chart" uri="{C3380CC4-5D6E-409C-BE32-E72D297353CC}">
                <c16:uniqueId val="{00000090-C76F-4230-900D-40618C09729F}"/>
              </c:ext>
            </c:extLst>
          </c:dPt>
          <c:dPt>
            <c:idx val="70"/>
            <c:invertIfNegative val="0"/>
            <c:bubble3D val="0"/>
            <c:spPr>
              <a:solidFill>
                <a:srgbClr val="7ECAC4"/>
              </a:solidFill>
            </c:spPr>
            <c:extLst>
              <c:ext xmlns:c16="http://schemas.microsoft.com/office/drawing/2014/chart" uri="{C3380CC4-5D6E-409C-BE32-E72D297353CC}">
                <c16:uniqueId val="{00000092-C76F-4230-900D-40618C09729F}"/>
              </c:ext>
            </c:extLst>
          </c:dPt>
          <c:dPt>
            <c:idx val="71"/>
            <c:invertIfNegative val="0"/>
            <c:bubble3D val="0"/>
            <c:spPr>
              <a:solidFill>
                <a:srgbClr val="7ECAC4"/>
              </a:solidFill>
            </c:spPr>
            <c:extLst>
              <c:ext xmlns:c16="http://schemas.microsoft.com/office/drawing/2014/chart" uri="{C3380CC4-5D6E-409C-BE32-E72D297353CC}">
                <c16:uniqueId val="{00000094-C76F-4230-900D-40618C09729F}"/>
              </c:ext>
            </c:extLst>
          </c:dPt>
          <c:dPt>
            <c:idx val="72"/>
            <c:invertIfNegative val="0"/>
            <c:bubble3D val="0"/>
            <c:spPr>
              <a:solidFill>
                <a:srgbClr val="7ECAC4"/>
              </a:solidFill>
            </c:spPr>
            <c:extLst>
              <c:ext xmlns:c16="http://schemas.microsoft.com/office/drawing/2014/chart" uri="{C3380CC4-5D6E-409C-BE32-E72D297353CC}">
                <c16:uniqueId val="{00000096-C76F-4230-900D-40618C09729F}"/>
              </c:ext>
            </c:extLst>
          </c:dPt>
          <c:dPt>
            <c:idx val="73"/>
            <c:invertIfNegative val="0"/>
            <c:bubble3D val="0"/>
            <c:spPr>
              <a:solidFill>
                <a:srgbClr val="7ECAC4"/>
              </a:solidFill>
            </c:spPr>
            <c:extLst>
              <c:ext xmlns:c16="http://schemas.microsoft.com/office/drawing/2014/chart" uri="{C3380CC4-5D6E-409C-BE32-E72D297353CC}">
                <c16:uniqueId val="{00000098-C76F-4230-900D-40618C09729F}"/>
              </c:ext>
            </c:extLst>
          </c:dPt>
          <c:dPt>
            <c:idx val="74"/>
            <c:invertIfNegative val="0"/>
            <c:bubble3D val="0"/>
            <c:spPr>
              <a:solidFill>
                <a:srgbClr val="7ECAC4"/>
              </a:solidFill>
            </c:spPr>
            <c:extLst>
              <c:ext xmlns:c16="http://schemas.microsoft.com/office/drawing/2014/chart" uri="{C3380CC4-5D6E-409C-BE32-E72D297353CC}">
                <c16:uniqueId val="{0000009A-C76F-4230-900D-40618C09729F}"/>
              </c:ext>
            </c:extLst>
          </c:dPt>
          <c:dPt>
            <c:idx val="75"/>
            <c:invertIfNegative val="0"/>
            <c:bubble3D val="0"/>
            <c:spPr>
              <a:solidFill>
                <a:srgbClr val="7ECAC4"/>
              </a:solidFill>
            </c:spPr>
            <c:extLst>
              <c:ext xmlns:c16="http://schemas.microsoft.com/office/drawing/2014/chart" uri="{C3380CC4-5D6E-409C-BE32-E72D297353CC}">
                <c16:uniqueId val="{0000009C-C76F-4230-900D-40618C09729F}"/>
              </c:ext>
            </c:extLst>
          </c:dPt>
          <c:dPt>
            <c:idx val="76"/>
            <c:invertIfNegative val="0"/>
            <c:bubble3D val="0"/>
            <c:spPr>
              <a:solidFill>
                <a:srgbClr val="7ECAC4"/>
              </a:solidFill>
            </c:spPr>
            <c:extLst>
              <c:ext xmlns:c16="http://schemas.microsoft.com/office/drawing/2014/chart" uri="{C3380CC4-5D6E-409C-BE32-E72D297353CC}">
                <c16:uniqueId val="{0000009E-C76F-4230-900D-40618C09729F}"/>
              </c:ext>
            </c:extLst>
          </c:dPt>
          <c:dPt>
            <c:idx val="77"/>
            <c:invertIfNegative val="0"/>
            <c:bubble3D val="0"/>
            <c:spPr>
              <a:solidFill>
                <a:srgbClr val="7ECAC4"/>
              </a:solidFill>
            </c:spPr>
            <c:extLst>
              <c:ext xmlns:c16="http://schemas.microsoft.com/office/drawing/2014/chart" uri="{C3380CC4-5D6E-409C-BE32-E72D297353CC}">
                <c16:uniqueId val="{000000A0-C76F-4230-900D-40618C09729F}"/>
              </c:ext>
            </c:extLst>
          </c:dPt>
          <c:dPt>
            <c:idx val="78"/>
            <c:invertIfNegative val="0"/>
            <c:bubble3D val="0"/>
            <c:spPr>
              <a:solidFill>
                <a:srgbClr val="7ECAC4"/>
              </a:solidFill>
            </c:spPr>
            <c:extLst>
              <c:ext xmlns:c16="http://schemas.microsoft.com/office/drawing/2014/chart" uri="{C3380CC4-5D6E-409C-BE32-E72D297353CC}">
                <c16:uniqueId val="{000000A2-C76F-4230-900D-40618C09729F}"/>
              </c:ext>
            </c:extLst>
          </c:dPt>
          <c:dPt>
            <c:idx val="79"/>
            <c:invertIfNegative val="0"/>
            <c:bubble3D val="0"/>
            <c:spPr>
              <a:solidFill>
                <a:srgbClr val="7ECAC4"/>
              </a:solidFill>
            </c:spPr>
            <c:extLst>
              <c:ext xmlns:c16="http://schemas.microsoft.com/office/drawing/2014/chart" uri="{C3380CC4-5D6E-409C-BE32-E72D297353CC}">
                <c16:uniqueId val="{000000A4-C76F-4230-900D-40618C09729F}"/>
              </c:ext>
            </c:extLst>
          </c:dPt>
          <c:dPt>
            <c:idx val="80"/>
            <c:invertIfNegative val="0"/>
            <c:bubble3D val="0"/>
            <c:spPr>
              <a:solidFill>
                <a:srgbClr val="7ECAC4"/>
              </a:solidFill>
            </c:spPr>
            <c:extLst>
              <c:ext xmlns:c16="http://schemas.microsoft.com/office/drawing/2014/chart" uri="{C3380CC4-5D6E-409C-BE32-E72D297353CC}">
                <c16:uniqueId val="{000000A6-C76F-4230-900D-40618C09729F}"/>
              </c:ext>
            </c:extLst>
          </c:dPt>
          <c:dPt>
            <c:idx val="81"/>
            <c:invertIfNegative val="1"/>
            <c:bubble3D val="0"/>
            <c:spPr>
              <a:solidFill>
                <a:srgbClr val="7ECAC4"/>
              </a:solidFill>
            </c:spPr>
            <c:extLst>
              <c:ext xmlns:c16="http://schemas.microsoft.com/office/drawing/2014/chart" uri="{C3380CC4-5D6E-409C-BE32-E72D297353CC}">
                <c16:uniqueId val="{000000A5-2993-41DE-A2CB-63102DE87051}"/>
              </c:ext>
            </c:extLst>
          </c:dPt>
          <c:dPt>
            <c:idx val="82"/>
            <c:invertIfNegative val="1"/>
            <c:bubble3D val="0"/>
            <c:spPr>
              <a:solidFill>
                <a:srgbClr val="7ECAC4"/>
              </a:solidFill>
            </c:spPr>
            <c:extLst>
              <c:ext xmlns:c16="http://schemas.microsoft.com/office/drawing/2014/chart" uri="{C3380CC4-5D6E-409C-BE32-E72D297353CC}">
                <c16:uniqueId val="{000000A7-2993-41DE-A2CB-63102DE87051}"/>
              </c:ext>
            </c:extLst>
          </c:dPt>
          <c:dPt>
            <c:idx val="83"/>
            <c:invertIfNegative val="1"/>
            <c:bubble3D val="0"/>
            <c:spPr>
              <a:solidFill>
                <a:srgbClr val="7ECAC4"/>
              </a:solidFill>
            </c:spPr>
            <c:extLst>
              <c:ext xmlns:c16="http://schemas.microsoft.com/office/drawing/2014/chart" uri="{C3380CC4-5D6E-409C-BE32-E72D297353CC}">
                <c16:uniqueId val="{000000A9-2993-41DE-A2CB-63102DE87051}"/>
              </c:ext>
            </c:extLst>
          </c:dPt>
          <c:dPt>
            <c:idx val="84"/>
            <c:invertIfNegative val="1"/>
            <c:bubble3D val="0"/>
            <c:spPr>
              <a:solidFill>
                <a:srgbClr val="7ECAC4"/>
              </a:solidFill>
            </c:spPr>
            <c:extLst>
              <c:ext xmlns:c16="http://schemas.microsoft.com/office/drawing/2014/chart" uri="{C3380CC4-5D6E-409C-BE32-E72D297353CC}">
                <c16:uniqueId val="{000000AB-2993-41DE-A2CB-63102DE87051}"/>
              </c:ext>
            </c:extLst>
          </c:dPt>
          <c:dPt>
            <c:idx val="85"/>
            <c:invertIfNegative val="1"/>
            <c:bubble3D val="0"/>
            <c:spPr>
              <a:solidFill>
                <a:srgbClr val="7ECAC4"/>
              </a:solidFill>
            </c:spPr>
            <c:extLst>
              <c:ext xmlns:c16="http://schemas.microsoft.com/office/drawing/2014/chart" uri="{C3380CC4-5D6E-409C-BE32-E72D297353CC}">
                <c16:uniqueId val="{000000AD-2993-41DE-A2CB-63102DE87051}"/>
              </c:ext>
            </c:extLst>
          </c:dPt>
          <c:dPt>
            <c:idx val="86"/>
            <c:invertIfNegative val="1"/>
            <c:bubble3D val="0"/>
            <c:spPr>
              <a:solidFill>
                <a:srgbClr val="7ECAC4"/>
              </a:solidFill>
            </c:spPr>
            <c:extLst>
              <c:ext xmlns:c16="http://schemas.microsoft.com/office/drawing/2014/chart" uri="{C3380CC4-5D6E-409C-BE32-E72D297353CC}">
                <c16:uniqueId val="{000000AF-2993-41DE-A2CB-63102DE87051}"/>
              </c:ext>
            </c:extLst>
          </c:dPt>
          <c:dPt>
            <c:idx val="87"/>
            <c:invertIfNegative val="1"/>
            <c:bubble3D val="0"/>
            <c:spPr>
              <a:solidFill>
                <a:srgbClr val="7ECAC4"/>
              </a:solidFill>
            </c:spPr>
            <c:extLst>
              <c:ext xmlns:c16="http://schemas.microsoft.com/office/drawing/2014/chart" uri="{C3380CC4-5D6E-409C-BE32-E72D297353CC}">
                <c16:uniqueId val="{000000B1-2993-41DE-A2CB-63102DE87051}"/>
              </c:ext>
            </c:extLst>
          </c:dPt>
          <c:dPt>
            <c:idx val="88"/>
            <c:invertIfNegative val="1"/>
            <c:bubble3D val="0"/>
            <c:spPr>
              <a:solidFill>
                <a:srgbClr val="7ECAC4"/>
              </a:solidFill>
            </c:spPr>
            <c:extLst>
              <c:ext xmlns:c16="http://schemas.microsoft.com/office/drawing/2014/chart" uri="{C3380CC4-5D6E-409C-BE32-E72D297353CC}">
                <c16:uniqueId val="{000000B3-2993-41DE-A2CB-63102DE87051}"/>
              </c:ext>
            </c:extLst>
          </c:dPt>
          <c:dPt>
            <c:idx val="89"/>
            <c:invertIfNegative val="1"/>
            <c:bubble3D val="0"/>
            <c:spPr>
              <a:solidFill>
                <a:srgbClr val="7ECAC4"/>
              </a:solidFill>
            </c:spPr>
            <c:extLst>
              <c:ext xmlns:c16="http://schemas.microsoft.com/office/drawing/2014/chart" uri="{C3380CC4-5D6E-409C-BE32-E72D297353CC}">
                <c16:uniqueId val="{000000B5-2993-41DE-A2CB-63102DE87051}"/>
              </c:ext>
            </c:extLst>
          </c:dPt>
          <c:dPt>
            <c:idx val="90"/>
            <c:invertIfNegative val="1"/>
            <c:bubble3D val="0"/>
            <c:spPr>
              <a:solidFill>
                <a:srgbClr val="7ECAC4"/>
              </a:solidFill>
            </c:spPr>
            <c:extLst>
              <c:ext xmlns:c16="http://schemas.microsoft.com/office/drawing/2014/chart" uri="{C3380CC4-5D6E-409C-BE32-E72D297353CC}">
                <c16:uniqueId val="{000000B7-2993-41DE-A2CB-63102DE87051}"/>
              </c:ext>
            </c:extLst>
          </c:dPt>
          <c:dPt>
            <c:idx val="91"/>
            <c:invertIfNegative val="1"/>
            <c:bubble3D val="0"/>
            <c:spPr>
              <a:solidFill>
                <a:srgbClr val="7ECAC4"/>
              </a:solidFill>
            </c:spPr>
            <c:extLst>
              <c:ext xmlns:c16="http://schemas.microsoft.com/office/drawing/2014/chart" uri="{C3380CC4-5D6E-409C-BE32-E72D297353CC}">
                <c16:uniqueId val="{000000B9-2993-41DE-A2CB-63102DE87051}"/>
              </c:ext>
            </c:extLst>
          </c:dPt>
          <c:dPt>
            <c:idx val="92"/>
            <c:invertIfNegative val="1"/>
            <c:bubble3D val="0"/>
            <c:spPr>
              <a:solidFill>
                <a:srgbClr val="7ECAC4"/>
              </a:solidFill>
            </c:spPr>
            <c:extLst>
              <c:ext xmlns:c16="http://schemas.microsoft.com/office/drawing/2014/chart" uri="{C3380CC4-5D6E-409C-BE32-E72D297353CC}">
                <c16:uniqueId val="{000000BB-2993-41DE-A2CB-63102DE87051}"/>
              </c:ext>
            </c:extLst>
          </c:dPt>
          <c:dPt>
            <c:idx val="93"/>
            <c:invertIfNegative val="1"/>
            <c:bubble3D val="0"/>
            <c:spPr>
              <a:solidFill>
                <a:srgbClr val="7ECAC4"/>
              </a:solidFill>
            </c:spPr>
            <c:extLst>
              <c:ext xmlns:c16="http://schemas.microsoft.com/office/drawing/2014/chart" uri="{C3380CC4-5D6E-409C-BE32-E72D297353CC}">
                <c16:uniqueId val="{000000BD-2993-41DE-A2CB-63102DE87051}"/>
              </c:ext>
            </c:extLst>
          </c:dPt>
          <c:dPt>
            <c:idx val="94"/>
            <c:invertIfNegative val="1"/>
            <c:bubble3D val="0"/>
            <c:spPr>
              <a:solidFill>
                <a:srgbClr val="7ECAC4"/>
              </a:solidFill>
            </c:spPr>
            <c:extLst>
              <c:ext xmlns:c16="http://schemas.microsoft.com/office/drawing/2014/chart" uri="{C3380CC4-5D6E-409C-BE32-E72D297353CC}">
                <c16:uniqueId val="{000000BF-2993-41DE-A2CB-63102DE87051}"/>
              </c:ext>
            </c:extLst>
          </c:dPt>
          <c:dPt>
            <c:idx val="95"/>
            <c:invertIfNegative val="1"/>
            <c:bubble3D val="0"/>
            <c:spPr>
              <a:solidFill>
                <a:srgbClr val="7ECAC4"/>
              </a:solidFill>
            </c:spPr>
            <c:extLst>
              <c:ext xmlns:c16="http://schemas.microsoft.com/office/drawing/2014/chart" uri="{C3380CC4-5D6E-409C-BE32-E72D297353CC}">
                <c16:uniqueId val="{000000C1-2993-41DE-A2CB-63102DE87051}"/>
              </c:ext>
            </c:extLst>
          </c:dPt>
          <c:dPt>
            <c:idx val="96"/>
            <c:invertIfNegative val="1"/>
            <c:bubble3D val="0"/>
            <c:spPr>
              <a:solidFill>
                <a:srgbClr val="7ECAC4"/>
              </a:solidFill>
            </c:spPr>
            <c:extLst>
              <c:ext xmlns:c16="http://schemas.microsoft.com/office/drawing/2014/chart" uri="{C3380CC4-5D6E-409C-BE32-E72D297353CC}">
                <c16:uniqueId val="{000000C3-2993-41DE-A2CB-63102DE87051}"/>
              </c:ext>
            </c:extLst>
          </c:dPt>
          <c:dPt>
            <c:idx val="97"/>
            <c:invertIfNegative val="1"/>
            <c:bubble3D val="0"/>
            <c:spPr>
              <a:solidFill>
                <a:srgbClr val="7ECAC4"/>
              </a:solidFill>
            </c:spPr>
            <c:extLst>
              <c:ext xmlns:c16="http://schemas.microsoft.com/office/drawing/2014/chart" uri="{C3380CC4-5D6E-409C-BE32-E72D297353CC}">
                <c16:uniqueId val="{000000C5-2993-41DE-A2CB-63102DE87051}"/>
              </c:ext>
            </c:extLst>
          </c:dPt>
          <c:dPt>
            <c:idx val="98"/>
            <c:invertIfNegative val="1"/>
            <c:bubble3D val="0"/>
            <c:spPr>
              <a:solidFill>
                <a:srgbClr val="7ECAC4"/>
              </a:solidFill>
            </c:spPr>
            <c:extLst>
              <c:ext xmlns:c16="http://schemas.microsoft.com/office/drawing/2014/chart" uri="{C3380CC4-5D6E-409C-BE32-E72D297353CC}">
                <c16:uniqueId val="{000000C7-2993-41DE-A2CB-63102DE87051}"/>
              </c:ext>
            </c:extLst>
          </c:dPt>
          <c:dPt>
            <c:idx val="99"/>
            <c:invertIfNegative val="1"/>
            <c:bubble3D val="0"/>
            <c:spPr>
              <a:solidFill>
                <a:srgbClr val="7ECAC4"/>
              </a:solidFill>
            </c:spPr>
            <c:extLst>
              <c:ext xmlns:c16="http://schemas.microsoft.com/office/drawing/2014/chart" uri="{C3380CC4-5D6E-409C-BE32-E72D297353CC}">
                <c16:uniqueId val="{000000C9-2993-41DE-A2CB-63102DE87051}"/>
              </c:ext>
            </c:extLst>
          </c:dPt>
          <c:dPt>
            <c:idx val="100"/>
            <c:invertIfNegative val="1"/>
            <c:bubble3D val="0"/>
            <c:spPr>
              <a:solidFill>
                <a:srgbClr val="7ECAC4"/>
              </a:solidFill>
            </c:spPr>
            <c:extLst>
              <c:ext xmlns:c16="http://schemas.microsoft.com/office/drawing/2014/chart" uri="{C3380CC4-5D6E-409C-BE32-E72D297353CC}">
                <c16:uniqueId val="{000000CB-2993-41DE-A2CB-63102DE87051}"/>
              </c:ext>
            </c:extLst>
          </c:dPt>
          <c:dPt>
            <c:idx val="101"/>
            <c:invertIfNegative val="1"/>
            <c:bubble3D val="0"/>
            <c:spPr>
              <a:solidFill>
                <a:srgbClr val="7ECAC4"/>
              </a:solidFill>
            </c:spPr>
            <c:extLst>
              <c:ext xmlns:c16="http://schemas.microsoft.com/office/drawing/2014/chart" uri="{C3380CC4-5D6E-409C-BE32-E72D297353CC}">
                <c16:uniqueId val="{000000CD-2993-41DE-A2CB-63102DE87051}"/>
              </c:ext>
            </c:extLst>
          </c:dPt>
          <c:dPt>
            <c:idx val="102"/>
            <c:invertIfNegative val="1"/>
            <c:bubble3D val="0"/>
            <c:spPr>
              <a:solidFill>
                <a:srgbClr val="7ECAC4"/>
              </a:solidFill>
            </c:spPr>
            <c:extLst>
              <c:ext xmlns:c16="http://schemas.microsoft.com/office/drawing/2014/chart" uri="{C3380CC4-5D6E-409C-BE32-E72D297353CC}">
                <c16:uniqueId val="{000000CF-2993-41DE-A2CB-63102DE87051}"/>
              </c:ext>
            </c:extLst>
          </c:dPt>
          <c:dPt>
            <c:idx val="103"/>
            <c:invertIfNegative val="1"/>
            <c:bubble3D val="0"/>
            <c:spPr>
              <a:solidFill>
                <a:srgbClr val="7ECAC4"/>
              </a:solidFill>
            </c:spPr>
            <c:extLst>
              <c:ext xmlns:c16="http://schemas.microsoft.com/office/drawing/2014/chart" uri="{C3380CC4-5D6E-409C-BE32-E72D297353CC}">
                <c16:uniqueId val="{000000D1-2993-41DE-A2CB-63102DE87051}"/>
              </c:ext>
            </c:extLst>
          </c:dPt>
          <c:dPt>
            <c:idx val="104"/>
            <c:invertIfNegative val="1"/>
            <c:bubble3D val="0"/>
            <c:spPr>
              <a:solidFill>
                <a:srgbClr val="7ECAC4"/>
              </a:solidFill>
            </c:spPr>
            <c:extLst>
              <c:ext xmlns:c16="http://schemas.microsoft.com/office/drawing/2014/chart" uri="{C3380CC4-5D6E-409C-BE32-E72D297353CC}">
                <c16:uniqueId val="{000000D3-2993-41DE-A2CB-63102DE87051}"/>
              </c:ext>
            </c:extLst>
          </c:dPt>
          <c:dPt>
            <c:idx val="105"/>
            <c:invertIfNegative val="1"/>
            <c:bubble3D val="0"/>
            <c:spPr>
              <a:solidFill>
                <a:srgbClr val="7ECAC4"/>
              </a:solidFill>
            </c:spPr>
            <c:extLst>
              <c:ext xmlns:c16="http://schemas.microsoft.com/office/drawing/2014/chart" uri="{C3380CC4-5D6E-409C-BE32-E72D297353CC}">
                <c16:uniqueId val="{000000D5-2993-41DE-A2CB-63102DE87051}"/>
              </c:ext>
            </c:extLst>
          </c:dPt>
          <c:dPt>
            <c:idx val="106"/>
            <c:invertIfNegative val="1"/>
            <c:bubble3D val="0"/>
            <c:spPr>
              <a:solidFill>
                <a:srgbClr val="7ECAC4"/>
              </a:solidFill>
            </c:spPr>
            <c:extLst>
              <c:ext xmlns:c16="http://schemas.microsoft.com/office/drawing/2014/chart" uri="{C3380CC4-5D6E-409C-BE32-E72D297353CC}">
                <c16:uniqueId val="{000000D7-2993-41DE-A2CB-63102DE87051}"/>
              </c:ext>
            </c:extLst>
          </c:dPt>
          <c:dPt>
            <c:idx val="107"/>
            <c:invertIfNegative val="1"/>
            <c:bubble3D val="0"/>
            <c:spPr>
              <a:solidFill>
                <a:srgbClr val="7ECAC4"/>
              </a:solidFill>
            </c:spPr>
            <c:extLst>
              <c:ext xmlns:c16="http://schemas.microsoft.com/office/drawing/2014/chart" uri="{C3380CC4-5D6E-409C-BE32-E72D297353CC}">
                <c16:uniqueId val="{000000D9-2993-41DE-A2CB-63102DE87051}"/>
              </c:ext>
            </c:extLst>
          </c:dPt>
          <c:dPt>
            <c:idx val="108"/>
            <c:invertIfNegative val="1"/>
            <c:bubble3D val="0"/>
            <c:spPr>
              <a:solidFill>
                <a:srgbClr val="7ECAC4"/>
              </a:solidFill>
            </c:spPr>
            <c:extLst>
              <c:ext xmlns:c16="http://schemas.microsoft.com/office/drawing/2014/chart" uri="{C3380CC4-5D6E-409C-BE32-E72D297353CC}">
                <c16:uniqueId val="{000000DB-2993-41DE-A2CB-63102DE87051}"/>
              </c:ext>
            </c:extLst>
          </c:dPt>
          <c:dPt>
            <c:idx val="109"/>
            <c:invertIfNegative val="1"/>
            <c:bubble3D val="0"/>
            <c:spPr>
              <a:solidFill>
                <a:srgbClr val="7ECAC4"/>
              </a:solidFill>
            </c:spPr>
            <c:extLst>
              <c:ext xmlns:c16="http://schemas.microsoft.com/office/drawing/2014/chart" uri="{C3380CC4-5D6E-409C-BE32-E72D297353CC}">
                <c16:uniqueId val="{000000DD-2993-41DE-A2CB-63102DE87051}"/>
              </c:ext>
            </c:extLst>
          </c:dPt>
          <c:dPt>
            <c:idx val="110"/>
            <c:invertIfNegative val="1"/>
            <c:bubble3D val="0"/>
            <c:spPr>
              <a:solidFill>
                <a:srgbClr val="7ECAC4"/>
              </a:solidFill>
            </c:spPr>
            <c:extLst>
              <c:ext xmlns:c16="http://schemas.microsoft.com/office/drawing/2014/chart" uri="{C3380CC4-5D6E-409C-BE32-E72D297353CC}">
                <c16:uniqueId val="{000000DF-2993-41DE-A2CB-63102DE87051}"/>
              </c:ext>
            </c:extLst>
          </c:dPt>
          <c:dPt>
            <c:idx val="111"/>
            <c:invertIfNegative val="1"/>
            <c:bubble3D val="0"/>
            <c:spPr>
              <a:solidFill>
                <a:srgbClr val="7ECAC4"/>
              </a:solidFill>
            </c:spPr>
            <c:extLst>
              <c:ext xmlns:c16="http://schemas.microsoft.com/office/drawing/2014/chart" uri="{C3380CC4-5D6E-409C-BE32-E72D297353CC}">
                <c16:uniqueId val="{000000E1-2993-41DE-A2CB-63102DE87051}"/>
              </c:ext>
            </c:extLst>
          </c:dPt>
          <c:dPt>
            <c:idx val="112"/>
            <c:invertIfNegative val="1"/>
            <c:bubble3D val="0"/>
            <c:spPr>
              <a:solidFill>
                <a:srgbClr val="7ECAC4"/>
              </a:solidFill>
            </c:spPr>
            <c:extLst>
              <c:ext xmlns:c16="http://schemas.microsoft.com/office/drawing/2014/chart" uri="{C3380CC4-5D6E-409C-BE32-E72D297353CC}">
                <c16:uniqueId val="{000000E3-2993-41DE-A2CB-63102DE87051}"/>
              </c:ext>
            </c:extLst>
          </c:dPt>
          <c:dPt>
            <c:idx val="113"/>
            <c:invertIfNegative val="1"/>
            <c:bubble3D val="0"/>
            <c:spPr>
              <a:solidFill>
                <a:srgbClr val="7ECAC4"/>
              </a:solidFill>
            </c:spPr>
            <c:extLst>
              <c:ext xmlns:c16="http://schemas.microsoft.com/office/drawing/2014/chart" uri="{C3380CC4-5D6E-409C-BE32-E72D297353CC}">
                <c16:uniqueId val="{000000E5-2993-41DE-A2CB-63102DE87051}"/>
              </c:ext>
            </c:extLst>
          </c:dPt>
          <c:dPt>
            <c:idx val="114"/>
            <c:invertIfNegative val="1"/>
            <c:bubble3D val="0"/>
            <c:spPr>
              <a:solidFill>
                <a:srgbClr val="7ECAC4"/>
              </a:solidFill>
            </c:spPr>
            <c:extLst>
              <c:ext xmlns:c16="http://schemas.microsoft.com/office/drawing/2014/chart" uri="{C3380CC4-5D6E-409C-BE32-E72D297353CC}">
                <c16:uniqueId val="{000000E7-2993-41DE-A2CB-63102DE87051}"/>
              </c:ext>
            </c:extLst>
          </c:dPt>
          <c:dPt>
            <c:idx val="115"/>
            <c:invertIfNegative val="1"/>
            <c:bubble3D val="0"/>
            <c:spPr>
              <a:solidFill>
                <a:srgbClr val="7ECAC4"/>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AEABAB"/>
              </a:solidFill>
            </c:spPr>
            <c:extLst>
              <c:ext xmlns:c16="http://schemas.microsoft.com/office/drawing/2014/chart" uri="{C3380CC4-5D6E-409C-BE32-E72D297353CC}">
                <c16:uniqueId val="{0000010B-2993-41DE-A2CB-63102DE87051}"/>
              </c:ext>
            </c:extLst>
          </c:dPt>
          <c:dPt>
            <c:idx val="133"/>
            <c:invertIfNegative val="1"/>
            <c:bubble3D val="0"/>
            <c:spPr>
              <a:solidFill>
                <a:srgbClr val="AEABAB"/>
              </a:solidFill>
            </c:spPr>
            <c:extLst>
              <c:ext xmlns:c16="http://schemas.microsoft.com/office/drawing/2014/chart" uri="{C3380CC4-5D6E-409C-BE32-E72D297353CC}">
                <c16:uniqueId val="{0000010D-2993-41DE-A2CB-63102DE87051}"/>
              </c:ext>
            </c:extLst>
          </c:dPt>
          <c:dPt>
            <c:idx val="134"/>
            <c:invertIfNegative val="1"/>
            <c:bubble3D val="0"/>
            <c:spPr>
              <a:solidFill>
                <a:srgbClr val="AEABAB"/>
              </a:solidFill>
            </c:spPr>
            <c:extLst>
              <c:ext xmlns:c16="http://schemas.microsoft.com/office/drawing/2014/chart" uri="{C3380CC4-5D6E-409C-BE32-E72D297353CC}">
                <c16:uniqueId val="{0000010F-2993-41DE-A2CB-63102DE87051}"/>
              </c:ext>
            </c:extLst>
          </c:dPt>
          <c:dPt>
            <c:idx val="135"/>
            <c:invertIfNegative val="1"/>
            <c:bubble3D val="0"/>
            <c:spPr>
              <a:solidFill>
                <a:srgbClr val="AEABAB"/>
              </a:solidFill>
            </c:spPr>
            <c:extLst>
              <c:ext xmlns:c16="http://schemas.microsoft.com/office/drawing/2014/chart" uri="{C3380CC4-5D6E-409C-BE32-E72D297353CC}">
                <c16:uniqueId val="{00000111-2993-41DE-A2CB-63102DE87051}"/>
              </c:ext>
            </c:extLst>
          </c:dPt>
          <c:dPt>
            <c:idx val="136"/>
            <c:invertIfNegative val="1"/>
            <c:bubble3D val="0"/>
            <c:spPr>
              <a:solidFill>
                <a:srgbClr val="AEABAB"/>
              </a:solidFill>
            </c:spPr>
            <c:extLst>
              <c:ext xmlns:c16="http://schemas.microsoft.com/office/drawing/2014/chart" uri="{C3380CC4-5D6E-409C-BE32-E72D297353CC}">
                <c16:uniqueId val="{00000113-2993-41DE-A2CB-63102DE87051}"/>
              </c:ext>
            </c:extLst>
          </c:dPt>
          <c:dPt>
            <c:idx val="137"/>
            <c:invertIfNegative val="1"/>
            <c:bubble3D val="0"/>
            <c:spPr>
              <a:solidFill>
                <a:srgbClr val="AEABAB"/>
              </a:solidFill>
            </c:spPr>
            <c:extLst>
              <c:ext xmlns:c16="http://schemas.microsoft.com/office/drawing/2014/chart" uri="{C3380CC4-5D6E-409C-BE32-E72D297353CC}">
                <c16:uniqueId val="{00000115-2993-41DE-A2CB-63102DE87051}"/>
              </c:ext>
            </c:extLst>
          </c:dPt>
          <c:dPt>
            <c:idx val="138"/>
            <c:invertIfNegative val="1"/>
            <c:bubble3D val="0"/>
            <c:spPr>
              <a:solidFill>
                <a:srgbClr val="AEABAB"/>
              </a:solidFill>
            </c:spPr>
            <c:extLst>
              <c:ext xmlns:c16="http://schemas.microsoft.com/office/drawing/2014/chart" uri="{C3380CC4-5D6E-409C-BE32-E72D297353CC}">
                <c16:uniqueId val="{00000117-2993-41DE-A2CB-63102DE87051}"/>
              </c:ext>
            </c:extLst>
          </c:dPt>
          <c:dPt>
            <c:idx val="139"/>
            <c:invertIfNegative val="1"/>
            <c:bubble3D val="0"/>
            <c:spPr>
              <a:solidFill>
                <a:srgbClr val="AEABAB"/>
              </a:solidFill>
            </c:spPr>
            <c:extLst>
              <c:ext xmlns:c16="http://schemas.microsoft.com/office/drawing/2014/chart" uri="{C3380CC4-5D6E-409C-BE32-E72D297353CC}">
                <c16:uniqueId val="{00000119-2993-41DE-A2CB-63102DE87051}"/>
              </c:ext>
            </c:extLst>
          </c:dPt>
          <c:dPt>
            <c:idx val="140"/>
            <c:invertIfNegative val="1"/>
            <c:bubble3D val="0"/>
            <c:spPr>
              <a:solidFill>
                <a:srgbClr val="AEABAB"/>
              </a:solidFill>
            </c:spPr>
            <c:extLst>
              <c:ext xmlns:c16="http://schemas.microsoft.com/office/drawing/2014/chart" uri="{C3380CC4-5D6E-409C-BE32-E72D297353CC}">
                <c16:uniqueId val="{0000011B-2993-41DE-A2CB-63102DE87051}"/>
              </c:ext>
            </c:extLst>
          </c:dPt>
          <c:dPt>
            <c:idx val="141"/>
            <c:invertIfNegative val="1"/>
            <c:bubble3D val="0"/>
            <c:spPr>
              <a:solidFill>
                <a:srgbClr val="AEABAB"/>
              </a:solidFill>
            </c:spPr>
            <c:extLst>
              <c:ext xmlns:c16="http://schemas.microsoft.com/office/drawing/2014/chart" uri="{C3380CC4-5D6E-409C-BE32-E72D297353CC}">
                <c16:uniqueId val="{0000011D-2993-41DE-A2CB-63102DE87051}"/>
              </c:ext>
            </c:extLst>
          </c:dPt>
          <c:dPt>
            <c:idx val="142"/>
            <c:invertIfNegative val="1"/>
            <c:bubble3D val="0"/>
            <c:spPr>
              <a:solidFill>
                <a:srgbClr val="AEABAB"/>
              </a:solidFill>
            </c:spPr>
            <c:extLst>
              <c:ext xmlns:c16="http://schemas.microsoft.com/office/drawing/2014/chart" uri="{C3380CC4-5D6E-409C-BE32-E72D297353CC}">
                <c16:uniqueId val="{0000011F-2993-41DE-A2CB-63102DE87051}"/>
              </c:ext>
            </c:extLst>
          </c:dPt>
          <c:dPt>
            <c:idx val="143"/>
            <c:invertIfNegative val="1"/>
            <c:bubble3D val="0"/>
            <c:spPr>
              <a:solidFill>
                <a:srgbClr val="AEABAB"/>
              </a:solidFill>
            </c:spPr>
            <c:extLst>
              <c:ext xmlns:c16="http://schemas.microsoft.com/office/drawing/2014/chart" uri="{C3380CC4-5D6E-409C-BE32-E72D297353CC}">
                <c16:uniqueId val="{00000121-2993-41DE-A2CB-63102DE87051}"/>
              </c:ext>
            </c:extLst>
          </c:dPt>
          <c:dPt>
            <c:idx val="144"/>
            <c:invertIfNegative val="1"/>
            <c:bubble3D val="0"/>
            <c:spPr>
              <a:solidFill>
                <a:srgbClr val="AEABAB"/>
              </a:solidFill>
            </c:spPr>
            <c:extLst>
              <c:ext xmlns:c16="http://schemas.microsoft.com/office/drawing/2014/chart" uri="{C3380CC4-5D6E-409C-BE32-E72D297353CC}">
                <c16:uniqueId val="{00000123-2993-41DE-A2CB-63102DE87051}"/>
              </c:ext>
            </c:extLst>
          </c:dPt>
          <c:dPt>
            <c:idx val="145"/>
            <c:invertIfNegative val="1"/>
            <c:bubble3D val="0"/>
            <c:spPr>
              <a:solidFill>
                <a:srgbClr val="AEABAB"/>
              </a:solidFill>
            </c:spPr>
            <c:extLst>
              <c:ext xmlns:c16="http://schemas.microsoft.com/office/drawing/2014/chart" uri="{C3380CC4-5D6E-409C-BE32-E72D297353CC}">
                <c16:uniqueId val="{00000125-2993-41DE-A2CB-63102DE87051}"/>
              </c:ext>
            </c:extLst>
          </c:dPt>
          <c:dPt>
            <c:idx val="146"/>
            <c:invertIfNegative val="1"/>
            <c:bubble3D val="0"/>
            <c:spPr>
              <a:solidFill>
                <a:srgbClr val="AEABAB"/>
              </a:solidFill>
            </c:spPr>
            <c:extLst>
              <c:ext xmlns:c16="http://schemas.microsoft.com/office/drawing/2014/chart" uri="{C3380CC4-5D6E-409C-BE32-E72D297353CC}">
                <c16:uniqueId val="{00000127-2993-41DE-A2CB-63102DE87051}"/>
              </c:ext>
            </c:extLst>
          </c:dPt>
          <c:dPt>
            <c:idx val="147"/>
            <c:invertIfNegative val="1"/>
            <c:bubble3D val="0"/>
            <c:spPr>
              <a:solidFill>
                <a:srgbClr val="AEABAB"/>
              </a:solidFill>
            </c:spPr>
            <c:extLst>
              <c:ext xmlns:c16="http://schemas.microsoft.com/office/drawing/2014/chart" uri="{C3380CC4-5D6E-409C-BE32-E72D297353CC}">
                <c16:uniqueId val="{00000129-2993-41DE-A2CB-63102DE87051}"/>
              </c:ext>
            </c:extLst>
          </c:dPt>
          <c:dPt>
            <c:idx val="148"/>
            <c:invertIfNegative val="1"/>
            <c:bubble3D val="0"/>
            <c:spPr>
              <a:solidFill>
                <a:srgbClr val="AEABAB"/>
              </a:solidFill>
            </c:spPr>
            <c:extLst>
              <c:ext xmlns:c16="http://schemas.microsoft.com/office/drawing/2014/chart" uri="{C3380CC4-5D6E-409C-BE32-E72D297353CC}">
                <c16:uniqueId val="{0000012B-2993-41DE-A2CB-63102DE87051}"/>
              </c:ext>
            </c:extLst>
          </c:dPt>
          <c:dPt>
            <c:idx val="149"/>
            <c:invertIfNegative val="1"/>
            <c:bubble3D val="0"/>
            <c:spPr>
              <a:solidFill>
                <a:srgbClr val="AEABAB"/>
              </a:solidFill>
            </c:spPr>
            <c:extLst>
              <c:ext xmlns:c16="http://schemas.microsoft.com/office/drawing/2014/chart" uri="{C3380CC4-5D6E-409C-BE32-E72D297353CC}">
                <c16:uniqueId val="{0000012D-2993-41DE-A2CB-63102DE87051}"/>
              </c:ext>
            </c:extLst>
          </c:dPt>
          <c:dPt>
            <c:idx val="150"/>
            <c:invertIfNegative val="1"/>
            <c:bubble3D val="0"/>
            <c:spPr>
              <a:solidFill>
                <a:srgbClr val="AEABAB"/>
              </a:solidFill>
            </c:spPr>
            <c:extLst>
              <c:ext xmlns:c16="http://schemas.microsoft.com/office/drawing/2014/chart" uri="{C3380CC4-5D6E-409C-BE32-E72D297353CC}">
                <c16:uniqueId val="{0000012F-2993-41DE-A2CB-63102DE87051}"/>
              </c:ext>
            </c:extLst>
          </c:dPt>
          <c:dPt>
            <c:idx val="151"/>
            <c:invertIfNegative val="1"/>
            <c:bubble3D val="0"/>
            <c:spPr>
              <a:solidFill>
                <a:srgbClr val="AEABAB"/>
              </a:solidFill>
            </c:spPr>
            <c:extLst>
              <c:ext xmlns:c16="http://schemas.microsoft.com/office/drawing/2014/chart" uri="{C3380CC4-5D6E-409C-BE32-E72D297353CC}">
                <c16:uniqueId val="{00000131-2993-41DE-A2CB-63102DE87051}"/>
              </c:ext>
            </c:extLst>
          </c:dPt>
          <c:dPt>
            <c:idx val="152"/>
            <c:invertIfNegative val="1"/>
            <c:bubble3D val="0"/>
            <c:spPr>
              <a:solidFill>
                <a:srgbClr val="AEABAB"/>
              </a:solidFill>
            </c:spPr>
            <c:extLst>
              <c:ext xmlns:c16="http://schemas.microsoft.com/office/drawing/2014/chart" uri="{C3380CC4-5D6E-409C-BE32-E72D297353CC}">
                <c16:uniqueId val="{00000133-2993-41DE-A2CB-63102DE87051}"/>
              </c:ext>
            </c:extLst>
          </c:dPt>
          <c:dPt>
            <c:idx val="153"/>
            <c:invertIfNegative val="1"/>
            <c:bubble3D val="0"/>
            <c:spPr>
              <a:solidFill>
                <a:srgbClr val="AEABAB"/>
              </a:solidFill>
            </c:spPr>
            <c:extLst>
              <c:ext xmlns:c16="http://schemas.microsoft.com/office/drawing/2014/chart" uri="{C3380CC4-5D6E-409C-BE32-E72D297353CC}">
                <c16:uniqueId val="{00000135-2993-41DE-A2CB-63102DE87051}"/>
              </c:ext>
            </c:extLst>
          </c:dPt>
          <c:dPt>
            <c:idx val="154"/>
            <c:invertIfNegative val="1"/>
            <c:bubble3D val="0"/>
            <c:spPr>
              <a:solidFill>
                <a:srgbClr val="AEABAB"/>
              </a:solidFill>
            </c:spPr>
            <c:extLst>
              <c:ext xmlns:c16="http://schemas.microsoft.com/office/drawing/2014/chart" uri="{C3380CC4-5D6E-409C-BE32-E72D297353CC}">
                <c16:uniqueId val="{00000137-2993-41DE-A2CB-63102DE87051}"/>
              </c:ext>
            </c:extLst>
          </c:dPt>
          <c:dPt>
            <c:idx val="155"/>
            <c:invertIfNegative val="1"/>
            <c:bubble3D val="0"/>
            <c:spPr>
              <a:solidFill>
                <a:srgbClr val="AEABAB"/>
              </a:solidFill>
            </c:spPr>
            <c:extLst>
              <c:ext xmlns:c16="http://schemas.microsoft.com/office/drawing/2014/chart" uri="{C3380CC4-5D6E-409C-BE32-E72D297353CC}">
                <c16:uniqueId val="{00000139-2993-41DE-A2CB-63102DE87051}"/>
              </c:ext>
            </c:extLst>
          </c:dPt>
          <c:dPt>
            <c:idx val="156"/>
            <c:invertIfNegative val="1"/>
            <c:bubble3D val="0"/>
            <c:spPr>
              <a:solidFill>
                <a:srgbClr val="AEABAB"/>
              </a:solidFill>
            </c:spPr>
            <c:extLst>
              <c:ext xmlns:c16="http://schemas.microsoft.com/office/drawing/2014/chart" uri="{C3380CC4-5D6E-409C-BE32-E72D297353CC}">
                <c16:uniqueId val="{0000013B-2993-41DE-A2CB-63102DE87051}"/>
              </c:ext>
            </c:extLst>
          </c:dPt>
          <c:dPt>
            <c:idx val="157"/>
            <c:invertIfNegative val="1"/>
            <c:bubble3D val="0"/>
            <c:spPr>
              <a:solidFill>
                <a:srgbClr val="AEABAB"/>
              </a:solidFill>
            </c:spPr>
            <c:extLst>
              <c:ext xmlns:c16="http://schemas.microsoft.com/office/drawing/2014/chart" uri="{C3380CC4-5D6E-409C-BE32-E72D297353CC}">
                <c16:uniqueId val="{0000013D-2993-41DE-A2CB-63102DE87051}"/>
              </c:ext>
            </c:extLst>
          </c:dPt>
          <c:dPt>
            <c:idx val="158"/>
            <c:invertIfNegative val="1"/>
            <c:bubble3D val="0"/>
            <c:spPr>
              <a:solidFill>
                <a:srgbClr val="AEABAB"/>
              </a:solidFill>
            </c:spPr>
            <c:extLst>
              <c:ext xmlns:c16="http://schemas.microsoft.com/office/drawing/2014/chart" uri="{C3380CC4-5D6E-409C-BE32-E72D297353CC}">
                <c16:uniqueId val="{0000013F-2993-41DE-A2CB-63102DE87051}"/>
              </c:ext>
            </c:extLst>
          </c:dPt>
          <c:dPt>
            <c:idx val="159"/>
            <c:invertIfNegative val="1"/>
            <c:bubble3D val="0"/>
            <c:spPr>
              <a:solidFill>
                <a:srgbClr val="AEABAB"/>
              </a:solidFill>
            </c:spPr>
            <c:extLst>
              <c:ext xmlns:c16="http://schemas.microsoft.com/office/drawing/2014/chart" uri="{C3380CC4-5D6E-409C-BE32-E72D297353CC}">
                <c16:uniqueId val="{00000141-2993-41DE-A2CB-63102DE87051}"/>
              </c:ext>
            </c:extLst>
          </c:dPt>
          <c:dPt>
            <c:idx val="160"/>
            <c:invertIfNegative val="1"/>
            <c:bubble3D val="0"/>
            <c:spPr>
              <a:solidFill>
                <a:srgbClr val="AEABAB"/>
              </a:solidFill>
            </c:spPr>
            <c:extLst>
              <c:ext xmlns:c16="http://schemas.microsoft.com/office/drawing/2014/chart" uri="{C3380CC4-5D6E-409C-BE32-E72D297353CC}">
                <c16:uniqueId val="{00000143-2993-41DE-A2CB-63102DE87051}"/>
              </c:ext>
            </c:extLst>
          </c:dPt>
          <c:dPt>
            <c:idx val="161"/>
            <c:invertIfNegative val="1"/>
            <c:bubble3D val="0"/>
            <c:spPr>
              <a:solidFill>
                <a:srgbClr val="AEABAB"/>
              </a:solidFill>
            </c:spPr>
            <c:extLst>
              <c:ext xmlns:c16="http://schemas.microsoft.com/office/drawing/2014/chart" uri="{C3380CC4-5D6E-409C-BE32-E72D297353CC}">
                <c16:uniqueId val="{00000145-2993-41DE-A2CB-63102DE87051}"/>
              </c:ext>
            </c:extLst>
          </c:dPt>
          <c:dPt>
            <c:idx val="162"/>
            <c:invertIfNegative val="1"/>
            <c:bubble3D val="0"/>
            <c:spPr>
              <a:solidFill>
                <a:srgbClr val="AEABAB"/>
              </a:solidFill>
            </c:spPr>
            <c:extLst>
              <c:ext xmlns:c16="http://schemas.microsoft.com/office/drawing/2014/chart" uri="{C3380CC4-5D6E-409C-BE32-E72D297353CC}">
                <c16:uniqueId val="{00000147-2993-41DE-A2CB-63102DE87051}"/>
              </c:ext>
            </c:extLst>
          </c:dPt>
          <c:dPt>
            <c:idx val="163"/>
            <c:invertIfNegative val="1"/>
            <c:bubble3D val="0"/>
            <c:spPr>
              <a:solidFill>
                <a:srgbClr val="AEABAB"/>
              </a:solidFill>
            </c:spPr>
            <c:extLst>
              <c:ext xmlns:c16="http://schemas.microsoft.com/office/drawing/2014/chart" uri="{C3380CC4-5D6E-409C-BE32-E72D297353CC}">
                <c16:uniqueId val="{00000149-2993-41DE-A2CB-63102DE87051}"/>
              </c:ext>
            </c:extLst>
          </c:dPt>
          <c:dPt>
            <c:idx val="164"/>
            <c:invertIfNegative val="1"/>
            <c:bubble3D val="0"/>
            <c:spPr>
              <a:solidFill>
                <a:srgbClr val="AEABAB"/>
              </a:solidFill>
            </c:spPr>
            <c:extLst>
              <c:ext xmlns:c16="http://schemas.microsoft.com/office/drawing/2014/chart" uri="{C3380CC4-5D6E-409C-BE32-E72D297353CC}">
                <c16:uniqueId val="{0000014B-2993-41DE-A2CB-63102DE87051}"/>
              </c:ext>
            </c:extLst>
          </c:dPt>
          <c:dPt>
            <c:idx val="165"/>
            <c:invertIfNegative val="1"/>
            <c:bubble3D val="0"/>
            <c:spPr>
              <a:solidFill>
                <a:srgbClr val="AEABAB"/>
              </a:solidFill>
            </c:spPr>
            <c:extLst>
              <c:ext xmlns:c16="http://schemas.microsoft.com/office/drawing/2014/chart" uri="{C3380CC4-5D6E-409C-BE32-E72D297353CC}">
                <c16:uniqueId val="{0000014D-2993-41DE-A2CB-63102DE87051}"/>
              </c:ext>
            </c:extLst>
          </c:dPt>
          <c:dPt>
            <c:idx val="166"/>
            <c:invertIfNegative val="1"/>
            <c:bubble3D val="0"/>
            <c:spPr>
              <a:solidFill>
                <a:srgbClr val="AEABAB"/>
              </a:solidFill>
            </c:spPr>
            <c:extLst>
              <c:ext xmlns:c16="http://schemas.microsoft.com/office/drawing/2014/chart" uri="{C3380CC4-5D6E-409C-BE32-E72D297353CC}">
                <c16:uniqueId val="{0000014F-2993-41DE-A2CB-63102DE87051}"/>
              </c:ext>
            </c:extLst>
          </c:dPt>
          <c:dPt>
            <c:idx val="167"/>
            <c:invertIfNegative val="1"/>
            <c:bubble3D val="0"/>
            <c:spPr>
              <a:solidFill>
                <a:srgbClr val="AEABAB"/>
              </a:solidFill>
            </c:spPr>
            <c:extLst>
              <c:ext xmlns:c16="http://schemas.microsoft.com/office/drawing/2014/chart" uri="{C3380CC4-5D6E-409C-BE32-E72D297353CC}">
                <c16:uniqueId val="{00000151-2993-41DE-A2CB-63102DE87051}"/>
              </c:ext>
            </c:extLst>
          </c:dPt>
          <c:dPt>
            <c:idx val="168"/>
            <c:invertIfNegative val="1"/>
            <c:bubble3D val="0"/>
            <c:spPr>
              <a:solidFill>
                <a:srgbClr val="AEABAB"/>
              </a:solidFill>
            </c:spPr>
            <c:extLst>
              <c:ext xmlns:c16="http://schemas.microsoft.com/office/drawing/2014/chart" uri="{C3380CC4-5D6E-409C-BE32-E72D297353CC}">
                <c16:uniqueId val="{00000153-2993-41DE-A2CB-63102DE87051}"/>
              </c:ext>
            </c:extLst>
          </c:dPt>
          <c:dPt>
            <c:idx val="169"/>
            <c:invertIfNegative val="1"/>
            <c:bubble3D val="0"/>
            <c:spPr>
              <a:solidFill>
                <a:srgbClr val="AEABAB"/>
              </a:solidFill>
            </c:spPr>
            <c:extLst>
              <c:ext xmlns:c16="http://schemas.microsoft.com/office/drawing/2014/chart" uri="{C3380CC4-5D6E-409C-BE32-E72D297353CC}">
                <c16:uniqueId val="{00000155-2993-41DE-A2CB-63102DE87051}"/>
              </c:ext>
            </c:extLst>
          </c:dPt>
          <c:dPt>
            <c:idx val="170"/>
            <c:invertIfNegative val="1"/>
            <c:bubble3D val="0"/>
            <c:spPr>
              <a:solidFill>
                <a:srgbClr val="AEABAB"/>
              </a:solidFill>
            </c:spPr>
            <c:extLst>
              <c:ext xmlns:c16="http://schemas.microsoft.com/office/drawing/2014/chart" uri="{C3380CC4-5D6E-409C-BE32-E72D297353CC}">
                <c16:uniqueId val="{00000157-2993-41DE-A2CB-63102DE87051}"/>
              </c:ext>
            </c:extLst>
          </c:dPt>
          <c:dPt>
            <c:idx val="171"/>
            <c:invertIfNegative val="1"/>
            <c:bubble3D val="0"/>
            <c:spPr>
              <a:solidFill>
                <a:srgbClr val="AEABAB"/>
              </a:solidFill>
            </c:spPr>
            <c:extLst>
              <c:ext xmlns:c16="http://schemas.microsoft.com/office/drawing/2014/chart" uri="{C3380CC4-5D6E-409C-BE32-E72D297353CC}">
                <c16:uniqueId val="{00000159-2993-41DE-A2CB-63102DE87051}"/>
              </c:ext>
            </c:extLst>
          </c:dPt>
          <c:dPt>
            <c:idx val="172"/>
            <c:invertIfNegative val="1"/>
            <c:bubble3D val="0"/>
            <c:spPr>
              <a:solidFill>
                <a:srgbClr val="AEABAB"/>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dPt>
            <c:idx val="210"/>
            <c:invertIfNegative val="1"/>
            <c:bubble3D val="0"/>
            <c:spPr>
              <a:solidFill>
                <a:srgbClr val="AEABAB"/>
              </a:solidFill>
            </c:spPr>
            <c:extLst>
              <c:ext xmlns:c16="http://schemas.microsoft.com/office/drawing/2014/chart" uri="{C3380CC4-5D6E-409C-BE32-E72D297353CC}">
                <c16:uniqueId val="{000001A7-E6EA-4EEB-8DCD-D1BFB60609D0}"/>
              </c:ext>
            </c:extLst>
          </c:dPt>
          <c:dPt>
            <c:idx val="211"/>
            <c:invertIfNegative val="1"/>
            <c:bubble3D val="0"/>
            <c:spPr>
              <a:solidFill>
                <a:srgbClr val="AEABAB"/>
              </a:solidFill>
            </c:spPr>
            <c:extLst>
              <c:ext xmlns:c16="http://schemas.microsoft.com/office/drawing/2014/chart" uri="{C3380CC4-5D6E-409C-BE32-E72D297353CC}">
                <c16:uniqueId val="{000001A9-E6EA-4EEB-8DCD-D1BFB60609D0}"/>
              </c:ext>
            </c:extLst>
          </c:dPt>
          <c:dPt>
            <c:idx val="212"/>
            <c:invertIfNegative val="1"/>
            <c:bubble3D val="0"/>
            <c:spPr>
              <a:solidFill>
                <a:srgbClr val="AEABAB"/>
              </a:solidFill>
            </c:spPr>
            <c:extLst>
              <c:ext xmlns:c16="http://schemas.microsoft.com/office/drawing/2014/chart" uri="{C3380CC4-5D6E-409C-BE32-E72D297353CC}">
                <c16:uniqueId val="{000001AB-E6EA-4EEB-8DCD-D1BFB60609D0}"/>
              </c:ext>
            </c:extLst>
          </c:dPt>
          <c:dPt>
            <c:idx val="213"/>
            <c:invertIfNegative val="1"/>
            <c:bubble3D val="0"/>
            <c:spPr>
              <a:solidFill>
                <a:srgbClr val="AEABAB"/>
              </a:solidFill>
            </c:spPr>
            <c:extLst>
              <c:ext xmlns:c16="http://schemas.microsoft.com/office/drawing/2014/chart" uri="{C3380CC4-5D6E-409C-BE32-E72D297353CC}">
                <c16:uniqueId val="{000001AD-E6EA-4EEB-8DCD-D1BFB60609D0}"/>
              </c:ext>
            </c:extLst>
          </c:dPt>
          <c:dPt>
            <c:idx val="214"/>
            <c:invertIfNegative val="1"/>
            <c:bubble3D val="0"/>
            <c:spPr>
              <a:solidFill>
                <a:srgbClr val="AEABAB"/>
              </a:solidFill>
            </c:spPr>
            <c:extLst>
              <c:ext xmlns:c16="http://schemas.microsoft.com/office/drawing/2014/chart" uri="{C3380CC4-5D6E-409C-BE32-E72D297353CC}">
                <c16:uniqueId val="{000001AF-E6EA-4EEB-8DCD-D1BFB60609D0}"/>
              </c:ext>
            </c:extLst>
          </c:dPt>
          <c:dPt>
            <c:idx val="215"/>
            <c:invertIfNegative val="1"/>
            <c:bubble3D val="0"/>
            <c:spPr>
              <a:solidFill>
                <a:srgbClr val="AEABAB"/>
              </a:solidFill>
            </c:spPr>
            <c:extLst>
              <c:ext xmlns:c16="http://schemas.microsoft.com/office/drawing/2014/chart" uri="{C3380CC4-5D6E-409C-BE32-E72D297353CC}">
                <c16:uniqueId val="{000001B1-E6EA-4EEB-8DCD-D1BFB60609D0}"/>
              </c:ext>
            </c:extLst>
          </c:dPt>
          <c:dPt>
            <c:idx val="216"/>
            <c:invertIfNegative val="1"/>
            <c:bubble3D val="0"/>
            <c:spPr>
              <a:solidFill>
                <a:srgbClr val="AEABAB"/>
              </a:solidFill>
            </c:spPr>
            <c:extLst>
              <c:ext xmlns:c16="http://schemas.microsoft.com/office/drawing/2014/chart" uri="{C3380CC4-5D6E-409C-BE32-E72D297353CC}">
                <c16:uniqueId val="{000001B3-E6EA-4EEB-8DCD-D1BFB60609D0}"/>
              </c:ext>
            </c:extLst>
          </c:dPt>
          <c:dPt>
            <c:idx val="217"/>
            <c:invertIfNegative val="1"/>
            <c:bubble3D val="0"/>
            <c:spPr>
              <a:solidFill>
                <a:srgbClr val="AEABAB"/>
              </a:solidFill>
            </c:spPr>
            <c:extLst>
              <c:ext xmlns:c16="http://schemas.microsoft.com/office/drawing/2014/chart" uri="{C3380CC4-5D6E-409C-BE32-E72D297353CC}">
                <c16:uniqueId val="{000001B5-E6EA-4EEB-8DCD-D1BFB60609D0}"/>
              </c:ext>
            </c:extLst>
          </c:dPt>
          <c:dPt>
            <c:idx val="218"/>
            <c:invertIfNegative val="1"/>
            <c:bubble3D val="0"/>
            <c:spPr>
              <a:solidFill>
                <a:srgbClr val="AEABAB"/>
              </a:solidFill>
            </c:spPr>
            <c:extLst>
              <c:ext xmlns:c16="http://schemas.microsoft.com/office/drawing/2014/chart" uri="{C3380CC4-5D6E-409C-BE32-E72D297353CC}">
                <c16:uniqueId val="{000001B7-E6EA-4EEB-8DCD-D1BFB60609D0}"/>
              </c:ext>
            </c:extLst>
          </c:dPt>
          <c:dPt>
            <c:idx val="219"/>
            <c:invertIfNegative val="1"/>
            <c:bubble3D val="0"/>
            <c:spPr>
              <a:solidFill>
                <a:srgbClr val="AEABAB"/>
              </a:solidFill>
            </c:spPr>
            <c:extLst>
              <c:ext xmlns:c16="http://schemas.microsoft.com/office/drawing/2014/chart" uri="{C3380CC4-5D6E-409C-BE32-E72D297353CC}">
                <c16:uniqueId val="{000001B9-E6EA-4EEB-8DCD-D1BFB60609D0}"/>
              </c:ext>
            </c:extLst>
          </c:dPt>
          <c:dPt>
            <c:idx val="220"/>
            <c:invertIfNegative val="1"/>
            <c:bubble3D val="0"/>
            <c:spPr>
              <a:solidFill>
                <a:srgbClr val="AEABAB"/>
              </a:solidFill>
            </c:spPr>
            <c:extLst>
              <c:ext xmlns:c16="http://schemas.microsoft.com/office/drawing/2014/chart" uri="{C3380CC4-5D6E-409C-BE32-E72D297353CC}">
                <c16:uniqueId val="{000001BB-E6EA-4EEB-8DCD-D1BFB60609D0}"/>
              </c:ext>
            </c:extLst>
          </c:dPt>
          <c:dPt>
            <c:idx val="221"/>
            <c:invertIfNegative val="1"/>
            <c:bubble3D val="0"/>
            <c:spPr>
              <a:solidFill>
                <a:srgbClr val="AEABAB"/>
              </a:solidFill>
            </c:spPr>
            <c:extLst>
              <c:ext xmlns:c16="http://schemas.microsoft.com/office/drawing/2014/chart" uri="{C3380CC4-5D6E-409C-BE32-E72D297353CC}">
                <c16:uniqueId val="{000001BD-E6EA-4EEB-8DCD-D1BFB60609D0}"/>
              </c:ext>
            </c:extLst>
          </c:dPt>
          <c:dPt>
            <c:idx val="222"/>
            <c:invertIfNegative val="1"/>
            <c:bubble3D val="0"/>
            <c:spPr>
              <a:solidFill>
                <a:srgbClr val="AEABAB"/>
              </a:solidFill>
            </c:spPr>
            <c:extLst>
              <c:ext xmlns:c16="http://schemas.microsoft.com/office/drawing/2014/chart" uri="{C3380CC4-5D6E-409C-BE32-E72D297353CC}">
                <c16:uniqueId val="{000001BF-E6EA-4EEB-8DCD-D1BFB60609D0}"/>
              </c:ext>
            </c:extLst>
          </c:dPt>
          <c:dPt>
            <c:idx val="223"/>
            <c:invertIfNegative val="1"/>
            <c:bubble3D val="0"/>
            <c:spPr>
              <a:solidFill>
                <a:srgbClr val="AEABAB"/>
              </a:solidFill>
            </c:spPr>
            <c:extLst>
              <c:ext xmlns:c16="http://schemas.microsoft.com/office/drawing/2014/chart" uri="{C3380CC4-5D6E-409C-BE32-E72D297353CC}">
                <c16:uniqueId val="{000001C1-E6EA-4EEB-8DCD-D1BFB60609D0}"/>
              </c:ext>
            </c:extLst>
          </c:dPt>
          <c:dPt>
            <c:idx val="224"/>
            <c:invertIfNegative val="1"/>
            <c:bubble3D val="0"/>
            <c:spPr>
              <a:solidFill>
                <a:srgbClr val="AEABAB"/>
              </a:solidFill>
            </c:spPr>
            <c:extLst>
              <c:ext xmlns:c16="http://schemas.microsoft.com/office/drawing/2014/chart" uri="{C3380CC4-5D6E-409C-BE32-E72D297353CC}">
                <c16:uniqueId val="{000001C3-E6EA-4EEB-8DCD-D1BFB60609D0}"/>
              </c:ext>
            </c:extLst>
          </c:dPt>
          <c:dPt>
            <c:idx val="225"/>
            <c:invertIfNegative val="1"/>
            <c:bubble3D val="0"/>
            <c:spPr>
              <a:solidFill>
                <a:srgbClr val="AEABAB"/>
              </a:solidFill>
            </c:spPr>
            <c:extLst>
              <c:ext xmlns:c16="http://schemas.microsoft.com/office/drawing/2014/chart" uri="{C3380CC4-5D6E-409C-BE32-E72D297353CC}">
                <c16:uniqueId val="{000001C5-E6EA-4EEB-8DCD-D1BFB60609D0}"/>
              </c:ext>
            </c:extLst>
          </c:dPt>
          <c:dPt>
            <c:idx val="226"/>
            <c:invertIfNegative val="1"/>
            <c:bubble3D val="0"/>
            <c:spPr>
              <a:solidFill>
                <a:srgbClr val="AEABAB"/>
              </a:solidFill>
            </c:spPr>
            <c:extLst>
              <c:ext xmlns:c16="http://schemas.microsoft.com/office/drawing/2014/chart" uri="{C3380CC4-5D6E-409C-BE32-E72D297353CC}">
                <c16:uniqueId val="{000001C7-E6EA-4EEB-8DCD-D1BFB60609D0}"/>
              </c:ext>
            </c:extLst>
          </c:dPt>
          <c:dPt>
            <c:idx val="227"/>
            <c:invertIfNegative val="1"/>
            <c:bubble3D val="0"/>
            <c:spPr>
              <a:solidFill>
                <a:srgbClr val="AEABAB"/>
              </a:solidFill>
            </c:spPr>
            <c:extLst>
              <c:ext xmlns:c16="http://schemas.microsoft.com/office/drawing/2014/chart" uri="{C3380CC4-5D6E-409C-BE32-E72D297353CC}">
                <c16:uniqueId val="{000001C9-E6EA-4EEB-8DCD-D1BFB60609D0}"/>
              </c:ext>
            </c:extLst>
          </c:dPt>
          <c:dPt>
            <c:idx val="228"/>
            <c:invertIfNegative val="1"/>
            <c:bubble3D val="0"/>
            <c:spPr>
              <a:solidFill>
                <a:srgbClr val="AEABAB"/>
              </a:solidFill>
            </c:spPr>
            <c:extLst>
              <c:ext xmlns:c16="http://schemas.microsoft.com/office/drawing/2014/chart" uri="{C3380CC4-5D6E-409C-BE32-E72D297353CC}">
                <c16:uniqueId val="{000001CB-E6EA-4EEB-8DCD-D1BFB60609D0}"/>
              </c:ext>
            </c:extLst>
          </c:dPt>
          <c:dPt>
            <c:idx val="229"/>
            <c:invertIfNegative val="1"/>
            <c:bubble3D val="0"/>
            <c:spPr>
              <a:solidFill>
                <a:srgbClr val="AEABAB"/>
              </a:solidFill>
            </c:spPr>
            <c:extLst>
              <c:ext xmlns:c16="http://schemas.microsoft.com/office/drawing/2014/chart" uri="{C3380CC4-5D6E-409C-BE32-E72D297353CC}">
                <c16:uniqueId val="{000001CD-E6EA-4EEB-8DCD-D1BFB60609D0}"/>
              </c:ext>
            </c:extLst>
          </c:dPt>
          <c:dPt>
            <c:idx val="230"/>
            <c:invertIfNegative val="1"/>
            <c:bubble3D val="0"/>
            <c:spPr>
              <a:solidFill>
                <a:srgbClr val="AEABAB"/>
              </a:solidFill>
            </c:spPr>
            <c:extLst>
              <c:ext xmlns:c16="http://schemas.microsoft.com/office/drawing/2014/chart" uri="{C3380CC4-5D6E-409C-BE32-E72D297353CC}">
                <c16:uniqueId val="{000001CF-E6EA-4EEB-8DCD-D1BFB60609D0}"/>
              </c:ext>
            </c:extLst>
          </c:dPt>
          <c:dPt>
            <c:idx val="231"/>
            <c:invertIfNegative val="1"/>
            <c:bubble3D val="0"/>
            <c:spPr>
              <a:solidFill>
                <a:srgbClr val="AEABAB"/>
              </a:solidFill>
            </c:spPr>
            <c:extLst>
              <c:ext xmlns:c16="http://schemas.microsoft.com/office/drawing/2014/chart" uri="{C3380CC4-5D6E-409C-BE32-E72D297353CC}">
                <c16:uniqueId val="{000001D1-E6EA-4EEB-8DCD-D1BFB60609D0}"/>
              </c:ext>
            </c:extLst>
          </c:dPt>
          <c:dPt>
            <c:idx val="232"/>
            <c:invertIfNegative val="1"/>
            <c:bubble3D val="0"/>
            <c:spPr>
              <a:solidFill>
                <a:srgbClr val="AEABAB"/>
              </a:solidFill>
            </c:spPr>
            <c:extLst>
              <c:ext xmlns:c16="http://schemas.microsoft.com/office/drawing/2014/chart" uri="{C3380CC4-5D6E-409C-BE32-E72D297353CC}">
                <c16:uniqueId val="{000001D3-E6EA-4EEB-8DCD-D1BFB60609D0}"/>
              </c:ext>
            </c:extLst>
          </c:dPt>
          <c:dPt>
            <c:idx val="233"/>
            <c:invertIfNegative val="1"/>
            <c:bubble3D val="0"/>
            <c:spPr>
              <a:solidFill>
                <a:srgbClr val="AEABAB"/>
              </a:solidFill>
            </c:spPr>
            <c:extLst>
              <c:ext xmlns:c16="http://schemas.microsoft.com/office/drawing/2014/chart" uri="{C3380CC4-5D6E-409C-BE32-E72D297353CC}">
                <c16:uniqueId val="{000001D5-E6EA-4EEB-8DCD-D1BFB60609D0}"/>
              </c:ext>
            </c:extLst>
          </c:dPt>
          <c:dPt>
            <c:idx val="234"/>
            <c:invertIfNegative val="1"/>
            <c:bubble3D val="0"/>
            <c:spPr>
              <a:solidFill>
                <a:srgbClr val="AEABAB"/>
              </a:solidFill>
            </c:spPr>
            <c:extLst>
              <c:ext xmlns:c16="http://schemas.microsoft.com/office/drawing/2014/chart" uri="{C3380CC4-5D6E-409C-BE32-E72D297353CC}">
                <c16:uniqueId val="{000001D7-E6EA-4EEB-8DCD-D1BFB60609D0}"/>
              </c:ext>
            </c:extLst>
          </c:dPt>
          <c:dPt>
            <c:idx val="235"/>
            <c:invertIfNegative val="1"/>
            <c:bubble3D val="0"/>
            <c:spPr>
              <a:solidFill>
                <a:srgbClr val="AEABAB"/>
              </a:solidFill>
            </c:spPr>
            <c:extLst>
              <c:ext xmlns:c16="http://schemas.microsoft.com/office/drawing/2014/chart" uri="{C3380CC4-5D6E-409C-BE32-E72D297353CC}">
                <c16:uniqueId val="{000001D9-E6EA-4EEB-8DCD-D1BFB60609D0}"/>
              </c:ext>
            </c:extLst>
          </c:dPt>
          <c:dPt>
            <c:idx val="236"/>
            <c:invertIfNegative val="1"/>
            <c:bubble3D val="0"/>
            <c:spPr>
              <a:solidFill>
                <a:srgbClr val="AEABAB"/>
              </a:solidFill>
            </c:spPr>
            <c:extLst>
              <c:ext xmlns:c16="http://schemas.microsoft.com/office/drawing/2014/chart" uri="{C3380CC4-5D6E-409C-BE32-E72D297353CC}">
                <c16:uniqueId val="{000001DB-E6EA-4EEB-8DCD-D1BFB60609D0}"/>
              </c:ext>
            </c:extLst>
          </c:dPt>
          <c:dPt>
            <c:idx val="237"/>
            <c:invertIfNegative val="1"/>
            <c:bubble3D val="0"/>
            <c:spPr>
              <a:solidFill>
                <a:srgbClr val="AEABAB"/>
              </a:solidFill>
            </c:spPr>
            <c:extLst>
              <c:ext xmlns:c16="http://schemas.microsoft.com/office/drawing/2014/chart" uri="{C3380CC4-5D6E-409C-BE32-E72D297353CC}">
                <c16:uniqueId val="{000001DD-E6EA-4EEB-8DCD-D1BFB60609D0}"/>
              </c:ext>
            </c:extLst>
          </c:dPt>
          <c:dPt>
            <c:idx val="238"/>
            <c:invertIfNegative val="1"/>
            <c:bubble3D val="0"/>
            <c:spPr>
              <a:solidFill>
                <a:srgbClr val="AEABAB"/>
              </a:solidFill>
            </c:spPr>
            <c:extLst>
              <c:ext xmlns:c16="http://schemas.microsoft.com/office/drawing/2014/chart" uri="{C3380CC4-5D6E-409C-BE32-E72D297353CC}">
                <c16:uniqueId val="{000001DF-E6EA-4EEB-8DCD-D1BFB60609D0}"/>
              </c:ext>
            </c:extLst>
          </c:dPt>
          <c:dPt>
            <c:idx val="239"/>
            <c:invertIfNegative val="1"/>
            <c:bubble3D val="0"/>
            <c:spPr>
              <a:solidFill>
                <a:srgbClr val="AEABAB"/>
              </a:solidFill>
            </c:spPr>
            <c:extLst>
              <c:ext xmlns:c16="http://schemas.microsoft.com/office/drawing/2014/chart" uri="{C3380CC4-5D6E-409C-BE32-E72D297353CC}">
                <c16:uniqueId val="{000001E1-E6EA-4EEB-8DCD-D1BFB60609D0}"/>
              </c:ext>
            </c:extLst>
          </c:dPt>
          <c:dPt>
            <c:idx val="240"/>
            <c:invertIfNegative val="1"/>
            <c:bubble3D val="0"/>
            <c:spPr>
              <a:solidFill>
                <a:srgbClr val="AEABAB"/>
              </a:solidFill>
            </c:spPr>
            <c:extLst>
              <c:ext xmlns:c16="http://schemas.microsoft.com/office/drawing/2014/chart" uri="{C3380CC4-5D6E-409C-BE32-E72D297353CC}">
                <c16:uniqueId val="{000001E3-E6EA-4EEB-8DCD-D1BFB60609D0}"/>
              </c:ext>
            </c:extLst>
          </c:dPt>
          <c:dPt>
            <c:idx val="241"/>
            <c:invertIfNegative val="1"/>
            <c:bubble3D val="0"/>
            <c:spPr>
              <a:solidFill>
                <a:srgbClr val="AEABAB"/>
              </a:solidFill>
            </c:spPr>
            <c:extLst>
              <c:ext xmlns:c16="http://schemas.microsoft.com/office/drawing/2014/chart" uri="{C3380CC4-5D6E-409C-BE32-E72D297353CC}">
                <c16:uniqueId val="{000001E5-E6EA-4EEB-8DCD-D1BFB60609D0}"/>
              </c:ext>
            </c:extLst>
          </c:dPt>
          <c:dPt>
            <c:idx val="242"/>
            <c:invertIfNegative val="1"/>
            <c:bubble3D val="0"/>
            <c:spPr>
              <a:solidFill>
                <a:srgbClr val="AEABAB"/>
              </a:solidFill>
            </c:spPr>
            <c:extLst>
              <c:ext xmlns:c16="http://schemas.microsoft.com/office/drawing/2014/chart" uri="{C3380CC4-5D6E-409C-BE32-E72D297353CC}">
                <c16:uniqueId val="{000001E7-E6EA-4EEB-8DCD-D1BFB60609D0}"/>
              </c:ext>
            </c:extLst>
          </c:dPt>
          <c:dPt>
            <c:idx val="243"/>
            <c:invertIfNegative val="1"/>
            <c:bubble3D val="0"/>
            <c:spPr>
              <a:solidFill>
                <a:srgbClr val="AEABAB"/>
              </a:solidFill>
            </c:spPr>
            <c:extLst>
              <c:ext xmlns:c16="http://schemas.microsoft.com/office/drawing/2014/chart" uri="{C3380CC4-5D6E-409C-BE32-E72D297353CC}">
                <c16:uniqueId val="{000001E9-E6EA-4EEB-8DCD-D1BFB60609D0}"/>
              </c:ext>
            </c:extLst>
          </c:dPt>
          <c:dPt>
            <c:idx val="244"/>
            <c:invertIfNegative val="1"/>
            <c:bubble3D val="0"/>
            <c:spPr>
              <a:solidFill>
                <a:srgbClr val="AEABAB"/>
              </a:solidFill>
            </c:spPr>
            <c:extLst>
              <c:ext xmlns:c16="http://schemas.microsoft.com/office/drawing/2014/chart" uri="{C3380CC4-5D6E-409C-BE32-E72D297353CC}">
                <c16:uniqueId val="{000001EB-E6EA-4EEB-8DCD-D1BFB60609D0}"/>
              </c:ext>
            </c:extLst>
          </c:dPt>
          <c:dPt>
            <c:idx val="245"/>
            <c:invertIfNegative val="1"/>
            <c:bubble3D val="0"/>
            <c:spPr>
              <a:solidFill>
                <a:srgbClr val="AEABAB"/>
              </a:solidFill>
            </c:spPr>
            <c:extLst>
              <c:ext xmlns:c16="http://schemas.microsoft.com/office/drawing/2014/chart" uri="{C3380CC4-5D6E-409C-BE32-E72D297353CC}">
                <c16:uniqueId val="{000001ED-E6EA-4EEB-8DCD-D1BFB60609D0}"/>
              </c:ext>
            </c:extLst>
          </c:dPt>
          <c:dPt>
            <c:idx val="246"/>
            <c:invertIfNegative val="1"/>
            <c:bubble3D val="0"/>
            <c:spPr>
              <a:solidFill>
                <a:srgbClr val="AEABAB"/>
              </a:solidFill>
            </c:spPr>
            <c:extLst>
              <c:ext xmlns:c16="http://schemas.microsoft.com/office/drawing/2014/chart" uri="{C3380CC4-5D6E-409C-BE32-E72D297353CC}">
                <c16:uniqueId val="{000001EF-E6EA-4EEB-8DCD-D1BFB60609D0}"/>
              </c:ext>
            </c:extLst>
          </c:dPt>
          <c:dPt>
            <c:idx val="247"/>
            <c:invertIfNegative val="1"/>
            <c:bubble3D val="0"/>
            <c:spPr>
              <a:solidFill>
                <a:srgbClr val="AEABAB"/>
              </a:solidFill>
            </c:spPr>
            <c:extLst>
              <c:ext xmlns:c16="http://schemas.microsoft.com/office/drawing/2014/chart" uri="{C3380CC4-5D6E-409C-BE32-E72D297353CC}">
                <c16:uniqueId val="{000001F1-E6EA-4EEB-8DCD-D1BFB60609D0}"/>
              </c:ext>
            </c:extLst>
          </c:dPt>
          <c:dPt>
            <c:idx val="248"/>
            <c:invertIfNegative val="1"/>
            <c:bubble3D val="0"/>
            <c:spPr>
              <a:solidFill>
                <a:srgbClr val="AEABAB"/>
              </a:solidFill>
            </c:spPr>
            <c:extLst>
              <c:ext xmlns:c16="http://schemas.microsoft.com/office/drawing/2014/chart" uri="{C3380CC4-5D6E-409C-BE32-E72D297353CC}">
                <c16:uniqueId val="{000001F3-E6EA-4EEB-8DCD-D1BFB60609D0}"/>
              </c:ext>
            </c:extLst>
          </c:dPt>
          <c:dPt>
            <c:idx val="249"/>
            <c:invertIfNegative val="1"/>
            <c:bubble3D val="0"/>
            <c:spPr>
              <a:solidFill>
                <a:srgbClr val="AEABAB"/>
              </a:solidFill>
            </c:spPr>
            <c:extLst>
              <c:ext xmlns:c16="http://schemas.microsoft.com/office/drawing/2014/chart" uri="{C3380CC4-5D6E-409C-BE32-E72D297353CC}">
                <c16:uniqueId val="{000001F5-E6EA-4EEB-8DCD-D1BFB60609D0}"/>
              </c:ext>
            </c:extLst>
          </c:dPt>
          <c:dPt>
            <c:idx val="250"/>
            <c:invertIfNegative val="1"/>
            <c:bubble3D val="0"/>
            <c:spPr>
              <a:solidFill>
                <a:srgbClr val="AEABAB"/>
              </a:solidFill>
            </c:spPr>
            <c:extLst>
              <c:ext xmlns:c16="http://schemas.microsoft.com/office/drawing/2014/chart" uri="{C3380CC4-5D6E-409C-BE32-E72D297353CC}">
                <c16:uniqueId val="{000001F7-E6EA-4EEB-8DCD-D1BFB60609D0}"/>
              </c:ext>
            </c:extLst>
          </c:dPt>
          <c:dPt>
            <c:idx val="251"/>
            <c:invertIfNegative val="1"/>
            <c:bubble3D val="0"/>
            <c:spPr>
              <a:solidFill>
                <a:srgbClr val="AEABAB"/>
              </a:solidFill>
            </c:spPr>
            <c:extLst>
              <c:ext xmlns:c16="http://schemas.microsoft.com/office/drawing/2014/chart" uri="{C3380CC4-5D6E-409C-BE32-E72D297353CC}">
                <c16:uniqueId val="{000001F9-E6EA-4EEB-8DCD-D1BFB60609D0}"/>
              </c:ext>
            </c:extLst>
          </c:dPt>
          <c:dPt>
            <c:idx val="252"/>
            <c:invertIfNegative val="1"/>
            <c:bubble3D val="0"/>
            <c:spPr>
              <a:solidFill>
                <a:srgbClr val="AEABAB"/>
              </a:solidFill>
            </c:spPr>
            <c:extLst>
              <c:ext xmlns:c16="http://schemas.microsoft.com/office/drawing/2014/chart" uri="{C3380CC4-5D6E-409C-BE32-E72D297353CC}">
                <c16:uniqueId val="{000001FB-E6EA-4EEB-8DCD-D1BFB60609D0}"/>
              </c:ext>
            </c:extLst>
          </c:dPt>
          <c:dPt>
            <c:idx val="253"/>
            <c:invertIfNegative val="1"/>
            <c:bubble3D val="0"/>
            <c:spPr>
              <a:solidFill>
                <a:srgbClr val="AEABAB"/>
              </a:solidFill>
            </c:spPr>
            <c:extLst>
              <c:ext xmlns:c16="http://schemas.microsoft.com/office/drawing/2014/chart" uri="{C3380CC4-5D6E-409C-BE32-E72D297353CC}">
                <c16:uniqueId val="{000001FD-E6EA-4EEB-8DCD-D1BFB60609D0}"/>
              </c:ext>
            </c:extLst>
          </c:dPt>
          <c:dPt>
            <c:idx val="254"/>
            <c:invertIfNegative val="1"/>
            <c:bubble3D val="0"/>
            <c:spPr>
              <a:solidFill>
                <a:srgbClr val="AEABAB"/>
              </a:solidFill>
            </c:spPr>
            <c:extLst>
              <c:ext xmlns:c16="http://schemas.microsoft.com/office/drawing/2014/chart" uri="{C3380CC4-5D6E-409C-BE32-E72D297353CC}">
                <c16:uniqueId val="{000001FF-E6EA-4EEB-8DCD-D1BFB60609D0}"/>
              </c:ext>
            </c:extLst>
          </c:dPt>
          <c:dPt>
            <c:idx val="255"/>
            <c:invertIfNegative val="1"/>
            <c:bubble3D val="0"/>
            <c:spPr>
              <a:solidFill>
                <a:srgbClr val="AEABAB"/>
              </a:solidFill>
            </c:spPr>
            <c:extLst>
              <c:ext xmlns:c16="http://schemas.microsoft.com/office/drawing/2014/chart" uri="{C3380CC4-5D6E-409C-BE32-E72D297353CC}">
                <c16:uniqueId val="{00000201-E6EA-4EEB-8DCD-D1BFB60609D0}"/>
              </c:ext>
            </c:extLst>
          </c:dPt>
          <c:dPt>
            <c:idx val="256"/>
            <c:invertIfNegative val="1"/>
            <c:bubble3D val="0"/>
            <c:spPr>
              <a:solidFill>
                <a:srgbClr val="AEABAB"/>
              </a:solidFill>
            </c:spPr>
            <c:extLst>
              <c:ext xmlns:c16="http://schemas.microsoft.com/office/drawing/2014/chart" uri="{C3380CC4-5D6E-409C-BE32-E72D297353CC}">
                <c16:uniqueId val="{00000203-E6EA-4EEB-8DCD-D1BFB60609D0}"/>
              </c:ext>
            </c:extLst>
          </c:dPt>
          <c:dPt>
            <c:idx val="257"/>
            <c:invertIfNegative val="1"/>
            <c:bubble3D val="0"/>
            <c:spPr>
              <a:solidFill>
                <a:srgbClr val="AEABAB"/>
              </a:solidFill>
            </c:spPr>
            <c:extLst>
              <c:ext xmlns:c16="http://schemas.microsoft.com/office/drawing/2014/chart" uri="{C3380CC4-5D6E-409C-BE32-E72D297353CC}">
                <c16:uniqueId val="{00000205-E6EA-4EEB-8DCD-D1BFB60609D0}"/>
              </c:ext>
            </c:extLst>
          </c:dPt>
          <c:dPt>
            <c:idx val="258"/>
            <c:invertIfNegative val="1"/>
            <c:bubble3D val="0"/>
            <c:spPr>
              <a:solidFill>
                <a:srgbClr val="AEABAB"/>
              </a:solidFill>
            </c:spPr>
            <c:extLst>
              <c:ext xmlns:c16="http://schemas.microsoft.com/office/drawing/2014/chart" uri="{C3380CC4-5D6E-409C-BE32-E72D297353CC}">
                <c16:uniqueId val="{00000207-E6EA-4EEB-8DCD-D1BFB60609D0}"/>
              </c:ext>
            </c:extLst>
          </c:dPt>
          <c:dPt>
            <c:idx val="259"/>
            <c:invertIfNegative val="1"/>
            <c:bubble3D val="0"/>
            <c:spPr>
              <a:solidFill>
                <a:srgbClr val="AEABAB"/>
              </a:solidFill>
            </c:spPr>
            <c:extLst>
              <c:ext xmlns:c16="http://schemas.microsoft.com/office/drawing/2014/chart" uri="{C3380CC4-5D6E-409C-BE32-E72D297353CC}">
                <c16:uniqueId val="{00000209-E6EA-4EEB-8DCD-D1BFB60609D0}"/>
              </c:ext>
            </c:extLst>
          </c:dPt>
          <c:dPt>
            <c:idx val="260"/>
            <c:invertIfNegative val="1"/>
            <c:bubble3D val="0"/>
            <c:spPr>
              <a:solidFill>
                <a:srgbClr val="AEABAB"/>
              </a:solidFill>
            </c:spPr>
            <c:extLst>
              <c:ext xmlns:c16="http://schemas.microsoft.com/office/drawing/2014/chart" uri="{C3380CC4-5D6E-409C-BE32-E72D297353CC}">
                <c16:uniqueId val="{0000020B-E6EA-4EEB-8DCD-D1BFB60609D0}"/>
              </c:ext>
            </c:extLst>
          </c:dPt>
          <c:dPt>
            <c:idx val="261"/>
            <c:invertIfNegative val="1"/>
            <c:bubble3D val="0"/>
            <c:spPr>
              <a:solidFill>
                <a:srgbClr val="AEABAB"/>
              </a:solidFill>
            </c:spPr>
            <c:extLst>
              <c:ext xmlns:c16="http://schemas.microsoft.com/office/drawing/2014/chart" uri="{C3380CC4-5D6E-409C-BE32-E72D297353CC}">
                <c16:uniqueId val="{0000020D-E6EA-4EEB-8DCD-D1BFB60609D0}"/>
              </c:ext>
            </c:extLst>
          </c:dPt>
          <c:dPt>
            <c:idx val="262"/>
            <c:invertIfNegative val="1"/>
            <c:bubble3D val="0"/>
            <c:spPr>
              <a:solidFill>
                <a:srgbClr val="AEABAB"/>
              </a:solidFill>
            </c:spPr>
            <c:extLst>
              <c:ext xmlns:c16="http://schemas.microsoft.com/office/drawing/2014/chart" uri="{C3380CC4-5D6E-409C-BE32-E72D297353CC}">
                <c16:uniqueId val="{0000020F-E6EA-4EEB-8DCD-D1BFB60609D0}"/>
              </c:ext>
            </c:extLst>
          </c:dPt>
          <c:dPt>
            <c:idx val="263"/>
            <c:invertIfNegative val="1"/>
            <c:bubble3D val="0"/>
            <c:spPr>
              <a:solidFill>
                <a:srgbClr val="AEABAB"/>
              </a:solidFill>
            </c:spPr>
            <c:extLst>
              <c:ext xmlns:c16="http://schemas.microsoft.com/office/drawing/2014/chart" uri="{C3380CC4-5D6E-409C-BE32-E72D297353CC}">
                <c16:uniqueId val="{00000211-E6EA-4EEB-8DCD-D1BFB60609D0}"/>
              </c:ext>
            </c:extLst>
          </c:dPt>
          <c:dPt>
            <c:idx val="264"/>
            <c:invertIfNegative val="1"/>
            <c:bubble3D val="0"/>
            <c:spPr>
              <a:solidFill>
                <a:srgbClr val="AEABAB"/>
              </a:solidFill>
            </c:spPr>
            <c:extLst>
              <c:ext xmlns:c16="http://schemas.microsoft.com/office/drawing/2014/chart" uri="{C3380CC4-5D6E-409C-BE32-E72D297353CC}">
                <c16:uniqueId val="{00000213-E6EA-4EEB-8DCD-D1BFB60609D0}"/>
              </c:ext>
            </c:extLst>
          </c:dPt>
          <c:dPt>
            <c:idx val="265"/>
            <c:invertIfNegative val="1"/>
            <c:bubble3D val="0"/>
            <c:spPr>
              <a:solidFill>
                <a:srgbClr val="AEABAB"/>
              </a:solidFill>
            </c:spPr>
            <c:extLst>
              <c:ext xmlns:c16="http://schemas.microsoft.com/office/drawing/2014/chart" uri="{C3380CC4-5D6E-409C-BE32-E72D297353CC}">
                <c16:uniqueId val="{00000215-E6EA-4EEB-8DCD-D1BFB60609D0}"/>
              </c:ext>
            </c:extLst>
          </c:dPt>
          <c:dPt>
            <c:idx val="266"/>
            <c:invertIfNegative val="1"/>
            <c:bubble3D val="0"/>
            <c:spPr>
              <a:solidFill>
                <a:srgbClr val="AEABAB"/>
              </a:solidFill>
            </c:spPr>
            <c:extLst>
              <c:ext xmlns:c16="http://schemas.microsoft.com/office/drawing/2014/chart" uri="{C3380CC4-5D6E-409C-BE32-E72D297353CC}">
                <c16:uniqueId val="{00000217-E6EA-4EEB-8DCD-D1BFB60609D0}"/>
              </c:ext>
            </c:extLst>
          </c:dPt>
          <c:dPt>
            <c:idx val="267"/>
            <c:invertIfNegative val="1"/>
            <c:bubble3D val="0"/>
            <c:spPr>
              <a:solidFill>
                <a:srgbClr val="AEABAB"/>
              </a:solidFill>
            </c:spPr>
            <c:extLst>
              <c:ext xmlns:c16="http://schemas.microsoft.com/office/drawing/2014/chart" uri="{C3380CC4-5D6E-409C-BE32-E72D297353CC}">
                <c16:uniqueId val="{00000219-E6EA-4EEB-8DCD-D1BFB60609D0}"/>
              </c:ext>
            </c:extLst>
          </c:dPt>
          <c:dPt>
            <c:idx val="268"/>
            <c:invertIfNegative val="1"/>
            <c:bubble3D val="0"/>
            <c:spPr>
              <a:solidFill>
                <a:srgbClr val="AEABAB"/>
              </a:solidFill>
            </c:spPr>
            <c:extLst>
              <c:ext xmlns:c16="http://schemas.microsoft.com/office/drawing/2014/chart" uri="{C3380CC4-5D6E-409C-BE32-E72D297353CC}">
                <c16:uniqueId val="{0000021B-E6EA-4EEB-8DCD-D1BFB60609D0}"/>
              </c:ext>
            </c:extLst>
          </c:dPt>
          <c:dPt>
            <c:idx val="269"/>
            <c:invertIfNegative val="1"/>
            <c:bubble3D val="0"/>
            <c:spPr>
              <a:solidFill>
                <a:srgbClr val="AEABAB"/>
              </a:solidFill>
            </c:spPr>
            <c:extLst>
              <c:ext xmlns:c16="http://schemas.microsoft.com/office/drawing/2014/chart" uri="{C3380CC4-5D6E-409C-BE32-E72D297353CC}">
                <c16:uniqueId val="{0000021D-E6EA-4EEB-8DCD-D1BFB60609D0}"/>
              </c:ext>
            </c:extLst>
          </c:dPt>
          <c:dPt>
            <c:idx val="270"/>
            <c:invertIfNegative val="1"/>
            <c:bubble3D val="0"/>
            <c:spPr>
              <a:solidFill>
                <a:srgbClr val="AEABAB"/>
              </a:solidFill>
            </c:spPr>
            <c:extLst>
              <c:ext xmlns:c16="http://schemas.microsoft.com/office/drawing/2014/chart" uri="{C3380CC4-5D6E-409C-BE32-E72D297353CC}">
                <c16:uniqueId val="{0000021F-E6EA-4EEB-8DCD-D1BFB60609D0}"/>
              </c:ext>
            </c:extLst>
          </c:dPt>
          <c:dPt>
            <c:idx val="271"/>
            <c:invertIfNegative val="1"/>
            <c:bubble3D val="0"/>
            <c:spPr>
              <a:solidFill>
                <a:srgbClr val="AEABAB"/>
              </a:solidFill>
            </c:spPr>
            <c:extLst>
              <c:ext xmlns:c16="http://schemas.microsoft.com/office/drawing/2014/chart" uri="{C3380CC4-5D6E-409C-BE32-E72D297353CC}">
                <c16:uniqueId val="{00000221-E6EA-4EEB-8DCD-D1BFB60609D0}"/>
              </c:ext>
            </c:extLst>
          </c:dPt>
          <c:dPt>
            <c:idx val="272"/>
            <c:invertIfNegative val="1"/>
            <c:bubble3D val="0"/>
            <c:spPr>
              <a:solidFill>
                <a:srgbClr val="AEABAB"/>
              </a:solidFill>
            </c:spPr>
            <c:extLst>
              <c:ext xmlns:c16="http://schemas.microsoft.com/office/drawing/2014/chart" uri="{C3380CC4-5D6E-409C-BE32-E72D297353CC}">
                <c16:uniqueId val="{00000223-E6EA-4EEB-8DCD-D1BFB60609D0}"/>
              </c:ext>
            </c:extLst>
          </c:dPt>
          <c:dPt>
            <c:idx val="273"/>
            <c:invertIfNegative val="1"/>
            <c:bubble3D val="0"/>
            <c:spPr>
              <a:solidFill>
                <a:srgbClr val="AEABAB"/>
              </a:solidFill>
            </c:spPr>
            <c:extLst>
              <c:ext xmlns:c16="http://schemas.microsoft.com/office/drawing/2014/chart" uri="{C3380CC4-5D6E-409C-BE32-E72D297353CC}">
                <c16:uniqueId val="{00000225-E6EA-4EEB-8DCD-D1BFB60609D0}"/>
              </c:ext>
            </c:extLst>
          </c:dPt>
          <c:dPt>
            <c:idx val="274"/>
            <c:invertIfNegative val="1"/>
            <c:bubble3D val="0"/>
            <c:spPr>
              <a:solidFill>
                <a:srgbClr val="AEABAB"/>
              </a:solidFill>
            </c:spPr>
            <c:extLst>
              <c:ext xmlns:c16="http://schemas.microsoft.com/office/drawing/2014/chart" uri="{C3380CC4-5D6E-409C-BE32-E72D297353CC}">
                <c16:uniqueId val="{00000227-E6EA-4EEB-8DCD-D1BFB60609D0}"/>
              </c:ext>
            </c:extLst>
          </c:dPt>
          <c:dPt>
            <c:idx val="275"/>
            <c:invertIfNegative val="1"/>
            <c:bubble3D val="0"/>
            <c:spPr>
              <a:solidFill>
                <a:srgbClr val="AEABAB"/>
              </a:solidFill>
            </c:spPr>
            <c:extLst>
              <c:ext xmlns:c16="http://schemas.microsoft.com/office/drawing/2014/chart" uri="{C3380CC4-5D6E-409C-BE32-E72D297353CC}">
                <c16:uniqueId val="{00000229-E6EA-4EEB-8DCD-D1BFB60609D0}"/>
              </c:ext>
            </c:extLst>
          </c:dPt>
          <c:dPt>
            <c:idx val="276"/>
            <c:invertIfNegative val="1"/>
            <c:bubble3D val="0"/>
            <c:spPr>
              <a:solidFill>
                <a:srgbClr val="AEABAB"/>
              </a:solidFill>
            </c:spPr>
            <c:extLst>
              <c:ext xmlns:c16="http://schemas.microsoft.com/office/drawing/2014/chart" uri="{C3380CC4-5D6E-409C-BE32-E72D297353CC}">
                <c16:uniqueId val="{0000022B-E6EA-4EEB-8DCD-D1BFB60609D0}"/>
              </c:ext>
            </c:extLst>
          </c:dPt>
          <c:dPt>
            <c:idx val="277"/>
            <c:invertIfNegative val="1"/>
            <c:bubble3D val="0"/>
            <c:spPr>
              <a:solidFill>
                <a:srgbClr val="AEABAB"/>
              </a:solidFill>
            </c:spPr>
            <c:extLst>
              <c:ext xmlns:c16="http://schemas.microsoft.com/office/drawing/2014/chart" uri="{C3380CC4-5D6E-409C-BE32-E72D297353CC}">
                <c16:uniqueId val="{0000022D-E6EA-4EEB-8DCD-D1BFB60609D0}"/>
              </c:ext>
            </c:extLst>
          </c:dPt>
          <c:dPt>
            <c:idx val="278"/>
            <c:invertIfNegative val="1"/>
            <c:bubble3D val="0"/>
            <c:spPr>
              <a:solidFill>
                <a:srgbClr val="AEABAB"/>
              </a:solidFill>
            </c:spPr>
            <c:extLst>
              <c:ext xmlns:c16="http://schemas.microsoft.com/office/drawing/2014/chart" uri="{C3380CC4-5D6E-409C-BE32-E72D297353CC}">
                <c16:uniqueId val="{0000022F-E6EA-4EEB-8DCD-D1BFB60609D0}"/>
              </c:ext>
            </c:extLst>
          </c:dPt>
          <c:dPt>
            <c:idx val="279"/>
            <c:invertIfNegative val="1"/>
            <c:bubble3D val="0"/>
            <c:spPr>
              <a:solidFill>
                <a:srgbClr val="AEABAB"/>
              </a:solidFill>
            </c:spPr>
            <c:extLst>
              <c:ext xmlns:c16="http://schemas.microsoft.com/office/drawing/2014/chart" uri="{C3380CC4-5D6E-409C-BE32-E72D297353CC}">
                <c16:uniqueId val="{00000231-E6EA-4EEB-8DCD-D1BFB60609D0}"/>
              </c:ext>
            </c:extLst>
          </c:dPt>
          <c:dPt>
            <c:idx val="280"/>
            <c:invertIfNegative val="1"/>
            <c:bubble3D val="0"/>
            <c:spPr>
              <a:solidFill>
                <a:srgbClr val="AEABAB"/>
              </a:solidFill>
            </c:spPr>
            <c:extLst>
              <c:ext xmlns:c16="http://schemas.microsoft.com/office/drawing/2014/chart" uri="{C3380CC4-5D6E-409C-BE32-E72D297353CC}">
                <c16:uniqueId val="{00000233-E6EA-4EEB-8DCD-D1BFB60609D0}"/>
              </c:ext>
            </c:extLst>
          </c:dPt>
          <c:dPt>
            <c:idx val="281"/>
            <c:invertIfNegative val="1"/>
            <c:bubble3D val="0"/>
            <c:spPr>
              <a:solidFill>
                <a:srgbClr val="AEABAB"/>
              </a:solidFill>
            </c:spPr>
            <c:extLst>
              <c:ext xmlns:c16="http://schemas.microsoft.com/office/drawing/2014/chart" uri="{C3380CC4-5D6E-409C-BE32-E72D297353CC}">
                <c16:uniqueId val="{00000235-E6EA-4EEB-8DCD-D1BFB60609D0}"/>
              </c:ext>
            </c:extLst>
          </c:dPt>
          <c:dPt>
            <c:idx val="282"/>
            <c:invertIfNegative val="1"/>
            <c:bubble3D val="0"/>
            <c:spPr>
              <a:solidFill>
                <a:srgbClr val="AEABAB"/>
              </a:solidFill>
            </c:spPr>
            <c:extLst>
              <c:ext xmlns:c16="http://schemas.microsoft.com/office/drawing/2014/chart" uri="{C3380CC4-5D6E-409C-BE32-E72D297353CC}">
                <c16:uniqueId val="{00000237-E6EA-4EEB-8DCD-D1BFB60609D0}"/>
              </c:ext>
            </c:extLst>
          </c:dPt>
          <c:dPt>
            <c:idx val="283"/>
            <c:invertIfNegative val="1"/>
            <c:bubble3D val="0"/>
            <c:spPr>
              <a:solidFill>
                <a:srgbClr val="AEABAB"/>
              </a:solidFill>
            </c:spPr>
            <c:extLst>
              <c:ext xmlns:c16="http://schemas.microsoft.com/office/drawing/2014/chart" uri="{C3380CC4-5D6E-409C-BE32-E72D297353CC}">
                <c16:uniqueId val="{00000239-E6EA-4EEB-8DCD-D1BFB60609D0}"/>
              </c:ext>
            </c:extLst>
          </c:dPt>
          <c:dPt>
            <c:idx val="284"/>
            <c:invertIfNegative val="1"/>
            <c:bubble3D val="0"/>
            <c:spPr>
              <a:solidFill>
                <a:srgbClr val="AEABAB"/>
              </a:solidFill>
            </c:spPr>
            <c:extLst>
              <c:ext xmlns:c16="http://schemas.microsoft.com/office/drawing/2014/chart" uri="{C3380CC4-5D6E-409C-BE32-E72D297353CC}">
                <c16:uniqueId val="{0000023B-E6EA-4EEB-8DCD-D1BFB60609D0}"/>
              </c:ext>
            </c:extLst>
          </c:dPt>
          <c:dPt>
            <c:idx val="285"/>
            <c:invertIfNegative val="1"/>
            <c:bubble3D val="0"/>
            <c:spPr>
              <a:solidFill>
                <a:srgbClr val="AEABAB"/>
              </a:solidFill>
            </c:spPr>
            <c:extLst>
              <c:ext xmlns:c16="http://schemas.microsoft.com/office/drawing/2014/chart" uri="{C3380CC4-5D6E-409C-BE32-E72D297353CC}">
                <c16:uniqueId val="{0000023D-E6EA-4EEB-8DCD-D1BFB60609D0}"/>
              </c:ext>
            </c:extLst>
          </c:dPt>
          <c:dPt>
            <c:idx val="286"/>
            <c:invertIfNegative val="1"/>
            <c:bubble3D val="0"/>
            <c:spPr>
              <a:solidFill>
                <a:srgbClr val="AEABAB"/>
              </a:solidFill>
            </c:spPr>
            <c:extLst>
              <c:ext xmlns:c16="http://schemas.microsoft.com/office/drawing/2014/chart" uri="{C3380CC4-5D6E-409C-BE32-E72D297353CC}">
                <c16:uniqueId val="{0000023F-E6EA-4EEB-8DCD-D1BFB60609D0}"/>
              </c:ext>
            </c:extLst>
          </c:dPt>
          <c:dPt>
            <c:idx val="287"/>
            <c:invertIfNegative val="1"/>
            <c:bubble3D val="0"/>
            <c:spPr>
              <a:solidFill>
                <a:srgbClr val="AEABAB"/>
              </a:solidFill>
            </c:spPr>
            <c:extLst>
              <c:ext xmlns:c16="http://schemas.microsoft.com/office/drawing/2014/chart" uri="{C3380CC4-5D6E-409C-BE32-E72D297353CC}">
                <c16:uniqueId val="{00000241-E6EA-4EEB-8DCD-D1BFB60609D0}"/>
              </c:ext>
            </c:extLst>
          </c:dPt>
          <c:dPt>
            <c:idx val="288"/>
            <c:invertIfNegative val="1"/>
            <c:bubble3D val="0"/>
            <c:spPr>
              <a:solidFill>
                <a:srgbClr val="AEABAB"/>
              </a:solidFill>
            </c:spPr>
            <c:extLst>
              <c:ext xmlns:c16="http://schemas.microsoft.com/office/drawing/2014/chart" uri="{C3380CC4-5D6E-409C-BE32-E72D297353CC}">
                <c16:uniqueId val="{00000243-E6EA-4EEB-8DCD-D1BFB60609D0}"/>
              </c:ext>
            </c:extLst>
          </c:dPt>
          <c:dPt>
            <c:idx val="289"/>
            <c:invertIfNegative val="1"/>
            <c:bubble3D val="0"/>
            <c:spPr>
              <a:solidFill>
                <a:srgbClr val="AEABAB"/>
              </a:solidFill>
            </c:spPr>
            <c:extLst>
              <c:ext xmlns:c16="http://schemas.microsoft.com/office/drawing/2014/chart" uri="{C3380CC4-5D6E-409C-BE32-E72D297353CC}">
                <c16:uniqueId val="{00000245-E6EA-4EEB-8DCD-D1BFB60609D0}"/>
              </c:ext>
            </c:extLst>
          </c:dPt>
          <c:dPt>
            <c:idx val="290"/>
            <c:invertIfNegative val="1"/>
            <c:bubble3D val="0"/>
            <c:spPr>
              <a:solidFill>
                <a:srgbClr val="AEABAB"/>
              </a:solidFill>
            </c:spPr>
            <c:extLst>
              <c:ext xmlns:c16="http://schemas.microsoft.com/office/drawing/2014/chart" uri="{C3380CC4-5D6E-409C-BE32-E72D297353CC}">
                <c16:uniqueId val="{00000247-E6EA-4EEB-8DCD-D1BFB60609D0}"/>
              </c:ext>
            </c:extLst>
          </c:dPt>
          <c:dPt>
            <c:idx val="291"/>
            <c:invertIfNegative val="1"/>
            <c:bubble3D val="0"/>
            <c:spPr>
              <a:solidFill>
                <a:srgbClr val="AEABAB"/>
              </a:solidFill>
            </c:spPr>
            <c:extLst>
              <c:ext xmlns:c16="http://schemas.microsoft.com/office/drawing/2014/chart" uri="{C3380CC4-5D6E-409C-BE32-E72D297353CC}">
                <c16:uniqueId val="{00000249-E6EA-4EEB-8DCD-D1BFB60609D0}"/>
              </c:ext>
            </c:extLst>
          </c:dPt>
          <c:dPt>
            <c:idx val="292"/>
            <c:invertIfNegative val="1"/>
            <c:bubble3D val="0"/>
            <c:spPr>
              <a:solidFill>
                <a:srgbClr val="AEABAB"/>
              </a:solidFill>
            </c:spPr>
            <c:extLst>
              <c:ext xmlns:c16="http://schemas.microsoft.com/office/drawing/2014/chart" uri="{C3380CC4-5D6E-409C-BE32-E72D297353CC}">
                <c16:uniqueId val="{0000024B-E6EA-4EEB-8DCD-D1BFB60609D0}"/>
              </c:ext>
            </c:extLst>
          </c:dPt>
          <c:dPt>
            <c:idx val="293"/>
            <c:invertIfNegative val="1"/>
            <c:bubble3D val="0"/>
            <c:spPr>
              <a:solidFill>
                <a:srgbClr val="AEABAB"/>
              </a:solidFill>
            </c:spPr>
            <c:extLst>
              <c:ext xmlns:c16="http://schemas.microsoft.com/office/drawing/2014/chart" uri="{C3380CC4-5D6E-409C-BE32-E72D297353CC}">
                <c16:uniqueId val="{0000024D-E6EA-4EEB-8DCD-D1BFB60609D0}"/>
              </c:ext>
            </c:extLst>
          </c:dPt>
          <c:dPt>
            <c:idx val="294"/>
            <c:invertIfNegative val="1"/>
            <c:bubble3D val="0"/>
            <c:spPr>
              <a:solidFill>
                <a:srgbClr val="AEABAB"/>
              </a:solidFill>
            </c:spPr>
            <c:extLst>
              <c:ext xmlns:c16="http://schemas.microsoft.com/office/drawing/2014/chart" uri="{C3380CC4-5D6E-409C-BE32-E72D297353CC}">
                <c16:uniqueId val="{0000024F-E6EA-4EEB-8DCD-D1BFB60609D0}"/>
              </c:ext>
            </c:extLst>
          </c:dPt>
          <c:dPt>
            <c:idx val="295"/>
            <c:invertIfNegative val="1"/>
            <c:bubble3D val="0"/>
            <c:spPr>
              <a:solidFill>
                <a:srgbClr val="AEABAB"/>
              </a:solidFill>
            </c:spPr>
            <c:extLst>
              <c:ext xmlns:c16="http://schemas.microsoft.com/office/drawing/2014/chart" uri="{C3380CC4-5D6E-409C-BE32-E72D297353CC}">
                <c16:uniqueId val="{00000251-E6EA-4EEB-8DCD-D1BFB60609D0}"/>
              </c:ext>
            </c:extLst>
          </c:dPt>
          <c:dPt>
            <c:idx val="296"/>
            <c:invertIfNegative val="1"/>
            <c:bubble3D val="0"/>
            <c:spPr>
              <a:solidFill>
                <a:srgbClr val="AEABAB"/>
              </a:solidFill>
            </c:spPr>
            <c:extLst>
              <c:ext xmlns:c16="http://schemas.microsoft.com/office/drawing/2014/chart" uri="{C3380CC4-5D6E-409C-BE32-E72D297353CC}">
                <c16:uniqueId val="{00000253-E6EA-4EEB-8DCD-D1BFB60609D0}"/>
              </c:ext>
            </c:extLst>
          </c:dPt>
          <c:dPt>
            <c:idx val="297"/>
            <c:invertIfNegative val="1"/>
            <c:bubble3D val="0"/>
            <c:spPr>
              <a:solidFill>
                <a:srgbClr val="AEABAB"/>
              </a:solidFill>
            </c:spPr>
            <c:extLst>
              <c:ext xmlns:c16="http://schemas.microsoft.com/office/drawing/2014/chart" uri="{C3380CC4-5D6E-409C-BE32-E72D297353CC}">
                <c16:uniqueId val="{00000255-E6EA-4EEB-8DCD-D1BFB60609D0}"/>
              </c:ext>
            </c:extLst>
          </c:dPt>
          <c:dPt>
            <c:idx val="298"/>
            <c:invertIfNegative val="1"/>
            <c:bubble3D val="0"/>
            <c:spPr>
              <a:solidFill>
                <a:srgbClr val="AEABAB"/>
              </a:solidFill>
            </c:spPr>
            <c:extLst>
              <c:ext xmlns:c16="http://schemas.microsoft.com/office/drawing/2014/chart" uri="{C3380CC4-5D6E-409C-BE32-E72D297353CC}">
                <c16:uniqueId val="{00000257-E6EA-4EEB-8DCD-D1BFB60609D0}"/>
              </c:ext>
            </c:extLst>
          </c:dPt>
          <c:dPt>
            <c:idx val="299"/>
            <c:invertIfNegative val="1"/>
            <c:bubble3D val="0"/>
            <c:spPr>
              <a:solidFill>
                <a:srgbClr val="AEABAB"/>
              </a:solidFill>
            </c:spPr>
            <c:extLst>
              <c:ext xmlns:c16="http://schemas.microsoft.com/office/drawing/2014/chart" uri="{C3380CC4-5D6E-409C-BE32-E72D297353CC}">
                <c16:uniqueId val="{00000259-E6EA-4EEB-8DCD-D1BFB60609D0}"/>
              </c:ext>
            </c:extLst>
          </c:dPt>
          <c:dPt>
            <c:idx val="300"/>
            <c:invertIfNegative val="1"/>
            <c:bubble3D val="0"/>
            <c:spPr>
              <a:solidFill>
                <a:srgbClr val="AEABAB"/>
              </a:solidFill>
            </c:spPr>
            <c:extLst>
              <c:ext xmlns:c16="http://schemas.microsoft.com/office/drawing/2014/chart" uri="{C3380CC4-5D6E-409C-BE32-E72D297353CC}">
                <c16:uniqueId val="{0000025B-E6EA-4EEB-8DCD-D1BFB60609D0}"/>
              </c:ext>
            </c:extLst>
          </c:dPt>
          <c:dPt>
            <c:idx val="301"/>
            <c:invertIfNegative val="1"/>
            <c:bubble3D val="0"/>
            <c:spPr>
              <a:solidFill>
                <a:srgbClr val="AEABAB"/>
              </a:solidFill>
            </c:spPr>
            <c:extLst>
              <c:ext xmlns:c16="http://schemas.microsoft.com/office/drawing/2014/chart" uri="{C3380CC4-5D6E-409C-BE32-E72D297353CC}">
                <c16:uniqueId val="{0000025D-E6EA-4EEB-8DCD-D1BFB60609D0}"/>
              </c:ext>
            </c:extLst>
          </c:dPt>
          <c:dPt>
            <c:idx val="302"/>
            <c:invertIfNegative val="1"/>
            <c:bubble3D val="0"/>
            <c:spPr>
              <a:solidFill>
                <a:srgbClr val="AEABAB"/>
              </a:solidFill>
            </c:spPr>
            <c:extLst>
              <c:ext xmlns:c16="http://schemas.microsoft.com/office/drawing/2014/chart" uri="{C3380CC4-5D6E-409C-BE32-E72D297353CC}">
                <c16:uniqueId val="{0000025F-E6EA-4EEB-8DCD-D1BFB60609D0}"/>
              </c:ext>
            </c:extLst>
          </c:dPt>
          <c:dPt>
            <c:idx val="303"/>
            <c:invertIfNegative val="1"/>
            <c:bubble3D val="0"/>
            <c:spPr>
              <a:solidFill>
                <a:srgbClr val="AEABAB"/>
              </a:solidFill>
            </c:spPr>
            <c:extLst>
              <c:ext xmlns:c16="http://schemas.microsoft.com/office/drawing/2014/chart" uri="{C3380CC4-5D6E-409C-BE32-E72D297353CC}">
                <c16:uniqueId val="{00000261-E6EA-4EEB-8DCD-D1BFB60609D0}"/>
              </c:ext>
            </c:extLst>
          </c:dPt>
          <c:dPt>
            <c:idx val="304"/>
            <c:invertIfNegative val="1"/>
            <c:bubble3D val="0"/>
            <c:spPr>
              <a:solidFill>
                <a:srgbClr val="AEABAB"/>
              </a:solidFill>
            </c:spPr>
            <c:extLst>
              <c:ext xmlns:c16="http://schemas.microsoft.com/office/drawing/2014/chart" uri="{C3380CC4-5D6E-409C-BE32-E72D297353CC}">
                <c16:uniqueId val="{00000263-E6EA-4EEB-8DCD-D1BFB60609D0}"/>
              </c:ext>
            </c:extLst>
          </c:dPt>
          <c:dPt>
            <c:idx val="305"/>
            <c:invertIfNegative val="1"/>
            <c:bubble3D val="0"/>
            <c:spPr>
              <a:solidFill>
                <a:srgbClr val="AEABAB"/>
              </a:solidFill>
            </c:spPr>
            <c:extLst>
              <c:ext xmlns:c16="http://schemas.microsoft.com/office/drawing/2014/chart" uri="{C3380CC4-5D6E-409C-BE32-E72D297353CC}">
                <c16:uniqueId val="{00000265-E6EA-4EEB-8DCD-D1BFB60609D0}"/>
              </c:ext>
            </c:extLst>
          </c:dPt>
          <c:dPt>
            <c:idx val="306"/>
            <c:invertIfNegative val="1"/>
            <c:bubble3D val="0"/>
            <c:spPr>
              <a:solidFill>
                <a:srgbClr val="AEABAB"/>
              </a:solidFill>
            </c:spPr>
            <c:extLst>
              <c:ext xmlns:c16="http://schemas.microsoft.com/office/drawing/2014/chart" uri="{C3380CC4-5D6E-409C-BE32-E72D297353CC}">
                <c16:uniqueId val="{00000267-E6EA-4EEB-8DCD-D1BFB60609D0}"/>
              </c:ext>
            </c:extLst>
          </c:dPt>
          <c:dPt>
            <c:idx val="307"/>
            <c:invertIfNegative val="1"/>
            <c:bubble3D val="0"/>
            <c:spPr>
              <a:solidFill>
                <a:srgbClr val="AEABAB"/>
              </a:solidFill>
            </c:spPr>
            <c:extLst>
              <c:ext xmlns:c16="http://schemas.microsoft.com/office/drawing/2014/chart" uri="{C3380CC4-5D6E-409C-BE32-E72D297353CC}">
                <c16:uniqueId val="{00000269-E6EA-4EEB-8DCD-D1BFB60609D0}"/>
              </c:ext>
            </c:extLst>
          </c:dPt>
          <c:dPt>
            <c:idx val="308"/>
            <c:invertIfNegative val="1"/>
            <c:bubble3D val="0"/>
            <c:spPr>
              <a:solidFill>
                <a:srgbClr val="AEABAB"/>
              </a:solidFill>
            </c:spPr>
            <c:extLst>
              <c:ext xmlns:c16="http://schemas.microsoft.com/office/drawing/2014/chart" uri="{C3380CC4-5D6E-409C-BE32-E72D297353CC}">
                <c16:uniqueId val="{0000026B-E6EA-4EEB-8DCD-D1BFB60609D0}"/>
              </c:ext>
            </c:extLst>
          </c:dPt>
          <c:dPt>
            <c:idx val="309"/>
            <c:invertIfNegative val="1"/>
            <c:bubble3D val="0"/>
            <c:spPr>
              <a:solidFill>
                <a:srgbClr val="AEABAB"/>
              </a:solidFill>
            </c:spPr>
            <c:extLst>
              <c:ext xmlns:c16="http://schemas.microsoft.com/office/drawing/2014/chart" uri="{C3380CC4-5D6E-409C-BE32-E72D297353CC}">
                <c16:uniqueId val="{0000026D-E6EA-4EEB-8DCD-D1BFB60609D0}"/>
              </c:ext>
            </c:extLst>
          </c:dPt>
          <c:dPt>
            <c:idx val="310"/>
            <c:invertIfNegative val="1"/>
            <c:bubble3D val="0"/>
            <c:spPr>
              <a:solidFill>
                <a:srgbClr val="AEABAB"/>
              </a:solidFill>
            </c:spPr>
            <c:extLst>
              <c:ext xmlns:c16="http://schemas.microsoft.com/office/drawing/2014/chart" uri="{C3380CC4-5D6E-409C-BE32-E72D297353CC}">
                <c16:uniqueId val="{0000026F-E6EA-4EEB-8DCD-D1BFB60609D0}"/>
              </c:ext>
            </c:extLst>
          </c:dPt>
          <c:dPt>
            <c:idx val="311"/>
            <c:invertIfNegative val="1"/>
            <c:bubble3D val="0"/>
            <c:spPr>
              <a:solidFill>
                <a:srgbClr val="AEABAB"/>
              </a:solidFill>
            </c:spPr>
            <c:extLst>
              <c:ext xmlns:c16="http://schemas.microsoft.com/office/drawing/2014/chart" uri="{C3380CC4-5D6E-409C-BE32-E72D297353CC}">
                <c16:uniqueId val="{00000271-E6EA-4EEB-8DCD-D1BFB60609D0}"/>
              </c:ext>
            </c:extLst>
          </c:dPt>
          <c:dPt>
            <c:idx val="312"/>
            <c:invertIfNegative val="1"/>
            <c:bubble3D val="0"/>
            <c:spPr>
              <a:solidFill>
                <a:srgbClr val="AEABAB"/>
              </a:solidFill>
            </c:spPr>
            <c:extLst>
              <c:ext xmlns:c16="http://schemas.microsoft.com/office/drawing/2014/chart" uri="{C3380CC4-5D6E-409C-BE32-E72D297353CC}">
                <c16:uniqueId val="{00000273-E6EA-4EEB-8DCD-D1BFB60609D0}"/>
              </c:ext>
            </c:extLst>
          </c:dPt>
          <c:dPt>
            <c:idx val="313"/>
            <c:invertIfNegative val="1"/>
            <c:bubble3D val="0"/>
            <c:spPr>
              <a:solidFill>
                <a:srgbClr val="AEABAB"/>
              </a:solidFill>
            </c:spPr>
            <c:extLst>
              <c:ext xmlns:c16="http://schemas.microsoft.com/office/drawing/2014/chart" uri="{C3380CC4-5D6E-409C-BE32-E72D297353CC}">
                <c16:uniqueId val="{00000275-E6EA-4EEB-8DCD-D1BFB60609D0}"/>
              </c:ext>
            </c:extLst>
          </c:dPt>
          <c:dPt>
            <c:idx val="314"/>
            <c:invertIfNegative val="1"/>
            <c:bubble3D val="0"/>
            <c:spPr>
              <a:solidFill>
                <a:srgbClr val="AEABAB"/>
              </a:solidFill>
            </c:spPr>
            <c:extLst>
              <c:ext xmlns:c16="http://schemas.microsoft.com/office/drawing/2014/chart" uri="{C3380CC4-5D6E-409C-BE32-E72D297353CC}">
                <c16:uniqueId val="{00000277-E6EA-4EEB-8DCD-D1BFB60609D0}"/>
              </c:ext>
            </c:extLst>
          </c:dPt>
          <c:dPt>
            <c:idx val="315"/>
            <c:invertIfNegative val="1"/>
            <c:bubble3D val="0"/>
            <c:spPr>
              <a:solidFill>
                <a:srgbClr val="AEABAB"/>
              </a:solidFill>
            </c:spPr>
            <c:extLst>
              <c:ext xmlns:c16="http://schemas.microsoft.com/office/drawing/2014/chart" uri="{C3380CC4-5D6E-409C-BE32-E72D297353CC}">
                <c16:uniqueId val="{00000279-E6EA-4EEB-8DCD-D1BFB60609D0}"/>
              </c:ext>
            </c:extLst>
          </c:dPt>
          <c:dPt>
            <c:idx val="316"/>
            <c:invertIfNegative val="1"/>
            <c:bubble3D val="0"/>
            <c:spPr>
              <a:solidFill>
                <a:srgbClr val="AEABAB"/>
              </a:solidFill>
            </c:spPr>
            <c:extLst>
              <c:ext xmlns:c16="http://schemas.microsoft.com/office/drawing/2014/chart" uri="{C3380CC4-5D6E-409C-BE32-E72D297353CC}">
                <c16:uniqueId val="{0000027B-E6EA-4EEB-8DCD-D1BFB60609D0}"/>
              </c:ext>
            </c:extLst>
          </c:dPt>
          <c:dPt>
            <c:idx val="317"/>
            <c:invertIfNegative val="1"/>
            <c:bubble3D val="0"/>
            <c:spPr>
              <a:solidFill>
                <a:srgbClr val="AEABAB"/>
              </a:solidFill>
            </c:spPr>
            <c:extLst>
              <c:ext xmlns:c16="http://schemas.microsoft.com/office/drawing/2014/chart" uri="{C3380CC4-5D6E-409C-BE32-E72D297353CC}">
                <c16:uniqueId val="{0000027D-E6EA-4EEB-8DCD-D1BFB60609D0}"/>
              </c:ext>
            </c:extLst>
          </c:dPt>
          <c:dPt>
            <c:idx val="318"/>
            <c:invertIfNegative val="1"/>
            <c:bubble3D val="0"/>
            <c:spPr>
              <a:solidFill>
                <a:srgbClr val="AEABAB"/>
              </a:solidFill>
            </c:spPr>
            <c:extLst>
              <c:ext xmlns:c16="http://schemas.microsoft.com/office/drawing/2014/chart" uri="{C3380CC4-5D6E-409C-BE32-E72D297353CC}">
                <c16:uniqueId val="{0000027F-E6EA-4EEB-8DCD-D1BFB60609D0}"/>
              </c:ext>
            </c:extLst>
          </c:dPt>
          <c:dPt>
            <c:idx val="319"/>
            <c:invertIfNegative val="1"/>
            <c:bubble3D val="0"/>
            <c:spPr>
              <a:solidFill>
                <a:srgbClr val="AEABAB"/>
              </a:solidFill>
            </c:spPr>
            <c:extLst>
              <c:ext xmlns:c16="http://schemas.microsoft.com/office/drawing/2014/chart" uri="{C3380CC4-5D6E-409C-BE32-E72D297353CC}">
                <c16:uniqueId val="{00000281-E6EA-4EEB-8DCD-D1BFB60609D0}"/>
              </c:ext>
            </c:extLst>
          </c:dPt>
          <c:dPt>
            <c:idx val="320"/>
            <c:invertIfNegative val="1"/>
            <c:bubble3D val="0"/>
            <c:spPr>
              <a:solidFill>
                <a:srgbClr val="AEABAB"/>
              </a:solidFill>
            </c:spPr>
            <c:extLst>
              <c:ext xmlns:c16="http://schemas.microsoft.com/office/drawing/2014/chart" uri="{C3380CC4-5D6E-409C-BE32-E72D297353CC}">
                <c16:uniqueId val="{00000283-E6EA-4EEB-8DCD-D1BFB60609D0}"/>
              </c:ext>
            </c:extLst>
          </c:dPt>
          <c:dPt>
            <c:idx val="321"/>
            <c:invertIfNegative val="1"/>
            <c:bubble3D val="0"/>
            <c:spPr>
              <a:solidFill>
                <a:srgbClr val="AEABAB"/>
              </a:solidFill>
            </c:spPr>
            <c:extLst>
              <c:ext xmlns:c16="http://schemas.microsoft.com/office/drawing/2014/chart" uri="{C3380CC4-5D6E-409C-BE32-E72D297353CC}">
                <c16:uniqueId val="{00000285-E6EA-4EEB-8DCD-D1BFB60609D0}"/>
              </c:ext>
            </c:extLst>
          </c:dPt>
          <c:dPt>
            <c:idx val="322"/>
            <c:invertIfNegative val="1"/>
            <c:bubble3D val="0"/>
            <c:spPr>
              <a:solidFill>
                <a:srgbClr val="AEABAB"/>
              </a:solidFill>
            </c:spPr>
            <c:extLst>
              <c:ext xmlns:c16="http://schemas.microsoft.com/office/drawing/2014/chart" uri="{C3380CC4-5D6E-409C-BE32-E72D297353CC}">
                <c16:uniqueId val="{00000287-E6EA-4EEB-8DCD-D1BFB60609D0}"/>
              </c:ext>
            </c:extLst>
          </c:dPt>
          <c:dPt>
            <c:idx val="323"/>
            <c:invertIfNegative val="1"/>
            <c:bubble3D val="0"/>
            <c:spPr>
              <a:solidFill>
                <a:srgbClr val="AEABAB"/>
              </a:solidFill>
            </c:spPr>
            <c:extLst>
              <c:ext xmlns:c16="http://schemas.microsoft.com/office/drawing/2014/chart" uri="{C3380CC4-5D6E-409C-BE32-E72D297353CC}">
                <c16:uniqueId val="{00000289-E6EA-4EEB-8DCD-D1BFB60609D0}"/>
              </c:ext>
            </c:extLst>
          </c:dPt>
          <c:dPt>
            <c:idx val="324"/>
            <c:invertIfNegative val="1"/>
            <c:bubble3D val="0"/>
            <c:spPr>
              <a:solidFill>
                <a:srgbClr val="AEABAB"/>
              </a:solidFill>
            </c:spPr>
            <c:extLst>
              <c:ext xmlns:c16="http://schemas.microsoft.com/office/drawing/2014/chart" uri="{C3380CC4-5D6E-409C-BE32-E72D297353CC}">
                <c16:uniqueId val="{0000028B-E6EA-4EEB-8DCD-D1BFB60609D0}"/>
              </c:ext>
            </c:extLst>
          </c:dPt>
          <c:dPt>
            <c:idx val="325"/>
            <c:invertIfNegative val="1"/>
            <c:bubble3D val="0"/>
            <c:spPr>
              <a:solidFill>
                <a:srgbClr val="AEABAB"/>
              </a:solidFill>
            </c:spPr>
            <c:extLst>
              <c:ext xmlns:c16="http://schemas.microsoft.com/office/drawing/2014/chart" uri="{C3380CC4-5D6E-409C-BE32-E72D297353CC}">
                <c16:uniqueId val="{0000028D-E6EA-4EEB-8DCD-D1BFB60609D0}"/>
              </c:ext>
            </c:extLst>
          </c:dPt>
          <c:dPt>
            <c:idx val="326"/>
            <c:invertIfNegative val="1"/>
            <c:bubble3D val="0"/>
            <c:spPr>
              <a:solidFill>
                <a:srgbClr val="AEABAB"/>
              </a:solidFill>
            </c:spPr>
            <c:extLst>
              <c:ext xmlns:c16="http://schemas.microsoft.com/office/drawing/2014/chart" uri="{C3380CC4-5D6E-409C-BE32-E72D297353CC}">
                <c16:uniqueId val="{0000028F-E6EA-4EEB-8DCD-D1BFB60609D0}"/>
              </c:ext>
            </c:extLst>
          </c:dPt>
          <c:dPt>
            <c:idx val="327"/>
            <c:invertIfNegative val="1"/>
            <c:bubble3D val="0"/>
            <c:spPr>
              <a:solidFill>
                <a:srgbClr val="AEABAB"/>
              </a:solidFill>
            </c:spPr>
            <c:extLst>
              <c:ext xmlns:c16="http://schemas.microsoft.com/office/drawing/2014/chart" uri="{C3380CC4-5D6E-409C-BE32-E72D297353CC}">
                <c16:uniqueId val="{00000291-E6EA-4EEB-8DCD-D1BFB60609D0}"/>
              </c:ext>
            </c:extLst>
          </c:dPt>
          <c:dPt>
            <c:idx val="328"/>
            <c:invertIfNegative val="1"/>
            <c:bubble3D val="0"/>
            <c:spPr>
              <a:solidFill>
                <a:srgbClr val="AEABAB"/>
              </a:solidFill>
            </c:spPr>
            <c:extLst>
              <c:ext xmlns:c16="http://schemas.microsoft.com/office/drawing/2014/chart" uri="{C3380CC4-5D6E-409C-BE32-E72D297353CC}">
                <c16:uniqueId val="{00000293-E6EA-4EEB-8DCD-D1BFB60609D0}"/>
              </c:ext>
            </c:extLst>
          </c:dPt>
          <c:dPt>
            <c:idx val="329"/>
            <c:invertIfNegative val="1"/>
            <c:bubble3D val="0"/>
            <c:spPr>
              <a:solidFill>
                <a:srgbClr val="AEABAB"/>
              </a:solidFill>
            </c:spPr>
            <c:extLst>
              <c:ext xmlns:c16="http://schemas.microsoft.com/office/drawing/2014/chart" uri="{C3380CC4-5D6E-409C-BE32-E72D297353CC}">
                <c16:uniqueId val="{00000295-E6EA-4EEB-8DCD-D1BFB60609D0}"/>
              </c:ext>
            </c:extLst>
          </c:dPt>
          <c:dPt>
            <c:idx val="330"/>
            <c:invertIfNegative val="1"/>
            <c:bubble3D val="0"/>
            <c:spPr>
              <a:solidFill>
                <a:srgbClr val="AEABAB"/>
              </a:solidFill>
            </c:spPr>
            <c:extLst>
              <c:ext xmlns:c16="http://schemas.microsoft.com/office/drawing/2014/chart" uri="{C3380CC4-5D6E-409C-BE32-E72D297353CC}">
                <c16:uniqueId val="{00000297-E6EA-4EEB-8DCD-D1BFB60609D0}"/>
              </c:ext>
            </c:extLst>
          </c:dPt>
          <c:dPt>
            <c:idx val="331"/>
            <c:invertIfNegative val="1"/>
            <c:bubble3D val="0"/>
            <c:spPr>
              <a:solidFill>
                <a:srgbClr val="AEABAB"/>
              </a:solidFill>
            </c:spPr>
            <c:extLst>
              <c:ext xmlns:c16="http://schemas.microsoft.com/office/drawing/2014/chart" uri="{C3380CC4-5D6E-409C-BE32-E72D297353CC}">
                <c16:uniqueId val="{00000299-E6EA-4EEB-8DCD-D1BFB60609D0}"/>
              </c:ext>
            </c:extLst>
          </c:dPt>
          <c:dPt>
            <c:idx val="332"/>
            <c:invertIfNegative val="1"/>
            <c:bubble3D val="0"/>
            <c:spPr>
              <a:solidFill>
                <a:srgbClr val="AEABAB"/>
              </a:solidFill>
            </c:spPr>
            <c:extLst>
              <c:ext xmlns:c16="http://schemas.microsoft.com/office/drawing/2014/chart" uri="{C3380CC4-5D6E-409C-BE32-E72D297353CC}">
                <c16:uniqueId val="{0000029B-E6EA-4EEB-8DCD-D1BFB60609D0}"/>
              </c:ext>
            </c:extLst>
          </c:dPt>
          <c:dPt>
            <c:idx val="333"/>
            <c:invertIfNegative val="1"/>
            <c:bubble3D val="0"/>
            <c:spPr>
              <a:solidFill>
                <a:srgbClr val="AEABAB"/>
              </a:solidFill>
            </c:spPr>
            <c:extLst>
              <c:ext xmlns:c16="http://schemas.microsoft.com/office/drawing/2014/chart" uri="{C3380CC4-5D6E-409C-BE32-E72D297353CC}">
                <c16:uniqueId val="{0000029D-E6EA-4EEB-8DCD-D1BFB60609D0}"/>
              </c:ext>
            </c:extLst>
          </c:dPt>
          <c:dPt>
            <c:idx val="334"/>
            <c:invertIfNegative val="1"/>
            <c:bubble3D val="0"/>
            <c:spPr>
              <a:solidFill>
                <a:srgbClr val="AEABAB"/>
              </a:solidFill>
            </c:spPr>
            <c:extLst>
              <c:ext xmlns:c16="http://schemas.microsoft.com/office/drawing/2014/chart" uri="{C3380CC4-5D6E-409C-BE32-E72D297353CC}">
                <c16:uniqueId val="{0000029F-E6EA-4EEB-8DCD-D1BFB60609D0}"/>
              </c:ext>
            </c:extLst>
          </c:dPt>
          <c:dPt>
            <c:idx val="335"/>
            <c:invertIfNegative val="1"/>
            <c:bubble3D val="0"/>
            <c:spPr>
              <a:solidFill>
                <a:srgbClr val="AEABAB"/>
              </a:solidFill>
            </c:spPr>
            <c:extLst>
              <c:ext xmlns:c16="http://schemas.microsoft.com/office/drawing/2014/chart" uri="{C3380CC4-5D6E-409C-BE32-E72D297353CC}">
                <c16:uniqueId val="{000002A1-E6EA-4EEB-8DCD-D1BFB60609D0}"/>
              </c:ext>
            </c:extLst>
          </c:dPt>
          <c:dPt>
            <c:idx val="336"/>
            <c:invertIfNegative val="1"/>
            <c:bubble3D val="0"/>
            <c:spPr>
              <a:solidFill>
                <a:srgbClr val="AEABAB"/>
              </a:solidFill>
            </c:spPr>
            <c:extLst>
              <c:ext xmlns:c16="http://schemas.microsoft.com/office/drawing/2014/chart" uri="{C3380CC4-5D6E-409C-BE32-E72D297353CC}">
                <c16:uniqueId val="{000002A3-E6EA-4EEB-8DCD-D1BFB60609D0}"/>
              </c:ext>
            </c:extLst>
          </c:dPt>
          <c:dPt>
            <c:idx val="337"/>
            <c:invertIfNegative val="1"/>
            <c:bubble3D val="0"/>
            <c:spPr>
              <a:solidFill>
                <a:srgbClr val="AEABAB"/>
              </a:solidFill>
            </c:spPr>
            <c:extLst>
              <c:ext xmlns:c16="http://schemas.microsoft.com/office/drawing/2014/chart" uri="{C3380CC4-5D6E-409C-BE32-E72D297353CC}">
                <c16:uniqueId val="{000002A5-E6EA-4EEB-8DCD-D1BFB60609D0}"/>
              </c:ext>
            </c:extLst>
          </c:dPt>
          <c:dPt>
            <c:idx val="338"/>
            <c:invertIfNegative val="1"/>
            <c:bubble3D val="0"/>
            <c:spPr>
              <a:solidFill>
                <a:srgbClr val="AEABAB"/>
              </a:solidFill>
            </c:spPr>
            <c:extLst>
              <c:ext xmlns:c16="http://schemas.microsoft.com/office/drawing/2014/chart" uri="{C3380CC4-5D6E-409C-BE32-E72D297353CC}">
                <c16:uniqueId val="{000002A7-E6EA-4EEB-8DCD-D1BFB60609D0}"/>
              </c:ext>
            </c:extLst>
          </c:dPt>
          <c:dPt>
            <c:idx val="339"/>
            <c:invertIfNegative val="1"/>
            <c:bubble3D val="0"/>
            <c:spPr>
              <a:solidFill>
                <a:srgbClr val="AEABAB"/>
              </a:solidFill>
            </c:spPr>
            <c:extLst>
              <c:ext xmlns:c16="http://schemas.microsoft.com/office/drawing/2014/chart" uri="{C3380CC4-5D6E-409C-BE32-E72D297353CC}">
                <c16:uniqueId val="{000002A9-E6EA-4EEB-8DCD-D1BFB60609D0}"/>
              </c:ext>
            </c:extLst>
          </c:dPt>
          <c:dPt>
            <c:idx val="340"/>
            <c:invertIfNegative val="1"/>
            <c:bubble3D val="0"/>
            <c:spPr>
              <a:solidFill>
                <a:srgbClr val="AEABAB"/>
              </a:solidFill>
            </c:spPr>
            <c:extLst>
              <c:ext xmlns:c16="http://schemas.microsoft.com/office/drawing/2014/chart" uri="{C3380CC4-5D6E-409C-BE32-E72D297353CC}">
                <c16:uniqueId val="{000002AB-E6EA-4EEB-8DCD-D1BFB60609D0}"/>
              </c:ext>
            </c:extLst>
          </c:dPt>
          <c:dPt>
            <c:idx val="341"/>
            <c:invertIfNegative val="1"/>
            <c:bubble3D val="0"/>
            <c:spPr>
              <a:solidFill>
                <a:srgbClr val="AEABAB"/>
              </a:solidFill>
            </c:spPr>
            <c:extLst>
              <c:ext xmlns:c16="http://schemas.microsoft.com/office/drawing/2014/chart" uri="{C3380CC4-5D6E-409C-BE32-E72D297353CC}">
                <c16:uniqueId val="{000002AD-E6EA-4EEB-8DCD-D1BFB60609D0}"/>
              </c:ext>
            </c:extLst>
          </c:dPt>
          <c:dPt>
            <c:idx val="342"/>
            <c:invertIfNegative val="1"/>
            <c:bubble3D val="0"/>
            <c:spPr>
              <a:solidFill>
                <a:srgbClr val="AEABAB"/>
              </a:solidFill>
            </c:spPr>
            <c:extLst>
              <c:ext xmlns:c16="http://schemas.microsoft.com/office/drawing/2014/chart" uri="{C3380CC4-5D6E-409C-BE32-E72D297353CC}">
                <c16:uniqueId val="{000002AF-E6EA-4EEB-8DCD-D1BFB60609D0}"/>
              </c:ext>
            </c:extLst>
          </c:dPt>
          <c:dPt>
            <c:idx val="343"/>
            <c:invertIfNegative val="1"/>
            <c:bubble3D val="0"/>
            <c:spPr>
              <a:solidFill>
                <a:srgbClr val="AEABAB"/>
              </a:solidFill>
            </c:spPr>
            <c:extLst>
              <c:ext xmlns:c16="http://schemas.microsoft.com/office/drawing/2014/chart" uri="{C3380CC4-5D6E-409C-BE32-E72D297353CC}">
                <c16:uniqueId val="{000002B1-E6EA-4EEB-8DCD-D1BFB60609D0}"/>
              </c:ext>
            </c:extLst>
          </c:dPt>
          <c:dPt>
            <c:idx val="344"/>
            <c:invertIfNegative val="1"/>
            <c:bubble3D val="0"/>
            <c:spPr>
              <a:solidFill>
                <a:srgbClr val="AEABAB"/>
              </a:solidFill>
            </c:spPr>
            <c:extLst>
              <c:ext xmlns:c16="http://schemas.microsoft.com/office/drawing/2014/chart" uri="{C3380CC4-5D6E-409C-BE32-E72D297353CC}">
                <c16:uniqueId val="{000002B3-E6EA-4EEB-8DCD-D1BFB60609D0}"/>
              </c:ext>
            </c:extLst>
          </c:dPt>
          <c:dPt>
            <c:idx val="345"/>
            <c:invertIfNegative val="1"/>
            <c:bubble3D val="0"/>
            <c:spPr>
              <a:solidFill>
                <a:srgbClr val="AEABAB"/>
              </a:solidFill>
            </c:spPr>
            <c:extLst>
              <c:ext xmlns:c16="http://schemas.microsoft.com/office/drawing/2014/chart" uri="{C3380CC4-5D6E-409C-BE32-E72D297353CC}">
                <c16:uniqueId val="{000002B5-E6EA-4EEB-8DCD-D1BFB60609D0}"/>
              </c:ext>
            </c:extLst>
          </c:dPt>
          <c:dPt>
            <c:idx val="346"/>
            <c:invertIfNegative val="1"/>
            <c:bubble3D val="0"/>
            <c:spPr>
              <a:solidFill>
                <a:srgbClr val="AEABAB"/>
              </a:solidFill>
            </c:spPr>
            <c:extLst>
              <c:ext xmlns:c16="http://schemas.microsoft.com/office/drawing/2014/chart" uri="{C3380CC4-5D6E-409C-BE32-E72D297353CC}">
                <c16:uniqueId val="{000002B7-E6EA-4EEB-8DCD-D1BFB60609D0}"/>
              </c:ext>
            </c:extLst>
          </c:dPt>
          <c:dPt>
            <c:idx val="347"/>
            <c:invertIfNegative val="1"/>
            <c:bubble3D val="0"/>
            <c:spPr>
              <a:solidFill>
                <a:srgbClr val="AEABAB"/>
              </a:solidFill>
            </c:spPr>
            <c:extLst>
              <c:ext xmlns:c16="http://schemas.microsoft.com/office/drawing/2014/chart" uri="{C3380CC4-5D6E-409C-BE32-E72D297353CC}">
                <c16:uniqueId val="{000002B9-E6EA-4EEB-8DCD-D1BFB60609D0}"/>
              </c:ext>
            </c:extLst>
          </c:dPt>
          <c:dPt>
            <c:idx val="348"/>
            <c:invertIfNegative val="1"/>
            <c:bubble3D val="0"/>
            <c:spPr>
              <a:solidFill>
                <a:srgbClr val="AEABAB"/>
              </a:solidFill>
            </c:spPr>
            <c:extLst>
              <c:ext xmlns:c16="http://schemas.microsoft.com/office/drawing/2014/chart" uri="{C3380CC4-5D6E-409C-BE32-E72D297353CC}">
                <c16:uniqueId val="{000002BB-E6EA-4EEB-8DCD-D1BFB60609D0}"/>
              </c:ext>
            </c:extLst>
          </c:dPt>
          <c:dPt>
            <c:idx val="349"/>
            <c:invertIfNegative val="1"/>
            <c:bubble3D val="0"/>
            <c:spPr>
              <a:solidFill>
                <a:srgbClr val="AEABAB"/>
              </a:solidFill>
            </c:spPr>
            <c:extLst>
              <c:ext xmlns:c16="http://schemas.microsoft.com/office/drawing/2014/chart" uri="{C3380CC4-5D6E-409C-BE32-E72D297353CC}">
                <c16:uniqueId val="{000002BD-E6EA-4EEB-8DCD-D1BFB60609D0}"/>
              </c:ext>
            </c:extLst>
          </c:dPt>
          <c:dPt>
            <c:idx val="350"/>
            <c:invertIfNegative val="1"/>
            <c:bubble3D val="0"/>
            <c:spPr>
              <a:solidFill>
                <a:srgbClr val="AEABAB"/>
              </a:solidFill>
            </c:spPr>
            <c:extLst>
              <c:ext xmlns:c16="http://schemas.microsoft.com/office/drawing/2014/chart" uri="{C3380CC4-5D6E-409C-BE32-E72D297353CC}">
                <c16:uniqueId val="{000002BF-E6EA-4EEB-8DCD-D1BFB60609D0}"/>
              </c:ext>
            </c:extLst>
          </c:dPt>
          <c:dPt>
            <c:idx val="351"/>
            <c:invertIfNegative val="1"/>
            <c:bubble3D val="0"/>
            <c:spPr>
              <a:solidFill>
                <a:srgbClr val="AEABAB"/>
              </a:solidFill>
            </c:spPr>
            <c:extLst>
              <c:ext xmlns:c16="http://schemas.microsoft.com/office/drawing/2014/chart" uri="{C3380CC4-5D6E-409C-BE32-E72D297353CC}">
                <c16:uniqueId val="{000002C1-E6EA-4EEB-8DCD-D1BFB60609D0}"/>
              </c:ext>
            </c:extLst>
          </c:dPt>
          <c:dPt>
            <c:idx val="352"/>
            <c:invertIfNegative val="1"/>
            <c:bubble3D val="0"/>
            <c:spPr>
              <a:solidFill>
                <a:srgbClr val="AEABAB"/>
              </a:solidFill>
            </c:spPr>
            <c:extLst>
              <c:ext xmlns:c16="http://schemas.microsoft.com/office/drawing/2014/chart" uri="{C3380CC4-5D6E-409C-BE32-E72D297353CC}">
                <c16:uniqueId val="{000002C3-E6EA-4EEB-8DCD-D1BFB60609D0}"/>
              </c:ext>
            </c:extLst>
          </c:dPt>
          <c:dPt>
            <c:idx val="353"/>
            <c:invertIfNegative val="1"/>
            <c:bubble3D val="0"/>
            <c:spPr>
              <a:solidFill>
                <a:srgbClr val="AEABAB"/>
              </a:solidFill>
            </c:spPr>
            <c:extLst>
              <c:ext xmlns:c16="http://schemas.microsoft.com/office/drawing/2014/chart" uri="{C3380CC4-5D6E-409C-BE32-E72D297353CC}">
                <c16:uniqueId val="{000002C5-E6EA-4EEB-8DCD-D1BFB60609D0}"/>
              </c:ext>
            </c:extLst>
          </c:dPt>
          <c:dPt>
            <c:idx val="354"/>
            <c:invertIfNegative val="1"/>
            <c:bubble3D val="0"/>
            <c:spPr>
              <a:solidFill>
                <a:srgbClr val="AEABAB"/>
              </a:solidFill>
            </c:spPr>
            <c:extLst>
              <c:ext xmlns:c16="http://schemas.microsoft.com/office/drawing/2014/chart" uri="{C3380CC4-5D6E-409C-BE32-E72D297353CC}">
                <c16:uniqueId val="{000002C7-E6EA-4EEB-8DCD-D1BFB60609D0}"/>
              </c:ext>
            </c:extLst>
          </c:dPt>
          <c:dPt>
            <c:idx val="355"/>
            <c:invertIfNegative val="1"/>
            <c:bubble3D val="0"/>
            <c:spPr>
              <a:solidFill>
                <a:srgbClr val="AEABAB"/>
              </a:solidFill>
            </c:spPr>
            <c:extLst>
              <c:ext xmlns:c16="http://schemas.microsoft.com/office/drawing/2014/chart" uri="{C3380CC4-5D6E-409C-BE32-E72D297353CC}">
                <c16:uniqueId val="{000002C9-E6EA-4EEB-8DCD-D1BFB60609D0}"/>
              </c:ext>
            </c:extLst>
          </c:dPt>
          <c:dPt>
            <c:idx val="356"/>
            <c:invertIfNegative val="1"/>
            <c:bubble3D val="0"/>
            <c:spPr>
              <a:solidFill>
                <a:srgbClr val="AEABAB"/>
              </a:solidFill>
            </c:spPr>
            <c:extLst>
              <c:ext xmlns:c16="http://schemas.microsoft.com/office/drawing/2014/chart" uri="{C3380CC4-5D6E-409C-BE32-E72D297353CC}">
                <c16:uniqueId val="{000002CB-E6EA-4EEB-8DCD-D1BFB60609D0}"/>
              </c:ext>
            </c:extLst>
          </c:dPt>
          <c:dPt>
            <c:idx val="357"/>
            <c:invertIfNegative val="1"/>
            <c:bubble3D val="0"/>
            <c:spPr>
              <a:solidFill>
                <a:srgbClr val="AEABAB"/>
              </a:solidFill>
            </c:spPr>
            <c:extLst>
              <c:ext xmlns:c16="http://schemas.microsoft.com/office/drawing/2014/chart" uri="{C3380CC4-5D6E-409C-BE32-E72D297353CC}">
                <c16:uniqueId val="{000002CD-E6EA-4EEB-8DCD-D1BFB60609D0}"/>
              </c:ext>
            </c:extLst>
          </c:dPt>
          <c:dPt>
            <c:idx val="358"/>
            <c:invertIfNegative val="1"/>
            <c:bubble3D val="0"/>
            <c:spPr>
              <a:solidFill>
                <a:srgbClr val="AEABAB"/>
              </a:solidFill>
            </c:spPr>
            <c:extLst>
              <c:ext xmlns:c16="http://schemas.microsoft.com/office/drawing/2014/chart" uri="{C3380CC4-5D6E-409C-BE32-E72D297353CC}">
                <c16:uniqueId val="{000002CF-E6EA-4EEB-8DCD-D1BFB60609D0}"/>
              </c:ext>
            </c:extLst>
          </c:dPt>
          <c:dPt>
            <c:idx val="359"/>
            <c:invertIfNegative val="1"/>
            <c:bubble3D val="0"/>
            <c:spPr>
              <a:solidFill>
                <a:srgbClr val="AEABAB"/>
              </a:solidFill>
            </c:spPr>
            <c:extLst>
              <c:ext xmlns:c16="http://schemas.microsoft.com/office/drawing/2014/chart" uri="{C3380CC4-5D6E-409C-BE32-E72D297353CC}">
                <c16:uniqueId val="{000002D1-E6EA-4EEB-8DCD-D1BFB60609D0}"/>
              </c:ext>
            </c:extLst>
          </c:dPt>
          <c:dPt>
            <c:idx val="360"/>
            <c:invertIfNegative val="1"/>
            <c:bubble3D val="0"/>
            <c:spPr>
              <a:solidFill>
                <a:srgbClr val="AEABAB"/>
              </a:solidFill>
            </c:spPr>
            <c:extLst>
              <c:ext xmlns:c16="http://schemas.microsoft.com/office/drawing/2014/chart" uri="{C3380CC4-5D6E-409C-BE32-E72D297353CC}">
                <c16:uniqueId val="{000002D3-E6EA-4EEB-8DCD-D1BFB60609D0}"/>
              </c:ext>
            </c:extLst>
          </c:dPt>
          <c:dPt>
            <c:idx val="361"/>
            <c:invertIfNegative val="1"/>
            <c:bubble3D val="0"/>
            <c:spPr>
              <a:solidFill>
                <a:srgbClr val="AEABAB"/>
              </a:solidFill>
            </c:spPr>
            <c:extLst>
              <c:ext xmlns:c16="http://schemas.microsoft.com/office/drawing/2014/chart" uri="{C3380CC4-5D6E-409C-BE32-E72D297353CC}">
                <c16:uniqueId val="{000002D5-E6EA-4EEB-8DCD-D1BFB60609D0}"/>
              </c:ext>
            </c:extLst>
          </c:dPt>
          <c:dPt>
            <c:idx val="362"/>
            <c:invertIfNegative val="1"/>
            <c:bubble3D val="0"/>
            <c:spPr>
              <a:solidFill>
                <a:srgbClr val="AEABAB"/>
              </a:solidFill>
            </c:spPr>
            <c:extLst>
              <c:ext xmlns:c16="http://schemas.microsoft.com/office/drawing/2014/chart" uri="{C3380CC4-5D6E-409C-BE32-E72D297353CC}">
                <c16:uniqueId val="{000002D7-E6EA-4EEB-8DCD-D1BFB60609D0}"/>
              </c:ext>
            </c:extLst>
          </c:dPt>
          <c:dPt>
            <c:idx val="363"/>
            <c:invertIfNegative val="1"/>
            <c:bubble3D val="0"/>
            <c:spPr>
              <a:solidFill>
                <a:srgbClr val="AEABAB"/>
              </a:solidFill>
            </c:spPr>
            <c:extLst>
              <c:ext xmlns:c16="http://schemas.microsoft.com/office/drawing/2014/chart" uri="{C3380CC4-5D6E-409C-BE32-E72D297353CC}">
                <c16:uniqueId val="{000002D9-E6EA-4EEB-8DCD-D1BFB60609D0}"/>
              </c:ext>
            </c:extLst>
          </c:dPt>
          <c:dPt>
            <c:idx val="364"/>
            <c:invertIfNegative val="1"/>
            <c:bubble3D val="0"/>
            <c:spPr>
              <a:solidFill>
                <a:srgbClr val="AEABAB"/>
              </a:solidFill>
            </c:spPr>
            <c:extLst>
              <c:ext xmlns:c16="http://schemas.microsoft.com/office/drawing/2014/chart" uri="{C3380CC4-5D6E-409C-BE32-E72D297353CC}">
                <c16:uniqueId val="{000002DB-E6EA-4EEB-8DCD-D1BFB60609D0}"/>
              </c:ext>
            </c:extLst>
          </c:dPt>
          <c:dPt>
            <c:idx val="365"/>
            <c:invertIfNegative val="1"/>
            <c:bubble3D val="0"/>
            <c:spPr>
              <a:solidFill>
                <a:srgbClr val="AEABAB"/>
              </a:solidFill>
            </c:spPr>
            <c:extLst>
              <c:ext xmlns:c16="http://schemas.microsoft.com/office/drawing/2014/chart" uri="{C3380CC4-5D6E-409C-BE32-E72D297353CC}">
                <c16:uniqueId val="{000002DD-E6EA-4EEB-8DCD-D1BFB60609D0}"/>
              </c:ext>
            </c:extLst>
          </c:dPt>
          <c:dPt>
            <c:idx val="366"/>
            <c:invertIfNegative val="1"/>
            <c:bubble3D val="0"/>
            <c:spPr>
              <a:solidFill>
                <a:srgbClr val="AEABAB"/>
              </a:solidFill>
            </c:spPr>
            <c:extLst>
              <c:ext xmlns:c16="http://schemas.microsoft.com/office/drawing/2014/chart" uri="{C3380CC4-5D6E-409C-BE32-E72D297353CC}">
                <c16:uniqueId val="{000002DF-E6EA-4EEB-8DCD-D1BFB60609D0}"/>
              </c:ext>
            </c:extLst>
          </c:dPt>
          <c:dPt>
            <c:idx val="367"/>
            <c:invertIfNegative val="1"/>
            <c:bubble3D val="0"/>
            <c:spPr>
              <a:solidFill>
                <a:srgbClr val="AEABAB"/>
              </a:solidFill>
            </c:spPr>
            <c:extLst>
              <c:ext xmlns:c16="http://schemas.microsoft.com/office/drawing/2014/chart" uri="{C3380CC4-5D6E-409C-BE32-E72D297353CC}">
                <c16:uniqueId val="{000002E1-E6EA-4EEB-8DCD-D1BFB60609D0}"/>
              </c:ext>
            </c:extLst>
          </c:dPt>
          <c:dPt>
            <c:idx val="368"/>
            <c:invertIfNegative val="1"/>
            <c:bubble3D val="0"/>
            <c:spPr>
              <a:solidFill>
                <a:srgbClr val="AEABAB"/>
              </a:solidFill>
            </c:spPr>
            <c:extLst>
              <c:ext xmlns:c16="http://schemas.microsoft.com/office/drawing/2014/chart" uri="{C3380CC4-5D6E-409C-BE32-E72D297353CC}">
                <c16:uniqueId val="{000002E3-E6EA-4EEB-8DCD-D1BFB60609D0}"/>
              </c:ext>
            </c:extLst>
          </c:dPt>
          <c:dPt>
            <c:idx val="369"/>
            <c:invertIfNegative val="1"/>
            <c:bubble3D val="0"/>
            <c:spPr>
              <a:solidFill>
                <a:srgbClr val="AEABAB"/>
              </a:solidFill>
            </c:spPr>
            <c:extLst>
              <c:ext xmlns:c16="http://schemas.microsoft.com/office/drawing/2014/chart" uri="{C3380CC4-5D6E-409C-BE32-E72D297353CC}">
                <c16:uniqueId val="{000002E5-E6EA-4EEB-8DCD-D1BFB60609D0}"/>
              </c:ext>
            </c:extLst>
          </c:dPt>
          <c:dPt>
            <c:idx val="370"/>
            <c:invertIfNegative val="1"/>
            <c:bubble3D val="0"/>
            <c:spPr>
              <a:solidFill>
                <a:srgbClr val="AEABAB"/>
              </a:solidFill>
            </c:spPr>
            <c:extLst>
              <c:ext xmlns:c16="http://schemas.microsoft.com/office/drawing/2014/chart" uri="{C3380CC4-5D6E-409C-BE32-E72D297353CC}">
                <c16:uniqueId val="{000002E7-E6EA-4EEB-8DCD-D1BFB60609D0}"/>
              </c:ext>
            </c:extLst>
          </c:dPt>
          <c:dPt>
            <c:idx val="371"/>
            <c:invertIfNegative val="1"/>
            <c:bubble3D val="0"/>
            <c:spPr>
              <a:solidFill>
                <a:srgbClr val="AEABAB"/>
              </a:solidFill>
            </c:spPr>
            <c:extLst>
              <c:ext xmlns:c16="http://schemas.microsoft.com/office/drawing/2014/chart" uri="{C3380CC4-5D6E-409C-BE32-E72D297353CC}">
                <c16:uniqueId val="{000002E9-E6EA-4EEB-8DCD-D1BFB60609D0}"/>
              </c:ext>
            </c:extLst>
          </c:dPt>
          <c:dPt>
            <c:idx val="372"/>
            <c:invertIfNegative val="1"/>
            <c:bubble3D val="0"/>
            <c:spPr>
              <a:solidFill>
                <a:srgbClr val="AEABAB"/>
              </a:solidFill>
            </c:spPr>
            <c:extLst>
              <c:ext xmlns:c16="http://schemas.microsoft.com/office/drawing/2014/chart" uri="{C3380CC4-5D6E-409C-BE32-E72D297353CC}">
                <c16:uniqueId val="{000002EB-E6EA-4EEB-8DCD-D1BFB60609D0}"/>
              </c:ext>
            </c:extLst>
          </c:dPt>
          <c:dPt>
            <c:idx val="373"/>
            <c:invertIfNegative val="1"/>
            <c:bubble3D val="0"/>
            <c:spPr>
              <a:solidFill>
                <a:srgbClr val="AEABAB"/>
              </a:solidFill>
            </c:spPr>
            <c:extLst>
              <c:ext xmlns:c16="http://schemas.microsoft.com/office/drawing/2014/chart" uri="{C3380CC4-5D6E-409C-BE32-E72D297353CC}">
                <c16:uniqueId val="{000002ED-E6EA-4EEB-8DCD-D1BFB60609D0}"/>
              </c:ext>
            </c:extLst>
          </c:dPt>
          <c:dPt>
            <c:idx val="374"/>
            <c:invertIfNegative val="1"/>
            <c:bubble3D val="0"/>
            <c:spPr>
              <a:solidFill>
                <a:srgbClr val="AEABAB"/>
              </a:solidFill>
            </c:spPr>
            <c:extLst>
              <c:ext xmlns:c16="http://schemas.microsoft.com/office/drawing/2014/chart" uri="{C3380CC4-5D6E-409C-BE32-E72D297353CC}">
                <c16:uniqueId val="{000002EF-E6EA-4EEB-8DCD-D1BFB60609D0}"/>
              </c:ext>
            </c:extLst>
          </c:dPt>
          <c:dPt>
            <c:idx val="375"/>
            <c:invertIfNegative val="1"/>
            <c:bubble3D val="0"/>
            <c:spPr>
              <a:solidFill>
                <a:srgbClr val="AEABAB"/>
              </a:solidFill>
            </c:spPr>
            <c:extLst>
              <c:ext xmlns:c16="http://schemas.microsoft.com/office/drawing/2014/chart" uri="{C3380CC4-5D6E-409C-BE32-E72D297353CC}">
                <c16:uniqueId val="{000002F1-E6EA-4EEB-8DCD-D1BFB60609D0}"/>
              </c:ext>
            </c:extLst>
          </c:dPt>
          <c:dPt>
            <c:idx val="376"/>
            <c:invertIfNegative val="1"/>
            <c:bubble3D val="0"/>
            <c:spPr>
              <a:solidFill>
                <a:srgbClr val="AEABAB"/>
              </a:solidFill>
            </c:spPr>
            <c:extLst>
              <c:ext xmlns:c16="http://schemas.microsoft.com/office/drawing/2014/chart" uri="{C3380CC4-5D6E-409C-BE32-E72D297353CC}">
                <c16:uniqueId val="{000002F3-E6EA-4EEB-8DCD-D1BFB60609D0}"/>
              </c:ext>
            </c:extLst>
          </c:dPt>
          <c:dPt>
            <c:idx val="377"/>
            <c:invertIfNegative val="1"/>
            <c:bubble3D val="0"/>
            <c:spPr>
              <a:solidFill>
                <a:srgbClr val="AEABAB"/>
              </a:solidFill>
            </c:spPr>
            <c:extLst>
              <c:ext xmlns:c16="http://schemas.microsoft.com/office/drawing/2014/chart" uri="{C3380CC4-5D6E-409C-BE32-E72D297353CC}">
                <c16:uniqueId val="{000002F5-E6EA-4EEB-8DCD-D1BFB60609D0}"/>
              </c:ext>
            </c:extLst>
          </c:dPt>
          <c:dPt>
            <c:idx val="378"/>
            <c:invertIfNegative val="1"/>
            <c:bubble3D val="0"/>
            <c:spPr>
              <a:solidFill>
                <a:srgbClr val="AEABAB"/>
              </a:solidFill>
            </c:spPr>
            <c:extLst>
              <c:ext xmlns:c16="http://schemas.microsoft.com/office/drawing/2014/chart" uri="{C3380CC4-5D6E-409C-BE32-E72D297353CC}">
                <c16:uniqueId val="{000002F7-E6EA-4EEB-8DCD-D1BFB60609D0}"/>
              </c:ext>
            </c:extLst>
          </c:dPt>
          <c:dPt>
            <c:idx val="379"/>
            <c:invertIfNegative val="1"/>
            <c:bubble3D val="0"/>
            <c:spPr>
              <a:solidFill>
                <a:srgbClr val="AEABAB"/>
              </a:solidFill>
            </c:spPr>
            <c:extLst>
              <c:ext xmlns:c16="http://schemas.microsoft.com/office/drawing/2014/chart" uri="{C3380CC4-5D6E-409C-BE32-E72D297353CC}">
                <c16:uniqueId val="{000002F9-E6EA-4EEB-8DCD-D1BFB60609D0}"/>
              </c:ext>
            </c:extLst>
          </c:dPt>
          <c:dPt>
            <c:idx val="380"/>
            <c:invertIfNegative val="1"/>
            <c:bubble3D val="0"/>
            <c:spPr>
              <a:solidFill>
                <a:srgbClr val="AEABAB"/>
              </a:solidFill>
            </c:spPr>
            <c:extLst>
              <c:ext xmlns:c16="http://schemas.microsoft.com/office/drawing/2014/chart" uri="{C3380CC4-5D6E-409C-BE32-E72D297353CC}">
                <c16:uniqueId val="{000002FB-E6EA-4EEB-8DCD-D1BFB60609D0}"/>
              </c:ext>
            </c:extLst>
          </c:dPt>
          <c:dPt>
            <c:idx val="381"/>
            <c:invertIfNegative val="1"/>
            <c:bubble3D val="0"/>
            <c:spPr>
              <a:solidFill>
                <a:srgbClr val="AEABAB"/>
              </a:solidFill>
            </c:spPr>
            <c:extLst>
              <c:ext xmlns:c16="http://schemas.microsoft.com/office/drawing/2014/chart" uri="{C3380CC4-5D6E-409C-BE32-E72D297353CC}">
                <c16:uniqueId val="{000002FD-E6EA-4EEB-8DCD-D1BFB60609D0}"/>
              </c:ext>
            </c:extLst>
          </c:dPt>
          <c:dPt>
            <c:idx val="382"/>
            <c:invertIfNegative val="1"/>
            <c:bubble3D val="0"/>
            <c:spPr>
              <a:solidFill>
                <a:srgbClr val="AEABAB"/>
              </a:solidFill>
            </c:spPr>
            <c:extLst>
              <c:ext xmlns:c16="http://schemas.microsoft.com/office/drawing/2014/chart" uri="{C3380CC4-5D6E-409C-BE32-E72D297353CC}">
                <c16:uniqueId val="{000002FF-E6EA-4EEB-8DCD-D1BFB60609D0}"/>
              </c:ext>
            </c:extLst>
          </c:dPt>
          <c:dPt>
            <c:idx val="383"/>
            <c:invertIfNegative val="1"/>
            <c:bubble3D val="0"/>
            <c:spPr>
              <a:solidFill>
                <a:srgbClr val="AEABAB"/>
              </a:solidFill>
            </c:spPr>
            <c:extLst>
              <c:ext xmlns:c16="http://schemas.microsoft.com/office/drawing/2014/chart" uri="{C3380CC4-5D6E-409C-BE32-E72D297353CC}">
                <c16:uniqueId val="{00000301-E6EA-4EEB-8DCD-D1BFB60609D0}"/>
              </c:ext>
            </c:extLst>
          </c:dPt>
          <c:dPt>
            <c:idx val="384"/>
            <c:invertIfNegative val="1"/>
            <c:bubble3D val="0"/>
            <c:spPr>
              <a:solidFill>
                <a:srgbClr val="AEABAB"/>
              </a:solidFill>
            </c:spPr>
            <c:extLst>
              <c:ext xmlns:c16="http://schemas.microsoft.com/office/drawing/2014/chart" uri="{C3380CC4-5D6E-409C-BE32-E72D297353CC}">
                <c16:uniqueId val="{00000303-E6EA-4EEB-8DCD-D1BFB60609D0}"/>
              </c:ext>
            </c:extLst>
          </c:dPt>
          <c:dPt>
            <c:idx val="385"/>
            <c:invertIfNegative val="1"/>
            <c:bubble3D val="0"/>
            <c:spPr>
              <a:solidFill>
                <a:srgbClr val="AEABAB"/>
              </a:solidFill>
            </c:spPr>
            <c:extLst>
              <c:ext xmlns:c16="http://schemas.microsoft.com/office/drawing/2014/chart" uri="{C3380CC4-5D6E-409C-BE32-E72D297353CC}">
                <c16:uniqueId val="{00000305-E6EA-4EEB-8DCD-D1BFB60609D0}"/>
              </c:ext>
            </c:extLst>
          </c:dPt>
          <c:dPt>
            <c:idx val="386"/>
            <c:invertIfNegative val="1"/>
            <c:bubble3D val="0"/>
            <c:spPr>
              <a:solidFill>
                <a:srgbClr val="AEABAB"/>
              </a:solidFill>
            </c:spPr>
            <c:extLst>
              <c:ext xmlns:c16="http://schemas.microsoft.com/office/drawing/2014/chart" uri="{C3380CC4-5D6E-409C-BE32-E72D297353CC}">
                <c16:uniqueId val="{00000307-E6EA-4EEB-8DCD-D1BFB60609D0}"/>
              </c:ext>
            </c:extLst>
          </c:dPt>
          <c:dPt>
            <c:idx val="387"/>
            <c:invertIfNegative val="1"/>
            <c:bubble3D val="0"/>
            <c:spPr>
              <a:solidFill>
                <a:srgbClr val="AEABAB"/>
              </a:solidFill>
            </c:spPr>
            <c:extLst>
              <c:ext xmlns:c16="http://schemas.microsoft.com/office/drawing/2014/chart" uri="{C3380CC4-5D6E-409C-BE32-E72D297353CC}">
                <c16:uniqueId val="{00000309-E6EA-4EEB-8DCD-D1BFB60609D0}"/>
              </c:ext>
            </c:extLst>
          </c:dPt>
          <c:cat>
            <c:strRef>
              <c:f>Sheet1!$A$2:$A$389</c:f>
              <c:strCache>
                <c:ptCount val="388"/>
                <c:pt idx="0">
                  <c:v>Ruinart</c:v>
                </c:pt>
                <c:pt idx="1">
                  <c:v>Nicolas</c:v>
                </c:pt>
                <c:pt idx="2">
                  <c:v>Ruinart</c:v>
                </c:pt>
                <c:pt idx="3">
                  <c:v>Deutz</c:v>
                </c:pt>
                <c:pt idx="4">
                  <c:v>Malard</c:v>
                </c:pt>
                <c:pt idx="5">
                  <c:v>De Bligny</c:v>
                </c:pt>
                <c:pt idx="6">
                  <c:v>Heidsieck &amp;</c:v>
                </c:pt>
                <c:pt idx="7">
                  <c:v>Ayala</c:v>
                </c:pt>
                <c:pt idx="8">
                  <c:v>Canard Duch</c:v>
                </c:pt>
                <c:pt idx="9">
                  <c:v>Ruinart</c:v>
                </c:pt>
                <c:pt idx="10">
                  <c:v>Laurent Per</c:v>
                </c:pt>
                <c:pt idx="11">
                  <c:v>Nicolas Feu</c:v>
                </c:pt>
                <c:pt idx="12">
                  <c:v>Ruinart</c:v>
                </c:pt>
                <c:pt idx="13">
                  <c:v>Demoiselle</c:v>
                </c:pt>
                <c:pt idx="14">
                  <c:v>Taittinger</c:v>
                </c:pt>
                <c:pt idx="15">
                  <c:v>Besserat De</c:v>
                </c:pt>
                <c:pt idx="16">
                  <c:v>Bollinger</c:v>
                </c:pt>
                <c:pt idx="17">
                  <c:v>Ruinart</c:v>
                </c:pt>
                <c:pt idx="18">
                  <c:v>Deutz</c:v>
                </c:pt>
                <c:pt idx="19">
                  <c:v>Ruinart</c:v>
                </c:pt>
                <c:pt idx="20">
                  <c:v>All Others</c:v>
                </c:pt>
                <c:pt idx="21">
                  <c:v>Perrier Jou</c:v>
                </c:pt>
                <c:pt idx="22">
                  <c:v>Vesselle</c:v>
                </c:pt>
                <c:pt idx="23">
                  <c:v>Pommery</c:v>
                </c:pt>
                <c:pt idx="24">
                  <c:v>All Others</c:v>
                </c:pt>
                <c:pt idx="25">
                  <c:v>Deutz</c:v>
                </c:pt>
                <c:pt idx="26">
                  <c:v>Demoiselle</c:v>
                </c:pt>
                <c:pt idx="27">
                  <c:v>Ruinart</c:v>
                </c:pt>
                <c:pt idx="28">
                  <c:v>Laurent Per</c:v>
                </c:pt>
                <c:pt idx="29">
                  <c:v>Savian</c:v>
                </c:pt>
                <c:pt idx="30">
                  <c:v>Roederer</c:v>
                </c:pt>
                <c:pt idx="31">
                  <c:v>Nicolas</c:v>
                </c:pt>
                <c:pt idx="32">
                  <c:v>Malard</c:v>
                </c:pt>
                <c:pt idx="33">
                  <c:v>Dom Perigno</c:v>
                </c:pt>
                <c:pt idx="34">
                  <c:v>Patriarche</c:v>
                </c:pt>
                <c:pt idx="35">
                  <c:v>Bottega</c:v>
                </c:pt>
                <c:pt idx="36">
                  <c:v>Taittinger</c:v>
                </c:pt>
                <c:pt idx="37">
                  <c:v>Malard</c:v>
                </c:pt>
                <c:pt idx="38">
                  <c:v>Campari: Al</c:v>
                </c:pt>
                <c:pt idx="39">
                  <c:v>Moët &amp; Chan</c:v>
                </c:pt>
                <c:pt idx="40">
                  <c:v>Besserat De</c:v>
                </c:pt>
                <c:pt idx="41">
                  <c:v>All Others</c:v>
                </c:pt>
                <c:pt idx="42">
                  <c:v>Mure</c:v>
                </c:pt>
                <c:pt idx="43">
                  <c:v>Ruinart</c:v>
                </c:pt>
                <c:pt idx="44">
                  <c:v>Nicolas</c:v>
                </c:pt>
                <c:pt idx="45">
                  <c:v>Laurent Per</c:v>
                </c:pt>
                <c:pt idx="46">
                  <c:v>All Others</c:v>
                </c:pt>
                <c:pt idx="47">
                  <c:v>Dom Perigno</c:v>
                </c:pt>
                <c:pt idx="48">
                  <c:v>Henriot</c:v>
                </c:pt>
                <c:pt idx="49">
                  <c:v>Roederer</c:v>
                </c:pt>
                <c:pt idx="50">
                  <c:v>Veuve Clicq</c:v>
                </c:pt>
                <c:pt idx="51">
                  <c:v>Nicolas</c:v>
                </c:pt>
                <c:pt idx="52">
                  <c:v>Veuve Clicq</c:v>
                </c:pt>
                <c:pt idx="53">
                  <c:v>Bouvet-Ladu</c:v>
                </c:pt>
                <c:pt idx="54">
                  <c:v>French Bloo</c:v>
                </c:pt>
                <c:pt idx="55">
                  <c:v>Veuve Clicq</c:v>
                </c:pt>
                <c:pt idx="56">
                  <c:v>Savian</c:v>
                </c:pt>
                <c:pt idx="57">
                  <c:v>De Venoge</c:v>
                </c:pt>
                <c:pt idx="58">
                  <c:v>De Chanceny</c:v>
                </c:pt>
                <c:pt idx="59">
                  <c:v>Nicolas Feu</c:v>
                </c:pt>
                <c:pt idx="60">
                  <c:v>Lyre's</c:v>
                </c:pt>
                <c:pt idx="61">
                  <c:v>Piper Heids</c:v>
                </c:pt>
                <c:pt idx="62">
                  <c:v>De Bligny</c:v>
                </c:pt>
                <c:pt idx="63">
                  <c:v>All Others</c:v>
                </c:pt>
                <c:pt idx="64">
                  <c:v>Ruinart</c:v>
                </c:pt>
                <c:pt idx="65">
                  <c:v>Nicolas Feu</c:v>
                </c:pt>
                <c:pt idx="66">
                  <c:v>Nicolas Feu</c:v>
                </c:pt>
                <c:pt idx="67">
                  <c:v>Moët &amp; Chan</c:v>
                </c:pt>
                <c:pt idx="68">
                  <c:v>Deutz</c:v>
                </c:pt>
                <c:pt idx="69">
                  <c:v>Lanson</c:v>
                </c:pt>
                <c:pt idx="70">
                  <c:v>Malard</c:v>
                </c:pt>
                <c:pt idx="71">
                  <c:v>Canard Duch</c:v>
                </c:pt>
                <c:pt idx="72">
                  <c:v>Henriot</c:v>
                </c:pt>
                <c:pt idx="73">
                  <c:v>Malard</c:v>
                </c:pt>
                <c:pt idx="74">
                  <c:v>Pommery</c:v>
                </c:pt>
                <c:pt idx="75">
                  <c:v>Louis Marti</c:v>
                </c:pt>
                <c:pt idx="76">
                  <c:v>Bollinger</c:v>
                </c:pt>
                <c:pt idx="77">
                  <c:v>Ayala</c:v>
                </c:pt>
                <c:pt idx="78">
                  <c:v>Ruinart</c:v>
                </c:pt>
                <c:pt idx="79">
                  <c:v>Moët &amp; Chan</c:v>
                </c:pt>
                <c:pt idx="80">
                  <c:v>All Others</c:v>
                </c:pt>
                <c:pt idx="81">
                  <c:v>Campari: Al</c:v>
                </c:pt>
                <c:pt idx="82">
                  <c:v>Besserat De</c:v>
                </c:pt>
                <c:pt idx="83">
                  <c:v>Henriot</c:v>
                </c:pt>
                <c:pt idx="84">
                  <c:v>Ruinart</c:v>
                </c:pt>
                <c:pt idx="85">
                  <c:v>Delamotte</c:v>
                </c:pt>
                <c:pt idx="86">
                  <c:v>De Chanceny</c:v>
                </c:pt>
                <c:pt idx="87">
                  <c:v>Patriarche</c:v>
                </c:pt>
                <c:pt idx="88">
                  <c:v>Canard Duch</c:v>
                </c:pt>
                <c:pt idx="89">
                  <c:v>Canard Duch</c:v>
                </c:pt>
                <c:pt idx="90">
                  <c:v>Kriter</c:v>
                </c:pt>
                <c:pt idx="91">
                  <c:v>Krug</c:v>
                </c:pt>
                <c:pt idx="92">
                  <c:v>Vranken</c:v>
                </c:pt>
                <c:pt idx="93">
                  <c:v>Malard</c:v>
                </c:pt>
                <c:pt idx="94">
                  <c:v>De Venoge</c:v>
                </c:pt>
                <c:pt idx="95">
                  <c:v>Roederer</c:v>
                </c:pt>
                <c:pt idx="96">
                  <c:v>Roederer</c:v>
                </c:pt>
                <c:pt idx="97">
                  <c:v>Ruinart</c:v>
                </c:pt>
                <c:pt idx="98">
                  <c:v>Henriot</c:v>
                </c:pt>
                <c:pt idx="99">
                  <c:v>All Others</c:v>
                </c:pt>
                <c:pt idx="100">
                  <c:v>All Others</c:v>
                </c:pt>
                <c:pt idx="101">
                  <c:v>Ruinart</c:v>
                </c:pt>
                <c:pt idx="102">
                  <c:v>All Others</c:v>
                </c:pt>
                <c:pt idx="103">
                  <c:v>Vranken</c:v>
                </c:pt>
                <c:pt idx="104">
                  <c:v>Roederer</c:v>
                </c:pt>
                <c:pt idx="105">
                  <c:v>Bottega</c:v>
                </c:pt>
                <c:pt idx="106">
                  <c:v>Laurent Per</c:v>
                </c:pt>
                <c:pt idx="107">
                  <c:v>De Venoge</c:v>
                </c:pt>
                <c:pt idx="108">
                  <c:v>Canard Duch</c:v>
                </c:pt>
                <c:pt idx="109">
                  <c:v>Nicolas</c:v>
                </c:pt>
                <c:pt idx="110">
                  <c:v>Roederer</c:v>
                </c:pt>
                <c:pt idx="111">
                  <c:v>Nicolas</c:v>
                </c:pt>
                <c:pt idx="112">
                  <c:v>Roederer</c:v>
                </c:pt>
                <c:pt idx="113">
                  <c:v>Dom Perigno</c:v>
                </c:pt>
                <c:pt idx="114">
                  <c:v>De Venoge</c:v>
                </c:pt>
                <c:pt idx="115">
                  <c:v>Deutz</c:v>
                </c:pt>
                <c:pt idx="116">
                  <c:v>Deutz</c:v>
                </c:pt>
                <c:pt idx="117">
                  <c:v>Lanson-Bcc:</c:v>
                </c:pt>
                <c:pt idx="118">
                  <c:v>Perrier Jou</c:v>
                </c:pt>
                <c:pt idx="119">
                  <c:v>Ruinart</c:v>
                </c:pt>
                <c:pt idx="120">
                  <c:v>Veuve Clicq</c:v>
                </c:pt>
                <c:pt idx="121">
                  <c:v>All Others</c:v>
                </c:pt>
                <c:pt idx="122">
                  <c:v>Ruinart</c:v>
                </c:pt>
                <c:pt idx="123">
                  <c:v>All Others</c:v>
                </c:pt>
                <c:pt idx="124">
                  <c:v>All Others</c:v>
                </c:pt>
                <c:pt idx="125">
                  <c:v>All Others</c:v>
                </c:pt>
                <c:pt idx="126">
                  <c:v>Roederer</c:v>
                </c:pt>
                <c:pt idx="127">
                  <c:v>All Others</c:v>
                </c:pt>
                <c:pt idx="128">
                  <c:v>All Others</c:v>
                </c:pt>
                <c:pt idx="129">
                  <c:v>Bollinger</c:v>
                </c:pt>
                <c:pt idx="130">
                  <c:v>Cru La Maqu</c:v>
                </c:pt>
                <c:pt idx="131">
                  <c:v>Nicolas</c:v>
                </c:pt>
                <c:pt idx="132">
                  <c:v>Nicolas</c:v>
                </c:pt>
                <c:pt idx="133">
                  <c:v>All Others</c:v>
                </c:pt>
                <c:pt idx="134">
                  <c:v>Nicolas</c:v>
                </c:pt>
                <c:pt idx="135">
                  <c:v>Nicolas</c:v>
                </c:pt>
                <c:pt idx="136">
                  <c:v>All Others</c:v>
                </c:pt>
                <c:pt idx="137">
                  <c:v>All Others</c:v>
                </c:pt>
                <c:pt idx="138">
                  <c:v>Contarini</c:v>
                </c:pt>
                <c:pt idx="139">
                  <c:v>Pommery</c:v>
                </c:pt>
                <c:pt idx="140">
                  <c:v>Nicolas</c:v>
                </c:pt>
                <c:pt idx="141">
                  <c:v>Laurent Per</c:v>
                </c:pt>
                <c:pt idx="142">
                  <c:v>Bollinger</c:v>
                </c:pt>
                <c:pt idx="143">
                  <c:v>Nicolas</c:v>
                </c:pt>
                <c:pt idx="144">
                  <c:v>Nicolas</c:v>
                </c:pt>
                <c:pt idx="145">
                  <c:v>Bollinger</c:v>
                </c:pt>
                <c:pt idx="146">
                  <c:v>All Others</c:v>
                </c:pt>
                <c:pt idx="147">
                  <c:v>Roederer</c:v>
                </c:pt>
                <c:pt idx="148">
                  <c:v>Nicolas</c:v>
                </c:pt>
                <c:pt idx="149">
                  <c:v>Ruinart</c:v>
                </c:pt>
                <c:pt idx="150">
                  <c:v>Roederer</c:v>
                </c:pt>
                <c:pt idx="151">
                  <c:v>Ruinart</c:v>
                </c:pt>
                <c:pt idx="152">
                  <c:v>All Others</c:v>
                </c:pt>
                <c:pt idx="153">
                  <c:v>Dom Perigno</c:v>
                </c:pt>
                <c:pt idx="154">
                  <c:v>All Others</c:v>
                </c:pt>
                <c:pt idx="155">
                  <c:v>Lanson</c:v>
                </c:pt>
                <c:pt idx="156">
                  <c:v>Besserat De</c:v>
                </c:pt>
                <c:pt idx="157">
                  <c:v>All Others</c:v>
                </c:pt>
                <c:pt idx="158">
                  <c:v>Nicolas Feu</c:v>
                </c:pt>
                <c:pt idx="159">
                  <c:v>Vesselle</c:v>
                </c:pt>
                <c:pt idx="160">
                  <c:v>Laurent Per</c:v>
                </c:pt>
                <c:pt idx="161">
                  <c:v>Roederer</c:v>
                </c:pt>
                <c:pt idx="162">
                  <c:v>Demoiselle</c:v>
                </c:pt>
                <c:pt idx="163">
                  <c:v>Roederer</c:v>
                </c:pt>
                <c:pt idx="164">
                  <c:v>All Others</c:v>
                </c:pt>
                <c:pt idx="165">
                  <c:v>All Others</c:v>
                </c:pt>
                <c:pt idx="166">
                  <c:v>Laurent Per</c:v>
                </c:pt>
                <c:pt idx="167">
                  <c:v>All Others</c:v>
                </c:pt>
                <c:pt idx="168">
                  <c:v>Delamotte</c:v>
                </c:pt>
                <c:pt idx="169">
                  <c:v>Canard Duch</c:v>
                </c:pt>
                <c:pt idx="170">
                  <c:v>Ruinart</c:v>
                </c:pt>
                <c:pt idx="171">
                  <c:v>Louis Marti</c:v>
                </c:pt>
                <c:pt idx="172">
                  <c:v>All Others</c:v>
                </c:pt>
                <c:pt idx="173">
                  <c:v>Demoiselle</c:v>
                </c:pt>
                <c:pt idx="174">
                  <c:v>Contarini</c:v>
                </c:pt>
                <c:pt idx="175">
                  <c:v>All Others</c:v>
                </c:pt>
                <c:pt idx="176">
                  <c:v>Taittinger</c:v>
                </c:pt>
                <c:pt idx="177">
                  <c:v>All Others</c:v>
                </c:pt>
                <c:pt idx="178">
                  <c:v>Piper Heids</c:v>
                </c:pt>
                <c:pt idx="179">
                  <c:v>All Others</c:v>
                </c:pt>
                <c:pt idx="180">
                  <c:v>Canard Duch</c:v>
                </c:pt>
                <c:pt idx="181">
                  <c:v>Vranken</c:v>
                </c:pt>
                <c:pt idx="182">
                  <c:v>Roederer</c:v>
                </c:pt>
                <c:pt idx="183">
                  <c:v>All Others</c:v>
                </c:pt>
                <c:pt idx="184">
                  <c:v>Nicolas</c:v>
                </c:pt>
                <c:pt idx="185">
                  <c:v>All Others</c:v>
                </c:pt>
                <c:pt idx="186">
                  <c:v>Dom Perigno</c:v>
                </c:pt>
                <c:pt idx="187">
                  <c:v>All Others</c:v>
                </c:pt>
                <c:pt idx="188">
                  <c:v>Ruinart</c:v>
                </c:pt>
                <c:pt idx="189">
                  <c:v>Moët &amp; Chan</c:v>
                </c:pt>
                <c:pt idx="190">
                  <c:v>All Others</c:v>
                </c:pt>
                <c:pt idx="191">
                  <c:v>Perrier Jou</c:v>
                </c:pt>
                <c:pt idx="192">
                  <c:v>Pommery</c:v>
                </c:pt>
                <c:pt idx="193">
                  <c:v>Deutz</c:v>
                </c:pt>
                <c:pt idx="194">
                  <c:v>Moët &amp; Chan</c:v>
                </c:pt>
                <c:pt idx="195">
                  <c:v>All Others</c:v>
                </c:pt>
                <c:pt idx="196">
                  <c:v>Pommery</c:v>
                </c:pt>
                <c:pt idx="197">
                  <c:v>Nicolas</c:v>
                </c:pt>
                <c:pt idx="198">
                  <c:v>Ayala</c:v>
                </c:pt>
                <c:pt idx="199">
                  <c:v>Nicolas</c:v>
                </c:pt>
                <c:pt idx="200">
                  <c:v>Nicolas</c:v>
                </c:pt>
                <c:pt idx="201">
                  <c:v>Roederer</c:v>
                </c:pt>
                <c:pt idx="202">
                  <c:v>All Others</c:v>
                </c:pt>
                <c:pt idx="203">
                  <c:v>Laurent Per</c:v>
                </c:pt>
                <c:pt idx="204">
                  <c:v>Piper Heids</c:v>
                </c:pt>
                <c:pt idx="205">
                  <c:v>Malard</c:v>
                </c:pt>
                <c:pt idx="206">
                  <c:v>Dom Perigno</c:v>
                </c:pt>
                <c:pt idx="207">
                  <c:v>Deutz</c:v>
                </c:pt>
                <c:pt idx="208">
                  <c:v>All Others</c:v>
                </c:pt>
                <c:pt idx="209">
                  <c:v>Taittinger</c:v>
                </c:pt>
                <c:pt idx="210">
                  <c:v>Pommery</c:v>
                </c:pt>
                <c:pt idx="211">
                  <c:v>Vesselle</c:v>
                </c:pt>
                <c:pt idx="212">
                  <c:v>Moët &amp; Chan</c:v>
                </c:pt>
                <c:pt idx="213">
                  <c:v>Nicolas</c:v>
                </c:pt>
                <c:pt idx="214">
                  <c:v>All Others</c:v>
                </c:pt>
                <c:pt idx="215">
                  <c:v>All Others</c:v>
                </c:pt>
                <c:pt idx="216">
                  <c:v>Besserat De</c:v>
                </c:pt>
                <c:pt idx="217">
                  <c:v>Deutz</c:v>
                </c:pt>
                <c:pt idx="218">
                  <c:v>Piper Heids</c:v>
                </c:pt>
                <c:pt idx="219">
                  <c:v>De Venoge</c:v>
                </c:pt>
                <c:pt idx="220">
                  <c:v>Piper Heids</c:v>
                </c:pt>
                <c:pt idx="221">
                  <c:v>Laurent Per</c:v>
                </c:pt>
                <c:pt idx="222">
                  <c:v>All Others</c:v>
                </c:pt>
                <c:pt idx="223">
                  <c:v>All Others</c:v>
                </c:pt>
                <c:pt idx="224">
                  <c:v>All Others</c:v>
                </c:pt>
                <c:pt idx="225">
                  <c:v>Bouvet-Ladu</c:v>
                </c:pt>
                <c:pt idx="226">
                  <c:v>Roederer</c:v>
                </c:pt>
                <c:pt idx="227">
                  <c:v>Bollinger</c:v>
                </c:pt>
                <c:pt idx="228">
                  <c:v>Ruinart</c:v>
                </c:pt>
                <c:pt idx="229">
                  <c:v>Ruinart</c:v>
                </c:pt>
                <c:pt idx="230">
                  <c:v>All Others</c:v>
                </c:pt>
                <c:pt idx="231">
                  <c:v>Bollinger</c:v>
                </c:pt>
                <c:pt idx="232">
                  <c:v>Nicolas</c:v>
                </c:pt>
                <c:pt idx="233">
                  <c:v>All Others</c:v>
                </c:pt>
                <c:pt idx="234">
                  <c:v>All Others</c:v>
                </c:pt>
                <c:pt idx="235">
                  <c:v>Pommery</c:v>
                </c:pt>
                <c:pt idx="236">
                  <c:v>All Others</c:v>
                </c:pt>
                <c:pt idx="237">
                  <c:v>Ruinart</c:v>
                </c:pt>
                <c:pt idx="238">
                  <c:v>Laurent Per</c:v>
                </c:pt>
                <c:pt idx="239">
                  <c:v>Henriot</c:v>
                </c:pt>
                <c:pt idx="240">
                  <c:v>All Others</c:v>
                </c:pt>
                <c:pt idx="241">
                  <c:v>Taittinger</c:v>
                </c:pt>
                <c:pt idx="242">
                  <c:v>Nicolas</c:v>
                </c:pt>
                <c:pt idx="243">
                  <c:v>All Others</c:v>
                </c:pt>
                <c:pt idx="244">
                  <c:v>Bouvet-Ladu</c:v>
                </c:pt>
                <c:pt idx="245">
                  <c:v>All Others</c:v>
                </c:pt>
                <c:pt idx="246">
                  <c:v>De Venoge</c:v>
                </c:pt>
                <c:pt idx="247">
                  <c:v>All Others</c:v>
                </c:pt>
                <c:pt idx="248">
                  <c:v>Bouvet-Ladu</c:v>
                </c:pt>
                <c:pt idx="249">
                  <c:v>De Venoge</c:v>
                </c:pt>
                <c:pt idx="250">
                  <c:v>All Others</c:v>
                </c:pt>
                <c:pt idx="251">
                  <c:v>De Venoge</c:v>
                </c:pt>
                <c:pt idx="252">
                  <c:v>Nicolas Feu</c:v>
                </c:pt>
                <c:pt idx="253">
                  <c:v>Laurent Per</c:v>
                </c:pt>
                <c:pt idx="254">
                  <c:v>Celene</c:v>
                </c:pt>
                <c:pt idx="255">
                  <c:v>All Others</c:v>
                </c:pt>
                <c:pt idx="256">
                  <c:v>Canard Duch</c:v>
                </c:pt>
                <c:pt idx="257">
                  <c:v>Henriot</c:v>
                </c:pt>
                <c:pt idx="258">
                  <c:v>All Others</c:v>
                </c:pt>
                <c:pt idx="259">
                  <c:v>Celene</c:v>
                </c:pt>
                <c:pt idx="260">
                  <c:v>Roederer</c:v>
                </c:pt>
                <c:pt idx="261">
                  <c:v>All Others</c:v>
                </c:pt>
                <c:pt idx="262">
                  <c:v>Canard Duch</c:v>
                </c:pt>
                <c:pt idx="263">
                  <c:v>All Others</c:v>
                </c:pt>
                <c:pt idx="264">
                  <c:v>All Others</c:v>
                </c:pt>
                <c:pt idx="265">
                  <c:v>Veuve Clicq</c:v>
                </c:pt>
                <c:pt idx="266">
                  <c:v>All Others</c:v>
                </c:pt>
                <c:pt idx="267">
                  <c:v>All Others</c:v>
                </c:pt>
                <c:pt idx="268">
                  <c:v>Roederer</c:v>
                </c:pt>
                <c:pt idx="269">
                  <c:v>Bottega</c:v>
                </c:pt>
                <c:pt idx="270">
                  <c:v>Bollinger</c:v>
                </c:pt>
                <c:pt idx="271">
                  <c:v>Laurent Per</c:v>
                </c:pt>
                <c:pt idx="272">
                  <c:v>Roederer</c:v>
                </c:pt>
                <c:pt idx="273">
                  <c:v>Lanson</c:v>
                </c:pt>
                <c:pt idx="274">
                  <c:v>Pommery</c:v>
                </c:pt>
                <c:pt idx="275">
                  <c:v>Perrier Jou</c:v>
                </c:pt>
                <c:pt idx="276">
                  <c:v>Dom Perigno</c:v>
                </c:pt>
                <c:pt idx="277">
                  <c:v>All Others</c:v>
                </c:pt>
                <c:pt idx="278">
                  <c:v>Moët &amp; Chan</c:v>
                </c:pt>
                <c:pt idx="279">
                  <c:v>All Others</c:v>
                </c:pt>
                <c:pt idx="280">
                  <c:v>All Others</c:v>
                </c:pt>
                <c:pt idx="281">
                  <c:v>All Others</c:v>
                </c:pt>
                <c:pt idx="282">
                  <c:v>All Others</c:v>
                </c:pt>
                <c:pt idx="283">
                  <c:v>Roederer</c:v>
                </c:pt>
                <c:pt idx="284">
                  <c:v>All Others</c:v>
                </c:pt>
                <c:pt idx="285">
                  <c:v>De Bligny</c:v>
                </c:pt>
                <c:pt idx="286">
                  <c:v>Malard</c:v>
                </c:pt>
                <c:pt idx="287">
                  <c:v>Deutz</c:v>
                </c:pt>
                <c:pt idx="288">
                  <c:v>Demoiselle</c:v>
                </c:pt>
                <c:pt idx="289">
                  <c:v>All Others</c:v>
                </c:pt>
                <c:pt idx="290">
                  <c:v>All Others</c:v>
                </c:pt>
                <c:pt idx="291">
                  <c:v>De Bligny</c:v>
                </c:pt>
                <c:pt idx="292">
                  <c:v>Martel</c:v>
                </c:pt>
                <c:pt idx="293">
                  <c:v>Deutz</c:v>
                </c:pt>
                <c:pt idx="294">
                  <c:v>Ruinart</c:v>
                </c:pt>
                <c:pt idx="295">
                  <c:v>Roederer</c:v>
                </c:pt>
                <c:pt idx="296">
                  <c:v>All Others</c:v>
                </c:pt>
                <c:pt idx="297">
                  <c:v>Laurent Per</c:v>
                </c:pt>
                <c:pt idx="298">
                  <c:v>Laurent Per</c:v>
                </c:pt>
                <c:pt idx="299">
                  <c:v>All Others</c:v>
                </c:pt>
                <c:pt idx="300">
                  <c:v>Roederer</c:v>
                </c:pt>
                <c:pt idx="301">
                  <c:v>Ruinart</c:v>
                </c:pt>
                <c:pt idx="302">
                  <c:v>De Venoge</c:v>
                </c:pt>
                <c:pt idx="303">
                  <c:v>All Others</c:v>
                </c:pt>
                <c:pt idx="304">
                  <c:v>All Others</c:v>
                </c:pt>
                <c:pt idx="305">
                  <c:v>Demoiselle</c:v>
                </c:pt>
                <c:pt idx="306">
                  <c:v>All Others</c:v>
                </c:pt>
                <c:pt idx="307">
                  <c:v>Pommery</c:v>
                </c:pt>
                <c:pt idx="308">
                  <c:v>Moët &amp; Chan</c:v>
                </c:pt>
                <c:pt idx="309">
                  <c:v>All Others</c:v>
                </c:pt>
                <c:pt idx="310">
                  <c:v>Perrier Jou</c:v>
                </c:pt>
                <c:pt idx="311">
                  <c:v>Bollinger</c:v>
                </c:pt>
                <c:pt idx="312">
                  <c:v>All Others</c:v>
                </c:pt>
                <c:pt idx="313">
                  <c:v>All Others</c:v>
                </c:pt>
                <c:pt idx="314">
                  <c:v>Laurent Per</c:v>
                </c:pt>
                <c:pt idx="315">
                  <c:v>Roederer</c:v>
                </c:pt>
                <c:pt idx="316">
                  <c:v>Veuve Clicq</c:v>
                </c:pt>
                <c:pt idx="317">
                  <c:v>All Others</c:v>
                </c:pt>
                <c:pt idx="318">
                  <c:v>All Others</c:v>
                </c:pt>
                <c:pt idx="319">
                  <c:v>All Others</c:v>
                </c:pt>
                <c:pt idx="320">
                  <c:v>All Others</c:v>
                </c:pt>
                <c:pt idx="321">
                  <c:v>Ayala</c:v>
                </c:pt>
                <c:pt idx="322">
                  <c:v>Bouvet-Ladu</c:v>
                </c:pt>
                <c:pt idx="323">
                  <c:v>All Others</c:v>
                </c:pt>
                <c:pt idx="324">
                  <c:v>Jaillance</c:v>
                </c:pt>
                <c:pt idx="325">
                  <c:v>Roederer</c:v>
                </c:pt>
                <c:pt idx="326">
                  <c:v>Roederer</c:v>
                </c:pt>
                <c:pt idx="327">
                  <c:v>Roederer</c:v>
                </c:pt>
                <c:pt idx="328">
                  <c:v>Roederer</c:v>
                </c:pt>
                <c:pt idx="329">
                  <c:v>De Venoge</c:v>
                </c:pt>
                <c:pt idx="330">
                  <c:v>Veuve Clicq</c:v>
                </c:pt>
                <c:pt idx="331">
                  <c:v>Veuve Clicq</c:v>
                </c:pt>
                <c:pt idx="332">
                  <c:v>Veuve Clicq</c:v>
                </c:pt>
                <c:pt idx="333">
                  <c:v>All Others</c:v>
                </c:pt>
                <c:pt idx="334">
                  <c:v>Deutz</c:v>
                </c:pt>
                <c:pt idx="335">
                  <c:v>All Others</c:v>
                </c:pt>
                <c:pt idx="336">
                  <c:v>Demoiselle</c:v>
                </c:pt>
                <c:pt idx="337">
                  <c:v>Malard</c:v>
                </c:pt>
                <c:pt idx="338">
                  <c:v>Veuve Clicq</c:v>
                </c:pt>
                <c:pt idx="339">
                  <c:v>Bouvet-Ladu</c:v>
                </c:pt>
                <c:pt idx="340">
                  <c:v>Bouvet-Ladu</c:v>
                </c:pt>
                <c:pt idx="341">
                  <c:v>Roederer</c:v>
                </c:pt>
                <c:pt idx="342">
                  <c:v>Nicolas</c:v>
                </c:pt>
                <c:pt idx="343">
                  <c:v>All Others</c:v>
                </c:pt>
                <c:pt idx="344">
                  <c:v>De Venoge</c:v>
                </c:pt>
                <c:pt idx="345">
                  <c:v>De Venoge</c:v>
                </c:pt>
                <c:pt idx="346">
                  <c:v>Roederer</c:v>
                </c:pt>
                <c:pt idx="347">
                  <c:v>Deutz</c:v>
                </c:pt>
                <c:pt idx="348">
                  <c:v>Ayala</c:v>
                </c:pt>
                <c:pt idx="349">
                  <c:v>All Others</c:v>
                </c:pt>
                <c:pt idx="350">
                  <c:v>Laurent Per</c:v>
                </c:pt>
                <c:pt idx="351">
                  <c:v>Bollinger</c:v>
                </c:pt>
                <c:pt idx="352">
                  <c:v>Ruinart</c:v>
                </c:pt>
                <c:pt idx="353">
                  <c:v>De Bligny</c:v>
                </c:pt>
                <c:pt idx="354">
                  <c:v>Bouvet-Ladu</c:v>
                </c:pt>
                <c:pt idx="355">
                  <c:v>Vesselle</c:v>
                </c:pt>
                <c:pt idx="356">
                  <c:v>Roederer</c:v>
                </c:pt>
                <c:pt idx="357">
                  <c:v>Besserat De</c:v>
                </c:pt>
                <c:pt idx="358">
                  <c:v>Taittinger</c:v>
                </c:pt>
                <c:pt idx="359">
                  <c:v>Roederer</c:v>
                </c:pt>
                <c:pt idx="360">
                  <c:v>Roederer</c:v>
                </c:pt>
                <c:pt idx="361">
                  <c:v>Bollinger</c:v>
                </c:pt>
                <c:pt idx="362">
                  <c:v>All Others</c:v>
                </c:pt>
                <c:pt idx="363">
                  <c:v>Laurent Per</c:v>
                </c:pt>
                <c:pt idx="364">
                  <c:v>Nicolas Feu</c:v>
                </c:pt>
                <c:pt idx="365">
                  <c:v>Bottega</c:v>
                </c:pt>
                <c:pt idx="366">
                  <c:v>All Others</c:v>
                </c:pt>
                <c:pt idx="367">
                  <c:v>All Others</c:v>
                </c:pt>
                <c:pt idx="368">
                  <c:v>Besserat De</c:v>
                </c:pt>
                <c:pt idx="369">
                  <c:v>Perrier Jou</c:v>
                </c:pt>
                <c:pt idx="370">
                  <c:v>All Others</c:v>
                </c:pt>
                <c:pt idx="371">
                  <c:v>Moët &amp; Chan</c:v>
                </c:pt>
                <c:pt idx="372">
                  <c:v>All Others</c:v>
                </c:pt>
                <c:pt idx="373">
                  <c:v>All Others</c:v>
                </c:pt>
                <c:pt idx="374">
                  <c:v>Besserat De</c:v>
                </c:pt>
                <c:pt idx="375">
                  <c:v>All Others</c:v>
                </c:pt>
                <c:pt idx="376">
                  <c:v>All Others</c:v>
                </c:pt>
                <c:pt idx="377">
                  <c:v>Vranken Pom</c:v>
                </c:pt>
                <c:pt idx="378">
                  <c:v>All Others</c:v>
                </c:pt>
                <c:pt idx="379">
                  <c:v>All Others</c:v>
                </c:pt>
                <c:pt idx="380">
                  <c:v>All Others</c:v>
                </c:pt>
                <c:pt idx="381">
                  <c:v>Malard</c:v>
                </c:pt>
                <c:pt idx="382">
                  <c:v>All Others</c:v>
                </c:pt>
                <c:pt idx="383">
                  <c:v>Veuve Clicq</c:v>
                </c:pt>
                <c:pt idx="384">
                  <c:v>French Bloo</c:v>
                </c:pt>
                <c:pt idx="385">
                  <c:v>All Others</c:v>
                </c:pt>
                <c:pt idx="386">
                  <c:v>All Others</c:v>
                </c:pt>
                <c:pt idx="387">
                  <c:v>All Others</c:v>
                </c:pt>
              </c:strCache>
            </c:strRef>
          </c:cat>
          <c:val>
            <c:numRef>
              <c:f>Sheet1!$C$2:$C$389</c:f>
              <c:numCache>
                <c:formatCode>General</c:formatCode>
                <c:ptCount val="388"/>
                <c:pt idx="0">
                  <c:v>0.10115163876446558</c:v>
                </c:pt>
                <c:pt idx="1">
                  <c:v>0.16799378833557993</c:v>
                </c:pt>
                <c:pt idx="2">
                  <c:v>0.21716001847980776</c:v>
                </c:pt>
                <c:pt idx="3">
                  <c:v>0.25695472500147193</c:v>
                </c:pt>
                <c:pt idx="4">
                  <c:v>0.28603973582998155</c:v>
                </c:pt>
                <c:pt idx="5">
                  <c:v>0.31444967446274402</c:v>
                </c:pt>
                <c:pt idx="6">
                  <c:v>0.34241625835116746</c:v>
                </c:pt>
                <c:pt idx="7">
                  <c:v>0.36689351688972444</c:v>
                </c:pt>
                <c:pt idx="8">
                  <c:v>0.38885143539413602</c:v>
                </c:pt>
                <c:pt idx="9">
                  <c:v>0.41041782869533455</c:v>
                </c:pt>
                <c:pt idx="10">
                  <c:v>0.43197672035242274</c:v>
                </c:pt>
                <c:pt idx="11">
                  <c:v>0.45336474122699777</c:v>
                </c:pt>
                <c:pt idx="12">
                  <c:v>0.47077681494891271</c:v>
                </c:pt>
                <c:pt idx="13">
                  <c:v>0.48724580319004768</c:v>
                </c:pt>
                <c:pt idx="14">
                  <c:v>0.50336463893185079</c:v>
                </c:pt>
                <c:pt idx="15">
                  <c:v>0.51754736852554128</c:v>
                </c:pt>
                <c:pt idx="16">
                  <c:v>0.5306128835660725</c:v>
                </c:pt>
                <c:pt idx="17">
                  <c:v>0.54226611938510461</c:v>
                </c:pt>
                <c:pt idx="18">
                  <c:v>0.55366808801353207</c:v>
                </c:pt>
                <c:pt idx="19">
                  <c:v>0.56404066436681921</c:v>
                </c:pt>
                <c:pt idx="20">
                  <c:v>0.57315599547688745</c:v>
                </c:pt>
                <c:pt idx="21">
                  <c:v>0.58218138263181463</c:v>
                </c:pt>
                <c:pt idx="22">
                  <c:v>0.59037711825781203</c:v>
                </c:pt>
                <c:pt idx="23">
                  <c:v>0.59856406407858931</c:v>
                </c:pt>
                <c:pt idx="24">
                  <c:v>0.60670092316444801</c:v>
                </c:pt>
                <c:pt idx="25">
                  <c:v>0.61467623169229435</c:v>
                </c:pt>
                <c:pt idx="26">
                  <c:v>0.62249188401670152</c:v>
                </c:pt>
                <c:pt idx="27">
                  <c:v>0.63021516761211371</c:v>
                </c:pt>
                <c:pt idx="28">
                  <c:v>0.63777818881062331</c:v>
                </c:pt>
                <c:pt idx="29">
                  <c:v>0.6451095683319078</c:v>
                </c:pt>
                <c:pt idx="30">
                  <c:v>0.65237070518561369</c:v>
                </c:pt>
                <c:pt idx="31">
                  <c:v>0.65958599865864531</c:v>
                </c:pt>
                <c:pt idx="32">
                  <c:v>0.66675810084740528</c:v>
                </c:pt>
                <c:pt idx="33">
                  <c:v>0.67348662096927747</c:v>
                </c:pt>
                <c:pt idx="34">
                  <c:v>0.68019165109444046</c:v>
                </c:pt>
                <c:pt idx="35">
                  <c:v>0.68679021849258315</c:v>
                </c:pt>
                <c:pt idx="36">
                  <c:v>0.69336552321656542</c:v>
                </c:pt>
                <c:pt idx="37">
                  <c:v>0.69960211734283873</c:v>
                </c:pt>
                <c:pt idx="38">
                  <c:v>0.70580931108613409</c:v>
                </c:pt>
                <c:pt idx="39">
                  <c:v>0.71199005963958595</c:v>
                </c:pt>
                <c:pt idx="40">
                  <c:v>0.71784012965871968</c:v>
                </c:pt>
                <c:pt idx="41">
                  <c:v>0.72358487356357704</c:v>
                </c:pt>
                <c:pt idx="42">
                  <c:v>0.72916965816826351</c:v>
                </c:pt>
                <c:pt idx="43">
                  <c:v>0.7344193693360217</c:v>
                </c:pt>
                <c:pt idx="44">
                  <c:v>0.73944607708340904</c:v>
                </c:pt>
                <c:pt idx="45">
                  <c:v>0.74446157025172233</c:v>
                </c:pt>
                <c:pt idx="46">
                  <c:v>0.7493042982829492</c:v>
                </c:pt>
                <c:pt idx="47">
                  <c:v>0.75412649151060129</c:v>
                </c:pt>
                <c:pt idx="48">
                  <c:v>0.75886449962101521</c:v>
                </c:pt>
                <c:pt idx="49">
                  <c:v>0.76346240126718656</c:v>
                </c:pt>
                <c:pt idx="50">
                  <c:v>0.76805863588133338</c:v>
                </c:pt>
                <c:pt idx="51">
                  <c:v>0.77240519456271717</c:v>
                </c:pt>
                <c:pt idx="52">
                  <c:v>0.77673106689216032</c:v>
                </c:pt>
                <c:pt idx="53">
                  <c:v>0.78095532604229068</c:v>
                </c:pt>
                <c:pt idx="54">
                  <c:v>0.78517428099961584</c:v>
                </c:pt>
                <c:pt idx="55">
                  <c:v>0.78938732557067226</c:v>
                </c:pt>
                <c:pt idx="56">
                  <c:v>0.79356521092084786</c:v>
                </c:pt>
                <c:pt idx="57">
                  <c:v>0.79765193992895544</c:v>
                </c:pt>
                <c:pt idx="58">
                  <c:v>0.80156673731598882</c:v>
                </c:pt>
                <c:pt idx="59">
                  <c:v>0.80527262528067689</c:v>
                </c:pt>
                <c:pt idx="60">
                  <c:v>0.80885394048862358</c:v>
                </c:pt>
                <c:pt idx="61">
                  <c:v>0.81238016786557821</c:v>
                </c:pt>
                <c:pt idx="62">
                  <c:v>0.81587366079550594</c:v>
                </c:pt>
                <c:pt idx="63">
                  <c:v>0.81933782911663877</c:v>
                </c:pt>
                <c:pt idx="64">
                  <c:v>0.82275403237997524</c:v>
                </c:pt>
                <c:pt idx="65">
                  <c:v>0.82614727606588312</c:v>
                </c:pt>
                <c:pt idx="66">
                  <c:v>0.82934956881080057</c:v>
                </c:pt>
                <c:pt idx="67">
                  <c:v>0.83249965314367746</c:v>
                </c:pt>
                <c:pt idx="68">
                  <c:v>0.83564640341250529</c:v>
                </c:pt>
                <c:pt idx="69">
                  <c:v>0.83872131975591302</c:v>
                </c:pt>
                <c:pt idx="70">
                  <c:v>0.84159641957892728</c:v>
                </c:pt>
                <c:pt idx="71">
                  <c:v>0.84444621082484206</c:v>
                </c:pt>
                <c:pt idx="72">
                  <c:v>0.84721522679175054</c:v>
                </c:pt>
                <c:pt idx="73">
                  <c:v>0.84997371014723144</c:v>
                </c:pt>
                <c:pt idx="74">
                  <c:v>0.85273060224487074</c:v>
                </c:pt>
                <c:pt idx="75">
                  <c:v>0.85548188705297301</c:v>
                </c:pt>
                <c:pt idx="76">
                  <c:v>0.85817649277224162</c:v>
                </c:pt>
                <c:pt idx="77">
                  <c:v>0.86080441721052947</c:v>
                </c:pt>
                <c:pt idx="78">
                  <c:v>0.86341589865112101</c:v>
                </c:pt>
                <c:pt idx="79">
                  <c:v>0.86600108645023488</c:v>
                </c:pt>
                <c:pt idx="80">
                  <c:v>0.86856778534871315</c:v>
                </c:pt>
                <c:pt idx="81">
                  <c:v>0.87110963031518951</c:v>
                </c:pt>
                <c:pt idx="82">
                  <c:v>0.87358608216179501</c:v>
                </c:pt>
                <c:pt idx="83">
                  <c:v>0.87602358607837305</c:v>
                </c:pt>
                <c:pt idx="84">
                  <c:v>0.87823922318732428</c:v>
                </c:pt>
                <c:pt idx="85">
                  <c:v>0.88039378630483178</c:v>
                </c:pt>
                <c:pt idx="86">
                  <c:v>0.88252251042595919</c:v>
                </c:pt>
                <c:pt idx="87">
                  <c:v>0.88455075798051797</c:v>
                </c:pt>
                <c:pt idx="88">
                  <c:v>0.88656589660142937</c:v>
                </c:pt>
                <c:pt idx="89">
                  <c:v>0.88857520061025497</c:v>
                </c:pt>
                <c:pt idx="90">
                  <c:v>0.89054646597924836</c:v>
                </c:pt>
                <c:pt idx="91">
                  <c:v>0.89251053280086312</c:v>
                </c:pt>
                <c:pt idx="92">
                  <c:v>0.89447338723555092</c:v>
                </c:pt>
                <c:pt idx="93">
                  <c:v>0.89642449667188417</c:v>
                </c:pt>
                <c:pt idx="94">
                  <c:v>0.89834362940301982</c:v>
                </c:pt>
                <c:pt idx="95">
                  <c:v>0.90023472568647045</c:v>
                </c:pt>
                <c:pt idx="96">
                  <c:v>0.90212453380881119</c:v>
                </c:pt>
                <c:pt idx="97">
                  <c:v>0.9038695374675676</c:v>
                </c:pt>
                <c:pt idx="98">
                  <c:v>0.90559809812862768</c:v>
                </c:pt>
                <c:pt idx="99">
                  <c:v>0.90730210795441757</c:v>
                </c:pt>
                <c:pt idx="100">
                  <c:v>0.90897573233285145</c:v>
                </c:pt>
                <c:pt idx="101">
                  <c:v>0.91059245029990288</c:v>
                </c:pt>
                <c:pt idx="102">
                  <c:v>0.91220234859049032</c:v>
                </c:pt>
                <c:pt idx="103">
                  <c:v>0.91378269494973408</c:v>
                </c:pt>
                <c:pt idx="104">
                  <c:v>0.9153510689880745</c:v>
                </c:pt>
                <c:pt idx="105">
                  <c:v>0.91690868309243845</c:v>
                </c:pt>
                <c:pt idx="106">
                  <c:v>0.91839506946484573</c:v>
                </c:pt>
                <c:pt idx="107">
                  <c:v>0.91986766493595917</c:v>
                </c:pt>
                <c:pt idx="108">
                  <c:v>0.92130979918553368</c:v>
                </c:pt>
                <c:pt idx="109">
                  <c:v>0.92273571775996066</c:v>
                </c:pt>
                <c:pt idx="110">
                  <c:v>0.9241404195631665</c:v>
                </c:pt>
                <c:pt idx="111">
                  <c:v>0.9254810921817942</c:v>
                </c:pt>
                <c:pt idx="112">
                  <c:v>0.92681699102689719</c:v>
                </c:pt>
                <c:pt idx="113">
                  <c:v>0.92813826545469413</c:v>
                </c:pt>
                <c:pt idx="114">
                  <c:v>0.92945863059229583</c:v>
                </c:pt>
                <c:pt idx="115">
                  <c:v>0.93071966454466126</c:v>
                </c:pt>
                <c:pt idx="116">
                  <c:v>0.93197728865879481</c:v>
                </c:pt>
                <c:pt idx="117">
                  <c:v>0.93321392332425601</c:v>
                </c:pt>
                <c:pt idx="118">
                  <c:v>0.93445040644135124</c:v>
                </c:pt>
                <c:pt idx="119">
                  <c:v>0.93567779665649464</c:v>
                </c:pt>
                <c:pt idx="120">
                  <c:v>0.93689745790497891</c:v>
                </c:pt>
                <c:pt idx="121">
                  <c:v>0.93811234537993837</c:v>
                </c:pt>
                <c:pt idx="122">
                  <c:v>0.93931510898562864</c:v>
                </c:pt>
                <c:pt idx="123">
                  <c:v>0.94049711046519535</c:v>
                </c:pt>
                <c:pt idx="124">
                  <c:v>0.94167585365489592</c:v>
                </c:pt>
                <c:pt idx="125">
                  <c:v>0.94280163069072653</c:v>
                </c:pt>
                <c:pt idx="126">
                  <c:v>0.9438987650854086</c:v>
                </c:pt>
                <c:pt idx="127">
                  <c:v>0.94498620038467529</c:v>
                </c:pt>
                <c:pt idx="128">
                  <c:v>0.94606711910420982</c:v>
                </c:pt>
                <c:pt idx="129">
                  <c:v>0.94707878022054393</c:v>
                </c:pt>
                <c:pt idx="130">
                  <c:v>0.94808680417609725</c:v>
                </c:pt>
                <c:pt idx="131">
                  <c:v>0.94904837855751278</c:v>
                </c:pt>
                <c:pt idx="132">
                  <c:v>0.95000457297194008</c:v>
                </c:pt>
                <c:pt idx="133">
                  <c:v>0.9509281087135234</c:v>
                </c:pt>
                <c:pt idx="134">
                  <c:v>0.95184997742308219</c:v>
                </c:pt>
                <c:pt idx="135">
                  <c:v>0.95274858345848068</c:v>
                </c:pt>
                <c:pt idx="136">
                  <c:v>0.95364203684943982</c:v>
                </c:pt>
                <c:pt idx="137">
                  <c:v>0.95452465453223956</c:v>
                </c:pt>
                <c:pt idx="138">
                  <c:v>0.9553956787650506</c:v>
                </c:pt>
                <c:pt idx="139">
                  <c:v>0.95622790661620005</c:v>
                </c:pt>
                <c:pt idx="140">
                  <c:v>0.95703368927750609</c:v>
                </c:pt>
                <c:pt idx="141">
                  <c:v>0.95783257648816522</c:v>
                </c:pt>
                <c:pt idx="142">
                  <c:v>0.95862979666679982</c:v>
                </c:pt>
                <c:pt idx="143">
                  <c:v>0.95940913413826234</c:v>
                </c:pt>
                <c:pt idx="144">
                  <c:v>0.96018384938456591</c:v>
                </c:pt>
                <c:pt idx="145">
                  <c:v>0.96095136608349097</c:v>
                </c:pt>
                <c:pt idx="146">
                  <c:v>0.9617043341392929</c:v>
                </c:pt>
                <c:pt idx="147">
                  <c:v>0.96245548361470445</c:v>
                </c:pt>
                <c:pt idx="148">
                  <c:v>0.96315586438755108</c:v>
                </c:pt>
                <c:pt idx="149">
                  <c:v>0.96385366883817802</c:v>
                </c:pt>
                <c:pt idx="150">
                  <c:v>0.96453874322607225</c:v>
                </c:pt>
                <c:pt idx="151">
                  <c:v>0.96521987735645398</c:v>
                </c:pt>
                <c:pt idx="152">
                  <c:v>0.96587433897444341</c:v>
                </c:pt>
                <c:pt idx="153">
                  <c:v>0.96651743446499294</c:v>
                </c:pt>
                <c:pt idx="154">
                  <c:v>0.96715477111763959</c:v>
                </c:pt>
                <c:pt idx="155">
                  <c:v>0.96776467751606465</c:v>
                </c:pt>
                <c:pt idx="156">
                  <c:v>0.96836897662495269</c:v>
                </c:pt>
                <c:pt idx="157">
                  <c:v>0.96896334931587658</c:v>
                </c:pt>
                <c:pt idx="158">
                  <c:v>0.9695058166914915</c:v>
                </c:pt>
                <c:pt idx="159">
                  <c:v>0.97004548042233796</c:v>
                </c:pt>
                <c:pt idx="160">
                  <c:v>0.97057339915482987</c:v>
                </c:pt>
                <c:pt idx="161">
                  <c:v>0.97110116633895593</c:v>
                </c:pt>
                <c:pt idx="162">
                  <c:v>0.97161862823420309</c:v>
                </c:pt>
                <c:pt idx="163">
                  <c:v>0.97213245296866946</c:v>
                </c:pt>
                <c:pt idx="164">
                  <c:v>0.97264203434889163</c:v>
                </c:pt>
                <c:pt idx="165">
                  <c:v>0.97314259860134489</c:v>
                </c:pt>
                <c:pt idx="166">
                  <c:v>0.97363240291982167</c:v>
                </c:pt>
                <c:pt idx="167">
                  <c:v>0.97411834275496889</c:v>
                </c:pt>
                <c:pt idx="168">
                  <c:v>0.97459829642966445</c:v>
                </c:pt>
                <c:pt idx="169">
                  <c:v>0.97507287013737176</c:v>
                </c:pt>
                <c:pt idx="170">
                  <c:v>0.97554282161992012</c:v>
                </c:pt>
                <c:pt idx="171">
                  <c:v>0.97600527145835825</c:v>
                </c:pt>
                <c:pt idx="172">
                  <c:v>0.97646105316869825</c:v>
                </c:pt>
                <c:pt idx="173">
                  <c:v>0.97690334707447624</c:v>
                </c:pt>
                <c:pt idx="174">
                  <c:v>0.97733957904561963</c:v>
                </c:pt>
                <c:pt idx="175">
                  <c:v>0.97777505327493364</c:v>
                </c:pt>
                <c:pt idx="176">
                  <c:v>0.97820916356895493</c:v>
                </c:pt>
                <c:pt idx="177">
                  <c:v>0.97862811902638969</c:v>
                </c:pt>
                <c:pt idx="178">
                  <c:v>0.97903714806586029</c:v>
                </c:pt>
                <c:pt idx="179">
                  <c:v>0.97944231262200121</c:v>
                </c:pt>
                <c:pt idx="180">
                  <c:v>0.97983823272782444</c:v>
                </c:pt>
                <c:pt idx="181">
                  <c:v>0.98023309199508657</c:v>
                </c:pt>
                <c:pt idx="182">
                  <c:v>0.98062370790810449</c:v>
                </c:pt>
                <c:pt idx="183">
                  <c:v>0.98101212636981738</c:v>
                </c:pt>
                <c:pt idx="184">
                  <c:v>0.98139228544559054</c:v>
                </c:pt>
                <c:pt idx="185">
                  <c:v>0.98176986819914402</c:v>
                </c:pt>
                <c:pt idx="186">
                  <c:v>0.98213358427722086</c:v>
                </c:pt>
                <c:pt idx="187">
                  <c:v>0.98249138996902896</c:v>
                </c:pt>
                <c:pt idx="188">
                  <c:v>0.98283889037195815</c:v>
                </c:pt>
                <c:pt idx="189">
                  <c:v>0.98318290516247242</c:v>
                </c:pt>
                <c:pt idx="190">
                  <c:v>0.98352684417880376</c:v>
                </c:pt>
                <c:pt idx="191">
                  <c:v>0.98386525167978101</c:v>
                </c:pt>
                <c:pt idx="192">
                  <c:v>0.98419373276279409</c:v>
                </c:pt>
                <c:pt idx="193">
                  <c:v>0.98451039307326971</c:v>
                </c:pt>
                <c:pt idx="194">
                  <c:v>0.98482349199714747</c:v>
                </c:pt>
                <c:pt idx="195">
                  <c:v>0.98512810421253683</c:v>
                </c:pt>
                <c:pt idx="196">
                  <c:v>0.98542680604165744</c:v>
                </c:pt>
                <c:pt idx="197">
                  <c:v>0.98571436906588694</c:v>
                </c:pt>
                <c:pt idx="198">
                  <c:v>0.98600162899338473</c:v>
                </c:pt>
                <c:pt idx="199">
                  <c:v>0.98628479711500416</c:v>
                </c:pt>
                <c:pt idx="200">
                  <c:v>0.98656751059152592</c:v>
                </c:pt>
                <c:pt idx="201">
                  <c:v>0.98684954210040132</c:v>
                </c:pt>
                <c:pt idx="202">
                  <c:v>0.98712702715830081</c:v>
                </c:pt>
                <c:pt idx="203">
                  <c:v>0.98739087286327232</c:v>
                </c:pt>
                <c:pt idx="204">
                  <c:v>0.98765024789145084</c:v>
                </c:pt>
                <c:pt idx="205">
                  <c:v>0.98790674350067798</c:v>
                </c:pt>
                <c:pt idx="206">
                  <c:v>0.98815452507886781</c:v>
                </c:pt>
                <c:pt idx="207">
                  <c:v>0.98839995765738675</c:v>
                </c:pt>
                <c:pt idx="208">
                  <c:v>0.98864523868753984</c:v>
                </c:pt>
                <c:pt idx="209">
                  <c:v>0.98888324539613137</c:v>
                </c:pt>
                <c:pt idx="210">
                  <c:v>0.98911761494394213</c:v>
                </c:pt>
                <c:pt idx="211">
                  <c:v>0.98933129813981224</c:v>
                </c:pt>
                <c:pt idx="212">
                  <c:v>0.98954399627130429</c:v>
                </c:pt>
                <c:pt idx="213">
                  <c:v>0.98975260259691789</c:v>
                </c:pt>
                <c:pt idx="214">
                  <c:v>0.98995340418168942</c:v>
                </c:pt>
                <c:pt idx="215">
                  <c:v>0.99015382689554632</c:v>
                </c:pt>
                <c:pt idx="216">
                  <c:v>0.99034379277215856</c:v>
                </c:pt>
                <c:pt idx="217">
                  <c:v>0.99053156119746566</c:v>
                </c:pt>
                <c:pt idx="218">
                  <c:v>0.99071720794565066</c:v>
                </c:pt>
                <c:pt idx="219">
                  <c:v>0.99089959640396963</c:v>
                </c:pt>
                <c:pt idx="220">
                  <c:v>0.99108077247536164</c:v>
                </c:pt>
                <c:pt idx="221">
                  <c:v>0.99125891757943629</c:v>
                </c:pt>
                <c:pt idx="222">
                  <c:v>0.99143274355508382</c:v>
                </c:pt>
                <c:pt idx="223">
                  <c:v>0.99160505404707266</c:v>
                </c:pt>
                <c:pt idx="224">
                  <c:v>0.99176902937893896</c:v>
                </c:pt>
                <c:pt idx="225">
                  <c:v>0.99192709432453652</c:v>
                </c:pt>
                <c:pt idx="226">
                  <c:v>0.99208174943190208</c:v>
                </c:pt>
                <c:pt idx="227">
                  <c:v>0.99223314624940151</c:v>
                </c:pt>
                <c:pt idx="228">
                  <c:v>0.99238302758324237</c:v>
                </c:pt>
                <c:pt idx="229">
                  <c:v>0.99253253004616848</c:v>
                </c:pt>
                <c:pt idx="230">
                  <c:v>0.99268059279961895</c:v>
                </c:pt>
                <c:pt idx="231">
                  <c:v>0.99282812513378882</c:v>
                </c:pt>
                <c:pt idx="232">
                  <c:v>0.99297156566208034</c:v>
                </c:pt>
                <c:pt idx="233">
                  <c:v>0.99310939890083483</c:v>
                </c:pt>
                <c:pt idx="234">
                  <c:v>0.99324632284939418</c:v>
                </c:pt>
                <c:pt idx="235">
                  <c:v>0.99337983695972154</c:v>
                </c:pt>
                <c:pt idx="236">
                  <c:v>0.99351244177985376</c:v>
                </c:pt>
                <c:pt idx="237">
                  <c:v>0.99364428885815659</c:v>
                </c:pt>
                <c:pt idx="238">
                  <c:v>0.99377249877567864</c:v>
                </c:pt>
                <c:pt idx="239">
                  <c:v>0.99389979940300555</c:v>
                </c:pt>
                <c:pt idx="240">
                  <c:v>0.99402566032085671</c:v>
                </c:pt>
                <c:pt idx="241">
                  <c:v>0.99414970265831748</c:v>
                </c:pt>
                <c:pt idx="242">
                  <c:v>0.99427366922159532</c:v>
                </c:pt>
                <c:pt idx="243">
                  <c:v>0.99439437749500703</c:v>
                </c:pt>
                <c:pt idx="244">
                  <c:v>0.99451281254293078</c:v>
                </c:pt>
                <c:pt idx="245">
                  <c:v>0.99462942901046414</c:v>
                </c:pt>
                <c:pt idx="246">
                  <c:v>0.99474475731688761</c:v>
                </c:pt>
                <c:pt idx="247">
                  <c:v>0.99485841859128665</c:v>
                </c:pt>
                <c:pt idx="248">
                  <c:v>0.99497041283366117</c:v>
                </c:pt>
                <c:pt idx="249">
                  <c:v>0.99508202820512104</c:v>
                </c:pt>
                <c:pt idx="250">
                  <c:v>0.99519288583475152</c:v>
                </c:pt>
                <c:pt idx="251">
                  <c:v>0.99529965165850365</c:v>
                </c:pt>
                <c:pt idx="252">
                  <c:v>0.99540611438552407</c:v>
                </c:pt>
                <c:pt idx="253">
                  <c:v>0.99550969769359299</c:v>
                </c:pt>
                <c:pt idx="254">
                  <c:v>0.99561320522747898</c:v>
                </c:pt>
                <c:pt idx="255">
                  <c:v>0.99571534882607227</c:v>
                </c:pt>
                <c:pt idx="256">
                  <c:v>0.99581317329623831</c:v>
                </c:pt>
                <c:pt idx="257">
                  <c:v>0.99590789102490418</c:v>
                </c:pt>
                <c:pt idx="258">
                  <c:v>0.99600260875357005</c:v>
                </c:pt>
                <c:pt idx="259">
                  <c:v>0.99609664451458946</c:v>
                </c:pt>
                <c:pt idx="260">
                  <c:v>0.99619037717887715</c:v>
                </c:pt>
                <c:pt idx="261">
                  <c:v>0.99628047268238407</c:v>
                </c:pt>
                <c:pt idx="262">
                  <c:v>0.99636912847641523</c:v>
                </c:pt>
                <c:pt idx="263">
                  <c:v>0.99644884291686042</c:v>
                </c:pt>
                <c:pt idx="264">
                  <c:v>0.99652848158312268</c:v>
                </c:pt>
                <c:pt idx="265">
                  <c:v>0.99660698363664091</c:v>
                </c:pt>
                <c:pt idx="266">
                  <c:v>0.996682227400293</c:v>
                </c:pt>
                <c:pt idx="267">
                  <c:v>0.99675565258355481</c:v>
                </c:pt>
                <c:pt idx="268">
                  <c:v>0.99682763805734087</c:v>
                </c:pt>
                <c:pt idx="269">
                  <c:v>0.9968979564991024</c:v>
                </c:pt>
                <c:pt idx="270">
                  <c:v>0.99696554707027829</c:v>
                </c:pt>
                <c:pt idx="271">
                  <c:v>0.99703260722217368</c:v>
                </c:pt>
                <c:pt idx="272">
                  <c:v>0.99709966737406908</c:v>
                </c:pt>
                <c:pt idx="273">
                  <c:v>0.9971646816230253</c:v>
                </c:pt>
                <c:pt idx="274">
                  <c:v>0.99722893813015223</c:v>
                </c:pt>
                <c:pt idx="275">
                  <c:v>0.99729311886309624</c:v>
                </c:pt>
                <c:pt idx="276">
                  <c:v>0.99735601143493036</c:v>
                </c:pt>
                <c:pt idx="277">
                  <c:v>0.99741882823258154</c:v>
                </c:pt>
                <c:pt idx="278">
                  <c:v>0.99747876561128124</c:v>
                </c:pt>
                <c:pt idx="279">
                  <c:v>0.99753855144161507</c:v>
                </c:pt>
                <c:pt idx="280">
                  <c:v>0.9975948516595341</c:v>
                </c:pt>
                <c:pt idx="281">
                  <c:v>0.99764865132941627</c:v>
                </c:pt>
                <c:pt idx="282">
                  <c:v>0.99770108706400562</c:v>
                </c:pt>
                <c:pt idx="283">
                  <c:v>0.99775352279859497</c:v>
                </c:pt>
                <c:pt idx="284">
                  <c:v>0.9978053523397209</c:v>
                </c:pt>
                <c:pt idx="285">
                  <c:v>0.99785384781679776</c:v>
                </c:pt>
                <c:pt idx="286">
                  <c:v>0.99790113090694776</c:v>
                </c:pt>
                <c:pt idx="287">
                  <c:v>0.99794811090036606</c:v>
                </c:pt>
                <c:pt idx="288">
                  <c:v>0.99799478779705253</c:v>
                </c:pt>
                <c:pt idx="289">
                  <c:v>0.99804025230681215</c:v>
                </c:pt>
                <c:pt idx="290">
                  <c:v>0.99808495907474237</c:v>
                </c:pt>
                <c:pt idx="291">
                  <c:v>0.99812898387502624</c:v>
                </c:pt>
                <c:pt idx="292">
                  <c:v>0.99817240248184669</c:v>
                </c:pt>
                <c:pt idx="293">
                  <c:v>0.99821559376611835</c:v>
                </c:pt>
                <c:pt idx="294">
                  <c:v>0.99825802730856061</c:v>
                </c:pt>
                <c:pt idx="295">
                  <c:v>0.99829796030296614</c:v>
                </c:pt>
                <c:pt idx="296">
                  <c:v>0.99833751442645702</c:v>
                </c:pt>
                <c:pt idx="297">
                  <c:v>0.99837653813066729</c:v>
                </c:pt>
                <c:pt idx="298">
                  <c:v>0.99841419789958485</c:v>
                </c:pt>
                <c:pt idx="299">
                  <c:v>0.99845034218484374</c:v>
                </c:pt>
                <c:pt idx="300">
                  <c:v>0.99848307663187064</c:v>
                </c:pt>
                <c:pt idx="301">
                  <c:v>0.99851565953053167</c:v>
                </c:pt>
                <c:pt idx="302">
                  <c:v>0.99854809088082686</c:v>
                </c:pt>
                <c:pt idx="303">
                  <c:v>0.99857968871510983</c:v>
                </c:pt>
                <c:pt idx="304">
                  <c:v>0.9986110592268439</c:v>
                </c:pt>
                <c:pt idx="305">
                  <c:v>0.99864205086766333</c:v>
                </c:pt>
                <c:pt idx="306">
                  <c:v>0.99867183012155591</c:v>
                </c:pt>
                <c:pt idx="307">
                  <c:v>0.99870130627871667</c:v>
                </c:pt>
                <c:pt idx="308">
                  <c:v>0.99873040356496279</c:v>
                </c:pt>
                <c:pt idx="309">
                  <c:v>0.99875919775447719</c:v>
                </c:pt>
                <c:pt idx="310">
                  <c:v>0.99878791616980866</c:v>
                </c:pt>
                <c:pt idx="311">
                  <c:v>0.99881655881095721</c:v>
                </c:pt>
                <c:pt idx="312">
                  <c:v>0.99884459525864233</c:v>
                </c:pt>
                <c:pt idx="313">
                  <c:v>0.9988724801579616</c:v>
                </c:pt>
                <c:pt idx="314">
                  <c:v>0.99889968308963439</c:v>
                </c:pt>
                <c:pt idx="315">
                  <c:v>0.99892650715039255</c:v>
                </c:pt>
                <c:pt idx="316">
                  <c:v>0.99895302811441899</c:v>
                </c:pt>
                <c:pt idx="317">
                  <c:v>0.99897879133661616</c:v>
                </c:pt>
                <c:pt idx="318">
                  <c:v>0.99900417568789857</c:v>
                </c:pt>
                <c:pt idx="319">
                  <c:v>0.99902865074898584</c:v>
                </c:pt>
                <c:pt idx="320">
                  <c:v>0.99905229229406078</c:v>
                </c:pt>
                <c:pt idx="321">
                  <c:v>0.99907555496822109</c:v>
                </c:pt>
                <c:pt idx="322">
                  <c:v>0.99909737793290565</c:v>
                </c:pt>
                <c:pt idx="323">
                  <c:v>0.99911897357504142</c:v>
                </c:pt>
                <c:pt idx="324">
                  <c:v>0.99913928105606742</c:v>
                </c:pt>
                <c:pt idx="325">
                  <c:v>0.9991590581178128</c:v>
                </c:pt>
                <c:pt idx="326">
                  <c:v>0.99917868363119233</c:v>
                </c:pt>
                <c:pt idx="327">
                  <c:v>0.99919800604784015</c:v>
                </c:pt>
                <c:pt idx="328">
                  <c:v>0.99921710114193918</c:v>
                </c:pt>
                <c:pt idx="329">
                  <c:v>0.9992358931393065</c:v>
                </c:pt>
                <c:pt idx="330">
                  <c:v>0.99925415471739332</c:v>
                </c:pt>
                <c:pt idx="331">
                  <c:v>0.99927234052129721</c:v>
                </c:pt>
                <c:pt idx="332">
                  <c:v>0.9992905263252011</c:v>
                </c:pt>
                <c:pt idx="333">
                  <c:v>0.99930787861309267</c:v>
                </c:pt>
                <c:pt idx="334">
                  <c:v>0.99932507935261838</c:v>
                </c:pt>
                <c:pt idx="335">
                  <c:v>0.99934212854377824</c:v>
                </c:pt>
                <c:pt idx="336">
                  <c:v>0.99935879886402346</c:v>
                </c:pt>
                <c:pt idx="337">
                  <c:v>0.99937546918426867</c:v>
                </c:pt>
                <c:pt idx="338">
                  <c:v>0.99939176063359925</c:v>
                </c:pt>
                <c:pt idx="339">
                  <c:v>0.99940759743783214</c:v>
                </c:pt>
                <c:pt idx="340">
                  <c:v>0.99942320691951625</c:v>
                </c:pt>
                <c:pt idx="341">
                  <c:v>0.99943874062701743</c:v>
                </c:pt>
                <c:pt idx="342">
                  <c:v>0.99945366814105518</c:v>
                </c:pt>
                <c:pt idx="343">
                  <c:v>0.99946859565509294</c:v>
                </c:pt>
                <c:pt idx="344">
                  <c:v>0.99951292355210863</c:v>
                </c:pt>
                <c:pt idx="345">
                  <c:v>0.9995276237435976</c:v>
                </c:pt>
                <c:pt idx="346">
                  <c:v>0.99954202083835486</c:v>
                </c:pt>
                <c:pt idx="347">
                  <c:v>0.99958407550988249</c:v>
                </c:pt>
                <c:pt idx="348">
                  <c:v>0.99959733599189571</c:v>
                </c:pt>
                <c:pt idx="349">
                  <c:v>0.99962325076245873</c:v>
                </c:pt>
                <c:pt idx="350">
                  <c:v>0.99963598082519145</c:v>
                </c:pt>
                <c:pt idx="351">
                  <c:v>0.99964863511374125</c:v>
                </c:pt>
                <c:pt idx="352">
                  <c:v>0.99967364059410913</c:v>
                </c:pt>
                <c:pt idx="353">
                  <c:v>0.9996859917859271</c:v>
                </c:pt>
                <c:pt idx="354">
                  <c:v>0.99969819142937921</c:v>
                </c:pt>
                <c:pt idx="355">
                  <c:v>0.9997341083920892</c:v>
                </c:pt>
                <c:pt idx="356">
                  <c:v>0.99974577761626082</c:v>
                </c:pt>
                <c:pt idx="357">
                  <c:v>0.9997570679695178</c:v>
                </c:pt>
                <c:pt idx="358">
                  <c:v>0.99976820677440892</c:v>
                </c:pt>
                <c:pt idx="359">
                  <c:v>0.99977926980511711</c:v>
                </c:pt>
                <c:pt idx="360">
                  <c:v>0.99980109276980178</c:v>
                </c:pt>
                <c:pt idx="361">
                  <c:v>0.99982162757337645</c:v>
                </c:pt>
                <c:pt idx="362">
                  <c:v>0.99983147821715768</c:v>
                </c:pt>
                <c:pt idx="363">
                  <c:v>0.9998413288609389</c:v>
                </c:pt>
                <c:pt idx="364">
                  <c:v>0.99985064908543964</c:v>
                </c:pt>
                <c:pt idx="365">
                  <c:v>0.99985959043902572</c:v>
                </c:pt>
                <c:pt idx="366">
                  <c:v>0.99986792559914828</c:v>
                </c:pt>
                <c:pt idx="367">
                  <c:v>0.99987557879162448</c:v>
                </c:pt>
                <c:pt idx="368">
                  <c:v>0.99988323198410067</c:v>
                </c:pt>
                <c:pt idx="369">
                  <c:v>0.999897553304675</c:v>
                </c:pt>
                <c:pt idx="370">
                  <c:v>0.99990437298113899</c:v>
                </c:pt>
                <c:pt idx="371">
                  <c:v>0.99991119265760298</c:v>
                </c:pt>
                <c:pt idx="372">
                  <c:v>0.999917860785701</c:v>
                </c:pt>
                <c:pt idx="373">
                  <c:v>0.99993051507425068</c:v>
                </c:pt>
                <c:pt idx="374">
                  <c:v>0.9999453668141054</c:v>
                </c:pt>
                <c:pt idx="375">
                  <c:v>0.9999496101683496</c:v>
                </c:pt>
                <c:pt idx="376">
                  <c:v>0.99995385352259381</c:v>
                </c:pt>
                <c:pt idx="377">
                  <c:v>0.99995802110265508</c:v>
                </c:pt>
                <c:pt idx="378">
                  <c:v>0.9999620371343505</c:v>
                </c:pt>
                <c:pt idx="379">
                  <c:v>0.9999691599075462</c:v>
                </c:pt>
                <c:pt idx="380">
                  <c:v>0.99997226664904648</c:v>
                </c:pt>
                <c:pt idx="381">
                  <c:v>0.99998090490590086</c:v>
                </c:pt>
                <c:pt idx="382">
                  <c:v>0.99998620909870606</c:v>
                </c:pt>
                <c:pt idx="383">
                  <c:v>0.99998886119510866</c:v>
                </c:pt>
                <c:pt idx="384">
                  <c:v>0.99999537777484082</c:v>
                </c:pt>
                <c:pt idx="385">
                  <c:v>0.99999651438758486</c:v>
                </c:pt>
                <c:pt idx="386">
                  <c:v>0.9999990149356216</c:v>
                </c:pt>
                <c:pt idx="387">
                  <c:v>0.99999999999999967</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366</c:f>
              <c:strCache>
                <c:ptCount val="365"/>
                <c:pt idx="0">
                  <c:v>Ruinart</c:v>
                </c:pt>
                <c:pt idx="1">
                  <c:v>Nicolas</c:v>
                </c:pt>
                <c:pt idx="2">
                  <c:v>Deutz</c:v>
                </c:pt>
                <c:pt idx="3">
                  <c:v>Ruinart</c:v>
                </c:pt>
                <c:pt idx="4">
                  <c:v>Laurent Per</c:v>
                </c:pt>
                <c:pt idx="5">
                  <c:v>Malard</c:v>
                </c:pt>
                <c:pt idx="6">
                  <c:v>Ruinart</c:v>
                </c:pt>
                <c:pt idx="7">
                  <c:v>Ayala</c:v>
                </c:pt>
                <c:pt idx="8">
                  <c:v>Heidsieck &amp;</c:v>
                </c:pt>
                <c:pt idx="9">
                  <c:v>Nicolas Feu</c:v>
                </c:pt>
                <c:pt idx="10">
                  <c:v>Ruinart</c:v>
                </c:pt>
                <c:pt idx="11">
                  <c:v>Taittinger</c:v>
                </c:pt>
                <c:pt idx="12">
                  <c:v>Bollinger</c:v>
                </c:pt>
                <c:pt idx="13">
                  <c:v>De Bligny</c:v>
                </c:pt>
                <c:pt idx="14">
                  <c:v>Canard Duch</c:v>
                </c:pt>
                <c:pt idx="15">
                  <c:v>Besserat De</c:v>
                </c:pt>
                <c:pt idx="16">
                  <c:v>All Others</c:v>
                </c:pt>
                <c:pt idx="17">
                  <c:v>Perrier Jou</c:v>
                </c:pt>
                <c:pt idx="18">
                  <c:v>Dom Perigno</c:v>
                </c:pt>
                <c:pt idx="19">
                  <c:v>Vesselle</c:v>
                </c:pt>
                <c:pt idx="20">
                  <c:v>Deutz</c:v>
                </c:pt>
                <c:pt idx="21">
                  <c:v>Laurent Per</c:v>
                </c:pt>
                <c:pt idx="22">
                  <c:v>Ruinart</c:v>
                </c:pt>
                <c:pt idx="23">
                  <c:v>Demoiselle</c:v>
                </c:pt>
                <c:pt idx="24">
                  <c:v>Campari: Al</c:v>
                </c:pt>
                <c:pt idx="25">
                  <c:v>Veuve Clicq</c:v>
                </c:pt>
                <c:pt idx="26">
                  <c:v>Pommery</c:v>
                </c:pt>
                <c:pt idx="27">
                  <c:v>Dom Perigno</c:v>
                </c:pt>
                <c:pt idx="28">
                  <c:v>All Others</c:v>
                </c:pt>
                <c:pt idx="29">
                  <c:v>Ruinart</c:v>
                </c:pt>
                <c:pt idx="30">
                  <c:v>Laurent Per</c:v>
                </c:pt>
                <c:pt idx="31">
                  <c:v>All Others</c:v>
                </c:pt>
                <c:pt idx="32">
                  <c:v>Roederer</c:v>
                </c:pt>
                <c:pt idx="33">
                  <c:v>Bottega</c:v>
                </c:pt>
                <c:pt idx="34">
                  <c:v>Veuve Clicq</c:v>
                </c:pt>
                <c:pt idx="35">
                  <c:v>Savian</c:v>
                </c:pt>
                <c:pt idx="36">
                  <c:v>Deutz</c:v>
                </c:pt>
                <c:pt idx="37">
                  <c:v>Moët &amp; Chan</c:v>
                </c:pt>
                <c:pt idx="38">
                  <c:v>Ruinart</c:v>
                </c:pt>
                <c:pt idx="39">
                  <c:v>Ruinart</c:v>
                </c:pt>
                <c:pt idx="40">
                  <c:v>Roederer</c:v>
                </c:pt>
                <c:pt idx="41">
                  <c:v>Malard</c:v>
                </c:pt>
                <c:pt idx="42">
                  <c:v>Mure</c:v>
                </c:pt>
                <c:pt idx="43">
                  <c:v>Taittinger</c:v>
                </c:pt>
                <c:pt idx="44">
                  <c:v>Henriot</c:v>
                </c:pt>
                <c:pt idx="45">
                  <c:v>Patriarche</c:v>
                </c:pt>
                <c:pt idx="46">
                  <c:v>Savian</c:v>
                </c:pt>
                <c:pt idx="47">
                  <c:v>Veuve Clicq</c:v>
                </c:pt>
                <c:pt idx="48">
                  <c:v>Nicolas Feu</c:v>
                </c:pt>
                <c:pt idx="49">
                  <c:v>All Others</c:v>
                </c:pt>
                <c:pt idx="50">
                  <c:v>Louis Marti</c:v>
                </c:pt>
                <c:pt idx="51">
                  <c:v>Malard</c:v>
                </c:pt>
                <c:pt idx="52">
                  <c:v>Ruinart</c:v>
                </c:pt>
                <c:pt idx="53">
                  <c:v>Nicolas Feu</c:v>
                </c:pt>
                <c:pt idx="54">
                  <c:v>De Chanceny</c:v>
                </c:pt>
                <c:pt idx="55">
                  <c:v>Moët &amp; Chan</c:v>
                </c:pt>
                <c:pt idx="56">
                  <c:v>Nicolas</c:v>
                </c:pt>
                <c:pt idx="57">
                  <c:v>Deutz</c:v>
                </c:pt>
                <c:pt idx="58">
                  <c:v>Piper Heids</c:v>
                </c:pt>
                <c:pt idx="59">
                  <c:v>Demoiselle</c:v>
                </c:pt>
                <c:pt idx="60">
                  <c:v>De Venoge</c:v>
                </c:pt>
                <c:pt idx="61">
                  <c:v>Moët &amp; Chan</c:v>
                </c:pt>
                <c:pt idx="62">
                  <c:v>French Bloo</c:v>
                </c:pt>
                <c:pt idx="63">
                  <c:v>Krug</c:v>
                </c:pt>
                <c:pt idx="64">
                  <c:v>Besserat De</c:v>
                </c:pt>
                <c:pt idx="65">
                  <c:v>Ruinart</c:v>
                </c:pt>
                <c:pt idx="66">
                  <c:v>Delamotte</c:v>
                </c:pt>
                <c:pt idx="67">
                  <c:v>Roederer</c:v>
                </c:pt>
                <c:pt idx="68">
                  <c:v>Bollinger</c:v>
                </c:pt>
                <c:pt idx="69">
                  <c:v>Campari: Al</c:v>
                </c:pt>
                <c:pt idx="70">
                  <c:v>Laurent Per</c:v>
                </c:pt>
                <c:pt idx="71">
                  <c:v>Nicolas</c:v>
                </c:pt>
                <c:pt idx="72">
                  <c:v>Lanson</c:v>
                </c:pt>
                <c:pt idx="73">
                  <c:v>Roederer</c:v>
                </c:pt>
                <c:pt idx="74">
                  <c:v>Malard</c:v>
                </c:pt>
                <c:pt idx="75">
                  <c:v>Nicolas Feu</c:v>
                </c:pt>
                <c:pt idx="76">
                  <c:v>Nicolas</c:v>
                </c:pt>
                <c:pt idx="77">
                  <c:v>Canard Duch</c:v>
                </c:pt>
                <c:pt idx="78">
                  <c:v>Bouvet-Ladu</c:v>
                </c:pt>
                <c:pt idx="79">
                  <c:v>Henriot</c:v>
                </c:pt>
                <c:pt idx="80">
                  <c:v>Vranken</c:v>
                </c:pt>
                <c:pt idx="81">
                  <c:v>Lyre's</c:v>
                </c:pt>
                <c:pt idx="82">
                  <c:v>De Chanceny</c:v>
                </c:pt>
                <c:pt idx="83">
                  <c:v>Henriot</c:v>
                </c:pt>
                <c:pt idx="84">
                  <c:v>De Bligny</c:v>
                </c:pt>
                <c:pt idx="85">
                  <c:v>Roederer</c:v>
                </c:pt>
                <c:pt idx="86">
                  <c:v>Pommery</c:v>
                </c:pt>
                <c:pt idx="87">
                  <c:v>Roederer</c:v>
                </c:pt>
                <c:pt idx="88">
                  <c:v>Malard</c:v>
                </c:pt>
                <c:pt idx="89">
                  <c:v>Roederer</c:v>
                </c:pt>
                <c:pt idx="90">
                  <c:v>Besserat De</c:v>
                </c:pt>
                <c:pt idx="91">
                  <c:v>All Others</c:v>
                </c:pt>
                <c:pt idx="92">
                  <c:v>Patriarche</c:v>
                </c:pt>
                <c:pt idx="93">
                  <c:v>Nicolas</c:v>
                </c:pt>
                <c:pt idx="94">
                  <c:v>Ruinart</c:v>
                </c:pt>
                <c:pt idx="95">
                  <c:v>Henriot</c:v>
                </c:pt>
                <c:pt idx="96">
                  <c:v>Laurent Per</c:v>
                </c:pt>
                <c:pt idx="97">
                  <c:v>Roederer</c:v>
                </c:pt>
                <c:pt idx="98">
                  <c:v>Deutz</c:v>
                </c:pt>
                <c:pt idx="99">
                  <c:v>Moët &amp; Chan</c:v>
                </c:pt>
                <c:pt idx="100">
                  <c:v>Roederer</c:v>
                </c:pt>
                <c:pt idx="101">
                  <c:v>Perrier Jou</c:v>
                </c:pt>
                <c:pt idx="102">
                  <c:v>Ruinart</c:v>
                </c:pt>
                <c:pt idx="103">
                  <c:v>Laurent Per</c:v>
                </c:pt>
                <c:pt idx="104">
                  <c:v>Bollinger</c:v>
                </c:pt>
                <c:pt idx="105">
                  <c:v>Roederer</c:v>
                </c:pt>
                <c:pt idx="106">
                  <c:v>Ruinart</c:v>
                </c:pt>
                <c:pt idx="107">
                  <c:v>Deutz</c:v>
                </c:pt>
                <c:pt idx="108">
                  <c:v>De Venoge</c:v>
                </c:pt>
                <c:pt idx="109">
                  <c:v>Vranken</c:v>
                </c:pt>
                <c:pt idx="110">
                  <c:v>Bottega</c:v>
                </c:pt>
                <c:pt idx="111">
                  <c:v>All Others</c:v>
                </c:pt>
                <c:pt idx="112">
                  <c:v>Ayala</c:v>
                </c:pt>
                <c:pt idx="113">
                  <c:v>De Venoge</c:v>
                </c:pt>
                <c:pt idx="114">
                  <c:v>Bollinger</c:v>
                </c:pt>
                <c:pt idx="115">
                  <c:v>Ruinart</c:v>
                </c:pt>
                <c:pt idx="116">
                  <c:v>Taittinger</c:v>
                </c:pt>
                <c:pt idx="117">
                  <c:v>Nicolas Feu</c:v>
                </c:pt>
                <c:pt idx="118">
                  <c:v>Dom Perigno</c:v>
                </c:pt>
                <c:pt idx="119">
                  <c:v>Canard Duch</c:v>
                </c:pt>
                <c:pt idx="120">
                  <c:v>Nicolas</c:v>
                </c:pt>
                <c:pt idx="121">
                  <c:v>Nicolas</c:v>
                </c:pt>
                <c:pt idx="122">
                  <c:v>Malard</c:v>
                </c:pt>
                <c:pt idx="123">
                  <c:v>Perrier Jou</c:v>
                </c:pt>
                <c:pt idx="124">
                  <c:v>Ruinart</c:v>
                </c:pt>
                <c:pt idx="125">
                  <c:v>Dom Perigno</c:v>
                </c:pt>
                <c:pt idx="126">
                  <c:v>Canard Duch</c:v>
                </c:pt>
                <c:pt idx="127">
                  <c:v>Dom Perigno</c:v>
                </c:pt>
                <c:pt idx="128">
                  <c:v>Laurent Per</c:v>
                </c:pt>
                <c:pt idx="129">
                  <c:v>Demoiselle</c:v>
                </c:pt>
                <c:pt idx="130">
                  <c:v>Taittinger</c:v>
                </c:pt>
                <c:pt idx="131">
                  <c:v>De Venoge</c:v>
                </c:pt>
                <c:pt idx="132">
                  <c:v>Roederer</c:v>
                </c:pt>
                <c:pt idx="133">
                  <c:v>Laurent Per</c:v>
                </c:pt>
                <c:pt idx="134">
                  <c:v>Nicolas</c:v>
                </c:pt>
                <c:pt idx="135">
                  <c:v>All Others</c:v>
                </c:pt>
                <c:pt idx="136">
                  <c:v>Canard Duch</c:v>
                </c:pt>
                <c:pt idx="137">
                  <c:v>Bollinger</c:v>
                </c:pt>
                <c:pt idx="138">
                  <c:v>Pommery</c:v>
                </c:pt>
                <c:pt idx="139">
                  <c:v>Nicolas</c:v>
                </c:pt>
                <c:pt idx="140">
                  <c:v>Nicolas</c:v>
                </c:pt>
                <c:pt idx="141">
                  <c:v>Laurent Per</c:v>
                </c:pt>
                <c:pt idx="142">
                  <c:v>Cru La Maqu</c:v>
                </c:pt>
                <c:pt idx="143">
                  <c:v>All Others</c:v>
                </c:pt>
                <c:pt idx="144">
                  <c:v>Contarini</c:v>
                </c:pt>
                <c:pt idx="145">
                  <c:v>All Others</c:v>
                </c:pt>
                <c:pt idx="146">
                  <c:v>Veuve Clicq</c:v>
                </c:pt>
                <c:pt idx="147">
                  <c:v>Roederer</c:v>
                </c:pt>
                <c:pt idx="148">
                  <c:v>Ruinart</c:v>
                </c:pt>
                <c:pt idx="149">
                  <c:v>All Others</c:v>
                </c:pt>
                <c:pt idx="150">
                  <c:v>Kriter</c:v>
                </c:pt>
                <c:pt idx="151">
                  <c:v>Mure</c:v>
                </c:pt>
                <c:pt idx="152">
                  <c:v>Pommery</c:v>
                </c:pt>
                <c:pt idx="153">
                  <c:v>All Others</c:v>
                </c:pt>
                <c:pt idx="154">
                  <c:v>Deutz</c:v>
                </c:pt>
                <c:pt idx="155">
                  <c:v>All Others</c:v>
                </c:pt>
                <c:pt idx="156">
                  <c:v>Moët &amp; Chan</c:v>
                </c:pt>
                <c:pt idx="157">
                  <c:v>Nicolas</c:v>
                </c:pt>
                <c:pt idx="158">
                  <c:v>All Others</c:v>
                </c:pt>
                <c:pt idx="159">
                  <c:v>Roederer</c:v>
                </c:pt>
                <c:pt idx="160">
                  <c:v>All Others</c:v>
                </c:pt>
                <c:pt idx="161">
                  <c:v>Ruinart</c:v>
                </c:pt>
                <c:pt idx="162">
                  <c:v>Nicolas</c:v>
                </c:pt>
                <c:pt idx="163">
                  <c:v>All Others</c:v>
                </c:pt>
                <c:pt idx="164">
                  <c:v>Pommery</c:v>
                </c:pt>
                <c:pt idx="165">
                  <c:v>All Others</c:v>
                </c:pt>
                <c:pt idx="166">
                  <c:v>Roederer</c:v>
                </c:pt>
                <c:pt idx="167">
                  <c:v>All Others</c:v>
                </c:pt>
                <c:pt idx="168">
                  <c:v>Besserat De</c:v>
                </c:pt>
                <c:pt idx="169">
                  <c:v>Nicolas</c:v>
                </c:pt>
                <c:pt idx="170">
                  <c:v>All Others</c:v>
                </c:pt>
                <c:pt idx="171">
                  <c:v>All Others</c:v>
                </c:pt>
                <c:pt idx="172">
                  <c:v>Ruinart</c:v>
                </c:pt>
                <c:pt idx="173">
                  <c:v>Lanson</c:v>
                </c:pt>
                <c:pt idx="174">
                  <c:v>All Others</c:v>
                </c:pt>
                <c:pt idx="175">
                  <c:v>Canard Duch</c:v>
                </c:pt>
                <c:pt idx="176">
                  <c:v>Ruinart</c:v>
                </c:pt>
                <c:pt idx="177">
                  <c:v>Pommery</c:v>
                </c:pt>
                <c:pt idx="178">
                  <c:v>All Others</c:v>
                </c:pt>
                <c:pt idx="179">
                  <c:v>Krug</c:v>
                </c:pt>
                <c:pt idx="180">
                  <c:v>All Others</c:v>
                </c:pt>
                <c:pt idx="181">
                  <c:v>Taittinger</c:v>
                </c:pt>
                <c:pt idx="182">
                  <c:v>Nicolas</c:v>
                </c:pt>
                <c:pt idx="183">
                  <c:v>Deutz</c:v>
                </c:pt>
                <c:pt idx="184">
                  <c:v>Laurent Per</c:v>
                </c:pt>
                <c:pt idx="185">
                  <c:v>Taittinger</c:v>
                </c:pt>
                <c:pt idx="186">
                  <c:v>Laurent Per</c:v>
                </c:pt>
                <c:pt idx="187">
                  <c:v>Deutz</c:v>
                </c:pt>
                <c:pt idx="188">
                  <c:v>Piper Heids</c:v>
                </c:pt>
                <c:pt idx="189">
                  <c:v>All Others</c:v>
                </c:pt>
                <c:pt idx="190">
                  <c:v>Louis Marti</c:v>
                </c:pt>
                <c:pt idx="191">
                  <c:v>Nicolas</c:v>
                </c:pt>
                <c:pt idx="192">
                  <c:v>Pommery</c:v>
                </c:pt>
                <c:pt idx="193">
                  <c:v>Pommery</c:v>
                </c:pt>
                <c:pt idx="194">
                  <c:v>Nicolas</c:v>
                </c:pt>
                <c:pt idx="195">
                  <c:v>Laurent Per</c:v>
                </c:pt>
                <c:pt idx="196">
                  <c:v>Vesselle</c:v>
                </c:pt>
                <c:pt idx="197">
                  <c:v>Moët &amp; Chan</c:v>
                </c:pt>
                <c:pt idx="198">
                  <c:v>Contarini</c:v>
                </c:pt>
                <c:pt idx="199">
                  <c:v>Vranken</c:v>
                </c:pt>
                <c:pt idx="200">
                  <c:v>Lanson</c:v>
                </c:pt>
                <c:pt idx="201">
                  <c:v>Besserat De</c:v>
                </c:pt>
                <c:pt idx="202">
                  <c:v>De Venoge</c:v>
                </c:pt>
                <c:pt idx="203">
                  <c:v>Ruinart</c:v>
                </c:pt>
                <c:pt idx="204">
                  <c:v>Ayala</c:v>
                </c:pt>
                <c:pt idx="205">
                  <c:v>Dom Perigno</c:v>
                </c:pt>
                <c:pt idx="206">
                  <c:v>Canard Duch</c:v>
                </c:pt>
                <c:pt idx="207">
                  <c:v>Perrier Jou</c:v>
                </c:pt>
                <c:pt idx="208">
                  <c:v>All Others</c:v>
                </c:pt>
                <c:pt idx="209">
                  <c:v>Delamotte</c:v>
                </c:pt>
                <c:pt idx="210">
                  <c:v>Taittinger</c:v>
                </c:pt>
                <c:pt idx="211">
                  <c:v>Bollinger</c:v>
                </c:pt>
                <c:pt idx="212">
                  <c:v>All Others</c:v>
                </c:pt>
                <c:pt idx="213">
                  <c:v>Mure</c:v>
                </c:pt>
                <c:pt idx="214">
                  <c:v>All Others</c:v>
                </c:pt>
                <c:pt idx="215">
                  <c:v>Roederer</c:v>
                </c:pt>
                <c:pt idx="216">
                  <c:v>All Others</c:v>
                </c:pt>
                <c:pt idx="217">
                  <c:v>Perrier Jou</c:v>
                </c:pt>
                <c:pt idx="218">
                  <c:v>Piper Heids</c:v>
                </c:pt>
                <c:pt idx="219">
                  <c:v>Roederer</c:v>
                </c:pt>
                <c:pt idx="220">
                  <c:v>Delamotte</c:v>
                </c:pt>
                <c:pt idx="221">
                  <c:v>Henriot</c:v>
                </c:pt>
                <c:pt idx="222">
                  <c:v>Bollinger</c:v>
                </c:pt>
                <c:pt idx="223">
                  <c:v>Nicolas</c:v>
                </c:pt>
                <c:pt idx="224">
                  <c:v>Krug</c:v>
                </c:pt>
                <c:pt idx="225">
                  <c:v>All Others</c:v>
                </c:pt>
                <c:pt idx="226">
                  <c:v>De Venoge</c:v>
                </c:pt>
                <c:pt idx="227">
                  <c:v>Canard Duch</c:v>
                </c:pt>
                <c:pt idx="228">
                  <c:v>Vesselle</c:v>
                </c:pt>
                <c:pt idx="229">
                  <c:v>All Others</c:v>
                </c:pt>
                <c:pt idx="230">
                  <c:v>All Others</c:v>
                </c:pt>
                <c:pt idx="231">
                  <c:v>Nicolas Feu</c:v>
                </c:pt>
                <c:pt idx="232">
                  <c:v>Malard</c:v>
                </c:pt>
                <c:pt idx="233">
                  <c:v>Demoiselle</c:v>
                </c:pt>
                <c:pt idx="234">
                  <c:v>Delamotte</c:v>
                </c:pt>
                <c:pt idx="235">
                  <c:v>De Venoge</c:v>
                </c:pt>
                <c:pt idx="236">
                  <c:v>Deutz</c:v>
                </c:pt>
                <c:pt idx="237">
                  <c:v>Roederer</c:v>
                </c:pt>
                <c:pt idx="238">
                  <c:v>Piper Heids</c:v>
                </c:pt>
                <c:pt idx="239">
                  <c:v>Veuve Clicq</c:v>
                </c:pt>
                <c:pt idx="240">
                  <c:v>Krug</c:v>
                </c:pt>
                <c:pt idx="241">
                  <c:v>Nicolas</c:v>
                </c:pt>
                <c:pt idx="242">
                  <c:v>Dom Perigno</c:v>
                </c:pt>
                <c:pt idx="243">
                  <c:v>All Others</c:v>
                </c:pt>
                <c:pt idx="244">
                  <c:v>Henriot</c:v>
                </c:pt>
                <c:pt idx="245">
                  <c:v>Deutz</c:v>
                </c:pt>
                <c:pt idx="246">
                  <c:v>All Others</c:v>
                </c:pt>
                <c:pt idx="247">
                  <c:v>Moët &amp; Chan</c:v>
                </c:pt>
                <c:pt idx="248">
                  <c:v>Deutz</c:v>
                </c:pt>
                <c:pt idx="249">
                  <c:v>All Others</c:v>
                </c:pt>
                <c:pt idx="250">
                  <c:v>Nicolas</c:v>
                </c:pt>
                <c:pt idx="251">
                  <c:v>All Others</c:v>
                </c:pt>
                <c:pt idx="252">
                  <c:v>Bouvet-Ladu</c:v>
                </c:pt>
                <c:pt idx="253">
                  <c:v>De Venoge</c:v>
                </c:pt>
                <c:pt idx="254">
                  <c:v>All Others</c:v>
                </c:pt>
                <c:pt idx="255">
                  <c:v>All Others</c:v>
                </c:pt>
                <c:pt idx="256">
                  <c:v>Moët &amp; Chan</c:v>
                </c:pt>
                <c:pt idx="257">
                  <c:v>Roederer</c:v>
                </c:pt>
                <c:pt idx="258">
                  <c:v>Veuve Clicq</c:v>
                </c:pt>
                <c:pt idx="259">
                  <c:v>Heidsieck &amp;</c:v>
                </c:pt>
                <c:pt idx="260">
                  <c:v>Moët &amp; Chan</c:v>
                </c:pt>
                <c:pt idx="261">
                  <c:v>Krug</c:v>
                </c:pt>
                <c:pt idx="262">
                  <c:v>Perrier Jou</c:v>
                </c:pt>
                <c:pt idx="263">
                  <c:v>Moët &amp; Chan</c:v>
                </c:pt>
                <c:pt idx="264">
                  <c:v>All Others</c:v>
                </c:pt>
                <c:pt idx="265">
                  <c:v>Ruinart</c:v>
                </c:pt>
                <c:pt idx="266">
                  <c:v>Deutz</c:v>
                </c:pt>
                <c:pt idx="267">
                  <c:v>Perrier Jou</c:v>
                </c:pt>
                <c:pt idx="268">
                  <c:v>Ayala</c:v>
                </c:pt>
                <c:pt idx="269">
                  <c:v>All Others</c:v>
                </c:pt>
                <c:pt idx="270">
                  <c:v>All Others</c:v>
                </c:pt>
                <c:pt idx="271">
                  <c:v>Laurent Per</c:v>
                </c:pt>
                <c:pt idx="272">
                  <c:v>All Others</c:v>
                </c:pt>
                <c:pt idx="273">
                  <c:v>Roederer</c:v>
                </c:pt>
                <c:pt idx="274">
                  <c:v>Celene</c:v>
                </c:pt>
                <c:pt idx="275">
                  <c:v>Veuve Clicq</c:v>
                </c:pt>
                <c:pt idx="276">
                  <c:v>Piper Heids</c:v>
                </c:pt>
                <c:pt idx="277">
                  <c:v>All Others</c:v>
                </c:pt>
                <c:pt idx="278">
                  <c:v>Nicolas Feu</c:v>
                </c:pt>
                <c:pt idx="279">
                  <c:v>Veuve Clicq</c:v>
                </c:pt>
                <c:pt idx="280">
                  <c:v>Celene</c:v>
                </c:pt>
                <c:pt idx="281">
                  <c:v>Taittinger</c:v>
                </c:pt>
                <c:pt idx="282">
                  <c:v>Laurent Per</c:v>
                </c:pt>
                <c:pt idx="283">
                  <c:v>Pommery</c:v>
                </c:pt>
                <c:pt idx="284">
                  <c:v>De Venoge</c:v>
                </c:pt>
                <c:pt idx="285">
                  <c:v>Ruinart</c:v>
                </c:pt>
                <c:pt idx="286">
                  <c:v>Bollinger</c:v>
                </c:pt>
                <c:pt idx="287">
                  <c:v>Piper Heids</c:v>
                </c:pt>
                <c:pt idx="288">
                  <c:v>Bouvet-Ladu</c:v>
                </c:pt>
                <c:pt idx="289">
                  <c:v>Henriot</c:v>
                </c:pt>
                <c:pt idx="290">
                  <c:v>All Others</c:v>
                </c:pt>
                <c:pt idx="291">
                  <c:v>Vesselle</c:v>
                </c:pt>
                <c:pt idx="292">
                  <c:v>Ruinart</c:v>
                </c:pt>
                <c:pt idx="293">
                  <c:v>Nicolas</c:v>
                </c:pt>
                <c:pt idx="294">
                  <c:v>Nicolas Feu</c:v>
                </c:pt>
                <c:pt idx="295">
                  <c:v>Bollinger</c:v>
                </c:pt>
                <c:pt idx="296">
                  <c:v>All Others</c:v>
                </c:pt>
                <c:pt idx="297">
                  <c:v>Nicolas</c:v>
                </c:pt>
                <c:pt idx="298">
                  <c:v>Ayala</c:v>
                </c:pt>
                <c:pt idx="299">
                  <c:v>De Bligny</c:v>
                </c:pt>
                <c:pt idx="300">
                  <c:v>Moët &amp; Chan</c:v>
                </c:pt>
                <c:pt idx="301">
                  <c:v>Canard Duch</c:v>
                </c:pt>
                <c:pt idx="302">
                  <c:v>Veuve Clicq</c:v>
                </c:pt>
                <c:pt idx="303">
                  <c:v>All Others</c:v>
                </c:pt>
                <c:pt idx="304">
                  <c:v>Veuve Clicq</c:v>
                </c:pt>
                <c:pt idx="305">
                  <c:v>De Venoge</c:v>
                </c:pt>
                <c:pt idx="306">
                  <c:v>Laurent Per</c:v>
                </c:pt>
                <c:pt idx="307">
                  <c:v>De Venoge</c:v>
                </c:pt>
                <c:pt idx="308">
                  <c:v>Bollinger</c:v>
                </c:pt>
                <c:pt idx="309">
                  <c:v>Roederer</c:v>
                </c:pt>
                <c:pt idx="310">
                  <c:v>Ruinart</c:v>
                </c:pt>
                <c:pt idx="311">
                  <c:v>Canard Duch</c:v>
                </c:pt>
                <c:pt idx="312">
                  <c:v>All Others</c:v>
                </c:pt>
                <c:pt idx="313">
                  <c:v>All Others</c:v>
                </c:pt>
                <c:pt idx="314">
                  <c:v>Bollinger</c:v>
                </c:pt>
                <c:pt idx="315">
                  <c:v>Bollinger</c:v>
                </c:pt>
                <c:pt idx="316">
                  <c:v>De Bligny</c:v>
                </c:pt>
                <c:pt idx="317">
                  <c:v>Vranken</c:v>
                </c:pt>
                <c:pt idx="318">
                  <c:v>De Venoge</c:v>
                </c:pt>
                <c:pt idx="319">
                  <c:v>Deutz</c:v>
                </c:pt>
                <c:pt idx="320">
                  <c:v>Canard Duch</c:v>
                </c:pt>
                <c:pt idx="321">
                  <c:v>Bouvet-Ladu</c:v>
                </c:pt>
                <c:pt idx="322">
                  <c:v>Pommery</c:v>
                </c:pt>
                <c:pt idx="323">
                  <c:v>Roederer</c:v>
                </c:pt>
                <c:pt idx="324">
                  <c:v>Veuve Clicq</c:v>
                </c:pt>
                <c:pt idx="325">
                  <c:v>Ruinart</c:v>
                </c:pt>
                <c:pt idx="326">
                  <c:v>Roederer</c:v>
                </c:pt>
                <c:pt idx="327">
                  <c:v>Roederer</c:v>
                </c:pt>
                <c:pt idx="328">
                  <c:v>Demoiselle</c:v>
                </c:pt>
                <c:pt idx="329">
                  <c:v>Pommery</c:v>
                </c:pt>
                <c:pt idx="330">
                  <c:v>Bollinger</c:v>
                </c:pt>
                <c:pt idx="331">
                  <c:v>Vesselle</c:v>
                </c:pt>
                <c:pt idx="332">
                  <c:v>All Others</c:v>
                </c:pt>
                <c:pt idx="333">
                  <c:v>Bouvet-Ladu</c:v>
                </c:pt>
                <c:pt idx="334">
                  <c:v>Besserat De</c:v>
                </c:pt>
                <c:pt idx="335">
                  <c:v>Jaillance</c:v>
                </c:pt>
                <c:pt idx="336">
                  <c:v>All Others</c:v>
                </c:pt>
                <c:pt idx="337">
                  <c:v>Laurent Per</c:v>
                </c:pt>
                <c:pt idx="338">
                  <c:v>All Others</c:v>
                </c:pt>
                <c:pt idx="339">
                  <c:v>Roederer</c:v>
                </c:pt>
                <c:pt idx="340">
                  <c:v>Roederer</c:v>
                </c:pt>
                <c:pt idx="341">
                  <c:v>Taittinger</c:v>
                </c:pt>
                <c:pt idx="342">
                  <c:v>Vranken</c:v>
                </c:pt>
                <c:pt idx="343">
                  <c:v>Moët &amp; Chan</c:v>
                </c:pt>
                <c:pt idx="344">
                  <c:v>Bottega</c:v>
                </c:pt>
                <c:pt idx="345">
                  <c:v>All Others</c:v>
                </c:pt>
                <c:pt idx="346">
                  <c:v>Besserat De</c:v>
                </c:pt>
                <c:pt idx="347">
                  <c:v>Moët &amp; Chan</c:v>
                </c:pt>
                <c:pt idx="348">
                  <c:v>Moët &amp; Chan</c:v>
                </c:pt>
                <c:pt idx="349">
                  <c:v>All Others</c:v>
                </c:pt>
                <c:pt idx="350">
                  <c:v>All Others</c:v>
                </c:pt>
                <c:pt idx="351">
                  <c:v>Laurent Per</c:v>
                </c:pt>
                <c:pt idx="352">
                  <c:v>All Others</c:v>
                </c:pt>
                <c:pt idx="353">
                  <c:v>Besserat De</c:v>
                </c:pt>
                <c:pt idx="354">
                  <c:v>All Others</c:v>
                </c:pt>
                <c:pt idx="355">
                  <c:v>Lanson</c:v>
                </c:pt>
                <c:pt idx="356">
                  <c:v>Roederer</c:v>
                </c:pt>
                <c:pt idx="357">
                  <c:v>Roederer</c:v>
                </c:pt>
                <c:pt idx="358">
                  <c:v>Malard</c:v>
                </c:pt>
                <c:pt idx="359">
                  <c:v>Piper Heids</c:v>
                </c:pt>
                <c:pt idx="360">
                  <c:v>Martel</c:v>
                </c:pt>
                <c:pt idx="361">
                  <c:v>Vesselle</c:v>
                </c:pt>
                <c:pt idx="362">
                  <c:v>All Others</c:v>
                </c:pt>
                <c:pt idx="363">
                  <c:v>All Others</c:v>
                </c:pt>
                <c:pt idx="364">
                  <c:v>All Others</c:v>
                </c:pt>
              </c:strCache>
            </c:strRef>
          </c:cat>
          <c:val>
            <c:numRef>
              <c:f>Sheet1!$B$2:$B$366</c:f>
              <c:numCache>
                <c:formatCode>General</c:formatCode>
                <c:ptCount val="365"/>
                <c:pt idx="0">
                  <c:v>1</c:v>
                </c:pt>
                <c:pt idx="1">
                  <c:v>1</c:v>
                </c:pt>
                <c:pt idx="2">
                  <c:v>0.99</c:v>
                </c:pt>
                <c:pt idx="3">
                  <c:v>0.78</c:v>
                </c:pt>
                <c:pt idx="4">
                  <c:v>1</c:v>
                </c:pt>
                <c:pt idx="5">
                  <c:v>0.96</c:v>
                </c:pt>
                <c:pt idx="6">
                  <c:v>0.71</c:v>
                </c:pt>
                <c:pt idx="7">
                  <c:v>0.98</c:v>
                </c:pt>
                <c:pt idx="8">
                  <c:v>0.92</c:v>
                </c:pt>
                <c:pt idx="9">
                  <c:v>0.99</c:v>
                </c:pt>
                <c:pt idx="10">
                  <c:v>0.73</c:v>
                </c:pt>
                <c:pt idx="11">
                  <c:v>0.94</c:v>
                </c:pt>
                <c:pt idx="12">
                  <c:v>0.91</c:v>
                </c:pt>
                <c:pt idx="13">
                  <c:v>0.99</c:v>
                </c:pt>
                <c:pt idx="14">
                  <c:v>0.97</c:v>
                </c:pt>
                <c:pt idx="15">
                  <c:v>0.78</c:v>
                </c:pt>
                <c:pt idx="16">
                  <c:v>0.86</c:v>
                </c:pt>
                <c:pt idx="17">
                  <c:v>0.88</c:v>
                </c:pt>
                <c:pt idx="18">
                  <c:v>0.45</c:v>
                </c:pt>
                <c:pt idx="19">
                  <c:v>0.8</c:v>
                </c:pt>
                <c:pt idx="20">
                  <c:v>0.66</c:v>
                </c:pt>
                <c:pt idx="21">
                  <c:v>0.78</c:v>
                </c:pt>
                <c:pt idx="22">
                  <c:v>0.7</c:v>
                </c:pt>
                <c:pt idx="23">
                  <c:v>0.87</c:v>
                </c:pt>
                <c:pt idx="24">
                  <c:v>0.83</c:v>
                </c:pt>
                <c:pt idx="25">
                  <c:v>0.81</c:v>
                </c:pt>
                <c:pt idx="26">
                  <c:v>0.75</c:v>
                </c:pt>
                <c:pt idx="27">
                  <c:v>0.36</c:v>
                </c:pt>
                <c:pt idx="28">
                  <c:v>0.91</c:v>
                </c:pt>
                <c:pt idx="29">
                  <c:v>0.67</c:v>
                </c:pt>
                <c:pt idx="30">
                  <c:v>0.68</c:v>
                </c:pt>
                <c:pt idx="31">
                  <c:v>0.75</c:v>
                </c:pt>
                <c:pt idx="32">
                  <c:v>0.68</c:v>
                </c:pt>
                <c:pt idx="33">
                  <c:v>0.9</c:v>
                </c:pt>
                <c:pt idx="34">
                  <c:v>0.72</c:v>
                </c:pt>
                <c:pt idx="35">
                  <c:v>0.77</c:v>
                </c:pt>
                <c:pt idx="36">
                  <c:v>0.63</c:v>
                </c:pt>
                <c:pt idx="37">
                  <c:v>0.82</c:v>
                </c:pt>
                <c:pt idx="38">
                  <c:v>0.36</c:v>
                </c:pt>
                <c:pt idx="39">
                  <c:v>0.56999999999999995</c:v>
                </c:pt>
                <c:pt idx="40">
                  <c:v>0.6</c:v>
                </c:pt>
                <c:pt idx="41">
                  <c:v>0.75</c:v>
                </c:pt>
                <c:pt idx="42">
                  <c:v>0.81</c:v>
                </c:pt>
                <c:pt idx="43">
                  <c:v>0.5</c:v>
                </c:pt>
                <c:pt idx="44">
                  <c:v>0.73</c:v>
                </c:pt>
                <c:pt idx="45">
                  <c:v>0.9</c:v>
                </c:pt>
                <c:pt idx="46">
                  <c:v>0.9</c:v>
                </c:pt>
                <c:pt idx="47">
                  <c:v>0.59</c:v>
                </c:pt>
                <c:pt idx="48">
                  <c:v>0.75</c:v>
                </c:pt>
                <c:pt idx="49">
                  <c:v>0.54</c:v>
                </c:pt>
                <c:pt idx="50">
                  <c:v>0.64</c:v>
                </c:pt>
                <c:pt idx="51">
                  <c:v>0.62</c:v>
                </c:pt>
                <c:pt idx="52">
                  <c:v>0.64</c:v>
                </c:pt>
                <c:pt idx="53">
                  <c:v>0.64</c:v>
                </c:pt>
                <c:pt idx="54">
                  <c:v>0.71</c:v>
                </c:pt>
                <c:pt idx="55">
                  <c:v>0.7</c:v>
                </c:pt>
                <c:pt idx="56">
                  <c:v>0.51</c:v>
                </c:pt>
                <c:pt idx="57">
                  <c:v>0.83</c:v>
                </c:pt>
                <c:pt idx="58">
                  <c:v>0.71</c:v>
                </c:pt>
                <c:pt idx="59">
                  <c:v>0.72</c:v>
                </c:pt>
                <c:pt idx="60">
                  <c:v>0.67</c:v>
                </c:pt>
                <c:pt idx="61">
                  <c:v>0.59</c:v>
                </c:pt>
                <c:pt idx="62">
                  <c:v>0.81</c:v>
                </c:pt>
                <c:pt idx="63">
                  <c:v>0.31</c:v>
                </c:pt>
                <c:pt idx="64">
                  <c:v>0.47</c:v>
                </c:pt>
                <c:pt idx="65">
                  <c:v>0.39</c:v>
                </c:pt>
                <c:pt idx="66">
                  <c:v>0.51</c:v>
                </c:pt>
                <c:pt idx="67">
                  <c:v>0.15</c:v>
                </c:pt>
                <c:pt idx="68">
                  <c:v>0.28000000000000003</c:v>
                </c:pt>
                <c:pt idx="69">
                  <c:v>0.59</c:v>
                </c:pt>
                <c:pt idx="70">
                  <c:v>0.44</c:v>
                </c:pt>
                <c:pt idx="71">
                  <c:v>0.56000000000000005</c:v>
                </c:pt>
                <c:pt idx="72">
                  <c:v>0.66</c:v>
                </c:pt>
                <c:pt idx="73">
                  <c:v>0.23</c:v>
                </c:pt>
                <c:pt idx="74">
                  <c:v>0.54</c:v>
                </c:pt>
                <c:pt idx="75">
                  <c:v>0.43</c:v>
                </c:pt>
                <c:pt idx="76">
                  <c:v>0.77</c:v>
                </c:pt>
                <c:pt idx="77">
                  <c:v>0.74</c:v>
                </c:pt>
                <c:pt idx="78">
                  <c:v>0.66</c:v>
                </c:pt>
                <c:pt idx="79">
                  <c:v>0.64</c:v>
                </c:pt>
                <c:pt idx="80">
                  <c:v>0.43</c:v>
                </c:pt>
                <c:pt idx="81">
                  <c:v>0.74</c:v>
                </c:pt>
                <c:pt idx="82">
                  <c:v>0.61</c:v>
                </c:pt>
                <c:pt idx="83">
                  <c:v>0.44</c:v>
                </c:pt>
                <c:pt idx="84">
                  <c:v>0.56000000000000005</c:v>
                </c:pt>
                <c:pt idx="85">
                  <c:v>0.27</c:v>
                </c:pt>
                <c:pt idx="86">
                  <c:v>0.45</c:v>
                </c:pt>
                <c:pt idx="87">
                  <c:v>0.28000000000000003</c:v>
                </c:pt>
                <c:pt idx="88">
                  <c:v>0.53</c:v>
                </c:pt>
                <c:pt idx="89">
                  <c:v>0.3</c:v>
                </c:pt>
                <c:pt idx="90">
                  <c:v>0.36</c:v>
                </c:pt>
                <c:pt idx="91">
                  <c:v>0.51</c:v>
                </c:pt>
                <c:pt idx="92">
                  <c:v>0.61</c:v>
                </c:pt>
                <c:pt idx="93">
                  <c:v>0.49</c:v>
                </c:pt>
                <c:pt idx="94">
                  <c:v>0.13</c:v>
                </c:pt>
                <c:pt idx="95">
                  <c:v>0.62</c:v>
                </c:pt>
                <c:pt idx="96">
                  <c:v>0.19</c:v>
                </c:pt>
                <c:pt idx="97">
                  <c:v>0.15</c:v>
                </c:pt>
                <c:pt idx="98">
                  <c:v>0.19</c:v>
                </c:pt>
                <c:pt idx="99">
                  <c:v>0.71</c:v>
                </c:pt>
                <c:pt idx="100">
                  <c:v>0.28000000000000003</c:v>
                </c:pt>
                <c:pt idx="101">
                  <c:v>0.32</c:v>
                </c:pt>
                <c:pt idx="102">
                  <c:v>0.36</c:v>
                </c:pt>
                <c:pt idx="103">
                  <c:v>0.21</c:v>
                </c:pt>
                <c:pt idx="104">
                  <c:v>0.28000000000000003</c:v>
                </c:pt>
                <c:pt idx="105">
                  <c:v>0.19</c:v>
                </c:pt>
                <c:pt idx="106">
                  <c:v>0.23</c:v>
                </c:pt>
                <c:pt idx="107">
                  <c:v>0.54</c:v>
                </c:pt>
                <c:pt idx="108">
                  <c:v>0.41</c:v>
                </c:pt>
                <c:pt idx="109">
                  <c:v>0.2</c:v>
                </c:pt>
                <c:pt idx="110">
                  <c:v>0.47</c:v>
                </c:pt>
                <c:pt idx="111">
                  <c:v>0.05</c:v>
                </c:pt>
                <c:pt idx="112">
                  <c:v>0.42</c:v>
                </c:pt>
                <c:pt idx="113">
                  <c:v>0.4</c:v>
                </c:pt>
                <c:pt idx="114">
                  <c:v>0.25</c:v>
                </c:pt>
                <c:pt idx="115">
                  <c:v>0.19</c:v>
                </c:pt>
                <c:pt idx="116">
                  <c:v>0.18</c:v>
                </c:pt>
                <c:pt idx="117">
                  <c:v>0.43</c:v>
                </c:pt>
                <c:pt idx="118">
                  <c:v>0.21</c:v>
                </c:pt>
                <c:pt idx="119">
                  <c:v>0.36</c:v>
                </c:pt>
                <c:pt idx="120">
                  <c:v>0.3</c:v>
                </c:pt>
                <c:pt idx="121">
                  <c:v>0.28000000000000003</c:v>
                </c:pt>
                <c:pt idx="122">
                  <c:v>0.42</c:v>
                </c:pt>
                <c:pt idx="123">
                  <c:v>0.26</c:v>
                </c:pt>
                <c:pt idx="124">
                  <c:v>0.26</c:v>
                </c:pt>
                <c:pt idx="125">
                  <c:v>0.17</c:v>
                </c:pt>
                <c:pt idx="126">
                  <c:v>0.32</c:v>
                </c:pt>
                <c:pt idx="127">
                  <c:v>0.19</c:v>
                </c:pt>
                <c:pt idx="128">
                  <c:v>0.23</c:v>
                </c:pt>
                <c:pt idx="129">
                  <c:v>0.28000000000000003</c:v>
                </c:pt>
                <c:pt idx="130">
                  <c:v>0.19</c:v>
                </c:pt>
                <c:pt idx="131">
                  <c:v>0.39</c:v>
                </c:pt>
                <c:pt idx="132">
                  <c:v>0.33</c:v>
                </c:pt>
                <c:pt idx="133">
                  <c:v>0.19</c:v>
                </c:pt>
                <c:pt idx="134">
                  <c:v>0.42</c:v>
                </c:pt>
                <c:pt idx="135">
                  <c:v>0.43</c:v>
                </c:pt>
                <c:pt idx="136">
                  <c:v>0.34</c:v>
                </c:pt>
                <c:pt idx="137">
                  <c:v>0.19</c:v>
                </c:pt>
                <c:pt idx="138">
                  <c:v>0.3</c:v>
                </c:pt>
                <c:pt idx="139">
                  <c:v>0.33</c:v>
                </c:pt>
                <c:pt idx="140">
                  <c:v>0.35</c:v>
                </c:pt>
                <c:pt idx="141">
                  <c:v>0.23</c:v>
                </c:pt>
                <c:pt idx="142">
                  <c:v>0.37</c:v>
                </c:pt>
                <c:pt idx="143">
                  <c:v>0.36</c:v>
                </c:pt>
                <c:pt idx="144">
                  <c:v>0.85</c:v>
                </c:pt>
                <c:pt idx="145">
                  <c:v>0.34</c:v>
                </c:pt>
                <c:pt idx="146">
                  <c:v>0.31</c:v>
                </c:pt>
                <c:pt idx="147">
                  <c:v>0.42</c:v>
                </c:pt>
                <c:pt idx="148">
                  <c:v>0.15</c:v>
                </c:pt>
                <c:pt idx="149">
                  <c:v>0.46</c:v>
                </c:pt>
                <c:pt idx="150">
                  <c:v>0.47</c:v>
                </c:pt>
                <c:pt idx="151">
                  <c:v>0.04</c:v>
                </c:pt>
                <c:pt idx="152">
                  <c:v>0.28000000000000003</c:v>
                </c:pt>
                <c:pt idx="153">
                  <c:v>0.04</c:v>
                </c:pt>
                <c:pt idx="154">
                  <c:v>0.11</c:v>
                </c:pt>
                <c:pt idx="155">
                  <c:v>0.47</c:v>
                </c:pt>
                <c:pt idx="156">
                  <c:v>0.25</c:v>
                </c:pt>
                <c:pt idx="157">
                  <c:v>0.2</c:v>
                </c:pt>
                <c:pt idx="158">
                  <c:v>0.4</c:v>
                </c:pt>
                <c:pt idx="159">
                  <c:v>0.27</c:v>
                </c:pt>
                <c:pt idx="160">
                  <c:v>0.35</c:v>
                </c:pt>
                <c:pt idx="161">
                  <c:v>0.11</c:v>
                </c:pt>
                <c:pt idx="162">
                  <c:v>0.19</c:v>
                </c:pt>
                <c:pt idx="163">
                  <c:v>0.05</c:v>
                </c:pt>
                <c:pt idx="164">
                  <c:v>0.28000000000000003</c:v>
                </c:pt>
                <c:pt idx="165">
                  <c:v>0.24</c:v>
                </c:pt>
                <c:pt idx="166">
                  <c:v>0.08</c:v>
                </c:pt>
                <c:pt idx="167">
                  <c:v>0.05</c:v>
                </c:pt>
                <c:pt idx="168">
                  <c:v>0.27</c:v>
                </c:pt>
                <c:pt idx="169">
                  <c:v>0.39</c:v>
                </c:pt>
                <c:pt idx="170">
                  <c:v>0.28000000000000003</c:v>
                </c:pt>
                <c:pt idx="171">
                  <c:v>0.39</c:v>
                </c:pt>
                <c:pt idx="172">
                  <c:v>0.1</c:v>
                </c:pt>
                <c:pt idx="173">
                  <c:v>0.2</c:v>
                </c:pt>
                <c:pt idx="174">
                  <c:v>0.3</c:v>
                </c:pt>
                <c:pt idx="175">
                  <c:v>0.27</c:v>
                </c:pt>
                <c:pt idx="176">
                  <c:v>0.09</c:v>
                </c:pt>
                <c:pt idx="177">
                  <c:v>0.11</c:v>
                </c:pt>
                <c:pt idx="178">
                  <c:v>0.19</c:v>
                </c:pt>
                <c:pt idx="179">
                  <c:v>0.11</c:v>
                </c:pt>
                <c:pt idx="180">
                  <c:v>0.27</c:v>
                </c:pt>
                <c:pt idx="181">
                  <c:v>0.15</c:v>
                </c:pt>
                <c:pt idx="182">
                  <c:v>0.13</c:v>
                </c:pt>
                <c:pt idx="183">
                  <c:v>0.18</c:v>
                </c:pt>
                <c:pt idx="184">
                  <c:v>0.11</c:v>
                </c:pt>
                <c:pt idx="185">
                  <c:v>0.03</c:v>
                </c:pt>
                <c:pt idx="186">
                  <c:v>0.17</c:v>
                </c:pt>
                <c:pt idx="187">
                  <c:v>0.12</c:v>
                </c:pt>
                <c:pt idx="188">
                  <c:v>0.17</c:v>
                </c:pt>
                <c:pt idx="189">
                  <c:v>0.32</c:v>
                </c:pt>
                <c:pt idx="190">
                  <c:v>0.22</c:v>
                </c:pt>
                <c:pt idx="191">
                  <c:v>0.16</c:v>
                </c:pt>
                <c:pt idx="192">
                  <c:v>0.23</c:v>
                </c:pt>
                <c:pt idx="193">
                  <c:v>0.16</c:v>
                </c:pt>
                <c:pt idx="194">
                  <c:v>0.37</c:v>
                </c:pt>
                <c:pt idx="195">
                  <c:v>0.22</c:v>
                </c:pt>
                <c:pt idx="196">
                  <c:v>0.2</c:v>
                </c:pt>
                <c:pt idx="197">
                  <c:v>0.22</c:v>
                </c:pt>
                <c:pt idx="198">
                  <c:v>0.19</c:v>
                </c:pt>
                <c:pt idx="199">
                  <c:v>0.19</c:v>
                </c:pt>
                <c:pt idx="200">
                  <c:v>0.11</c:v>
                </c:pt>
                <c:pt idx="201">
                  <c:v>0.18</c:v>
                </c:pt>
                <c:pt idx="202">
                  <c:v>0.19</c:v>
                </c:pt>
                <c:pt idx="203">
                  <c:v>0.09</c:v>
                </c:pt>
                <c:pt idx="204">
                  <c:v>0.12</c:v>
                </c:pt>
                <c:pt idx="205">
                  <c:v>0.11</c:v>
                </c:pt>
                <c:pt idx="206">
                  <c:v>0.24</c:v>
                </c:pt>
                <c:pt idx="207">
                  <c:v>0.19</c:v>
                </c:pt>
                <c:pt idx="208">
                  <c:v>0.04</c:v>
                </c:pt>
                <c:pt idx="209">
                  <c:v>0.08</c:v>
                </c:pt>
                <c:pt idx="210">
                  <c:v>0.15</c:v>
                </c:pt>
                <c:pt idx="211">
                  <c:v>0.06</c:v>
                </c:pt>
                <c:pt idx="212">
                  <c:v>0.15</c:v>
                </c:pt>
                <c:pt idx="213">
                  <c:v>0.04</c:v>
                </c:pt>
                <c:pt idx="214">
                  <c:v>0.05</c:v>
                </c:pt>
                <c:pt idx="215">
                  <c:v>0.06</c:v>
                </c:pt>
                <c:pt idx="216">
                  <c:v>0.31</c:v>
                </c:pt>
                <c:pt idx="217">
                  <c:v>0.1</c:v>
                </c:pt>
                <c:pt idx="218">
                  <c:v>0.09</c:v>
                </c:pt>
                <c:pt idx="219">
                  <c:v>0.06</c:v>
                </c:pt>
                <c:pt idx="220">
                  <c:v>0.19</c:v>
                </c:pt>
                <c:pt idx="221">
                  <c:v>0.12</c:v>
                </c:pt>
                <c:pt idx="222">
                  <c:v>0.15</c:v>
                </c:pt>
                <c:pt idx="223">
                  <c:v>0.18</c:v>
                </c:pt>
                <c:pt idx="224">
                  <c:v>0.15</c:v>
                </c:pt>
                <c:pt idx="225">
                  <c:v>0.19</c:v>
                </c:pt>
                <c:pt idx="226">
                  <c:v>0.17</c:v>
                </c:pt>
                <c:pt idx="227">
                  <c:v>0.13</c:v>
                </c:pt>
                <c:pt idx="228">
                  <c:v>0.22</c:v>
                </c:pt>
                <c:pt idx="229">
                  <c:v>0.19</c:v>
                </c:pt>
                <c:pt idx="230">
                  <c:v>0.02</c:v>
                </c:pt>
                <c:pt idx="231">
                  <c:v>0.11</c:v>
                </c:pt>
                <c:pt idx="232">
                  <c:v>0.09</c:v>
                </c:pt>
                <c:pt idx="233">
                  <c:v>0.2</c:v>
                </c:pt>
                <c:pt idx="234">
                  <c:v>0.14000000000000001</c:v>
                </c:pt>
                <c:pt idx="235">
                  <c:v>0.13</c:v>
                </c:pt>
                <c:pt idx="236">
                  <c:v>0.19</c:v>
                </c:pt>
                <c:pt idx="237">
                  <c:v>0.08</c:v>
                </c:pt>
                <c:pt idx="238">
                  <c:v>0.03</c:v>
                </c:pt>
                <c:pt idx="239">
                  <c:v>0.19</c:v>
                </c:pt>
                <c:pt idx="240">
                  <c:v>0.1</c:v>
                </c:pt>
                <c:pt idx="241">
                  <c:v>0.1</c:v>
                </c:pt>
                <c:pt idx="242">
                  <c:v>0.11</c:v>
                </c:pt>
                <c:pt idx="243">
                  <c:v>0.17</c:v>
                </c:pt>
                <c:pt idx="244">
                  <c:v>0.11</c:v>
                </c:pt>
                <c:pt idx="245">
                  <c:v>0.19</c:v>
                </c:pt>
                <c:pt idx="246">
                  <c:v>0.13</c:v>
                </c:pt>
                <c:pt idx="247">
                  <c:v>0.13</c:v>
                </c:pt>
                <c:pt idx="248">
                  <c:v>0.12</c:v>
                </c:pt>
                <c:pt idx="249">
                  <c:v>0.17</c:v>
                </c:pt>
                <c:pt idx="250">
                  <c:v>0.11</c:v>
                </c:pt>
                <c:pt idx="251">
                  <c:v>0.09</c:v>
                </c:pt>
                <c:pt idx="252">
                  <c:v>0.11</c:v>
                </c:pt>
                <c:pt idx="253">
                  <c:v>0.15</c:v>
                </c:pt>
                <c:pt idx="254">
                  <c:v>0.05</c:v>
                </c:pt>
                <c:pt idx="255">
                  <c:v>0.22</c:v>
                </c:pt>
                <c:pt idx="256">
                  <c:v>0.06</c:v>
                </c:pt>
                <c:pt idx="257">
                  <c:v>0.02</c:v>
                </c:pt>
                <c:pt idx="258">
                  <c:v>0.05</c:v>
                </c:pt>
                <c:pt idx="259">
                  <c:v>0.09</c:v>
                </c:pt>
                <c:pt idx="260">
                  <c:v>0.05</c:v>
                </c:pt>
                <c:pt idx="261">
                  <c:v>0.13</c:v>
                </c:pt>
                <c:pt idx="262">
                  <c:v>0.03</c:v>
                </c:pt>
                <c:pt idx="263">
                  <c:v>0.17</c:v>
                </c:pt>
                <c:pt idx="264">
                  <c:v>0.04</c:v>
                </c:pt>
                <c:pt idx="265">
                  <c:v>7.0000000000000007E-2</c:v>
                </c:pt>
                <c:pt idx="266">
                  <c:v>0.06</c:v>
                </c:pt>
                <c:pt idx="267">
                  <c:v>0.19</c:v>
                </c:pt>
                <c:pt idx="268">
                  <c:v>0.19</c:v>
                </c:pt>
                <c:pt idx="269">
                  <c:v>0.06</c:v>
                </c:pt>
                <c:pt idx="270">
                  <c:v>0.19</c:v>
                </c:pt>
                <c:pt idx="271">
                  <c:v>0.02</c:v>
                </c:pt>
                <c:pt idx="272">
                  <c:v>0.19</c:v>
                </c:pt>
                <c:pt idx="273">
                  <c:v>0.04</c:v>
                </c:pt>
                <c:pt idx="274">
                  <c:v>0.11</c:v>
                </c:pt>
                <c:pt idx="275">
                  <c:v>0.19</c:v>
                </c:pt>
                <c:pt idx="276">
                  <c:v>0.19</c:v>
                </c:pt>
                <c:pt idx="277">
                  <c:v>0.08</c:v>
                </c:pt>
                <c:pt idx="278">
                  <c:v>0.03</c:v>
                </c:pt>
                <c:pt idx="279">
                  <c:v>0.04</c:v>
                </c:pt>
                <c:pt idx="280">
                  <c:v>0.05</c:v>
                </c:pt>
                <c:pt idx="281">
                  <c:v>0.08</c:v>
                </c:pt>
                <c:pt idx="282">
                  <c:v>0.01</c:v>
                </c:pt>
                <c:pt idx="283">
                  <c:v>7.0000000000000007E-2</c:v>
                </c:pt>
                <c:pt idx="284">
                  <c:v>0.13</c:v>
                </c:pt>
                <c:pt idx="285">
                  <c:v>0.02</c:v>
                </c:pt>
                <c:pt idx="286">
                  <c:v>0.03</c:v>
                </c:pt>
                <c:pt idx="287">
                  <c:v>0.19</c:v>
                </c:pt>
                <c:pt idx="288">
                  <c:v>0.05</c:v>
                </c:pt>
                <c:pt idx="289">
                  <c:v>0.17</c:v>
                </c:pt>
                <c:pt idx="290">
                  <c:v>0.05</c:v>
                </c:pt>
                <c:pt idx="291">
                  <c:v>0.19</c:v>
                </c:pt>
                <c:pt idx="292">
                  <c:v>0.02</c:v>
                </c:pt>
                <c:pt idx="293">
                  <c:v>0.03</c:v>
                </c:pt>
                <c:pt idx="294">
                  <c:v>0.01</c:v>
                </c:pt>
                <c:pt idx="295">
                  <c:v>0.11</c:v>
                </c:pt>
                <c:pt idx="296">
                  <c:v>0.11</c:v>
                </c:pt>
                <c:pt idx="297">
                  <c:v>0.08</c:v>
                </c:pt>
                <c:pt idx="298">
                  <c:v>0.11</c:v>
                </c:pt>
                <c:pt idx="299">
                  <c:v>0.15</c:v>
                </c:pt>
                <c:pt idx="300">
                  <c:v>0.19</c:v>
                </c:pt>
                <c:pt idx="301">
                  <c:v>0.12</c:v>
                </c:pt>
                <c:pt idx="302">
                  <c:v>7.0000000000000007E-2</c:v>
                </c:pt>
                <c:pt idx="303">
                  <c:v>0.02</c:v>
                </c:pt>
                <c:pt idx="304">
                  <c:v>0.1</c:v>
                </c:pt>
                <c:pt idx="305">
                  <c:v>0.02</c:v>
                </c:pt>
                <c:pt idx="306">
                  <c:v>0.03</c:v>
                </c:pt>
                <c:pt idx="307">
                  <c:v>0.08</c:v>
                </c:pt>
                <c:pt idx="308">
                  <c:v>0.03</c:v>
                </c:pt>
                <c:pt idx="309">
                  <c:v>0.03</c:v>
                </c:pt>
                <c:pt idx="310">
                  <c:v>0.02</c:v>
                </c:pt>
                <c:pt idx="311">
                  <c:v>0.22</c:v>
                </c:pt>
                <c:pt idx="312">
                  <c:v>0.01</c:v>
                </c:pt>
                <c:pt idx="313">
                  <c:v>0.02</c:v>
                </c:pt>
                <c:pt idx="314">
                  <c:v>0.14000000000000001</c:v>
                </c:pt>
                <c:pt idx="315">
                  <c:v>0.03</c:v>
                </c:pt>
                <c:pt idx="316">
                  <c:v>0.03</c:v>
                </c:pt>
                <c:pt idx="317">
                  <c:v>0.17</c:v>
                </c:pt>
                <c:pt idx="318">
                  <c:v>0.01</c:v>
                </c:pt>
                <c:pt idx="319">
                  <c:v>0.03</c:v>
                </c:pt>
                <c:pt idx="320">
                  <c:v>7.0000000000000007E-2</c:v>
                </c:pt>
                <c:pt idx="321">
                  <c:v>0.05</c:v>
                </c:pt>
                <c:pt idx="322">
                  <c:v>0.03</c:v>
                </c:pt>
                <c:pt idx="323">
                  <c:v>0.05</c:v>
                </c:pt>
                <c:pt idx="324">
                  <c:v>0.06</c:v>
                </c:pt>
                <c:pt idx="325">
                  <c:v>0.01</c:v>
                </c:pt>
                <c:pt idx="326">
                  <c:v>0.02</c:v>
                </c:pt>
                <c:pt idx="327">
                  <c:v>0.02</c:v>
                </c:pt>
                <c:pt idx="328">
                  <c:v>0.03</c:v>
                </c:pt>
                <c:pt idx="329">
                  <c:v>7.0000000000000007E-2</c:v>
                </c:pt>
                <c:pt idx="330">
                  <c:v>0.01</c:v>
                </c:pt>
                <c:pt idx="331">
                  <c:v>0.1</c:v>
                </c:pt>
                <c:pt idx="332">
                  <c:v>0.11</c:v>
                </c:pt>
                <c:pt idx="333">
                  <c:v>0.03</c:v>
                </c:pt>
                <c:pt idx="334">
                  <c:v>0.03</c:v>
                </c:pt>
                <c:pt idx="335">
                  <c:v>0.04</c:v>
                </c:pt>
                <c:pt idx="336">
                  <c:v>0.03</c:v>
                </c:pt>
                <c:pt idx="337">
                  <c:v>0.02</c:v>
                </c:pt>
                <c:pt idx="338">
                  <c:v>0.04</c:v>
                </c:pt>
                <c:pt idx="339">
                  <c:v>0.02</c:v>
                </c:pt>
                <c:pt idx="340">
                  <c:v>0.02</c:v>
                </c:pt>
                <c:pt idx="341">
                  <c:v>0.13</c:v>
                </c:pt>
                <c:pt idx="342">
                  <c:v>7.0000000000000007E-2</c:v>
                </c:pt>
                <c:pt idx="343">
                  <c:v>0.11</c:v>
                </c:pt>
                <c:pt idx="344">
                  <c:v>0.09</c:v>
                </c:pt>
                <c:pt idx="345">
                  <c:v>0.01</c:v>
                </c:pt>
                <c:pt idx="346">
                  <c:v>0.02</c:v>
                </c:pt>
                <c:pt idx="347">
                  <c:v>0.01</c:v>
                </c:pt>
                <c:pt idx="348">
                  <c:v>0.06</c:v>
                </c:pt>
                <c:pt idx="349">
                  <c:v>0.05</c:v>
                </c:pt>
                <c:pt idx="350">
                  <c:v>0.03</c:v>
                </c:pt>
                <c:pt idx="351">
                  <c:v>0.01</c:v>
                </c:pt>
                <c:pt idx="352">
                  <c:v>0.11</c:v>
                </c:pt>
                <c:pt idx="353">
                  <c:v>0.02</c:v>
                </c:pt>
                <c:pt idx="354">
                  <c:v>7.0000000000000007E-2</c:v>
                </c:pt>
                <c:pt idx="355">
                  <c:v>0.15</c:v>
                </c:pt>
                <c:pt idx="356">
                  <c:v>0.01</c:v>
                </c:pt>
                <c:pt idx="357">
                  <c:v>0.01</c:v>
                </c:pt>
                <c:pt idx="358">
                  <c:v>0.01</c:v>
                </c:pt>
                <c:pt idx="359">
                  <c:v>0.01</c:v>
                </c:pt>
                <c:pt idx="360">
                  <c:v>0.03</c:v>
                </c:pt>
                <c:pt idx="361">
                  <c:v>0.01</c:v>
                </c:pt>
                <c:pt idx="362">
                  <c:v>0.01</c:v>
                </c:pt>
                <c:pt idx="363">
                  <c:v>0.01</c:v>
                </c:pt>
                <c:pt idx="364">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7ECAC4"/>
              </a:solidFill>
            </c:spPr>
            <c:extLst>
              <c:ext xmlns:c16="http://schemas.microsoft.com/office/drawing/2014/chart" uri="{C3380CC4-5D6E-409C-BE32-E72D297353CC}">
                <c16:uniqueId val="{0000007E-C76F-4230-900D-40618C09729F}"/>
              </c:ext>
            </c:extLst>
          </c:dPt>
          <c:dPt>
            <c:idx val="61"/>
            <c:invertIfNegative val="0"/>
            <c:bubble3D val="0"/>
            <c:spPr>
              <a:solidFill>
                <a:srgbClr val="7ECAC4"/>
              </a:solidFill>
            </c:spPr>
            <c:extLst>
              <c:ext xmlns:c16="http://schemas.microsoft.com/office/drawing/2014/chart" uri="{C3380CC4-5D6E-409C-BE32-E72D297353CC}">
                <c16:uniqueId val="{00000080-C76F-4230-900D-40618C09729F}"/>
              </c:ext>
            </c:extLst>
          </c:dPt>
          <c:dPt>
            <c:idx val="62"/>
            <c:invertIfNegative val="0"/>
            <c:bubble3D val="0"/>
            <c:spPr>
              <a:solidFill>
                <a:srgbClr val="7ECAC4"/>
              </a:solidFill>
            </c:spPr>
            <c:extLst>
              <c:ext xmlns:c16="http://schemas.microsoft.com/office/drawing/2014/chart" uri="{C3380CC4-5D6E-409C-BE32-E72D297353CC}">
                <c16:uniqueId val="{00000082-C76F-4230-900D-40618C09729F}"/>
              </c:ext>
            </c:extLst>
          </c:dPt>
          <c:dPt>
            <c:idx val="63"/>
            <c:invertIfNegative val="0"/>
            <c:bubble3D val="0"/>
            <c:spPr>
              <a:solidFill>
                <a:srgbClr val="7ECAC4"/>
              </a:solidFill>
            </c:spPr>
            <c:extLst>
              <c:ext xmlns:c16="http://schemas.microsoft.com/office/drawing/2014/chart" uri="{C3380CC4-5D6E-409C-BE32-E72D297353CC}">
                <c16:uniqueId val="{00000084-C76F-4230-900D-40618C09729F}"/>
              </c:ext>
            </c:extLst>
          </c:dPt>
          <c:dPt>
            <c:idx val="64"/>
            <c:invertIfNegative val="0"/>
            <c:bubble3D val="0"/>
            <c:spPr>
              <a:solidFill>
                <a:srgbClr val="7ECAC4"/>
              </a:solidFill>
            </c:spPr>
            <c:extLst>
              <c:ext xmlns:c16="http://schemas.microsoft.com/office/drawing/2014/chart" uri="{C3380CC4-5D6E-409C-BE32-E72D297353CC}">
                <c16:uniqueId val="{00000086-C76F-4230-900D-40618C09729F}"/>
              </c:ext>
            </c:extLst>
          </c:dPt>
          <c:dPt>
            <c:idx val="65"/>
            <c:invertIfNegative val="0"/>
            <c:bubble3D val="0"/>
            <c:spPr>
              <a:solidFill>
                <a:srgbClr val="7ECAC4"/>
              </a:solidFill>
            </c:spPr>
            <c:extLst>
              <c:ext xmlns:c16="http://schemas.microsoft.com/office/drawing/2014/chart" uri="{C3380CC4-5D6E-409C-BE32-E72D297353CC}">
                <c16:uniqueId val="{00000088-C76F-4230-900D-40618C09729F}"/>
              </c:ext>
            </c:extLst>
          </c:dPt>
          <c:dPt>
            <c:idx val="66"/>
            <c:invertIfNegative val="0"/>
            <c:bubble3D val="0"/>
            <c:spPr>
              <a:solidFill>
                <a:srgbClr val="7ECAC4"/>
              </a:solidFill>
            </c:spPr>
            <c:extLst>
              <c:ext xmlns:c16="http://schemas.microsoft.com/office/drawing/2014/chart" uri="{C3380CC4-5D6E-409C-BE32-E72D297353CC}">
                <c16:uniqueId val="{0000008A-C76F-4230-900D-40618C09729F}"/>
              </c:ext>
            </c:extLst>
          </c:dPt>
          <c:dPt>
            <c:idx val="67"/>
            <c:invertIfNegative val="0"/>
            <c:bubble3D val="0"/>
            <c:spPr>
              <a:solidFill>
                <a:srgbClr val="7ECAC4"/>
              </a:solidFill>
            </c:spPr>
            <c:extLst>
              <c:ext xmlns:c16="http://schemas.microsoft.com/office/drawing/2014/chart" uri="{C3380CC4-5D6E-409C-BE32-E72D297353CC}">
                <c16:uniqueId val="{0000008C-C76F-4230-900D-40618C09729F}"/>
              </c:ext>
            </c:extLst>
          </c:dPt>
          <c:dPt>
            <c:idx val="68"/>
            <c:invertIfNegative val="0"/>
            <c:bubble3D val="0"/>
            <c:spPr>
              <a:solidFill>
                <a:srgbClr val="7ECAC4"/>
              </a:solidFill>
            </c:spPr>
            <c:extLst>
              <c:ext xmlns:c16="http://schemas.microsoft.com/office/drawing/2014/chart" uri="{C3380CC4-5D6E-409C-BE32-E72D297353CC}">
                <c16:uniqueId val="{0000008E-C76F-4230-900D-40618C09729F}"/>
              </c:ext>
            </c:extLst>
          </c:dPt>
          <c:dPt>
            <c:idx val="69"/>
            <c:invertIfNegative val="0"/>
            <c:bubble3D val="0"/>
            <c:spPr>
              <a:solidFill>
                <a:srgbClr val="7ECAC4"/>
              </a:solidFill>
            </c:spPr>
            <c:extLst>
              <c:ext xmlns:c16="http://schemas.microsoft.com/office/drawing/2014/chart" uri="{C3380CC4-5D6E-409C-BE32-E72D297353CC}">
                <c16:uniqueId val="{00000090-C76F-4230-900D-40618C09729F}"/>
              </c:ext>
            </c:extLst>
          </c:dPt>
          <c:dPt>
            <c:idx val="70"/>
            <c:invertIfNegative val="0"/>
            <c:bubble3D val="0"/>
            <c:spPr>
              <a:solidFill>
                <a:srgbClr val="7ECAC4"/>
              </a:solidFill>
            </c:spPr>
            <c:extLst>
              <c:ext xmlns:c16="http://schemas.microsoft.com/office/drawing/2014/chart" uri="{C3380CC4-5D6E-409C-BE32-E72D297353CC}">
                <c16:uniqueId val="{00000092-C76F-4230-900D-40618C09729F}"/>
              </c:ext>
            </c:extLst>
          </c:dPt>
          <c:dPt>
            <c:idx val="71"/>
            <c:invertIfNegative val="0"/>
            <c:bubble3D val="0"/>
            <c:spPr>
              <a:solidFill>
                <a:srgbClr val="7ECAC4"/>
              </a:solidFill>
            </c:spPr>
            <c:extLst>
              <c:ext xmlns:c16="http://schemas.microsoft.com/office/drawing/2014/chart" uri="{C3380CC4-5D6E-409C-BE32-E72D297353CC}">
                <c16:uniqueId val="{00000094-C76F-4230-900D-40618C09729F}"/>
              </c:ext>
            </c:extLst>
          </c:dPt>
          <c:dPt>
            <c:idx val="72"/>
            <c:invertIfNegative val="0"/>
            <c:bubble3D val="0"/>
            <c:spPr>
              <a:solidFill>
                <a:srgbClr val="7ECAC4"/>
              </a:solidFill>
            </c:spPr>
            <c:extLst>
              <c:ext xmlns:c16="http://schemas.microsoft.com/office/drawing/2014/chart" uri="{C3380CC4-5D6E-409C-BE32-E72D297353CC}">
                <c16:uniqueId val="{00000096-C76F-4230-900D-40618C09729F}"/>
              </c:ext>
            </c:extLst>
          </c:dPt>
          <c:dPt>
            <c:idx val="73"/>
            <c:invertIfNegative val="0"/>
            <c:bubble3D val="0"/>
            <c:spPr>
              <a:solidFill>
                <a:srgbClr val="7ECAC4"/>
              </a:solidFill>
            </c:spPr>
            <c:extLst>
              <c:ext xmlns:c16="http://schemas.microsoft.com/office/drawing/2014/chart" uri="{C3380CC4-5D6E-409C-BE32-E72D297353CC}">
                <c16:uniqueId val="{00000098-C76F-4230-900D-40618C09729F}"/>
              </c:ext>
            </c:extLst>
          </c:dPt>
          <c:dPt>
            <c:idx val="74"/>
            <c:invertIfNegative val="0"/>
            <c:bubble3D val="0"/>
            <c:spPr>
              <a:solidFill>
                <a:srgbClr val="7ECAC4"/>
              </a:solidFill>
            </c:spPr>
            <c:extLst>
              <c:ext xmlns:c16="http://schemas.microsoft.com/office/drawing/2014/chart" uri="{C3380CC4-5D6E-409C-BE32-E72D297353CC}">
                <c16:uniqueId val="{0000009A-C76F-4230-900D-40618C09729F}"/>
              </c:ext>
            </c:extLst>
          </c:dPt>
          <c:dPt>
            <c:idx val="75"/>
            <c:invertIfNegative val="0"/>
            <c:bubble3D val="0"/>
            <c:spPr>
              <a:solidFill>
                <a:srgbClr val="7ECAC4"/>
              </a:solidFill>
            </c:spPr>
            <c:extLst>
              <c:ext xmlns:c16="http://schemas.microsoft.com/office/drawing/2014/chart" uri="{C3380CC4-5D6E-409C-BE32-E72D297353CC}">
                <c16:uniqueId val="{0000009C-C76F-4230-900D-40618C09729F}"/>
              </c:ext>
            </c:extLst>
          </c:dPt>
          <c:dPt>
            <c:idx val="76"/>
            <c:invertIfNegative val="0"/>
            <c:bubble3D val="0"/>
            <c:spPr>
              <a:solidFill>
                <a:srgbClr val="7ECAC4"/>
              </a:solidFill>
            </c:spPr>
            <c:extLst>
              <c:ext xmlns:c16="http://schemas.microsoft.com/office/drawing/2014/chart" uri="{C3380CC4-5D6E-409C-BE32-E72D297353CC}">
                <c16:uniqueId val="{0000009E-C76F-4230-900D-40618C09729F}"/>
              </c:ext>
            </c:extLst>
          </c:dPt>
          <c:dPt>
            <c:idx val="77"/>
            <c:invertIfNegative val="0"/>
            <c:bubble3D val="0"/>
            <c:spPr>
              <a:solidFill>
                <a:srgbClr val="7ECAC4"/>
              </a:solidFill>
            </c:spPr>
            <c:extLst>
              <c:ext xmlns:c16="http://schemas.microsoft.com/office/drawing/2014/chart" uri="{C3380CC4-5D6E-409C-BE32-E72D297353CC}">
                <c16:uniqueId val="{000000A0-C76F-4230-900D-40618C09729F}"/>
              </c:ext>
            </c:extLst>
          </c:dPt>
          <c:dPt>
            <c:idx val="78"/>
            <c:invertIfNegative val="0"/>
            <c:bubble3D val="0"/>
            <c:spPr>
              <a:solidFill>
                <a:srgbClr val="7ECAC4"/>
              </a:solidFill>
            </c:spPr>
            <c:extLst>
              <c:ext xmlns:c16="http://schemas.microsoft.com/office/drawing/2014/chart" uri="{C3380CC4-5D6E-409C-BE32-E72D297353CC}">
                <c16:uniqueId val="{000000A2-C76F-4230-900D-40618C09729F}"/>
              </c:ext>
            </c:extLst>
          </c:dPt>
          <c:dPt>
            <c:idx val="79"/>
            <c:invertIfNegative val="0"/>
            <c:bubble3D val="0"/>
            <c:spPr>
              <a:solidFill>
                <a:srgbClr val="7ECAC4"/>
              </a:solidFill>
            </c:spPr>
            <c:extLst>
              <c:ext xmlns:c16="http://schemas.microsoft.com/office/drawing/2014/chart" uri="{C3380CC4-5D6E-409C-BE32-E72D297353CC}">
                <c16:uniqueId val="{000000A4-C76F-4230-900D-40618C09729F}"/>
              </c:ext>
            </c:extLst>
          </c:dPt>
          <c:dPt>
            <c:idx val="80"/>
            <c:invertIfNegative val="0"/>
            <c:bubble3D val="0"/>
            <c:spPr>
              <a:solidFill>
                <a:srgbClr val="7ECAC4"/>
              </a:solidFill>
            </c:spPr>
            <c:extLst>
              <c:ext xmlns:c16="http://schemas.microsoft.com/office/drawing/2014/chart" uri="{C3380CC4-5D6E-409C-BE32-E72D297353CC}">
                <c16:uniqueId val="{000000A6-C76F-4230-900D-40618C09729F}"/>
              </c:ext>
            </c:extLst>
          </c:dPt>
          <c:dPt>
            <c:idx val="81"/>
            <c:invertIfNegative val="1"/>
            <c:bubble3D val="0"/>
            <c:spPr>
              <a:solidFill>
                <a:srgbClr val="7ECAC4"/>
              </a:solidFill>
            </c:spPr>
            <c:extLst>
              <c:ext xmlns:c16="http://schemas.microsoft.com/office/drawing/2014/chart" uri="{C3380CC4-5D6E-409C-BE32-E72D297353CC}">
                <c16:uniqueId val="{000000A5-2993-41DE-A2CB-63102DE87051}"/>
              </c:ext>
            </c:extLst>
          </c:dPt>
          <c:dPt>
            <c:idx val="82"/>
            <c:invertIfNegative val="1"/>
            <c:bubble3D val="0"/>
            <c:spPr>
              <a:solidFill>
                <a:srgbClr val="7ECAC4"/>
              </a:solidFill>
            </c:spPr>
            <c:extLst>
              <c:ext xmlns:c16="http://schemas.microsoft.com/office/drawing/2014/chart" uri="{C3380CC4-5D6E-409C-BE32-E72D297353CC}">
                <c16:uniqueId val="{000000A7-2993-41DE-A2CB-63102DE87051}"/>
              </c:ext>
            </c:extLst>
          </c:dPt>
          <c:dPt>
            <c:idx val="83"/>
            <c:invertIfNegative val="1"/>
            <c:bubble3D val="0"/>
            <c:spPr>
              <a:solidFill>
                <a:srgbClr val="7ECAC4"/>
              </a:solidFill>
            </c:spPr>
            <c:extLst>
              <c:ext xmlns:c16="http://schemas.microsoft.com/office/drawing/2014/chart" uri="{C3380CC4-5D6E-409C-BE32-E72D297353CC}">
                <c16:uniqueId val="{000000A9-2993-41DE-A2CB-63102DE87051}"/>
              </c:ext>
            </c:extLst>
          </c:dPt>
          <c:dPt>
            <c:idx val="84"/>
            <c:invertIfNegative val="1"/>
            <c:bubble3D val="0"/>
            <c:spPr>
              <a:solidFill>
                <a:srgbClr val="7ECAC4"/>
              </a:solidFill>
            </c:spPr>
            <c:extLst>
              <c:ext xmlns:c16="http://schemas.microsoft.com/office/drawing/2014/chart" uri="{C3380CC4-5D6E-409C-BE32-E72D297353CC}">
                <c16:uniqueId val="{000000AB-2993-41DE-A2CB-63102DE87051}"/>
              </c:ext>
            </c:extLst>
          </c:dPt>
          <c:dPt>
            <c:idx val="85"/>
            <c:invertIfNegative val="1"/>
            <c:bubble3D val="0"/>
            <c:spPr>
              <a:solidFill>
                <a:srgbClr val="7ECAC4"/>
              </a:solidFill>
            </c:spPr>
            <c:extLst>
              <c:ext xmlns:c16="http://schemas.microsoft.com/office/drawing/2014/chart" uri="{C3380CC4-5D6E-409C-BE32-E72D297353CC}">
                <c16:uniqueId val="{000000AD-2993-41DE-A2CB-63102DE87051}"/>
              </c:ext>
            </c:extLst>
          </c:dPt>
          <c:dPt>
            <c:idx val="86"/>
            <c:invertIfNegative val="1"/>
            <c:bubble3D val="0"/>
            <c:spPr>
              <a:solidFill>
                <a:srgbClr val="7ECAC4"/>
              </a:solidFill>
            </c:spPr>
            <c:extLst>
              <c:ext xmlns:c16="http://schemas.microsoft.com/office/drawing/2014/chart" uri="{C3380CC4-5D6E-409C-BE32-E72D297353CC}">
                <c16:uniqueId val="{000000AF-2993-41DE-A2CB-63102DE87051}"/>
              </c:ext>
            </c:extLst>
          </c:dPt>
          <c:dPt>
            <c:idx val="87"/>
            <c:invertIfNegative val="1"/>
            <c:bubble3D val="0"/>
            <c:spPr>
              <a:solidFill>
                <a:srgbClr val="7ECAC4"/>
              </a:solidFill>
            </c:spPr>
            <c:extLst>
              <c:ext xmlns:c16="http://schemas.microsoft.com/office/drawing/2014/chart" uri="{C3380CC4-5D6E-409C-BE32-E72D297353CC}">
                <c16:uniqueId val="{000000B1-2993-41DE-A2CB-63102DE87051}"/>
              </c:ext>
            </c:extLst>
          </c:dPt>
          <c:dPt>
            <c:idx val="88"/>
            <c:invertIfNegative val="1"/>
            <c:bubble3D val="0"/>
            <c:spPr>
              <a:solidFill>
                <a:srgbClr val="7ECAC4"/>
              </a:solidFill>
            </c:spPr>
            <c:extLst>
              <c:ext xmlns:c16="http://schemas.microsoft.com/office/drawing/2014/chart" uri="{C3380CC4-5D6E-409C-BE32-E72D297353CC}">
                <c16:uniqueId val="{000000B3-2993-41DE-A2CB-63102DE87051}"/>
              </c:ext>
            </c:extLst>
          </c:dPt>
          <c:dPt>
            <c:idx val="89"/>
            <c:invertIfNegative val="1"/>
            <c:bubble3D val="0"/>
            <c:spPr>
              <a:solidFill>
                <a:srgbClr val="7ECAC4"/>
              </a:solidFill>
            </c:spPr>
            <c:extLst>
              <c:ext xmlns:c16="http://schemas.microsoft.com/office/drawing/2014/chart" uri="{C3380CC4-5D6E-409C-BE32-E72D297353CC}">
                <c16:uniqueId val="{000000B5-2993-41DE-A2CB-63102DE87051}"/>
              </c:ext>
            </c:extLst>
          </c:dPt>
          <c:dPt>
            <c:idx val="90"/>
            <c:invertIfNegative val="1"/>
            <c:bubble3D val="0"/>
            <c:spPr>
              <a:solidFill>
                <a:srgbClr val="7ECAC4"/>
              </a:solidFill>
            </c:spPr>
            <c:extLst>
              <c:ext xmlns:c16="http://schemas.microsoft.com/office/drawing/2014/chart" uri="{C3380CC4-5D6E-409C-BE32-E72D297353CC}">
                <c16:uniqueId val="{000000B7-2993-41DE-A2CB-63102DE87051}"/>
              </c:ext>
            </c:extLst>
          </c:dPt>
          <c:dPt>
            <c:idx val="91"/>
            <c:invertIfNegative val="1"/>
            <c:bubble3D val="0"/>
            <c:spPr>
              <a:solidFill>
                <a:srgbClr val="7ECAC4"/>
              </a:solidFill>
            </c:spPr>
            <c:extLst>
              <c:ext xmlns:c16="http://schemas.microsoft.com/office/drawing/2014/chart" uri="{C3380CC4-5D6E-409C-BE32-E72D297353CC}">
                <c16:uniqueId val="{000000B9-2993-41DE-A2CB-63102DE87051}"/>
              </c:ext>
            </c:extLst>
          </c:dPt>
          <c:dPt>
            <c:idx val="92"/>
            <c:invertIfNegative val="1"/>
            <c:bubble3D val="0"/>
            <c:spPr>
              <a:solidFill>
                <a:srgbClr val="7ECAC4"/>
              </a:solidFill>
            </c:spPr>
            <c:extLst>
              <c:ext xmlns:c16="http://schemas.microsoft.com/office/drawing/2014/chart" uri="{C3380CC4-5D6E-409C-BE32-E72D297353CC}">
                <c16:uniqueId val="{000000BB-2993-41DE-A2CB-63102DE87051}"/>
              </c:ext>
            </c:extLst>
          </c:dPt>
          <c:dPt>
            <c:idx val="93"/>
            <c:invertIfNegative val="1"/>
            <c:bubble3D val="0"/>
            <c:spPr>
              <a:solidFill>
                <a:srgbClr val="7ECAC4"/>
              </a:solidFill>
            </c:spPr>
            <c:extLst>
              <c:ext xmlns:c16="http://schemas.microsoft.com/office/drawing/2014/chart" uri="{C3380CC4-5D6E-409C-BE32-E72D297353CC}">
                <c16:uniqueId val="{000000BD-2993-41DE-A2CB-63102DE87051}"/>
              </c:ext>
            </c:extLst>
          </c:dPt>
          <c:dPt>
            <c:idx val="94"/>
            <c:invertIfNegative val="1"/>
            <c:bubble3D val="0"/>
            <c:spPr>
              <a:solidFill>
                <a:srgbClr val="7ECAC4"/>
              </a:solidFill>
            </c:spPr>
            <c:extLst>
              <c:ext xmlns:c16="http://schemas.microsoft.com/office/drawing/2014/chart" uri="{C3380CC4-5D6E-409C-BE32-E72D297353CC}">
                <c16:uniqueId val="{000000BF-2993-41DE-A2CB-63102DE87051}"/>
              </c:ext>
            </c:extLst>
          </c:dPt>
          <c:dPt>
            <c:idx val="95"/>
            <c:invertIfNegative val="1"/>
            <c:bubble3D val="0"/>
            <c:spPr>
              <a:solidFill>
                <a:srgbClr val="7ECAC4"/>
              </a:solidFill>
            </c:spPr>
            <c:extLst>
              <c:ext xmlns:c16="http://schemas.microsoft.com/office/drawing/2014/chart" uri="{C3380CC4-5D6E-409C-BE32-E72D297353CC}">
                <c16:uniqueId val="{000000C1-2993-41DE-A2CB-63102DE87051}"/>
              </c:ext>
            </c:extLst>
          </c:dPt>
          <c:dPt>
            <c:idx val="96"/>
            <c:invertIfNegative val="1"/>
            <c:bubble3D val="0"/>
            <c:spPr>
              <a:solidFill>
                <a:srgbClr val="7ECAC4"/>
              </a:solidFill>
            </c:spPr>
            <c:extLst>
              <c:ext xmlns:c16="http://schemas.microsoft.com/office/drawing/2014/chart" uri="{C3380CC4-5D6E-409C-BE32-E72D297353CC}">
                <c16:uniqueId val="{000000C3-2993-41DE-A2CB-63102DE87051}"/>
              </c:ext>
            </c:extLst>
          </c:dPt>
          <c:dPt>
            <c:idx val="97"/>
            <c:invertIfNegative val="1"/>
            <c:bubble3D val="0"/>
            <c:spPr>
              <a:solidFill>
                <a:srgbClr val="7ECAC4"/>
              </a:solidFill>
            </c:spPr>
            <c:extLst>
              <c:ext xmlns:c16="http://schemas.microsoft.com/office/drawing/2014/chart" uri="{C3380CC4-5D6E-409C-BE32-E72D297353CC}">
                <c16:uniqueId val="{000000C5-2993-41DE-A2CB-63102DE87051}"/>
              </c:ext>
            </c:extLst>
          </c:dPt>
          <c:dPt>
            <c:idx val="98"/>
            <c:invertIfNegative val="1"/>
            <c:bubble3D val="0"/>
            <c:spPr>
              <a:solidFill>
                <a:srgbClr val="7ECAC4"/>
              </a:solidFill>
            </c:spPr>
            <c:extLst>
              <c:ext xmlns:c16="http://schemas.microsoft.com/office/drawing/2014/chart" uri="{C3380CC4-5D6E-409C-BE32-E72D297353CC}">
                <c16:uniqueId val="{000000C7-2993-41DE-A2CB-63102DE87051}"/>
              </c:ext>
            </c:extLst>
          </c:dPt>
          <c:dPt>
            <c:idx val="99"/>
            <c:invertIfNegative val="1"/>
            <c:bubble3D val="0"/>
            <c:spPr>
              <a:solidFill>
                <a:srgbClr val="7ECAC4"/>
              </a:solidFill>
            </c:spPr>
            <c:extLst>
              <c:ext xmlns:c16="http://schemas.microsoft.com/office/drawing/2014/chart" uri="{C3380CC4-5D6E-409C-BE32-E72D297353CC}">
                <c16:uniqueId val="{000000C9-2993-41DE-A2CB-63102DE87051}"/>
              </c:ext>
            </c:extLst>
          </c:dPt>
          <c:dPt>
            <c:idx val="100"/>
            <c:invertIfNegative val="1"/>
            <c:bubble3D val="0"/>
            <c:spPr>
              <a:solidFill>
                <a:srgbClr val="7ECAC4"/>
              </a:solidFill>
            </c:spPr>
            <c:extLst>
              <c:ext xmlns:c16="http://schemas.microsoft.com/office/drawing/2014/chart" uri="{C3380CC4-5D6E-409C-BE32-E72D297353CC}">
                <c16:uniqueId val="{000000CB-2993-41DE-A2CB-63102DE87051}"/>
              </c:ext>
            </c:extLst>
          </c:dPt>
          <c:dPt>
            <c:idx val="101"/>
            <c:invertIfNegative val="1"/>
            <c:bubble3D val="0"/>
            <c:spPr>
              <a:solidFill>
                <a:srgbClr val="7ECAC4"/>
              </a:solidFill>
            </c:spPr>
            <c:extLst>
              <c:ext xmlns:c16="http://schemas.microsoft.com/office/drawing/2014/chart" uri="{C3380CC4-5D6E-409C-BE32-E72D297353CC}">
                <c16:uniqueId val="{000000CD-2993-41DE-A2CB-63102DE87051}"/>
              </c:ext>
            </c:extLst>
          </c:dPt>
          <c:dPt>
            <c:idx val="102"/>
            <c:invertIfNegative val="1"/>
            <c:bubble3D val="0"/>
            <c:spPr>
              <a:solidFill>
                <a:srgbClr val="7ECAC4"/>
              </a:solidFill>
            </c:spPr>
            <c:extLst>
              <c:ext xmlns:c16="http://schemas.microsoft.com/office/drawing/2014/chart" uri="{C3380CC4-5D6E-409C-BE32-E72D297353CC}">
                <c16:uniqueId val="{000000CF-2993-41DE-A2CB-63102DE87051}"/>
              </c:ext>
            </c:extLst>
          </c:dPt>
          <c:dPt>
            <c:idx val="103"/>
            <c:invertIfNegative val="1"/>
            <c:bubble3D val="0"/>
            <c:spPr>
              <a:solidFill>
                <a:srgbClr val="7ECAC4"/>
              </a:solidFill>
            </c:spPr>
            <c:extLst>
              <c:ext xmlns:c16="http://schemas.microsoft.com/office/drawing/2014/chart" uri="{C3380CC4-5D6E-409C-BE32-E72D297353CC}">
                <c16:uniqueId val="{000000D1-2993-41DE-A2CB-63102DE87051}"/>
              </c:ext>
            </c:extLst>
          </c:dPt>
          <c:dPt>
            <c:idx val="104"/>
            <c:invertIfNegative val="1"/>
            <c:bubble3D val="0"/>
            <c:spPr>
              <a:solidFill>
                <a:srgbClr val="7ECAC4"/>
              </a:solidFill>
            </c:spPr>
            <c:extLst>
              <c:ext xmlns:c16="http://schemas.microsoft.com/office/drawing/2014/chart" uri="{C3380CC4-5D6E-409C-BE32-E72D297353CC}">
                <c16:uniqueId val="{000000D3-2993-41DE-A2CB-63102DE87051}"/>
              </c:ext>
            </c:extLst>
          </c:dPt>
          <c:dPt>
            <c:idx val="105"/>
            <c:invertIfNegative val="1"/>
            <c:bubble3D val="0"/>
            <c:spPr>
              <a:solidFill>
                <a:srgbClr val="7ECAC4"/>
              </a:solidFill>
            </c:spPr>
            <c:extLst>
              <c:ext xmlns:c16="http://schemas.microsoft.com/office/drawing/2014/chart" uri="{C3380CC4-5D6E-409C-BE32-E72D297353CC}">
                <c16:uniqueId val="{000000D5-2993-41DE-A2CB-63102DE87051}"/>
              </c:ext>
            </c:extLst>
          </c:dPt>
          <c:dPt>
            <c:idx val="106"/>
            <c:invertIfNegative val="1"/>
            <c:bubble3D val="0"/>
            <c:spPr>
              <a:solidFill>
                <a:srgbClr val="7ECAC4"/>
              </a:solidFill>
            </c:spPr>
            <c:extLst>
              <c:ext xmlns:c16="http://schemas.microsoft.com/office/drawing/2014/chart" uri="{C3380CC4-5D6E-409C-BE32-E72D297353CC}">
                <c16:uniqueId val="{000000D7-2993-41DE-A2CB-63102DE87051}"/>
              </c:ext>
            </c:extLst>
          </c:dPt>
          <c:dPt>
            <c:idx val="107"/>
            <c:invertIfNegative val="1"/>
            <c:bubble3D val="0"/>
            <c:spPr>
              <a:solidFill>
                <a:srgbClr val="7ECAC4"/>
              </a:solidFill>
            </c:spPr>
            <c:extLst>
              <c:ext xmlns:c16="http://schemas.microsoft.com/office/drawing/2014/chart" uri="{C3380CC4-5D6E-409C-BE32-E72D297353CC}">
                <c16:uniqueId val="{000000D9-2993-41DE-A2CB-63102DE87051}"/>
              </c:ext>
            </c:extLst>
          </c:dPt>
          <c:dPt>
            <c:idx val="108"/>
            <c:invertIfNegative val="1"/>
            <c:bubble3D val="0"/>
            <c:spPr>
              <a:solidFill>
                <a:srgbClr val="7ECAC4"/>
              </a:solidFill>
            </c:spPr>
            <c:extLst>
              <c:ext xmlns:c16="http://schemas.microsoft.com/office/drawing/2014/chart" uri="{C3380CC4-5D6E-409C-BE32-E72D297353CC}">
                <c16:uniqueId val="{000000DB-2993-41DE-A2CB-63102DE87051}"/>
              </c:ext>
            </c:extLst>
          </c:dPt>
          <c:dPt>
            <c:idx val="109"/>
            <c:invertIfNegative val="1"/>
            <c:bubble3D val="0"/>
            <c:spPr>
              <a:solidFill>
                <a:srgbClr val="7ECAC4"/>
              </a:solidFill>
            </c:spPr>
            <c:extLst>
              <c:ext xmlns:c16="http://schemas.microsoft.com/office/drawing/2014/chart" uri="{C3380CC4-5D6E-409C-BE32-E72D297353CC}">
                <c16:uniqueId val="{000000DD-2993-41DE-A2CB-63102DE87051}"/>
              </c:ext>
            </c:extLst>
          </c:dPt>
          <c:dPt>
            <c:idx val="110"/>
            <c:invertIfNegative val="1"/>
            <c:bubble3D val="0"/>
            <c:spPr>
              <a:solidFill>
                <a:srgbClr val="7ECAC4"/>
              </a:solidFill>
            </c:spPr>
            <c:extLst>
              <c:ext xmlns:c16="http://schemas.microsoft.com/office/drawing/2014/chart" uri="{C3380CC4-5D6E-409C-BE32-E72D297353CC}">
                <c16:uniqueId val="{000000DF-2993-41DE-A2CB-63102DE87051}"/>
              </c:ext>
            </c:extLst>
          </c:dPt>
          <c:dPt>
            <c:idx val="111"/>
            <c:invertIfNegative val="1"/>
            <c:bubble3D val="0"/>
            <c:spPr>
              <a:solidFill>
                <a:srgbClr val="7ECAC4"/>
              </a:solidFill>
            </c:spPr>
            <c:extLst>
              <c:ext xmlns:c16="http://schemas.microsoft.com/office/drawing/2014/chart" uri="{C3380CC4-5D6E-409C-BE32-E72D297353CC}">
                <c16:uniqueId val="{000000E1-2993-41DE-A2CB-63102DE87051}"/>
              </c:ext>
            </c:extLst>
          </c:dPt>
          <c:dPt>
            <c:idx val="112"/>
            <c:invertIfNegative val="1"/>
            <c:bubble3D val="0"/>
            <c:spPr>
              <a:solidFill>
                <a:srgbClr val="7ECAC4"/>
              </a:solidFill>
            </c:spPr>
            <c:extLst>
              <c:ext xmlns:c16="http://schemas.microsoft.com/office/drawing/2014/chart" uri="{C3380CC4-5D6E-409C-BE32-E72D297353CC}">
                <c16:uniqueId val="{000000E3-2993-41DE-A2CB-63102DE87051}"/>
              </c:ext>
            </c:extLst>
          </c:dPt>
          <c:dPt>
            <c:idx val="113"/>
            <c:invertIfNegative val="1"/>
            <c:bubble3D val="0"/>
            <c:spPr>
              <a:solidFill>
                <a:srgbClr val="7ECAC4"/>
              </a:solidFill>
            </c:spPr>
            <c:extLst>
              <c:ext xmlns:c16="http://schemas.microsoft.com/office/drawing/2014/chart" uri="{C3380CC4-5D6E-409C-BE32-E72D297353CC}">
                <c16:uniqueId val="{000000E5-2993-41DE-A2CB-63102DE87051}"/>
              </c:ext>
            </c:extLst>
          </c:dPt>
          <c:dPt>
            <c:idx val="114"/>
            <c:invertIfNegative val="1"/>
            <c:bubble3D val="0"/>
            <c:spPr>
              <a:solidFill>
                <a:srgbClr val="7ECAC4"/>
              </a:solidFill>
            </c:spPr>
            <c:extLst>
              <c:ext xmlns:c16="http://schemas.microsoft.com/office/drawing/2014/chart" uri="{C3380CC4-5D6E-409C-BE32-E72D297353CC}">
                <c16:uniqueId val="{000000E7-2993-41DE-A2CB-63102DE87051}"/>
              </c:ext>
            </c:extLst>
          </c:dPt>
          <c:dPt>
            <c:idx val="115"/>
            <c:invertIfNegative val="1"/>
            <c:bubble3D val="0"/>
            <c:spPr>
              <a:solidFill>
                <a:srgbClr val="7ECAC4"/>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AEABAB"/>
              </a:solidFill>
            </c:spPr>
            <c:extLst>
              <c:ext xmlns:c16="http://schemas.microsoft.com/office/drawing/2014/chart" uri="{C3380CC4-5D6E-409C-BE32-E72D297353CC}">
                <c16:uniqueId val="{00000111-2993-41DE-A2CB-63102DE87051}"/>
              </c:ext>
            </c:extLst>
          </c:dPt>
          <c:dPt>
            <c:idx val="136"/>
            <c:invertIfNegative val="1"/>
            <c:bubble3D val="0"/>
            <c:spPr>
              <a:solidFill>
                <a:srgbClr val="AEABAB"/>
              </a:solidFill>
            </c:spPr>
            <c:extLst>
              <c:ext xmlns:c16="http://schemas.microsoft.com/office/drawing/2014/chart" uri="{C3380CC4-5D6E-409C-BE32-E72D297353CC}">
                <c16:uniqueId val="{00000113-2993-41DE-A2CB-63102DE87051}"/>
              </c:ext>
            </c:extLst>
          </c:dPt>
          <c:dPt>
            <c:idx val="137"/>
            <c:invertIfNegative val="1"/>
            <c:bubble3D val="0"/>
            <c:spPr>
              <a:solidFill>
                <a:srgbClr val="AEABAB"/>
              </a:solidFill>
            </c:spPr>
            <c:extLst>
              <c:ext xmlns:c16="http://schemas.microsoft.com/office/drawing/2014/chart" uri="{C3380CC4-5D6E-409C-BE32-E72D297353CC}">
                <c16:uniqueId val="{00000115-2993-41DE-A2CB-63102DE87051}"/>
              </c:ext>
            </c:extLst>
          </c:dPt>
          <c:dPt>
            <c:idx val="138"/>
            <c:invertIfNegative val="1"/>
            <c:bubble3D val="0"/>
            <c:spPr>
              <a:solidFill>
                <a:srgbClr val="AEABAB"/>
              </a:solidFill>
            </c:spPr>
            <c:extLst>
              <c:ext xmlns:c16="http://schemas.microsoft.com/office/drawing/2014/chart" uri="{C3380CC4-5D6E-409C-BE32-E72D297353CC}">
                <c16:uniqueId val="{00000117-2993-41DE-A2CB-63102DE87051}"/>
              </c:ext>
            </c:extLst>
          </c:dPt>
          <c:dPt>
            <c:idx val="139"/>
            <c:invertIfNegative val="1"/>
            <c:bubble3D val="0"/>
            <c:spPr>
              <a:solidFill>
                <a:srgbClr val="AEABAB"/>
              </a:solidFill>
            </c:spPr>
            <c:extLst>
              <c:ext xmlns:c16="http://schemas.microsoft.com/office/drawing/2014/chart" uri="{C3380CC4-5D6E-409C-BE32-E72D297353CC}">
                <c16:uniqueId val="{00000119-2993-41DE-A2CB-63102DE87051}"/>
              </c:ext>
            </c:extLst>
          </c:dPt>
          <c:dPt>
            <c:idx val="140"/>
            <c:invertIfNegative val="1"/>
            <c:bubble3D val="0"/>
            <c:spPr>
              <a:solidFill>
                <a:srgbClr val="AEABAB"/>
              </a:solidFill>
            </c:spPr>
            <c:extLst>
              <c:ext xmlns:c16="http://schemas.microsoft.com/office/drawing/2014/chart" uri="{C3380CC4-5D6E-409C-BE32-E72D297353CC}">
                <c16:uniqueId val="{0000011B-2993-41DE-A2CB-63102DE87051}"/>
              </c:ext>
            </c:extLst>
          </c:dPt>
          <c:dPt>
            <c:idx val="141"/>
            <c:invertIfNegative val="1"/>
            <c:bubble3D val="0"/>
            <c:spPr>
              <a:solidFill>
                <a:srgbClr val="AEABAB"/>
              </a:solidFill>
            </c:spPr>
            <c:extLst>
              <c:ext xmlns:c16="http://schemas.microsoft.com/office/drawing/2014/chart" uri="{C3380CC4-5D6E-409C-BE32-E72D297353CC}">
                <c16:uniqueId val="{0000011D-2993-41DE-A2CB-63102DE87051}"/>
              </c:ext>
            </c:extLst>
          </c:dPt>
          <c:dPt>
            <c:idx val="142"/>
            <c:invertIfNegative val="1"/>
            <c:bubble3D val="0"/>
            <c:spPr>
              <a:solidFill>
                <a:srgbClr val="AEABAB"/>
              </a:solidFill>
            </c:spPr>
            <c:extLst>
              <c:ext xmlns:c16="http://schemas.microsoft.com/office/drawing/2014/chart" uri="{C3380CC4-5D6E-409C-BE32-E72D297353CC}">
                <c16:uniqueId val="{0000011F-2993-41DE-A2CB-63102DE87051}"/>
              </c:ext>
            </c:extLst>
          </c:dPt>
          <c:dPt>
            <c:idx val="143"/>
            <c:invertIfNegative val="1"/>
            <c:bubble3D val="0"/>
            <c:spPr>
              <a:solidFill>
                <a:srgbClr val="AEABAB"/>
              </a:solidFill>
            </c:spPr>
            <c:extLst>
              <c:ext xmlns:c16="http://schemas.microsoft.com/office/drawing/2014/chart" uri="{C3380CC4-5D6E-409C-BE32-E72D297353CC}">
                <c16:uniqueId val="{00000121-2993-41DE-A2CB-63102DE87051}"/>
              </c:ext>
            </c:extLst>
          </c:dPt>
          <c:dPt>
            <c:idx val="144"/>
            <c:invertIfNegative val="1"/>
            <c:bubble3D val="0"/>
            <c:spPr>
              <a:solidFill>
                <a:srgbClr val="AEABAB"/>
              </a:solidFill>
            </c:spPr>
            <c:extLst>
              <c:ext xmlns:c16="http://schemas.microsoft.com/office/drawing/2014/chart" uri="{C3380CC4-5D6E-409C-BE32-E72D297353CC}">
                <c16:uniqueId val="{00000123-2993-41DE-A2CB-63102DE87051}"/>
              </c:ext>
            </c:extLst>
          </c:dPt>
          <c:dPt>
            <c:idx val="145"/>
            <c:invertIfNegative val="1"/>
            <c:bubble3D val="0"/>
            <c:spPr>
              <a:solidFill>
                <a:srgbClr val="AEABAB"/>
              </a:solidFill>
            </c:spPr>
            <c:extLst>
              <c:ext xmlns:c16="http://schemas.microsoft.com/office/drawing/2014/chart" uri="{C3380CC4-5D6E-409C-BE32-E72D297353CC}">
                <c16:uniqueId val="{00000125-2993-41DE-A2CB-63102DE87051}"/>
              </c:ext>
            </c:extLst>
          </c:dPt>
          <c:dPt>
            <c:idx val="146"/>
            <c:invertIfNegative val="1"/>
            <c:bubble3D val="0"/>
            <c:spPr>
              <a:solidFill>
                <a:srgbClr val="AEABAB"/>
              </a:solidFill>
            </c:spPr>
            <c:extLst>
              <c:ext xmlns:c16="http://schemas.microsoft.com/office/drawing/2014/chart" uri="{C3380CC4-5D6E-409C-BE32-E72D297353CC}">
                <c16:uniqueId val="{00000127-2993-41DE-A2CB-63102DE87051}"/>
              </c:ext>
            </c:extLst>
          </c:dPt>
          <c:dPt>
            <c:idx val="147"/>
            <c:invertIfNegative val="1"/>
            <c:bubble3D val="0"/>
            <c:spPr>
              <a:solidFill>
                <a:srgbClr val="AEABAB"/>
              </a:solidFill>
            </c:spPr>
            <c:extLst>
              <c:ext xmlns:c16="http://schemas.microsoft.com/office/drawing/2014/chart" uri="{C3380CC4-5D6E-409C-BE32-E72D297353CC}">
                <c16:uniqueId val="{00000129-2993-41DE-A2CB-63102DE87051}"/>
              </c:ext>
            </c:extLst>
          </c:dPt>
          <c:dPt>
            <c:idx val="148"/>
            <c:invertIfNegative val="1"/>
            <c:bubble3D val="0"/>
            <c:spPr>
              <a:solidFill>
                <a:srgbClr val="AEABAB"/>
              </a:solidFill>
            </c:spPr>
            <c:extLst>
              <c:ext xmlns:c16="http://schemas.microsoft.com/office/drawing/2014/chart" uri="{C3380CC4-5D6E-409C-BE32-E72D297353CC}">
                <c16:uniqueId val="{0000012B-2993-41DE-A2CB-63102DE87051}"/>
              </c:ext>
            </c:extLst>
          </c:dPt>
          <c:dPt>
            <c:idx val="149"/>
            <c:invertIfNegative val="1"/>
            <c:bubble3D val="0"/>
            <c:spPr>
              <a:solidFill>
                <a:srgbClr val="AEABAB"/>
              </a:solidFill>
            </c:spPr>
            <c:extLst>
              <c:ext xmlns:c16="http://schemas.microsoft.com/office/drawing/2014/chart" uri="{C3380CC4-5D6E-409C-BE32-E72D297353CC}">
                <c16:uniqueId val="{0000012D-2993-41DE-A2CB-63102DE87051}"/>
              </c:ext>
            </c:extLst>
          </c:dPt>
          <c:dPt>
            <c:idx val="150"/>
            <c:invertIfNegative val="1"/>
            <c:bubble3D val="0"/>
            <c:spPr>
              <a:solidFill>
                <a:srgbClr val="AEABAB"/>
              </a:solidFill>
            </c:spPr>
            <c:extLst>
              <c:ext xmlns:c16="http://schemas.microsoft.com/office/drawing/2014/chart" uri="{C3380CC4-5D6E-409C-BE32-E72D297353CC}">
                <c16:uniqueId val="{0000012F-2993-41DE-A2CB-63102DE87051}"/>
              </c:ext>
            </c:extLst>
          </c:dPt>
          <c:dPt>
            <c:idx val="151"/>
            <c:invertIfNegative val="1"/>
            <c:bubble3D val="0"/>
            <c:spPr>
              <a:solidFill>
                <a:srgbClr val="AEABAB"/>
              </a:solidFill>
            </c:spPr>
            <c:extLst>
              <c:ext xmlns:c16="http://schemas.microsoft.com/office/drawing/2014/chart" uri="{C3380CC4-5D6E-409C-BE32-E72D297353CC}">
                <c16:uniqueId val="{00000131-2993-41DE-A2CB-63102DE87051}"/>
              </c:ext>
            </c:extLst>
          </c:dPt>
          <c:dPt>
            <c:idx val="152"/>
            <c:invertIfNegative val="1"/>
            <c:bubble3D val="0"/>
            <c:spPr>
              <a:solidFill>
                <a:srgbClr val="AEABAB"/>
              </a:solidFill>
            </c:spPr>
            <c:extLst>
              <c:ext xmlns:c16="http://schemas.microsoft.com/office/drawing/2014/chart" uri="{C3380CC4-5D6E-409C-BE32-E72D297353CC}">
                <c16:uniqueId val="{00000133-2993-41DE-A2CB-63102DE87051}"/>
              </c:ext>
            </c:extLst>
          </c:dPt>
          <c:dPt>
            <c:idx val="153"/>
            <c:invertIfNegative val="1"/>
            <c:bubble3D val="0"/>
            <c:spPr>
              <a:solidFill>
                <a:srgbClr val="AEABAB"/>
              </a:solidFill>
            </c:spPr>
            <c:extLst>
              <c:ext xmlns:c16="http://schemas.microsoft.com/office/drawing/2014/chart" uri="{C3380CC4-5D6E-409C-BE32-E72D297353CC}">
                <c16:uniqueId val="{00000135-2993-41DE-A2CB-63102DE87051}"/>
              </c:ext>
            </c:extLst>
          </c:dPt>
          <c:dPt>
            <c:idx val="154"/>
            <c:invertIfNegative val="1"/>
            <c:bubble3D val="0"/>
            <c:spPr>
              <a:solidFill>
                <a:srgbClr val="AEABAB"/>
              </a:solidFill>
            </c:spPr>
            <c:extLst>
              <c:ext xmlns:c16="http://schemas.microsoft.com/office/drawing/2014/chart" uri="{C3380CC4-5D6E-409C-BE32-E72D297353CC}">
                <c16:uniqueId val="{00000137-2993-41DE-A2CB-63102DE87051}"/>
              </c:ext>
            </c:extLst>
          </c:dPt>
          <c:dPt>
            <c:idx val="155"/>
            <c:invertIfNegative val="1"/>
            <c:bubble3D val="0"/>
            <c:spPr>
              <a:solidFill>
                <a:srgbClr val="AEABAB"/>
              </a:solidFill>
            </c:spPr>
            <c:extLst>
              <c:ext xmlns:c16="http://schemas.microsoft.com/office/drawing/2014/chart" uri="{C3380CC4-5D6E-409C-BE32-E72D297353CC}">
                <c16:uniqueId val="{00000139-2993-41DE-A2CB-63102DE87051}"/>
              </c:ext>
            </c:extLst>
          </c:dPt>
          <c:dPt>
            <c:idx val="156"/>
            <c:invertIfNegative val="1"/>
            <c:bubble3D val="0"/>
            <c:spPr>
              <a:solidFill>
                <a:srgbClr val="AEABAB"/>
              </a:solidFill>
            </c:spPr>
            <c:extLst>
              <c:ext xmlns:c16="http://schemas.microsoft.com/office/drawing/2014/chart" uri="{C3380CC4-5D6E-409C-BE32-E72D297353CC}">
                <c16:uniqueId val="{0000013B-2993-41DE-A2CB-63102DE87051}"/>
              </c:ext>
            </c:extLst>
          </c:dPt>
          <c:dPt>
            <c:idx val="157"/>
            <c:invertIfNegative val="1"/>
            <c:bubble3D val="0"/>
            <c:spPr>
              <a:solidFill>
                <a:srgbClr val="AEABAB"/>
              </a:solidFill>
            </c:spPr>
            <c:extLst>
              <c:ext xmlns:c16="http://schemas.microsoft.com/office/drawing/2014/chart" uri="{C3380CC4-5D6E-409C-BE32-E72D297353CC}">
                <c16:uniqueId val="{0000013D-2993-41DE-A2CB-63102DE87051}"/>
              </c:ext>
            </c:extLst>
          </c:dPt>
          <c:dPt>
            <c:idx val="158"/>
            <c:invertIfNegative val="1"/>
            <c:bubble3D val="0"/>
            <c:spPr>
              <a:solidFill>
                <a:srgbClr val="AEABAB"/>
              </a:solidFill>
            </c:spPr>
            <c:extLst>
              <c:ext xmlns:c16="http://schemas.microsoft.com/office/drawing/2014/chart" uri="{C3380CC4-5D6E-409C-BE32-E72D297353CC}">
                <c16:uniqueId val="{0000013F-2993-41DE-A2CB-63102DE87051}"/>
              </c:ext>
            </c:extLst>
          </c:dPt>
          <c:dPt>
            <c:idx val="159"/>
            <c:invertIfNegative val="1"/>
            <c:bubble3D val="0"/>
            <c:spPr>
              <a:solidFill>
                <a:srgbClr val="AEABAB"/>
              </a:solidFill>
            </c:spPr>
            <c:extLst>
              <c:ext xmlns:c16="http://schemas.microsoft.com/office/drawing/2014/chart" uri="{C3380CC4-5D6E-409C-BE32-E72D297353CC}">
                <c16:uniqueId val="{00000141-2993-41DE-A2CB-63102DE87051}"/>
              </c:ext>
            </c:extLst>
          </c:dPt>
          <c:dPt>
            <c:idx val="160"/>
            <c:invertIfNegative val="1"/>
            <c:bubble3D val="0"/>
            <c:spPr>
              <a:solidFill>
                <a:srgbClr val="AEABAB"/>
              </a:solidFill>
            </c:spPr>
            <c:extLst>
              <c:ext xmlns:c16="http://schemas.microsoft.com/office/drawing/2014/chart" uri="{C3380CC4-5D6E-409C-BE32-E72D297353CC}">
                <c16:uniqueId val="{00000143-2993-41DE-A2CB-63102DE87051}"/>
              </c:ext>
            </c:extLst>
          </c:dPt>
          <c:dPt>
            <c:idx val="161"/>
            <c:invertIfNegative val="1"/>
            <c:bubble3D val="0"/>
            <c:spPr>
              <a:solidFill>
                <a:srgbClr val="AEABAB"/>
              </a:solidFill>
            </c:spPr>
            <c:extLst>
              <c:ext xmlns:c16="http://schemas.microsoft.com/office/drawing/2014/chart" uri="{C3380CC4-5D6E-409C-BE32-E72D297353CC}">
                <c16:uniqueId val="{00000145-2993-41DE-A2CB-63102DE87051}"/>
              </c:ext>
            </c:extLst>
          </c:dPt>
          <c:dPt>
            <c:idx val="162"/>
            <c:invertIfNegative val="1"/>
            <c:bubble3D val="0"/>
            <c:spPr>
              <a:solidFill>
                <a:srgbClr val="AEABAB"/>
              </a:solidFill>
            </c:spPr>
            <c:extLst>
              <c:ext xmlns:c16="http://schemas.microsoft.com/office/drawing/2014/chart" uri="{C3380CC4-5D6E-409C-BE32-E72D297353CC}">
                <c16:uniqueId val="{00000147-2993-41DE-A2CB-63102DE87051}"/>
              </c:ext>
            </c:extLst>
          </c:dPt>
          <c:dPt>
            <c:idx val="163"/>
            <c:invertIfNegative val="1"/>
            <c:bubble3D val="0"/>
            <c:spPr>
              <a:solidFill>
                <a:srgbClr val="AEABAB"/>
              </a:solidFill>
            </c:spPr>
            <c:extLst>
              <c:ext xmlns:c16="http://schemas.microsoft.com/office/drawing/2014/chart" uri="{C3380CC4-5D6E-409C-BE32-E72D297353CC}">
                <c16:uniqueId val="{00000149-2993-41DE-A2CB-63102DE87051}"/>
              </c:ext>
            </c:extLst>
          </c:dPt>
          <c:dPt>
            <c:idx val="164"/>
            <c:invertIfNegative val="1"/>
            <c:bubble3D val="0"/>
            <c:spPr>
              <a:solidFill>
                <a:srgbClr val="AEABAB"/>
              </a:solidFill>
            </c:spPr>
            <c:extLst>
              <c:ext xmlns:c16="http://schemas.microsoft.com/office/drawing/2014/chart" uri="{C3380CC4-5D6E-409C-BE32-E72D297353CC}">
                <c16:uniqueId val="{0000014B-2993-41DE-A2CB-63102DE87051}"/>
              </c:ext>
            </c:extLst>
          </c:dPt>
          <c:dPt>
            <c:idx val="165"/>
            <c:invertIfNegative val="1"/>
            <c:bubble3D val="0"/>
            <c:spPr>
              <a:solidFill>
                <a:srgbClr val="AEABAB"/>
              </a:solidFill>
            </c:spPr>
            <c:extLst>
              <c:ext xmlns:c16="http://schemas.microsoft.com/office/drawing/2014/chart" uri="{C3380CC4-5D6E-409C-BE32-E72D297353CC}">
                <c16:uniqueId val="{0000014D-2993-41DE-A2CB-63102DE87051}"/>
              </c:ext>
            </c:extLst>
          </c:dPt>
          <c:dPt>
            <c:idx val="166"/>
            <c:invertIfNegative val="1"/>
            <c:bubble3D val="0"/>
            <c:spPr>
              <a:solidFill>
                <a:srgbClr val="AEABAB"/>
              </a:solidFill>
            </c:spPr>
            <c:extLst>
              <c:ext xmlns:c16="http://schemas.microsoft.com/office/drawing/2014/chart" uri="{C3380CC4-5D6E-409C-BE32-E72D297353CC}">
                <c16:uniqueId val="{0000014F-2993-41DE-A2CB-63102DE87051}"/>
              </c:ext>
            </c:extLst>
          </c:dPt>
          <c:dPt>
            <c:idx val="167"/>
            <c:invertIfNegative val="1"/>
            <c:bubble3D val="0"/>
            <c:spPr>
              <a:solidFill>
                <a:srgbClr val="AEABAB"/>
              </a:solidFill>
            </c:spPr>
            <c:extLst>
              <c:ext xmlns:c16="http://schemas.microsoft.com/office/drawing/2014/chart" uri="{C3380CC4-5D6E-409C-BE32-E72D297353CC}">
                <c16:uniqueId val="{00000151-2993-41DE-A2CB-63102DE87051}"/>
              </c:ext>
            </c:extLst>
          </c:dPt>
          <c:dPt>
            <c:idx val="168"/>
            <c:invertIfNegative val="1"/>
            <c:bubble3D val="0"/>
            <c:spPr>
              <a:solidFill>
                <a:srgbClr val="AEABAB"/>
              </a:solidFill>
            </c:spPr>
            <c:extLst>
              <c:ext xmlns:c16="http://schemas.microsoft.com/office/drawing/2014/chart" uri="{C3380CC4-5D6E-409C-BE32-E72D297353CC}">
                <c16:uniqueId val="{00000153-2993-41DE-A2CB-63102DE87051}"/>
              </c:ext>
            </c:extLst>
          </c:dPt>
          <c:dPt>
            <c:idx val="169"/>
            <c:invertIfNegative val="1"/>
            <c:bubble3D val="0"/>
            <c:spPr>
              <a:solidFill>
                <a:srgbClr val="AEABAB"/>
              </a:solidFill>
            </c:spPr>
            <c:extLst>
              <c:ext xmlns:c16="http://schemas.microsoft.com/office/drawing/2014/chart" uri="{C3380CC4-5D6E-409C-BE32-E72D297353CC}">
                <c16:uniqueId val="{00000155-2993-41DE-A2CB-63102DE87051}"/>
              </c:ext>
            </c:extLst>
          </c:dPt>
          <c:dPt>
            <c:idx val="170"/>
            <c:invertIfNegative val="1"/>
            <c:bubble3D val="0"/>
            <c:spPr>
              <a:solidFill>
                <a:srgbClr val="AEABAB"/>
              </a:solidFill>
            </c:spPr>
            <c:extLst>
              <c:ext xmlns:c16="http://schemas.microsoft.com/office/drawing/2014/chart" uri="{C3380CC4-5D6E-409C-BE32-E72D297353CC}">
                <c16:uniqueId val="{00000157-2993-41DE-A2CB-63102DE87051}"/>
              </c:ext>
            </c:extLst>
          </c:dPt>
          <c:dPt>
            <c:idx val="171"/>
            <c:invertIfNegative val="1"/>
            <c:bubble3D val="0"/>
            <c:spPr>
              <a:solidFill>
                <a:srgbClr val="AEABAB"/>
              </a:solidFill>
            </c:spPr>
            <c:extLst>
              <c:ext xmlns:c16="http://schemas.microsoft.com/office/drawing/2014/chart" uri="{C3380CC4-5D6E-409C-BE32-E72D297353CC}">
                <c16:uniqueId val="{00000159-2993-41DE-A2CB-63102DE87051}"/>
              </c:ext>
            </c:extLst>
          </c:dPt>
          <c:dPt>
            <c:idx val="172"/>
            <c:invertIfNegative val="1"/>
            <c:bubble3D val="0"/>
            <c:spPr>
              <a:solidFill>
                <a:srgbClr val="AEABAB"/>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dPt>
            <c:idx val="210"/>
            <c:invertIfNegative val="1"/>
            <c:bubble3D val="0"/>
            <c:spPr>
              <a:solidFill>
                <a:srgbClr val="AEABAB"/>
              </a:solidFill>
            </c:spPr>
            <c:extLst>
              <c:ext xmlns:c16="http://schemas.microsoft.com/office/drawing/2014/chart" uri="{C3380CC4-5D6E-409C-BE32-E72D297353CC}">
                <c16:uniqueId val="{000001A7-C555-490E-9AD4-E7FF6D9A4B2D}"/>
              </c:ext>
            </c:extLst>
          </c:dPt>
          <c:dPt>
            <c:idx val="211"/>
            <c:invertIfNegative val="1"/>
            <c:bubble3D val="0"/>
            <c:spPr>
              <a:solidFill>
                <a:srgbClr val="AEABAB"/>
              </a:solidFill>
            </c:spPr>
            <c:extLst>
              <c:ext xmlns:c16="http://schemas.microsoft.com/office/drawing/2014/chart" uri="{C3380CC4-5D6E-409C-BE32-E72D297353CC}">
                <c16:uniqueId val="{000001A9-C555-490E-9AD4-E7FF6D9A4B2D}"/>
              </c:ext>
            </c:extLst>
          </c:dPt>
          <c:dPt>
            <c:idx val="212"/>
            <c:invertIfNegative val="1"/>
            <c:bubble3D val="0"/>
            <c:spPr>
              <a:solidFill>
                <a:srgbClr val="AEABAB"/>
              </a:solidFill>
            </c:spPr>
            <c:extLst>
              <c:ext xmlns:c16="http://schemas.microsoft.com/office/drawing/2014/chart" uri="{C3380CC4-5D6E-409C-BE32-E72D297353CC}">
                <c16:uniqueId val="{000001AB-C555-490E-9AD4-E7FF6D9A4B2D}"/>
              </c:ext>
            </c:extLst>
          </c:dPt>
          <c:dPt>
            <c:idx val="213"/>
            <c:invertIfNegative val="1"/>
            <c:bubble3D val="0"/>
            <c:spPr>
              <a:solidFill>
                <a:srgbClr val="AEABAB"/>
              </a:solidFill>
            </c:spPr>
            <c:extLst>
              <c:ext xmlns:c16="http://schemas.microsoft.com/office/drawing/2014/chart" uri="{C3380CC4-5D6E-409C-BE32-E72D297353CC}">
                <c16:uniqueId val="{000001AD-C555-490E-9AD4-E7FF6D9A4B2D}"/>
              </c:ext>
            </c:extLst>
          </c:dPt>
          <c:dPt>
            <c:idx val="214"/>
            <c:invertIfNegative val="1"/>
            <c:bubble3D val="0"/>
            <c:spPr>
              <a:solidFill>
                <a:srgbClr val="AEABAB"/>
              </a:solidFill>
            </c:spPr>
            <c:extLst>
              <c:ext xmlns:c16="http://schemas.microsoft.com/office/drawing/2014/chart" uri="{C3380CC4-5D6E-409C-BE32-E72D297353CC}">
                <c16:uniqueId val="{000001AF-C555-490E-9AD4-E7FF6D9A4B2D}"/>
              </c:ext>
            </c:extLst>
          </c:dPt>
          <c:dPt>
            <c:idx val="215"/>
            <c:invertIfNegative val="1"/>
            <c:bubble3D val="0"/>
            <c:spPr>
              <a:solidFill>
                <a:srgbClr val="AEABAB"/>
              </a:solidFill>
            </c:spPr>
            <c:extLst>
              <c:ext xmlns:c16="http://schemas.microsoft.com/office/drawing/2014/chart" uri="{C3380CC4-5D6E-409C-BE32-E72D297353CC}">
                <c16:uniqueId val="{000001B1-C555-490E-9AD4-E7FF6D9A4B2D}"/>
              </c:ext>
            </c:extLst>
          </c:dPt>
          <c:dPt>
            <c:idx val="216"/>
            <c:invertIfNegative val="1"/>
            <c:bubble3D val="0"/>
            <c:spPr>
              <a:solidFill>
                <a:srgbClr val="AEABAB"/>
              </a:solidFill>
            </c:spPr>
            <c:extLst>
              <c:ext xmlns:c16="http://schemas.microsoft.com/office/drawing/2014/chart" uri="{C3380CC4-5D6E-409C-BE32-E72D297353CC}">
                <c16:uniqueId val="{000001B3-C555-490E-9AD4-E7FF6D9A4B2D}"/>
              </c:ext>
            </c:extLst>
          </c:dPt>
          <c:dPt>
            <c:idx val="217"/>
            <c:invertIfNegative val="1"/>
            <c:bubble3D val="0"/>
            <c:spPr>
              <a:solidFill>
                <a:srgbClr val="AEABAB"/>
              </a:solidFill>
            </c:spPr>
            <c:extLst>
              <c:ext xmlns:c16="http://schemas.microsoft.com/office/drawing/2014/chart" uri="{C3380CC4-5D6E-409C-BE32-E72D297353CC}">
                <c16:uniqueId val="{000001B5-C555-490E-9AD4-E7FF6D9A4B2D}"/>
              </c:ext>
            </c:extLst>
          </c:dPt>
          <c:dPt>
            <c:idx val="218"/>
            <c:invertIfNegative val="1"/>
            <c:bubble3D val="0"/>
            <c:spPr>
              <a:solidFill>
                <a:srgbClr val="AEABAB"/>
              </a:solidFill>
            </c:spPr>
            <c:extLst>
              <c:ext xmlns:c16="http://schemas.microsoft.com/office/drawing/2014/chart" uri="{C3380CC4-5D6E-409C-BE32-E72D297353CC}">
                <c16:uniqueId val="{000001B7-C555-490E-9AD4-E7FF6D9A4B2D}"/>
              </c:ext>
            </c:extLst>
          </c:dPt>
          <c:dPt>
            <c:idx val="219"/>
            <c:invertIfNegative val="1"/>
            <c:bubble3D val="0"/>
            <c:spPr>
              <a:solidFill>
                <a:srgbClr val="AEABAB"/>
              </a:solidFill>
            </c:spPr>
            <c:extLst>
              <c:ext xmlns:c16="http://schemas.microsoft.com/office/drawing/2014/chart" uri="{C3380CC4-5D6E-409C-BE32-E72D297353CC}">
                <c16:uniqueId val="{000001B9-C555-490E-9AD4-E7FF6D9A4B2D}"/>
              </c:ext>
            </c:extLst>
          </c:dPt>
          <c:dPt>
            <c:idx val="220"/>
            <c:invertIfNegative val="1"/>
            <c:bubble3D val="0"/>
            <c:spPr>
              <a:solidFill>
                <a:srgbClr val="AEABAB"/>
              </a:solidFill>
            </c:spPr>
            <c:extLst>
              <c:ext xmlns:c16="http://schemas.microsoft.com/office/drawing/2014/chart" uri="{C3380CC4-5D6E-409C-BE32-E72D297353CC}">
                <c16:uniqueId val="{000001BB-C555-490E-9AD4-E7FF6D9A4B2D}"/>
              </c:ext>
            </c:extLst>
          </c:dPt>
          <c:dPt>
            <c:idx val="221"/>
            <c:invertIfNegative val="1"/>
            <c:bubble3D val="0"/>
            <c:spPr>
              <a:solidFill>
                <a:srgbClr val="AEABAB"/>
              </a:solidFill>
            </c:spPr>
            <c:extLst>
              <c:ext xmlns:c16="http://schemas.microsoft.com/office/drawing/2014/chart" uri="{C3380CC4-5D6E-409C-BE32-E72D297353CC}">
                <c16:uniqueId val="{000001BD-C555-490E-9AD4-E7FF6D9A4B2D}"/>
              </c:ext>
            </c:extLst>
          </c:dPt>
          <c:dPt>
            <c:idx val="222"/>
            <c:invertIfNegative val="1"/>
            <c:bubble3D val="0"/>
            <c:spPr>
              <a:solidFill>
                <a:srgbClr val="AEABAB"/>
              </a:solidFill>
            </c:spPr>
            <c:extLst>
              <c:ext xmlns:c16="http://schemas.microsoft.com/office/drawing/2014/chart" uri="{C3380CC4-5D6E-409C-BE32-E72D297353CC}">
                <c16:uniqueId val="{000001BF-C555-490E-9AD4-E7FF6D9A4B2D}"/>
              </c:ext>
            </c:extLst>
          </c:dPt>
          <c:dPt>
            <c:idx val="223"/>
            <c:invertIfNegative val="1"/>
            <c:bubble3D val="0"/>
            <c:spPr>
              <a:solidFill>
                <a:srgbClr val="AEABAB"/>
              </a:solidFill>
            </c:spPr>
            <c:extLst>
              <c:ext xmlns:c16="http://schemas.microsoft.com/office/drawing/2014/chart" uri="{C3380CC4-5D6E-409C-BE32-E72D297353CC}">
                <c16:uniqueId val="{000001C1-C555-490E-9AD4-E7FF6D9A4B2D}"/>
              </c:ext>
            </c:extLst>
          </c:dPt>
          <c:dPt>
            <c:idx val="224"/>
            <c:invertIfNegative val="1"/>
            <c:bubble3D val="0"/>
            <c:spPr>
              <a:solidFill>
                <a:srgbClr val="AEABAB"/>
              </a:solidFill>
            </c:spPr>
            <c:extLst>
              <c:ext xmlns:c16="http://schemas.microsoft.com/office/drawing/2014/chart" uri="{C3380CC4-5D6E-409C-BE32-E72D297353CC}">
                <c16:uniqueId val="{000001C3-C555-490E-9AD4-E7FF6D9A4B2D}"/>
              </c:ext>
            </c:extLst>
          </c:dPt>
          <c:dPt>
            <c:idx val="225"/>
            <c:invertIfNegative val="1"/>
            <c:bubble3D val="0"/>
            <c:spPr>
              <a:solidFill>
                <a:srgbClr val="AEABAB"/>
              </a:solidFill>
            </c:spPr>
            <c:extLst>
              <c:ext xmlns:c16="http://schemas.microsoft.com/office/drawing/2014/chart" uri="{C3380CC4-5D6E-409C-BE32-E72D297353CC}">
                <c16:uniqueId val="{000001C5-C555-490E-9AD4-E7FF6D9A4B2D}"/>
              </c:ext>
            </c:extLst>
          </c:dPt>
          <c:dPt>
            <c:idx val="226"/>
            <c:invertIfNegative val="1"/>
            <c:bubble3D val="0"/>
            <c:spPr>
              <a:solidFill>
                <a:srgbClr val="AEABAB"/>
              </a:solidFill>
            </c:spPr>
            <c:extLst>
              <c:ext xmlns:c16="http://schemas.microsoft.com/office/drawing/2014/chart" uri="{C3380CC4-5D6E-409C-BE32-E72D297353CC}">
                <c16:uniqueId val="{000001C7-C555-490E-9AD4-E7FF6D9A4B2D}"/>
              </c:ext>
            </c:extLst>
          </c:dPt>
          <c:dPt>
            <c:idx val="227"/>
            <c:invertIfNegative val="1"/>
            <c:bubble3D val="0"/>
            <c:spPr>
              <a:solidFill>
                <a:srgbClr val="AEABAB"/>
              </a:solidFill>
            </c:spPr>
            <c:extLst>
              <c:ext xmlns:c16="http://schemas.microsoft.com/office/drawing/2014/chart" uri="{C3380CC4-5D6E-409C-BE32-E72D297353CC}">
                <c16:uniqueId val="{000001C9-C555-490E-9AD4-E7FF6D9A4B2D}"/>
              </c:ext>
            </c:extLst>
          </c:dPt>
          <c:dPt>
            <c:idx val="228"/>
            <c:invertIfNegative val="1"/>
            <c:bubble3D val="0"/>
            <c:spPr>
              <a:solidFill>
                <a:srgbClr val="AEABAB"/>
              </a:solidFill>
            </c:spPr>
            <c:extLst>
              <c:ext xmlns:c16="http://schemas.microsoft.com/office/drawing/2014/chart" uri="{C3380CC4-5D6E-409C-BE32-E72D297353CC}">
                <c16:uniqueId val="{000001CB-C555-490E-9AD4-E7FF6D9A4B2D}"/>
              </c:ext>
            </c:extLst>
          </c:dPt>
          <c:dPt>
            <c:idx val="229"/>
            <c:invertIfNegative val="1"/>
            <c:bubble3D val="0"/>
            <c:spPr>
              <a:solidFill>
                <a:srgbClr val="AEABAB"/>
              </a:solidFill>
            </c:spPr>
            <c:extLst>
              <c:ext xmlns:c16="http://schemas.microsoft.com/office/drawing/2014/chart" uri="{C3380CC4-5D6E-409C-BE32-E72D297353CC}">
                <c16:uniqueId val="{000001CD-C555-490E-9AD4-E7FF6D9A4B2D}"/>
              </c:ext>
            </c:extLst>
          </c:dPt>
          <c:dPt>
            <c:idx val="230"/>
            <c:invertIfNegative val="1"/>
            <c:bubble3D val="0"/>
            <c:spPr>
              <a:solidFill>
                <a:srgbClr val="AEABAB"/>
              </a:solidFill>
            </c:spPr>
            <c:extLst>
              <c:ext xmlns:c16="http://schemas.microsoft.com/office/drawing/2014/chart" uri="{C3380CC4-5D6E-409C-BE32-E72D297353CC}">
                <c16:uniqueId val="{000001CF-C555-490E-9AD4-E7FF6D9A4B2D}"/>
              </c:ext>
            </c:extLst>
          </c:dPt>
          <c:dPt>
            <c:idx val="231"/>
            <c:invertIfNegative val="1"/>
            <c:bubble3D val="0"/>
            <c:spPr>
              <a:solidFill>
                <a:srgbClr val="AEABAB"/>
              </a:solidFill>
            </c:spPr>
            <c:extLst>
              <c:ext xmlns:c16="http://schemas.microsoft.com/office/drawing/2014/chart" uri="{C3380CC4-5D6E-409C-BE32-E72D297353CC}">
                <c16:uniqueId val="{000001D1-C555-490E-9AD4-E7FF6D9A4B2D}"/>
              </c:ext>
            </c:extLst>
          </c:dPt>
          <c:dPt>
            <c:idx val="232"/>
            <c:invertIfNegative val="1"/>
            <c:bubble3D val="0"/>
            <c:spPr>
              <a:solidFill>
                <a:srgbClr val="AEABAB"/>
              </a:solidFill>
            </c:spPr>
            <c:extLst>
              <c:ext xmlns:c16="http://schemas.microsoft.com/office/drawing/2014/chart" uri="{C3380CC4-5D6E-409C-BE32-E72D297353CC}">
                <c16:uniqueId val="{000001D3-C555-490E-9AD4-E7FF6D9A4B2D}"/>
              </c:ext>
            </c:extLst>
          </c:dPt>
          <c:dPt>
            <c:idx val="233"/>
            <c:invertIfNegative val="1"/>
            <c:bubble3D val="0"/>
            <c:spPr>
              <a:solidFill>
                <a:srgbClr val="AEABAB"/>
              </a:solidFill>
            </c:spPr>
            <c:extLst>
              <c:ext xmlns:c16="http://schemas.microsoft.com/office/drawing/2014/chart" uri="{C3380CC4-5D6E-409C-BE32-E72D297353CC}">
                <c16:uniqueId val="{000001D5-C555-490E-9AD4-E7FF6D9A4B2D}"/>
              </c:ext>
            </c:extLst>
          </c:dPt>
          <c:dPt>
            <c:idx val="234"/>
            <c:invertIfNegative val="1"/>
            <c:bubble3D val="0"/>
            <c:spPr>
              <a:solidFill>
                <a:srgbClr val="AEABAB"/>
              </a:solidFill>
            </c:spPr>
            <c:extLst>
              <c:ext xmlns:c16="http://schemas.microsoft.com/office/drawing/2014/chart" uri="{C3380CC4-5D6E-409C-BE32-E72D297353CC}">
                <c16:uniqueId val="{000001D7-C555-490E-9AD4-E7FF6D9A4B2D}"/>
              </c:ext>
            </c:extLst>
          </c:dPt>
          <c:dPt>
            <c:idx val="235"/>
            <c:invertIfNegative val="1"/>
            <c:bubble3D val="0"/>
            <c:spPr>
              <a:solidFill>
                <a:srgbClr val="AEABAB"/>
              </a:solidFill>
            </c:spPr>
            <c:extLst>
              <c:ext xmlns:c16="http://schemas.microsoft.com/office/drawing/2014/chart" uri="{C3380CC4-5D6E-409C-BE32-E72D297353CC}">
                <c16:uniqueId val="{000001D9-C555-490E-9AD4-E7FF6D9A4B2D}"/>
              </c:ext>
            </c:extLst>
          </c:dPt>
          <c:dPt>
            <c:idx val="236"/>
            <c:invertIfNegative val="1"/>
            <c:bubble3D val="0"/>
            <c:spPr>
              <a:solidFill>
                <a:srgbClr val="AEABAB"/>
              </a:solidFill>
            </c:spPr>
            <c:extLst>
              <c:ext xmlns:c16="http://schemas.microsoft.com/office/drawing/2014/chart" uri="{C3380CC4-5D6E-409C-BE32-E72D297353CC}">
                <c16:uniqueId val="{000001DB-C555-490E-9AD4-E7FF6D9A4B2D}"/>
              </c:ext>
            </c:extLst>
          </c:dPt>
          <c:dPt>
            <c:idx val="237"/>
            <c:invertIfNegative val="1"/>
            <c:bubble3D val="0"/>
            <c:spPr>
              <a:solidFill>
                <a:srgbClr val="AEABAB"/>
              </a:solidFill>
            </c:spPr>
            <c:extLst>
              <c:ext xmlns:c16="http://schemas.microsoft.com/office/drawing/2014/chart" uri="{C3380CC4-5D6E-409C-BE32-E72D297353CC}">
                <c16:uniqueId val="{000001DD-C555-490E-9AD4-E7FF6D9A4B2D}"/>
              </c:ext>
            </c:extLst>
          </c:dPt>
          <c:dPt>
            <c:idx val="238"/>
            <c:invertIfNegative val="1"/>
            <c:bubble3D val="0"/>
            <c:spPr>
              <a:solidFill>
                <a:srgbClr val="AEABAB"/>
              </a:solidFill>
            </c:spPr>
            <c:extLst>
              <c:ext xmlns:c16="http://schemas.microsoft.com/office/drawing/2014/chart" uri="{C3380CC4-5D6E-409C-BE32-E72D297353CC}">
                <c16:uniqueId val="{000001DF-C555-490E-9AD4-E7FF6D9A4B2D}"/>
              </c:ext>
            </c:extLst>
          </c:dPt>
          <c:dPt>
            <c:idx val="239"/>
            <c:invertIfNegative val="1"/>
            <c:bubble3D val="0"/>
            <c:spPr>
              <a:solidFill>
                <a:srgbClr val="AEABAB"/>
              </a:solidFill>
            </c:spPr>
            <c:extLst>
              <c:ext xmlns:c16="http://schemas.microsoft.com/office/drawing/2014/chart" uri="{C3380CC4-5D6E-409C-BE32-E72D297353CC}">
                <c16:uniqueId val="{000001E1-C555-490E-9AD4-E7FF6D9A4B2D}"/>
              </c:ext>
            </c:extLst>
          </c:dPt>
          <c:dPt>
            <c:idx val="240"/>
            <c:invertIfNegative val="1"/>
            <c:bubble3D val="0"/>
            <c:spPr>
              <a:solidFill>
                <a:srgbClr val="AEABAB"/>
              </a:solidFill>
            </c:spPr>
            <c:extLst>
              <c:ext xmlns:c16="http://schemas.microsoft.com/office/drawing/2014/chart" uri="{C3380CC4-5D6E-409C-BE32-E72D297353CC}">
                <c16:uniqueId val="{000001E3-C555-490E-9AD4-E7FF6D9A4B2D}"/>
              </c:ext>
            </c:extLst>
          </c:dPt>
          <c:dPt>
            <c:idx val="241"/>
            <c:invertIfNegative val="1"/>
            <c:bubble3D val="0"/>
            <c:spPr>
              <a:solidFill>
                <a:srgbClr val="AEABAB"/>
              </a:solidFill>
            </c:spPr>
            <c:extLst>
              <c:ext xmlns:c16="http://schemas.microsoft.com/office/drawing/2014/chart" uri="{C3380CC4-5D6E-409C-BE32-E72D297353CC}">
                <c16:uniqueId val="{000001E5-C555-490E-9AD4-E7FF6D9A4B2D}"/>
              </c:ext>
            </c:extLst>
          </c:dPt>
          <c:dPt>
            <c:idx val="242"/>
            <c:invertIfNegative val="1"/>
            <c:bubble3D val="0"/>
            <c:spPr>
              <a:solidFill>
                <a:srgbClr val="AEABAB"/>
              </a:solidFill>
            </c:spPr>
            <c:extLst>
              <c:ext xmlns:c16="http://schemas.microsoft.com/office/drawing/2014/chart" uri="{C3380CC4-5D6E-409C-BE32-E72D297353CC}">
                <c16:uniqueId val="{000001E7-C555-490E-9AD4-E7FF6D9A4B2D}"/>
              </c:ext>
            </c:extLst>
          </c:dPt>
          <c:dPt>
            <c:idx val="243"/>
            <c:invertIfNegative val="1"/>
            <c:bubble3D val="0"/>
            <c:spPr>
              <a:solidFill>
                <a:srgbClr val="AEABAB"/>
              </a:solidFill>
            </c:spPr>
            <c:extLst>
              <c:ext xmlns:c16="http://schemas.microsoft.com/office/drawing/2014/chart" uri="{C3380CC4-5D6E-409C-BE32-E72D297353CC}">
                <c16:uniqueId val="{000001E9-C555-490E-9AD4-E7FF6D9A4B2D}"/>
              </c:ext>
            </c:extLst>
          </c:dPt>
          <c:dPt>
            <c:idx val="244"/>
            <c:invertIfNegative val="1"/>
            <c:bubble3D val="0"/>
            <c:spPr>
              <a:solidFill>
                <a:srgbClr val="AEABAB"/>
              </a:solidFill>
            </c:spPr>
            <c:extLst>
              <c:ext xmlns:c16="http://schemas.microsoft.com/office/drawing/2014/chart" uri="{C3380CC4-5D6E-409C-BE32-E72D297353CC}">
                <c16:uniqueId val="{000001EB-C555-490E-9AD4-E7FF6D9A4B2D}"/>
              </c:ext>
            </c:extLst>
          </c:dPt>
          <c:dPt>
            <c:idx val="245"/>
            <c:invertIfNegative val="1"/>
            <c:bubble3D val="0"/>
            <c:spPr>
              <a:solidFill>
                <a:srgbClr val="AEABAB"/>
              </a:solidFill>
            </c:spPr>
            <c:extLst>
              <c:ext xmlns:c16="http://schemas.microsoft.com/office/drawing/2014/chart" uri="{C3380CC4-5D6E-409C-BE32-E72D297353CC}">
                <c16:uniqueId val="{000001ED-C555-490E-9AD4-E7FF6D9A4B2D}"/>
              </c:ext>
            </c:extLst>
          </c:dPt>
          <c:dPt>
            <c:idx val="246"/>
            <c:invertIfNegative val="1"/>
            <c:bubble3D val="0"/>
            <c:spPr>
              <a:solidFill>
                <a:srgbClr val="AEABAB"/>
              </a:solidFill>
            </c:spPr>
            <c:extLst>
              <c:ext xmlns:c16="http://schemas.microsoft.com/office/drawing/2014/chart" uri="{C3380CC4-5D6E-409C-BE32-E72D297353CC}">
                <c16:uniqueId val="{000001EF-C555-490E-9AD4-E7FF6D9A4B2D}"/>
              </c:ext>
            </c:extLst>
          </c:dPt>
          <c:dPt>
            <c:idx val="247"/>
            <c:invertIfNegative val="1"/>
            <c:bubble3D val="0"/>
            <c:spPr>
              <a:solidFill>
                <a:srgbClr val="AEABAB"/>
              </a:solidFill>
            </c:spPr>
            <c:extLst>
              <c:ext xmlns:c16="http://schemas.microsoft.com/office/drawing/2014/chart" uri="{C3380CC4-5D6E-409C-BE32-E72D297353CC}">
                <c16:uniqueId val="{000001F1-C555-490E-9AD4-E7FF6D9A4B2D}"/>
              </c:ext>
            </c:extLst>
          </c:dPt>
          <c:dPt>
            <c:idx val="248"/>
            <c:invertIfNegative val="1"/>
            <c:bubble3D val="0"/>
            <c:spPr>
              <a:solidFill>
                <a:srgbClr val="AEABAB"/>
              </a:solidFill>
            </c:spPr>
            <c:extLst>
              <c:ext xmlns:c16="http://schemas.microsoft.com/office/drawing/2014/chart" uri="{C3380CC4-5D6E-409C-BE32-E72D297353CC}">
                <c16:uniqueId val="{000001F3-C555-490E-9AD4-E7FF6D9A4B2D}"/>
              </c:ext>
            </c:extLst>
          </c:dPt>
          <c:dPt>
            <c:idx val="249"/>
            <c:invertIfNegative val="1"/>
            <c:bubble3D val="0"/>
            <c:spPr>
              <a:solidFill>
                <a:srgbClr val="AEABAB"/>
              </a:solidFill>
            </c:spPr>
            <c:extLst>
              <c:ext xmlns:c16="http://schemas.microsoft.com/office/drawing/2014/chart" uri="{C3380CC4-5D6E-409C-BE32-E72D297353CC}">
                <c16:uniqueId val="{000001F5-C555-490E-9AD4-E7FF6D9A4B2D}"/>
              </c:ext>
            </c:extLst>
          </c:dPt>
          <c:dPt>
            <c:idx val="250"/>
            <c:invertIfNegative val="1"/>
            <c:bubble3D val="0"/>
            <c:spPr>
              <a:solidFill>
                <a:srgbClr val="AEABAB"/>
              </a:solidFill>
            </c:spPr>
            <c:extLst>
              <c:ext xmlns:c16="http://schemas.microsoft.com/office/drawing/2014/chart" uri="{C3380CC4-5D6E-409C-BE32-E72D297353CC}">
                <c16:uniqueId val="{000001F7-C555-490E-9AD4-E7FF6D9A4B2D}"/>
              </c:ext>
            </c:extLst>
          </c:dPt>
          <c:dPt>
            <c:idx val="251"/>
            <c:invertIfNegative val="1"/>
            <c:bubble3D val="0"/>
            <c:spPr>
              <a:solidFill>
                <a:srgbClr val="AEABAB"/>
              </a:solidFill>
            </c:spPr>
            <c:extLst>
              <c:ext xmlns:c16="http://schemas.microsoft.com/office/drawing/2014/chart" uri="{C3380CC4-5D6E-409C-BE32-E72D297353CC}">
                <c16:uniqueId val="{000001F9-C555-490E-9AD4-E7FF6D9A4B2D}"/>
              </c:ext>
            </c:extLst>
          </c:dPt>
          <c:dPt>
            <c:idx val="252"/>
            <c:invertIfNegative val="1"/>
            <c:bubble3D val="0"/>
            <c:spPr>
              <a:solidFill>
                <a:srgbClr val="AEABAB"/>
              </a:solidFill>
            </c:spPr>
            <c:extLst>
              <c:ext xmlns:c16="http://schemas.microsoft.com/office/drawing/2014/chart" uri="{C3380CC4-5D6E-409C-BE32-E72D297353CC}">
                <c16:uniqueId val="{000001FB-C555-490E-9AD4-E7FF6D9A4B2D}"/>
              </c:ext>
            </c:extLst>
          </c:dPt>
          <c:dPt>
            <c:idx val="253"/>
            <c:invertIfNegative val="1"/>
            <c:bubble3D val="0"/>
            <c:spPr>
              <a:solidFill>
                <a:srgbClr val="AEABAB"/>
              </a:solidFill>
            </c:spPr>
            <c:extLst>
              <c:ext xmlns:c16="http://schemas.microsoft.com/office/drawing/2014/chart" uri="{C3380CC4-5D6E-409C-BE32-E72D297353CC}">
                <c16:uniqueId val="{000001FD-C555-490E-9AD4-E7FF6D9A4B2D}"/>
              </c:ext>
            </c:extLst>
          </c:dPt>
          <c:dPt>
            <c:idx val="254"/>
            <c:invertIfNegative val="1"/>
            <c:bubble3D val="0"/>
            <c:spPr>
              <a:solidFill>
                <a:srgbClr val="AEABAB"/>
              </a:solidFill>
            </c:spPr>
            <c:extLst>
              <c:ext xmlns:c16="http://schemas.microsoft.com/office/drawing/2014/chart" uri="{C3380CC4-5D6E-409C-BE32-E72D297353CC}">
                <c16:uniqueId val="{000001FF-C555-490E-9AD4-E7FF6D9A4B2D}"/>
              </c:ext>
            </c:extLst>
          </c:dPt>
          <c:dPt>
            <c:idx val="255"/>
            <c:invertIfNegative val="1"/>
            <c:bubble3D val="0"/>
            <c:spPr>
              <a:solidFill>
                <a:srgbClr val="AEABAB"/>
              </a:solidFill>
            </c:spPr>
            <c:extLst>
              <c:ext xmlns:c16="http://schemas.microsoft.com/office/drawing/2014/chart" uri="{C3380CC4-5D6E-409C-BE32-E72D297353CC}">
                <c16:uniqueId val="{00000201-C555-490E-9AD4-E7FF6D9A4B2D}"/>
              </c:ext>
            </c:extLst>
          </c:dPt>
          <c:dPt>
            <c:idx val="256"/>
            <c:invertIfNegative val="1"/>
            <c:bubble3D val="0"/>
            <c:spPr>
              <a:solidFill>
                <a:srgbClr val="AEABAB"/>
              </a:solidFill>
            </c:spPr>
            <c:extLst>
              <c:ext xmlns:c16="http://schemas.microsoft.com/office/drawing/2014/chart" uri="{C3380CC4-5D6E-409C-BE32-E72D297353CC}">
                <c16:uniqueId val="{00000203-C555-490E-9AD4-E7FF6D9A4B2D}"/>
              </c:ext>
            </c:extLst>
          </c:dPt>
          <c:dPt>
            <c:idx val="257"/>
            <c:invertIfNegative val="1"/>
            <c:bubble3D val="0"/>
            <c:spPr>
              <a:solidFill>
                <a:srgbClr val="AEABAB"/>
              </a:solidFill>
            </c:spPr>
            <c:extLst>
              <c:ext xmlns:c16="http://schemas.microsoft.com/office/drawing/2014/chart" uri="{C3380CC4-5D6E-409C-BE32-E72D297353CC}">
                <c16:uniqueId val="{00000205-C555-490E-9AD4-E7FF6D9A4B2D}"/>
              </c:ext>
            </c:extLst>
          </c:dPt>
          <c:dPt>
            <c:idx val="258"/>
            <c:invertIfNegative val="1"/>
            <c:bubble3D val="0"/>
            <c:spPr>
              <a:solidFill>
                <a:srgbClr val="AEABAB"/>
              </a:solidFill>
            </c:spPr>
            <c:extLst>
              <c:ext xmlns:c16="http://schemas.microsoft.com/office/drawing/2014/chart" uri="{C3380CC4-5D6E-409C-BE32-E72D297353CC}">
                <c16:uniqueId val="{00000207-C555-490E-9AD4-E7FF6D9A4B2D}"/>
              </c:ext>
            </c:extLst>
          </c:dPt>
          <c:dPt>
            <c:idx val="259"/>
            <c:invertIfNegative val="1"/>
            <c:bubble3D val="0"/>
            <c:spPr>
              <a:solidFill>
                <a:srgbClr val="AEABAB"/>
              </a:solidFill>
            </c:spPr>
            <c:extLst>
              <c:ext xmlns:c16="http://schemas.microsoft.com/office/drawing/2014/chart" uri="{C3380CC4-5D6E-409C-BE32-E72D297353CC}">
                <c16:uniqueId val="{00000209-C555-490E-9AD4-E7FF6D9A4B2D}"/>
              </c:ext>
            </c:extLst>
          </c:dPt>
          <c:dPt>
            <c:idx val="260"/>
            <c:invertIfNegative val="1"/>
            <c:bubble3D val="0"/>
            <c:spPr>
              <a:solidFill>
                <a:srgbClr val="AEABAB"/>
              </a:solidFill>
            </c:spPr>
            <c:extLst>
              <c:ext xmlns:c16="http://schemas.microsoft.com/office/drawing/2014/chart" uri="{C3380CC4-5D6E-409C-BE32-E72D297353CC}">
                <c16:uniqueId val="{0000020B-C555-490E-9AD4-E7FF6D9A4B2D}"/>
              </c:ext>
            </c:extLst>
          </c:dPt>
          <c:dPt>
            <c:idx val="261"/>
            <c:invertIfNegative val="1"/>
            <c:bubble3D val="0"/>
            <c:spPr>
              <a:solidFill>
                <a:srgbClr val="AEABAB"/>
              </a:solidFill>
            </c:spPr>
            <c:extLst>
              <c:ext xmlns:c16="http://schemas.microsoft.com/office/drawing/2014/chart" uri="{C3380CC4-5D6E-409C-BE32-E72D297353CC}">
                <c16:uniqueId val="{0000020D-C555-490E-9AD4-E7FF6D9A4B2D}"/>
              </c:ext>
            </c:extLst>
          </c:dPt>
          <c:dPt>
            <c:idx val="262"/>
            <c:invertIfNegative val="1"/>
            <c:bubble3D val="0"/>
            <c:spPr>
              <a:solidFill>
                <a:srgbClr val="AEABAB"/>
              </a:solidFill>
            </c:spPr>
            <c:extLst>
              <c:ext xmlns:c16="http://schemas.microsoft.com/office/drawing/2014/chart" uri="{C3380CC4-5D6E-409C-BE32-E72D297353CC}">
                <c16:uniqueId val="{0000020F-C555-490E-9AD4-E7FF6D9A4B2D}"/>
              </c:ext>
            </c:extLst>
          </c:dPt>
          <c:dPt>
            <c:idx val="263"/>
            <c:invertIfNegative val="1"/>
            <c:bubble3D val="0"/>
            <c:spPr>
              <a:solidFill>
                <a:srgbClr val="AEABAB"/>
              </a:solidFill>
            </c:spPr>
            <c:extLst>
              <c:ext xmlns:c16="http://schemas.microsoft.com/office/drawing/2014/chart" uri="{C3380CC4-5D6E-409C-BE32-E72D297353CC}">
                <c16:uniqueId val="{00000211-C555-490E-9AD4-E7FF6D9A4B2D}"/>
              </c:ext>
            </c:extLst>
          </c:dPt>
          <c:dPt>
            <c:idx val="264"/>
            <c:invertIfNegative val="1"/>
            <c:bubble3D val="0"/>
            <c:spPr>
              <a:solidFill>
                <a:srgbClr val="AEABAB"/>
              </a:solidFill>
            </c:spPr>
            <c:extLst>
              <c:ext xmlns:c16="http://schemas.microsoft.com/office/drawing/2014/chart" uri="{C3380CC4-5D6E-409C-BE32-E72D297353CC}">
                <c16:uniqueId val="{00000213-C555-490E-9AD4-E7FF6D9A4B2D}"/>
              </c:ext>
            </c:extLst>
          </c:dPt>
          <c:dPt>
            <c:idx val="265"/>
            <c:invertIfNegative val="1"/>
            <c:bubble3D val="0"/>
            <c:spPr>
              <a:solidFill>
                <a:srgbClr val="AEABAB"/>
              </a:solidFill>
            </c:spPr>
            <c:extLst>
              <c:ext xmlns:c16="http://schemas.microsoft.com/office/drawing/2014/chart" uri="{C3380CC4-5D6E-409C-BE32-E72D297353CC}">
                <c16:uniqueId val="{00000215-C555-490E-9AD4-E7FF6D9A4B2D}"/>
              </c:ext>
            </c:extLst>
          </c:dPt>
          <c:dPt>
            <c:idx val="266"/>
            <c:invertIfNegative val="1"/>
            <c:bubble3D val="0"/>
            <c:spPr>
              <a:solidFill>
                <a:srgbClr val="AEABAB"/>
              </a:solidFill>
            </c:spPr>
            <c:extLst>
              <c:ext xmlns:c16="http://schemas.microsoft.com/office/drawing/2014/chart" uri="{C3380CC4-5D6E-409C-BE32-E72D297353CC}">
                <c16:uniqueId val="{00000217-C555-490E-9AD4-E7FF6D9A4B2D}"/>
              </c:ext>
            </c:extLst>
          </c:dPt>
          <c:dPt>
            <c:idx val="267"/>
            <c:invertIfNegative val="1"/>
            <c:bubble3D val="0"/>
            <c:spPr>
              <a:solidFill>
                <a:srgbClr val="AEABAB"/>
              </a:solidFill>
            </c:spPr>
            <c:extLst>
              <c:ext xmlns:c16="http://schemas.microsoft.com/office/drawing/2014/chart" uri="{C3380CC4-5D6E-409C-BE32-E72D297353CC}">
                <c16:uniqueId val="{00000219-C555-490E-9AD4-E7FF6D9A4B2D}"/>
              </c:ext>
            </c:extLst>
          </c:dPt>
          <c:dPt>
            <c:idx val="268"/>
            <c:invertIfNegative val="1"/>
            <c:bubble3D val="0"/>
            <c:spPr>
              <a:solidFill>
                <a:srgbClr val="AEABAB"/>
              </a:solidFill>
            </c:spPr>
            <c:extLst>
              <c:ext xmlns:c16="http://schemas.microsoft.com/office/drawing/2014/chart" uri="{C3380CC4-5D6E-409C-BE32-E72D297353CC}">
                <c16:uniqueId val="{0000021B-C555-490E-9AD4-E7FF6D9A4B2D}"/>
              </c:ext>
            </c:extLst>
          </c:dPt>
          <c:dPt>
            <c:idx val="269"/>
            <c:invertIfNegative val="1"/>
            <c:bubble3D val="0"/>
            <c:spPr>
              <a:solidFill>
                <a:srgbClr val="AEABAB"/>
              </a:solidFill>
            </c:spPr>
            <c:extLst>
              <c:ext xmlns:c16="http://schemas.microsoft.com/office/drawing/2014/chart" uri="{C3380CC4-5D6E-409C-BE32-E72D297353CC}">
                <c16:uniqueId val="{0000021D-C555-490E-9AD4-E7FF6D9A4B2D}"/>
              </c:ext>
            </c:extLst>
          </c:dPt>
          <c:dPt>
            <c:idx val="270"/>
            <c:invertIfNegative val="1"/>
            <c:bubble3D val="0"/>
            <c:spPr>
              <a:solidFill>
                <a:srgbClr val="AEABAB"/>
              </a:solidFill>
            </c:spPr>
            <c:extLst>
              <c:ext xmlns:c16="http://schemas.microsoft.com/office/drawing/2014/chart" uri="{C3380CC4-5D6E-409C-BE32-E72D297353CC}">
                <c16:uniqueId val="{0000021F-C555-490E-9AD4-E7FF6D9A4B2D}"/>
              </c:ext>
            </c:extLst>
          </c:dPt>
          <c:dPt>
            <c:idx val="271"/>
            <c:invertIfNegative val="1"/>
            <c:bubble3D val="0"/>
            <c:spPr>
              <a:solidFill>
                <a:srgbClr val="AEABAB"/>
              </a:solidFill>
            </c:spPr>
            <c:extLst>
              <c:ext xmlns:c16="http://schemas.microsoft.com/office/drawing/2014/chart" uri="{C3380CC4-5D6E-409C-BE32-E72D297353CC}">
                <c16:uniqueId val="{00000221-C555-490E-9AD4-E7FF6D9A4B2D}"/>
              </c:ext>
            </c:extLst>
          </c:dPt>
          <c:dPt>
            <c:idx val="272"/>
            <c:invertIfNegative val="1"/>
            <c:bubble3D val="0"/>
            <c:spPr>
              <a:solidFill>
                <a:srgbClr val="AEABAB"/>
              </a:solidFill>
            </c:spPr>
            <c:extLst>
              <c:ext xmlns:c16="http://schemas.microsoft.com/office/drawing/2014/chart" uri="{C3380CC4-5D6E-409C-BE32-E72D297353CC}">
                <c16:uniqueId val="{00000223-C555-490E-9AD4-E7FF6D9A4B2D}"/>
              </c:ext>
            </c:extLst>
          </c:dPt>
          <c:dPt>
            <c:idx val="273"/>
            <c:invertIfNegative val="1"/>
            <c:bubble3D val="0"/>
            <c:spPr>
              <a:solidFill>
                <a:srgbClr val="AEABAB"/>
              </a:solidFill>
            </c:spPr>
            <c:extLst>
              <c:ext xmlns:c16="http://schemas.microsoft.com/office/drawing/2014/chart" uri="{C3380CC4-5D6E-409C-BE32-E72D297353CC}">
                <c16:uniqueId val="{00000225-C555-490E-9AD4-E7FF6D9A4B2D}"/>
              </c:ext>
            </c:extLst>
          </c:dPt>
          <c:dPt>
            <c:idx val="274"/>
            <c:invertIfNegative val="1"/>
            <c:bubble3D val="0"/>
            <c:spPr>
              <a:solidFill>
                <a:srgbClr val="AEABAB"/>
              </a:solidFill>
            </c:spPr>
            <c:extLst>
              <c:ext xmlns:c16="http://schemas.microsoft.com/office/drawing/2014/chart" uri="{C3380CC4-5D6E-409C-BE32-E72D297353CC}">
                <c16:uniqueId val="{00000227-C555-490E-9AD4-E7FF6D9A4B2D}"/>
              </c:ext>
            </c:extLst>
          </c:dPt>
          <c:dPt>
            <c:idx val="275"/>
            <c:invertIfNegative val="1"/>
            <c:bubble3D val="0"/>
            <c:spPr>
              <a:solidFill>
                <a:srgbClr val="AEABAB"/>
              </a:solidFill>
            </c:spPr>
            <c:extLst>
              <c:ext xmlns:c16="http://schemas.microsoft.com/office/drawing/2014/chart" uri="{C3380CC4-5D6E-409C-BE32-E72D297353CC}">
                <c16:uniqueId val="{00000229-C555-490E-9AD4-E7FF6D9A4B2D}"/>
              </c:ext>
            </c:extLst>
          </c:dPt>
          <c:dPt>
            <c:idx val="276"/>
            <c:invertIfNegative val="1"/>
            <c:bubble3D val="0"/>
            <c:spPr>
              <a:solidFill>
                <a:srgbClr val="AEABAB"/>
              </a:solidFill>
            </c:spPr>
            <c:extLst>
              <c:ext xmlns:c16="http://schemas.microsoft.com/office/drawing/2014/chart" uri="{C3380CC4-5D6E-409C-BE32-E72D297353CC}">
                <c16:uniqueId val="{0000022B-C555-490E-9AD4-E7FF6D9A4B2D}"/>
              </c:ext>
            </c:extLst>
          </c:dPt>
          <c:dPt>
            <c:idx val="277"/>
            <c:invertIfNegative val="1"/>
            <c:bubble3D val="0"/>
            <c:spPr>
              <a:solidFill>
                <a:srgbClr val="AEABAB"/>
              </a:solidFill>
            </c:spPr>
            <c:extLst>
              <c:ext xmlns:c16="http://schemas.microsoft.com/office/drawing/2014/chart" uri="{C3380CC4-5D6E-409C-BE32-E72D297353CC}">
                <c16:uniqueId val="{0000022D-C555-490E-9AD4-E7FF6D9A4B2D}"/>
              </c:ext>
            </c:extLst>
          </c:dPt>
          <c:dPt>
            <c:idx val="278"/>
            <c:invertIfNegative val="1"/>
            <c:bubble3D val="0"/>
            <c:spPr>
              <a:solidFill>
                <a:srgbClr val="AEABAB"/>
              </a:solidFill>
            </c:spPr>
            <c:extLst>
              <c:ext xmlns:c16="http://schemas.microsoft.com/office/drawing/2014/chart" uri="{C3380CC4-5D6E-409C-BE32-E72D297353CC}">
                <c16:uniqueId val="{0000022F-C555-490E-9AD4-E7FF6D9A4B2D}"/>
              </c:ext>
            </c:extLst>
          </c:dPt>
          <c:dPt>
            <c:idx val="279"/>
            <c:invertIfNegative val="1"/>
            <c:bubble3D val="0"/>
            <c:spPr>
              <a:solidFill>
                <a:srgbClr val="AEABAB"/>
              </a:solidFill>
            </c:spPr>
            <c:extLst>
              <c:ext xmlns:c16="http://schemas.microsoft.com/office/drawing/2014/chart" uri="{C3380CC4-5D6E-409C-BE32-E72D297353CC}">
                <c16:uniqueId val="{00000231-C555-490E-9AD4-E7FF6D9A4B2D}"/>
              </c:ext>
            </c:extLst>
          </c:dPt>
          <c:dPt>
            <c:idx val="280"/>
            <c:invertIfNegative val="1"/>
            <c:bubble3D val="0"/>
            <c:spPr>
              <a:solidFill>
                <a:srgbClr val="AEABAB"/>
              </a:solidFill>
            </c:spPr>
            <c:extLst>
              <c:ext xmlns:c16="http://schemas.microsoft.com/office/drawing/2014/chart" uri="{C3380CC4-5D6E-409C-BE32-E72D297353CC}">
                <c16:uniqueId val="{00000233-C555-490E-9AD4-E7FF6D9A4B2D}"/>
              </c:ext>
            </c:extLst>
          </c:dPt>
          <c:dPt>
            <c:idx val="281"/>
            <c:invertIfNegative val="1"/>
            <c:bubble3D val="0"/>
            <c:spPr>
              <a:solidFill>
                <a:srgbClr val="AEABAB"/>
              </a:solidFill>
            </c:spPr>
            <c:extLst>
              <c:ext xmlns:c16="http://schemas.microsoft.com/office/drawing/2014/chart" uri="{C3380CC4-5D6E-409C-BE32-E72D297353CC}">
                <c16:uniqueId val="{00000235-C555-490E-9AD4-E7FF6D9A4B2D}"/>
              </c:ext>
            </c:extLst>
          </c:dPt>
          <c:dPt>
            <c:idx val="282"/>
            <c:invertIfNegative val="1"/>
            <c:bubble3D val="0"/>
            <c:spPr>
              <a:solidFill>
                <a:srgbClr val="AEABAB"/>
              </a:solidFill>
            </c:spPr>
            <c:extLst>
              <c:ext xmlns:c16="http://schemas.microsoft.com/office/drawing/2014/chart" uri="{C3380CC4-5D6E-409C-BE32-E72D297353CC}">
                <c16:uniqueId val="{00000237-C555-490E-9AD4-E7FF6D9A4B2D}"/>
              </c:ext>
            </c:extLst>
          </c:dPt>
          <c:dPt>
            <c:idx val="283"/>
            <c:invertIfNegative val="1"/>
            <c:bubble3D val="0"/>
            <c:spPr>
              <a:solidFill>
                <a:srgbClr val="AEABAB"/>
              </a:solidFill>
            </c:spPr>
            <c:extLst>
              <c:ext xmlns:c16="http://schemas.microsoft.com/office/drawing/2014/chart" uri="{C3380CC4-5D6E-409C-BE32-E72D297353CC}">
                <c16:uniqueId val="{00000239-C555-490E-9AD4-E7FF6D9A4B2D}"/>
              </c:ext>
            </c:extLst>
          </c:dPt>
          <c:dPt>
            <c:idx val="284"/>
            <c:invertIfNegative val="1"/>
            <c:bubble3D val="0"/>
            <c:spPr>
              <a:solidFill>
                <a:srgbClr val="AEABAB"/>
              </a:solidFill>
            </c:spPr>
            <c:extLst>
              <c:ext xmlns:c16="http://schemas.microsoft.com/office/drawing/2014/chart" uri="{C3380CC4-5D6E-409C-BE32-E72D297353CC}">
                <c16:uniqueId val="{0000023B-C555-490E-9AD4-E7FF6D9A4B2D}"/>
              </c:ext>
            </c:extLst>
          </c:dPt>
          <c:dPt>
            <c:idx val="285"/>
            <c:invertIfNegative val="1"/>
            <c:bubble3D val="0"/>
            <c:spPr>
              <a:solidFill>
                <a:srgbClr val="AEABAB"/>
              </a:solidFill>
            </c:spPr>
            <c:extLst>
              <c:ext xmlns:c16="http://schemas.microsoft.com/office/drawing/2014/chart" uri="{C3380CC4-5D6E-409C-BE32-E72D297353CC}">
                <c16:uniqueId val="{0000023D-C555-490E-9AD4-E7FF6D9A4B2D}"/>
              </c:ext>
            </c:extLst>
          </c:dPt>
          <c:dPt>
            <c:idx val="286"/>
            <c:invertIfNegative val="1"/>
            <c:bubble3D val="0"/>
            <c:spPr>
              <a:solidFill>
                <a:srgbClr val="AEABAB"/>
              </a:solidFill>
            </c:spPr>
            <c:extLst>
              <c:ext xmlns:c16="http://schemas.microsoft.com/office/drawing/2014/chart" uri="{C3380CC4-5D6E-409C-BE32-E72D297353CC}">
                <c16:uniqueId val="{0000023F-C555-490E-9AD4-E7FF6D9A4B2D}"/>
              </c:ext>
            </c:extLst>
          </c:dPt>
          <c:dPt>
            <c:idx val="287"/>
            <c:invertIfNegative val="1"/>
            <c:bubble3D val="0"/>
            <c:spPr>
              <a:solidFill>
                <a:srgbClr val="AEABAB"/>
              </a:solidFill>
            </c:spPr>
            <c:extLst>
              <c:ext xmlns:c16="http://schemas.microsoft.com/office/drawing/2014/chart" uri="{C3380CC4-5D6E-409C-BE32-E72D297353CC}">
                <c16:uniqueId val="{00000241-C555-490E-9AD4-E7FF6D9A4B2D}"/>
              </c:ext>
            </c:extLst>
          </c:dPt>
          <c:dPt>
            <c:idx val="288"/>
            <c:invertIfNegative val="1"/>
            <c:bubble3D val="0"/>
            <c:spPr>
              <a:solidFill>
                <a:srgbClr val="AEABAB"/>
              </a:solidFill>
            </c:spPr>
            <c:extLst>
              <c:ext xmlns:c16="http://schemas.microsoft.com/office/drawing/2014/chart" uri="{C3380CC4-5D6E-409C-BE32-E72D297353CC}">
                <c16:uniqueId val="{00000243-C555-490E-9AD4-E7FF6D9A4B2D}"/>
              </c:ext>
            </c:extLst>
          </c:dPt>
          <c:dPt>
            <c:idx val="289"/>
            <c:invertIfNegative val="1"/>
            <c:bubble3D val="0"/>
            <c:spPr>
              <a:solidFill>
                <a:srgbClr val="AEABAB"/>
              </a:solidFill>
            </c:spPr>
            <c:extLst>
              <c:ext xmlns:c16="http://schemas.microsoft.com/office/drawing/2014/chart" uri="{C3380CC4-5D6E-409C-BE32-E72D297353CC}">
                <c16:uniqueId val="{00000245-C555-490E-9AD4-E7FF6D9A4B2D}"/>
              </c:ext>
            </c:extLst>
          </c:dPt>
          <c:dPt>
            <c:idx val="290"/>
            <c:invertIfNegative val="1"/>
            <c:bubble3D val="0"/>
            <c:spPr>
              <a:solidFill>
                <a:srgbClr val="AEABAB"/>
              </a:solidFill>
            </c:spPr>
            <c:extLst>
              <c:ext xmlns:c16="http://schemas.microsoft.com/office/drawing/2014/chart" uri="{C3380CC4-5D6E-409C-BE32-E72D297353CC}">
                <c16:uniqueId val="{00000247-C555-490E-9AD4-E7FF6D9A4B2D}"/>
              </c:ext>
            </c:extLst>
          </c:dPt>
          <c:dPt>
            <c:idx val="291"/>
            <c:invertIfNegative val="1"/>
            <c:bubble3D val="0"/>
            <c:spPr>
              <a:solidFill>
                <a:srgbClr val="AEABAB"/>
              </a:solidFill>
            </c:spPr>
            <c:extLst>
              <c:ext xmlns:c16="http://schemas.microsoft.com/office/drawing/2014/chart" uri="{C3380CC4-5D6E-409C-BE32-E72D297353CC}">
                <c16:uniqueId val="{00000249-C555-490E-9AD4-E7FF6D9A4B2D}"/>
              </c:ext>
            </c:extLst>
          </c:dPt>
          <c:dPt>
            <c:idx val="292"/>
            <c:invertIfNegative val="1"/>
            <c:bubble3D val="0"/>
            <c:spPr>
              <a:solidFill>
                <a:srgbClr val="AEABAB"/>
              </a:solidFill>
            </c:spPr>
            <c:extLst>
              <c:ext xmlns:c16="http://schemas.microsoft.com/office/drawing/2014/chart" uri="{C3380CC4-5D6E-409C-BE32-E72D297353CC}">
                <c16:uniqueId val="{0000024B-C555-490E-9AD4-E7FF6D9A4B2D}"/>
              </c:ext>
            </c:extLst>
          </c:dPt>
          <c:dPt>
            <c:idx val="293"/>
            <c:invertIfNegative val="1"/>
            <c:bubble3D val="0"/>
            <c:spPr>
              <a:solidFill>
                <a:srgbClr val="AEABAB"/>
              </a:solidFill>
            </c:spPr>
            <c:extLst>
              <c:ext xmlns:c16="http://schemas.microsoft.com/office/drawing/2014/chart" uri="{C3380CC4-5D6E-409C-BE32-E72D297353CC}">
                <c16:uniqueId val="{0000024D-C555-490E-9AD4-E7FF6D9A4B2D}"/>
              </c:ext>
            </c:extLst>
          </c:dPt>
          <c:dPt>
            <c:idx val="294"/>
            <c:invertIfNegative val="1"/>
            <c:bubble3D val="0"/>
            <c:spPr>
              <a:solidFill>
                <a:srgbClr val="AEABAB"/>
              </a:solidFill>
            </c:spPr>
            <c:extLst>
              <c:ext xmlns:c16="http://schemas.microsoft.com/office/drawing/2014/chart" uri="{C3380CC4-5D6E-409C-BE32-E72D297353CC}">
                <c16:uniqueId val="{0000024F-C555-490E-9AD4-E7FF6D9A4B2D}"/>
              </c:ext>
            </c:extLst>
          </c:dPt>
          <c:dPt>
            <c:idx val="295"/>
            <c:invertIfNegative val="1"/>
            <c:bubble3D val="0"/>
            <c:spPr>
              <a:solidFill>
                <a:srgbClr val="AEABAB"/>
              </a:solidFill>
            </c:spPr>
            <c:extLst>
              <c:ext xmlns:c16="http://schemas.microsoft.com/office/drawing/2014/chart" uri="{C3380CC4-5D6E-409C-BE32-E72D297353CC}">
                <c16:uniqueId val="{00000251-C555-490E-9AD4-E7FF6D9A4B2D}"/>
              </c:ext>
            </c:extLst>
          </c:dPt>
          <c:dPt>
            <c:idx val="296"/>
            <c:invertIfNegative val="1"/>
            <c:bubble3D val="0"/>
            <c:spPr>
              <a:solidFill>
                <a:srgbClr val="AEABAB"/>
              </a:solidFill>
            </c:spPr>
            <c:extLst>
              <c:ext xmlns:c16="http://schemas.microsoft.com/office/drawing/2014/chart" uri="{C3380CC4-5D6E-409C-BE32-E72D297353CC}">
                <c16:uniqueId val="{00000253-C555-490E-9AD4-E7FF6D9A4B2D}"/>
              </c:ext>
            </c:extLst>
          </c:dPt>
          <c:dPt>
            <c:idx val="297"/>
            <c:invertIfNegative val="1"/>
            <c:bubble3D val="0"/>
            <c:spPr>
              <a:solidFill>
                <a:srgbClr val="AEABAB"/>
              </a:solidFill>
            </c:spPr>
            <c:extLst>
              <c:ext xmlns:c16="http://schemas.microsoft.com/office/drawing/2014/chart" uri="{C3380CC4-5D6E-409C-BE32-E72D297353CC}">
                <c16:uniqueId val="{00000255-C555-490E-9AD4-E7FF6D9A4B2D}"/>
              </c:ext>
            </c:extLst>
          </c:dPt>
          <c:dPt>
            <c:idx val="298"/>
            <c:invertIfNegative val="1"/>
            <c:bubble3D val="0"/>
            <c:spPr>
              <a:solidFill>
                <a:srgbClr val="AEABAB"/>
              </a:solidFill>
            </c:spPr>
            <c:extLst>
              <c:ext xmlns:c16="http://schemas.microsoft.com/office/drawing/2014/chart" uri="{C3380CC4-5D6E-409C-BE32-E72D297353CC}">
                <c16:uniqueId val="{00000257-C555-490E-9AD4-E7FF6D9A4B2D}"/>
              </c:ext>
            </c:extLst>
          </c:dPt>
          <c:dPt>
            <c:idx val="299"/>
            <c:invertIfNegative val="1"/>
            <c:bubble3D val="0"/>
            <c:spPr>
              <a:solidFill>
                <a:srgbClr val="AEABAB"/>
              </a:solidFill>
            </c:spPr>
            <c:extLst>
              <c:ext xmlns:c16="http://schemas.microsoft.com/office/drawing/2014/chart" uri="{C3380CC4-5D6E-409C-BE32-E72D297353CC}">
                <c16:uniqueId val="{00000259-C555-490E-9AD4-E7FF6D9A4B2D}"/>
              </c:ext>
            </c:extLst>
          </c:dPt>
          <c:dPt>
            <c:idx val="300"/>
            <c:invertIfNegative val="1"/>
            <c:bubble3D val="0"/>
            <c:spPr>
              <a:solidFill>
                <a:srgbClr val="AEABAB"/>
              </a:solidFill>
            </c:spPr>
            <c:extLst>
              <c:ext xmlns:c16="http://schemas.microsoft.com/office/drawing/2014/chart" uri="{C3380CC4-5D6E-409C-BE32-E72D297353CC}">
                <c16:uniqueId val="{0000025B-C555-490E-9AD4-E7FF6D9A4B2D}"/>
              </c:ext>
            </c:extLst>
          </c:dPt>
          <c:dPt>
            <c:idx val="301"/>
            <c:invertIfNegative val="1"/>
            <c:bubble3D val="0"/>
            <c:spPr>
              <a:solidFill>
                <a:srgbClr val="AEABAB"/>
              </a:solidFill>
            </c:spPr>
            <c:extLst>
              <c:ext xmlns:c16="http://schemas.microsoft.com/office/drawing/2014/chart" uri="{C3380CC4-5D6E-409C-BE32-E72D297353CC}">
                <c16:uniqueId val="{0000025D-C555-490E-9AD4-E7FF6D9A4B2D}"/>
              </c:ext>
            </c:extLst>
          </c:dPt>
          <c:dPt>
            <c:idx val="302"/>
            <c:invertIfNegative val="1"/>
            <c:bubble3D val="0"/>
            <c:spPr>
              <a:solidFill>
                <a:srgbClr val="AEABAB"/>
              </a:solidFill>
            </c:spPr>
            <c:extLst>
              <c:ext xmlns:c16="http://schemas.microsoft.com/office/drawing/2014/chart" uri="{C3380CC4-5D6E-409C-BE32-E72D297353CC}">
                <c16:uniqueId val="{0000025F-C555-490E-9AD4-E7FF6D9A4B2D}"/>
              </c:ext>
            </c:extLst>
          </c:dPt>
          <c:dPt>
            <c:idx val="303"/>
            <c:invertIfNegative val="1"/>
            <c:bubble3D val="0"/>
            <c:spPr>
              <a:solidFill>
                <a:srgbClr val="AEABAB"/>
              </a:solidFill>
            </c:spPr>
            <c:extLst>
              <c:ext xmlns:c16="http://schemas.microsoft.com/office/drawing/2014/chart" uri="{C3380CC4-5D6E-409C-BE32-E72D297353CC}">
                <c16:uniqueId val="{00000261-C555-490E-9AD4-E7FF6D9A4B2D}"/>
              </c:ext>
            </c:extLst>
          </c:dPt>
          <c:dPt>
            <c:idx val="304"/>
            <c:invertIfNegative val="1"/>
            <c:bubble3D val="0"/>
            <c:spPr>
              <a:solidFill>
                <a:srgbClr val="AEABAB"/>
              </a:solidFill>
            </c:spPr>
            <c:extLst>
              <c:ext xmlns:c16="http://schemas.microsoft.com/office/drawing/2014/chart" uri="{C3380CC4-5D6E-409C-BE32-E72D297353CC}">
                <c16:uniqueId val="{00000263-C555-490E-9AD4-E7FF6D9A4B2D}"/>
              </c:ext>
            </c:extLst>
          </c:dPt>
          <c:dPt>
            <c:idx val="305"/>
            <c:invertIfNegative val="1"/>
            <c:bubble3D val="0"/>
            <c:spPr>
              <a:solidFill>
                <a:srgbClr val="AEABAB"/>
              </a:solidFill>
            </c:spPr>
            <c:extLst>
              <c:ext xmlns:c16="http://schemas.microsoft.com/office/drawing/2014/chart" uri="{C3380CC4-5D6E-409C-BE32-E72D297353CC}">
                <c16:uniqueId val="{00000265-C555-490E-9AD4-E7FF6D9A4B2D}"/>
              </c:ext>
            </c:extLst>
          </c:dPt>
          <c:dPt>
            <c:idx val="306"/>
            <c:invertIfNegative val="1"/>
            <c:bubble3D val="0"/>
            <c:spPr>
              <a:solidFill>
                <a:srgbClr val="AEABAB"/>
              </a:solidFill>
            </c:spPr>
            <c:extLst>
              <c:ext xmlns:c16="http://schemas.microsoft.com/office/drawing/2014/chart" uri="{C3380CC4-5D6E-409C-BE32-E72D297353CC}">
                <c16:uniqueId val="{00000267-C555-490E-9AD4-E7FF6D9A4B2D}"/>
              </c:ext>
            </c:extLst>
          </c:dPt>
          <c:dPt>
            <c:idx val="307"/>
            <c:invertIfNegative val="1"/>
            <c:bubble3D val="0"/>
            <c:spPr>
              <a:solidFill>
                <a:srgbClr val="AEABAB"/>
              </a:solidFill>
            </c:spPr>
            <c:extLst>
              <c:ext xmlns:c16="http://schemas.microsoft.com/office/drawing/2014/chart" uri="{C3380CC4-5D6E-409C-BE32-E72D297353CC}">
                <c16:uniqueId val="{00000269-C555-490E-9AD4-E7FF6D9A4B2D}"/>
              </c:ext>
            </c:extLst>
          </c:dPt>
          <c:dPt>
            <c:idx val="308"/>
            <c:invertIfNegative val="1"/>
            <c:bubble3D val="0"/>
            <c:spPr>
              <a:solidFill>
                <a:srgbClr val="AEABAB"/>
              </a:solidFill>
            </c:spPr>
            <c:extLst>
              <c:ext xmlns:c16="http://schemas.microsoft.com/office/drawing/2014/chart" uri="{C3380CC4-5D6E-409C-BE32-E72D297353CC}">
                <c16:uniqueId val="{0000026B-C555-490E-9AD4-E7FF6D9A4B2D}"/>
              </c:ext>
            </c:extLst>
          </c:dPt>
          <c:dPt>
            <c:idx val="309"/>
            <c:invertIfNegative val="1"/>
            <c:bubble3D val="0"/>
            <c:spPr>
              <a:solidFill>
                <a:srgbClr val="AEABAB"/>
              </a:solidFill>
            </c:spPr>
            <c:extLst>
              <c:ext xmlns:c16="http://schemas.microsoft.com/office/drawing/2014/chart" uri="{C3380CC4-5D6E-409C-BE32-E72D297353CC}">
                <c16:uniqueId val="{0000026D-C555-490E-9AD4-E7FF6D9A4B2D}"/>
              </c:ext>
            </c:extLst>
          </c:dPt>
          <c:dPt>
            <c:idx val="310"/>
            <c:invertIfNegative val="1"/>
            <c:bubble3D val="0"/>
            <c:spPr>
              <a:solidFill>
                <a:srgbClr val="AEABAB"/>
              </a:solidFill>
            </c:spPr>
            <c:extLst>
              <c:ext xmlns:c16="http://schemas.microsoft.com/office/drawing/2014/chart" uri="{C3380CC4-5D6E-409C-BE32-E72D297353CC}">
                <c16:uniqueId val="{0000026F-C555-490E-9AD4-E7FF6D9A4B2D}"/>
              </c:ext>
            </c:extLst>
          </c:dPt>
          <c:dPt>
            <c:idx val="311"/>
            <c:invertIfNegative val="1"/>
            <c:bubble3D val="0"/>
            <c:spPr>
              <a:solidFill>
                <a:srgbClr val="AEABAB"/>
              </a:solidFill>
            </c:spPr>
            <c:extLst>
              <c:ext xmlns:c16="http://schemas.microsoft.com/office/drawing/2014/chart" uri="{C3380CC4-5D6E-409C-BE32-E72D297353CC}">
                <c16:uniqueId val="{00000271-C555-490E-9AD4-E7FF6D9A4B2D}"/>
              </c:ext>
            </c:extLst>
          </c:dPt>
          <c:dPt>
            <c:idx val="312"/>
            <c:invertIfNegative val="1"/>
            <c:bubble3D val="0"/>
            <c:spPr>
              <a:solidFill>
                <a:srgbClr val="AEABAB"/>
              </a:solidFill>
            </c:spPr>
            <c:extLst>
              <c:ext xmlns:c16="http://schemas.microsoft.com/office/drawing/2014/chart" uri="{C3380CC4-5D6E-409C-BE32-E72D297353CC}">
                <c16:uniqueId val="{00000273-C555-490E-9AD4-E7FF6D9A4B2D}"/>
              </c:ext>
            </c:extLst>
          </c:dPt>
          <c:dPt>
            <c:idx val="313"/>
            <c:invertIfNegative val="1"/>
            <c:bubble3D val="0"/>
            <c:spPr>
              <a:solidFill>
                <a:srgbClr val="AEABAB"/>
              </a:solidFill>
            </c:spPr>
            <c:extLst>
              <c:ext xmlns:c16="http://schemas.microsoft.com/office/drawing/2014/chart" uri="{C3380CC4-5D6E-409C-BE32-E72D297353CC}">
                <c16:uniqueId val="{00000275-C555-490E-9AD4-E7FF6D9A4B2D}"/>
              </c:ext>
            </c:extLst>
          </c:dPt>
          <c:dPt>
            <c:idx val="314"/>
            <c:invertIfNegative val="1"/>
            <c:bubble3D val="0"/>
            <c:spPr>
              <a:solidFill>
                <a:srgbClr val="AEABAB"/>
              </a:solidFill>
            </c:spPr>
            <c:extLst>
              <c:ext xmlns:c16="http://schemas.microsoft.com/office/drawing/2014/chart" uri="{C3380CC4-5D6E-409C-BE32-E72D297353CC}">
                <c16:uniqueId val="{00000277-C555-490E-9AD4-E7FF6D9A4B2D}"/>
              </c:ext>
            </c:extLst>
          </c:dPt>
          <c:dPt>
            <c:idx val="315"/>
            <c:invertIfNegative val="1"/>
            <c:bubble3D val="0"/>
            <c:spPr>
              <a:solidFill>
                <a:srgbClr val="AEABAB"/>
              </a:solidFill>
            </c:spPr>
            <c:extLst>
              <c:ext xmlns:c16="http://schemas.microsoft.com/office/drawing/2014/chart" uri="{C3380CC4-5D6E-409C-BE32-E72D297353CC}">
                <c16:uniqueId val="{00000279-C555-490E-9AD4-E7FF6D9A4B2D}"/>
              </c:ext>
            </c:extLst>
          </c:dPt>
          <c:dPt>
            <c:idx val="316"/>
            <c:invertIfNegative val="1"/>
            <c:bubble3D val="0"/>
            <c:spPr>
              <a:solidFill>
                <a:srgbClr val="AEABAB"/>
              </a:solidFill>
            </c:spPr>
            <c:extLst>
              <c:ext xmlns:c16="http://schemas.microsoft.com/office/drawing/2014/chart" uri="{C3380CC4-5D6E-409C-BE32-E72D297353CC}">
                <c16:uniqueId val="{0000027B-C555-490E-9AD4-E7FF6D9A4B2D}"/>
              </c:ext>
            </c:extLst>
          </c:dPt>
          <c:dPt>
            <c:idx val="317"/>
            <c:invertIfNegative val="1"/>
            <c:bubble3D val="0"/>
            <c:spPr>
              <a:solidFill>
                <a:srgbClr val="AEABAB"/>
              </a:solidFill>
            </c:spPr>
            <c:extLst>
              <c:ext xmlns:c16="http://schemas.microsoft.com/office/drawing/2014/chart" uri="{C3380CC4-5D6E-409C-BE32-E72D297353CC}">
                <c16:uniqueId val="{0000027D-C555-490E-9AD4-E7FF6D9A4B2D}"/>
              </c:ext>
            </c:extLst>
          </c:dPt>
          <c:dPt>
            <c:idx val="318"/>
            <c:invertIfNegative val="1"/>
            <c:bubble3D val="0"/>
            <c:spPr>
              <a:solidFill>
                <a:srgbClr val="AEABAB"/>
              </a:solidFill>
            </c:spPr>
            <c:extLst>
              <c:ext xmlns:c16="http://schemas.microsoft.com/office/drawing/2014/chart" uri="{C3380CC4-5D6E-409C-BE32-E72D297353CC}">
                <c16:uniqueId val="{0000027F-C555-490E-9AD4-E7FF6D9A4B2D}"/>
              </c:ext>
            </c:extLst>
          </c:dPt>
          <c:dPt>
            <c:idx val="319"/>
            <c:invertIfNegative val="1"/>
            <c:bubble3D val="0"/>
            <c:spPr>
              <a:solidFill>
                <a:srgbClr val="AEABAB"/>
              </a:solidFill>
            </c:spPr>
            <c:extLst>
              <c:ext xmlns:c16="http://schemas.microsoft.com/office/drawing/2014/chart" uri="{C3380CC4-5D6E-409C-BE32-E72D297353CC}">
                <c16:uniqueId val="{00000281-C555-490E-9AD4-E7FF6D9A4B2D}"/>
              </c:ext>
            </c:extLst>
          </c:dPt>
          <c:dPt>
            <c:idx val="320"/>
            <c:invertIfNegative val="1"/>
            <c:bubble3D val="0"/>
            <c:spPr>
              <a:solidFill>
                <a:srgbClr val="AEABAB"/>
              </a:solidFill>
            </c:spPr>
            <c:extLst>
              <c:ext xmlns:c16="http://schemas.microsoft.com/office/drawing/2014/chart" uri="{C3380CC4-5D6E-409C-BE32-E72D297353CC}">
                <c16:uniqueId val="{00000283-C555-490E-9AD4-E7FF6D9A4B2D}"/>
              </c:ext>
            </c:extLst>
          </c:dPt>
          <c:dPt>
            <c:idx val="321"/>
            <c:invertIfNegative val="1"/>
            <c:bubble3D val="0"/>
            <c:spPr>
              <a:solidFill>
                <a:srgbClr val="AEABAB"/>
              </a:solidFill>
            </c:spPr>
            <c:extLst>
              <c:ext xmlns:c16="http://schemas.microsoft.com/office/drawing/2014/chart" uri="{C3380CC4-5D6E-409C-BE32-E72D297353CC}">
                <c16:uniqueId val="{00000285-C555-490E-9AD4-E7FF6D9A4B2D}"/>
              </c:ext>
            </c:extLst>
          </c:dPt>
          <c:dPt>
            <c:idx val="322"/>
            <c:invertIfNegative val="1"/>
            <c:bubble3D val="0"/>
            <c:spPr>
              <a:solidFill>
                <a:srgbClr val="AEABAB"/>
              </a:solidFill>
            </c:spPr>
            <c:extLst>
              <c:ext xmlns:c16="http://schemas.microsoft.com/office/drawing/2014/chart" uri="{C3380CC4-5D6E-409C-BE32-E72D297353CC}">
                <c16:uniqueId val="{00000287-C555-490E-9AD4-E7FF6D9A4B2D}"/>
              </c:ext>
            </c:extLst>
          </c:dPt>
          <c:dPt>
            <c:idx val="323"/>
            <c:invertIfNegative val="1"/>
            <c:bubble3D val="0"/>
            <c:spPr>
              <a:solidFill>
                <a:srgbClr val="AEABAB"/>
              </a:solidFill>
            </c:spPr>
            <c:extLst>
              <c:ext xmlns:c16="http://schemas.microsoft.com/office/drawing/2014/chart" uri="{C3380CC4-5D6E-409C-BE32-E72D297353CC}">
                <c16:uniqueId val="{00000289-C555-490E-9AD4-E7FF6D9A4B2D}"/>
              </c:ext>
            </c:extLst>
          </c:dPt>
          <c:dPt>
            <c:idx val="324"/>
            <c:invertIfNegative val="1"/>
            <c:bubble3D val="0"/>
            <c:spPr>
              <a:solidFill>
                <a:srgbClr val="AEABAB"/>
              </a:solidFill>
            </c:spPr>
            <c:extLst>
              <c:ext xmlns:c16="http://schemas.microsoft.com/office/drawing/2014/chart" uri="{C3380CC4-5D6E-409C-BE32-E72D297353CC}">
                <c16:uniqueId val="{0000028B-C555-490E-9AD4-E7FF6D9A4B2D}"/>
              </c:ext>
            </c:extLst>
          </c:dPt>
          <c:dPt>
            <c:idx val="325"/>
            <c:invertIfNegative val="1"/>
            <c:bubble3D val="0"/>
            <c:spPr>
              <a:solidFill>
                <a:srgbClr val="AEABAB"/>
              </a:solidFill>
            </c:spPr>
            <c:extLst>
              <c:ext xmlns:c16="http://schemas.microsoft.com/office/drawing/2014/chart" uri="{C3380CC4-5D6E-409C-BE32-E72D297353CC}">
                <c16:uniqueId val="{0000028D-C555-490E-9AD4-E7FF6D9A4B2D}"/>
              </c:ext>
            </c:extLst>
          </c:dPt>
          <c:dPt>
            <c:idx val="326"/>
            <c:invertIfNegative val="1"/>
            <c:bubble3D val="0"/>
            <c:spPr>
              <a:solidFill>
                <a:srgbClr val="AEABAB"/>
              </a:solidFill>
            </c:spPr>
            <c:extLst>
              <c:ext xmlns:c16="http://schemas.microsoft.com/office/drawing/2014/chart" uri="{C3380CC4-5D6E-409C-BE32-E72D297353CC}">
                <c16:uniqueId val="{0000028F-C555-490E-9AD4-E7FF6D9A4B2D}"/>
              </c:ext>
            </c:extLst>
          </c:dPt>
          <c:dPt>
            <c:idx val="327"/>
            <c:invertIfNegative val="1"/>
            <c:bubble3D val="0"/>
            <c:spPr>
              <a:solidFill>
                <a:srgbClr val="AEABAB"/>
              </a:solidFill>
            </c:spPr>
            <c:extLst>
              <c:ext xmlns:c16="http://schemas.microsoft.com/office/drawing/2014/chart" uri="{C3380CC4-5D6E-409C-BE32-E72D297353CC}">
                <c16:uniqueId val="{00000291-C555-490E-9AD4-E7FF6D9A4B2D}"/>
              </c:ext>
            </c:extLst>
          </c:dPt>
          <c:dPt>
            <c:idx val="328"/>
            <c:invertIfNegative val="1"/>
            <c:bubble3D val="0"/>
            <c:spPr>
              <a:solidFill>
                <a:srgbClr val="AEABAB"/>
              </a:solidFill>
            </c:spPr>
            <c:extLst>
              <c:ext xmlns:c16="http://schemas.microsoft.com/office/drawing/2014/chart" uri="{C3380CC4-5D6E-409C-BE32-E72D297353CC}">
                <c16:uniqueId val="{00000293-C555-490E-9AD4-E7FF6D9A4B2D}"/>
              </c:ext>
            </c:extLst>
          </c:dPt>
          <c:dPt>
            <c:idx val="329"/>
            <c:invertIfNegative val="1"/>
            <c:bubble3D val="0"/>
            <c:spPr>
              <a:solidFill>
                <a:srgbClr val="AEABAB"/>
              </a:solidFill>
            </c:spPr>
            <c:extLst>
              <c:ext xmlns:c16="http://schemas.microsoft.com/office/drawing/2014/chart" uri="{C3380CC4-5D6E-409C-BE32-E72D297353CC}">
                <c16:uniqueId val="{00000295-C555-490E-9AD4-E7FF6D9A4B2D}"/>
              </c:ext>
            </c:extLst>
          </c:dPt>
          <c:dPt>
            <c:idx val="330"/>
            <c:invertIfNegative val="1"/>
            <c:bubble3D val="0"/>
            <c:spPr>
              <a:solidFill>
                <a:srgbClr val="AEABAB"/>
              </a:solidFill>
            </c:spPr>
            <c:extLst>
              <c:ext xmlns:c16="http://schemas.microsoft.com/office/drawing/2014/chart" uri="{C3380CC4-5D6E-409C-BE32-E72D297353CC}">
                <c16:uniqueId val="{00000297-C555-490E-9AD4-E7FF6D9A4B2D}"/>
              </c:ext>
            </c:extLst>
          </c:dPt>
          <c:dPt>
            <c:idx val="331"/>
            <c:invertIfNegative val="1"/>
            <c:bubble3D val="0"/>
            <c:spPr>
              <a:solidFill>
                <a:srgbClr val="AEABAB"/>
              </a:solidFill>
            </c:spPr>
            <c:extLst>
              <c:ext xmlns:c16="http://schemas.microsoft.com/office/drawing/2014/chart" uri="{C3380CC4-5D6E-409C-BE32-E72D297353CC}">
                <c16:uniqueId val="{00000299-C555-490E-9AD4-E7FF6D9A4B2D}"/>
              </c:ext>
            </c:extLst>
          </c:dPt>
          <c:dPt>
            <c:idx val="332"/>
            <c:invertIfNegative val="1"/>
            <c:bubble3D val="0"/>
            <c:spPr>
              <a:solidFill>
                <a:srgbClr val="AEABAB"/>
              </a:solidFill>
            </c:spPr>
            <c:extLst>
              <c:ext xmlns:c16="http://schemas.microsoft.com/office/drawing/2014/chart" uri="{C3380CC4-5D6E-409C-BE32-E72D297353CC}">
                <c16:uniqueId val="{0000029B-C555-490E-9AD4-E7FF6D9A4B2D}"/>
              </c:ext>
            </c:extLst>
          </c:dPt>
          <c:dPt>
            <c:idx val="333"/>
            <c:invertIfNegative val="1"/>
            <c:bubble3D val="0"/>
            <c:spPr>
              <a:solidFill>
                <a:srgbClr val="AEABAB"/>
              </a:solidFill>
            </c:spPr>
            <c:extLst>
              <c:ext xmlns:c16="http://schemas.microsoft.com/office/drawing/2014/chart" uri="{C3380CC4-5D6E-409C-BE32-E72D297353CC}">
                <c16:uniqueId val="{0000029D-C555-490E-9AD4-E7FF6D9A4B2D}"/>
              </c:ext>
            </c:extLst>
          </c:dPt>
          <c:dPt>
            <c:idx val="334"/>
            <c:invertIfNegative val="1"/>
            <c:bubble3D val="0"/>
            <c:spPr>
              <a:solidFill>
                <a:srgbClr val="AEABAB"/>
              </a:solidFill>
            </c:spPr>
            <c:extLst>
              <c:ext xmlns:c16="http://schemas.microsoft.com/office/drawing/2014/chart" uri="{C3380CC4-5D6E-409C-BE32-E72D297353CC}">
                <c16:uniqueId val="{0000029F-C555-490E-9AD4-E7FF6D9A4B2D}"/>
              </c:ext>
            </c:extLst>
          </c:dPt>
          <c:dPt>
            <c:idx val="335"/>
            <c:invertIfNegative val="1"/>
            <c:bubble3D val="0"/>
            <c:spPr>
              <a:solidFill>
                <a:srgbClr val="AEABAB"/>
              </a:solidFill>
            </c:spPr>
            <c:extLst>
              <c:ext xmlns:c16="http://schemas.microsoft.com/office/drawing/2014/chart" uri="{C3380CC4-5D6E-409C-BE32-E72D297353CC}">
                <c16:uniqueId val="{000002A1-C555-490E-9AD4-E7FF6D9A4B2D}"/>
              </c:ext>
            </c:extLst>
          </c:dPt>
          <c:dPt>
            <c:idx val="336"/>
            <c:invertIfNegative val="1"/>
            <c:bubble3D val="0"/>
            <c:spPr>
              <a:solidFill>
                <a:srgbClr val="AEABAB"/>
              </a:solidFill>
            </c:spPr>
            <c:extLst>
              <c:ext xmlns:c16="http://schemas.microsoft.com/office/drawing/2014/chart" uri="{C3380CC4-5D6E-409C-BE32-E72D297353CC}">
                <c16:uniqueId val="{000002A3-C555-490E-9AD4-E7FF6D9A4B2D}"/>
              </c:ext>
            </c:extLst>
          </c:dPt>
          <c:dPt>
            <c:idx val="337"/>
            <c:invertIfNegative val="1"/>
            <c:bubble3D val="0"/>
            <c:spPr>
              <a:solidFill>
                <a:srgbClr val="AEABAB"/>
              </a:solidFill>
            </c:spPr>
            <c:extLst>
              <c:ext xmlns:c16="http://schemas.microsoft.com/office/drawing/2014/chart" uri="{C3380CC4-5D6E-409C-BE32-E72D297353CC}">
                <c16:uniqueId val="{000002A5-C555-490E-9AD4-E7FF6D9A4B2D}"/>
              </c:ext>
            </c:extLst>
          </c:dPt>
          <c:dPt>
            <c:idx val="338"/>
            <c:invertIfNegative val="1"/>
            <c:bubble3D val="0"/>
            <c:spPr>
              <a:solidFill>
                <a:srgbClr val="AEABAB"/>
              </a:solidFill>
            </c:spPr>
            <c:extLst>
              <c:ext xmlns:c16="http://schemas.microsoft.com/office/drawing/2014/chart" uri="{C3380CC4-5D6E-409C-BE32-E72D297353CC}">
                <c16:uniqueId val="{000002A7-C555-490E-9AD4-E7FF6D9A4B2D}"/>
              </c:ext>
            </c:extLst>
          </c:dPt>
          <c:dPt>
            <c:idx val="339"/>
            <c:invertIfNegative val="1"/>
            <c:bubble3D val="0"/>
            <c:spPr>
              <a:solidFill>
                <a:srgbClr val="AEABAB"/>
              </a:solidFill>
            </c:spPr>
            <c:extLst>
              <c:ext xmlns:c16="http://schemas.microsoft.com/office/drawing/2014/chart" uri="{C3380CC4-5D6E-409C-BE32-E72D297353CC}">
                <c16:uniqueId val="{000002A9-C555-490E-9AD4-E7FF6D9A4B2D}"/>
              </c:ext>
            </c:extLst>
          </c:dPt>
          <c:dPt>
            <c:idx val="340"/>
            <c:invertIfNegative val="1"/>
            <c:bubble3D val="0"/>
            <c:spPr>
              <a:solidFill>
                <a:srgbClr val="AEABAB"/>
              </a:solidFill>
            </c:spPr>
            <c:extLst>
              <c:ext xmlns:c16="http://schemas.microsoft.com/office/drawing/2014/chart" uri="{C3380CC4-5D6E-409C-BE32-E72D297353CC}">
                <c16:uniqueId val="{000002AB-C555-490E-9AD4-E7FF6D9A4B2D}"/>
              </c:ext>
            </c:extLst>
          </c:dPt>
          <c:dPt>
            <c:idx val="341"/>
            <c:invertIfNegative val="1"/>
            <c:bubble3D val="0"/>
            <c:spPr>
              <a:solidFill>
                <a:srgbClr val="AEABAB"/>
              </a:solidFill>
            </c:spPr>
            <c:extLst>
              <c:ext xmlns:c16="http://schemas.microsoft.com/office/drawing/2014/chart" uri="{C3380CC4-5D6E-409C-BE32-E72D297353CC}">
                <c16:uniqueId val="{000002AD-C555-490E-9AD4-E7FF6D9A4B2D}"/>
              </c:ext>
            </c:extLst>
          </c:dPt>
          <c:dPt>
            <c:idx val="342"/>
            <c:invertIfNegative val="1"/>
            <c:bubble3D val="0"/>
            <c:spPr>
              <a:solidFill>
                <a:srgbClr val="AEABAB"/>
              </a:solidFill>
            </c:spPr>
            <c:extLst>
              <c:ext xmlns:c16="http://schemas.microsoft.com/office/drawing/2014/chart" uri="{C3380CC4-5D6E-409C-BE32-E72D297353CC}">
                <c16:uniqueId val="{000002AF-C555-490E-9AD4-E7FF6D9A4B2D}"/>
              </c:ext>
            </c:extLst>
          </c:dPt>
          <c:dPt>
            <c:idx val="343"/>
            <c:invertIfNegative val="1"/>
            <c:bubble3D val="0"/>
            <c:spPr>
              <a:solidFill>
                <a:srgbClr val="AEABAB"/>
              </a:solidFill>
            </c:spPr>
            <c:extLst>
              <c:ext xmlns:c16="http://schemas.microsoft.com/office/drawing/2014/chart" uri="{C3380CC4-5D6E-409C-BE32-E72D297353CC}">
                <c16:uniqueId val="{000002B1-C555-490E-9AD4-E7FF6D9A4B2D}"/>
              </c:ext>
            </c:extLst>
          </c:dPt>
          <c:dPt>
            <c:idx val="344"/>
            <c:invertIfNegative val="1"/>
            <c:bubble3D val="0"/>
            <c:spPr>
              <a:solidFill>
                <a:srgbClr val="AEABAB"/>
              </a:solidFill>
            </c:spPr>
            <c:extLst>
              <c:ext xmlns:c16="http://schemas.microsoft.com/office/drawing/2014/chart" uri="{C3380CC4-5D6E-409C-BE32-E72D297353CC}">
                <c16:uniqueId val="{000002B3-C555-490E-9AD4-E7FF6D9A4B2D}"/>
              </c:ext>
            </c:extLst>
          </c:dPt>
          <c:dPt>
            <c:idx val="345"/>
            <c:invertIfNegative val="1"/>
            <c:bubble3D val="0"/>
            <c:spPr>
              <a:solidFill>
                <a:srgbClr val="AEABAB"/>
              </a:solidFill>
            </c:spPr>
            <c:extLst>
              <c:ext xmlns:c16="http://schemas.microsoft.com/office/drawing/2014/chart" uri="{C3380CC4-5D6E-409C-BE32-E72D297353CC}">
                <c16:uniqueId val="{000002B5-C555-490E-9AD4-E7FF6D9A4B2D}"/>
              </c:ext>
            </c:extLst>
          </c:dPt>
          <c:dPt>
            <c:idx val="346"/>
            <c:invertIfNegative val="1"/>
            <c:bubble3D val="0"/>
            <c:spPr>
              <a:solidFill>
                <a:srgbClr val="AEABAB"/>
              </a:solidFill>
            </c:spPr>
            <c:extLst>
              <c:ext xmlns:c16="http://schemas.microsoft.com/office/drawing/2014/chart" uri="{C3380CC4-5D6E-409C-BE32-E72D297353CC}">
                <c16:uniqueId val="{000002B7-C555-490E-9AD4-E7FF6D9A4B2D}"/>
              </c:ext>
            </c:extLst>
          </c:dPt>
          <c:dPt>
            <c:idx val="347"/>
            <c:invertIfNegative val="1"/>
            <c:bubble3D val="0"/>
            <c:spPr>
              <a:solidFill>
                <a:srgbClr val="AEABAB"/>
              </a:solidFill>
            </c:spPr>
            <c:extLst>
              <c:ext xmlns:c16="http://schemas.microsoft.com/office/drawing/2014/chart" uri="{C3380CC4-5D6E-409C-BE32-E72D297353CC}">
                <c16:uniqueId val="{000002B9-C555-490E-9AD4-E7FF6D9A4B2D}"/>
              </c:ext>
            </c:extLst>
          </c:dPt>
          <c:dPt>
            <c:idx val="348"/>
            <c:invertIfNegative val="1"/>
            <c:bubble3D val="0"/>
            <c:spPr>
              <a:solidFill>
                <a:srgbClr val="AEABAB"/>
              </a:solidFill>
            </c:spPr>
            <c:extLst>
              <c:ext xmlns:c16="http://schemas.microsoft.com/office/drawing/2014/chart" uri="{C3380CC4-5D6E-409C-BE32-E72D297353CC}">
                <c16:uniqueId val="{000002BB-C555-490E-9AD4-E7FF6D9A4B2D}"/>
              </c:ext>
            </c:extLst>
          </c:dPt>
          <c:dPt>
            <c:idx val="349"/>
            <c:invertIfNegative val="1"/>
            <c:bubble3D val="0"/>
            <c:spPr>
              <a:solidFill>
                <a:srgbClr val="AEABAB"/>
              </a:solidFill>
            </c:spPr>
            <c:extLst>
              <c:ext xmlns:c16="http://schemas.microsoft.com/office/drawing/2014/chart" uri="{C3380CC4-5D6E-409C-BE32-E72D297353CC}">
                <c16:uniqueId val="{000002BD-C555-490E-9AD4-E7FF6D9A4B2D}"/>
              </c:ext>
            </c:extLst>
          </c:dPt>
          <c:dPt>
            <c:idx val="350"/>
            <c:invertIfNegative val="1"/>
            <c:bubble3D val="0"/>
            <c:spPr>
              <a:solidFill>
                <a:srgbClr val="AEABAB"/>
              </a:solidFill>
            </c:spPr>
            <c:extLst>
              <c:ext xmlns:c16="http://schemas.microsoft.com/office/drawing/2014/chart" uri="{C3380CC4-5D6E-409C-BE32-E72D297353CC}">
                <c16:uniqueId val="{000002BF-C555-490E-9AD4-E7FF6D9A4B2D}"/>
              </c:ext>
            </c:extLst>
          </c:dPt>
          <c:dPt>
            <c:idx val="351"/>
            <c:invertIfNegative val="1"/>
            <c:bubble3D val="0"/>
            <c:spPr>
              <a:solidFill>
                <a:srgbClr val="AEABAB"/>
              </a:solidFill>
            </c:spPr>
            <c:extLst>
              <c:ext xmlns:c16="http://schemas.microsoft.com/office/drawing/2014/chart" uri="{C3380CC4-5D6E-409C-BE32-E72D297353CC}">
                <c16:uniqueId val="{000002C1-C555-490E-9AD4-E7FF6D9A4B2D}"/>
              </c:ext>
            </c:extLst>
          </c:dPt>
          <c:dPt>
            <c:idx val="352"/>
            <c:invertIfNegative val="1"/>
            <c:bubble3D val="0"/>
            <c:spPr>
              <a:solidFill>
                <a:srgbClr val="AEABAB"/>
              </a:solidFill>
            </c:spPr>
            <c:extLst>
              <c:ext xmlns:c16="http://schemas.microsoft.com/office/drawing/2014/chart" uri="{C3380CC4-5D6E-409C-BE32-E72D297353CC}">
                <c16:uniqueId val="{000002C3-C555-490E-9AD4-E7FF6D9A4B2D}"/>
              </c:ext>
            </c:extLst>
          </c:dPt>
          <c:dPt>
            <c:idx val="353"/>
            <c:invertIfNegative val="1"/>
            <c:bubble3D val="0"/>
            <c:spPr>
              <a:solidFill>
                <a:srgbClr val="AEABAB"/>
              </a:solidFill>
            </c:spPr>
            <c:extLst>
              <c:ext xmlns:c16="http://schemas.microsoft.com/office/drawing/2014/chart" uri="{C3380CC4-5D6E-409C-BE32-E72D297353CC}">
                <c16:uniqueId val="{000002C5-C555-490E-9AD4-E7FF6D9A4B2D}"/>
              </c:ext>
            </c:extLst>
          </c:dPt>
          <c:dPt>
            <c:idx val="354"/>
            <c:invertIfNegative val="1"/>
            <c:bubble3D val="0"/>
            <c:spPr>
              <a:solidFill>
                <a:srgbClr val="AEABAB"/>
              </a:solidFill>
            </c:spPr>
            <c:extLst>
              <c:ext xmlns:c16="http://schemas.microsoft.com/office/drawing/2014/chart" uri="{C3380CC4-5D6E-409C-BE32-E72D297353CC}">
                <c16:uniqueId val="{000002C7-C555-490E-9AD4-E7FF6D9A4B2D}"/>
              </c:ext>
            </c:extLst>
          </c:dPt>
          <c:dPt>
            <c:idx val="355"/>
            <c:invertIfNegative val="1"/>
            <c:bubble3D val="0"/>
            <c:spPr>
              <a:solidFill>
                <a:srgbClr val="AEABAB"/>
              </a:solidFill>
            </c:spPr>
            <c:extLst>
              <c:ext xmlns:c16="http://schemas.microsoft.com/office/drawing/2014/chart" uri="{C3380CC4-5D6E-409C-BE32-E72D297353CC}">
                <c16:uniqueId val="{000002C9-C555-490E-9AD4-E7FF6D9A4B2D}"/>
              </c:ext>
            </c:extLst>
          </c:dPt>
          <c:dPt>
            <c:idx val="356"/>
            <c:invertIfNegative val="1"/>
            <c:bubble3D val="0"/>
            <c:spPr>
              <a:solidFill>
                <a:srgbClr val="AEABAB"/>
              </a:solidFill>
            </c:spPr>
            <c:extLst>
              <c:ext xmlns:c16="http://schemas.microsoft.com/office/drawing/2014/chart" uri="{C3380CC4-5D6E-409C-BE32-E72D297353CC}">
                <c16:uniqueId val="{000002CB-C555-490E-9AD4-E7FF6D9A4B2D}"/>
              </c:ext>
            </c:extLst>
          </c:dPt>
          <c:dPt>
            <c:idx val="357"/>
            <c:invertIfNegative val="1"/>
            <c:bubble3D val="0"/>
            <c:spPr>
              <a:solidFill>
                <a:srgbClr val="AEABAB"/>
              </a:solidFill>
            </c:spPr>
            <c:extLst>
              <c:ext xmlns:c16="http://schemas.microsoft.com/office/drawing/2014/chart" uri="{C3380CC4-5D6E-409C-BE32-E72D297353CC}">
                <c16:uniqueId val="{000002CD-C555-490E-9AD4-E7FF6D9A4B2D}"/>
              </c:ext>
            </c:extLst>
          </c:dPt>
          <c:dPt>
            <c:idx val="358"/>
            <c:invertIfNegative val="1"/>
            <c:bubble3D val="0"/>
            <c:spPr>
              <a:solidFill>
                <a:srgbClr val="AEABAB"/>
              </a:solidFill>
            </c:spPr>
            <c:extLst>
              <c:ext xmlns:c16="http://schemas.microsoft.com/office/drawing/2014/chart" uri="{C3380CC4-5D6E-409C-BE32-E72D297353CC}">
                <c16:uniqueId val="{000002CF-C555-490E-9AD4-E7FF6D9A4B2D}"/>
              </c:ext>
            </c:extLst>
          </c:dPt>
          <c:dPt>
            <c:idx val="359"/>
            <c:invertIfNegative val="1"/>
            <c:bubble3D val="0"/>
            <c:spPr>
              <a:solidFill>
                <a:srgbClr val="AEABAB"/>
              </a:solidFill>
            </c:spPr>
            <c:extLst>
              <c:ext xmlns:c16="http://schemas.microsoft.com/office/drawing/2014/chart" uri="{C3380CC4-5D6E-409C-BE32-E72D297353CC}">
                <c16:uniqueId val="{000002D1-C555-490E-9AD4-E7FF6D9A4B2D}"/>
              </c:ext>
            </c:extLst>
          </c:dPt>
          <c:dPt>
            <c:idx val="360"/>
            <c:invertIfNegative val="1"/>
            <c:bubble3D val="0"/>
            <c:spPr>
              <a:solidFill>
                <a:srgbClr val="AEABAB"/>
              </a:solidFill>
            </c:spPr>
            <c:extLst>
              <c:ext xmlns:c16="http://schemas.microsoft.com/office/drawing/2014/chart" uri="{C3380CC4-5D6E-409C-BE32-E72D297353CC}">
                <c16:uniqueId val="{000002D3-C555-490E-9AD4-E7FF6D9A4B2D}"/>
              </c:ext>
            </c:extLst>
          </c:dPt>
          <c:dPt>
            <c:idx val="361"/>
            <c:invertIfNegative val="1"/>
            <c:bubble3D val="0"/>
            <c:spPr>
              <a:solidFill>
                <a:srgbClr val="AEABAB"/>
              </a:solidFill>
            </c:spPr>
            <c:extLst>
              <c:ext xmlns:c16="http://schemas.microsoft.com/office/drawing/2014/chart" uri="{C3380CC4-5D6E-409C-BE32-E72D297353CC}">
                <c16:uniqueId val="{000002D5-C555-490E-9AD4-E7FF6D9A4B2D}"/>
              </c:ext>
            </c:extLst>
          </c:dPt>
          <c:dPt>
            <c:idx val="362"/>
            <c:invertIfNegative val="1"/>
            <c:bubble3D val="0"/>
            <c:spPr>
              <a:solidFill>
                <a:srgbClr val="AEABAB"/>
              </a:solidFill>
            </c:spPr>
            <c:extLst>
              <c:ext xmlns:c16="http://schemas.microsoft.com/office/drawing/2014/chart" uri="{C3380CC4-5D6E-409C-BE32-E72D297353CC}">
                <c16:uniqueId val="{000002D7-C555-490E-9AD4-E7FF6D9A4B2D}"/>
              </c:ext>
            </c:extLst>
          </c:dPt>
          <c:dPt>
            <c:idx val="363"/>
            <c:invertIfNegative val="1"/>
            <c:bubble3D val="0"/>
            <c:spPr>
              <a:solidFill>
                <a:srgbClr val="AEABAB"/>
              </a:solidFill>
            </c:spPr>
            <c:extLst>
              <c:ext xmlns:c16="http://schemas.microsoft.com/office/drawing/2014/chart" uri="{C3380CC4-5D6E-409C-BE32-E72D297353CC}">
                <c16:uniqueId val="{000002D9-C555-490E-9AD4-E7FF6D9A4B2D}"/>
              </c:ext>
            </c:extLst>
          </c:dPt>
          <c:dPt>
            <c:idx val="364"/>
            <c:invertIfNegative val="1"/>
            <c:bubble3D val="0"/>
            <c:spPr>
              <a:solidFill>
                <a:srgbClr val="AEABAB"/>
              </a:solidFill>
            </c:spPr>
            <c:extLst>
              <c:ext xmlns:c16="http://schemas.microsoft.com/office/drawing/2014/chart" uri="{C3380CC4-5D6E-409C-BE32-E72D297353CC}">
                <c16:uniqueId val="{000002DB-C555-490E-9AD4-E7FF6D9A4B2D}"/>
              </c:ext>
            </c:extLst>
          </c:dPt>
          <c:cat>
            <c:strRef>
              <c:f>Sheet1!$A$2:$A$366</c:f>
              <c:strCache>
                <c:ptCount val="365"/>
                <c:pt idx="0">
                  <c:v>Ruinart</c:v>
                </c:pt>
                <c:pt idx="1">
                  <c:v>Nicolas</c:v>
                </c:pt>
                <c:pt idx="2">
                  <c:v>Deutz</c:v>
                </c:pt>
                <c:pt idx="3">
                  <c:v>Ruinart</c:v>
                </c:pt>
                <c:pt idx="4">
                  <c:v>Laurent Per</c:v>
                </c:pt>
                <c:pt idx="5">
                  <c:v>Malard</c:v>
                </c:pt>
                <c:pt idx="6">
                  <c:v>Ruinart</c:v>
                </c:pt>
                <c:pt idx="7">
                  <c:v>Ayala</c:v>
                </c:pt>
                <c:pt idx="8">
                  <c:v>Heidsieck &amp;</c:v>
                </c:pt>
                <c:pt idx="9">
                  <c:v>Nicolas Feu</c:v>
                </c:pt>
                <c:pt idx="10">
                  <c:v>Ruinart</c:v>
                </c:pt>
                <c:pt idx="11">
                  <c:v>Taittinger</c:v>
                </c:pt>
                <c:pt idx="12">
                  <c:v>Bollinger</c:v>
                </c:pt>
                <c:pt idx="13">
                  <c:v>De Bligny</c:v>
                </c:pt>
                <c:pt idx="14">
                  <c:v>Canard Duch</c:v>
                </c:pt>
                <c:pt idx="15">
                  <c:v>Besserat De</c:v>
                </c:pt>
                <c:pt idx="16">
                  <c:v>All Others</c:v>
                </c:pt>
                <c:pt idx="17">
                  <c:v>Perrier Jou</c:v>
                </c:pt>
                <c:pt idx="18">
                  <c:v>Dom Perigno</c:v>
                </c:pt>
                <c:pt idx="19">
                  <c:v>Vesselle</c:v>
                </c:pt>
                <c:pt idx="20">
                  <c:v>Deutz</c:v>
                </c:pt>
                <c:pt idx="21">
                  <c:v>Laurent Per</c:v>
                </c:pt>
                <c:pt idx="22">
                  <c:v>Ruinart</c:v>
                </c:pt>
                <c:pt idx="23">
                  <c:v>Demoiselle</c:v>
                </c:pt>
                <c:pt idx="24">
                  <c:v>Campari: Al</c:v>
                </c:pt>
                <c:pt idx="25">
                  <c:v>Veuve Clicq</c:v>
                </c:pt>
                <c:pt idx="26">
                  <c:v>Pommery</c:v>
                </c:pt>
                <c:pt idx="27">
                  <c:v>Dom Perigno</c:v>
                </c:pt>
                <c:pt idx="28">
                  <c:v>All Others</c:v>
                </c:pt>
                <c:pt idx="29">
                  <c:v>Ruinart</c:v>
                </c:pt>
                <c:pt idx="30">
                  <c:v>Laurent Per</c:v>
                </c:pt>
                <c:pt idx="31">
                  <c:v>All Others</c:v>
                </c:pt>
                <c:pt idx="32">
                  <c:v>Roederer</c:v>
                </c:pt>
                <c:pt idx="33">
                  <c:v>Bottega</c:v>
                </c:pt>
                <c:pt idx="34">
                  <c:v>Veuve Clicq</c:v>
                </c:pt>
                <c:pt idx="35">
                  <c:v>Savian</c:v>
                </c:pt>
                <c:pt idx="36">
                  <c:v>Deutz</c:v>
                </c:pt>
                <c:pt idx="37">
                  <c:v>Moët &amp; Chan</c:v>
                </c:pt>
                <c:pt idx="38">
                  <c:v>Ruinart</c:v>
                </c:pt>
                <c:pt idx="39">
                  <c:v>Ruinart</c:v>
                </c:pt>
                <c:pt idx="40">
                  <c:v>Roederer</c:v>
                </c:pt>
                <c:pt idx="41">
                  <c:v>Malard</c:v>
                </c:pt>
                <c:pt idx="42">
                  <c:v>Mure</c:v>
                </c:pt>
                <c:pt idx="43">
                  <c:v>Taittinger</c:v>
                </c:pt>
                <c:pt idx="44">
                  <c:v>Henriot</c:v>
                </c:pt>
                <c:pt idx="45">
                  <c:v>Patriarche</c:v>
                </c:pt>
                <c:pt idx="46">
                  <c:v>Savian</c:v>
                </c:pt>
                <c:pt idx="47">
                  <c:v>Veuve Clicq</c:v>
                </c:pt>
                <c:pt idx="48">
                  <c:v>Nicolas Feu</c:v>
                </c:pt>
                <c:pt idx="49">
                  <c:v>All Others</c:v>
                </c:pt>
                <c:pt idx="50">
                  <c:v>Louis Marti</c:v>
                </c:pt>
                <c:pt idx="51">
                  <c:v>Malard</c:v>
                </c:pt>
                <c:pt idx="52">
                  <c:v>Ruinart</c:v>
                </c:pt>
                <c:pt idx="53">
                  <c:v>Nicolas Feu</c:v>
                </c:pt>
                <c:pt idx="54">
                  <c:v>De Chanceny</c:v>
                </c:pt>
                <c:pt idx="55">
                  <c:v>Moët &amp; Chan</c:v>
                </c:pt>
                <c:pt idx="56">
                  <c:v>Nicolas</c:v>
                </c:pt>
                <c:pt idx="57">
                  <c:v>Deutz</c:v>
                </c:pt>
                <c:pt idx="58">
                  <c:v>Piper Heids</c:v>
                </c:pt>
                <c:pt idx="59">
                  <c:v>Demoiselle</c:v>
                </c:pt>
                <c:pt idx="60">
                  <c:v>De Venoge</c:v>
                </c:pt>
                <c:pt idx="61">
                  <c:v>Moët &amp; Chan</c:v>
                </c:pt>
                <c:pt idx="62">
                  <c:v>French Bloo</c:v>
                </c:pt>
                <c:pt idx="63">
                  <c:v>Krug</c:v>
                </c:pt>
                <c:pt idx="64">
                  <c:v>Besserat De</c:v>
                </c:pt>
                <c:pt idx="65">
                  <c:v>Ruinart</c:v>
                </c:pt>
                <c:pt idx="66">
                  <c:v>Delamotte</c:v>
                </c:pt>
                <c:pt idx="67">
                  <c:v>Roederer</c:v>
                </c:pt>
                <c:pt idx="68">
                  <c:v>Bollinger</c:v>
                </c:pt>
                <c:pt idx="69">
                  <c:v>Campari: Al</c:v>
                </c:pt>
                <c:pt idx="70">
                  <c:v>Laurent Per</c:v>
                </c:pt>
                <c:pt idx="71">
                  <c:v>Nicolas</c:v>
                </c:pt>
                <c:pt idx="72">
                  <c:v>Lanson</c:v>
                </c:pt>
                <c:pt idx="73">
                  <c:v>Roederer</c:v>
                </c:pt>
                <c:pt idx="74">
                  <c:v>Malard</c:v>
                </c:pt>
                <c:pt idx="75">
                  <c:v>Nicolas Feu</c:v>
                </c:pt>
                <c:pt idx="76">
                  <c:v>Nicolas</c:v>
                </c:pt>
                <c:pt idx="77">
                  <c:v>Canard Duch</c:v>
                </c:pt>
                <c:pt idx="78">
                  <c:v>Bouvet-Ladu</c:v>
                </c:pt>
                <c:pt idx="79">
                  <c:v>Henriot</c:v>
                </c:pt>
                <c:pt idx="80">
                  <c:v>Vranken</c:v>
                </c:pt>
                <c:pt idx="81">
                  <c:v>Lyre's</c:v>
                </c:pt>
                <c:pt idx="82">
                  <c:v>De Chanceny</c:v>
                </c:pt>
                <c:pt idx="83">
                  <c:v>Henriot</c:v>
                </c:pt>
                <c:pt idx="84">
                  <c:v>De Bligny</c:v>
                </c:pt>
                <c:pt idx="85">
                  <c:v>Roederer</c:v>
                </c:pt>
                <c:pt idx="86">
                  <c:v>Pommery</c:v>
                </c:pt>
                <c:pt idx="87">
                  <c:v>Roederer</c:v>
                </c:pt>
                <c:pt idx="88">
                  <c:v>Malard</c:v>
                </c:pt>
                <c:pt idx="89">
                  <c:v>Roederer</c:v>
                </c:pt>
                <c:pt idx="90">
                  <c:v>Besserat De</c:v>
                </c:pt>
                <c:pt idx="91">
                  <c:v>All Others</c:v>
                </c:pt>
                <c:pt idx="92">
                  <c:v>Patriarche</c:v>
                </c:pt>
                <c:pt idx="93">
                  <c:v>Nicolas</c:v>
                </c:pt>
                <c:pt idx="94">
                  <c:v>Ruinart</c:v>
                </c:pt>
                <c:pt idx="95">
                  <c:v>Henriot</c:v>
                </c:pt>
                <c:pt idx="96">
                  <c:v>Laurent Per</c:v>
                </c:pt>
                <c:pt idx="97">
                  <c:v>Roederer</c:v>
                </c:pt>
                <c:pt idx="98">
                  <c:v>Deutz</c:v>
                </c:pt>
                <c:pt idx="99">
                  <c:v>Moët &amp; Chan</c:v>
                </c:pt>
                <c:pt idx="100">
                  <c:v>Roederer</c:v>
                </c:pt>
                <c:pt idx="101">
                  <c:v>Perrier Jou</c:v>
                </c:pt>
                <c:pt idx="102">
                  <c:v>Ruinart</c:v>
                </c:pt>
                <c:pt idx="103">
                  <c:v>Laurent Per</c:v>
                </c:pt>
                <c:pt idx="104">
                  <c:v>Bollinger</c:v>
                </c:pt>
                <c:pt idx="105">
                  <c:v>Roederer</c:v>
                </c:pt>
                <c:pt idx="106">
                  <c:v>Ruinart</c:v>
                </c:pt>
                <c:pt idx="107">
                  <c:v>Deutz</c:v>
                </c:pt>
                <c:pt idx="108">
                  <c:v>De Venoge</c:v>
                </c:pt>
                <c:pt idx="109">
                  <c:v>Vranken</c:v>
                </c:pt>
                <c:pt idx="110">
                  <c:v>Bottega</c:v>
                </c:pt>
                <c:pt idx="111">
                  <c:v>All Others</c:v>
                </c:pt>
                <c:pt idx="112">
                  <c:v>Ayala</c:v>
                </c:pt>
                <c:pt idx="113">
                  <c:v>De Venoge</c:v>
                </c:pt>
                <c:pt idx="114">
                  <c:v>Bollinger</c:v>
                </c:pt>
                <c:pt idx="115">
                  <c:v>Ruinart</c:v>
                </c:pt>
                <c:pt idx="116">
                  <c:v>Taittinger</c:v>
                </c:pt>
                <c:pt idx="117">
                  <c:v>Nicolas Feu</c:v>
                </c:pt>
                <c:pt idx="118">
                  <c:v>Dom Perigno</c:v>
                </c:pt>
                <c:pt idx="119">
                  <c:v>Canard Duch</c:v>
                </c:pt>
                <c:pt idx="120">
                  <c:v>Nicolas</c:v>
                </c:pt>
                <c:pt idx="121">
                  <c:v>Nicolas</c:v>
                </c:pt>
                <c:pt idx="122">
                  <c:v>Malard</c:v>
                </c:pt>
                <c:pt idx="123">
                  <c:v>Perrier Jou</c:v>
                </c:pt>
                <c:pt idx="124">
                  <c:v>Ruinart</c:v>
                </c:pt>
                <c:pt idx="125">
                  <c:v>Dom Perigno</c:v>
                </c:pt>
                <c:pt idx="126">
                  <c:v>Canard Duch</c:v>
                </c:pt>
                <c:pt idx="127">
                  <c:v>Dom Perigno</c:v>
                </c:pt>
                <c:pt idx="128">
                  <c:v>Laurent Per</c:v>
                </c:pt>
                <c:pt idx="129">
                  <c:v>Demoiselle</c:v>
                </c:pt>
                <c:pt idx="130">
                  <c:v>Taittinger</c:v>
                </c:pt>
                <c:pt idx="131">
                  <c:v>De Venoge</c:v>
                </c:pt>
                <c:pt idx="132">
                  <c:v>Roederer</c:v>
                </c:pt>
                <c:pt idx="133">
                  <c:v>Laurent Per</c:v>
                </c:pt>
                <c:pt idx="134">
                  <c:v>Nicolas</c:v>
                </c:pt>
                <c:pt idx="135">
                  <c:v>All Others</c:v>
                </c:pt>
                <c:pt idx="136">
                  <c:v>Canard Duch</c:v>
                </c:pt>
                <c:pt idx="137">
                  <c:v>Bollinger</c:v>
                </c:pt>
                <c:pt idx="138">
                  <c:v>Pommery</c:v>
                </c:pt>
                <c:pt idx="139">
                  <c:v>Nicolas</c:v>
                </c:pt>
                <c:pt idx="140">
                  <c:v>Nicolas</c:v>
                </c:pt>
                <c:pt idx="141">
                  <c:v>Laurent Per</c:v>
                </c:pt>
                <c:pt idx="142">
                  <c:v>Cru La Maqu</c:v>
                </c:pt>
                <c:pt idx="143">
                  <c:v>All Others</c:v>
                </c:pt>
                <c:pt idx="144">
                  <c:v>Contarini</c:v>
                </c:pt>
                <c:pt idx="145">
                  <c:v>All Others</c:v>
                </c:pt>
                <c:pt idx="146">
                  <c:v>Veuve Clicq</c:v>
                </c:pt>
                <c:pt idx="147">
                  <c:v>Roederer</c:v>
                </c:pt>
                <c:pt idx="148">
                  <c:v>Ruinart</c:v>
                </c:pt>
                <c:pt idx="149">
                  <c:v>All Others</c:v>
                </c:pt>
                <c:pt idx="150">
                  <c:v>Kriter</c:v>
                </c:pt>
                <c:pt idx="151">
                  <c:v>Mure</c:v>
                </c:pt>
                <c:pt idx="152">
                  <c:v>Pommery</c:v>
                </c:pt>
                <c:pt idx="153">
                  <c:v>All Others</c:v>
                </c:pt>
                <c:pt idx="154">
                  <c:v>Deutz</c:v>
                </c:pt>
                <c:pt idx="155">
                  <c:v>All Others</c:v>
                </c:pt>
                <c:pt idx="156">
                  <c:v>Moët &amp; Chan</c:v>
                </c:pt>
                <c:pt idx="157">
                  <c:v>Nicolas</c:v>
                </c:pt>
                <c:pt idx="158">
                  <c:v>All Others</c:v>
                </c:pt>
                <c:pt idx="159">
                  <c:v>Roederer</c:v>
                </c:pt>
                <c:pt idx="160">
                  <c:v>All Others</c:v>
                </c:pt>
                <c:pt idx="161">
                  <c:v>Ruinart</c:v>
                </c:pt>
                <c:pt idx="162">
                  <c:v>Nicolas</c:v>
                </c:pt>
                <c:pt idx="163">
                  <c:v>All Others</c:v>
                </c:pt>
                <c:pt idx="164">
                  <c:v>Pommery</c:v>
                </c:pt>
                <c:pt idx="165">
                  <c:v>All Others</c:v>
                </c:pt>
                <c:pt idx="166">
                  <c:v>Roederer</c:v>
                </c:pt>
                <c:pt idx="167">
                  <c:v>All Others</c:v>
                </c:pt>
                <c:pt idx="168">
                  <c:v>Besserat De</c:v>
                </c:pt>
                <c:pt idx="169">
                  <c:v>Nicolas</c:v>
                </c:pt>
                <c:pt idx="170">
                  <c:v>All Others</c:v>
                </c:pt>
                <c:pt idx="171">
                  <c:v>All Others</c:v>
                </c:pt>
                <c:pt idx="172">
                  <c:v>Ruinart</c:v>
                </c:pt>
                <c:pt idx="173">
                  <c:v>Lanson</c:v>
                </c:pt>
                <c:pt idx="174">
                  <c:v>All Others</c:v>
                </c:pt>
                <c:pt idx="175">
                  <c:v>Canard Duch</c:v>
                </c:pt>
                <c:pt idx="176">
                  <c:v>Ruinart</c:v>
                </c:pt>
                <c:pt idx="177">
                  <c:v>Pommery</c:v>
                </c:pt>
                <c:pt idx="178">
                  <c:v>All Others</c:v>
                </c:pt>
                <c:pt idx="179">
                  <c:v>Krug</c:v>
                </c:pt>
                <c:pt idx="180">
                  <c:v>All Others</c:v>
                </c:pt>
                <c:pt idx="181">
                  <c:v>Taittinger</c:v>
                </c:pt>
                <c:pt idx="182">
                  <c:v>Nicolas</c:v>
                </c:pt>
                <c:pt idx="183">
                  <c:v>Deutz</c:v>
                </c:pt>
                <c:pt idx="184">
                  <c:v>Laurent Per</c:v>
                </c:pt>
                <c:pt idx="185">
                  <c:v>Taittinger</c:v>
                </c:pt>
                <c:pt idx="186">
                  <c:v>Laurent Per</c:v>
                </c:pt>
                <c:pt idx="187">
                  <c:v>Deutz</c:v>
                </c:pt>
                <c:pt idx="188">
                  <c:v>Piper Heids</c:v>
                </c:pt>
                <c:pt idx="189">
                  <c:v>All Others</c:v>
                </c:pt>
                <c:pt idx="190">
                  <c:v>Louis Marti</c:v>
                </c:pt>
                <c:pt idx="191">
                  <c:v>Nicolas</c:v>
                </c:pt>
                <c:pt idx="192">
                  <c:v>Pommery</c:v>
                </c:pt>
                <c:pt idx="193">
                  <c:v>Pommery</c:v>
                </c:pt>
                <c:pt idx="194">
                  <c:v>Nicolas</c:v>
                </c:pt>
                <c:pt idx="195">
                  <c:v>Laurent Per</c:v>
                </c:pt>
                <c:pt idx="196">
                  <c:v>Vesselle</c:v>
                </c:pt>
                <c:pt idx="197">
                  <c:v>Moët &amp; Chan</c:v>
                </c:pt>
                <c:pt idx="198">
                  <c:v>Contarini</c:v>
                </c:pt>
                <c:pt idx="199">
                  <c:v>Vranken</c:v>
                </c:pt>
                <c:pt idx="200">
                  <c:v>Lanson</c:v>
                </c:pt>
                <c:pt idx="201">
                  <c:v>Besserat De</c:v>
                </c:pt>
                <c:pt idx="202">
                  <c:v>De Venoge</c:v>
                </c:pt>
                <c:pt idx="203">
                  <c:v>Ruinart</c:v>
                </c:pt>
                <c:pt idx="204">
                  <c:v>Ayala</c:v>
                </c:pt>
                <c:pt idx="205">
                  <c:v>Dom Perigno</c:v>
                </c:pt>
                <c:pt idx="206">
                  <c:v>Canard Duch</c:v>
                </c:pt>
                <c:pt idx="207">
                  <c:v>Perrier Jou</c:v>
                </c:pt>
                <c:pt idx="208">
                  <c:v>All Others</c:v>
                </c:pt>
                <c:pt idx="209">
                  <c:v>Delamotte</c:v>
                </c:pt>
                <c:pt idx="210">
                  <c:v>Taittinger</c:v>
                </c:pt>
                <c:pt idx="211">
                  <c:v>Bollinger</c:v>
                </c:pt>
                <c:pt idx="212">
                  <c:v>All Others</c:v>
                </c:pt>
                <c:pt idx="213">
                  <c:v>Mure</c:v>
                </c:pt>
                <c:pt idx="214">
                  <c:v>All Others</c:v>
                </c:pt>
                <c:pt idx="215">
                  <c:v>Roederer</c:v>
                </c:pt>
                <c:pt idx="216">
                  <c:v>All Others</c:v>
                </c:pt>
                <c:pt idx="217">
                  <c:v>Perrier Jou</c:v>
                </c:pt>
                <c:pt idx="218">
                  <c:v>Piper Heids</c:v>
                </c:pt>
                <c:pt idx="219">
                  <c:v>Roederer</c:v>
                </c:pt>
                <c:pt idx="220">
                  <c:v>Delamotte</c:v>
                </c:pt>
                <c:pt idx="221">
                  <c:v>Henriot</c:v>
                </c:pt>
                <c:pt idx="222">
                  <c:v>Bollinger</c:v>
                </c:pt>
                <c:pt idx="223">
                  <c:v>Nicolas</c:v>
                </c:pt>
                <c:pt idx="224">
                  <c:v>Krug</c:v>
                </c:pt>
                <c:pt idx="225">
                  <c:v>All Others</c:v>
                </c:pt>
                <c:pt idx="226">
                  <c:v>De Venoge</c:v>
                </c:pt>
                <c:pt idx="227">
                  <c:v>Canard Duch</c:v>
                </c:pt>
                <c:pt idx="228">
                  <c:v>Vesselle</c:v>
                </c:pt>
                <c:pt idx="229">
                  <c:v>All Others</c:v>
                </c:pt>
                <c:pt idx="230">
                  <c:v>All Others</c:v>
                </c:pt>
                <c:pt idx="231">
                  <c:v>Nicolas Feu</c:v>
                </c:pt>
                <c:pt idx="232">
                  <c:v>Malard</c:v>
                </c:pt>
                <c:pt idx="233">
                  <c:v>Demoiselle</c:v>
                </c:pt>
                <c:pt idx="234">
                  <c:v>Delamotte</c:v>
                </c:pt>
                <c:pt idx="235">
                  <c:v>De Venoge</c:v>
                </c:pt>
                <c:pt idx="236">
                  <c:v>Deutz</c:v>
                </c:pt>
                <c:pt idx="237">
                  <c:v>Roederer</c:v>
                </c:pt>
                <c:pt idx="238">
                  <c:v>Piper Heids</c:v>
                </c:pt>
                <c:pt idx="239">
                  <c:v>Veuve Clicq</c:v>
                </c:pt>
                <c:pt idx="240">
                  <c:v>Krug</c:v>
                </c:pt>
                <c:pt idx="241">
                  <c:v>Nicolas</c:v>
                </c:pt>
                <c:pt idx="242">
                  <c:v>Dom Perigno</c:v>
                </c:pt>
                <c:pt idx="243">
                  <c:v>All Others</c:v>
                </c:pt>
                <c:pt idx="244">
                  <c:v>Henriot</c:v>
                </c:pt>
                <c:pt idx="245">
                  <c:v>Deutz</c:v>
                </c:pt>
                <c:pt idx="246">
                  <c:v>All Others</c:v>
                </c:pt>
                <c:pt idx="247">
                  <c:v>Moët &amp; Chan</c:v>
                </c:pt>
                <c:pt idx="248">
                  <c:v>Deutz</c:v>
                </c:pt>
                <c:pt idx="249">
                  <c:v>All Others</c:v>
                </c:pt>
                <c:pt idx="250">
                  <c:v>Nicolas</c:v>
                </c:pt>
                <c:pt idx="251">
                  <c:v>All Others</c:v>
                </c:pt>
                <c:pt idx="252">
                  <c:v>Bouvet-Ladu</c:v>
                </c:pt>
                <c:pt idx="253">
                  <c:v>De Venoge</c:v>
                </c:pt>
                <c:pt idx="254">
                  <c:v>All Others</c:v>
                </c:pt>
                <c:pt idx="255">
                  <c:v>All Others</c:v>
                </c:pt>
                <c:pt idx="256">
                  <c:v>Moët &amp; Chan</c:v>
                </c:pt>
                <c:pt idx="257">
                  <c:v>Roederer</c:v>
                </c:pt>
                <c:pt idx="258">
                  <c:v>Veuve Clicq</c:v>
                </c:pt>
                <c:pt idx="259">
                  <c:v>Heidsieck &amp;</c:v>
                </c:pt>
                <c:pt idx="260">
                  <c:v>Moët &amp; Chan</c:v>
                </c:pt>
                <c:pt idx="261">
                  <c:v>Krug</c:v>
                </c:pt>
                <c:pt idx="262">
                  <c:v>Perrier Jou</c:v>
                </c:pt>
                <c:pt idx="263">
                  <c:v>Moët &amp; Chan</c:v>
                </c:pt>
                <c:pt idx="264">
                  <c:v>All Others</c:v>
                </c:pt>
                <c:pt idx="265">
                  <c:v>Ruinart</c:v>
                </c:pt>
                <c:pt idx="266">
                  <c:v>Deutz</c:v>
                </c:pt>
                <c:pt idx="267">
                  <c:v>Perrier Jou</c:v>
                </c:pt>
                <c:pt idx="268">
                  <c:v>Ayala</c:v>
                </c:pt>
                <c:pt idx="269">
                  <c:v>All Others</c:v>
                </c:pt>
                <c:pt idx="270">
                  <c:v>All Others</c:v>
                </c:pt>
                <c:pt idx="271">
                  <c:v>Laurent Per</c:v>
                </c:pt>
                <c:pt idx="272">
                  <c:v>All Others</c:v>
                </c:pt>
                <c:pt idx="273">
                  <c:v>Roederer</c:v>
                </c:pt>
                <c:pt idx="274">
                  <c:v>Celene</c:v>
                </c:pt>
                <c:pt idx="275">
                  <c:v>Veuve Clicq</c:v>
                </c:pt>
                <c:pt idx="276">
                  <c:v>Piper Heids</c:v>
                </c:pt>
                <c:pt idx="277">
                  <c:v>All Others</c:v>
                </c:pt>
                <c:pt idx="278">
                  <c:v>Nicolas Feu</c:v>
                </c:pt>
                <c:pt idx="279">
                  <c:v>Veuve Clicq</c:v>
                </c:pt>
                <c:pt idx="280">
                  <c:v>Celene</c:v>
                </c:pt>
                <c:pt idx="281">
                  <c:v>Taittinger</c:v>
                </c:pt>
                <c:pt idx="282">
                  <c:v>Laurent Per</c:v>
                </c:pt>
                <c:pt idx="283">
                  <c:v>Pommery</c:v>
                </c:pt>
                <c:pt idx="284">
                  <c:v>De Venoge</c:v>
                </c:pt>
                <c:pt idx="285">
                  <c:v>Ruinart</c:v>
                </c:pt>
                <c:pt idx="286">
                  <c:v>Bollinger</c:v>
                </c:pt>
                <c:pt idx="287">
                  <c:v>Piper Heids</c:v>
                </c:pt>
                <c:pt idx="288">
                  <c:v>Bouvet-Ladu</c:v>
                </c:pt>
                <c:pt idx="289">
                  <c:v>Henriot</c:v>
                </c:pt>
                <c:pt idx="290">
                  <c:v>All Others</c:v>
                </c:pt>
                <c:pt idx="291">
                  <c:v>Vesselle</c:v>
                </c:pt>
                <c:pt idx="292">
                  <c:v>Ruinart</c:v>
                </c:pt>
                <c:pt idx="293">
                  <c:v>Nicolas</c:v>
                </c:pt>
                <c:pt idx="294">
                  <c:v>Nicolas Feu</c:v>
                </c:pt>
                <c:pt idx="295">
                  <c:v>Bollinger</c:v>
                </c:pt>
                <c:pt idx="296">
                  <c:v>All Others</c:v>
                </c:pt>
                <c:pt idx="297">
                  <c:v>Nicolas</c:v>
                </c:pt>
                <c:pt idx="298">
                  <c:v>Ayala</c:v>
                </c:pt>
                <c:pt idx="299">
                  <c:v>De Bligny</c:v>
                </c:pt>
                <c:pt idx="300">
                  <c:v>Moët &amp; Chan</c:v>
                </c:pt>
                <c:pt idx="301">
                  <c:v>Canard Duch</c:v>
                </c:pt>
                <c:pt idx="302">
                  <c:v>Veuve Clicq</c:v>
                </c:pt>
                <c:pt idx="303">
                  <c:v>All Others</c:v>
                </c:pt>
                <c:pt idx="304">
                  <c:v>Veuve Clicq</c:v>
                </c:pt>
                <c:pt idx="305">
                  <c:v>De Venoge</c:v>
                </c:pt>
                <c:pt idx="306">
                  <c:v>Laurent Per</c:v>
                </c:pt>
                <c:pt idx="307">
                  <c:v>De Venoge</c:v>
                </c:pt>
                <c:pt idx="308">
                  <c:v>Bollinger</c:v>
                </c:pt>
                <c:pt idx="309">
                  <c:v>Roederer</c:v>
                </c:pt>
                <c:pt idx="310">
                  <c:v>Ruinart</c:v>
                </c:pt>
                <c:pt idx="311">
                  <c:v>Canard Duch</c:v>
                </c:pt>
                <c:pt idx="312">
                  <c:v>All Others</c:v>
                </c:pt>
                <c:pt idx="313">
                  <c:v>All Others</c:v>
                </c:pt>
                <c:pt idx="314">
                  <c:v>Bollinger</c:v>
                </c:pt>
                <c:pt idx="315">
                  <c:v>Bollinger</c:v>
                </c:pt>
                <c:pt idx="316">
                  <c:v>De Bligny</c:v>
                </c:pt>
                <c:pt idx="317">
                  <c:v>Vranken</c:v>
                </c:pt>
                <c:pt idx="318">
                  <c:v>De Venoge</c:v>
                </c:pt>
                <c:pt idx="319">
                  <c:v>Deutz</c:v>
                </c:pt>
                <c:pt idx="320">
                  <c:v>Canard Duch</c:v>
                </c:pt>
                <c:pt idx="321">
                  <c:v>Bouvet-Ladu</c:v>
                </c:pt>
                <c:pt idx="322">
                  <c:v>Pommery</c:v>
                </c:pt>
                <c:pt idx="323">
                  <c:v>Roederer</c:v>
                </c:pt>
                <c:pt idx="324">
                  <c:v>Veuve Clicq</c:v>
                </c:pt>
                <c:pt idx="325">
                  <c:v>Ruinart</c:v>
                </c:pt>
                <c:pt idx="326">
                  <c:v>Roederer</c:v>
                </c:pt>
                <c:pt idx="327">
                  <c:v>Roederer</c:v>
                </c:pt>
                <c:pt idx="328">
                  <c:v>Demoiselle</c:v>
                </c:pt>
                <c:pt idx="329">
                  <c:v>Pommery</c:v>
                </c:pt>
                <c:pt idx="330">
                  <c:v>Bollinger</c:v>
                </c:pt>
                <c:pt idx="331">
                  <c:v>Vesselle</c:v>
                </c:pt>
                <c:pt idx="332">
                  <c:v>All Others</c:v>
                </c:pt>
                <c:pt idx="333">
                  <c:v>Bouvet-Ladu</c:v>
                </c:pt>
                <c:pt idx="334">
                  <c:v>Besserat De</c:v>
                </c:pt>
                <c:pt idx="335">
                  <c:v>Jaillance</c:v>
                </c:pt>
                <c:pt idx="336">
                  <c:v>All Others</c:v>
                </c:pt>
                <c:pt idx="337">
                  <c:v>Laurent Per</c:v>
                </c:pt>
                <c:pt idx="338">
                  <c:v>All Others</c:v>
                </c:pt>
                <c:pt idx="339">
                  <c:v>Roederer</c:v>
                </c:pt>
                <c:pt idx="340">
                  <c:v>Roederer</c:v>
                </c:pt>
                <c:pt idx="341">
                  <c:v>Taittinger</c:v>
                </c:pt>
                <c:pt idx="342">
                  <c:v>Vranken</c:v>
                </c:pt>
                <c:pt idx="343">
                  <c:v>Moët &amp; Chan</c:v>
                </c:pt>
                <c:pt idx="344">
                  <c:v>Bottega</c:v>
                </c:pt>
                <c:pt idx="345">
                  <c:v>All Others</c:v>
                </c:pt>
                <c:pt idx="346">
                  <c:v>Besserat De</c:v>
                </c:pt>
                <c:pt idx="347">
                  <c:v>Moët &amp; Chan</c:v>
                </c:pt>
                <c:pt idx="348">
                  <c:v>Moët &amp; Chan</c:v>
                </c:pt>
                <c:pt idx="349">
                  <c:v>All Others</c:v>
                </c:pt>
                <c:pt idx="350">
                  <c:v>All Others</c:v>
                </c:pt>
                <c:pt idx="351">
                  <c:v>Laurent Per</c:v>
                </c:pt>
                <c:pt idx="352">
                  <c:v>All Others</c:v>
                </c:pt>
                <c:pt idx="353">
                  <c:v>Besserat De</c:v>
                </c:pt>
                <c:pt idx="354">
                  <c:v>All Others</c:v>
                </c:pt>
                <c:pt idx="355">
                  <c:v>Lanson</c:v>
                </c:pt>
                <c:pt idx="356">
                  <c:v>Roederer</c:v>
                </c:pt>
                <c:pt idx="357">
                  <c:v>Roederer</c:v>
                </c:pt>
                <c:pt idx="358">
                  <c:v>Malard</c:v>
                </c:pt>
                <c:pt idx="359">
                  <c:v>Piper Heids</c:v>
                </c:pt>
                <c:pt idx="360">
                  <c:v>Martel</c:v>
                </c:pt>
                <c:pt idx="361">
                  <c:v>Vesselle</c:v>
                </c:pt>
                <c:pt idx="362">
                  <c:v>All Others</c:v>
                </c:pt>
                <c:pt idx="363">
                  <c:v>All Others</c:v>
                </c:pt>
                <c:pt idx="364">
                  <c:v>All Others</c:v>
                </c:pt>
              </c:strCache>
            </c:strRef>
          </c:cat>
          <c:val>
            <c:numRef>
              <c:f>Sheet1!$C$2:$C$366</c:f>
              <c:numCache>
                <c:formatCode>General</c:formatCode>
                <c:ptCount val="365"/>
                <c:pt idx="0">
                  <c:v>8.7777274873958713E-2</c:v>
                </c:pt>
                <c:pt idx="1">
                  <c:v>0.14307646415041117</c:v>
                </c:pt>
                <c:pt idx="2">
                  <c:v>0.18968336225439825</c:v>
                </c:pt>
                <c:pt idx="3">
                  <c:v>0.2325608681528703</c:v>
                </c:pt>
                <c:pt idx="4">
                  <c:v>0.26811006615232874</c:v>
                </c:pt>
                <c:pt idx="5">
                  <c:v>0.2956645677394244</c:v>
                </c:pt>
                <c:pt idx="6">
                  <c:v>0.32073116973298754</c:v>
                </c:pt>
                <c:pt idx="7">
                  <c:v>0.34514551202570803</c:v>
                </c:pt>
                <c:pt idx="8">
                  <c:v>0.3689982647361057</c:v>
                </c:pt>
                <c:pt idx="9">
                  <c:v>0.39096635671737801</c:v>
                </c:pt>
                <c:pt idx="10">
                  <c:v>0.41180500371280615</c:v>
                </c:pt>
                <c:pt idx="11">
                  <c:v>0.43260064997451891</c:v>
                </c:pt>
                <c:pt idx="12">
                  <c:v>0.45316421513340788</c:v>
                </c:pt>
                <c:pt idx="13">
                  <c:v>0.47252228543739605</c:v>
                </c:pt>
                <c:pt idx="14">
                  <c:v>0.48736171578333326</c:v>
                </c:pt>
                <c:pt idx="15">
                  <c:v>0.50089281809117037</c:v>
                </c:pt>
                <c:pt idx="16">
                  <c:v>0.51280070413087164</c:v>
                </c:pt>
                <c:pt idx="17">
                  <c:v>0.52445992307045886</c:v>
                </c:pt>
                <c:pt idx="18">
                  <c:v>0.53466424289959602</c:v>
                </c:pt>
                <c:pt idx="19">
                  <c:v>0.54419074830613967</c:v>
                </c:pt>
                <c:pt idx="20">
                  <c:v>0.55368850465071362</c:v>
                </c:pt>
                <c:pt idx="21">
                  <c:v>0.56312089988004022</c:v>
                </c:pt>
                <c:pt idx="22">
                  <c:v>0.57253634053435909</c:v>
                </c:pt>
                <c:pt idx="23">
                  <c:v>0.58184206788808412</c:v>
                </c:pt>
                <c:pt idx="24">
                  <c:v>0.59074457121879809</c:v>
                </c:pt>
                <c:pt idx="25">
                  <c:v>0.5995367469527223</c:v>
                </c:pt>
                <c:pt idx="26">
                  <c:v>0.60832744837577635</c:v>
                </c:pt>
                <c:pt idx="27">
                  <c:v>0.61693865245037849</c:v>
                </c:pt>
                <c:pt idx="28">
                  <c:v>0.62552675898801346</c:v>
                </c:pt>
                <c:pt idx="29">
                  <c:v>0.63388450445217326</c:v>
                </c:pt>
                <c:pt idx="30">
                  <c:v>0.64214691114672406</c:v>
                </c:pt>
                <c:pt idx="31">
                  <c:v>0.65037147719560529</c:v>
                </c:pt>
                <c:pt idx="32">
                  <c:v>0.65840315423896334</c:v>
                </c:pt>
                <c:pt idx="33">
                  <c:v>0.66620471592732444</c:v>
                </c:pt>
                <c:pt idx="34">
                  <c:v>0.67353081236003276</c:v>
                </c:pt>
                <c:pt idx="35">
                  <c:v>0.68077004731063595</c:v>
                </c:pt>
                <c:pt idx="36">
                  <c:v>0.68782388766930624</c:v>
                </c:pt>
                <c:pt idx="37">
                  <c:v>0.69481015544642388</c:v>
                </c:pt>
                <c:pt idx="38">
                  <c:v>0.70174580521699659</c:v>
                </c:pt>
                <c:pt idx="39">
                  <c:v>0.70737791845979736</c:v>
                </c:pt>
                <c:pt idx="40">
                  <c:v>0.71300646878466178</c:v>
                </c:pt>
                <c:pt idx="41">
                  <c:v>0.71861720451984412</c:v>
                </c:pt>
                <c:pt idx="42">
                  <c:v>0.72398787330165548</c:v>
                </c:pt>
                <c:pt idx="43">
                  <c:v>0.72913321823879829</c:v>
                </c:pt>
                <c:pt idx="44">
                  <c:v>0.73426025714930221</c:v>
                </c:pt>
                <c:pt idx="45">
                  <c:v>0.73933802950489225</c:v>
                </c:pt>
                <c:pt idx="46">
                  <c:v>0.74429515408760083</c:v>
                </c:pt>
                <c:pt idx="47">
                  <c:v>0.74924146705726102</c:v>
                </c:pt>
                <c:pt idx="48">
                  <c:v>0.75415583662473262</c:v>
                </c:pt>
                <c:pt idx="49">
                  <c:v>0.75906283463785296</c:v>
                </c:pt>
                <c:pt idx="50">
                  <c:v>0.7638592593357052</c:v>
                </c:pt>
                <c:pt idx="51">
                  <c:v>0.76819090753171382</c:v>
                </c:pt>
                <c:pt idx="52">
                  <c:v>0.77233568682491938</c:v>
                </c:pt>
                <c:pt idx="53">
                  <c:v>0.77647850037029797</c:v>
                </c:pt>
                <c:pt idx="54">
                  <c:v>0.78056578153956413</c:v>
                </c:pt>
                <c:pt idx="55">
                  <c:v>0.78456263830878881</c:v>
                </c:pt>
                <c:pt idx="56">
                  <c:v>0.78851968868451694</c:v>
                </c:pt>
                <c:pt idx="57">
                  <c:v>0.79241395798902059</c:v>
                </c:pt>
                <c:pt idx="58">
                  <c:v>0.79629938142830281</c:v>
                </c:pt>
                <c:pt idx="59">
                  <c:v>0.80016269020453146</c:v>
                </c:pt>
                <c:pt idx="60">
                  <c:v>0.80397525811497594</c:v>
                </c:pt>
                <c:pt idx="61">
                  <c:v>0.80775588262323184</c:v>
                </c:pt>
                <c:pt idx="62">
                  <c:v>0.81149412069396831</c:v>
                </c:pt>
                <c:pt idx="63">
                  <c:v>0.8152080326353458</c:v>
                </c:pt>
                <c:pt idx="64">
                  <c:v>0.81879859390057974</c:v>
                </c:pt>
                <c:pt idx="65">
                  <c:v>0.82236691764352088</c:v>
                </c:pt>
                <c:pt idx="66">
                  <c:v>0.82592098971471628</c:v>
                </c:pt>
                <c:pt idx="67">
                  <c:v>0.82946855024623478</c:v>
                </c:pt>
                <c:pt idx="68">
                  <c:v>0.83297040714077586</c:v>
                </c:pt>
                <c:pt idx="69">
                  <c:v>0.8364688239766197</c:v>
                </c:pt>
                <c:pt idx="70">
                  <c:v>0.83981022670478278</c:v>
                </c:pt>
                <c:pt idx="71">
                  <c:v>0.84303540459267523</c:v>
                </c:pt>
                <c:pt idx="72">
                  <c:v>0.84619251846205812</c:v>
                </c:pt>
                <c:pt idx="73">
                  <c:v>0.84929680285859077</c:v>
                </c:pt>
                <c:pt idx="74">
                  <c:v>0.85215450876207555</c:v>
                </c:pt>
                <c:pt idx="75">
                  <c:v>0.85486711790408065</c:v>
                </c:pt>
                <c:pt idx="76">
                  <c:v>0.8575251775438868</c:v>
                </c:pt>
                <c:pt idx="77">
                  <c:v>0.8601261076374711</c:v>
                </c:pt>
                <c:pt idx="78">
                  <c:v>0.86271155746691786</c:v>
                </c:pt>
                <c:pt idx="79">
                  <c:v>0.86527906984744341</c:v>
                </c:pt>
                <c:pt idx="80">
                  <c:v>0.86780210718338335</c:v>
                </c:pt>
                <c:pt idx="81">
                  <c:v>0.87017181618881811</c:v>
                </c:pt>
                <c:pt idx="82">
                  <c:v>0.87249324151325247</c:v>
                </c:pt>
                <c:pt idx="83">
                  <c:v>0.87477842336212674</c:v>
                </c:pt>
                <c:pt idx="84">
                  <c:v>0.87705905941915108</c:v>
                </c:pt>
                <c:pt idx="85">
                  <c:v>0.8793022234082235</c:v>
                </c:pt>
                <c:pt idx="86">
                  <c:v>0.88153039857011517</c:v>
                </c:pt>
                <c:pt idx="87">
                  <c:v>0.88373093040318973</c:v>
                </c:pt>
                <c:pt idx="88">
                  <c:v>0.88590001027103249</c:v>
                </c:pt>
                <c:pt idx="89">
                  <c:v>0.88806196430300244</c:v>
                </c:pt>
                <c:pt idx="90">
                  <c:v>0.88998839717345135</c:v>
                </c:pt>
                <c:pt idx="91">
                  <c:v>0.89190991567433275</c:v>
                </c:pt>
                <c:pt idx="92">
                  <c:v>0.89380096508389584</c:v>
                </c:pt>
                <c:pt idx="93">
                  <c:v>0.89549593114771675</c:v>
                </c:pt>
                <c:pt idx="94">
                  <c:v>0.89717824270990143</c:v>
                </c:pt>
                <c:pt idx="95">
                  <c:v>0.8988437225563175</c:v>
                </c:pt>
                <c:pt idx="96">
                  <c:v>0.90047111603858576</c:v>
                </c:pt>
                <c:pt idx="97">
                  <c:v>0.90204740007735229</c:v>
                </c:pt>
                <c:pt idx="98">
                  <c:v>0.90362159550905263</c:v>
                </c:pt>
                <c:pt idx="99">
                  <c:v>0.90518694507553155</c:v>
                </c:pt>
                <c:pt idx="100">
                  <c:v>0.9067433259175498</c:v>
                </c:pt>
                <c:pt idx="101">
                  <c:v>0.90829159804978177</c:v>
                </c:pt>
                <c:pt idx="102">
                  <c:v>0.90982930428744357</c:v>
                </c:pt>
                <c:pt idx="103">
                  <c:v>0.91136295617021224</c:v>
                </c:pt>
                <c:pt idx="104">
                  <c:v>0.91289021937254322</c:v>
                </c:pt>
                <c:pt idx="105">
                  <c:v>0.91440507379171632</c:v>
                </c:pt>
                <c:pt idx="106">
                  <c:v>0.91591501384132201</c:v>
                </c:pt>
                <c:pt idx="107">
                  <c:v>0.91739792485830651</c:v>
                </c:pt>
                <c:pt idx="108">
                  <c:v>0.91885098108016872</c:v>
                </c:pt>
                <c:pt idx="109">
                  <c:v>0.92028388838680419</c:v>
                </c:pt>
                <c:pt idx="110">
                  <c:v>0.92171249562006818</c:v>
                </c:pt>
                <c:pt idx="111">
                  <c:v>0.92311075662125308</c:v>
                </c:pt>
                <c:pt idx="112">
                  <c:v>0.92448641152242761</c:v>
                </c:pt>
                <c:pt idx="113">
                  <c:v>0.92582729725891222</c:v>
                </c:pt>
                <c:pt idx="114">
                  <c:v>0.92714999982799717</c:v>
                </c:pt>
                <c:pt idx="115">
                  <c:v>0.92843609034380448</c:v>
                </c:pt>
                <c:pt idx="116">
                  <c:v>0.92970731489167024</c:v>
                </c:pt>
                <c:pt idx="117">
                  <c:v>0.93094426171180289</c:v>
                </c:pt>
                <c:pt idx="118">
                  <c:v>0.93214803653735501</c:v>
                </c:pt>
                <c:pt idx="119">
                  <c:v>0.93331655076126052</c:v>
                </c:pt>
                <c:pt idx="120">
                  <c:v>0.93447904488244593</c:v>
                </c:pt>
                <c:pt idx="121">
                  <c:v>0.93563945039656515</c:v>
                </c:pt>
                <c:pt idx="122">
                  <c:v>0.93678572709817787</c:v>
                </c:pt>
                <c:pt idx="123">
                  <c:v>0.93792930089652848</c:v>
                </c:pt>
                <c:pt idx="124">
                  <c:v>0.93906378311117933</c:v>
                </c:pt>
                <c:pt idx="125">
                  <c:v>0.94018180218777914</c:v>
                </c:pt>
                <c:pt idx="126">
                  <c:v>0.94129048396220072</c:v>
                </c:pt>
                <c:pt idx="127">
                  <c:v>0.94236181652790951</c:v>
                </c:pt>
                <c:pt idx="128">
                  <c:v>0.94342479466535367</c:v>
                </c:pt>
                <c:pt idx="129">
                  <c:v>0.94445017787560659</c:v>
                </c:pt>
                <c:pt idx="130">
                  <c:v>0.94547187530868393</c:v>
                </c:pt>
                <c:pt idx="131">
                  <c:v>0.94648878123143299</c:v>
                </c:pt>
                <c:pt idx="132">
                  <c:v>0.94746403787209776</c:v>
                </c:pt>
                <c:pt idx="133">
                  <c:v>0.94840968543611848</c:v>
                </c:pt>
                <c:pt idx="134">
                  <c:v>0.94931294656261977</c:v>
                </c:pt>
                <c:pt idx="135">
                  <c:v>0.95021018758640086</c:v>
                </c:pt>
                <c:pt idx="136">
                  <c:v>0.95109981133735244</c:v>
                </c:pt>
                <c:pt idx="137">
                  <c:v>0.95198095780080005</c:v>
                </c:pt>
                <c:pt idx="138">
                  <c:v>0.95286198140500855</c:v>
                </c:pt>
                <c:pt idx="139">
                  <c:v>0.95374288214997782</c:v>
                </c:pt>
                <c:pt idx="140">
                  <c:v>0.95462071141396743</c:v>
                </c:pt>
                <c:pt idx="141">
                  <c:v>0.95549706636708676</c:v>
                </c:pt>
                <c:pt idx="142">
                  <c:v>0.95636236398867935</c:v>
                </c:pt>
                <c:pt idx="143">
                  <c:v>0.95722618729940168</c:v>
                </c:pt>
                <c:pt idx="144">
                  <c:v>0.95805020421662745</c:v>
                </c:pt>
                <c:pt idx="145">
                  <c:v>0.95886230378765214</c:v>
                </c:pt>
                <c:pt idx="146">
                  <c:v>0.95967084044074036</c:v>
                </c:pt>
                <c:pt idx="147">
                  <c:v>0.96047053122860715</c:v>
                </c:pt>
                <c:pt idx="148">
                  <c:v>0.96125756751483771</c:v>
                </c:pt>
                <c:pt idx="149">
                  <c:v>0.96200553456300686</c:v>
                </c:pt>
                <c:pt idx="150">
                  <c:v>0.96273949565790873</c:v>
                </c:pt>
                <c:pt idx="151">
                  <c:v>0.96346534804302431</c:v>
                </c:pt>
                <c:pt idx="152">
                  <c:v>0.96413099940093838</c:v>
                </c:pt>
                <c:pt idx="153">
                  <c:v>0.96478633058276075</c:v>
                </c:pt>
                <c:pt idx="154">
                  <c:v>0.96542175856783485</c:v>
                </c:pt>
                <c:pt idx="155">
                  <c:v>0.96604354917735924</c:v>
                </c:pt>
                <c:pt idx="156">
                  <c:v>0.96666337403905656</c:v>
                </c:pt>
                <c:pt idx="157">
                  <c:v>0.96727496733172835</c:v>
                </c:pt>
                <c:pt idx="158">
                  <c:v>0.96786813173852215</c:v>
                </c:pt>
                <c:pt idx="159">
                  <c:v>0.96845589033879176</c:v>
                </c:pt>
                <c:pt idx="160">
                  <c:v>0.96902694008253198</c:v>
                </c:pt>
                <c:pt idx="161">
                  <c:v>0.96959786696703298</c:v>
                </c:pt>
                <c:pt idx="162">
                  <c:v>0.97016547665207598</c:v>
                </c:pt>
                <c:pt idx="163">
                  <c:v>0.9707327177594014</c:v>
                </c:pt>
                <c:pt idx="164">
                  <c:v>0.97129971314824848</c:v>
                </c:pt>
                <c:pt idx="165">
                  <c:v>0.97186400563383335</c:v>
                </c:pt>
                <c:pt idx="166">
                  <c:v>0.97241208069984564</c:v>
                </c:pt>
                <c:pt idx="167">
                  <c:v>0.97292428086801541</c:v>
                </c:pt>
                <c:pt idx="168">
                  <c:v>0.97343586673998916</c:v>
                </c:pt>
                <c:pt idx="169">
                  <c:v>0.9739261979635836</c:v>
                </c:pt>
                <c:pt idx="170">
                  <c:v>0.97441407200239438</c:v>
                </c:pt>
                <c:pt idx="171">
                  <c:v>0.97490133174500915</c:v>
                </c:pt>
                <c:pt idx="172">
                  <c:v>0.97538773147294966</c:v>
                </c:pt>
                <c:pt idx="173">
                  <c:v>0.97587277974925912</c:v>
                </c:pt>
                <c:pt idx="174">
                  <c:v>0.97635696801089422</c:v>
                </c:pt>
                <c:pt idx="175">
                  <c:v>0.97683181897035121</c:v>
                </c:pt>
                <c:pt idx="176">
                  <c:v>0.97730445846350278</c:v>
                </c:pt>
                <c:pt idx="177">
                  <c:v>0.97777009498002077</c:v>
                </c:pt>
                <c:pt idx="178">
                  <c:v>0.97823450290414682</c:v>
                </c:pt>
                <c:pt idx="179">
                  <c:v>0.97868293912717863</c:v>
                </c:pt>
                <c:pt idx="180">
                  <c:v>0.97912535524749023</c:v>
                </c:pt>
                <c:pt idx="181">
                  <c:v>0.97955536258464404</c:v>
                </c:pt>
                <c:pt idx="182">
                  <c:v>0.97997689263429388</c:v>
                </c:pt>
                <c:pt idx="183">
                  <c:v>0.98039694837307356</c:v>
                </c:pt>
                <c:pt idx="184">
                  <c:v>0.98081528408250462</c:v>
                </c:pt>
                <c:pt idx="185">
                  <c:v>0.98122219388269127</c:v>
                </c:pt>
                <c:pt idx="186">
                  <c:v>0.98161952066222136</c:v>
                </c:pt>
                <c:pt idx="187">
                  <c:v>0.98200001572598283</c:v>
                </c:pt>
                <c:pt idx="188">
                  <c:v>0.98236490766636764</c:v>
                </c:pt>
                <c:pt idx="189">
                  <c:v>0.98272599097033764</c:v>
                </c:pt>
                <c:pt idx="190">
                  <c:v>0.98308645997811173</c:v>
                </c:pt>
                <c:pt idx="191">
                  <c:v>0.98344545467501554</c:v>
                </c:pt>
                <c:pt idx="192">
                  <c:v>0.98378503761212788</c:v>
                </c:pt>
                <c:pt idx="193">
                  <c:v>0.98412081191282541</c:v>
                </c:pt>
                <c:pt idx="194">
                  <c:v>0.98445388331026085</c:v>
                </c:pt>
                <c:pt idx="195">
                  <c:v>0.98477172016203707</c:v>
                </c:pt>
                <c:pt idx="196">
                  <c:v>0.98508599409587683</c:v>
                </c:pt>
                <c:pt idx="197">
                  <c:v>0.98539572223786676</c:v>
                </c:pt>
                <c:pt idx="198">
                  <c:v>0.98570274747659459</c:v>
                </c:pt>
                <c:pt idx="199">
                  <c:v>0.98600240116097115</c:v>
                </c:pt>
                <c:pt idx="200">
                  <c:v>0.98629910622360728</c:v>
                </c:pt>
                <c:pt idx="201">
                  <c:v>0.9865854911101517</c:v>
                </c:pt>
                <c:pt idx="202">
                  <c:v>0.98687040168582585</c:v>
                </c:pt>
                <c:pt idx="203">
                  <c:v>0.98715334651367304</c:v>
                </c:pt>
                <c:pt idx="204">
                  <c:v>0.98743530846760674</c:v>
                </c:pt>
                <c:pt idx="205">
                  <c:v>0.98770547593457847</c:v>
                </c:pt>
                <c:pt idx="206">
                  <c:v>0.98797453766839749</c:v>
                </c:pt>
                <c:pt idx="207">
                  <c:v>0.98823008488590602</c:v>
                </c:pt>
                <c:pt idx="208">
                  <c:v>0.98847850626754175</c:v>
                </c:pt>
                <c:pt idx="209">
                  <c:v>0.98872139898341405</c:v>
                </c:pt>
                <c:pt idx="210">
                  <c:v>0.98896085164058911</c:v>
                </c:pt>
                <c:pt idx="211">
                  <c:v>0.98918408687819148</c:v>
                </c:pt>
                <c:pt idx="212">
                  <c:v>0.98940253060546557</c:v>
                </c:pt>
                <c:pt idx="213">
                  <c:v>0.98961249704523579</c:v>
                </c:pt>
                <c:pt idx="214">
                  <c:v>0.98982234062576679</c:v>
                </c:pt>
                <c:pt idx="215">
                  <c:v>0.99003206134705868</c:v>
                </c:pt>
                <c:pt idx="216">
                  <c:v>0.99023723627650062</c:v>
                </c:pt>
                <c:pt idx="217">
                  <c:v>0.99043811113257108</c:v>
                </c:pt>
                <c:pt idx="218">
                  <c:v>0.99063824883320639</c:v>
                </c:pt>
                <c:pt idx="219">
                  <c:v>0.99083715794144978</c:v>
                </c:pt>
                <c:pt idx="220">
                  <c:v>0.99103053838392974</c:v>
                </c:pt>
                <c:pt idx="221">
                  <c:v>0.99121507296118827</c:v>
                </c:pt>
                <c:pt idx="222">
                  <c:v>0.99139715035366305</c:v>
                </c:pt>
                <c:pt idx="223">
                  <c:v>0.99157529625048391</c:v>
                </c:pt>
                <c:pt idx="224">
                  <c:v>0.99175098496252101</c:v>
                </c:pt>
                <c:pt idx="225">
                  <c:v>0.99192446220825281</c:v>
                </c:pt>
                <c:pt idx="226">
                  <c:v>0.99209695658007102</c:v>
                </c:pt>
                <c:pt idx="227">
                  <c:v>0.9922649051600394</c:v>
                </c:pt>
                <c:pt idx="228">
                  <c:v>0.99243211658457264</c:v>
                </c:pt>
                <c:pt idx="229">
                  <c:v>0.99259895943138832</c:v>
                </c:pt>
                <c:pt idx="230">
                  <c:v>0.99276457368581206</c:v>
                </c:pt>
                <c:pt idx="231">
                  <c:v>0.99292662502229945</c:v>
                </c:pt>
                <c:pt idx="232">
                  <c:v>0.99308830778106927</c:v>
                </c:pt>
                <c:pt idx="233">
                  <c:v>0.99324544474798915</c:v>
                </c:pt>
                <c:pt idx="234">
                  <c:v>0.99339938737469025</c:v>
                </c:pt>
                <c:pt idx="235">
                  <c:v>0.99355197854976018</c:v>
                </c:pt>
                <c:pt idx="236">
                  <c:v>0.99370407828787344</c:v>
                </c:pt>
                <c:pt idx="237">
                  <c:v>0.99385580944826912</c:v>
                </c:pt>
                <c:pt idx="238">
                  <c:v>0.99400618915703376</c:v>
                </c:pt>
                <c:pt idx="239">
                  <c:v>0.99415349738481873</c:v>
                </c:pt>
                <c:pt idx="240">
                  <c:v>0.99429539980607951</c:v>
                </c:pt>
                <c:pt idx="241">
                  <c:v>0.99442587631809587</c:v>
                </c:pt>
                <c:pt idx="242">
                  <c:v>0.99455610711163389</c:v>
                </c:pt>
                <c:pt idx="243">
                  <c:v>0.99468351214267059</c:v>
                </c:pt>
                <c:pt idx="244">
                  <c:v>0.99480207130848586</c:v>
                </c:pt>
                <c:pt idx="245">
                  <c:v>0.99491620754169041</c:v>
                </c:pt>
                <c:pt idx="246">
                  <c:v>0.99502936090098149</c:v>
                </c:pt>
                <c:pt idx="247">
                  <c:v>0.99514226854179411</c:v>
                </c:pt>
                <c:pt idx="248">
                  <c:v>0.99525382473097568</c:v>
                </c:pt>
                <c:pt idx="249">
                  <c:v>0.99535788650656687</c:v>
                </c:pt>
                <c:pt idx="250">
                  <c:v>0.99546035111204867</c:v>
                </c:pt>
                <c:pt idx="251">
                  <c:v>0.99556084996970351</c:v>
                </c:pt>
                <c:pt idx="252">
                  <c:v>0.99565864592409614</c:v>
                </c:pt>
                <c:pt idx="253">
                  <c:v>0.99575177322739972</c:v>
                </c:pt>
                <c:pt idx="254">
                  <c:v>0.99584367193831147</c:v>
                </c:pt>
                <c:pt idx="255">
                  <c:v>0.99593409633835295</c:v>
                </c:pt>
                <c:pt idx="256">
                  <c:v>0.99602316928676338</c:v>
                </c:pt>
                <c:pt idx="257">
                  <c:v>0.99611162793897789</c:v>
                </c:pt>
                <c:pt idx="258">
                  <c:v>0.99619996373195319</c:v>
                </c:pt>
                <c:pt idx="259">
                  <c:v>0.99628596519938395</c:v>
                </c:pt>
                <c:pt idx="260">
                  <c:v>0.99637122951137957</c:v>
                </c:pt>
                <c:pt idx="261">
                  <c:v>0.99645231660924283</c:v>
                </c:pt>
                <c:pt idx="262">
                  <c:v>0.99653229797395337</c:v>
                </c:pt>
                <c:pt idx="263">
                  <c:v>0.99661178790170724</c:v>
                </c:pt>
                <c:pt idx="264">
                  <c:v>0.9966907863925043</c:v>
                </c:pt>
                <c:pt idx="265">
                  <c:v>0.99676757341699607</c:v>
                </c:pt>
                <c:pt idx="266">
                  <c:v>0.9968431318490959</c:v>
                </c:pt>
                <c:pt idx="267">
                  <c:v>0.9969179531257607</c:v>
                </c:pt>
                <c:pt idx="268">
                  <c:v>0.99699216010622949</c:v>
                </c:pt>
                <c:pt idx="269">
                  <c:v>0.99706587564974158</c:v>
                </c:pt>
                <c:pt idx="270">
                  <c:v>0.99713873117857932</c:v>
                </c:pt>
                <c:pt idx="271">
                  <c:v>0.99720998953730766</c:v>
                </c:pt>
                <c:pt idx="272">
                  <c:v>0.997281247896036</c:v>
                </c:pt>
                <c:pt idx="273">
                  <c:v>0.99735029478845894</c:v>
                </c:pt>
                <c:pt idx="274">
                  <c:v>0.99741909596240352</c:v>
                </c:pt>
                <c:pt idx="275">
                  <c:v>0.99748543995156436</c:v>
                </c:pt>
                <c:pt idx="276">
                  <c:v>0.99755153822224685</c:v>
                </c:pt>
                <c:pt idx="277">
                  <c:v>0.99761665361901586</c:v>
                </c:pt>
                <c:pt idx="278">
                  <c:v>0.99768115471958896</c:v>
                </c:pt>
                <c:pt idx="279">
                  <c:v>0.99774565582016206</c:v>
                </c:pt>
                <c:pt idx="280">
                  <c:v>0.99780929690606079</c:v>
                </c:pt>
                <c:pt idx="281">
                  <c:v>0.99787269227348119</c:v>
                </c:pt>
                <c:pt idx="282">
                  <c:v>0.99793584192242324</c:v>
                </c:pt>
                <c:pt idx="283">
                  <c:v>0.99799837727516927</c:v>
                </c:pt>
                <c:pt idx="284">
                  <c:v>0.99806005261324104</c:v>
                </c:pt>
                <c:pt idx="285">
                  <c:v>0.99812123651435603</c:v>
                </c:pt>
                <c:pt idx="286">
                  <c:v>0.99818143754155753</c:v>
                </c:pt>
                <c:pt idx="287">
                  <c:v>0.99824077855408477</c:v>
                </c:pt>
                <c:pt idx="288">
                  <c:v>0.99829815381878495</c:v>
                </c:pt>
                <c:pt idx="289">
                  <c:v>0.99835221188402712</c:v>
                </c:pt>
                <c:pt idx="290">
                  <c:v>0.99840614709003017</c:v>
                </c:pt>
                <c:pt idx="291">
                  <c:v>0.99845897656288052</c:v>
                </c:pt>
                <c:pt idx="292">
                  <c:v>0.99851156031725241</c:v>
                </c:pt>
                <c:pt idx="293">
                  <c:v>0.99856402121238519</c:v>
                </c:pt>
                <c:pt idx="294">
                  <c:v>0.99861537637436526</c:v>
                </c:pt>
                <c:pt idx="295">
                  <c:v>0.99866550294395351</c:v>
                </c:pt>
                <c:pt idx="296">
                  <c:v>0.99871341804723635</c:v>
                </c:pt>
                <c:pt idx="297">
                  <c:v>0.99876010455812736</c:v>
                </c:pt>
                <c:pt idx="298">
                  <c:v>0.99880666820977915</c:v>
                </c:pt>
                <c:pt idx="299">
                  <c:v>0.99885224898751745</c:v>
                </c:pt>
                <c:pt idx="300">
                  <c:v>0.9988969697505814</c:v>
                </c:pt>
                <c:pt idx="301">
                  <c:v>0.99894083049897109</c:v>
                </c:pt>
                <c:pt idx="302">
                  <c:v>0.99898444552888244</c:v>
                </c:pt>
                <c:pt idx="303">
                  <c:v>0.99902634052944517</c:v>
                </c:pt>
                <c:pt idx="304">
                  <c:v>0.99906688407837685</c:v>
                </c:pt>
                <c:pt idx="305">
                  <c:v>0.99910656761263417</c:v>
                </c:pt>
                <c:pt idx="306">
                  <c:v>0.99914342538439016</c:v>
                </c:pt>
                <c:pt idx="307">
                  <c:v>0.9991751230681003</c:v>
                </c:pt>
                <c:pt idx="308">
                  <c:v>0.99920645217409298</c:v>
                </c:pt>
                <c:pt idx="309">
                  <c:v>0.99923778128008567</c:v>
                </c:pt>
                <c:pt idx="310">
                  <c:v>0.99926825037140399</c:v>
                </c:pt>
                <c:pt idx="311">
                  <c:v>0.99929712229261292</c:v>
                </c:pt>
                <c:pt idx="312">
                  <c:v>0.99932501133990836</c:v>
                </c:pt>
                <c:pt idx="313">
                  <c:v>0.99935228609100779</c:v>
                </c:pt>
                <c:pt idx="314">
                  <c:v>0.99937808653123705</c:v>
                </c:pt>
                <c:pt idx="315">
                  <c:v>0.99940388697146632</c:v>
                </c:pt>
                <c:pt idx="316">
                  <c:v>0.99942968741169558</c:v>
                </c:pt>
                <c:pt idx="317">
                  <c:v>0.99945499641496804</c:v>
                </c:pt>
                <c:pt idx="318">
                  <c:v>0.99947895396660946</c:v>
                </c:pt>
                <c:pt idx="319">
                  <c:v>0.99950229722205497</c:v>
                </c:pt>
                <c:pt idx="320">
                  <c:v>0.99952428902586943</c:v>
                </c:pt>
                <c:pt idx="321">
                  <c:v>0.99954542081500952</c:v>
                </c:pt>
                <c:pt idx="322">
                  <c:v>0.9995664297449105</c:v>
                </c:pt>
                <c:pt idx="323">
                  <c:v>0.99958633294165877</c:v>
                </c:pt>
                <c:pt idx="324">
                  <c:v>0.9996059904199287</c:v>
                </c:pt>
                <c:pt idx="325">
                  <c:v>0.99962392786885002</c:v>
                </c:pt>
                <c:pt idx="326">
                  <c:v>0.9996417424585321</c:v>
                </c:pt>
                <c:pt idx="327">
                  <c:v>0.9996579598781048</c:v>
                </c:pt>
                <c:pt idx="328">
                  <c:v>0.99967417729767749</c:v>
                </c:pt>
                <c:pt idx="329">
                  <c:v>0.99969002613953262</c:v>
                </c:pt>
                <c:pt idx="330">
                  <c:v>0.99970550640367017</c:v>
                </c:pt>
                <c:pt idx="331">
                  <c:v>0.99972074094932939</c:v>
                </c:pt>
                <c:pt idx="332">
                  <c:v>0.99973523833955347</c:v>
                </c:pt>
                <c:pt idx="333">
                  <c:v>0.99976423312000162</c:v>
                </c:pt>
                <c:pt idx="334">
                  <c:v>0.9997787305102257</c:v>
                </c:pt>
                <c:pt idx="335">
                  <c:v>0.99979187644881873</c:v>
                </c:pt>
                <c:pt idx="336">
                  <c:v>0.99980440809121573</c:v>
                </c:pt>
                <c:pt idx="337">
                  <c:v>0.99981620257817772</c:v>
                </c:pt>
                <c:pt idx="338">
                  <c:v>0.99982725990970456</c:v>
                </c:pt>
                <c:pt idx="339">
                  <c:v>0.99983807152275295</c:v>
                </c:pt>
                <c:pt idx="340">
                  <c:v>0.99984863741732299</c:v>
                </c:pt>
                <c:pt idx="341">
                  <c:v>0.99985858901569713</c:v>
                </c:pt>
                <c:pt idx="342">
                  <c:v>0.99987800077548872</c:v>
                </c:pt>
                <c:pt idx="343">
                  <c:v>0.99988758379614529</c:v>
                </c:pt>
                <c:pt idx="344">
                  <c:v>0.99989679823908428</c:v>
                </c:pt>
                <c:pt idx="345">
                  <c:v>0.9999055212450666</c:v>
                </c:pt>
                <c:pt idx="346">
                  <c:v>0.99991412139180968</c:v>
                </c:pt>
                <c:pt idx="347">
                  <c:v>0.99992198438311763</c:v>
                </c:pt>
                <c:pt idx="348">
                  <c:v>0.99992935593746879</c:v>
                </c:pt>
                <c:pt idx="349">
                  <c:v>0.99993672749181994</c:v>
                </c:pt>
                <c:pt idx="350">
                  <c:v>0.99994336189073607</c:v>
                </c:pt>
                <c:pt idx="351">
                  <c:v>0.99994975057117375</c:v>
                </c:pt>
                <c:pt idx="352">
                  <c:v>0.99995613925161142</c:v>
                </c:pt>
                <c:pt idx="353">
                  <c:v>0.99996105362117893</c:v>
                </c:pt>
                <c:pt idx="354">
                  <c:v>0.99996596799074644</c:v>
                </c:pt>
                <c:pt idx="355">
                  <c:v>0.99997039092335716</c:v>
                </c:pt>
                <c:pt idx="356">
                  <c:v>0.99997469099672864</c:v>
                </c:pt>
                <c:pt idx="357">
                  <c:v>0.99997886821086102</c:v>
                </c:pt>
                <c:pt idx="358">
                  <c:v>0.99998304542499339</c:v>
                </c:pt>
                <c:pt idx="359">
                  <c:v>0.99998709977988653</c:v>
                </c:pt>
                <c:pt idx="360">
                  <c:v>0.9999901712608662</c:v>
                </c:pt>
                <c:pt idx="361">
                  <c:v>0.99999582278586885</c:v>
                </c:pt>
                <c:pt idx="362">
                  <c:v>0.99999778853369581</c:v>
                </c:pt>
                <c:pt idx="363">
                  <c:v>0.99999889426684851</c:v>
                </c:pt>
                <c:pt idx="364">
                  <c:v>1.0000000000000011</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318</c:f>
              <c:strCache>
                <c:ptCount val="317"/>
                <c:pt idx="0">
                  <c:v>Ruinart</c:v>
                </c:pt>
                <c:pt idx="1">
                  <c:v>Ruinart</c:v>
                </c:pt>
                <c:pt idx="2">
                  <c:v>Deutz</c:v>
                </c:pt>
                <c:pt idx="3">
                  <c:v>Nicolas</c:v>
                </c:pt>
                <c:pt idx="4">
                  <c:v>Laurent Per</c:v>
                </c:pt>
                <c:pt idx="5">
                  <c:v>Nicolas Feu</c:v>
                </c:pt>
                <c:pt idx="6">
                  <c:v>Ruinart</c:v>
                </c:pt>
                <c:pt idx="7">
                  <c:v>Ayala</c:v>
                </c:pt>
                <c:pt idx="8">
                  <c:v>Heidsieck &amp;</c:v>
                </c:pt>
                <c:pt idx="9">
                  <c:v>Malard</c:v>
                </c:pt>
                <c:pt idx="10">
                  <c:v>Bollinger</c:v>
                </c:pt>
                <c:pt idx="11">
                  <c:v>Ruinart</c:v>
                </c:pt>
                <c:pt idx="12">
                  <c:v>Taittinger</c:v>
                </c:pt>
                <c:pt idx="13">
                  <c:v>Besserat De</c:v>
                </c:pt>
                <c:pt idx="14">
                  <c:v>Ruinart</c:v>
                </c:pt>
                <c:pt idx="15">
                  <c:v>Veuve Clicq</c:v>
                </c:pt>
                <c:pt idx="16">
                  <c:v>Dom Perigno</c:v>
                </c:pt>
                <c:pt idx="17">
                  <c:v>All Others</c:v>
                </c:pt>
                <c:pt idx="18">
                  <c:v>Perrier Jou</c:v>
                </c:pt>
                <c:pt idx="19">
                  <c:v>Deutz</c:v>
                </c:pt>
                <c:pt idx="20">
                  <c:v>Moët &amp; Chan</c:v>
                </c:pt>
                <c:pt idx="21">
                  <c:v>De Bligny</c:v>
                </c:pt>
                <c:pt idx="22">
                  <c:v>Laurent Per</c:v>
                </c:pt>
                <c:pt idx="23">
                  <c:v>Roederer</c:v>
                </c:pt>
                <c:pt idx="24">
                  <c:v>Ruinart</c:v>
                </c:pt>
                <c:pt idx="25">
                  <c:v>Ruinart</c:v>
                </c:pt>
                <c:pt idx="26">
                  <c:v>Dom Perigno</c:v>
                </c:pt>
                <c:pt idx="27">
                  <c:v>Canard Duch</c:v>
                </c:pt>
                <c:pt idx="28">
                  <c:v>Veuve Clicq</c:v>
                </c:pt>
                <c:pt idx="29">
                  <c:v>Roederer</c:v>
                </c:pt>
                <c:pt idx="30">
                  <c:v>Pommery</c:v>
                </c:pt>
                <c:pt idx="31">
                  <c:v>Moët &amp; Chan</c:v>
                </c:pt>
                <c:pt idx="32">
                  <c:v>Demoiselle</c:v>
                </c:pt>
                <c:pt idx="33">
                  <c:v>Campari: Al</c:v>
                </c:pt>
                <c:pt idx="34">
                  <c:v>Laurent Per</c:v>
                </c:pt>
                <c:pt idx="35">
                  <c:v>Veuve Clicq</c:v>
                </c:pt>
                <c:pt idx="36">
                  <c:v>Deutz</c:v>
                </c:pt>
                <c:pt idx="37">
                  <c:v>Dom Perigno</c:v>
                </c:pt>
                <c:pt idx="38">
                  <c:v>All Others</c:v>
                </c:pt>
                <c:pt idx="39">
                  <c:v>All Others</c:v>
                </c:pt>
                <c:pt idx="40">
                  <c:v>Taittinger</c:v>
                </c:pt>
                <c:pt idx="41">
                  <c:v>Ruinart</c:v>
                </c:pt>
                <c:pt idx="42">
                  <c:v>De Chanceny</c:v>
                </c:pt>
                <c:pt idx="43">
                  <c:v>Bottega</c:v>
                </c:pt>
                <c:pt idx="44">
                  <c:v>Ruinart</c:v>
                </c:pt>
                <c:pt idx="45">
                  <c:v>Perrier Jou</c:v>
                </c:pt>
                <c:pt idx="46">
                  <c:v>Malard</c:v>
                </c:pt>
                <c:pt idx="47">
                  <c:v>Moët &amp; Chan</c:v>
                </c:pt>
                <c:pt idx="48">
                  <c:v>Ruinart</c:v>
                </c:pt>
                <c:pt idx="49">
                  <c:v>Laurent Per</c:v>
                </c:pt>
                <c:pt idx="50">
                  <c:v>Demoiselle</c:v>
                </c:pt>
                <c:pt idx="51">
                  <c:v>Henriot</c:v>
                </c:pt>
                <c:pt idx="52">
                  <c:v>Nicolas</c:v>
                </c:pt>
                <c:pt idx="53">
                  <c:v>Nicolas Feu</c:v>
                </c:pt>
                <c:pt idx="54">
                  <c:v>Krug</c:v>
                </c:pt>
                <c:pt idx="55">
                  <c:v>Savian</c:v>
                </c:pt>
                <c:pt idx="56">
                  <c:v>Vesselle</c:v>
                </c:pt>
                <c:pt idx="57">
                  <c:v>Roederer</c:v>
                </c:pt>
                <c:pt idx="58">
                  <c:v>Besserat De</c:v>
                </c:pt>
                <c:pt idx="59">
                  <c:v>Deutz</c:v>
                </c:pt>
                <c:pt idx="60">
                  <c:v>Patriarche</c:v>
                </c:pt>
                <c:pt idx="61">
                  <c:v>Malard</c:v>
                </c:pt>
                <c:pt idx="62">
                  <c:v>Savian</c:v>
                </c:pt>
                <c:pt idx="63">
                  <c:v>Nicolas Feu</c:v>
                </c:pt>
                <c:pt idx="64">
                  <c:v>Bouvet-Ladu</c:v>
                </c:pt>
                <c:pt idx="65">
                  <c:v>Piper Heids</c:v>
                </c:pt>
                <c:pt idx="66">
                  <c:v>Nicolas</c:v>
                </c:pt>
                <c:pt idx="67">
                  <c:v>Bollinger</c:v>
                </c:pt>
                <c:pt idx="68">
                  <c:v>Dom Perigno</c:v>
                </c:pt>
                <c:pt idx="69">
                  <c:v>Mure</c:v>
                </c:pt>
                <c:pt idx="70">
                  <c:v>All Others</c:v>
                </c:pt>
                <c:pt idx="71">
                  <c:v>French Bloo</c:v>
                </c:pt>
                <c:pt idx="72">
                  <c:v>Campari: Al</c:v>
                </c:pt>
                <c:pt idx="73">
                  <c:v>Roederer</c:v>
                </c:pt>
                <c:pt idx="74">
                  <c:v>Henriot</c:v>
                </c:pt>
                <c:pt idx="75">
                  <c:v>Bollinger</c:v>
                </c:pt>
                <c:pt idx="76">
                  <c:v>Delamotte</c:v>
                </c:pt>
                <c:pt idx="77">
                  <c:v>Roederer</c:v>
                </c:pt>
                <c:pt idx="78">
                  <c:v>Louis Marti</c:v>
                </c:pt>
                <c:pt idx="79">
                  <c:v>Lanson</c:v>
                </c:pt>
                <c:pt idx="80">
                  <c:v>Nicolas Feu</c:v>
                </c:pt>
                <c:pt idx="81">
                  <c:v>De Venoge</c:v>
                </c:pt>
                <c:pt idx="82">
                  <c:v>Besserat De</c:v>
                </c:pt>
                <c:pt idx="83">
                  <c:v>Malard</c:v>
                </c:pt>
                <c:pt idx="84">
                  <c:v>Laurent Per</c:v>
                </c:pt>
                <c:pt idx="85">
                  <c:v>Ruinart</c:v>
                </c:pt>
                <c:pt idx="86">
                  <c:v>Ruinart</c:v>
                </c:pt>
                <c:pt idx="87">
                  <c:v>Lyre's</c:v>
                </c:pt>
                <c:pt idx="88">
                  <c:v>Malard</c:v>
                </c:pt>
                <c:pt idx="89">
                  <c:v>Henriot</c:v>
                </c:pt>
                <c:pt idx="90">
                  <c:v>Roederer</c:v>
                </c:pt>
                <c:pt idx="91">
                  <c:v>Nicolas</c:v>
                </c:pt>
                <c:pt idx="92">
                  <c:v>Canard Duch</c:v>
                </c:pt>
                <c:pt idx="93">
                  <c:v>Laurent Per</c:v>
                </c:pt>
                <c:pt idx="94">
                  <c:v>Deutz</c:v>
                </c:pt>
                <c:pt idx="95">
                  <c:v>Pommery</c:v>
                </c:pt>
                <c:pt idx="96">
                  <c:v>Roederer</c:v>
                </c:pt>
                <c:pt idx="97">
                  <c:v>Henriot</c:v>
                </c:pt>
                <c:pt idx="98">
                  <c:v>Ruinart</c:v>
                </c:pt>
                <c:pt idx="99">
                  <c:v>Moët &amp; Chan</c:v>
                </c:pt>
                <c:pt idx="100">
                  <c:v>Veuve Clicq</c:v>
                </c:pt>
                <c:pt idx="101">
                  <c:v>De Venoge</c:v>
                </c:pt>
                <c:pt idx="102">
                  <c:v>Ayala</c:v>
                </c:pt>
                <c:pt idx="103">
                  <c:v>All Others</c:v>
                </c:pt>
                <c:pt idx="104">
                  <c:v>Vranken</c:v>
                </c:pt>
                <c:pt idx="105">
                  <c:v>Roederer</c:v>
                </c:pt>
                <c:pt idx="106">
                  <c:v>Roederer</c:v>
                </c:pt>
                <c:pt idx="107">
                  <c:v>Roederer</c:v>
                </c:pt>
                <c:pt idx="108">
                  <c:v>Laurent Per</c:v>
                </c:pt>
                <c:pt idx="109">
                  <c:v>De Bligny</c:v>
                </c:pt>
                <c:pt idx="110">
                  <c:v>Laurent Per</c:v>
                </c:pt>
                <c:pt idx="111">
                  <c:v>Roederer</c:v>
                </c:pt>
                <c:pt idx="112">
                  <c:v>Bollinger</c:v>
                </c:pt>
                <c:pt idx="113">
                  <c:v>Ruinart</c:v>
                </c:pt>
                <c:pt idx="114">
                  <c:v>Deutz</c:v>
                </c:pt>
                <c:pt idx="115">
                  <c:v>Canard Duch</c:v>
                </c:pt>
                <c:pt idx="116">
                  <c:v>Moët &amp; Chan</c:v>
                </c:pt>
                <c:pt idx="117">
                  <c:v>All Others</c:v>
                </c:pt>
                <c:pt idx="118">
                  <c:v>Laurent Per</c:v>
                </c:pt>
                <c:pt idx="119">
                  <c:v>Veuve Clicq</c:v>
                </c:pt>
                <c:pt idx="120">
                  <c:v>Ruinart</c:v>
                </c:pt>
                <c:pt idx="121">
                  <c:v>Nicolas</c:v>
                </c:pt>
                <c:pt idx="122">
                  <c:v>De Venoge</c:v>
                </c:pt>
                <c:pt idx="123">
                  <c:v>De Chanceny</c:v>
                </c:pt>
                <c:pt idx="124">
                  <c:v>De Venoge</c:v>
                </c:pt>
                <c:pt idx="125">
                  <c:v>Nicolas</c:v>
                </c:pt>
                <c:pt idx="126">
                  <c:v>Nicolas</c:v>
                </c:pt>
                <c:pt idx="127">
                  <c:v>Malard</c:v>
                </c:pt>
                <c:pt idx="128">
                  <c:v>Moët &amp; Chan</c:v>
                </c:pt>
                <c:pt idx="129">
                  <c:v>Taittinger</c:v>
                </c:pt>
                <c:pt idx="130">
                  <c:v>Roederer</c:v>
                </c:pt>
                <c:pt idx="131">
                  <c:v>Bottega</c:v>
                </c:pt>
                <c:pt idx="132">
                  <c:v>Vranken</c:v>
                </c:pt>
                <c:pt idx="133">
                  <c:v>Roederer</c:v>
                </c:pt>
                <c:pt idx="134">
                  <c:v>Canard Duch</c:v>
                </c:pt>
                <c:pt idx="135">
                  <c:v>Ruinart</c:v>
                </c:pt>
                <c:pt idx="136">
                  <c:v>Nicolas</c:v>
                </c:pt>
                <c:pt idx="137">
                  <c:v>Taittinger</c:v>
                </c:pt>
                <c:pt idx="138">
                  <c:v>Patriarche</c:v>
                </c:pt>
                <c:pt idx="139">
                  <c:v>Deutz</c:v>
                </c:pt>
                <c:pt idx="140">
                  <c:v>All Others</c:v>
                </c:pt>
                <c:pt idx="141">
                  <c:v>Ruinart</c:v>
                </c:pt>
                <c:pt idx="142">
                  <c:v>Nicolas</c:v>
                </c:pt>
                <c:pt idx="143">
                  <c:v>Ruinart</c:v>
                </c:pt>
                <c:pt idx="144">
                  <c:v>Nicolas Feu</c:v>
                </c:pt>
                <c:pt idx="145">
                  <c:v>All Others</c:v>
                </c:pt>
                <c:pt idx="146">
                  <c:v>Veuve Clicq</c:v>
                </c:pt>
                <c:pt idx="147">
                  <c:v>Pommery</c:v>
                </c:pt>
                <c:pt idx="148">
                  <c:v>Veuve Clicq</c:v>
                </c:pt>
                <c:pt idx="149">
                  <c:v>Canard Duch</c:v>
                </c:pt>
                <c:pt idx="150">
                  <c:v>Contarini</c:v>
                </c:pt>
                <c:pt idx="151">
                  <c:v>Moët &amp; Chan</c:v>
                </c:pt>
                <c:pt idx="152">
                  <c:v>Ruinart</c:v>
                </c:pt>
                <c:pt idx="153">
                  <c:v>Lanson</c:v>
                </c:pt>
                <c:pt idx="154">
                  <c:v>Nicolas</c:v>
                </c:pt>
                <c:pt idx="155">
                  <c:v>All Others</c:v>
                </c:pt>
                <c:pt idx="156">
                  <c:v>Demoiselle</c:v>
                </c:pt>
                <c:pt idx="157">
                  <c:v>Nicolas</c:v>
                </c:pt>
                <c:pt idx="158">
                  <c:v>Perrier Jou</c:v>
                </c:pt>
                <c:pt idx="159">
                  <c:v>Roederer</c:v>
                </c:pt>
                <c:pt idx="160">
                  <c:v>Pommery</c:v>
                </c:pt>
                <c:pt idx="161">
                  <c:v>Nicolas</c:v>
                </c:pt>
                <c:pt idx="162">
                  <c:v>Pommery</c:v>
                </c:pt>
                <c:pt idx="163">
                  <c:v>All Others</c:v>
                </c:pt>
                <c:pt idx="164">
                  <c:v>Moët &amp; Chan</c:v>
                </c:pt>
                <c:pt idx="165">
                  <c:v>Kriter</c:v>
                </c:pt>
                <c:pt idx="166">
                  <c:v>Roederer</c:v>
                </c:pt>
                <c:pt idx="167">
                  <c:v>Dom Perigno</c:v>
                </c:pt>
                <c:pt idx="168">
                  <c:v>Pommery</c:v>
                </c:pt>
                <c:pt idx="169">
                  <c:v>Besserat De</c:v>
                </c:pt>
                <c:pt idx="170">
                  <c:v>Nicolas</c:v>
                </c:pt>
                <c:pt idx="171">
                  <c:v>Laurent Per</c:v>
                </c:pt>
                <c:pt idx="172">
                  <c:v>All Others</c:v>
                </c:pt>
                <c:pt idx="173">
                  <c:v>Canard Duch</c:v>
                </c:pt>
                <c:pt idx="174">
                  <c:v>Roederer</c:v>
                </c:pt>
                <c:pt idx="175">
                  <c:v>Perrier Jou</c:v>
                </c:pt>
                <c:pt idx="176">
                  <c:v>Louis Marti</c:v>
                </c:pt>
                <c:pt idx="177">
                  <c:v>Cru La Maqu</c:v>
                </c:pt>
                <c:pt idx="178">
                  <c:v>Nicolas</c:v>
                </c:pt>
                <c:pt idx="179">
                  <c:v>Dom Perigno</c:v>
                </c:pt>
                <c:pt idx="180">
                  <c:v>Bollinger</c:v>
                </c:pt>
                <c:pt idx="181">
                  <c:v>All Others</c:v>
                </c:pt>
                <c:pt idx="182">
                  <c:v>All Others</c:v>
                </c:pt>
                <c:pt idx="183">
                  <c:v>All Others</c:v>
                </c:pt>
                <c:pt idx="184">
                  <c:v>Moët &amp; Chan</c:v>
                </c:pt>
                <c:pt idx="185">
                  <c:v>Ruinart</c:v>
                </c:pt>
                <c:pt idx="186">
                  <c:v>Roederer</c:v>
                </c:pt>
                <c:pt idx="187">
                  <c:v>Dom Perigno</c:v>
                </c:pt>
                <c:pt idx="188">
                  <c:v>Deutz</c:v>
                </c:pt>
                <c:pt idx="189">
                  <c:v>Nicolas</c:v>
                </c:pt>
                <c:pt idx="190">
                  <c:v>All Others</c:v>
                </c:pt>
                <c:pt idx="191">
                  <c:v>All Others</c:v>
                </c:pt>
                <c:pt idx="192">
                  <c:v>All Others</c:v>
                </c:pt>
                <c:pt idx="193">
                  <c:v>Krug</c:v>
                </c:pt>
                <c:pt idx="194">
                  <c:v>Roederer</c:v>
                </c:pt>
                <c:pt idx="195">
                  <c:v>Nicolas</c:v>
                </c:pt>
                <c:pt idx="196">
                  <c:v>All Others</c:v>
                </c:pt>
                <c:pt idx="197">
                  <c:v>Besserat De</c:v>
                </c:pt>
                <c:pt idx="198">
                  <c:v>Pommery</c:v>
                </c:pt>
                <c:pt idx="199">
                  <c:v>All Others</c:v>
                </c:pt>
                <c:pt idx="200">
                  <c:v>Laurent Per</c:v>
                </c:pt>
                <c:pt idx="201">
                  <c:v>Dom Perigno</c:v>
                </c:pt>
                <c:pt idx="202">
                  <c:v>Vesselle</c:v>
                </c:pt>
                <c:pt idx="203">
                  <c:v>Contarini</c:v>
                </c:pt>
                <c:pt idx="204">
                  <c:v>All Others</c:v>
                </c:pt>
                <c:pt idx="205">
                  <c:v>Roederer</c:v>
                </c:pt>
                <c:pt idx="206">
                  <c:v>Nicolas</c:v>
                </c:pt>
                <c:pt idx="207">
                  <c:v>Piper Heids</c:v>
                </c:pt>
                <c:pt idx="208">
                  <c:v>Bollinger</c:v>
                </c:pt>
                <c:pt idx="209">
                  <c:v>Henriot</c:v>
                </c:pt>
                <c:pt idx="210">
                  <c:v>Deutz</c:v>
                </c:pt>
                <c:pt idx="211">
                  <c:v>All Others</c:v>
                </c:pt>
                <c:pt idx="212">
                  <c:v>Dom Perigno</c:v>
                </c:pt>
                <c:pt idx="213">
                  <c:v>Dom Perigno</c:v>
                </c:pt>
                <c:pt idx="214">
                  <c:v>Ayala</c:v>
                </c:pt>
                <c:pt idx="215">
                  <c:v>De Venoge</c:v>
                </c:pt>
                <c:pt idx="216">
                  <c:v>Piper Heids</c:v>
                </c:pt>
                <c:pt idx="217">
                  <c:v>Demoiselle</c:v>
                </c:pt>
                <c:pt idx="218">
                  <c:v>Laurent Per</c:v>
                </c:pt>
                <c:pt idx="219">
                  <c:v>Perrier Jou</c:v>
                </c:pt>
                <c:pt idx="220">
                  <c:v>Bollinger</c:v>
                </c:pt>
                <c:pt idx="221">
                  <c:v>De Venoge</c:v>
                </c:pt>
                <c:pt idx="222">
                  <c:v>De Venoge</c:v>
                </c:pt>
                <c:pt idx="223">
                  <c:v>Veuve Clicq</c:v>
                </c:pt>
                <c:pt idx="224">
                  <c:v>Malard</c:v>
                </c:pt>
                <c:pt idx="225">
                  <c:v>Ruinart</c:v>
                </c:pt>
                <c:pt idx="226">
                  <c:v>Dom Perigno</c:v>
                </c:pt>
                <c:pt idx="227">
                  <c:v>Ruinart</c:v>
                </c:pt>
                <c:pt idx="228">
                  <c:v>Dom Perigno</c:v>
                </c:pt>
                <c:pt idx="229">
                  <c:v>Deutz</c:v>
                </c:pt>
                <c:pt idx="230">
                  <c:v>Taittinger</c:v>
                </c:pt>
                <c:pt idx="231">
                  <c:v>All Others</c:v>
                </c:pt>
                <c:pt idx="232">
                  <c:v>All Others</c:v>
                </c:pt>
                <c:pt idx="233">
                  <c:v>Ruinart</c:v>
                </c:pt>
                <c:pt idx="234">
                  <c:v>Bouvet-Ladu</c:v>
                </c:pt>
                <c:pt idx="235">
                  <c:v>Dom Perigno</c:v>
                </c:pt>
                <c:pt idx="236">
                  <c:v>Nicolas</c:v>
                </c:pt>
                <c:pt idx="237">
                  <c:v>Bouvet-Ladu</c:v>
                </c:pt>
                <c:pt idx="238">
                  <c:v>Pommery</c:v>
                </c:pt>
                <c:pt idx="239">
                  <c:v>Piper Heids</c:v>
                </c:pt>
                <c:pt idx="240">
                  <c:v>Nicolas Feu</c:v>
                </c:pt>
                <c:pt idx="241">
                  <c:v>Nicolas</c:v>
                </c:pt>
                <c:pt idx="242">
                  <c:v>Roederer</c:v>
                </c:pt>
                <c:pt idx="243">
                  <c:v>Vranken</c:v>
                </c:pt>
                <c:pt idx="244">
                  <c:v>Roederer</c:v>
                </c:pt>
                <c:pt idx="245">
                  <c:v>Deutz</c:v>
                </c:pt>
                <c:pt idx="246">
                  <c:v>Bollinger</c:v>
                </c:pt>
                <c:pt idx="247">
                  <c:v>Moët &amp; Chan</c:v>
                </c:pt>
                <c:pt idx="248">
                  <c:v>Bollinger</c:v>
                </c:pt>
                <c:pt idx="249">
                  <c:v>Canard Duch</c:v>
                </c:pt>
                <c:pt idx="250">
                  <c:v>Deutz</c:v>
                </c:pt>
                <c:pt idx="251">
                  <c:v>Deutz</c:v>
                </c:pt>
                <c:pt idx="252">
                  <c:v>Bouvet-Ladu</c:v>
                </c:pt>
                <c:pt idx="253">
                  <c:v>Bollinger</c:v>
                </c:pt>
                <c:pt idx="254">
                  <c:v>Taittinger</c:v>
                </c:pt>
                <c:pt idx="255">
                  <c:v>Laurent Per</c:v>
                </c:pt>
                <c:pt idx="256">
                  <c:v>All Others</c:v>
                </c:pt>
                <c:pt idx="257">
                  <c:v>All Others</c:v>
                </c:pt>
                <c:pt idx="258">
                  <c:v>Roederer</c:v>
                </c:pt>
                <c:pt idx="259">
                  <c:v>Bollinger</c:v>
                </c:pt>
                <c:pt idx="260">
                  <c:v>Laurent Per</c:v>
                </c:pt>
                <c:pt idx="261">
                  <c:v>Bollinger</c:v>
                </c:pt>
                <c:pt idx="262">
                  <c:v>Roederer</c:v>
                </c:pt>
                <c:pt idx="263">
                  <c:v>Ruinart</c:v>
                </c:pt>
                <c:pt idx="264">
                  <c:v>All Others</c:v>
                </c:pt>
                <c:pt idx="265">
                  <c:v>All Others</c:v>
                </c:pt>
                <c:pt idx="266">
                  <c:v>Piper Heids</c:v>
                </c:pt>
                <c:pt idx="267">
                  <c:v>Veuve Clicq</c:v>
                </c:pt>
                <c:pt idx="268">
                  <c:v>Bottega</c:v>
                </c:pt>
                <c:pt idx="269">
                  <c:v>Canard Duch</c:v>
                </c:pt>
                <c:pt idx="270">
                  <c:v>Canard Duch</c:v>
                </c:pt>
                <c:pt idx="271">
                  <c:v>All Others</c:v>
                </c:pt>
                <c:pt idx="272">
                  <c:v>All Others</c:v>
                </c:pt>
                <c:pt idx="273">
                  <c:v>Delamotte</c:v>
                </c:pt>
                <c:pt idx="274">
                  <c:v>Vesselle</c:v>
                </c:pt>
                <c:pt idx="275">
                  <c:v>Ayala</c:v>
                </c:pt>
                <c:pt idx="276">
                  <c:v>Perrier Jou</c:v>
                </c:pt>
                <c:pt idx="277">
                  <c:v>Roederer</c:v>
                </c:pt>
                <c:pt idx="278">
                  <c:v>All Others</c:v>
                </c:pt>
                <c:pt idx="279">
                  <c:v>Nicolas</c:v>
                </c:pt>
                <c:pt idx="280">
                  <c:v>Celene</c:v>
                </c:pt>
                <c:pt idx="281">
                  <c:v>Lanson</c:v>
                </c:pt>
                <c:pt idx="282">
                  <c:v>Taittinger</c:v>
                </c:pt>
                <c:pt idx="283">
                  <c:v>De Bligny</c:v>
                </c:pt>
                <c:pt idx="284">
                  <c:v>Roederer</c:v>
                </c:pt>
                <c:pt idx="285">
                  <c:v>Celene</c:v>
                </c:pt>
                <c:pt idx="286">
                  <c:v>Roederer</c:v>
                </c:pt>
                <c:pt idx="287">
                  <c:v>De Bligny</c:v>
                </c:pt>
                <c:pt idx="288">
                  <c:v>Jaillance</c:v>
                </c:pt>
                <c:pt idx="289">
                  <c:v>Nicolas Feu</c:v>
                </c:pt>
                <c:pt idx="290">
                  <c:v>Demoiselle</c:v>
                </c:pt>
                <c:pt idx="291">
                  <c:v>All Others</c:v>
                </c:pt>
                <c:pt idx="292">
                  <c:v>Besserat De</c:v>
                </c:pt>
                <c:pt idx="293">
                  <c:v>Roederer</c:v>
                </c:pt>
                <c:pt idx="294">
                  <c:v>All Others</c:v>
                </c:pt>
                <c:pt idx="295">
                  <c:v>Laurent Per</c:v>
                </c:pt>
                <c:pt idx="296">
                  <c:v>All Others</c:v>
                </c:pt>
                <c:pt idx="297">
                  <c:v>Ruinart</c:v>
                </c:pt>
                <c:pt idx="298">
                  <c:v>Malard</c:v>
                </c:pt>
                <c:pt idx="299">
                  <c:v>All Others</c:v>
                </c:pt>
                <c:pt idx="300">
                  <c:v>Roederer</c:v>
                </c:pt>
                <c:pt idx="301">
                  <c:v>Laurent Per</c:v>
                </c:pt>
                <c:pt idx="302">
                  <c:v>Roederer</c:v>
                </c:pt>
                <c:pt idx="303">
                  <c:v>Roederer</c:v>
                </c:pt>
                <c:pt idx="304">
                  <c:v>Martel</c:v>
                </c:pt>
                <c:pt idx="305">
                  <c:v>Pommery</c:v>
                </c:pt>
                <c:pt idx="306">
                  <c:v>Bouvet-Ladu</c:v>
                </c:pt>
                <c:pt idx="307">
                  <c:v>Roederer</c:v>
                </c:pt>
                <c:pt idx="308">
                  <c:v>Delamotte</c:v>
                </c:pt>
                <c:pt idx="309">
                  <c:v>All Others</c:v>
                </c:pt>
                <c:pt idx="310">
                  <c:v>Malard</c:v>
                </c:pt>
                <c:pt idx="311">
                  <c:v>All Others</c:v>
                </c:pt>
                <c:pt idx="312">
                  <c:v>Moët &amp; Chan</c:v>
                </c:pt>
                <c:pt idx="313">
                  <c:v>Nicolas</c:v>
                </c:pt>
                <c:pt idx="314">
                  <c:v>Mure</c:v>
                </c:pt>
                <c:pt idx="315">
                  <c:v>Bottega</c:v>
                </c:pt>
                <c:pt idx="316">
                  <c:v>All Others</c:v>
                </c:pt>
              </c:strCache>
            </c:strRef>
          </c:cat>
          <c:val>
            <c:numRef>
              <c:f>Sheet1!$B$2:$B$318</c:f>
              <c:numCache>
                <c:formatCode>General</c:formatCode>
                <c:ptCount val="317"/>
                <c:pt idx="0">
                  <c:v>0.9</c:v>
                </c:pt>
                <c:pt idx="1">
                  <c:v>1</c:v>
                </c:pt>
                <c:pt idx="2">
                  <c:v>1</c:v>
                </c:pt>
                <c:pt idx="3">
                  <c:v>1</c:v>
                </c:pt>
                <c:pt idx="4">
                  <c:v>0.99</c:v>
                </c:pt>
                <c:pt idx="5">
                  <c:v>1</c:v>
                </c:pt>
                <c:pt idx="6">
                  <c:v>0.79</c:v>
                </c:pt>
                <c:pt idx="7">
                  <c:v>1</c:v>
                </c:pt>
                <c:pt idx="8">
                  <c:v>1</c:v>
                </c:pt>
                <c:pt idx="9">
                  <c:v>0.99</c:v>
                </c:pt>
                <c:pt idx="10">
                  <c:v>0.95</c:v>
                </c:pt>
                <c:pt idx="11">
                  <c:v>0.76</c:v>
                </c:pt>
                <c:pt idx="12">
                  <c:v>0.95</c:v>
                </c:pt>
                <c:pt idx="13">
                  <c:v>0.96</c:v>
                </c:pt>
                <c:pt idx="14">
                  <c:v>0.83</c:v>
                </c:pt>
                <c:pt idx="15">
                  <c:v>0.7</c:v>
                </c:pt>
                <c:pt idx="16">
                  <c:v>0.43</c:v>
                </c:pt>
                <c:pt idx="17">
                  <c:v>0.93</c:v>
                </c:pt>
                <c:pt idx="18">
                  <c:v>1</c:v>
                </c:pt>
                <c:pt idx="19">
                  <c:v>0.92</c:v>
                </c:pt>
                <c:pt idx="20">
                  <c:v>0.98</c:v>
                </c:pt>
                <c:pt idx="21">
                  <c:v>1</c:v>
                </c:pt>
                <c:pt idx="22">
                  <c:v>0.95</c:v>
                </c:pt>
                <c:pt idx="23">
                  <c:v>0.75</c:v>
                </c:pt>
                <c:pt idx="24">
                  <c:v>0.56000000000000005</c:v>
                </c:pt>
                <c:pt idx="25">
                  <c:v>0.77</c:v>
                </c:pt>
                <c:pt idx="26">
                  <c:v>0.56000000000000005</c:v>
                </c:pt>
                <c:pt idx="27">
                  <c:v>0.95</c:v>
                </c:pt>
                <c:pt idx="28">
                  <c:v>0.92</c:v>
                </c:pt>
                <c:pt idx="29">
                  <c:v>0.27</c:v>
                </c:pt>
                <c:pt idx="30">
                  <c:v>0.87</c:v>
                </c:pt>
                <c:pt idx="31">
                  <c:v>0.88</c:v>
                </c:pt>
                <c:pt idx="32">
                  <c:v>0.91</c:v>
                </c:pt>
                <c:pt idx="33">
                  <c:v>0.82</c:v>
                </c:pt>
                <c:pt idx="34">
                  <c:v>0.69</c:v>
                </c:pt>
                <c:pt idx="35">
                  <c:v>0.79</c:v>
                </c:pt>
                <c:pt idx="36">
                  <c:v>0.81</c:v>
                </c:pt>
                <c:pt idx="37">
                  <c:v>0.32</c:v>
                </c:pt>
                <c:pt idx="38">
                  <c:v>0.97</c:v>
                </c:pt>
                <c:pt idx="39">
                  <c:v>0.69</c:v>
                </c:pt>
                <c:pt idx="40">
                  <c:v>0.7</c:v>
                </c:pt>
                <c:pt idx="41">
                  <c:v>0.59</c:v>
                </c:pt>
                <c:pt idx="42">
                  <c:v>0.92</c:v>
                </c:pt>
                <c:pt idx="43">
                  <c:v>0.88</c:v>
                </c:pt>
                <c:pt idx="44">
                  <c:v>0.62</c:v>
                </c:pt>
                <c:pt idx="45">
                  <c:v>0.39</c:v>
                </c:pt>
                <c:pt idx="46">
                  <c:v>0.75</c:v>
                </c:pt>
                <c:pt idx="47">
                  <c:v>0.62</c:v>
                </c:pt>
                <c:pt idx="48">
                  <c:v>0.74</c:v>
                </c:pt>
                <c:pt idx="49">
                  <c:v>0.48</c:v>
                </c:pt>
                <c:pt idx="50">
                  <c:v>0.79</c:v>
                </c:pt>
                <c:pt idx="51">
                  <c:v>0.79</c:v>
                </c:pt>
                <c:pt idx="52">
                  <c:v>0.59</c:v>
                </c:pt>
                <c:pt idx="53">
                  <c:v>0.71</c:v>
                </c:pt>
                <c:pt idx="54">
                  <c:v>0.27</c:v>
                </c:pt>
                <c:pt idx="55">
                  <c:v>0.72</c:v>
                </c:pt>
                <c:pt idx="56">
                  <c:v>0.74</c:v>
                </c:pt>
                <c:pt idx="57">
                  <c:v>0.59</c:v>
                </c:pt>
                <c:pt idx="58">
                  <c:v>0.61</c:v>
                </c:pt>
                <c:pt idx="59">
                  <c:v>0.87</c:v>
                </c:pt>
                <c:pt idx="60">
                  <c:v>0.97</c:v>
                </c:pt>
                <c:pt idx="61">
                  <c:v>0.69</c:v>
                </c:pt>
                <c:pt idx="62">
                  <c:v>0.92</c:v>
                </c:pt>
                <c:pt idx="63">
                  <c:v>0.65</c:v>
                </c:pt>
                <c:pt idx="64">
                  <c:v>0.68</c:v>
                </c:pt>
                <c:pt idx="65">
                  <c:v>0.59</c:v>
                </c:pt>
                <c:pt idx="66">
                  <c:v>0.64</c:v>
                </c:pt>
                <c:pt idx="67">
                  <c:v>0.36</c:v>
                </c:pt>
                <c:pt idx="68">
                  <c:v>0.25</c:v>
                </c:pt>
                <c:pt idx="69">
                  <c:v>0.72</c:v>
                </c:pt>
                <c:pt idx="70">
                  <c:v>0.46</c:v>
                </c:pt>
                <c:pt idx="71">
                  <c:v>0.7</c:v>
                </c:pt>
                <c:pt idx="72">
                  <c:v>0.64</c:v>
                </c:pt>
                <c:pt idx="73">
                  <c:v>0.23</c:v>
                </c:pt>
                <c:pt idx="74">
                  <c:v>0.54</c:v>
                </c:pt>
                <c:pt idx="75">
                  <c:v>0.43</c:v>
                </c:pt>
                <c:pt idx="76">
                  <c:v>0.44</c:v>
                </c:pt>
                <c:pt idx="77">
                  <c:v>0.24</c:v>
                </c:pt>
                <c:pt idx="78">
                  <c:v>0.56000000000000005</c:v>
                </c:pt>
                <c:pt idx="79">
                  <c:v>0.48</c:v>
                </c:pt>
                <c:pt idx="80">
                  <c:v>0.61</c:v>
                </c:pt>
                <c:pt idx="81">
                  <c:v>0.73</c:v>
                </c:pt>
                <c:pt idx="82">
                  <c:v>0.43</c:v>
                </c:pt>
                <c:pt idx="83">
                  <c:v>0.63</c:v>
                </c:pt>
                <c:pt idx="84">
                  <c:v>0.41</c:v>
                </c:pt>
                <c:pt idx="85">
                  <c:v>0.41</c:v>
                </c:pt>
                <c:pt idx="86">
                  <c:v>0.44</c:v>
                </c:pt>
                <c:pt idx="87">
                  <c:v>0.91</c:v>
                </c:pt>
                <c:pt idx="88">
                  <c:v>0.64</c:v>
                </c:pt>
                <c:pt idx="89">
                  <c:v>0.77</c:v>
                </c:pt>
                <c:pt idx="90">
                  <c:v>0.25</c:v>
                </c:pt>
                <c:pt idx="91">
                  <c:v>0.6</c:v>
                </c:pt>
                <c:pt idx="92">
                  <c:v>0.71</c:v>
                </c:pt>
                <c:pt idx="93">
                  <c:v>0.2</c:v>
                </c:pt>
                <c:pt idx="94">
                  <c:v>0.2</c:v>
                </c:pt>
                <c:pt idx="95">
                  <c:v>0.38</c:v>
                </c:pt>
                <c:pt idx="96">
                  <c:v>0.28000000000000003</c:v>
                </c:pt>
                <c:pt idx="97">
                  <c:v>0.53</c:v>
                </c:pt>
                <c:pt idx="98">
                  <c:v>0.25</c:v>
                </c:pt>
                <c:pt idx="99">
                  <c:v>0.35</c:v>
                </c:pt>
                <c:pt idx="100">
                  <c:v>0.23</c:v>
                </c:pt>
                <c:pt idx="101">
                  <c:v>0.24</c:v>
                </c:pt>
                <c:pt idx="102">
                  <c:v>0.42</c:v>
                </c:pt>
                <c:pt idx="103">
                  <c:v>0.46</c:v>
                </c:pt>
                <c:pt idx="104">
                  <c:v>0.31</c:v>
                </c:pt>
                <c:pt idx="105">
                  <c:v>0.6</c:v>
                </c:pt>
                <c:pt idx="106">
                  <c:v>0.3</c:v>
                </c:pt>
                <c:pt idx="107">
                  <c:v>0.42</c:v>
                </c:pt>
                <c:pt idx="108">
                  <c:v>0.31</c:v>
                </c:pt>
                <c:pt idx="109">
                  <c:v>0.56000000000000005</c:v>
                </c:pt>
                <c:pt idx="110">
                  <c:v>0.36</c:v>
                </c:pt>
                <c:pt idx="111">
                  <c:v>0.23</c:v>
                </c:pt>
                <c:pt idx="112">
                  <c:v>0.27</c:v>
                </c:pt>
                <c:pt idx="113">
                  <c:v>0.28000000000000003</c:v>
                </c:pt>
                <c:pt idx="114">
                  <c:v>0.47</c:v>
                </c:pt>
                <c:pt idx="115">
                  <c:v>0.4</c:v>
                </c:pt>
                <c:pt idx="116">
                  <c:v>0.65</c:v>
                </c:pt>
                <c:pt idx="117">
                  <c:v>0.51</c:v>
                </c:pt>
                <c:pt idx="118">
                  <c:v>0.23</c:v>
                </c:pt>
                <c:pt idx="119">
                  <c:v>0.23</c:v>
                </c:pt>
                <c:pt idx="120">
                  <c:v>0.34</c:v>
                </c:pt>
                <c:pt idx="121">
                  <c:v>0.43</c:v>
                </c:pt>
                <c:pt idx="122">
                  <c:v>0.46</c:v>
                </c:pt>
                <c:pt idx="123">
                  <c:v>0.43</c:v>
                </c:pt>
                <c:pt idx="124">
                  <c:v>0.48</c:v>
                </c:pt>
                <c:pt idx="125">
                  <c:v>0.28000000000000003</c:v>
                </c:pt>
                <c:pt idx="126">
                  <c:v>0.39</c:v>
                </c:pt>
                <c:pt idx="127">
                  <c:v>0.44</c:v>
                </c:pt>
                <c:pt idx="128">
                  <c:v>0.35</c:v>
                </c:pt>
                <c:pt idx="129">
                  <c:v>0.14000000000000001</c:v>
                </c:pt>
                <c:pt idx="130">
                  <c:v>0.2</c:v>
                </c:pt>
                <c:pt idx="131">
                  <c:v>0.46</c:v>
                </c:pt>
                <c:pt idx="132">
                  <c:v>0.28000000000000003</c:v>
                </c:pt>
                <c:pt idx="133">
                  <c:v>0.48</c:v>
                </c:pt>
                <c:pt idx="134">
                  <c:v>0.26</c:v>
                </c:pt>
                <c:pt idx="135">
                  <c:v>0.32</c:v>
                </c:pt>
                <c:pt idx="136">
                  <c:v>0.15</c:v>
                </c:pt>
                <c:pt idx="137">
                  <c:v>0.12</c:v>
                </c:pt>
                <c:pt idx="138">
                  <c:v>0.52</c:v>
                </c:pt>
                <c:pt idx="139">
                  <c:v>0.19</c:v>
                </c:pt>
                <c:pt idx="140">
                  <c:v>0.18</c:v>
                </c:pt>
                <c:pt idx="141">
                  <c:v>0.2</c:v>
                </c:pt>
                <c:pt idx="142">
                  <c:v>0.38</c:v>
                </c:pt>
                <c:pt idx="143">
                  <c:v>0.27</c:v>
                </c:pt>
                <c:pt idx="144">
                  <c:v>0.4</c:v>
                </c:pt>
                <c:pt idx="145">
                  <c:v>0.17</c:v>
                </c:pt>
                <c:pt idx="146">
                  <c:v>0.2</c:v>
                </c:pt>
                <c:pt idx="147">
                  <c:v>0.2</c:v>
                </c:pt>
                <c:pt idx="148">
                  <c:v>0.24</c:v>
                </c:pt>
                <c:pt idx="149">
                  <c:v>0.17</c:v>
                </c:pt>
                <c:pt idx="150">
                  <c:v>0.91</c:v>
                </c:pt>
                <c:pt idx="151">
                  <c:v>0.15</c:v>
                </c:pt>
                <c:pt idx="152">
                  <c:v>0.18</c:v>
                </c:pt>
                <c:pt idx="153">
                  <c:v>0.18</c:v>
                </c:pt>
                <c:pt idx="154">
                  <c:v>0.23</c:v>
                </c:pt>
                <c:pt idx="155">
                  <c:v>0.27</c:v>
                </c:pt>
                <c:pt idx="156">
                  <c:v>0.46</c:v>
                </c:pt>
                <c:pt idx="157">
                  <c:v>0.44</c:v>
                </c:pt>
                <c:pt idx="158">
                  <c:v>0.23</c:v>
                </c:pt>
                <c:pt idx="159">
                  <c:v>0.21</c:v>
                </c:pt>
                <c:pt idx="160">
                  <c:v>0.34</c:v>
                </c:pt>
                <c:pt idx="161">
                  <c:v>0.19</c:v>
                </c:pt>
                <c:pt idx="162">
                  <c:v>0.34</c:v>
                </c:pt>
                <c:pt idx="163">
                  <c:v>0.6</c:v>
                </c:pt>
                <c:pt idx="164">
                  <c:v>0.32</c:v>
                </c:pt>
                <c:pt idx="165">
                  <c:v>0.39</c:v>
                </c:pt>
                <c:pt idx="166">
                  <c:v>0.04</c:v>
                </c:pt>
                <c:pt idx="167">
                  <c:v>0.1</c:v>
                </c:pt>
                <c:pt idx="168">
                  <c:v>0.12</c:v>
                </c:pt>
                <c:pt idx="169">
                  <c:v>0.3</c:v>
                </c:pt>
                <c:pt idx="170">
                  <c:v>0.4</c:v>
                </c:pt>
                <c:pt idx="171">
                  <c:v>0.15</c:v>
                </c:pt>
                <c:pt idx="172">
                  <c:v>0.26</c:v>
                </c:pt>
                <c:pt idx="173">
                  <c:v>0.17</c:v>
                </c:pt>
                <c:pt idx="174">
                  <c:v>0.25</c:v>
                </c:pt>
                <c:pt idx="175">
                  <c:v>0.19</c:v>
                </c:pt>
                <c:pt idx="176">
                  <c:v>0.35</c:v>
                </c:pt>
                <c:pt idx="177">
                  <c:v>0.56000000000000005</c:v>
                </c:pt>
                <c:pt idx="178">
                  <c:v>0.2</c:v>
                </c:pt>
                <c:pt idx="179">
                  <c:v>0.11</c:v>
                </c:pt>
                <c:pt idx="180">
                  <c:v>0.25</c:v>
                </c:pt>
                <c:pt idx="181">
                  <c:v>0.47</c:v>
                </c:pt>
                <c:pt idx="182">
                  <c:v>0.28000000000000003</c:v>
                </c:pt>
                <c:pt idx="183">
                  <c:v>0.3</c:v>
                </c:pt>
                <c:pt idx="184">
                  <c:v>0.15</c:v>
                </c:pt>
                <c:pt idx="185">
                  <c:v>0.16</c:v>
                </c:pt>
                <c:pt idx="186">
                  <c:v>0.21</c:v>
                </c:pt>
                <c:pt idx="187">
                  <c:v>0.19</c:v>
                </c:pt>
                <c:pt idx="188">
                  <c:v>0.13</c:v>
                </c:pt>
                <c:pt idx="189">
                  <c:v>0.16</c:v>
                </c:pt>
                <c:pt idx="190">
                  <c:v>0.1</c:v>
                </c:pt>
                <c:pt idx="191">
                  <c:v>0.22</c:v>
                </c:pt>
                <c:pt idx="192">
                  <c:v>0.08</c:v>
                </c:pt>
                <c:pt idx="193">
                  <c:v>0.2</c:v>
                </c:pt>
                <c:pt idx="194">
                  <c:v>0.05</c:v>
                </c:pt>
                <c:pt idx="195">
                  <c:v>0.28000000000000003</c:v>
                </c:pt>
                <c:pt idx="196">
                  <c:v>0.25</c:v>
                </c:pt>
                <c:pt idx="197">
                  <c:v>0.25</c:v>
                </c:pt>
                <c:pt idx="198">
                  <c:v>0.28000000000000003</c:v>
                </c:pt>
                <c:pt idx="199">
                  <c:v>0.26</c:v>
                </c:pt>
                <c:pt idx="200">
                  <c:v>0.12</c:v>
                </c:pt>
                <c:pt idx="201">
                  <c:v>0.04</c:v>
                </c:pt>
                <c:pt idx="202">
                  <c:v>0.17</c:v>
                </c:pt>
                <c:pt idx="203">
                  <c:v>0.17</c:v>
                </c:pt>
                <c:pt idx="204">
                  <c:v>0.21</c:v>
                </c:pt>
                <c:pt idx="205">
                  <c:v>0.11</c:v>
                </c:pt>
                <c:pt idx="206">
                  <c:v>0.1</c:v>
                </c:pt>
                <c:pt idx="207">
                  <c:v>0.06</c:v>
                </c:pt>
                <c:pt idx="208">
                  <c:v>0.16</c:v>
                </c:pt>
                <c:pt idx="209">
                  <c:v>0.08</c:v>
                </c:pt>
                <c:pt idx="210">
                  <c:v>0.23</c:v>
                </c:pt>
                <c:pt idx="211">
                  <c:v>0.31</c:v>
                </c:pt>
                <c:pt idx="212">
                  <c:v>0.12</c:v>
                </c:pt>
                <c:pt idx="213">
                  <c:v>0.04</c:v>
                </c:pt>
                <c:pt idx="214">
                  <c:v>0.11</c:v>
                </c:pt>
                <c:pt idx="215">
                  <c:v>0.14000000000000001</c:v>
                </c:pt>
                <c:pt idx="216">
                  <c:v>0.06</c:v>
                </c:pt>
                <c:pt idx="217">
                  <c:v>0.26</c:v>
                </c:pt>
                <c:pt idx="218">
                  <c:v>0.06</c:v>
                </c:pt>
                <c:pt idx="219">
                  <c:v>0.18</c:v>
                </c:pt>
                <c:pt idx="220">
                  <c:v>0.17</c:v>
                </c:pt>
                <c:pt idx="221">
                  <c:v>0.05</c:v>
                </c:pt>
                <c:pt idx="222">
                  <c:v>0.09</c:v>
                </c:pt>
                <c:pt idx="223">
                  <c:v>0.27</c:v>
                </c:pt>
                <c:pt idx="224">
                  <c:v>0.1</c:v>
                </c:pt>
                <c:pt idx="225">
                  <c:v>0.05</c:v>
                </c:pt>
                <c:pt idx="226">
                  <c:v>0.28000000000000003</c:v>
                </c:pt>
                <c:pt idx="227">
                  <c:v>0.25</c:v>
                </c:pt>
                <c:pt idx="228">
                  <c:v>0.04</c:v>
                </c:pt>
                <c:pt idx="229">
                  <c:v>0.13</c:v>
                </c:pt>
                <c:pt idx="230">
                  <c:v>0.19</c:v>
                </c:pt>
                <c:pt idx="231">
                  <c:v>0.16</c:v>
                </c:pt>
                <c:pt idx="232">
                  <c:v>0.28000000000000003</c:v>
                </c:pt>
                <c:pt idx="233">
                  <c:v>0.03</c:v>
                </c:pt>
                <c:pt idx="234">
                  <c:v>0.23</c:v>
                </c:pt>
                <c:pt idx="235">
                  <c:v>0.08</c:v>
                </c:pt>
                <c:pt idx="236">
                  <c:v>0.2</c:v>
                </c:pt>
                <c:pt idx="237">
                  <c:v>0.21</c:v>
                </c:pt>
                <c:pt idx="238">
                  <c:v>0.03</c:v>
                </c:pt>
                <c:pt idx="239">
                  <c:v>0.03</c:v>
                </c:pt>
                <c:pt idx="240">
                  <c:v>0.06</c:v>
                </c:pt>
                <c:pt idx="241">
                  <c:v>0.08</c:v>
                </c:pt>
                <c:pt idx="242">
                  <c:v>0.05</c:v>
                </c:pt>
                <c:pt idx="243">
                  <c:v>0.14000000000000001</c:v>
                </c:pt>
                <c:pt idx="244">
                  <c:v>0.03</c:v>
                </c:pt>
                <c:pt idx="245">
                  <c:v>0.13</c:v>
                </c:pt>
                <c:pt idx="246">
                  <c:v>0.08</c:v>
                </c:pt>
                <c:pt idx="247">
                  <c:v>0.04</c:v>
                </c:pt>
                <c:pt idx="248">
                  <c:v>0.03</c:v>
                </c:pt>
                <c:pt idx="249">
                  <c:v>0.13</c:v>
                </c:pt>
                <c:pt idx="250">
                  <c:v>0.03</c:v>
                </c:pt>
                <c:pt idx="251">
                  <c:v>0.13</c:v>
                </c:pt>
                <c:pt idx="252">
                  <c:v>0.22</c:v>
                </c:pt>
                <c:pt idx="253">
                  <c:v>0.08</c:v>
                </c:pt>
                <c:pt idx="254">
                  <c:v>0.09</c:v>
                </c:pt>
                <c:pt idx="255">
                  <c:v>0.04</c:v>
                </c:pt>
                <c:pt idx="256">
                  <c:v>0.16</c:v>
                </c:pt>
                <c:pt idx="257">
                  <c:v>0.06</c:v>
                </c:pt>
                <c:pt idx="258">
                  <c:v>0.04</c:v>
                </c:pt>
                <c:pt idx="259">
                  <c:v>0.09</c:v>
                </c:pt>
                <c:pt idx="260">
                  <c:v>0.02</c:v>
                </c:pt>
                <c:pt idx="261">
                  <c:v>0.04</c:v>
                </c:pt>
                <c:pt idx="262">
                  <c:v>7.0000000000000007E-2</c:v>
                </c:pt>
                <c:pt idx="263">
                  <c:v>0.03</c:v>
                </c:pt>
                <c:pt idx="264">
                  <c:v>0.04</c:v>
                </c:pt>
                <c:pt idx="265">
                  <c:v>0.02</c:v>
                </c:pt>
                <c:pt idx="266">
                  <c:v>0.02</c:v>
                </c:pt>
                <c:pt idx="267">
                  <c:v>0.09</c:v>
                </c:pt>
                <c:pt idx="268">
                  <c:v>0.1</c:v>
                </c:pt>
                <c:pt idx="269">
                  <c:v>0.03</c:v>
                </c:pt>
                <c:pt idx="270">
                  <c:v>0.1</c:v>
                </c:pt>
                <c:pt idx="271">
                  <c:v>7.0000000000000007E-2</c:v>
                </c:pt>
                <c:pt idx="272">
                  <c:v>0.05</c:v>
                </c:pt>
                <c:pt idx="273">
                  <c:v>0.1</c:v>
                </c:pt>
                <c:pt idx="274">
                  <c:v>0.04</c:v>
                </c:pt>
                <c:pt idx="275">
                  <c:v>0.14000000000000001</c:v>
                </c:pt>
                <c:pt idx="276">
                  <c:v>0.06</c:v>
                </c:pt>
                <c:pt idx="277">
                  <c:v>0.03</c:v>
                </c:pt>
                <c:pt idx="278">
                  <c:v>0.08</c:v>
                </c:pt>
                <c:pt idx="279">
                  <c:v>0.14000000000000001</c:v>
                </c:pt>
                <c:pt idx="280">
                  <c:v>0.16</c:v>
                </c:pt>
                <c:pt idx="281">
                  <c:v>0.08</c:v>
                </c:pt>
                <c:pt idx="282">
                  <c:v>0.02</c:v>
                </c:pt>
                <c:pt idx="283">
                  <c:v>0.03</c:v>
                </c:pt>
                <c:pt idx="284">
                  <c:v>0.02</c:v>
                </c:pt>
                <c:pt idx="285">
                  <c:v>0.12</c:v>
                </c:pt>
                <c:pt idx="286">
                  <c:v>0.02</c:v>
                </c:pt>
                <c:pt idx="287">
                  <c:v>0.05</c:v>
                </c:pt>
                <c:pt idx="288">
                  <c:v>0.05</c:v>
                </c:pt>
                <c:pt idx="289">
                  <c:v>0.11</c:v>
                </c:pt>
                <c:pt idx="290">
                  <c:v>0.04</c:v>
                </c:pt>
                <c:pt idx="291">
                  <c:v>0.06</c:v>
                </c:pt>
                <c:pt idx="292">
                  <c:v>0.08</c:v>
                </c:pt>
                <c:pt idx="293">
                  <c:v>0.02</c:v>
                </c:pt>
                <c:pt idx="294">
                  <c:v>0.03</c:v>
                </c:pt>
                <c:pt idx="295">
                  <c:v>0.01</c:v>
                </c:pt>
                <c:pt idx="296">
                  <c:v>0.1</c:v>
                </c:pt>
                <c:pt idx="297">
                  <c:v>0.02</c:v>
                </c:pt>
                <c:pt idx="298">
                  <c:v>0.03</c:v>
                </c:pt>
                <c:pt idx="299">
                  <c:v>0.09</c:v>
                </c:pt>
                <c:pt idx="300">
                  <c:v>0.01</c:v>
                </c:pt>
                <c:pt idx="301">
                  <c:v>0.02</c:v>
                </c:pt>
                <c:pt idx="302">
                  <c:v>0.01</c:v>
                </c:pt>
                <c:pt idx="303">
                  <c:v>0.06</c:v>
                </c:pt>
                <c:pt idx="304">
                  <c:v>0.02</c:v>
                </c:pt>
                <c:pt idx="305">
                  <c:v>0.12</c:v>
                </c:pt>
                <c:pt idx="306">
                  <c:v>0.02</c:v>
                </c:pt>
                <c:pt idx="307">
                  <c:v>0.06</c:v>
                </c:pt>
                <c:pt idx="308">
                  <c:v>0.03</c:v>
                </c:pt>
                <c:pt idx="309">
                  <c:v>0.13</c:v>
                </c:pt>
                <c:pt idx="310">
                  <c:v>0.04</c:v>
                </c:pt>
                <c:pt idx="311">
                  <c:v>0.05</c:v>
                </c:pt>
                <c:pt idx="312">
                  <c:v>0.11</c:v>
                </c:pt>
                <c:pt idx="313">
                  <c:v>0.03</c:v>
                </c:pt>
                <c:pt idx="314">
                  <c:v>0.03</c:v>
                </c:pt>
                <c:pt idx="315">
                  <c:v>0.03</c:v>
                </c:pt>
                <c:pt idx="316">
                  <c:v>0.02</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7ECAC4"/>
              </a:solidFill>
            </c:spPr>
            <c:extLst>
              <c:ext xmlns:c16="http://schemas.microsoft.com/office/drawing/2014/chart" uri="{C3380CC4-5D6E-409C-BE32-E72D297353CC}">
                <c16:uniqueId val="{00000072-C76F-4230-900D-40618C09729F}"/>
              </c:ext>
            </c:extLst>
          </c:dPt>
          <c:dPt>
            <c:idx val="55"/>
            <c:invertIfNegative val="0"/>
            <c:bubble3D val="0"/>
            <c:spPr>
              <a:solidFill>
                <a:srgbClr val="7ECAC4"/>
              </a:solidFill>
            </c:spPr>
            <c:extLst>
              <c:ext xmlns:c16="http://schemas.microsoft.com/office/drawing/2014/chart" uri="{C3380CC4-5D6E-409C-BE32-E72D297353CC}">
                <c16:uniqueId val="{00000074-C76F-4230-900D-40618C09729F}"/>
              </c:ext>
            </c:extLst>
          </c:dPt>
          <c:dPt>
            <c:idx val="56"/>
            <c:invertIfNegative val="0"/>
            <c:bubble3D val="0"/>
            <c:spPr>
              <a:solidFill>
                <a:srgbClr val="7ECAC4"/>
              </a:solidFill>
            </c:spPr>
            <c:extLst>
              <c:ext xmlns:c16="http://schemas.microsoft.com/office/drawing/2014/chart" uri="{C3380CC4-5D6E-409C-BE32-E72D297353CC}">
                <c16:uniqueId val="{00000076-C76F-4230-900D-40618C09729F}"/>
              </c:ext>
            </c:extLst>
          </c:dPt>
          <c:dPt>
            <c:idx val="57"/>
            <c:invertIfNegative val="0"/>
            <c:bubble3D val="0"/>
            <c:spPr>
              <a:solidFill>
                <a:srgbClr val="7ECAC4"/>
              </a:solidFill>
            </c:spPr>
            <c:extLst>
              <c:ext xmlns:c16="http://schemas.microsoft.com/office/drawing/2014/chart" uri="{C3380CC4-5D6E-409C-BE32-E72D297353CC}">
                <c16:uniqueId val="{00000078-C76F-4230-900D-40618C09729F}"/>
              </c:ext>
            </c:extLst>
          </c:dPt>
          <c:dPt>
            <c:idx val="58"/>
            <c:invertIfNegative val="0"/>
            <c:bubble3D val="0"/>
            <c:spPr>
              <a:solidFill>
                <a:srgbClr val="7ECAC4"/>
              </a:solidFill>
            </c:spPr>
            <c:extLst>
              <c:ext xmlns:c16="http://schemas.microsoft.com/office/drawing/2014/chart" uri="{C3380CC4-5D6E-409C-BE32-E72D297353CC}">
                <c16:uniqueId val="{0000007A-C76F-4230-900D-40618C09729F}"/>
              </c:ext>
            </c:extLst>
          </c:dPt>
          <c:dPt>
            <c:idx val="59"/>
            <c:invertIfNegative val="0"/>
            <c:bubble3D val="0"/>
            <c:spPr>
              <a:solidFill>
                <a:srgbClr val="7ECAC4"/>
              </a:solidFill>
            </c:spPr>
            <c:extLst>
              <c:ext xmlns:c16="http://schemas.microsoft.com/office/drawing/2014/chart" uri="{C3380CC4-5D6E-409C-BE32-E72D297353CC}">
                <c16:uniqueId val="{0000007C-C76F-4230-900D-40618C09729F}"/>
              </c:ext>
            </c:extLst>
          </c:dPt>
          <c:dPt>
            <c:idx val="60"/>
            <c:invertIfNegative val="0"/>
            <c:bubble3D val="0"/>
            <c:spPr>
              <a:solidFill>
                <a:srgbClr val="7ECAC4"/>
              </a:solidFill>
            </c:spPr>
            <c:extLst>
              <c:ext xmlns:c16="http://schemas.microsoft.com/office/drawing/2014/chart" uri="{C3380CC4-5D6E-409C-BE32-E72D297353CC}">
                <c16:uniqueId val="{0000007E-C76F-4230-900D-40618C09729F}"/>
              </c:ext>
            </c:extLst>
          </c:dPt>
          <c:dPt>
            <c:idx val="61"/>
            <c:invertIfNegative val="0"/>
            <c:bubble3D val="0"/>
            <c:spPr>
              <a:solidFill>
                <a:srgbClr val="7ECAC4"/>
              </a:solidFill>
            </c:spPr>
            <c:extLst>
              <c:ext xmlns:c16="http://schemas.microsoft.com/office/drawing/2014/chart" uri="{C3380CC4-5D6E-409C-BE32-E72D297353CC}">
                <c16:uniqueId val="{00000080-C76F-4230-900D-40618C09729F}"/>
              </c:ext>
            </c:extLst>
          </c:dPt>
          <c:dPt>
            <c:idx val="62"/>
            <c:invertIfNegative val="0"/>
            <c:bubble3D val="0"/>
            <c:spPr>
              <a:solidFill>
                <a:srgbClr val="7ECAC4"/>
              </a:solidFill>
            </c:spPr>
            <c:extLst>
              <c:ext xmlns:c16="http://schemas.microsoft.com/office/drawing/2014/chart" uri="{C3380CC4-5D6E-409C-BE32-E72D297353CC}">
                <c16:uniqueId val="{00000082-C76F-4230-900D-40618C09729F}"/>
              </c:ext>
            </c:extLst>
          </c:dPt>
          <c:dPt>
            <c:idx val="63"/>
            <c:invertIfNegative val="0"/>
            <c:bubble3D val="0"/>
            <c:spPr>
              <a:solidFill>
                <a:srgbClr val="7ECAC4"/>
              </a:solidFill>
            </c:spPr>
            <c:extLst>
              <c:ext xmlns:c16="http://schemas.microsoft.com/office/drawing/2014/chart" uri="{C3380CC4-5D6E-409C-BE32-E72D297353CC}">
                <c16:uniqueId val="{00000084-C76F-4230-900D-40618C09729F}"/>
              </c:ext>
            </c:extLst>
          </c:dPt>
          <c:dPt>
            <c:idx val="64"/>
            <c:invertIfNegative val="0"/>
            <c:bubble3D val="0"/>
            <c:spPr>
              <a:solidFill>
                <a:srgbClr val="7ECAC4"/>
              </a:solidFill>
            </c:spPr>
            <c:extLst>
              <c:ext xmlns:c16="http://schemas.microsoft.com/office/drawing/2014/chart" uri="{C3380CC4-5D6E-409C-BE32-E72D297353CC}">
                <c16:uniqueId val="{00000086-C76F-4230-900D-40618C09729F}"/>
              </c:ext>
            </c:extLst>
          </c:dPt>
          <c:dPt>
            <c:idx val="65"/>
            <c:invertIfNegative val="0"/>
            <c:bubble3D val="0"/>
            <c:spPr>
              <a:solidFill>
                <a:srgbClr val="7ECAC4"/>
              </a:solidFill>
            </c:spPr>
            <c:extLst>
              <c:ext xmlns:c16="http://schemas.microsoft.com/office/drawing/2014/chart" uri="{C3380CC4-5D6E-409C-BE32-E72D297353CC}">
                <c16:uniqueId val="{00000088-C76F-4230-900D-40618C09729F}"/>
              </c:ext>
            </c:extLst>
          </c:dPt>
          <c:dPt>
            <c:idx val="66"/>
            <c:invertIfNegative val="0"/>
            <c:bubble3D val="0"/>
            <c:spPr>
              <a:solidFill>
                <a:srgbClr val="7ECAC4"/>
              </a:solidFill>
            </c:spPr>
            <c:extLst>
              <c:ext xmlns:c16="http://schemas.microsoft.com/office/drawing/2014/chart" uri="{C3380CC4-5D6E-409C-BE32-E72D297353CC}">
                <c16:uniqueId val="{0000008A-C76F-4230-900D-40618C09729F}"/>
              </c:ext>
            </c:extLst>
          </c:dPt>
          <c:dPt>
            <c:idx val="67"/>
            <c:invertIfNegative val="0"/>
            <c:bubble3D val="0"/>
            <c:spPr>
              <a:solidFill>
                <a:srgbClr val="7ECAC4"/>
              </a:solidFill>
            </c:spPr>
            <c:extLst>
              <c:ext xmlns:c16="http://schemas.microsoft.com/office/drawing/2014/chart" uri="{C3380CC4-5D6E-409C-BE32-E72D297353CC}">
                <c16:uniqueId val="{0000008C-C76F-4230-900D-40618C09729F}"/>
              </c:ext>
            </c:extLst>
          </c:dPt>
          <c:dPt>
            <c:idx val="68"/>
            <c:invertIfNegative val="0"/>
            <c:bubble3D val="0"/>
            <c:spPr>
              <a:solidFill>
                <a:srgbClr val="7ECAC4"/>
              </a:solidFill>
            </c:spPr>
            <c:extLst>
              <c:ext xmlns:c16="http://schemas.microsoft.com/office/drawing/2014/chart" uri="{C3380CC4-5D6E-409C-BE32-E72D297353CC}">
                <c16:uniqueId val="{0000008E-C76F-4230-900D-40618C09729F}"/>
              </c:ext>
            </c:extLst>
          </c:dPt>
          <c:dPt>
            <c:idx val="69"/>
            <c:invertIfNegative val="0"/>
            <c:bubble3D val="0"/>
            <c:spPr>
              <a:solidFill>
                <a:srgbClr val="7ECAC4"/>
              </a:solidFill>
            </c:spPr>
            <c:extLst>
              <c:ext xmlns:c16="http://schemas.microsoft.com/office/drawing/2014/chart" uri="{C3380CC4-5D6E-409C-BE32-E72D297353CC}">
                <c16:uniqueId val="{00000090-C76F-4230-900D-40618C09729F}"/>
              </c:ext>
            </c:extLst>
          </c:dPt>
          <c:dPt>
            <c:idx val="70"/>
            <c:invertIfNegative val="0"/>
            <c:bubble3D val="0"/>
            <c:spPr>
              <a:solidFill>
                <a:srgbClr val="7ECAC4"/>
              </a:solidFill>
            </c:spPr>
            <c:extLst>
              <c:ext xmlns:c16="http://schemas.microsoft.com/office/drawing/2014/chart" uri="{C3380CC4-5D6E-409C-BE32-E72D297353CC}">
                <c16:uniqueId val="{00000092-C76F-4230-900D-40618C09729F}"/>
              </c:ext>
            </c:extLst>
          </c:dPt>
          <c:dPt>
            <c:idx val="71"/>
            <c:invertIfNegative val="0"/>
            <c:bubble3D val="0"/>
            <c:spPr>
              <a:solidFill>
                <a:srgbClr val="7ECAC4"/>
              </a:solidFill>
            </c:spPr>
            <c:extLst>
              <c:ext xmlns:c16="http://schemas.microsoft.com/office/drawing/2014/chart" uri="{C3380CC4-5D6E-409C-BE32-E72D297353CC}">
                <c16:uniqueId val="{00000094-C76F-4230-900D-40618C09729F}"/>
              </c:ext>
            </c:extLst>
          </c:dPt>
          <c:dPt>
            <c:idx val="72"/>
            <c:invertIfNegative val="0"/>
            <c:bubble3D val="0"/>
            <c:spPr>
              <a:solidFill>
                <a:srgbClr val="7ECAC4"/>
              </a:solidFill>
            </c:spPr>
            <c:extLst>
              <c:ext xmlns:c16="http://schemas.microsoft.com/office/drawing/2014/chart" uri="{C3380CC4-5D6E-409C-BE32-E72D297353CC}">
                <c16:uniqueId val="{00000096-C76F-4230-900D-40618C09729F}"/>
              </c:ext>
            </c:extLst>
          </c:dPt>
          <c:dPt>
            <c:idx val="73"/>
            <c:invertIfNegative val="0"/>
            <c:bubble3D val="0"/>
            <c:spPr>
              <a:solidFill>
                <a:srgbClr val="7ECAC4"/>
              </a:solidFill>
            </c:spPr>
            <c:extLst>
              <c:ext xmlns:c16="http://schemas.microsoft.com/office/drawing/2014/chart" uri="{C3380CC4-5D6E-409C-BE32-E72D297353CC}">
                <c16:uniqueId val="{00000098-C76F-4230-900D-40618C09729F}"/>
              </c:ext>
            </c:extLst>
          </c:dPt>
          <c:dPt>
            <c:idx val="74"/>
            <c:invertIfNegative val="0"/>
            <c:bubble3D val="0"/>
            <c:spPr>
              <a:solidFill>
                <a:srgbClr val="7ECAC4"/>
              </a:solidFill>
            </c:spPr>
            <c:extLst>
              <c:ext xmlns:c16="http://schemas.microsoft.com/office/drawing/2014/chart" uri="{C3380CC4-5D6E-409C-BE32-E72D297353CC}">
                <c16:uniqueId val="{0000009A-C76F-4230-900D-40618C09729F}"/>
              </c:ext>
            </c:extLst>
          </c:dPt>
          <c:dPt>
            <c:idx val="75"/>
            <c:invertIfNegative val="0"/>
            <c:bubble3D val="0"/>
            <c:spPr>
              <a:solidFill>
                <a:srgbClr val="7ECAC4"/>
              </a:solidFill>
            </c:spPr>
            <c:extLst>
              <c:ext xmlns:c16="http://schemas.microsoft.com/office/drawing/2014/chart" uri="{C3380CC4-5D6E-409C-BE32-E72D297353CC}">
                <c16:uniqueId val="{0000009C-C76F-4230-900D-40618C09729F}"/>
              </c:ext>
            </c:extLst>
          </c:dPt>
          <c:dPt>
            <c:idx val="76"/>
            <c:invertIfNegative val="0"/>
            <c:bubble3D val="0"/>
            <c:spPr>
              <a:solidFill>
                <a:srgbClr val="7ECAC4"/>
              </a:solidFill>
            </c:spPr>
            <c:extLst>
              <c:ext xmlns:c16="http://schemas.microsoft.com/office/drawing/2014/chart" uri="{C3380CC4-5D6E-409C-BE32-E72D297353CC}">
                <c16:uniqueId val="{0000009E-C76F-4230-900D-40618C09729F}"/>
              </c:ext>
            </c:extLst>
          </c:dPt>
          <c:dPt>
            <c:idx val="77"/>
            <c:invertIfNegative val="0"/>
            <c:bubble3D val="0"/>
            <c:spPr>
              <a:solidFill>
                <a:srgbClr val="7ECAC4"/>
              </a:solidFill>
            </c:spPr>
            <c:extLst>
              <c:ext xmlns:c16="http://schemas.microsoft.com/office/drawing/2014/chart" uri="{C3380CC4-5D6E-409C-BE32-E72D297353CC}">
                <c16:uniqueId val="{000000A0-C76F-4230-900D-40618C09729F}"/>
              </c:ext>
            </c:extLst>
          </c:dPt>
          <c:dPt>
            <c:idx val="78"/>
            <c:invertIfNegative val="0"/>
            <c:bubble3D val="0"/>
            <c:spPr>
              <a:solidFill>
                <a:srgbClr val="7ECAC4"/>
              </a:solidFill>
            </c:spPr>
            <c:extLst>
              <c:ext xmlns:c16="http://schemas.microsoft.com/office/drawing/2014/chart" uri="{C3380CC4-5D6E-409C-BE32-E72D297353CC}">
                <c16:uniqueId val="{000000A2-C76F-4230-900D-40618C09729F}"/>
              </c:ext>
            </c:extLst>
          </c:dPt>
          <c:dPt>
            <c:idx val="79"/>
            <c:invertIfNegative val="0"/>
            <c:bubble3D val="0"/>
            <c:spPr>
              <a:solidFill>
                <a:srgbClr val="7ECAC4"/>
              </a:solidFill>
            </c:spPr>
            <c:extLst>
              <c:ext xmlns:c16="http://schemas.microsoft.com/office/drawing/2014/chart" uri="{C3380CC4-5D6E-409C-BE32-E72D297353CC}">
                <c16:uniqueId val="{000000A4-C76F-4230-900D-40618C09729F}"/>
              </c:ext>
            </c:extLst>
          </c:dPt>
          <c:dPt>
            <c:idx val="80"/>
            <c:invertIfNegative val="0"/>
            <c:bubble3D val="0"/>
            <c:spPr>
              <a:solidFill>
                <a:srgbClr val="7ECAC4"/>
              </a:solidFill>
            </c:spPr>
            <c:extLst>
              <c:ext xmlns:c16="http://schemas.microsoft.com/office/drawing/2014/chart" uri="{C3380CC4-5D6E-409C-BE32-E72D297353CC}">
                <c16:uniqueId val="{000000A6-C76F-4230-900D-40618C09729F}"/>
              </c:ext>
            </c:extLst>
          </c:dPt>
          <c:dPt>
            <c:idx val="81"/>
            <c:invertIfNegative val="1"/>
            <c:bubble3D val="0"/>
            <c:spPr>
              <a:solidFill>
                <a:srgbClr val="7ECAC4"/>
              </a:solidFill>
            </c:spPr>
            <c:extLst>
              <c:ext xmlns:c16="http://schemas.microsoft.com/office/drawing/2014/chart" uri="{C3380CC4-5D6E-409C-BE32-E72D297353CC}">
                <c16:uniqueId val="{000000A5-2993-41DE-A2CB-63102DE87051}"/>
              </c:ext>
            </c:extLst>
          </c:dPt>
          <c:dPt>
            <c:idx val="82"/>
            <c:invertIfNegative val="1"/>
            <c:bubble3D val="0"/>
            <c:spPr>
              <a:solidFill>
                <a:srgbClr val="7ECAC4"/>
              </a:solidFill>
            </c:spPr>
            <c:extLst>
              <c:ext xmlns:c16="http://schemas.microsoft.com/office/drawing/2014/chart" uri="{C3380CC4-5D6E-409C-BE32-E72D297353CC}">
                <c16:uniqueId val="{000000A7-2993-41DE-A2CB-63102DE87051}"/>
              </c:ext>
            </c:extLst>
          </c:dPt>
          <c:dPt>
            <c:idx val="83"/>
            <c:invertIfNegative val="1"/>
            <c:bubble3D val="0"/>
            <c:spPr>
              <a:solidFill>
                <a:srgbClr val="7ECAC4"/>
              </a:solidFill>
            </c:spPr>
            <c:extLst>
              <c:ext xmlns:c16="http://schemas.microsoft.com/office/drawing/2014/chart" uri="{C3380CC4-5D6E-409C-BE32-E72D297353CC}">
                <c16:uniqueId val="{000000A9-2993-41DE-A2CB-63102DE87051}"/>
              </c:ext>
            </c:extLst>
          </c:dPt>
          <c:dPt>
            <c:idx val="84"/>
            <c:invertIfNegative val="1"/>
            <c:bubble3D val="0"/>
            <c:spPr>
              <a:solidFill>
                <a:srgbClr val="7ECAC4"/>
              </a:solidFill>
            </c:spPr>
            <c:extLst>
              <c:ext xmlns:c16="http://schemas.microsoft.com/office/drawing/2014/chart" uri="{C3380CC4-5D6E-409C-BE32-E72D297353CC}">
                <c16:uniqueId val="{000000AB-2993-41DE-A2CB-63102DE87051}"/>
              </c:ext>
            </c:extLst>
          </c:dPt>
          <c:dPt>
            <c:idx val="85"/>
            <c:invertIfNegative val="1"/>
            <c:bubble3D val="0"/>
            <c:spPr>
              <a:solidFill>
                <a:srgbClr val="7ECAC4"/>
              </a:solidFill>
            </c:spPr>
            <c:extLst>
              <c:ext xmlns:c16="http://schemas.microsoft.com/office/drawing/2014/chart" uri="{C3380CC4-5D6E-409C-BE32-E72D297353CC}">
                <c16:uniqueId val="{000000AD-2993-41DE-A2CB-63102DE87051}"/>
              </c:ext>
            </c:extLst>
          </c:dPt>
          <c:dPt>
            <c:idx val="86"/>
            <c:invertIfNegative val="1"/>
            <c:bubble3D val="0"/>
            <c:spPr>
              <a:solidFill>
                <a:srgbClr val="7ECAC4"/>
              </a:solidFill>
            </c:spPr>
            <c:extLst>
              <c:ext xmlns:c16="http://schemas.microsoft.com/office/drawing/2014/chart" uri="{C3380CC4-5D6E-409C-BE32-E72D297353CC}">
                <c16:uniqueId val="{000000AF-2993-41DE-A2CB-63102DE87051}"/>
              </c:ext>
            </c:extLst>
          </c:dPt>
          <c:dPt>
            <c:idx val="87"/>
            <c:invertIfNegative val="1"/>
            <c:bubble3D val="0"/>
            <c:spPr>
              <a:solidFill>
                <a:srgbClr val="7ECAC4"/>
              </a:solidFill>
            </c:spPr>
            <c:extLst>
              <c:ext xmlns:c16="http://schemas.microsoft.com/office/drawing/2014/chart" uri="{C3380CC4-5D6E-409C-BE32-E72D297353CC}">
                <c16:uniqueId val="{000000B1-2993-41DE-A2CB-63102DE87051}"/>
              </c:ext>
            </c:extLst>
          </c:dPt>
          <c:dPt>
            <c:idx val="88"/>
            <c:invertIfNegative val="1"/>
            <c:bubble3D val="0"/>
            <c:spPr>
              <a:solidFill>
                <a:srgbClr val="7ECAC4"/>
              </a:solidFill>
            </c:spPr>
            <c:extLst>
              <c:ext xmlns:c16="http://schemas.microsoft.com/office/drawing/2014/chart" uri="{C3380CC4-5D6E-409C-BE32-E72D297353CC}">
                <c16:uniqueId val="{000000B3-2993-41DE-A2CB-63102DE87051}"/>
              </c:ext>
            </c:extLst>
          </c:dPt>
          <c:dPt>
            <c:idx val="89"/>
            <c:invertIfNegative val="1"/>
            <c:bubble3D val="0"/>
            <c:spPr>
              <a:solidFill>
                <a:srgbClr val="7ECAC4"/>
              </a:solidFill>
            </c:spPr>
            <c:extLst>
              <c:ext xmlns:c16="http://schemas.microsoft.com/office/drawing/2014/chart" uri="{C3380CC4-5D6E-409C-BE32-E72D297353CC}">
                <c16:uniqueId val="{000000B5-2993-41DE-A2CB-63102DE87051}"/>
              </c:ext>
            </c:extLst>
          </c:dPt>
          <c:dPt>
            <c:idx val="90"/>
            <c:invertIfNegative val="1"/>
            <c:bubble3D val="0"/>
            <c:spPr>
              <a:solidFill>
                <a:srgbClr val="7ECAC4"/>
              </a:solidFill>
            </c:spPr>
            <c:extLst>
              <c:ext xmlns:c16="http://schemas.microsoft.com/office/drawing/2014/chart" uri="{C3380CC4-5D6E-409C-BE32-E72D297353CC}">
                <c16:uniqueId val="{000000B7-2993-41DE-A2CB-63102DE87051}"/>
              </c:ext>
            </c:extLst>
          </c:dPt>
          <c:dPt>
            <c:idx val="91"/>
            <c:invertIfNegative val="1"/>
            <c:bubble3D val="0"/>
            <c:spPr>
              <a:solidFill>
                <a:srgbClr val="7ECAC4"/>
              </a:solidFill>
            </c:spPr>
            <c:extLst>
              <c:ext xmlns:c16="http://schemas.microsoft.com/office/drawing/2014/chart" uri="{C3380CC4-5D6E-409C-BE32-E72D297353CC}">
                <c16:uniqueId val="{000000B9-2993-41DE-A2CB-63102DE87051}"/>
              </c:ext>
            </c:extLst>
          </c:dPt>
          <c:dPt>
            <c:idx val="92"/>
            <c:invertIfNegative val="1"/>
            <c:bubble3D val="0"/>
            <c:spPr>
              <a:solidFill>
                <a:srgbClr val="7ECAC4"/>
              </a:solidFill>
            </c:spPr>
            <c:extLst>
              <c:ext xmlns:c16="http://schemas.microsoft.com/office/drawing/2014/chart" uri="{C3380CC4-5D6E-409C-BE32-E72D297353CC}">
                <c16:uniqueId val="{000000BB-2993-41DE-A2CB-63102DE87051}"/>
              </c:ext>
            </c:extLst>
          </c:dPt>
          <c:dPt>
            <c:idx val="93"/>
            <c:invertIfNegative val="1"/>
            <c:bubble3D val="0"/>
            <c:spPr>
              <a:solidFill>
                <a:srgbClr val="7ECAC4"/>
              </a:solidFill>
            </c:spPr>
            <c:extLst>
              <c:ext xmlns:c16="http://schemas.microsoft.com/office/drawing/2014/chart" uri="{C3380CC4-5D6E-409C-BE32-E72D297353CC}">
                <c16:uniqueId val="{000000BD-2993-41DE-A2CB-63102DE87051}"/>
              </c:ext>
            </c:extLst>
          </c:dPt>
          <c:dPt>
            <c:idx val="94"/>
            <c:invertIfNegative val="1"/>
            <c:bubble3D val="0"/>
            <c:spPr>
              <a:solidFill>
                <a:srgbClr val="7ECAC4"/>
              </a:solidFill>
            </c:spPr>
            <c:extLst>
              <c:ext xmlns:c16="http://schemas.microsoft.com/office/drawing/2014/chart" uri="{C3380CC4-5D6E-409C-BE32-E72D297353CC}">
                <c16:uniqueId val="{000000BF-2993-41DE-A2CB-63102DE87051}"/>
              </c:ext>
            </c:extLst>
          </c:dPt>
          <c:dPt>
            <c:idx val="95"/>
            <c:invertIfNegative val="1"/>
            <c:bubble3D val="0"/>
            <c:spPr>
              <a:solidFill>
                <a:srgbClr val="7ECAC4"/>
              </a:solidFill>
            </c:spPr>
            <c:extLst>
              <c:ext xmlns:c16="http://schemas.microsoft.com/office/drawing/2014/chart" uri="{C3380CC4-5D6E-409C-BE32-E72D297353CC}">
                <c16:uniqueId val="{000000C1-2993-41DE-A2CB-63102DE87051}"/>
              </c:ext>
            </c:extLst>
          </c:dPt>
          <c:dPt>
            <c:idx val="96"/>
            <c:invertIfNegative val="1"/>
            <c:bubble3D val="0"/>
            <c:spPr>
              <a:solidFill>
                <a:srgbClr val="7ECAC4"/>
              </a:solidFill>
            </c:spPr>
            <c:extLst>
              <c:ext xmlns:c16="http://schemas.microsoft.com/office/drawing/2014/chart" uri="{C3380CC4-5D6E-409C-BE32-E72D297353CC}">
                <c16:uniqueId val="{000000C3-2993-41DE-A2CB-63102DE87051}"/>
              </c:ext>
            </c:extLst>
          </c:dPt>
          <c:dPt>
            <c:idx val="97"/>
            <c:invertIfNegative val="1"/>
            <c:bubble3D val="0"/>
            <c:spPr>
              <a:solidFill>
                <a:srgbClr val="7ECAC4"/>
              </a:solidFill>
            </c:spPr>
            <c:extLst>
              <c:ext xmlns:c16="http://schemas.microsoft.com/office/drawing/2014/chart" uri="{C3380CC4-5D6E-409C-BE32-E72D297353CC}">
                <c16:uniqueId val="{000000C5-2993-41DE-A2CB-63102DE87051}"/>
              </c:ext>
            </c:extLst>
          </c:dPt>
          <c:dPt>
            <c:idx val="98"/>
            <c:invertIfNegative val="1"/>
            <c:bubble3D val="0"/>
            <c:spPr>
              <a:solidFill>
                <a:srgbClr val="7ECAC4"/>
              </a:solidFill>
            </c:spPr>
            <c:extLst>
              <c:ext xmlns:c16="http://schemas.microsoft.com/office/drawing/2014/chart" uri="{C3380CC4-5D6E-409C-BE32-E72D297353CC}">
                <c16:uniqueId val="{000000C7-2993-41DE-A2CB-63102DE87051}"/>
              </c:ext>
            </c:extLst>
          </c:dPt>
          <c:dPt>
            <c:idx val="99"/>
            <c:invertIfNegative val="1"/>
            <c:bubble3D val="0"/>
            <c:spPr>
              <a:solidFill>
                <a:srgbClr val="7ECAC4"/>
              </a:solidFill>
            </c:spPr>
            <c:extLst>
              <c:ext xmlns:c16="http://schemas.microsoft.com/office/drawing/2014/chart" uri="{C3380CC4-5D6E-409C-BE32-E72D297353CC}">
                <c16:uniqueId val="{000000C9-2993-41DE-A2CB-63102DE87051}"/>
              </c:ext>
            </c:extLst>
          </c:dPt>
          <c:dPt>
            <c:idx val="100"/>
            <c:invertIfNegative val="1"/>
            <c:bubble3D val="0"/>
            <c:spPr>
              <a:solidFill>
                <a:srgbClr val="7ECAC4"/>
              </a:solidFill>
            </c:spPr>
            <c:extLst>
              <c:ext xmlns:c16="http://schemas.microsoft.com/office/drawing/2014/chart" uri="{C3380CC4-5D6E-409C-BE32-E72D297353CC}">
                <c16:uniqueId val="{000000CB-2993-41DE-A2CB-63102DE87051}"/>
              </c:ext>
            </c:extLst>
          </c:dPt>
          <c:dPt>
            <c:idx val="101"/>
            <c:invertIfNegative val="1"/>
            <c:bubble3D val="0"/>
            <c:spPr>
              <a:solidFill>
                <a:srgbClr val="7ECAC4"/>
              </a:solidFill>
            </c:spPr>
            <c:extLst>
              <c:ext xmlns:c16="http://schemas.microsoft.com/office/drawing/2014/chart" uri="{C3380CC4-5D6E-409C-BE32-E72D297353CC}">
                <c16:uniqueId val="{000000CD-2993-41DE-A2CB-63102DE87051}"/>
              </c:ext>
            </c:extLst>
          </c:dPt>
          <c:dPt>
            <c:idx val="102"/>
            <c:invertIfNegative val="1"/>
            <c:bubble3D val="0"/>
            <c:spPr>
              <a:solidFill>
                <a:srgbClr val="7ECAC4"/>
              </a:solidFill>
            </c:spPr>
            <c:extLst>
              <c:ext xmlns:c16="http://schemas.microsoft.com/office/drawing/2014/chart" uri="{C3380CC4-5D6E-409C-BE32-E72D297353CC}">
                <c16:uniqueId val="{000000CF-2993-41DE-A2CB-63102DE87051}"/>
              </c:ext>
            </c:extLst>
          </c:dPt>
          <c:dPt>
            <c:idx val="103"/>
            <c:invertIfNegative val="1"/>
            <c:bubble3D val="0"/>
            <c:spPr>
              <a:solidFill>
                <a:srgbClr val="7ECAC4"/>
              </a:solidFill>
            </c:spPr>
            <c:extLst>
              <c:ext xmlns:c16="http://schemas.microsoft.com/office/drawing/2014/chart" uri="{C3380CC4-5D6E-409C-BE32-E72D297353CC}">
                <c16:uniqueId val="{000000D1-2993-41DE-A2CB-63102DE87051}"/>
              </c:ext>
            </c:extLst>
          </c:dPt>
          <c:dPt>
            <c:idx val="104"/>
            <c:invertIfNegative val="1"/>
            <c:bubble3D val="0"/>
            <c:spPr>
              <a:solidFill>
                <a:srgbClr val="7ECAC4"/>
              </a:solidFill>
            </c:spPr>
            <c:extLst>
              <c:ext xmlns:c16="http://schemas.microsoft.com/office/drawing/2014/chart" uri="{C3380CC4-5D6E-409C-BE32-E72D297353CC}">
                <c16:uniqueId val="{000000D3-2993-41DE-A2CB-63102DE87051}"/>
              </c:ext>
            </c:extLst>
          </c:dPt>
          <c:dPt>
            <c:idx val="105"/>
            <c:invertIfNegative val="1"/>
            <c:bubble3D val="0"/>
            <c:spPr>
              <a:solidFill>
                <a:srgbClr val="7ECAC4"/>
              </a:solidFill>
            </c:spPr>
            <c:extLst>
              <c:ext xmlns:c16="http://schemas.microsoft.com/office/drawing/2014/chart" uri="{C3380CC4-5D6E-409C-BE32-E72D297353CC}">
                <c16:uniqueId val="{000000D5-2993-41DE-A2CB-63102DE87051}"/>
              </c:ext>
            </c:extLst>
          </c:dPt>
          <c:dPt>
            <c:idx val="106"/>
            <c:invertIfNegative val="1"/>
            <c:bubble3D val="0"/>
            <c:spPr>
              <a:solidFill>
                <a:srgbClr val="7ECAC4"/>
              </a:solidFill>
            </c:spPr>
            <c:extLst>
              <c:ext xmlns:c16="http://schemas.microsoft.com/office/drawing/2014/chart" uri="{C3380CC4-5D6E-409C-BE32-E72D297353CC}">
                <c16:uniqueId val="{000000D7-2993-41DE-A2CB-63102DE87051}"/>
              </c:ext>
            </c:extLst>
          </c:dPt>
          <c:dPt>
            <c:idx val="107"/>
            <c:invertIfNegative val="1"/>
            <c:bubble3D val="0"/>
            <c:spPr>
              <a:solidFill>
                <a:srgbClr val="7ECAC4"/>
              </a:solidFill>
            </c:spPr>
            <c:extLst>
              <c:ext xmlns:c16="http://schemas.microsoft.com/office/drawing/2014/chart" uri="{C3380CC4-5D6E-409C-BE32-E72D297353CC}">
                <c16:uniqueId val="{000000D9-2993-41DE-A2CB-63102DE87051}"/>
              </c:ext>
            </c:extLst>
          </c:dPt>
          <c:dPt>
            <c:idx val="108"/>
            <c:invertIfNegative val="1"/>
            <c:bubble3D val="0"/>
            <c:spPr>
              <a:solidFill>
                <a:srgbClr val="7ECAC4"/>
              </a:solidFill>
            </c:spPr>
            <c:extLst>
              <c:ext xmlns:c16="http://schemas.microsoft.com/office/drawing/2014/chart" uri="{C3380CC4-5D6E-409C-BE32-E72D297353CC}">
                <c16:uniqueId val="{000000DB-2993-41DE-A2CB-63102DE87051}"/>
              </c:ext>
            </c:extLst>
          </c:dPt>
          <c:dPt>
            <c:idx val="109"/>
            <c:invertIfNegative val="1"/>
            <c:bubble3D val="0"/>
            <c:spPr>
              <a:solidFill>
                <a:srgbClr val="7ECAC4"/>
              </a:solidFill>
            </c:spPr>
            <c:extLst>
              <c:ext xmlns:c16="http://schemas.microsoft.com/office/drawing/2014/chart" uri="{C3380CC4-5D6E-409C-BE32-E72D297353CC}">
                <c16:uniqueId val="{000000DD-2993-41DE-A2CB-63102DE87051}"/>
              </c:ext>
            </c:extLst>
          </c:dPt>
          <c:dPt>
            <c:idx val="110"/>
            <c:invertIfNegative val="1"/>
            <c:bubble3D val="0"/>
            <c:spPr>
              <a:solidFill>
                <a:srgbClr val="7ECAC4"/>
              </a:solidFill>
            </c:spPr>
            <c:extLst>
              <c:ext xmlns:c16="http://schemas.microsoft.com/office/drawing/2014/chart" uri="{C3380CC4-5D6E-409C-BE32-E72D297353CC}">
                <c16:uniqueId val="{000000DF-2993-41DE-A2CB-63102DE87051}"/>
              </c:ext>
            </c:extLst>
          </c:dPt>
          <c:dPt>
            <c:idx val="111"/>
            <c:invertIfNegative val="1"/>
            <c:bubble3D val="0"/>
            <c:spPr>
              <a:solidFill>
                <a:srgbClr val="7ECAC4"/>
              </a:solidFill>
            </c:spPr>
            <c:extLst>
              <c:ext xmlns:c16="http://schemas.microsoft.com/office/drawing/2014/chart" uri="{C3380CC4-5D6E-409C-BE32-E72D297353CC}">
                <c16:uniqueId val="{000000E1-2993-41DE-A2CB-63102DE87051}"/>
              </c:ext>
            </c:extLst>
          </c:dPt>
          <c:dPt>
            <c:idx val="112"/>
            <c:invertIfNegative val="1"/>
            <c:bubble3D val="0"/>
            <c:spPr>
              <a:solidFill>
                <a:srgbClr val="7ECAC4"/>
              </a:solidFill>
            </c:spPr>
            <c:extLst>
              <c:ext xmlns:c16="http://schemas.microsoft.com/office/drawing/2014/chart" uri="{C3380CC4-5D6E-409C-BE32-E72D297353CC}">
                <c16:uniqueId val="{000000E3-2993-41DE-A2CB-63102DE87051}"/>
              </c:ext>
            </c:extLst>
          </c:dPt>
          <c:dPt>
            <c:idx val="113"/>
            <c:invertIfNegative val="1"/>
            <c:bubble3D val="0"/>
            <c:spPr>
              <a:solidFill>
                <a:srgbClr val="7ECAC4"/>
              </a:solidFill>
            </c:spPr>
            <c:extLst>
              <c:ext xmlns:c16="http://schemas.microsoft.com/office/drawing/2014/chart" uri="{C3380CC4-5D6E-409C-BE32-E72D297353CC}">
                <c16:uniqueId val="{000000E5-2993-41DE-A2CB-63102DE87051}"/>
              </c:ext>
            </c:extLst>
          </c:dPt>
          <c:dPt>
            <c:idx val="114"/>
            <c:invertIfNegative val="1"/>
            <c:bubble3D val="0"/>
            <c:spPr>
              <a:solidFill>
                <a:srgbClr val="7ECAC4"/>
              </a:solidFill>
            </c:spPr>
            <c:extLst>
              <c:ext xmlns:c16="http://schemas.microsoft.com/office/drawing/2014/chart" uri="{C3380CC4-5D6E-409C-BE32-E72D297353CC}">
                <c16:uniqueId val="{000000E7-2993-41DE-A2CB-63102DE87051}"/>
              </c:ext>
            </c:extLst>
          </c:dPt>
          <c:dPt>
            <c:idx val="115"/>
            <c:invertIfNegative val="1"/>
            <c:bubble3D val="0"/>
            <c:spPr>
              <a:solidFill>
                <a:srgbClr val="7ECAC4"/>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AEABAB"/>
              </a:solidFill>
            </c:spPr>
            <c:extLst>
              <c:ext xmlns:c16="http://schemas.microsoft.com/office/drawing/2014/chart" uri="{C3380CC4-5D6E-409C-BE32-E72D297353CC}">
                <c16:uniqueId val="{000000F7-2993-41DE-A2CB-63102DE87051}"/>
              </c:ext>
            </c:extLst>
          </c:dPt>
          <c:dPt>
            <c:idx val="123"/>
            <c:invertIfNegative val="1"/>
            <c:bubble3D val="0"/>
            <c:spPr>
              <a:solidFill>
                <a:srgbClr val="AEABAB"/>
              </a:solidFill>
            </c:spPr>
            <c:extLst>
              <c:ext xmlns:c16="http://schemas.microsoft.com/office/drawing/2014/chart" uri="{C3380CC4-5D6E-409C-BE32-E72D297353CC}">
                <c16:uniqueId val="{000000F9-2993-41DE-A2CB-63102DE87051}"/>
              </c:ext>
            </c:extLst>
          </c:dPt>
          <c:dPt>
            <c:idx val="124"/>
            <c:invertIfNegative val="1"/>
            <c:bubble3D val="0"/>
            <c:spPr>
              <a:solidFill>
                <a:srgbClr val="AEABAB"/>
              </a:solidFill>
            </c:spPr>
            <c:extLst>
              <c:ext xmlns:c16="http://schemas.microsoft.com/office/drawing/2014/chart" uri="{C3380CC4-5D6E-409C-BE32-E72D297353CC}">
                <c16:uniqueId val="{000000FB-2993-41DE-A2CB-63102DE87051}"/>
              </c:ext>
            </c:extLst>
          </c:dPt>
          <c:dPt>
            <c:idx val="125"/>
            <c:invertIfNegative val="1"/>
            <c:bubble3D val="0"/>
            <c:spPr>
              <a:solidFill>
                <a:srgbClr val="AEABAB"/>
              </a:solidFill>
            </c:spPr>
            <c:extLst>
              <c:ext xmlns:c16="http://schemas.microsoft.com/office/drawing/2014/chart" uri="{C3380CC4-5D6E-409C-BE32-E72D297353CC}">
                <c16:uniqueId val="{000000FD-2993-41DE-A2CB-63102DE87051}"/>
              </c:ext>
            </c:extLst>
          </c:dPt>
          <c:dPt>
            <c:idx val="126"/>
            <c:invertIfNegative val="1"/>
            <c:bubble3D val="0"/>
            <c:spPr>
              <a:solidFill>
                <a:srgbClr val="AEABAB"/>
              </a:solidFill>
            </c:spPr>
            <c:extLst>
              <c:ext xmlns:c16="http://schemas.microsoft.com/office/drawing/2014/chart" uri="{C3380CC4-5D6E-409C-BE32-E72D297353CC}">
                <c16:uniqueId val="{000000FF-2993-41DE-A2CB-63102DE87051}"/>
              </c:ext>
            </c:extLst>
          </c:dPt>
          <c:dPt>
            <c:idx val="127"/>
            <c:invertIfNegative val="1"/>
            <c:bubble3D val="0"/>
            <c:spPr>
              <a:solidFill>
                <a:srgbClr val="AEABAB"/>
              </a:solidFill>
            </c:spPr>
            <c:extLst>
              <c:ext xmlns:c16="http://schemas.microsoft.com/office/drawing/2014/chart" uri="{C3380CC4-5D6E-409C-BE32-E72D297353CC}">
                <c16:uniqueId val="{00000101-2993-41DE-A2CB-63102DE87051}"/>
              </c:ext>
            </c:extLst>
          </c:dPt>
          <c:dPt>
            <c:idx val="128"/>
            <c:invertIfNegative val="1"/>
            <c:bubble3D val="0"/>
            <c:spPr>
              <a:solidFill>
                <a:srgbClr val="AEABAB"/>
              </a:solidFill>
            </c:spPr>
            <c:extLst>
              <c:ext xmlns:c16="http://schemas.microsoft.com/office/drawing/2014/chart" uri="{C3380CC4-5D6E-409C-BE32-E72D297353CC}">
                <c16:uniqueId val="{00000103-2993-41DE-A2CB-63102DE87051}"/>
              </c:ext>
            </c:extLst>
          </c:dPt>
          <c:dPt>
            <c:idx val="129"/>
            <c:invertIfNegative val="1"/>
            <c:bubble3D val="0"/>
            <c:spPr>
              <a:solidFill>
                <a:srgbClr val="AEABAB"/>
              </a:solidFill>
            </c:spPr>
            <c:extLst>
              <c:ext xmlns:c16="http://schemas.microsoft.com/office/drawing/2014/chart" uri="{C3380CC4-5D6E-409C-BE32-E72D297353CC}">
                <c16:uniqueId val="{00000105-2993-41DE-A2CB-63102DE87051}"/>
              </c:ext>
            </c:extLst>
          </c:dPt>
          <c:dPt>
            <c:idx val="130"/>
            <c:invertIfNegative val="1"/>
            <c:bubble3D val="0"/>
            <c:spPr>
              <a:solidFill>
                <a:srgbClr val="AEABAB"/>
              </a:solidFill>
            </c:spPr>
            <c:extLst>
              <c:ext xmlns:c16="http://schemas.microsoft.com/office/drawing/2014/chart" uri="{C3380CC4-5D6E-409C-BE32-E72D297353CC}">
                <c16:uniqueId val="{00000107-2993-41DE-A2CB-63102DE87051}"/>
              </c:ext>
            </c:extLst>
          </c:dPt>
          <c:dPt>
            <c:idx val="131"/>
            <c:invertIfNegative val="1"/>
            <c:bubble3D val="0"/>
            <c:spPr>
              <a:solidFill>
                <a:srgbClr val="AEABAB"/>
              </a:solidFill>
            </c:spPr>
            <c:extLst>
              <c:ext xmlns:c16="http://schemas.microsoft.com/office/drawing/2014/chart" uri="{C3380CC4-5D6E-409C-BE32-E72D297353CC}">
                <c16:uniqueId val="{00000109-2993-41DE-A2CB-63102DE87051}"/>
              </c:ext>
            </c:extLst>
          </c:dPt>
          <c:dPt>
            <c:idx val="132"/>
            <c:invertIfNegative val="1"/>
            <c:bubble3D val="0"/>
            <c:spPr>
              <a:solidFill>
                <a:srgbClr val="AEABAB"/>
              </a:solidFill>
            </c:spPr>
            <c:extLst>
              <c:ext xmlns:c16="http://schemas.microsoft.com/office/drawing/2014/chart" uri="{C3380CC4-5D6E-409C-BE32-E72D297353CC}">
                <c16:uniqueId val="{0000010B-2993-41DE-A2CB-63102DE87051}"/>
              </c:ext>
            </c:extLst>
          </c:dPt>
          <c:dPt>
            <c:idx val="133"/>
            <c:invertIfNegative val="1"/>
            <c:bubble3D val="0"/>
            <c:spPr>
              <a:solidFill>
                <a:srgbClr val="AEABAB"/>
              </a:solidFill>
            </c:spPr>
            <c:extLst>
              <c:ext xmlns:c16="http://schemas.microsoft.com/office/drawing/2014/chart" uri="{C3380CC4-5D6E-409C-BE32-E72D297353CC}">
                <c16:uniqueId val="{0000010D-2993-41DE-A2CB-63102DE87051}"/>
              </c:ext>
            </c:extLst>
          </c:dPt>
          <c:dPt>
            <c:idx val="134"/>
            <c:invertIfNegative val="1"/>
            <c:bubble3D val="0"/>
            <c:spPr>
              <a:solidFill>
                <a:srgbClr val="AEABAB"/>
              </a:solidFill>
            </c:spPr>
            <c:extLst>
              <c:ext xmlns:c16="http://schemas.microsoft.com/office/drawing/2014/chart" uri="{C3380CC4-5D6E-409C-BE32-E72D297353CC}">
                <c16:uniqueId val="{0000010F-2993-41DE-A2CB-63102DE87051}"/>
              </c:ext>
            </c:extLst>
          </c:dPt>
          <c:dPt>
            <c:idx val="135"/>
            <c:invertIfNegative val="1"/>
            <c:bubble3D val="0"/>
            <c:spPr>
              <a:solidFill>
                <a:srgbClr val="AEABAB"/>
              </a:solidFill>
            </c:spPr>
            <c:extLst>
              <c:ext xmlns:c16="http://schemas.microsoft.com/office/drawing/2014/chart" uri="{C3380CC4-5D6E-409C-BE32-E72D297353CC}">
                <c16:uniqueId val="{00000111-2993-41DE-A2CB-63102DE87051}"/>
              </c:ext>
            </c:extLst>
          </c:dPt>
          <c:dPt>
            <c:idx val="136"/>
            <c:invertIfNegative val="1"/>
            <c:bubble3D val="0"/>
            <c:spPr>
              <a:solidFill>
                <a:srgbClr val="AEABAB"/>
              </a:solidFill>
            </c:spPr>
            <c:extLst>
              <c:ext xmlns:c16="http://schemas.microsoft.com/office/drawing/2014/chart" uri="{C3380CC4-5D6E-409C-BE32-E72D297353CC}">
                <c16:uniqueId val="{00000113-2993-41DE-A2CB-63102DE87051}"/>
              </c:ext>
            </c:extLst>
          </c:dPt>
          <c:dPt>
            <c:idx val="137"/>
            <c:invertIfNegative val="1"/>
            <c:bubble3D val="0"/>
            <c:spPr>
              <a:solidFill>
                <a:srgbClr val="AEABAB"/>
              </a:solidFill>
            </c:spPr>
            <c:extLst>
              <c:ext xmlns:c16="http://schemas.microsoft.com/office/drawing/2014/chart" uri="{C3380CC4-5D6E-409C-BE32-E72D297353CC}">
                <c16:uniqueId val="{00000115-2993-41DE-A2CB-63102DE87051}"/>
              </c:ext>
            </c:extLst>
          </c:dPt>
          <c:dPt>
            <c:idx val="138"/>
            <c:invertIfNegative val="1"/>
            <c:bubble3D val="0"/>
            <c:spPr>
              <a:solidFill>
                <a:srgbClr val="AEABAB"/>
              </a:solidFill>
            </c:spPr>
            <c:extLst>
              <c:ext xmlns:c16="http://schemas.microsoft.com/office/drawing/2014/chart" uri="{C3380CC4-5D6E-409C-BE32-E72D297353CC}">
                <c16:uniqueId val="{00000117-2993-41DE-A2CB-63102DE87051}"/>
              </c:ext>
            </c:extLst>
          </c:dPt>
          <c:dPt>
            <c:idx val="139"/>
            <c:invertIfNegative val="1"/>
            <c:bubble3D val="0"/>
            <c:spPr>
              <a:solidFill>
                <a:srgbClr val="AEABAB"/>
              </a:solidFill>
            </c:spPr>
            <c:extLst>
              <c:ext xmlns:c16="http://schemas.microsoft.com/office/drawing/2014/chart" uri="{C3380CC4-5D6E-409C-BE32-E72D297353CC}">
                <c16:uniqueId val="{00000119-2993-41DE-A2CB-63102DE87051}"/>
              </c:ext>
            </c:extLst>
          </c:dPt>
          <c:dPt>
            <c:idx val="140"/>
            <c:invertIfNegative val="1"/>
            <c:bubble3D val="0"/>
            <c:spPr>
              <a:solidFill>
                <a:srgbClr val="AEABAB"/>
              </a:solidFill>
            </c:spPr>
            <c:extLst>
              <c:ext xmlns:c16="http://schemas.microsoft.com/office/drawing/2014/chart" uri="{C3380CC4-5D6E-409C-BE32-E72D297353CC}">
                <c16:uniqueId val="{0000011B-2993-41DE-A2CB-63102DE87051}"/>
              </c:ext>
            </c:extLst>
          </c:dPt>
          <c:dPt>
            <c:idx val="141"/>
            <c:invertIfNegative val="1"/>
            <c:bubble3D val="0"/>
            <c:spPr>
              <a:solidFill>
                <a:srgbClr val="AEABAB"/>
              </a:solidFill>
            </c:spPr>
            <c:extLst>
              <c:ext xmlns:c16="http://schemas.microsoft.com/office/drawing/2014/chart" uri="{C3380CC4-5D6E-409C-BE32-E72D297353CC}">
                <c16:uniqueId val="{0000011D-2993-41DE-A2CB-63102DE87051}"/>
              </c:ext>
            </c:extLst>
          </c:dPt>
          <c:dPt>
            <c:idx val="142"/>
            <c:invertIfNegative val="1"/>
            <c:bubble3D val="0"/>
            <c:spPr>
              <a:solidFill>
                <a:srgbClr val="AEABAB"/>
              </a:solidFill>
            </c:spPr>
            <c:extLst>
              <c:ext xmlns:c16="http://schemas.microsoft.com/office/drawing/2014/chart" uri="{C3380CC4-5D6E-409C-BE32-E72D297353CC}">
                <c16:uniqueId val="{0000011F-2993-41DE-A2CB-63102DE87051}"/>
              </c:ext>
            </c:extLst>
          </c:dPt>
          <c:dPt>
            <c:idx val="143"/>
            <c:invertIfNegative val="1"/>
            <c:bubble3D val="0"/>
            <c:spPr>
              <a:solidFill>
                <a:srgbClr val="AEABAB"/>
              </a:solidFill>
            </c:spPr>
            <c:extLst>
              <c:ext xmlns:c16="http://schemas.microsoft.com/office/drawing/2014/chart" uri="{C3380CC4-5D6E-409C-BE32-E72D297353CC}">
                <c16:uniqueId val="{00000121-2993-41DE-A2CB-63102DE87051}"/>
              </c:ext>
            </c:extLst>
          </c:dPt>
          <c:dPt>
            <c:idx val="144"/>
            <c:invertIfNegative val="1"/>
            <c:bubble3D val="0"/>
            <c:spPr>
              <a:solidFill>
                <a:srgbClr val="AEABAB"/>
              </a:solidFill>
            </c:spPr>
            <c:extLst>
              <c:ext xmlns:c16="http://schemas.microsoft.com/office/drawing/2014/chart" uri="{C3380CC4-5D6E-409C-BE32-E72D297353CC}">
                <c16:uniqueId val="{00000123-2993-41DE-A2CB-63102DE87051}"/>
              </c:ext>
            </c:extLst>
          </c:dPt>
          <c:dPt>
            <c:idx val="145"/>
            <c:invertIfNegative val="1"/>
            <c:bubble3D val="0"/>
            <c:spPr>
              <a:solidFill>
                <a:srgbClr val="AEABAB"/>
              </a:solidFill>
            </c:spPr>
            <c:extLst>
              <c:ext xmlns:c16="http://schemas.microsoft.com/office/drawing/2014/chart" uri="{C3380CC4-5D6E-409C-BE32-E72D297353CC}">
                <c16:uniqueId val="{00000125-2993-41DE-A2CB-63102DE87051}"/>
              </c:ext>
            </c:extLst>
          </c:dPt>
          <c:dPt>
            <c:idx val="146"/>
            <c:invertIfNegative val="1"/>
            <c:bubble3D val="0"/>
            <c:spPr>
              <a:solidFill>
                <a:srgbClr val="AEABAB"/>
              </a:solidFill>
            </c:spPr>
            <c:extLst>
              <c:ext xmlns:c16="http://schemas.microsoft.com/office/drawing/2014/chart" uri="{C3380CC4-5D6E-409C-BE32-E72D297353CC}">
                <c16:uniqueId val="{00000127-2993-41DE-A2CB-63102DE87051}"/>
              </c:ext>
            </c:extLst>
          </c:dPt>
          <c:dPt>
            <c:idx val="147"/>
            <c:invertIfNegative val="1"/>
            <c:bubble3D val="0"/>
            <c:spPr>
              <a:solidFill>
                <a:srgbClr val="AEABAB"/>
              </a:solidFill>
            </c:spPr>
            <c:extLst>
              <c:ext xmlns:c16="http://schemas.microsoft.com/office/drawing/2014/chart" uri="{C3380CC4-5D6E-409C-BE32-E72D297353CC}">
                <c16:uniqueId val="{00000129-2993-41DE-A2CB-63102DE87051}"/>
              </c:ext>
            </c:extLst>
          </c:dPt>
          <c:dPt>
            <c:idx val="148"/>
            <c:invertIfNegative val="1"/>
            <c:bubble3D val="0"/>
            <c:spPr>
              <a:solidFill>
                <a:srgbClr val="AEABAB"/>
              </a:solidFill>
            </c:spPr>
            <c:extLst>
              <c:ext xmlns:c16="http://schemas.microsoft.com/office/drawing/2014/chart" uri="{C3380CC4-5D6E-409C-BE32-E72D297353CC}">
                <c16:uniqueId val="{0000012B-2993-41DE-A2CB-63102DE87051}"/>
              </c:ext>
            </c:extLst>
          </c:dPt>
          <c:dPt>
            <c:idx val="149"/>
            <c:invertIfNegative val="1"/>
            <c:bubble3D val="0"/>
            <c:spPr>
              <a:solidFill>
                <a:srgbClr val="AEABAB"/>
              </a:solidFill>
            </c:spPr>
            <c:extLst>
              <c:ext xmlns:c16="http://schemas.microsoft.com/office/drawing/2014/chart" uri="{C3380CC4-5D6E-409C-BE32-E72D297353CC}">
                <c16:uniqueId val="{0000012D-2993-41DE-A2CB-63102DE87051}"/>
              </c:ext>
            </c:extLst>
          </c:dPt>
          <c:dPt>
            <c:idx val="150"/>
            <c:invertIfNegative val="1"/>
            <c:bubble3D val="0"/>
            <c:spPr>
              <a:solidFill>
                <a:srgbClr val="AEABAB"/>
              </a:solidFill>
            </c:spPr>
            <c:extLst>
              <c:ext xmlns:c16="http://schemas.microsoft.com/office/drawing/2014/chart" uri="{C3380CC4-5D6E-409C-BE32-E72D297353CC}">
                <c16:uniqueId val="{0000012F-2993-41DE-A2CB-63102DE87051}"/>
              </c:ext>
            </c:extLst>
          </c:dPt>
          <c:dPt>
            <c:idx val="151"/>
            <c:invertIfNegative val="1"/>
            <c:bubble3D val="0"/>
            <c:spPr>
              <a:solidFill>
                <a:srgbClr val="AEABAB"/>
              </a:solidFill>
            </c:spPr>
            <c:extLst>
              <c:ext xmlns:c16="http://schemas.microsoft.com/office/drawing/2014/chart" uri="{C3380CC4-5D6E-409C-BE32-E72D297353CC}">
                <c16:uniqueId val="{00000131-2993-41DE-A2CB-63102DE87051}"/>
              </c:ext>
            </c:extLst>
          </c:dPt>
          <c:dPt>
            <c:idx val="152"/>
            <c:invertIfNegative val="1"/>
            <c:bubble3D val="0"/>
            <c:spPr>
              <a:solidFill>
                <a:srgbClr val="AEABAB"/>
              </a:solidFill>
            </c:spPr>
            <c:extLst>
              <c:ext xmlns:c16="http://schemas.microsoft.com/office/drawing/2014/chart" uri="{C3380CC4-5D6E-409C-BE32-E72D297353CC}">
                <c16:uniqueId val="{00000133-2993-41DE-A2CB-63102DE87051}"/>
              </c:ext>
            </c:extLst>
          </c:dPt>
          <c:dPt>
            <c:idx val="153"/>
            <c:invertIfNegative val="1"/>
            <c:bubble3D val="0"/>
            <c:spPr>
              <a:solidFill>
                <a:srgbClr val="AEABAB"/>
              </a:solidFill>
            </c:spPr>
            <c:extLst>
              <c:ext xmlns:c16="http://schemas.microsoft.com/office/drawing/2014/chart" uri="{C3380CC4-5D6E-409C-BE32-E72D297353CC}">
                <c16:uniqueId val="{00000135-2993-41DE-A2CB-63102DE87051}"/>
              </c:ext>
            </c:extLst>
          </c:dPt>
          <c:dPt>
            <c:idx val="154"/>
            <c:invertIfNegative val="1"/>
            <c:bubble3D val="0"/>
            <c:spPr>
              <a:solidFill>
                <a:srgbClr val="AEABAB"/>
              </a:solidFill>
            </c:spPr>
            <c:extLst>
              <c:ext xmlns:c16="http://schemas.microsoft.com/office/drawing/2014/chart" uri="{C3380CC4-5D6E-409C-BE32-E72D297353CC}">
                <c16:uniqueId val="{00000137-2993-41DE-A2CB-63102DE87051}"/>
              </c:ext>
            </c:extLst>
          </c:dPt>
          <c:dPt>
            <c:idx val="155"/>
            <c:invertIfNegative val="1"/>
            <c:bubble3D val="0"/>
            <c:spPr>
              <a:solidFill>
                <a:srgbClr val="AEABAB"/>
              </a:solidFill>
            </c:spPr>
            <c:extLst>
              <c:ext xmlns:c16="http://schemas.microsoft.com/office/drawing/2014/chart" uri="{C3380CC4-5D6E-409C-BE32-E72D297353CC}">
                <c16:uniqueId val="{00000139-2993-41DE-A2CB-63102DE87051}"/>
              </c:ext>
            </c:extLst>
          </c:dPt>
          <c:dPt>
            <c:idx val="156"/>
            <c:invertIfNegative val="1"/>
            <c:bubble3D val="0"/>
            <c:spPr>
              <a:solidFill>
                <a:srgbClr val="AEABAB"/>
              </a:solidFill>
            </c:spPr>
            <c:extLst>
              <c:ext xmlns:c16="http://schemas.microsoft.com/office/drawing/2014/chart" uri="{C3380CC4-5D6E-409C-BE32-E72D297353CC}">
                <c16:uniqueId val="{0000013B-2993-41DE-A2CB-63102DE87051}"/>
              </c:ext>
            </c:extLst>
          </c:dPt>
          <c:dPt>
            <c:idx val="157"/>
            <c:invertIfNegative val="1"/>
            <c:bubble3D val="0"/>
            <c:spPr>
              <a:solidFill>
                <a:srgbClr val="AEABAB"/>
              </a:solidFill>
            </c:spPr>
            <c:extLst>
              <c:ext xmlns:c16="http://schemas.microsoft.com/office/drawing/2014/chart" uri="{C3380CC4-5D6E-409C-BE32-E72D297353CC}">
                <c16:uniqueId val="{0000013D-2993-41DE-A2CB-63102DE87051}"/>
              </c:ext>
            </c:extLst>
          </c:dPt>
          <c:dPt>
            <c:idx val="158"/>
            <c:invertIfNegative val="1"/>
            <c:bubble3D val="0"/>
            <c:spPr>
              <a:solidFill>
                <a:srgbClr val="AEABAB"/>
              </a:solidFill>
            </c:spPr>
            <c:extLst>
              <c:ext xmlns:c16="http://schemas.microsoft.com/office/drawing/2014/chart" uri="{C3380CC4-5D6E-409C-BE32-E72D297353CC}">
                <c16:uniqueId val="{0000013F-2993-41DE-A2CB-63102DE87051}"/>
              </c:ext>
            </c:extLst>
          </c:dPt>
          <c:dPt>
            <c:idx val="159"/>
            <c:invertIfNegative val="1"/>
            <c:bubble3D val="0"/>
            <c:spPr>
              <a:solidFill>
                <a:srgbClr val="AEABAB"/>
              </a:solidFill>
            </c:spPr>
            <c:extLst>
              <c:ext xmlns:c16="http://schemas.microsoft.com/office/drawing/2014/chart" uri="{C3380CC4-5D6E-409C-BE32-E72D297353CC}">
                <c16:uniqueId val="{00000141-2993-41DE-A2CB-63102DE87051}"/>
              </c:ext>
            </c:extLst>
          </c:dPt>
          <c:dPt>
            <c:idx val="160"/>
            <c:invertIfNegative val="1"/>
            <c:bubble3D val="0"/>
            <c:spPr>
              <a:solidFill>
                <a:srgbClr val="AEABAB"/>
              </a:solidFill>
            </c:spPr>
            <c:extLst>
              <c:ext xmlns:c16="http://schemas.microsoft.com/office/drawing/2014/chart" uri="{C3380CC4-5D6E-409C-BE32-E72D297353CC}">
                <c16:uniqueId val="{00000143-2993-41DE-A2CB-63102DE87051}"/>
              </c:ext>
            </c:extLst>
          </c:dPt>
          <c:dPt>
            <c:idx val="161"/>
            <c:invertIfNegative val="1"/>
            <c:bubble3D val="0"/>
            <c:spPr>
              <a:solidFill>
                <a:srgbClr val="AEABAB"/>
              </a:solidFill>
            </c:spPr>
            <c:extLst>
              <c:ext xmlns:c16="http://schemas.microsoft.com/office/drawing/2014/chart" uri="{C3380CC4-5D6E-409C-BE32-E72D297353CC}">
                <c16:uniqueId val="{00000145-2993-41DE-A2CB-63102DE87051}"/>
              </c:ext>
            </c:extLst>
          </c:dPt>
          <c:dPt>
            <c:idx val="162"/>
            <c:invertIfNegative val="1"/>
            <c:bubble3D val="0"/>
            <c:spPr>
              <a:solidFill>
                <a:srgbClr val="AEABAB"/>
              </a:solidFill>
            </c:spPr>
            <c:extLst>
              <c:ext xmlns:c16="http://schemas.microsoft.com/office/drawing/2014/chart" uri="{C3380CC4-5D6E-409C-BE32-E72D297353CC}">
                <c16:uniqueId val="{00000147-2993-41DE-A2CB-63102DE87051}"/>
              </c:ext>
            </c:extLst>
          </c:dPt>
          <c:dPt>
            <c:idx val="163"/>
            <c:invertIfNegative val="1"/>
            <c:bubble3D val="0"/>
            <c:spPr>
              <a:solidFill>
                <a:srgbClr val="AEABAB"/>
              </a:solidFill>
            </c:spPr>
            <c:extLst>
              <c:ext xmlns:c16="http://schemas.microsoft.com/office/drawing/2014/chart" uri="{C3380CC4-5D6E-409C-BE32-E72D297353CC}">
                <c16:uniqueId val="{00000149-2993-41DE-A2CB-63102DE87051}"/>
              </c:ext>
            </c:extLst>
          </c:dPt>
          <c:dPt>
            <c:idx val="164"/>
            <c:invertIfNegative val="1"/>
            <c:bubble3D val="0"/>
            <c:spPr>
              <a:solidFill>
                <a:srgbClr val="AEABAB"/>
              </a:solidFill>
            </c:spPr>
            <c:extLst>
              <c:ext xmlns:c16="http://schemas.microsoft.com/office/drawing/2014/chart" uri="{C3380CC4-5D6E-409C-BE32-E72D297353CC}">
                <c16:uniqueId val="{0000014B-2993-41DE-A2CB-63102DE87051}"/>
              </c:ext>
            </c:extLst>
          </c:dPt>
          <c:dPt>
            <c:idx val="165"/>
            <c:invertIfNegative val="1"/>
            <c:bubble3D val="0"/>
            <c:spPr>
              <a:solidFill>
                <a:srgbClr val="AEABAB"/>
              </a:solidFill>
            </c:spPr>
            <c:extLst>
              <c:ext xmlns:c16="http://schemas.microsoft.com/office/drawing/2014/chart" uri="{C3380CC4-5D6E-409C-BE32-E72D297353CC}">
                <c16:uniqueId val="{0000014D-2993-41DE-A2CB-63102DE87051}"/>
              </c:ext>
            </c:extLst>
          </c:dPt>
          <c:dPt>
            <c:idx val="166"/>
            <c:invertIfNegative val="1"/>
            <c:bubble3D val="0"/>
            <c:spPr>
              <a:solidFill>
                <a:srgbClr val="AEABAB"/>
              </a:solidFill>
            </c:spPr>
            <c:extLst>
              <c:ext xmlns:c16="http://schemas.microsoft.com/office/drawing/2014/chart" uri="{C3380CC4-5D6E-409C-BE32-E72D297353CC}">
                <c16:uniqueId val="{0000014F-2993-41DE-A2CB-63102DE87051}"/>
              </c:ext>
            </c:extLst>
          </c:dPt>
          <c:dPt>
            <c:idx val="167"/>
            <c:invertIfNegative val="1"/>
            <c:bubble3D val="0"/>
            <c:spPr>
              <a:solidFill>
                <a:srgbClr val="AEABAB"/>
              </a:solidFill>
            </c:spPr>
            <c:extLst>
              <c:ext xmlns:c16="http://schemas.microsoft.com/office/drawing/2014/chart" uri="{C3380CC4-5D6E-409C-BE32-E72D297353CC}">
                <c16:uniqueId val="{00000151-2993-41DE-A2CB-63102DE87051}"/>
              </c:ext>
            </c:extLst>
          </c:dPt>
          <c:dPt>
            <c:idx val="168"/>
            <c:invertIfNegative val="1"/>
            <c:bubble3D val="0"/>
            <c:spPr>
              <a:solidFill>
                <a:srgbClr val="AEABAB"/>
              </a:solidFill>
            </c:spPr>
            <c:extLst>
              <c:ext xmlns:c16="http://schemas.microsoft.com/office/drawing/2014/chart" uri="{C3380CC4-5D6E-409C-BE32-E72D297353CC}">
                <c16:uniqueId val="{00000153-2993-41DE-A2CB-63102DE87051}"/>
              </c:ext>
            </c:extLst>
          </c:dPt>
          <c:dPt>
            <c:idx val="169"/>
            <c:invertIfNegative val="1"/>
            <c:bubble3D val="0"/>
            <c:spPr>
              <a:solidFill>
                <a:srgbClr val="AEABAB"/>
              </a:solidFill>
            </c:spPr>
            <c:extLst>
              <c:ext xmlns:c16="http://schemas.microsoft.com/office/drawing/2014/chart" uri="{C3380CC4-5D6E-409C-BE32-E72D297353CC}">
                <c16:uniqueId val="{00000155-2993-41DE-A2CB-63102DE87051}"/>
              </c:ext>
            </c:extLst>
          </c:dPt>
          <c:dPt>
            <c:idx val="170"/>
            <c:invertIfNegative val="1"/>
            <c:bubble3D val="0"/>
            <c:spPr>
              <a:solidFill>
                <a:srgbClr val="AEABAB"/>
              </a:solidFill>
            </c:spPr>
            <c:extLst>
              <c:ext xmlns:c16="http://schemas.microsoft.com/office/drawing/2014/chart" uri="{C3380CC4-5D6E-409C-BE32-E72D297353CC}">
                <c16:uniqueId val="{00000157-2993-41DE-A2CB-63102DE87051}"/>
              </c:ext>
            </c:extLst>
          </c:dPt>
          <c:dPt>
            <c:idx val="171"/>
            <c:invertIfNegative val="1"/>
            <c:bubble3D val="0"/>
            <c:spPr>
              <a:solidFill>
                <a:srgbClr val="AEABAB"/>
              </a:solidFill>
            </c:spPr>
            <c:extLst>
              <c:ext xmlns:c16="http://schemas.microsoft.com/office/drawing/2014/chart" uri="{C3380CC4-5D6E-409C-BE32-E72D297353CC}">
                <c16:uniqueId val="{00000159-2993-41DE-A2CB-63102DE87051}"/>
              </c:ext>
            </c:extLst>
          </c:dPt>
          <c:dPt>
            <c:idx val="172"/>
            <c:invertIfNegative val="1"/>
            <c:bubble3D val="0"/>
            <c:spPr>
              <a:solidFill>
                <a:srgbClr val="AEABAB"/>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dPt>
            <c:idx val="210"/>
            <c:invertIfNegative val="1"/>
            <c:bubble3D val="0"/>
            <c:spPr>
              <a:solidFill>
                <a:srgbClr val="AEABAB"/>
              </a:solidFill>
            </c:spPr>
            <c:extLst>
              <c:ext xmlns:c16="http://schemas.microsoft.com/office/drawing/2014/chart" uri="{C3380CC4-5D6E-409C-BE32-E72D297353CC}">
                <c16:uniqueId val="{000001A7-E92C-4D5F-9F0E-D909CEB0E92A}"/>
              </c:ext>
            </c:extLst>
          </c:dPt>
          <c:dPt>
            <c:idx val="211"/>
            <c:invertIfNegative val="1"/>
            <c:bubble3D val="0"/>
            <c:spPr>
              <a:solidFill>
                <a:srgbClr val="AEABAB"/>
              </a:solidFill>
            </c:spPr>
            <c:extLst>
              <c:ext xmlns:c16="http://schemas.microsoft.com/office/drawing/2014/chart" uri="{C3380CC4-5D6E-409C-BE32-E72D297353CC}">
                <c16:uniqueId val="{000001A9-E92C-4D5F-9F0E-D909CEB0E92A}"/>
              </c:ext>
            </c:extLst>
          </c:dPt>
          <c:dPt>
            <c:idx val="212"/>
            <c:invertIfNegative val="1"/>
            <c:bubble3D val="0"/>
            <c:spPr>
              <a:solidFill>
                <a:srgbClr val="AEABAB"/>
              </a:solidFill>
            </c:spPr>
            <c:extLst>
              <c:ext xmlns:c16="http://schemas.microsoft.com/office/drawing/2014/chart" uri="{C3380CC4-5D6E-409C-BE32-E72D297353CC}">
                <c16:uniqueId val="{000001AB-E92C-4D5F-9F0E-D909CEB0E92A}"/>
              </c:ext>
            </c:extLst>
          </c:dPt>
          <c:dPt>
            <c:idx val="213"/>
            <c:invertIfNegative val="1"/>
            <c:bubble3D val="0"/>
            <c:spPr>
              <a:solidFill>
                <a:srgbClr val="AEABAB"/>
              </a:solidFill>
            </c:spPr>
            <c:extLst>
              <c:ext xmlns:c16="http://schemas.microsoft.com/office/drawing/2014/chart" uri="{C3380CC4-5D6E-409C-BE32-E72D297353CC}">
                <c16:uniqueId val="{000001AD-E92C-4D5F-9F0E-D909CEB0E92A}"/>
              </c:ext>
            </c:extLst>
          </c:dPt>
          <c:dPt>
            <c:idx val="214"/>
            <c:invertIfNegative val="1"/>
            <c:bubble3D val="0"/>
            <c:spPr>
              <a:solidFill>
                <a:srgbClr val="AEABAB"/>
              </a:solidFill>
            </c:spPr>
            <c:extLst>
              <c:ext xmlns:c16="http://schemas.microsoft.com/office/drawing/2014/chart" uri="{C3380CC4-5D6E-409C-BE32-E72D297353CC}">
                <c16:uniqueId val="{000001AF-E92C-4D5F-9F0E-D909CEB0E92A}"/>
              </c:ext>
            </c:extLst>
          </c:dPt>
          <c:dPt>
            <c:idx val="215"/>
            <c:invertIfNegative val="1"/>
            <c:bubble3D val="0"/>
            <c:spPr>
              <a:solidFill>
                <a:srgbClr val="AEABAB"/>
              </a:solidFill>
            </c:spPr>
            <c:extLst>
              <c:ext xmlns:c16="http://schemas.microsoft.com/office/drawing/2014/chart" uri="{C3380CC4-5D6E-409C-BE32-E72D297353CC}">
                <c16:uniqueId val="{000001B1-E92C-4D5F-9F0E-D909CEB0E92A}"/>
              </c:ext>
            </c:extLst>
          </c:dPt>
          <c:dPt>
            <c:idx val="216"/>
            <c:invertIfNegative val="1"/>
            <c:bubble3D val="0"/>
            <c:spPr>
              <a:solidFill>
                <a:srgbClr val="AEABAB"/>
              </a:solidFill>
            </c:spPr>
            <c:extLst>
              <c:ext xmlns:c16="http://schemas.microsoft.com/office/drawing/2014/chart" uri="{C3380CC4-5D6E-409C-BE32-E72D297353CC}">
                <c16:uniqueId val="{000001B3-E92C-4D5F-9F0E-D909CEB0E92A}"/>
              </c:ext>
            </c:extLst>
          </c:dPt>
          <c:dPt>
            <c:idx val="217"/>
            <c:invertIfNegative val="1"/>
            <c:bubble3D val="0"/>
            <c:spPr>
              <a:solidFill>
                <a:srgbClr val="AEABAB"/>
              </a:solidFill>
            </c:spPr>
            <c:extLst>
              <c:ext xmlns:c16="http://schemas.microsoft.com/office/drawing/2014/chart" uri="{C3380CC4-5D6E-409C-BE32-E72D297353CC}">
                <c16:uniqueId val="{000001B5-E92C-4D5F-9F0E-D909CEB0E92A}"/>
              </c:ext>
            </c:extLst>
          </c:dPt>
          <c:dPt>
            <c:idx val="218"/>
            <c:invertIfNegative val="1"/>
            <c:bubble3D val="0"/>
            <c:spPr>
              <a:solidFill>
                <a:srgbClr val="AEABAB"/>
              </a:solidFill>
            </c:spPr>
            <c:extLst>
              <c:ext xmlns:c16="http://schemas.microsoft.com/office/drawing/2014/chart" uri="{C3380CC4-5D6E-409C-BE32-E72D297353CC}">
                <c16:uniqueId val="{000001B7-E92C-4D5F-9F0E-D909CEB0E92A}"/>
              </c:ext>
            </c:extLst>
          </c:dPt>
          <c:dPt>
            <c:idx val="219"/>
            <c:invertIfNegative val="1"/>
            <c:bubble3D val="0"/>
            <c:spPr>
              <a:solidFill>
                <a:srgbClr val="AEABAB"/>
              </a:solidFill>
            </c:spPr>
            <c:extLst>
              <c:ext xmlns:c16="http://schemas.microsoft.com/office/drawing/2014/chart" uri="{C3380CC4-5D6E-409C-BE32-E72D297353CC}">
                <c16:uniqueId val="{000001B9-E92C-4D5F-9F0E-D909CEB0E92A}"/>
              </c:ext>
            </c:extLst>
          </c:dPt>
          <c:dPt>
            <c:idx val="220"/>
            <c:invertIfNegative val="1"/>
            <c:bubble3D val="0"/>
            <c:spPr>
              <a:solidFill>
                <a:srgbClr val="AEABAB"/>
              </a:solidFill>
            </c:spPr>
            <c:extLst>
              <c:ext xmlns:c16="http://schemas.microsoft.com/office/drawing/2014/chart" uri="{C3380CC4-5D6E-409C-BE32-E72D297353CC}">
                <c16:uniqueId val="{000001BB-E92C-4D5F-9F0E-D909CEB0E92A}"/>
              </c:ext>
            </c:extLst>
          </c:dPt>
          <c:dPt>
            <c:idx val="221"/>
            <c:invertIfNegative val="1"/>
            <c:bubble3D val="0"/>
            <c:spPr>
              <a:solidFill>
                <a:srgbClr val="AEABAB"/>
              </a:solidFill>
            </c:spPr>
            <c:extLst>
              <c:ext xmlns:c16="http://schemas.microsoft.com/office/drawing/2014/chart" uri="{C3380CC4-5D6E-409C-BE32-E72D297353CC}">
                <c16:uniqueId val="{000001BD-E92C-4D5F-9F0E-D909CEB0E92A}"/>
              </c:ext>
            </c:extLst>
          </c:dPt>
          <c:dPt>
            <c:idx val="222"/>
            <c:invertIfNegative val="1"/>
            <c:bubble3D val="0"/>
            <c:spPr>
              <a:solidFill>
                <a:srgbClr val="AEABAB"/>
              </a:solidFill>
            </c:spPr>
            <c:extLst>
              <c:ext xmlns:c16="http://schemas.microsoft.com/office/drawing/2014/chart" uri="{C3380CC4-5D6E-409C-BE32-E72D297353CC}">
                <c16:uniqueId val="{000001BF-E92C-4D5F-9F0E-D909CEB0E92A}"/>
              </c:ext>
            </c:extLst>
          </c:dPt>
          <c:dPt>
            <c:idx val="223"/>
            <c:invertIfNegative val="1"/>
            <c:bubble3D val="0"/>
            <c:spPr>
              <a:solidFill>
                <a:srgbClr val="AEABAB"/>
              </a:solidFill>
            </c:spPr>
            <c:extLst>
              <c:ext xmlns:c16="http://schemas.microsoft.com/office/drawing/2014/chart" uri="{C3380CC4-5D6E-409C-BE32-E72D297353CC}">
                <c16:uniqueId val="{000001C1-E92C-4D5F-9F0E-D909CEB0E92A}"/>
              </c:ext>
            </c:extLst>
          </c:dPt>
          <c:dPt>
            <c:idx val="224"/>
            <c:invertIfNegative val="1"/>
            <c:bubble3D val="0"/>
            <c:spPr>
              <a:solidFill>
                <a:srgbClr val="AEABAB"/>
              </a:solidFill>
            </c:spPr>
            <c:extLst>
              <c:ext xmlns:c16="http://schemas.microsoft.com/office/drawing/2014/chart" uri="{C3380CC4-5D6E-409C-BE32-E72D297353CC}">
                <c16:uniqueId val="{000001C3-E92C-4D5F-9F0E-D909CEB0E92A}"/>
              </c:ext>
            </c:extLst>
          </c:dPt>
          <c:dPt>
            <c:idx val="225"/>
            <c:invertIfNegative val="1"/>
            <c:bubble3D val="0"/>
            <c:spPr>
              <a:solidFill>
                <a:srgbClr val="AEABAB"/>
              </a:solidFill>
            </c:spPr>
            <c:extLst>
              <c:ext xmlns:c16="http://schemas.microsoft.com/office/drawing/2014/chart" uri="{C3380CC4-5D6E-409C-BE32-E72D297353CC}">
                <c16:uniqueId val="{000001C5-E92C-4D5F-9F0E-D909CEB0E92A}"/>
              </c:ext>
            </c:extLst>
          </c:dPt>
          <c:dPt>
            <c:idx val="226"/>
            <c:invertIfNegative val="1"/>
            <c:bubble3D val="0"/>
            <c:spPr>
              <a:solidFill>
                <a:srgbClr val="AEABAB"/>
              </a:solidFill>
            </c:spPr>
            <c:extLst>
              <c:ext xmlns:c16="http://schemas.microsoft.com/office/drawing/2014/chart" uri="{C3380CC4-5D6E-409C-BE32-E72D297353CC}">
                <c16:uniqueId val="{000001C7-E92C-4D5F-9F0E-D909CEB0E92A}"/>
              </c:ext>
            </c:extLst>
          </c:dPt>
          <c:dPt>
            <c:idx val="227"/>
            <c:invertIfNegative val="1"/>
            <c:bubble3D val="0"/>
            <c:spPr>
              <a:solidFill>
                <a:srgbClr val="AEABAB"/>
              </a:solidFill>
            </c:spPr>
            <c:extLst>
              <c:ext xmlns:c16="http://schemas.microsoft.com/office/drawing/2014/chart" uri="{C3380CC4-5D6E-409C-BE32-E72D297353CC}">
                <c16:uniqueId val="{000001C9-E92C-4D5F-9F0E-D909CEB0E92A}"/>
              </c:ext>
            </c:extLst>
          </c:dPt>
          <c:dPt>
            <c:idx val="228"/>
            <c:invertIfNegative val="1"/>
            <c:bubble3D val="0"/>
            <c:spPr>
              <a:solidFill>
                <a:srgbClr val="AEABAB"/>
              </a:solidFill>
            </c:spPr>
            <c:extLst>
              <c:ext xmlns:c16="http://schemas.microsoft.com/office/drawing/2014/chart" uri="{C3380CC4-5D6E-409C-BE32-E72D297353CC}">
                <c16:uniqueId val="{000001CB-E92C-4D5F-9F0E-D909CEB0E92A}"/>
              </c:ext>
            </c:extLst>
          </c:dPt>
          <c:dPt>
            <c:idx val="229"/>
            <c:invertIfNegative val="1"/>
            <c:bubble3D val="0"/>
            <c:spPr>
              <a:solidFill>
                <a:srgbClr val="AEABAB"/>
              </a:solidFill>
            </c:spPr>
            <c:extLst>
              <c:ext xmlns:c16="http://schemas.microsoft.com/office/drawing/2014/chart" uri="{C3380CC4-5D6E-409C-BE32-E72D297353CC}">
                <c16:uniqueId val="{000001CD-E92C-4D5F-9F0E-D909CEB0E92A}"/>
              </c:ext>
            </c:extLst>
          </c:dPt>
          <c:dPt>
            <c:idx val="230"/>
            <c:invertIfNegative val="1"/>
            <c:bubble3D val="0"/>
            <c:spPr>
              <a:solidFill>
                <a:srgbClr val="AEABAB"/>
              </a:solidFill>
            </c:spPr>
            <c:extLst>
              <c:ext xmlns:c16="http://schemas.microsoft.com/office/drawing/2014/chart" uri="{C3380CC4-5D6E-409C-BE32-E72D297353CC}">
                <c16:uniqueId val="{000001CF-E92C-4D5F-9F0E-D909CEB0E92A}"/>
              </c:ext>
            </c:extLst>
          </c:dPt>
          <c:dPt>
            <c:idx val="231"/>
            <c:invertIfNegative val="1"/>
            <c:bubble3D val="0"/>
            <c:spPr>
              <a:solidFill>
                <a:srgbClr val="AEABAB"/>
              </a:solidFill>
            </c:spPr>
            <c:extLst>
              <c:ext xmlns:c16="http://schemas.microsoft.com/office/drawing/2014/chart" uri="{C3380CC4-5D6E-409C-BE32-E72D297353CC}">
                <c16:uniqueId val="{000001D1-E92C-4D5F-9F0E-D909CEB0E92A}"/>
              </c:ext>
            </c:extLst>
          </c:dPt>
          <c:dPt>
            <c:idx val="232"/>
            <c:invertIfNegative val="1"/>
            <c:bubble3D val="0"/>
            <c:spPr>
              <a:solidFill>
                <a:srgbClr val="AEABAB"/>
              </a:solidFill>
            </c:spPr>
            <c:extLst>
              <c:ext xmlns:c16="http://schemas.microsoft.com/office/drawing/2014/chart" uri="{C3380CC4-5D6E-409C-BE32-E72D297353CC}">
                <c16:uniqueId val="{000001D3-E92C-4D5F-9F0E-D909CEB0E92A}"/>
              </c:ext>
            </c:extLst>
          </c:dPt>
          <c:dPt>
            <c:idx val="233"/>
            <c:invertIfNegative val="1"/>
            <c:bubble3D val="0"/>
            <c:spPr>
              <a:solidFill>
                <a:srgbClr val="AEABAB"/>
              </a:solidFill>
            </c:spPr>
            <c:extLst>
              <c:ext xmlns:c16="http://schemas.microsoft.com/office/drawing/2014/chart" uri="{C3380CC4-5D6E-409C-BE32-E72D297353CC}">
                <c16:uniqueId val="{000001D5-E92C-4D5F-9F0E-D909CEB0E92A}"/>
              </c:ext>
            </c:extLst>
          </c:dPt>
          <c:dPt>
            <c:idx val="234"/>
            <c:invertIfNegative val="1"/>
            <c:bubble3D val="0"/>
            <c:spPr>
              <a:solidFill>
                <a:srgbClr val="AEABAB"/>
              </a:solidFill>
            </c:spPr>
            <c:extLst>
              <c:ext xmlns:c16="http://schemas.microsoft.com/office/drawing/2014/chart" uri="{C3380CC4-5D6E-409C-BE32-E72D297353CC}">
                <c16:uniqueId val="{000001D7-E92C-4D5F-9F0E-D909CEB0E92A}"/>
              </c:ext>
            </c:extLst>
          </c:dPt>
          <c:dPt>
            <c:idx val="235"/>
            <c:invertIfNegative val="1"/>
            <c:bubble3D val="0"/>
            <c:spPr>
              <a:solidFill>
                <a:srgbClr val="AEABAB"/>
              </a:solidFill>
            </c:spPr>
            <c:extLst>
              <c:ext xmlns:c16="http://schemas.microsoft.com/office/drawing/2014/chart" uri="{C3380CC4-5D6E-409C-BE32-E72D297353CC}">
                <c16:uniqueId val="{000001D9-E92C-4D5F-9F0E-D909CEB0E92A}"/>
              </c:ext>
            </c:extLst>
          </c:dPt>
          <c:dPt>
            <c:idx val="236"/>
            <c:invertIfNegative val="1"/>
            <c:bubble3D val="0"/>
            <c:spPr>
              <a:solidFill>
                <a:srgbClr val="AEABAB"/>
              </a:solidFill>
            </c:spPr>
            <c:extLst>
              <c:ext xmlns:c16="http://schemas.microsoft.com/office/drawing/2014/chart" uri="{C3380CC4-5D6E-409C-BE32-E72D297353CC}">
                <c16:uniqueId val="{000001DB-E92C-4D5F-9F0E-D909CEB0E92A}"/>
              </c:ext>
            </c:extLst>
          </c:dPt>
          <c:dPt>
            <c:idx val="237"/>
            <c:invertIfNegative val="1"/>
            <c:bubble3D val="0"/>
            <c:spPr>
              <a:solidFill>
                <a:srgbClr val="AEABAB"/>
              </a:solidFill>
            </c:spPr>
            <c:extLst>
              <c:ext xmlns:c16="http://schemas.microsoft.com/office/drawing/2014/chart" uri="{C3380CC4-5D6E-409C-BE32-E72D297353CC}">
                <c16:uniqueId val="{000001DD-E92C-4D5F-9F0E-D909CEB0E92A}"/>
              </c:ext>
            </c:extLst>
          </c:dPt>
          <c:dPt>
            <c:idx val="238"/>
            <c:invertIfNegative val="1"/>
            <c:bubble3D val="0"/>
            <c:spPr>
              <a:solidFill>
                <a:srgbClr val="AEABAB"/>
              </a:solidFill>
            </c:spPr>
            <c:extLst>
              <c:ext xmlns:c16="http://schemas.microsoft.com/office/drawing/2014/chart" uri="{C3380CC4-5D6E-409C-BE32-E72D297353CC}">
                <c16:uniqueId val="{000001DF-E92C-4D5F-9F0E-D909CEB0E92A}"/>
              </c:ext>
            </c:extLst>
          </c:dPt>
          <c:dPt>
            <c:idx val="239"/>
            <c:invertIfNegative val="1"/>
            <c:bubble3D val="0"/>
            <c:spPr>
              <a:solidFill>
                <a:srgbClr val="AEABAB"/>
              </a:solidFill>
            </c:spPr>
            <c:extLst>
              <c:ext xmlns:c16="http://schemas.microsoft.com/office/drawing/2014/chart" uri="{C3380CC4-5D6E-409C-BE32-E72D297353CC}">
                <c16:uniqueId val="{000001E1-E92C-4D5F-9F0E-D909CEB0E92A}"/>
              </c:ext>
            </c:extLst>
          </c:dPt>
          <c:dPt>
            <c:idx val="240"/>
            <c:invertIfNegative val="1"/>
            <c:bubble3D val="0"/>
            <c:spPr>
              <a:solidFill>
                <a:srgbClr val="AEABAB"/>
              </a:solidFill>
            </c:spPr>
            <c:extLst>
              <c:ext xmlns:c16="http://schemas.microsoft.com/office/drawing/2014/chart" uri="{C3380CC4-5D6E-409C-BE32-E72D297353CC}">
                <c16:uniqueId val="{000001E3-E92C-4D5F-9F0E-D909CEB0E92A}"/>
              </c:ext>
            </c:extLst>
          </c:dPt>
          <c:dPt>
            <c:idx val="241"/>
            <c:invertIfNegative val="1"/>
            <c:bubble3D val="0"/>
            <c:spPr>
              <a:solidFill>
                <a:srgbClr val="AEABAB"/>
              </a:solidFill>
            </c:spPr>
            <c:extLst>
              <c:ext xmlns:c16="http://schemas.microsoft.com/office/drawing/2014/chart" uri="{C3380CC4-5D6E-409C-BE32-E72D297353CC}">
                <c16:uniqueId val="{000001E5-E92C-4D5F-9F0E-D909CEB0E92A}"/>
              </c:ext>
            </c:extLst>
          </c:dPt>
          <c:dPt>
            <c:idx val="242"/>
            <c:invertIfNegative val="1"/>
            <c:bubble3D val="0"/>
            <c:spPr>
              <a:solidFill>
                <a:srgbClr val="AEABAB"/>
              </a:solidFill>
            </c:spPr>
            <c:extLst>
              <c:ext xmlns:c16="http://schemas.microsoft.com/office/drawing/2014/chart" uri="{C3380CC4-5D6E-409C-BE32-E72D297353CC}">
                <c16:uniqueId val="{000001E7-E92C-4D5F-9F0E-D909CEB0E92A}"/>
              </c:ext>
            </c:extLst>
          </c:dPt>
          <c:dPt>
            <c:idx val="243"/>
            <c:invertIfNegative val="1"/>
            <c:bubble3D val="0"/>
            <c:spPr>
              <a:solidFill>
                <a:srgbClr val="AEABAB"/>
              </a:solidFill>
            </c:spPr>
            <c:extLst>
              <c:ext xmlns:c16="http://schemas.microsoft.com/office/drawing/2014/chart" uri="{C3380CC4-5D6E-409C-BE32-E72D297353CC}">
                <c16:uniqueId val="{000001E9-E92C-4D5F-9F0E-D909CEB0E92A}"/>
              </c:ext>
            </c:extLst>
          </c:dPt>
          <c:dPt>
            <c:idx val="244"/>
            <c:invertIfNegative val="1"/>
            <c:bubble3D val="0"/>
            <c:spPr>
              <a:solidFill>
                <a:srgbClr val="AEABAB"/>
              </a:solidFill>
            </c:spPr>
            <c:extLst>
              <c:ext xmlns:c16="http://schemas.microsoft.com/office/drawing/2014/chart" uri="{C3380CC4-5D6E-409C-BE32-E72D297353CC}">
                <c16:uniqueId val="{000001EB-E92C-4D5F-9F0E-D909CEB0E92A}"/>
              </c:ext>
            </c:extLst>
          </c:dPt>
          <c:dPt>
            <c:idx val="245"/>
            <c:invertIfNegative val="1"/>
            <c:bubble3D val="0"/>
            <c:spPr>
              <a:solidFill>
                <a:srgbClr val="AEABAB"/>
              </a:solidFill>
            </c:spPr>
            <c:extLst>
              <c:ext xmlns:c16="http://schemas.microsoft.com/office/drawing/2014/chart" uri="{C3380CC4-5D6E-409C-BE32-E72D297353CC}">
                <c16:uniqueId val="{000001ED-E92C-4D5F-9F0E-D909CEB0E92A}"/>
              </c:ext>
            </c:extLst>
          </c:dPt>
          <c:dPt>
            <c:idx val="246"/>
            <c:invertIfNegative val="1"/>
            <c:bubble3D val="0"/>
            <c:spPr>
              <a:solidFill>
                <a:srgbClr val="AEABAB"/>
              </a:solidFill>
            </c:spPr>
            <c:extLst>
              <c:ext xmlns:c16="http://schemas.microsoft.com/office/drawing/2014/chart" uri="{C3380CC4-5D6E-409C-BE32-E72D297353CC}">
                <c16:uniqueId val="{000001EF-E92C-4D5F-9F0E-D909CEB0E92A}"/>
              </c:ext>
            </c:extLst>
          </c:dPt>
          <c:dPt>
            <c:idx val="247"/>
            <c:invertIfNegative val="1"/>
            <c:bubble3D val="0"/>
            <c:spPr>
              <a:solidFill>
                <a:srgbClr val="AEABAB"/>
              </a:solidFill>
            </c:spPr>
            <c:extLst>
              <c:ext xmlns:c16="http://schemas.microsoft.com/office/drawing/2014/chart" uri="{C3380CC4-5D6E-409C-BE32-E72D297353CC}">
                <c16:uniqueId val="{000001F1-E92C-4D5F-9F0E-D909CEB0E92A}"/>
              </c:ext>
            </c:extLst>
          </c:dPt>
          <c:dPt>
            <c:idx val="248"/>
            <c:invertIfNegative val="1"/>
            <c:bubble3D val="0"/>
            <c:spPr>
              <a:solidFill>
                <a:srgbClr val="AEABAB"/>
              </a:solidFill>
            </c:spPr>
            <c:extLst>
              <c:ext xmlns:c16="http://schemas.microsoft.com/office/drawing/2014/chart" uri="{C3380CC4-5D6E-409C-BE32-E72D297353CC}">
                <c16:uniqueId val="{000001F3-E92C-4D5F-9F0E-D909CEB0E92A}"/>
              </c:ext>
            </c:extLst>
          </c:dPt>
          <c:dPt>
            <c:idx val="249"/>
            <c:invertIfNegative val="1"/>
            <c:bubble3D val="0"/>
            <c:spPr>
              <a:solidFill>
                <a:srgbClr val="AEABAB"/>
              </a:solidFill>
            </c:spPr>
            <c:extLst>
              <c:ext xmlns:c16="http://schemas.microsoft.com/office/drawing/2014/chart" uri="{C3380CC4-5D6E-409C-BE32-E72D297353CC}">
                <c16:uniqueId val="{000001F5-E92C-4D5F-9F0E-D909CEB0E92A}"/>
              </c:ext>
            </c:extLst>
          </c:dPt>
          <c:dPt>
            <c:idx val="250"/>
            <c:invertIfNegative val="1"/>
            <c:bubble3D val="0"/>
            <c:spPr>
              <a:solidFill>
                <a:srgbClr val="AEABAB"/>
              </a:solidFill>
            </c:spPr>
            <c:extLst>
              <c:ext xmlns:c16="http://schemas.microsoft.com/office/drawing/2014/chart" uri="{C3380CC4-5D6E-409C-BE32-E72D297353CC}">
                <c16:uniqueId val="{000001F7-E92C-4D5F-9F0E-D909CEB0E92A}"/>
              </c:ext>
            </c:extLst>
          </c:dPt>
          <c:dPt>
            <c:idx val="251"/>
            <c:invertIfNegative val="1"/>
            <c:bubble3D val="0"/>
            <c:spPr>
              <a:solidFill>
                <a:srgbClr val="AEABAB"/>
              </a:solidFill>
            </c:spPr>
            <c:extLst>
              <c:ext xmlns:c16="http://schemas.microsoft.com/office/drawing/2014/chart" uri="{C3380CC4-5D6E-409C-BE32-E72D297353CC}">
                <c16:uniqueId val="{000001F9-E92C-4D5F-9F0E-D909CEB0E92A}"/>
              </c:ext>
            </c:extLst>
          </c:dPt>
          <c:dPt>
            <c:idx val="252"/>
            <c:invertIfNegative val="1"/>
            <c:bubble3D val="0"/>
            <c:spPr>
              <a:solidFill>
                <a:srgbClr val="AEABAB"/>
              </a:solidFill>
            </c:spPr>
            <c:extLst>
              <c:ext xmlns:c16="http://schemas.microsoft.com/office/drawing/2014/chart" uri="{C3380CC4-5D6E-409C-BE32-E72D297353CC}">
                <c16:uniqueId val="{000001FB-E92C-4D5F-9F0E-D909CEB0E92A}"/>
              </c:ext>
            </c:extLst>
          </c:dPt>
          <c:dPt>
            <c:idx val="253"/>
            <c:invertIfNegative val="1"/>
            <c:bubble3D val="0"/>
            <c:spPr>
              <a:solidFill>
                <a:srgbClr val="AEABAB"/>
              </a:solidFill>
            </c:spPr>
            <c:extLst>
              <c:ext xmlns:c16="http://schemas.microsoft.com/office/drawing/2014/chart" uri="{C3380CC4-5D6E-409C-BE32-E72D297353CC}">
                <c16:uniqueId val="{000001FD-E92C-4D5F-9F0E-D909CEB0E92A}"/>
              </c:ext>
            </c:extLst>
          </c:dPt>
          <c:dPt>
            <c:idx val="254"/>
            <c:invertIfNegative val="1"/>
            <c:bubble3D val="0"/>
            <c:spPr>
              <a:solidFill>
                <a:srgbClr val="AEABAB"/>
              </a:solidFill>
            </c:spPr>
            <c:extLst>
              <c:ext xmlns:c16="http://schemas.microsoft.com/office/drawing/2014/chart" uri="{C3380CC4-5D6E-409C-BE32-E72D297353CC}">
                <c16:uniqueId val="{000001FF-E92C-4D5F-9F0E-D909CEB0E92A}"/>
              </c:ext>
            </c:extLst>
          </c:dPt>
          <c:dPt>
            <c:idx val="255"/>
            <c:invertIfNegative val="1"/>
            <c:bubble3D val="0"/>
            <c:spPr>
              <a:solidFill>
                <a:srgbClr val="AEABAB"/>
              </a:solidFill>
            </c:spPr>
            <c:extLst>
              <c:ext xmlns:c16="http://schemas.microsoft.com/office/drawing/2014/chart" uri="{C3380CC4-5D6E-409C-BE32-E72D297353CC}">
                <c16:uniqueId val="{00000201-E92C-4D5F-9F0E-D909CEB0E92A}"/>
              </c:ext>
            </c:extLst>
          </c:dPt>
          <c:dPt>
            <c:idx val="256"/>
            <c:invertIfNegative val="1"/>
            <c:bubble3D val="0"/>
            <c:spPr>
              <a:solidFill>
                <a:srgbClr val="AEABAB"/>
              </a:solidFill>
            </c:spPr>
            <c:extLst>
              <c:ext xmlns:c16="http://schemas.microsoft.com/office/drawing/2014/chart" uri="{C3380CC4-5D6E-409C-BE32-E72D297353CC}">
                <c16:uniqueId val="{00000203-E92C-4D5F-9F0E-D909CEB0E92A}"/>
              </c:ext>
            </c:extLst>
          </c:dPt>
          <c:dPt>
            <c:idx val="257"/>
            <c:invertIfNegative val="1"/>
            <c:bubble3D val="0"/>
            <c:spPr>
              <a:solidFill>
                <a:srgbClr val="AEABAB"/>
              </a:solidFill>
            </c:spPr>
            <c:extLst>
              <c:ext xmlns:c16="http://schemas.microsoft.com/office/drawing/2014/chart" uri="{C3380CC4-5D6E-409C-BE32-E72D297353CC}">
                <c16:uniqueId val="{00000205-E92C-4D5F-9F0E-D909CEB0E92A}"/>
              </c:ext>
            </c:extLst>
          </c:dPt>
          <c:dPt>
            <c:idx val="258"/>
            <c:invertIfNegative val="1"/>
            <c:bubble3D val="0"/>
            <c:spPr>
              <a:solidFill>
                <a:srgbClr val="AEABAB"/>
              </a:solidFill>
            </c:spPr>
            <c:extLst>
              <c:ext xmlns:c16="http://schemas.microsoft.com/office/drawing/2014/chart" uri="{C3380CC4-5D6E-409C-BE32-E72D297353CC}">
                <c16:uniqueId val="{00000207-E92C-4D5F-9F0E-D909CEB0E92A}"/>
              </c:ext>
            </c:extLst>
          </c:dPt>
          <c:dPt>
            <c:idx val="259"/>
            <c:invertIfNegative val="1"/>
            <c:bubble3D val="0"/>
            <c:spPr>
              <a:solidFill>
                <a:srgbClr val="AEABAB"/>
              </a:solidFill>
            </c:spPr>
            <c:extLst>
              <c:ext xmlns:c16="http://schemas.microsoft.com/office/drawing/2014/chart" uri="{C3380CC4-5D6E-409C-BE32-E72D297353CC}">
                <c16:uniqueId val="{00000209-E92C-4D5F-9F0E-D909CEB0E92A}"/>
              </c:ext>
            </c:extLst>
          </c:dPt>
          <c:dPt>
            <c:idx val="260"/>
            <c:invertIfNegative val="1"/>
            <c:bubble3D val="0"/>
            <c:spPr>
              <a:solidFill>
                <a:srgbClr val="AEABAB"/>
              </a:solidFill>
            </c:spPr>
            <c:extLst>
              <c:ext xmlns:c16="http://schemas.microsoft.com/office/drawing/2014/chart" uri="{C3380CC4-5D6E-409C-BE32-E72D297353CC}">
                <c16:uniqueId val="{0000020B-E92C-4D5F-9F0E-D909CEB0E92A}"/>
              </c:ext>
            </c:extLst>
          </c:dPt>
          <c:dPt>
            <c:idx val="261"/>
            <c:invertIfNegative val="1"/>
            <c:bubble3D val="0"/>
            <c:spPr>
              <a:solidFill>
                <a:srgbClr val="AEABAB"/>
              </a:solidFill>
            </c:spPr>
            <c:extLst>
              <c:ext xmlns:c16="http://schemas.microsoft.com/office/drawing/2014/chart" uri="{C3380CC4-5D6E-409C-BE32-E72D297353CC}">
                <c16:uniqueId val="{0000020D-E92C-4D5F-9F0E-D909CEB0E92A}"/>
              </c:ext>
            </c:extLst>
          </c:dPt>
          <c:dPt>
            <c:idx val="262"/>
            <c:invertIfNegative val="1"/>
            <c:bubble3D val="0"/>
            <c:spPr>
              <a:solidFill>
                <a:srgbClr val="AEABAB"/>
              </a:solidFill>
            </c:spPr>
            <c:extLst>
              <c:ext xmlns:c16="http://schemas.microsoft.com/office/drawing/2014/chart" uri="{C3380CC4-5D6E-409C-BE32-E72D297353CC}">
                <c16:uniqueId val="{0000020F-E92C-4D5F-9F0E-D909CEB0E92A}"/>
              </c:ext>
            </c:extLst>
          </c:dPt>
          <c:dPt>
            <c:idx val="263"/>
            <c:invertIfNegative val="1"/>
            <c:bubble3D val="0"/>
            <c:spPr>
              <a:solidFill>
                <a:srgbClr val="AEABAB"/>
              </a:solidFill>
            </c:spPr>
            <c:extLst>
              <c:ext xmlns:c16="http://schemas.microsoft.com/office/drawing/2014/chart" uri="{C3380CC4-5D6E-409C-BE32-E72D297353CC}">
                <c16:uniqueId val="{00000211-E92C-4D5F-9F0E-D909CEB0E92A}"/>
              </c:ext>
            </c:extLst>
          </c:dPt>
          <c:dPt>
            <c:idx val="264"/>
            <c:invertIfNegative val="1"/>
            <c:bubble3D val="0"/>
            <c:spPr>
              <a:solidFill>
                <a:srgbClr val="AEABAB"/>
              </a:solidFill>
            </c:spPr>
            <c:extLst>
              <c:ext xmlns:c16="http://schemas.microsoft.com/office/drawing/2014/chart" uri="{C3380CC4-5D6E-409C-BE32-E72D297353CC}">
                <c16:uniqueId val="{00000213-E92C-4D5F-9F0E-D909CEB0E92A}"/>
              </c:ext>
            </c:extLst>
          </c:dPt>
          <c:dPt>
            <c:idx val="265"/>
            <c:invertIfNegative val="1"/>
            <c:bubble3D val="0"/>
            <c:spPr>
              <a:solidFill>
                <a:srgbClr val="AEABAB"/>
              </a:solidFill>
            </c:spPr>
            <c:extLst>
              <c:ext xmlns:c16="http://schemas.microsoft.com/office/drawing/2014/chart" uri="{C3380CC4-5D6E-409C-BE32-E72D297353CC}">
                <c16:uniqueId val="{00000215-E92C-4D5F-9F0E-D909CEB0E92A}"/>
              </c:ext>
            </c:extLst>
          </c:dPt>
          <c:dPt>
            <c:idx val="266"/>
            <c:invertIfNegative val="1"/>
            <c:bubble3D val="0"/>
            <c:spPr>
              <a:solidFill>
                <a:srgbClr val="AEABAB"/>
              </a:solidFill>
            </c:spPr>
            <c:extLst>
              <c:ext xmlns:c16="http://schemas.microsoft.com/office/drawing/2014/chart" uri="{C3380CC4-5D6E-409C-BE32-E72D297353CC}">
                <c16:uniqueId val="{00000217-E92C-4D5F-9F0E-D909CEB0E92A}"/>
              </c:ext>
            </c:extLst>
          </c:dPt>
          <c:dPt>
            <c:idx val="267"/>
            <c:invertIfNegative val="1"/>
            <c:bubble3D val="0"/>
            <c:spPr>
              <a:solidFill>
                <a:srgbClr val="AEABAB"/>
              </a:solidFill>
            </c:spPr>
            <c:extLst>
              <c:ext xmlns:c16="http://schemas.microsoft.com/office/drawing/2014/chart" uri="{C3380CC4-5D6E-409C-BE32-E72D297353CC}">
                <c16:uniqueId val="{00000219-E92C-4D5F-9F0E-D909CEB0E92A}"/>
              </c:ext>
            </c:extLst>
          </c:dPt>
          <c:dPt>
            <c:idx val="268"/>
            <c:invertIfNegative val="1"/>
            <c:bubble3D val="0"/>
            <c:spPr>
              <a:solidFill>
                <a:srgbClr val="AEABAB"/>
              </a:solidFill>
            </c:spPr>
            <c:extLst>
              <c:ext xmlns:c16="http://schemas.microsoft.com/office/drawing/2014/chart" uri="{C3380CC4-5D6E-409C-BE32-E72D297353CC}">
                <c16:uniqueId val="{0000021B-E92C-4D5F-9F0E-D909CEB0E92A}"/>
              </c:ext>
            </c:extLst>
          </c:dPt>
          <c:dPt>
            <c:idx val="269"/>
            <c:invertIfNegative val="1"/>
            <c:bubble3D val="0"/>
            <c:spPr>
              <a:solidFill>
                <a:srgbClr val="AEABAB"/>
              </a:solidFill>
            </c:spPr>
            <c:extLst>
              <c:ext xmlns:c16="http://schemas.microsoft.com/office/drawing/2014/chart" uri="{C3380CC4-5D6E-409C-BE32-E72D297353CC}">
                <c16:uniqueId val="{0000021D-E92C-4D5F-9F0E-D909CEB0E92A}"/>
              </c:ext>
            </c:extLst>
          </c:dPt>
          <c:dPt>
            <c:idx val="270"/>
            <c:invertIfNegative val="1"/>
            <c:bubble3D val="0"/>
            <c:spPr>
              <a:solidFill>
                <a:srgbClr val="AEABAB"/>
              </a:solidFill>
            </c:spPr>
            <c:extLst>
              <c:ext xmlns:c16="http://schemas.microsoft.com/office/drawing/2014/chart" uri="{C3380CC4-5D6E-409C-BE32-E72D297353CC}">
                <c16:uniqueId val="{0000021F-E92C-4D5F-9F0E-D909CEB0E92A}"/>
              </c:ext>
            </c:extLst>
          </c:dPt>
          <c:dPt>
            <c:idx val="271"/>
            <c:invertIfNegative val="1"/>
            <c:bubble3D val="0"/>
            <c:spPr>
              <a:solidFill>
                <a:srgbClr val="AEABAB"/>
              </a:solidFill>
            </c:spPr>
            <c:extLst>
              <c:ext xmlns:c16="http://schemas.microsoft.com/office/drawing/2014/chart" uri="{C3380CC4-5D6E-409C-BE32-E72D297353CC}">
                <c16:uniqueId val="{00000221-E92C-4D5F-9F0E-D909CEB0E92A}"/>
              </c:ext>
            </c:extLst>
          </c:dPt>
          <c:dPt>
            <c:idx val="272"/>
            <c:invertIfNegative val="1"/>
            <c:bubble3D val="0"/>
            <c:spPr>
              <a:solidFill>
                <a:srgbClr val="AEABAB"/>
              </a:solidFill>
            </c:spPr>
            <c:extLst>
              <c:ext xmlns:c16="http://schemas.microsoft.com/office/drawing/2014/chart" uri="{C3380CC4-5D6E-409C-BE32-E72D297353CC}">
                <c16:uniqueId val="{00000223-E92C-4D5F-9F0E-D909CEB0E92A}"/>
              </c:ext>
            </c:extLst>
          </c:dPt>
          <c:dPt>
            <c:idx val="273"/>
            <c:invertIfNegative val="1"/>
            <c:bubble3D val="0"/>
            <c:spPr>
              <a:solidFill>
                <a:srgbClr val="AEABAB"/>
              </a:solidFill>
            </c:spPr>
            <c:extLst>
              <c:ext xmlns:c16="http://schemas.microsoft.com/office/drawing/2014/chart" uri="{C3380CC4-5D6E-409C-BE32-E72D297353CC}">
                <c16:uniqueId val="{00000225-E92C-4D5F-9F0E-D909CEB0E92A}"/>
              </c:ext>
            </c:extLst>
          </c:dPt>
          <c:dPt>
            <c:idx val="274"/>
            <c:invertIfNegative val="1"/>
            <c:bubble3D val="0"/>
            <c:spPr>
              <a:solidFill>
                <a:srgbClr val="AEABAB"/>
              </a:solidFill>
            </c:spPr>
            <c:extLst>
              <c:ext xmlns:c16="http://schemas.microsoft.com/office/drawing/2014/chart" uri="{C3380CC4-5D6E-409C-BE32-E72D297353CC}">
                <c16:uniqueId val="{00000227-E92C-4D5F-9F0E-D909CEB0E92A}"/>
              </c:ext>
            </c:extLst>
          </c:dPt>
          <c:dPt>
            <c:idx val="275"/>
            <c:invertIfNegative val="1"/>
            <c:bubble3D val="0"/>
            <c:spPr>
              <a:solidFill>
                <a:srgbClr val="AEABAB"/>
              </a:solidFill>
            </c:spPr>
            <c:extLst>
              <c:ext xmlns:c16="http://schemas.microsoft.com/office/drawing/2014/chart" uri="{C3380CC4-5D6E-409C-BE32-E72D297353CC}">
                <c16:uniqueId val="{00000229-E92C-4D5F-9F0E-D909CEB0E92A}"/>
              </c:ext>
            </c:extLst>
          </c:dPt>
          <c:dPt>
            <c:idx val="276"/>
            <c:invertIfNegative val="1"/>
            <c:bubble3D val="0"/>
            <c:spPr>
              <a:solidFill>
                <a:srgbClr val="AEABAB"/>
              </a:solidFill>
            </c:spPr>
            <c:extLst>
              <c:ext xmlns:c16="http://schemas.microsoft.com/office/drawing/2014/chart" uri="{C3380CC4-5D6E-409C-BE32-E72D297353CC}">
                <c16:uniqueId val="{0000022B-E92C-4D5F-9F0E-D909CEB0E92A}"/>
              </c:ext>
            </c:extLst>
          </c:dPt>
          <c:dPt>
            <c:idx val="277"/>
            <c:invertIfNegative val="1"/>
            <c:bubble3D val="0"/>
            <c:spPr>
              <a:solidFill>
                <a:srgbClr val="AEABAB"/>
              </a:solidFill>
            </c:spPr>
            <c:extLst>
              <c:ext xmlns:c16="http://schemas.microsoft.com/office/drawing/2014/chart" uri="{C3380CC4-5D6E-409C-BE32-E72D297353CC}">
                <c16:uniqueId val="{0000022D-E92C-4D5F-9F0E-D909CEB0E92A}"/>
              </c:ext>
            </c:extLst>
          </c:dPt>
          <c:dPt>
            <c:idx val="278"/>
            <c:invertIfNegative val="1"/>
            <c:bubble3D val="0"/>
            <c:spPr>
              <a:solidFill>
                <a:srgbClr val="AEABAB"/>
              </a:solidFill>
            </c:spPr>
            <c:extLst>
              <c:ext xmlns:c16="http://schemas.microsoft.com/office/drawing/2014/chart" uri="{C3380CC4-5D6E-409C-BE32-E72D297353CC}">
                <c16:uniqueId val="{0000022F-E92C-4D5F-9F0E-D909CEB0E92A}"/>
              </c:ext>
            </c:extLst>
          </c:dPt>
          <c:dPt>
            <c:idx val="279"/>
            <c:invertIfNegative val="1"/>
            <c:bubble3D val="0"/>
            <c:spPr>
              <a:solidFill>
                <a:srgbClr val="AEABAB"/>
              </a:solidFill>
            </c:spPr>
            <c:extLst>
              <c:ext xmlns:c16="http://schemas.microsoft.com/office/drawing/2014/chart" uri="{C3380CC4-5D6E-409C-BE32-E72D297353CC}">
                <c16:uniqueId val="{00000231-E92C-4D5F-9F0E-D909CEB0E92A}"/>
              </c:ext>
            </c:extLst>
          </c:dPt>
          <c:dPt>
            <c:idx val="280"/>
            <c:invertIfNegative val="1"/>
            <c:bubble3D val="0"/>
            <c:spPr>
              <a:solidFill>
                <a:srgbClr val="AEABAB"/>
              </a:solidFill>
            </c:spPr>
            <c:extLst>
              <c:ext xmlns:c16="http://schemas.microsoft.com/office/drawing/2014/chart" uri="{C3380CC4-5D6E-409C-BE32-E72D297353CC}">
                <c16:uniqueId val="{00000233-E92C-4D5F-9F0E-D909CEB0E92A}"/>
              </c:ext>
            </c:extLst>
          </c:dPt>
          <c:dPt>
            <c:idx val="281"/>
            <c:invertIfNegative val="1"/>
            <c:bubble3D val="0"/>
            <c:spPr>
              <a:solidFill>
                <a:srgbClr val="AEABAB"/>
              </a:solidFill>
            </c:spPr>
            <c:extLst>
              <c:ext xmlns:c16="http://schemas.microsoft.com/office/drawing/2014/chart" uri="{C3380CC4-5D6E-409C-BE32-E72D297353CC}">
                <c16:uniqueId val="{00000235-E92C-4D5F-9F0E-D909CEB0E92A}"/>
              </c:ext>
            </c:extLst>
          </c:dPt>
          <c:dPt>
            <c:idx val="282"/>
            <c:invertIfNegative val="1"/>
            <c:bubble3D val="0"/>
            <c:spPr>
              <a:solidFill>
                <a:srgbClr val="AEABAB"/>
              </a:solidFill>
            </c:spPr>
            <c:extLst>
              <c:ext xmlns:c16="http://schemas.microsoft.com/office/drawing/2014/chart" uri="{C3380CC4-5D6E-409C-BE32-E72D297353CC}">
                <c16:uniqueId val="{00000237-E92C-4D5F-9F0E-D909CEB0E92A}"/>
              </c:ext>
            </c:extLst>
          </c:dPt>
          <c:dPt>
            <c:idx val="283"/>
            <c:invertIfNegative val="1"/>
            <c:bubble3D val="0"/>
            <c:spPr>
              <a:solidFill>
                <a:srgbClr val="AEABAB"/>
              </a:solidFill>
            </c:spPr>
            <c:extLst>
              <c:ext xmlns:c16="http://schemas.microsoft.com/office/drawing/2014/chart" uri="{C3380CC4-5D6E-409C-BE32-E72D297353CC}">
                <c16:uniqueId val="{00000239-E92C-4D5F-9F0E-D909CEB0E92A}"/>
              </c:ext>
            </c:extLst>
          </c:dPt>
          <c:dPt>
            <c:idx val="284"/>
            <c:invertIfNegative val="1"/>
            <c:bubble3D val="0"/>
            <c:spPr>
              <a:solidFill>
                <a:srgbClr val="AEABAB"/>
              </a:solidFill>
            </c:spPr>
            <c:extLst>
              <c:ext xmlns:c16="http://schemas.microsoft.com/office/drawing/2014/chart" uri="{C3380CC4-5D6E-409C-BE32-E72D297353CC}">
                <c16:uniqueId val="{0000023B-E92C-4D5F-9F0E-D909CEB0E92A}"/>
              </c:ext>
            </c:extLst>
          </c:dPt>
          <c:dPt>
            <c:idx val="285"/>
            <c:invertIfNegative val="1"/>
            <c:bubble3D val="0"/>
            <c:spPr>
              <a:solidFill>
                <a:srgbClr val="AEABAB"/>
              </a:solidFill>
            </c:spPr>
            <c:extLst>
              <c:ext xmlns:c16="http://schemas.microsoft.com/office/drawing/2014/chart" uri="{C3380CC4-5D6E-409C-BE32-E72D297353CC}">
                <c16:uniqueId val="{0000023D-E92C-4D5F-9F0E-D909CEB0E92A}"/>
              </c:ext>
            </c:extLst>
          </c:dPt>
          <c:dPt>
            <c:idx val="286"/>
            <c:invertIfNegative val="1"/>
            <c:bubble3D val="0"/>
            <c:spPr>
              <a:solidFill>
                <a:srgbClr val="AEABAB"/>
              </a:solidFill>
            </c:spPr>
            <c:extLst>
              <c:ext xmlns:c16="http://schemas.microsoft.com/office/drawing/2014/chart" uri="{C3380CC4-5D6E-409C-BE32-E72D297353CC}">
                <c16:uniqueId val="{0000023F-E92C-4D5F-9F0E-D909CEB0E92A}"/>
              </c:ext>
            </c:extLst>
          </c:dPt>
          <c:dPt>
            <c:idx val="287"/>
            <c:invertIfNegative val="1"/>
            <c:bubble3D val="0"/>
            <c:spPr>
              <a:solidFill>
                <a:srgbClr val="AEABAB"/>
              </a:solidFill>
            </c:spPr>
            <c:extLst>
              <c:ext xmlns:c16="http://schemas.microsoft.com/office/drawing/2014/chart" uri="{C3380CC4-5D6E-409C-BE32-E72D297353CC}">
                <c16:uniqueId val="{00000241-E92C-4D5F-9F0E-D909CEB0E92A}"/>
              </c:ext>
            </c:extLst>
          </c:dPt>
          <c:dPt>
            <c:idx val="288"/>
            <c:invertIfNegative val="1"/>
            <c:bubble3D val="0"/>
            <c:spPr>
              <a:solidFill>
                <a:srgbClr val="AEABAB"/>
              </a:solidFill>
            </c:spPr>
            <c:extLst>
              <c:ext xmlns:c16="http://schemas.microsoft.com/office/drawing/2014/chart" uri="{C3380CC4-5D6E-409C-BE32-E72D297353CC}">
                <c16:uniqueId val="{00000243-E92C-4D5F-9F0E-D909CEB0E92A}"/>
              </c:ext>
            </c:extLst>
          </c:dPt>
          <c:dPt>
            <c:idx val="289"/>
            <c:invertIfNegative val="1"/>
            <c:bubble3D val="0"/>
            <c:spPr>
              <a:solidFill>
                <a:srgbClr val="AEABAB"/>
              </a:solidFill>
            </c:spPr>
            <c:extLst>
              <c:ext xmlns:c16="http://schemas.microsoft.com/office/drawing/2014/chart" uri="{C3380CC4-5D6E-409C-BE32-E72D297353CC}">
                <c16:uniqueId val="{00000245-E92C-4D5F-9F0E-D909CEB0E92A}"/>
              </c:ext>
            </c:extLst>
          </c:dPt>
          <c:dPt>
            <c:idx val="290"/>
            <c:invertIfNegative val="1"/>
            <c:bubble3D val="0"/>
            <c:spPr>
              <a:solidFill>
                <a:srgbClr val="AEABAB"/>
              </a:solidFill>
            </c:spPr>
            <c:extLst>
              <c:ext xmlns:c16="http://schemas.microsoft.com/office/drawing/2014/chart" uri="{C3380CC4-5D6E-409C-BE32-E72D297353CC}">
                <c16:uniqueId val="{00000247-E92C-4D5F-9F0E-D909CEB0E92A}"/>
              </c:ext>
            </c:extLst>
          </c:dPt>
          <c:dPt>
            <c:idx val="291"/>
            <c:invertIfNegative val="1"/>
            <c:bubble3D val="0"/>
            <c:spPr>
              <a:solidFill>
                <a:srgbClr val="AEABAB"/>
              </a:solidFill>
            </c:spPr>
            <c:extLst>
              <c:ext xmlns:c16="http://schemas.microsoft.com/office/drawing/2014/chart" uri="{C3380CC4-5D6E-409C-BE32-E72D297353CC}">
                <c16:uniqueId val="{00000249-E92C-4D5F-9F0E-D909CEB0E92A}"/>
              </c:ext>
            </c:extLst>
          </c:dPt>
          <c:dPt>
            <c:idx val="292"/>
            <c:invertIfNegative val="1"/>
            <c:bubble3D val="0"/>
            <c:spPr>
              <a:solidFill>
                <a:srgbClr val="AEABAB"/>
              </a:solidFill>
            </c:spPr>
            <c:extLst>
              <c:ext xmlns:c16="http://schemas.microsoft.com/office/drawing/2014/chart" uri="{C3380CC4-5D6E-409C-BE32-E72D297353CC}">
                <c16:uniqueId val="{0000024B-E92C-4D5F-9F0E-D909CEB0E92A}"/>
              </c:ext>
            </c:extLst>
          </c:dPt>
          <c:dPt>
            <c:idx val="293"/>
            <c:invertIfNegative val="1"/>
            <c:bubble3D val="0"/>
            <c:spPr>
              <a:solidFill>
                <a:srgbClr val="AEABAB"/>
              </a:solidFill>
            </c:spPr>
            <c:extLst>
              <c:ext xmlns:c16="http://schemas.microsoft.com/office/drawing/2014/chart" uri="{C3380CC4-5D6E-409C-BE32-E72D297353CC}">
                <c16:uniqueId val="{0000024D-E92C-4D5F-9F0E-D909CEB0E92A}"/>
              </c:ext>
            </c:extLst>
          </c:dPt>
          <c:dPt>
            <c:idx val="294"/>
            <c:invertIfNegative val="1"/>
            <c:bubble3D val="0"/>
            <c:spPr>
              <a:solidFill>
                <a:srgbClr val="AEABAB"/>
              </a:solidFill>
            </c:spPr>
            <c:extLst>
              <c:ext xmlns:c16="http://schemas.microsoft.com/office/drawing/2014/chart" uri="{C3380CC4-5D6E-409C-BE32-E72D297353CC}">
                <c16:uniqueId val="{0000024F-E92C-4D5F-9F0E-D909CEB0E92A}"/>
              </c:ext>
            </c:extLst>
          </c:dPt>
          <c:dPt>
            <c:idx val="295"/>
            <c:invertIfNegative val="1"/>
            <c:bubble3D val="0"/>
            <c:spPr>
              <a:solidFill>
                <a:srgbClr val="AEABAB"/>
              </a:solidFill>
            </c:spPr>
            <c:extLst>
              <c:ext xmlns:c16="http://schemas.microsoft.com/office/drawing/2014/chart" uri="{C3380CC4-5D6E-409C-BE32-E72D297353CC}">
                <c16:uniqueId val="{00000251-E92C-4D5F-9F0E-D909CEB0E92A}"/>
              </c:ext>
            </c:extLst>
          </c:dPt>
          <c:dPt>
            <c:idx val="296"/>
            <c:invertIfNegative val="1"/>
            <c:bubble3D val="0"/>
            <c:spPr>
              <a:solidFill>
                <a:srgbClr val="AEABAB"/>
              </a:solidFill>
            </c:spPr>
            <c:extLst>
              <c:ext xmlns:c16="http://schemas.microsoft.com/office/drawing/2014/chart" uri="{C3380CC4-5D6E-409C-BE32-E72D297353CC}">
                <c16:uniqueId val="{00000253-E92C-4D5F-9F0E-D909CEB0E92A}"/>
              </c:ext>
            </c:extLst>
          </c:dPt>
          <c:dPt>
            <c:idx val="297"/>
            <c:invertIfNegative val="1"/>
            <c:bubble3D val="0"/>
            <c:spPr>
              <a:solidFill>
                <a:srgbClr val="AEABAB"/>
              </a:solidFill>
            </c:spPr>
            <c:extLst>
              <c:ext xmlns:c16="http://schemas.microsoft.com/office/drawing/2014/chart" uri="{C3380CC4-5D6E-409C-BE32-E72D297353CC}">
                <c16:uniqueId val="{00000255-E92C-4D5F-9F0E-D909CEB0E92A}"/>
              </c:ext>
            </c:extLst>
          </c:dPt>
          <c:dPt>
            <c:idx val="298"/>
            <c:invertIfNegative val="1"/>
            <c:bubble3D val="0"/>
            <c:spPr>
              <a:solidFill>
                <a:srgbClr val="AEABAB"/>
              </a:solidFill>
            </c:spPr>
            <c:extLst>
              <c:ext xmlns:c16="http://schemas.microsoft.com/office/drawing/2014/chart" uri="{C3380CC4-5D6E-409C-BE32-E72D297353CC}">
                <c16:uniqueId val="{00000257-E92C-4D5F-9F0E-D909CEB0E92A}"/>
              </c:ext>
            </c:extLst>
          </c:dPt>
          <c:dPt>
            <c:idx val="299"/>
            <c:invertIfNegative val="1"/>
            <c:bubble3D val="0"/>
            <c:spPr>
              <a:solidFill>
                <a:srgbClr val="AEABAB"/>
              </a:solidFill>
            </c:spPr>
            <c:extLst>
              <c:ext xmlns:c16="http://schemas.microsoft.com/office/drawing/2014/chart" uri="{C3380CC4-5D6E-409C-BE32-E72D297353CC}">
                <c16:uniqueId val="{00000259-E92C-4D5F-9F0E-D909CEB0E92A}"/>
              </c:ext>
            </c:extLst>
          </c:dPt>
          <c:dPt>
            <c:idx val="300"/>
            <c:invertIfNegative val="1"/>
            <c:bubble3D val="0"/>
            <c:spPr>
              <a:solidFill>
                <a:srgbClr val="AEABAB"/>
              </a:solidFill>
            </c:spPr>
            <c:extLst>
              <c:ext xmlns:c16="http://schemas.microsoft.com/office/drawing/2014/chart" uri="{C3380CC4-5D6E-409C-BE32-E72D297353CC}">
                <c16:uniqueId val="{0000025B-E92C-4D5F-9F0E-D909CEB0E92A}"/>
              </c:ext>
            </c:extLst>
          </c:dPt>
          <c:dPt>
            <c:idx val="301"/>
            <c:invertIfNegative val="1"/>
            <c:bubble3D val="0"/>
            <c:spPr>
              <a:solidFill>
                <a:srgbClr val="AEABAB"/>
              </a:solidFill>
            </c:spPr>
            <c:extLst>
              <c:ext xmlns:c16="http://schemas.microsoft.com/office/drawing/2014/chart" uri="{C3380CC4-5D6E-409C-BE32-E72D297353CC}">
                <c16:uniqueId val="{0000025D-E92C-4D5F-9F0E-D909CEB0E92A}"/>
              </c:ext>
            </c:extLst>
          </c:dPt>
          <c:dPt>
            <c:idx val="302"/>
            <c:invertIfNegative val="1"/>
            <c:bubble3D val="0"/>
            <c:spPr>
              <a:solidFill>
                <a:srgbClr val="AEABAB"/>
              </a:solidFill>
            </c:spPr>
            <c:extLst>
              <c:ext xmlns:c16="http://schemas.microsoft.com/office/drawing/2014/chart" uri="{C3380CC4-5D6E-409C-BE32-E72D297353CC}">
                <c16:uniqueId val="{0000025F-E92C-4D5F-9F0E-D909CEB0E92A}"/>
              </c:ext>
            </c:extLst>
          </c:dPt>
          <c:dPt>
            <c:idx val="303"/>
            <c:invertIfNegative val="1"/>
            <c:bubble3D val="0"/>
            <c:spPr>
              <a:solidFill>
                <a:srgbClr val="AEABAB"/>
              </a:solidFill>
            </c:spPr>
            <c:extLst>
              <c:ext xmlns:c16="http://schemas.microsoft.com/office/drawing/2014/chart" uri="{C3380CC4-5D6E-409C-BE32-E72D297353CC}">
                <c16:uniqueId val="{00000261-E92C-4D5F-9F0E-D909CEB0E92A}"/>
              </c:ext>
            </c:extLst>
          </c:dPt>
          <c:dPt>
            <c:idx val="304"/>
            <c:invertIfNegative val="1"/>
            <c:bubble3D val="0"/>
            <c:spPr>
              <a:solidFill>
                <a:srgbClr val="AEABAB"/>
              </a:solidFill>
            </c:spPr>
            <c:extLst>
              <c:ext xmlns:c16="http://schemas.microsoft.com/office/drawing/2014/chart" uri="{C3380CC4-5D6E-409C-BE32-E72D297353CC}">
                <c16:uniqueId val="{00000263-E92C-4D5F-9F0E-D909CEB0E92A}"/>
              </c:ext>
            </c:extLst>
          </c:dPt>
          <c:dPt>
            <c:idx val="305"/>
            <c:invertIfNegative val="1"/>
            <c:bubble3D val="0"/>
            <c:spPr>
              <a:solidFill>
                <a:srgbClr val="AEABAB"/>
              </a:solidFill>
            </c:spPr>
            <c:extLst>
              <c:ext xmlns:c16="http://schemas.microsoft.com/office/drawing/2014/chart" uri="{C3380CC4-5D6E-409C-BE32-E72D297353CC}">
                <c16:uniqueId val="{00000265-E92C-4D5F-9F0E-D909CEB0E92A}"/>
              </c:ext>
            </c:extLst>
          </c:dPt>
          <c:dPt>
            <c:idx val="306"/>
            <c:invertIfNegative val="1"/>
            <c:bubble3D val="0"/>
            <c:spPr>
              <a:solidFill>
                <a:srgbClr val="AEABAB"/>
              </a:solidFill>
            </c:spPr>
            <c:extLst>
              <c:ext xmlns:c16="http://schemas.microsoft.com/office/drawing/2014/chart" uri="{C3380CC4-5D6E-409C-BE32-E72D297353CC}">
                <c16:uniqueId val="{00000267-E92C-4D5F-9F0E-D909CEB0E92A}"/>
              </c:ext>
            </c:extLst>
          </c:dPt>
          <c:dPt>
            <c:idx val="307"/>
            <c:invertIfNegative val="1"/>
            <c:bubble3D val="0"/>
            <c:spPr>
              <a:solidFill>
                <a:srgbClr val="AEABAB"/>
              </a:solidFill>
            </c:spPr>
            <c:extLst>
              <c:ext xmlns:c16="http://schemas.microsoft.com/office/drawing/2014/chart" uri="{C3380CC4-5D6E-409C-BE32-E72D297353CC}">
                <c16:uniqueId val="{00000269-E92C-4D5F-9F0E-D909CEB0E92A}"/>
              </c:ext>
            </c:extLst>
          </c:dPt>
          <c:dPt>
            <c:idx val="308"/>
            <c:invertIfNegative val="1"/>
            <c:bubble3D val="0"/>
            <c:spPr>
              <a:solidFill>
                <a:srgbClr val="AEABAB"/>
              </a:solidFill>
            </c:spPr>
            <c:extLst>
              <c:ext xmlns:c16="http://schemas.microsoft.com/office/drawing/2014/chart" uri="{C3380CC4-5D6E-409C-BE32-E72D297353CC}">
                <c16:uniqueId val="{0000026B-E92C-4D5F-9F0E-D909CEB0E92A}"/>
              </c:ext>
            </c:extLst>
          </c:dPt>
          <c:dPt>
            <c:idx val="309"/>
            <c:invertIfNegative val="1"/>
            <c:bubble3D val="0"/>
            <c:spPr>
              <a:solidFill>
                <a:srgbClr val="AEABAB"/>
              </a:solidFill>
            </c:spPr>
            <c:extLst>
              <c:ext xmlns:c16="http://schemas.microsoft.com/office/drawing/2014/chart" uri="{C3380CC4-5D6E-409C-BE32-E72D297353CC}">
                <c16:uniqueId val="{0000026D-E92C-4D5F-9F0E-D909CEB0E92A}"/>
              </c:ext>
            </c:extLst>
          </c:dPt>
          <c:dPt>
            <c:idx val="310"/>
            <c:invertIfNegative val="1"/>
            <c:bubble3D val="0"/>
            <c:spPr>
              <a:solidFill>
                <a:srgbClr val="AEABAB"/>
              </a:solidFill>
            </c:spPr>
            <c:extLst>
              <c:ext xmlns:c16="http://schemas.microsoft.com/office/drawing/2014/chart" uri="{C3380CC4-5D6E-409C-BE32-E72D297353CC}">
                <c16:uniqueId val="{0000026F-E92C-4D5F-9F0E-D909CEB0E92A}"/>
              </c:ext>
            </c:extLst>
          </c:dPt>
          <c:dPt>
            <c:idx val="311"/>
            <c:invertIfNegative val="1"/>
            <c:bubble3D val="0"/>
            <c:spPr>
              <a:solidFill>
                <a:srgbClr val="AEABAB"/>
              </a:solidFill>
            </c:spPr>
            <c:extLst>
              <c:ext xmlns:c16="http://schemas.microsoft.com/office/drawing/2014/chart" uri="{C3380CC4-5D6E-409C-BE32-E72D297353CC}">
                <c16:uniqueId val="{00000271-E92C-4D5F-9F0E-D909CEB0E92A}"/>
              </c:ext>
            </c:extLst>
          </c:dPt>
          <c:dPt>
            <c:idx val="312"/>
            <c:invertIfNegative val="1"/>
            <c:bubble3D val="0"/>
            <c:spPr>
              <a:solidFill>
                <a:srgbClr val="AEABAB"/>
              </a:solidFill>
            </c:spPr>
            <c:extLst>
              <c:ext xmlns:c16="http://schemas.microsoft.com/office/drawing/2014/chart" uri="{C3380CC4-5D6E-409C-BE32-E72D297353CC}">
                <c16:uniqueId val="{00000273-E92C-4D5F-9F0E-D909CEB0E92A}"/>
              </c:ext>
            </c:extLst>
          </c:dPt>
          <c:dPt>
            <c:idx val="313"/>
            <c:invertIfNegative val="1"/>
            <c:bubble3D val="0"/>
            <c:spPr>
              <a:solidFill>
                <a:srgbClr val="AEABAB"/>
              </a:solidFill>
            </c:spPr>
            <c:extLst>
              <c:ext xmlns:c16="http://schemas.microsoft.com/office/drawing/2014/chart" uri="{C3380CC4-5D6E-409C-BE32-E72D297353CC}">
                <c16:uniqueId val="{00000275-E92C-4D5F-9F0E-D909CEB0E92A}"/>
              </c:ext>
            </c:extLst>
          </c:dPt>
          <c:dPt>
            <c:idx val="314"/>
            <c:invertIfNegative val="1"/>
            <c:bubble3D val="0"/>
            <c:spPr>
              <a:solidFill>
                <a:srgbClr val="AEABAB"/>
              </a:solidFill>
            </c:spPr>
            <c:extLst>
              <c:ext xmlns:c16="http://schemas.microsoft.com/office/drawing/2014/chart" uri="{C3380CC4-5D6E-409C-BE32-E72D297353CC}">
                <c16:uniqueId val="{00000277-E92C-4D5F-9F0E-D909CEB0E92A}"/>
              </c:ext>
            </c:extLst>
          </c:dPt>
          <c:dPt>
            <c:idx val="315"/>
            <c:invertIfNegative val="1"/>
            <c:bubble3D val="0"/>
            <c:spPr>
              <a:solidFill>
                <a:srgbClr val="AEABAB"/>
              </a:solidFill>
            </c:spPr>
            <c:extLst>
              <c:ext xmlns:c16="http://schemas.microsoft.com/office/drawing/2014/chart" uri="{C3380CC4-5D6E-409C-BE32-E72D297353CC}">
                <c16:uniqueId val="{00000279-E92C-4D5F-9F0E-D909CEB0E92A}"/>
              </c:ext>
            </c:extLst>
          </c:dPt>
          <c:dPt>
            <c:idx val="316"/>
            <c:invertIfNegative val="1"/>
            <c:bubble3D val="0"/>
            <c:spPr>
              <a:solidFill>
                <a:srgbClr val="AEABAB"/>
              </a:solidFill>
            </c:spPr>
            <c:extLst>
              <c:ext xmlns:c16="http://schemas.microsoft.com/office/drawing/2014/chart" uri="{C3380CC4-5D6E-409C-BE32-E72D297353CC}">
                <c16:uniqueId val="{0000027B-E92C-4D5F-9F0E-D909CEB0E92A}"/>
              </c:ext>
            </c:extLst>
          </c:dPt>
          <c:cat>
            <c:strRef>
              <c:f>Sheet1!$A$2:$A$318</c:f>
              <c:strCache>
                <c:ptCount val="317"/>
                <c:pt idx="0">
                  <c:v>Ruinart</c:v>
                </c:pt>
                <c:pt idx="1">
                  <c:v>Ruinart</c:v>
                </c:pt>
                <c:pt idx="2">
                  <c:v>Deutz</c:v>
                </c:pt>
                <c:pt idx="3">
                  <c:v>Nicolas</c:v>
                </c:pt>
                <c:pt idx="4">
                  <c:v>Laurent Per</c:v>
                </c:pt>
                <c:pt idx="5">
                  <c:v>Nicolas Feu</c:v>
                </c:pt>
                <c:pt idx="6">
                  <c:v>Ruinart</c:v>
                </c:pt>
                <c:pt idx="7">
                  <c:v>Ayala</c:v>
                </c:pt>
                <c:pt idx="8">
                  <c:v>Heidsieck &amp;</c:v>
                </c:pt>
                <c:pt idx="9">
                  <c:v>Malard</c:v>
                </c:pt>
                <c:pt idx="10">
                  <c:v>Bollinger</c:v>
                </c:pt>
                <c:pt idx="11">
                  <c:v>Ruinart</c:v>
                </c:pt>
                <c:pt idx="12">
                  <c:v>Taittinger</c:v>
                </c:pt>
                <c:pt idx="13">
                  <c:v>Besserat De</c:v>
                </c:pt>
                <c:pt idx="14">
                  <c:v>Ruinart</c:v>
                </c:pt>
                <c:pt idx="15">
                  <c:v>Veuve Clicq</c:v>
                </c:pt>
                <c:pt idx="16">
                  <c:v>Dom Perigno</c:v>
                </c:pt>
                <c:pt idx="17">
                  <c:v>All Others</c:v>
                </c:pt>
                <c:pt idx="18">
                  <c:v>Perrier Jou</c:v>
                </c:pt>
                <c:pt idx="19">
                  <c:v>Deutz</c:v>
                </c:pt>
                <c:pt idx="20">
                  <c:v>Moët &amp; Chan</c:v>
                </c:pt>
                <c:pt idx="21">
                  <c:v>De Bligny</c:v>
                </c:pt>
                <c:pt idx="22">
                  <c:v>Laurent Per</c:v>
                </c:pt>
                <c:pt idx="23">
                  <c:v>Roederer</c:v>
                </c:pt>
                <c:pt idx="24">
                  <c:v>Ruinart</c:v>
                </c:pt>
                <c:pt idx="25">
                  <c:v>Ruinart</c:v>
                </c:pt>
                <c:pt idx="26">
                  <c:v>Dom Perigno</c:v>
                </c:pt>
                <c:pt idx="27">
                  <c:v>Canard Duch</c:v>
                </c:pt>
                <c:pt idx="28">
                  <c:v>Veuve Clicq</c:v>
                </c:pt>
                <c:pt idx="29">
                  <c:v>Roederer</c:v>
                </c:pt>
                <c:pt idx="30">
                  <c:v>Pommery</c:v>
                </c:pt>
                <c:pt idx="31">
                  <c:v>Moët &amp; Chan</c:v>
                </c:pt>
                <c:pt idx="32">
                  <c:v>Demoiselle</c:v>
                </c:pt>
                <c:pt idx="33">
                  <c:v>Campari: Al</c:v>
                </c:pt>
                <c:pt idx="34">
                  <c:v>Laurent Per</c:v>
                </c:pt>
                <c:pt idx="35">
                  <c:v>Veuve Clicq</c:v>
                </c:pt>
                <c:pt idx="36">
                  <c:v>Deutz</c:v>
                </c:pt>
                <c:pt idx="37">
                  <c:v>Dom Perigno</c:v>
                </c:pt>
                <c:pt idx="38">
                  <c:v>All Others</c:v>
                </c:pt>
                <c:pt idx="39">
                  <c:v>All Others</c:v>
                </c:pt>
                <c:pt idx="40">
                  <c:v>Taittinger</c:v>
                </c:pt>
                <c:pt idx="41">
                  <c:v>Ruinart</c:v>
                </c:pt>
                <c:pt idx="42">
                  <c:v>De Chanceny</c:v>
                </c:pt>
                <c:pt idx="43">
                  <c:v>Bottega</c:v>
                </c:pt>
                <c:pt idx="44">
                  <c:v>Ruinart</c:v>
                </c:pt>
                <c:pt idx="45">
                  <c:v>Perrier Jou</c:v>
                </c:pt>
                <c:pt idx="46">
                  <c:v>Malard</c:v>
                </c:pt>
                <c:pt idx="47">
                  <c:v>Moët &amp; Chan</c:v>
                </c:pt>
                <c:pt idx="48">
                  <c:v>Ruinart</c:v>
                </c:pt>
                <c:pt idx="49">
                  <c:v>Laurent Per</c:v>
                </c:pt>
                <c:pt idx="50">
                  <c:v>Demoiselle</c:v>
                </c:pt>
                <c:pt idx="51">
                  <c:v>Henriot</c:v>
                </c:pt>
                <c:pt idx="52">
                  <c:v>Nicolas</c:v>
                </c:pt>
                <c:pt idx="53">
                  <c:v>Nicolas Feu</c:v>
                </c:pt>
                <c:pt idx="54">
                  <c:v>Krug</c:v>
                </c:pt>
                <c:pt idx="55">
                  <c:v>Savian</c:v>
                </c:pt>
                <c:pt idx="56">
                  <c:v>Vesselle</c:v>
                </c:pt>
                <c:pt idx="57">
                  <c:v>Roederer</c:v>
                </c:pt>
                <c:pt idx="58">
                  <c:v>Besserat De</c:v>
                </c:pt>
                <c:pt idx="59">
                  <c:v>Deutz</c:v>
                </c:pt>
                <c:pt idx="60">
                  <c:v>Patriarche</c:v>
                </c:pt>
                <c:pt idx="61">
                  <c:v>Malard</c:v>
                </c:pt>
                <c:pt idx="62">
                  <c:v>Savian</c:v>
                </c:pt>
                <c:pt idx="63">
                  <c:v>Nicolas Feu</c:v>
                </c:pt>
                <c:pt idx="64">
                  <c:v>Bouvet-Ladu</c:v>
                </c:pt>
                <c:pt idx="65">
                  <c:v>Piper Heids</c:v>
                </c:pt>
                <c:pt idx="66">
                  <c:v>Nicolas</c:v>
                </c:pt>
                <c:pt idx="67">
                  <c:v>Bollinger</c:v>
                </c:pt>
                <c:pt idx="68">
                  <c:v>Dom Perigno</c:v>
                </c:pt>
                <c:pt idx="69">
                  <c:v>Mure</c:v>
                </c:pt>
                <c:pt idx="70">
                  <c:v>All Others</c:v>
                </c:pt>
                <c:pt idx="71">
                  <c:v>French Bloo</c:v>
                </c:pt>
                <c:pt idx="72">
                  <c:v>Campari: Al</c:v>
                </c:pt>
                <c:pt idx="73">
                  <c:v>Roederer</c:v>
                </c:pt>
                <c:pt idx="74">
                  <c:v>Henriot</c:v>
                </c:pt>
                <c:pt idx="75">
                  <c:v>Bollinger</c:v>
                </c:pt>
                <c:pt idx="76">
                  <c:v>Delamotte</c:v>
                </c:pt>
                <c:pt idx="77">
                  <c:v>Roederer</c:v>
                </c:pt>
                <c:pt idx="78">
                  <c:v>Louis Marti</c:v>
                </c:pt>
                <c:pt idx="79">
                  <c:v>Lanson</c:v>
                </c:pt>
                <c:pt idx="80">
                  <c:v>Nicolas Feu</c:v>
                </c:pt>
                <c:pt idx="81">
                  <c:v>De Venoge</c:v>
                </c:pt>
                <c:pt idx="82">
                  <c:v>Besserat De</c:v>
                </c:pt>
                <c:pt idx="83">
                  <c:v>Malard</c:v>
                </c:pt>
                <c:pt idx="84">
                  <c:v>Laurent Per</c:v>
                </c:pt>
                <c:pt idx="85">
                  <c:v>Ruinart</c:v>
                </c:pt>
                <c:pt idx="86">
                  <c:v>Ruinart</c:v>
                </c:pt>
                <c:pt idx="87">
                  <c:v>Lyre's</c:v>
                </c:pt>
                <c:pt idx="88">
                  <c:v>Malard</c:v>
                </c:pt>
                <c:pt idx="89">
                  <c:v>Henriot</c:v>
                </c:pt>
                <c:pt idx="90">
                  <c:v>Roederer</c:v>
                </c:pt>
                <c:pt idx="91">
                  <c:v>Nicolas</c:v>
                </c:pt>
                <c:pt idx="92">
                  <c:v>Canard Duch</c:v>
                </c:pt>
                <c:pt idx="93">
                  <c:v>Laurent Per</c:v>
                </c:pt>
                <c:pt idx="94">
                  <c:v>Deutz</c:v>
                </c:pt>
                <c:pt idx="95">
                  <c:v>Pommery</c:v>
                </c:pt>
                <c:pt idx="96">
                  <c:v>Roederer</c:v>
                </c:pt>
                <c:pt idx="97">
                  <c:v>Henriot</c:v>
                </c:pt>
                <c:pt idx="98">
                  <c:v>Ruinart</c:v>
                </c:pt>
                <c:pt idx="99">
                  <c:v>Moët &amp; Chan</c:v>
                </c:pt>
                <c:pt idx="100">
                  <c:v>Veuve Clicq</c:v>
                </c:pt>
                <c:pt idx="101">
                  <c:v>De Venoge</c:v>
                </c:pt>
                <c:pt idx="102">
                  <c:v>Ayala</c:v>
                </c:pt>
                <c:pt idx="103">
                  <c:v>All Others</c:v>
                </c:pt>
                <c:pt idx="104">
                  <c:v>Vranken</c:v>
                </c:pt>
                <c:pt idx="105">
                  <c:v>Roederer</c:v>
                </c:pt>
                <c:pt idx="106">
                  <c:v>Roederer</c:v>
                </c:pt>
                <c:pt idx="107">
                  <c:v>Roederer</c:v>
                </c:pt>
                <c:pt idx="108">
                  <c:v>Laurent Per</c:v>
                </c:pt>
                <c:pt idx="109">
                  <c:v>De Bligny</c:v>
                </c:pt>
                <c:pt idx="110">
                  <c:v>Laurent Per</c:v>
                </c:pt>
                <c:pt idx="111">
                  <c:v>Roederer</c:v>
                </c:pt>
                <c:pt idx="112">
                  <c:v>Bollinger</c:v>
                </c:pt>
                <c:pt idx="113">
                  <c:v>Ruinart</c:v>
                </c:pt>
                <c:pt idx="114">
                  <c:v>Deutz</c:v>
                </c:pt>
                <c:pt idx="115">
                  <c:v>Canard Duch</c:v>
                </c:pt>
                <c:pt idx="116">
                  <c:v>Moët &amp; Chan</c:v>
                </c:pt>
                <c:pt idx="117">
                  <c:v>All Others</c:v>
                </c:pt>
                <c:pt idx="118">
                  <c:v>Laurent Per</c:v>
                </c:pt>
                <c:pt idx="119">
                  <c:v>Veuve Clicq</c:v>
                </c:pt>
                <c:pt idx="120">
                  <c:v>Ruinart</c:v>
                </c:pt>
                <c:pt idx="121">
                  <c:v>Nicolas</c:v>
                </c:pt>
                <c:pt idx="122">
                  <c:v>De Venoge</c:v>
                </c:pt>
                <c:pt idx="123">
                  <c:v>De Chanceny</c:v>
                </c:pt>
                <c:pt idx="124">
                  <c:v>De Venoge</c:v>
                </c:pt>
                <c:pt idx="125">
                  <c:v>Nicolas</c:v>
                </c:pt>
                <c:pt idx="126">
                  <c:v>Nicolas</c:v>
                </c:pt>
                <c:pt idx="127">
                  <c:v>Malard</c:v>
                </c:pt>
                <c:pt idx="128">
                  <c:v>Moët &amp; Chan</c:v>
                </c:pt>
                <c:pt idx="129">
                  <c:v>Taittinger</c:v>
                </c:pt>
                <c:pt idx="130">
                  <c:v>Roederer</c:v>
                </c:pt>
                <c:pt idx="131">
                  <c:v>Bottega</c:v>
                </c:pt>
                <c:pt idx="132">
                  <c:v>Vranken</c:v>
                </c:pt>
                <c:pt idx="133">
                  <c:v>Roederer</c:v>
                </c:pt>
                <c:pt idx="134">
                  <c:v>Canard Duch</c:v>
                </c:pt>
                <c:pt idx="135">
                  <c:v>Ruinart</c:v>
                </c:pt>
                <c:pt idx="136">
                  <c:v>Nicolas</c:v>
                </c:pt>
                <c:pt idx="137">
                  <c:v>Taittinger</c:v>
                </c:pt>
                <c:pt idx="138">
                  <c:v>Patriarche</c:v>
                </c:pt>
                <c:pt idx="139">
                  <c:v>Deutz</c:v>
                </c:pt>
                <c:pt idx="140">
                  <c:v>All Others</c:v>
                </c:pt>
                <c:pt idx="141">
                  <c:v>Ruinart</c:v>
                </c:pt>
                <c:pt idx="142">
                  <c:v>Nicolas</c:v>
                </c:pt>
                <c:pt idx="143">
                  <c:v>Ruinart</c:v>
                </c:pt>
                <c:pt idx="144">
                  <c:v>Nicolas Feu</c:v>
                </c:pt>
                <c:pt idx="145">
                  <c:v>All Others</c:v>
                </c:pt>
                <c:pt idx="146">
                  <c:v>Veuve Clicq</c:v>
                </c:pt>
                <c:pt idx="147">
                  <c:v>Pommery</c:v>
                </c:pt>
                <c:pt idx="148">
                  <c:v>Veuve Clicq</c:v>
                </c:pt>
                <c:pt idx="149">
                  <c:v>Canard Duch</c:v>
                </c:pt>
                <c:pt idx="150">
                  <c:v>Contarini</c:v>
                </c:pt>
                <c:pt idx="151">
                  <c:v>Moët &amp; Chan</c:v>
                </c:pt>
                <c:pt idx="152">
                  <c:v>Ruinart</c:v>
                </c:pt>
                <c:pt idx="153">
                  <c:v>Lanson</c:v>
                </c:pt>
                <c:pt idx="154">
                  <c:v>Nicolas</c:v>
                </c:pt>
                <c:pt idx="155">
                  <c:v>All Others</c:v>
                </c:pt>
                <c:pt idx="156">
                  <c:v>Demoiselle</c:v>
                </c:pt>
                <c:pt idx="157">
                  <c:v>Nicolas</c:v>
                </c:pt>
                <c:pt idx="158">
                  <c:v>Perrier Jou</c:v>
                </c:pt>
                <c:pt idx="159">
                  <c:v>Roederer</c:v>
                </c:pt>
                <c:pt idx="160">
                  <c:v>Pommery</c:v>
                </c:pt>
                <c:pt idx="161">
                  <c:v>Nicolas</c:v>
                </c:pt>
                <c:pt idx="162">
                  <c:v>Pommery</c:v>
                </c:pt>
                <c:pt idx="163">
                  <c:v>All Others</c:v>
                </c:pt>
                <c:pt idx="164">
                  <c:v>Moët &amp; Chan</c:v>
                </c:pt>
                <c:pt idx="165">
                  <c:v>Kriter</c:v>
                </c:pt>
                <c:pt idx="166">
                  <c:v>Roederer</c:v>
                </c:pt>
                <c:pt idx="167">
                  <c:v>Dom Perigno</c:v>
                </c:pt>
                <c:pt idx="168">
                  <c:v>Pommery</c:v>
                </c:pt>
                <c:pt idx="169">
                  <c:v>Besserat De</c:v>
                </c:pt>
                <c:pt idx="170">
                  <c:v>Nicolas</c:v>
                </c:pt>
                <c:pt idx="171">
                  <c:v>Laurent Per</c:v>
                </c:pt>
                <c:pt idx="172">
                  <c:v>All Others</c:v>
                </c:pt>
                <c:pt idx="173">
                  <c:v>Canard Duch</c:v>
                </c:pt>
                <c:pt idx="174">
                  <c:v>Roederer</c:v>
                </c:pt>
                <c:pt idx="175">
                  <c:v>Perrier Jou</c:v>
                </c:pt>
                <c:pt idx="176">
                  <c:v>Louis Marti</c:v>
                </c:pt>
                <c:pt idx="177">
                  <c:v>Cru La Maqu</c:v>
                </c:pt>
                <c:pt idx="178">
                  <c:v>Nicolas</c:v>
                </c:pt>
                <c:pt idx="179">
                  <c:v>Dom Perigno</c:v>
                </c:pt>
                <c:pt idx="180">
                  <c:v>Bollinger</c:v>
                </c:pt>
                <c:pt idx="181">
                  <c:v>All Others</c:v>
                </c:pt>
                <c:pt idx="182">
                  <c:v>All Others</c:v>
                </c:pt>
                <c:pt idx="183">
                  <c:v>All Others</c:v>
                </c:pt>
                <c:pt idx="184">
                  <c:v>Moët &amp; Chan</c:v>
                </c:pt>
                <c:pt idx="185">
                  <c:v>Ruinart</c:v>
                </c:pt>
                <c:pt idx="186">
                  <c:v>Roederer</c:v>
                </c:pt>
                <c:pt idx="187">
                  <c:v>Dom Perigno</c:v>
                </c:pt>
                <c:pt idx="188">
                  <c:v>Deutz</c:v>
                </c:pt>
                <c:pt idx="189">
                  <c:v>Nicolas</c:v>
                </c:pt>
                <c:pt idx="190">
                  <c:v>All Others</c:v>
                </c:pt>
                <c:pt idx="191">
                  <c:v>All Others</c:v>
                </c:pt>
                <c:pt idx="192">
                  <c:v>All Others</c:v>
                </c:pt>
                <c:pt idx="193">
                  <c:v>Krug</c:v>
                </c:pt>
                <c:pt idx="194">
                  <c:v>Roederer</c:v>
                </c:pt>
                <c:pt idx="195">
                  <c:v>Nicolas</c:v>
                </c:pt>
                <c:pt idx="196">
                  <c:v>All Others</c:v>
                </c:pt>
                <c:pt idx="197">
                  <c:v>Besserat De</c:v>
                </c:pt>
                <c:pt idx="198">
                  <c:v>Pommery</c:v>
                </c:pt>
                <c:pt idx="199">
                  <c:v>All Others</c:v>
                </c:pt>
                <c:pt idx="200">
                  <c:v>Laurent Per</c:v>
                </c:pt>
                <c:pt idx="201">
                  <c:v>Dom Perigno</c:v>
                </c:pt>
                <c:pt idx="202">
                  <c:v>Vesselle</c:v>
                </c:pt>
                <c:pt idx="203">
                  <c:v>Contarini</c:v>
                </c:pt>
                <c:pt idx="204">
                  <c:v>All Others</c:v>
                </c:pt>
                <c:pt idx="205">
                  <c:v>Roederer</c:v>
                </c:pt>
                <c:pt idx="206">
                  <c:v>Nicolas</c:v>
                </c:pt>
                <c:pt idx="207">
                  <c:v>Piper Heids</c:v>
                </c:pt>
                <c:pt idx="208">
                  <c:v>Bollinger</c:v>
                </c:pt>
                <c:pt idx="209">
                  <c:v>Henriot</c:v>
                </c:pt>
                <c:pt idx="210">
                  <c:v>Deutz</c:v>
                </c:pt>
                <c:pt idx="211">
                  <c:v>All Others</c:v>
                </c:pt>
                <c:pt idx="212">
                  <c:v>Dom Perigno</c:v>
                </c:pt>
                <c:pt idx="213">
                  <c:v>Dom Perigno</c:v>
                </c:pt>
                <c:pt idx="214">
                  <c:v>Ayala</c:v>
                </c:pt>
                <c:pt idx="215">
                  <c:v>De Venoge</c:v>
                </c:pt>
                <c:pt idx="216">
                  <c:v>Piper Heids</c:v>
                </c:pt>
                <c:pt idx="217">
                  <c:v>Demoiselle</c:v>
                </c:pt>
                <c:pt idx="218">
                  <c:v>Laurent Per</c:v>
                </c:pt>
                <c:pt idx="219">
                  <c:v>Perrier Jou</c:v>
                </c:pt>
                <c:pt idx="220">
                  <c:v>Bollinger</c:v>
                </c:pt>
                <c:pt idx="221">
                  <c:v>De Venoge</c:v>
                </c:pt>
                <c:pt idx="222">
                  <c:v>De Venoge</c:v>
                </c:pt>
                <c:pt idx="223">
                  <c:v>Veuve Clicq</c:v>
                </c:pt>
                <c:pt idx="224">
                  <c:v>Malard</c:v>
                </c:pt>
                <c:pt idx="225">
                  <c:v>Ruinart</c:v>
                </c:pt>
                <c:pt idx="226">
                  <c:v>Dom Perigno</c:v>
                </c:pt>
                <c:pt idx="227">
                  <c:v>Ruinart</c:v>
                </c:pt>
                <c:pt idx="228">
                  <c:v>Dom Perigno</c:v>
                </c:pt>
                <c:pt idx="229">
                  <c:v>Deutz</c:v>
                </c:pt>
                <c:pt idx="230">
                  <c:v>Taittinger</c:v>
                </c:pt>
                <c:pt idx="231">
                  <c:v>All Others</c:v>
                </c:pt>
                <c:pt idx="232">
                  <c:v>All Others</c:v>
                </c:pt>
                <c:pt idx="233">
                  <c:v>Ruinart</c:v>
                </c:pt>
                <c:pt idx="234">
                  <c:v>Bouvet-Ladu</c:v>
                </c:pt>
                <c:pt idx="235">
                  <c:v>Dom Perigno</c:v>
                </c:pt>
                <c:pt idx="236">
                  <c:v>Nicolas</c:v>
                </c:pt>
                <c:pt idx="237">
                  <c:v>Bouvet-Ladu</c:v>
                </c:pt>
                <c:pt idx="238">
                  <c:v>Pommery</c:v>
                </c:pt>
                <c:pt idx="239">
                  <c:v>Piper Heids</c:v>
                </c:pt>
                <c:pt idx="240">
                  <c:v>Nicolas Feu</c:v>
                </c:pt>
                <c:pt idx="241">
                  <c:v>Nicolas</c:v>
                </c:pt>
                <c:pt idx="242">
                  <c:v>Roederer</c:v>
                </c:pt>
                <c:pt idx="243">
                  <c:v>Vranken</c:v>
                </c:pt>
                <c:pt idx="244">
                  <c:v>Roederer</c:v>
                </c:pt>
                <c:pt idx="245">
                  <c:v>Deutz</c:v>
                </c:pt>
                <c:pt idx="246">
                  <c:v>Bollinger</c:v>
                </c:pt>
                <c:pt idx="247">
                  <c:v>Moët &amp; Chan</c:v>
                </c:pt>
                <c:pt idx="248">
                  <c:v>Bollinger</c:v>
                </c:pt>
                <c:pt idx="249">
                  <c:v>Canard Duch</c:v>
                </c:pt>
                <c:pt idx="250">
                  <c:v>Deutz</c:v>
                </c:pt>
                <c:pt idx="251">
                  <c:v>Deutz</c:v>
                </c:pt>
                <c:pt idx="252">
                  <c:v>Bouvet-Ladu</c:v>
                </c:pt>
                <c:pt idx="253">
                  <c:v>Bollinger</c:v>
                </c:pt>
                <c:pt idx="254">
                  <c:v>Taittinger</c:v>
                </c:pt>
                <c:pt idx="255">
                  <c:v>Laurent Per</c:v>
                </c:pt>
                <c:pt idx="256">
                  <c:v>All Others</c:v>
                </c:pt>
                <c:pt idx="257">
                  <c:v>All Others</c:v>
                </c:pt>
                <c:pt idx="258">
                  <c:v>Roederer</c:v>
                </c:pt>
                <c:pt idx="259">
                  <c:v>Bollinger</c:v>
                </c:pt>
                <c:pt idx="260">
                  <c:v>Laurent Per</c:v>
                </c:pt>
                <c:pt idx="261">
                  <c:v>Bollinger</c:v>
                </c:pt>
                <c:pt idx="262">
                  <c:v>Roederer</c:v>
                </c:pt>
                <c:pt idx="263">
                  <c:v>Ruinart</c:v>
                </c:pt>
                <c:pt idx="264">
                  <c:v>All Others</c:v>
                </c:pt>
                <c:pt idx="265">
                  <c:v>All Others</c:v>
                </c:pt>
                <c:pt idx="266">
                  <c:v>Piper Heids</c:v>
                </c:pt>
                <c:pt idx="267">
                  <c:v>Veuve Clicq</c:v>
                </c:pt>
                <c:pt idx="268">
                  <c:v>Bottega</c:v>
                </c:pt>
                <c:pt idx="269">
                  <c:v>Canard Duch</c:v>
                </c:pt>
                <c:pt idx="270">
                  <c:v>Canard Duch</c:v>
                </c:pt>
                <c:pt idx="271">
                  <c:v>All Others</c:v>
                </c:pt>
                <c:pt idx="272">
                  <c:v>All Others</c:v>
                </c:pt>
                <c:pt idx="273">
                  <c:v>Delamotte</c:v>
                </c:pt>
                <c:pt idx="274">
                  <c:v>Vesselle</c:v>
                </c:pt>
                <c:pt idx="275">
                  <c:v>Ayala</c:v>
                </c:pt>
                <c:pt idx="276">
                  <c:v>Perrier Jou</c:v>
                </c:pt>
                <c:pt idx="277">
                  <c:v>Roederer</c:v>
                </c:pt>
                <c:pt idx="278">
                  <c:v>All Others</c:v>
                </c:pt>
                <c:pt idx="279">
                  <c:v>Nicolas</c:v>
                </c:pt>
                <c:pt idx="280">
                  <c:v>Celene</c:v>
                </c:pt>
                <c:pt idx="281">
                  <c:v>Lanson</c:v>
                </c:pt>
                <c:pt idx="282">
                  <c:v>Taittinger</c:v>
                </c:pt>
                <c:pt idx="283">
                  <c:v>De Bligny</c:v>
                </c:pt>
                <c:pt idx="284">
                  <c:v>Roederer</c:v>
                </c:pt>
                <c:pt idx="285">
                  <c:v>Celene</c:v>
                </c:pt>
                <c:pt idx="286">
                  <c:v>Roederer</c:v>
                </c:pt>
                <c:pt idx="287">
                  <c:v>De Bligny</c:v>
                </c:pt>
                <c:pt idx="288">
                  <c:v>Jaillance</c:v>
                </c:pt>
                <c:pt idx="289">
                  <c:v>Nicolas Feu</c:v>
                </c:pt>
                <c:pt idx="290">
                  <c:v>Demoiselle</c:v>
                </c:pt>
                <c:pt idx="291">
                  <c:v>All Others</c:v>
                </c:pt>
                <c:pt idx="292">
                  <c:v>Besserat De</c:v>
                </c:pt>
                <c:pt idx="293">
                  <c:v>Roederer</c:v>
                </c:pt>
                <c:pt idx="294">
                  <c:v>All Others</c:v>
                </c:pt>
                <c:pt idx="295">
                  <c:v>Laurent Per</c:v>
                </c:pt>
                <c:pt idx="296">
                  <c:v>All Others</c:v>
                </c:pt>
                <c:pt idx="297">
                  <c:v>Ruinart</c:v>
                </c:pt>
                <c:pt idx="298">
                  <c:v>Malard</c:v>
                </c:pt>
                <c:pt idx="299">
                  <c:v>All Others</c:v>
                </c:pt>
                <c:pt idx="300">
                  <c:v>Roederer</c:v>
                </c:pt>
                <c:pt idx="301">
                  <c:v>Laurent Per</c:v>
                </c:pt>
                <c:pt idx="302">
                  <c:v>Roederer</c:v>
                </c:pt>
                <c:pt idx="303">
                  <c:v>Roederer</c:v>
                </c:pt>
                <c:pt idx="304">
                  <c:v>Martel</c:v>
                </c:pt>
                <c:pt idx="305">
                  <c:v>Pommery</c:v>
                </c:pt>
                <c:pt idx="306">
                  <c:v>Bouvet-Ladu</c:v>
                </c:pt>
                <c:pt idx="307">
                  <c:v>Roederer</c:v>
                </c:pt>
                <c:pt idx="308">
                  <c:v>Delamotte</c:v>
                </c:pt>
                <c:pt idx="309">
                  <c:v>All Others</c:v>
                </c:pt>
                <c:pt idx="310">
                  <c:v>Malard</c:v>
                </c:pt>
                <c:pt idx="311">
                  <c:v>All Others</c:v>
                </c:pt>
                <c:pt idx="312">
                  <c:v>Moët &amp; Chan</c:v>
                </c:pt>
                <c:pt idx="313">
                  <c:v>Nicolas</c:v>
                </c:pt>
                <c:pt idx="314">
                  <c:v>Mure</c:v>
                </c:pt>
                <c:pt idx="315">
                  <c:v>Bottega</c:v>
                </c:pt>
                <c:pt idx="316">
                  <c:v>All Others</c:v>
                </c:pt>
              </c:strCache>
            </c:strRef>
          </c:cat>
          <c:val>
            <c:numRef>
              <c:f>Sheet1!$C$2:$C$318</c:f>
              <c:numCache>
                <c:formatCode>General</c:formatCode>
                <c:ptCount val="317"/>
                <c:pt idx="0">
                  <c:v>9.171129005705303E-2</c:v>
                </c:pt>
                <c:pt idx="1">
                  <c:v>0.18011711537882824</c:v>
                </c:pt>
                <c:pt idx="2">
                  <c:v>0.23105911883776795</c:v>
                </c:pt>
                <c:pt idx="3">
                  <c:v>0.27503615600986348</c:v>
                </c:pt>
                <c:pt idx="4">
                  <c:v>0.31178269928289842</c:v>
                </c:pt>
                <c:pt idx="5">
                  <c:v>0.33627567430737121</c:v>
                </c:pt>
                <c:pt idx="6">
                  <c:v>0.36059782656798478</c:v>
                </c:pt>
                <c:pt idx="7">
                  <c:v>0.38468312819850137</c:v>
                </c:pt>
                <c:pt idx="8">
                  <c:v>0.40837190859477479</c:v>
                </c:pt>
                <c:pt idx="9">
                  <c:v>0.43197855244966926</c:v>
                </c:pt>
                <c:pt idx="10">
                  <c:v>0.45127444402943462</c:v>
                </c:pt>
                <c:pt idx="11">
                  <c:v>0.46941564453287499</c:v>
                </c:pt>
                <c:pt idx="12">
                  <c:v>0.48705287362832861</c:v>
                </c:pt>
                <c:pt idx="13">
                  <c:v>0.50120124691766699</c:v>
                </c:pt>
                <c:pt idx="14">
                  <c:v>0.51381752588451679</c:v>
                </c:pt>
                <c:pt idx="15">
                  <c:v>0.52622987964518431</c:v>
                </c:pt>
                <c:pt idx="16">
                  <c:v>0.53759853287143333</c:v>
                </c:pt>
                <c:pt idx="17">
                  <c:v>0.54864589768690053</c:v>
                </c:pt>
                <c:pt idx="18">
                  <c:v>0.55966954203567632</c:v>
                </c:pt>
                <c:pt idx="19">
                  <c:v>0.57061529828486868</c:v>
                </c:pt>
                <c:pt idx="20">
                  <c:v>0.58138739947567153</c:v>
                </c:pt>
                <c:pt idx="21">
                  <c:v>0.59192388916523431</c:v>
                </c:pt>
                <c:pt idx="22">
                  <c:v>0.60237063052186801</c:v>
                </c:pt>
                <c:pt idx="23">
                  <c:v>0.61263380378925614</c:v>
                </c:pt>
                <c:pt idx="24">
                  <c:v>0.62259303644986053</c:v>
                </c:pt>
                <c:pt idx="25">
                  <c:v>0.63249261390692024</c:v>
                </c:pt>
                <c:pt idx="26">
                  <c:v>0.64217693697967659</c:v>
                </c:pt>
                <c:pt idx="27">
                  <c:v>0.65150828534659322</c:v>
                </c:pt>
                <c:pt idx="28">
                  <c:v>0.65974211958301543</c:v>
                </c:pt>
                <c:pt idx="29">
                  <c:v>0.66784850056557377</c:v>
                </c:pt>
                <c:pt idx="30">
                  <c:v>0.67529265568326446</c:v>
                </c:pt>
                <c:pt idx="31">
                  <c:v>0.68244331428025196</c:v>
                </c:pt>
                <c:pt idx="32">
                  <c:v>0.68939819051783191</c:v>
                </c:pt>
                <c:pt idx="33">
                  <c:v>0.69632049536831331</c:v>
                </c:pt>
                <c:pt idx="34">
                  <c:v>0.70310862026542131</c:v>
                </c:pt>
                <c:pt idx="35">
                  <c:v>0.70980575770074317</c:v>
                </c:pt>
                <c:pt idx="36">
                  <c:v>0.71623789857907305</c:v>
                </c:pt>
                <c:pt idx="37">
                  <c:v>0.72255586258414994</c:v>
                </c:pt>
                <c:pt idx="38">
                  <c:v>0.72875380810850499</c:v>
                </c:pt>
                <c:pt idx="39">
                  <c:v>0.73490519779151808</c:v>
                </c:pt>
                <c:pt idx="40">
                  <c:v>0.74073140465877019</c:v>
                </c:pt>
                <c:pt idx="41">
                  <c:v>0.74640749991591593</c:v>
                </c:pt>
                <c:pt idx="42">
                  <c:v>0.75177186575631971</c:v>
                </c:pt>
                <c:pt idx="43">
                  <c:v>0.75701072554534921</c:v>
                </c:pt>
                <c:pt idx="44">
                  <c:v>0.76219010714924218</c:v>
                </c:pt>
                <c:pt idx="45">
                  <c:v>0.76731337391775345</c:v>
                </c:pt>
                <c:pt idx="46">
                  <c:v>0.77241115003549199</c:v>
                </c:pt>
                <c:pt idx="47">
                  <c:v>0.7767479240166183</c:v>
                </c:pt>
                <c:pt idx="48">
                  <c:v>0.78106646510170574</c:v>
                </c:pt>
                <c:pt idx="49">
                  <c:v>0.78528800009913013</c:v>
                </c:pt>
                <c:pt idx="50">
                  <c:v>0.78949307238459709</c:v>
                </c:pt>
                <c:pt idx="51">
                  <c:v>0.7936128217973385</c:v>
                </c:pt>
                <c:pt idx="52">
                  <c:v>0.79772832276828443</c:v>
                </c:pt>
                <c:pt idx="53">
                  <c:v>0.80183957529743488</c:v>
                </c:pt>
                <c:pt idx="54">
                  <c:v>0.80583045530904729</c:v>
                </c:pt>
                <c:pt idx="55">
                  <c:v>0.80981142228980363</c:v>
                </c:pt>
                <c:pt idx="56">
                  <c:v>0.81376141104913469</c:v>
                </c:pt>
                <c:pt idx="57">
                  <c:v>0.81751986589085368</c:v>
                </c:pt>
                <c:pt idx="58">
                  <c:v>0.82122875557829222</c:v>
                </c:pt>
                <c:pt idx="59">
                  <c:v>0.82482063609794742</c:v>
                </c:pt>
                <c:pt idx="60">
                  <c:v>0.82835339246928252</c:v>
                </c:pt>
                <c:pt idx="61">
                  <c:v>0.83187570475453709</c:v>
                </c:pt>
                <c:pt idx="62">
                  <c:v>0.83533783078102264</c:v>
                </c:pt>
                <c:pt idx="63">
                  <c:v>0.83879110588710093</c:v>
                </c:pt>
                <c:pt idx="64">
                  <c:v>0.84211533457364207</c:v>
                </c:pt>
                <c:pt idx="65">
                  <c:v>0.84533547643619433</c:v>
                </c:pt>
                <c:pt idx="66">
                  <c:v>0.84854818352560457</c:v>
                </c:pt>
                <c:pt idx="67">
                  <c:v>0.8516169746491935</c:v>
                </c:pt>
                <c:pt idx="68">
                  <c:v>0.85462929690058442</c:v>
                </c:pt>
                <c:pt idx="69">
                  <c:v>0.85761701359324327</c:v>
                </c:pt>
                <c:pt idx="70">
                  <c:v>0.86057711541423165</c:v>
                </c:pt>
                <c:pt idx="71">
                  <c:v>0.86347596886600209</c:v>
                </c:pt>
                <c:pt idx="72">
                  <c:v>0.86618948404444551</c:v>
                </c:pt>
                <c:pt idx="73">
                  <c:v>0.86889644954178757</c:v>
                </c:pt>
                <c:pt idx="74">
                  <c:v>0.87152641203158687</c:v>
                </c:pt>
                <c:pt idx="75">
                  <c:v>0.87414256708555094</c:v>
                </c:pt>
                <c:pt idx="76">
                  <c:v>0.87674385259323084</c:v>
                </c:pt>
                <c:pt idx="77">
                  <c:v>0.8792628245411237</c:v>
                </c:pt>
                <c:pt idx="78">
                  <c:v>0.88172851394816509</c:v>
                </c:pt>
                <c:pt idx="79">
                  <c:v>0.88414587732978311</c:v>
                </c:pt>
                <c:pt idx="80">
                  <c:v>0.88655633699348357</c:v>
                </c:pt>
                <c:pt idx="81">
                  <c:v>0.88870905785492593</c:v>
                </c:pt>
                <c:pt idx="82">
                  <c:v>0.89078512974564183</c:v>
                </c:pt>
                <c:pt idx="83">
                  <c:v>0.892844384887584</c:v>
                </c:pt>
                <c:pt idx="84">
                  <c:v>0.89489054066732354</c:v>
                </c:pt>
                <c:pt idx="85">
                  <c:v>0.89693651942865493</c:v>
                </c:pt>
                <c:pt idx="86">
                  <c:v>0.89895258207900997</c:v>
                </c:pt>
                <c:pt idx="87">
                  <c:v>0.90096829069254869</c:v>
                </c:pt>
                <c:pt idx="88">
                  <c:v>0.90294275401698976</c:v>
                </c:pt>
                <c:pt idx="89">
                  <c:v>0.90480923611246289</c:v>
                </c:pt>
                <c:pt idx="90">
                  <c:v>0.90662880832977777</c:v>
                </c:pt>
                <c:pt idx="91">
                  <c:v>0.90842961659582933</c:v>
                </c:pt>
                <c:pt idx="92">
                  <c:v>0.91019537521706839</c:v>
                </c:pt>
                <c:pt idx="93">
                  <c:v>0.91193015561688218</c:v>
                </c:pt>
                <c:pt idx="94">
                  <c:v>0.91365555404106435</c:v>
                </c:pt>
                <c:pt idx="95">
                  <c:v>0.91534820405973982</c:v>
                </c:pt>
                <c:pt idx="96">
                  <c:v>0.91701837274058096</c:v>
                </c:pt>
                <c:pt idx="97">
                  <c:v>0.91866198866020043</c:v>
                </c:pt>
                <c:pt idx="98">
                  <c:v>0.92029356732806611</c:v>
                </c:pt>
                <c:pt idx="99">
                  <c:v>0.92191381681781059</c:v>
                </c:pt>
                <c:pt idx="100">
                  <c:v>0.9234860943189479</c:v>
                </c:pt>
                <c:pt idx="101">
                  <c:v>0.92497658931552262</c:v>
                </c:pt>
                <c:pt idx="102">
                  <c:v>0.9264348669618151</c:v>
                </c:pt>
                <c:pt idx="103">
                  <c:v>0.92786818501255919</c:v>
                </c:pt>
                <c:pt idx="104">
                  <c:v>0.92927158695232692</c:v>
                </c:pt>
                <c:pt idx="105">
                  <c:v>0.93067074045029918</c:v>
                </c:pt>
                <c:pt idx="106">
                  <c:v>0.93205767967810949</c:v>
                </c:pt>
                <c:pt idx="107">
                  <c:v>0.93338301649988553</c:v>
                </c:pt>
                <c:pt idx="108">
                  <c:v>0.93469065148084718</c:v>
                </c:pt>
                <c:pt idx="109">
                  <c:v>0.93599049765185049</c:v>
                </c:pt>
                <c:pt idx="110">
                  <c:v>0.93726768546661132</c:v>
                </c:pt>
                <c:pt idx="111">
                  <c:v>0.93852787951419037</c:v>
                </c:pt>
                <c:pt idx="112">
                  <c:v>0.93975213882491604</c:v>
                </c:pt>
                <c:pt idx="113">
                  <c:v>0.94097161863862189</c:v>
                </c:pt>
                <c:pt idx="114">
                  <c:v>0.94211444948160128</c:v>
                </c:pt>
                <c:pt idx="115">
                  <c:v>0.94325232380915258</c:v>
                </c:pt>
                <c:pt idx="116">
                  <c:v>0.94435992798891122</c:v>
                </c:pt>
                <c:pt idx="117">
                  <c:v>0.94546416881891515</c:v>
                </c:pt>
                <c:pt idx="118">
                  <c:v>0.94655902767328737</c:v>
                </c:pt>
                <c:pt idx="119">
                  <c:v>0.94762113812215298</c:v>
                </c:pt>
                <c:pt idx="120">
                  <c:v>0.94866359952771451</c:v>
                </c:pt>
                <c:pt idx="121">
                  <c:v>0.94970021932580728</c:v>
                </c:pt>
                <c:pt idx="122">
                  <c:v>0.95068727396961972</c:v>
                </c:pt>
                <c:pt idx="123">
                  <c:v>0.95167344352139138</c:v>
                </c:pt>
                <c:pt idx="124">
                  <c:v>0.9526390789378183</c:v>
                </c:pt>
                <c:pt idx="125">
                  <c:v>0.95360064293085789</c:v>
                </c:pt>
                <c:pt idx="126">
                  <c:v>0.95451334984324976</c:v>
                </c:pt>
                <c:pt idx="127">
                  <c:v>0.95541207230139813</c:v>
                </c:pt>
                <c:pt idx="128">
                  <c:v>0.95630902457546507</c:v>
                </c:pt>
                <c:pt idx="129">
                  <c:v>0.95716490857884262</c:v>
                </c:pt>
                <c:pt idx="130">
                  <c:v>0.95801017147773149</c:v>
                </c:pt>
                <c:pt idx="131">
                  <c:v>0.95884729152984571</c:v>
                </c:pt>
                <c:pt idx="132">
                  <c:v>0.95965750478392198</c:v>
                </c:pt>
                <c:pt idx="133">
                  <c:v>0.96045745097032587</c:v>
                </c:pt>
                <c:pt idx="134">
                  <c:v>0.96125491889901582</c:v>
                </c:pt>
                <c:pt idx="135">
                  <c:v>0.96203185269236102</c:v>
                </c:pt>
                <c:pt idx="136">
                  <c:v>0.96277710019064833</c:v>
                </c:pt>
                <c:pt idx="137">
                  <c:v>0.96350606199538635</c:v>
                </c:pt>
                <c:pt idx="138">
                  <c:v>0.96422935921106379</c:v>
                </c:pt>
                <c:pt idx="139">
                  <c:v>0.96494274339588515</c:v>
                </c:pt>
                <c:pt idx="140">
                  <c:v>0.96563984188715724</c:v>
                </c:pt>
                <c:pt idx="141">
                  <c:v>0.96632826647643022</c:v>
                </c:pt>
                <c:pt idx="142">
                  <c:v>0.96700111344578654</c:v>
                </c:pt>
                <c:pt idx="143">
                  <c:v>0.96765360329820627</c:v>
                </c:pt>
                <c:pt idx="144">
                  <c:v>0.96830467700336087</c:v>
                </c:pt>
                <c:pt idx="145">
                  <c:v>0.96895203332194446</c:v>
                </c:pt>
                <c:pt idx="146">
                  <c:v>0.96959089275693711</c:v>
                </c:pt>
                <c:pt idx="147">
                  <c:v>0.97018018703764941</c:v>
                </c:pt>
                <c:pt idx="148">
                  <c:v>0.97076895026313725</c:v>
                </c:pt>
                <c:pt idx="149">
                  <c:v>0.97135700541499248</c:v>
                </c:pt>
                <c:pt idx="150">
                  <c:v>0.97191425936383058</c:v>
                </c:pt>
                <c:pt idx="151">
                  <c:v>0.97246903505495474</c:v>
                </c:pt>
                <c:pt idx="152">
                  <c:v>0.97301903124905897</c:v>
                </c:pt>
                <c:pt idx="153">
                  <c:v>0.97356743427748993</c:v>
                </c:pt>
                <c:pt idx="154">
                  <c:v>0.9741112348273091</c:v>
                </c:pt>
                <c:pt idx="155">
                  <c:v>0.97465273413782239</c:v>
                </c:pt>
                <c:pt idx="156">
                  <c:v>0.97518856885927507</c:v>
                </c:pt>
                <c:pt idx="157">
                  <c:v>0.97571749986281009</c:v>
                </c:pt>
                <c:pt idx="158">
                  <c:v>0.97623049920961213</c:v>
                </c:pt>
                <c:pt idx="159">
                  <c:v>0.97674031222506763</c:v>
                </c:pt>
                <c:pt idx="160">
                  <c:v>0.9772483550564417</c:v>
                </c:pt>
                <c:pt idx="161">
                  <c:v>0.97775445068532618</c:v>
                </c:pt>
                <c:pt idx="162">
                  <c:v>0.97825470470674192</c:v>
                </c:pt>
                <c:pt idx="163">
                  <c:v>0.9787374339057513</c:v>
                </c:pt>
                <c:pt idx="164">
                  <c:v>0.97920670970574175</c:v>
                </c:pt>
                <c:pt idx="165">
                  <c:v>0.97967368426642631</c:v>
                </c:pt>
                <c:pt idx="166">
                  <c:v>0.98012614331764303</c:v>
                </c:pt>
                <c:pt idx="167">
                  <c:v>0.9805757700743295</c:v>
                </c:pt>
                <c:pt idx="168">
                  <c:v>0.98101920118673092</c:v>
                </c:pt>
                <c:pt idx="169">
                  <c:v>0.98145980000460198</c:v>
                </c:pt>
                <c:pt idx="170">
                  <c:v>0.98189756652794269</c:v>
                </c:pt>
                <c:pt idx="171">
                  <c:v>0.98231780822887715</c:v>
                </c:pt>
                <c:pt idx="172">
                  <c:v>0.98272441951238454</c:v>
                </c:pt>
                <c:pt idx="173">
                  <c:v>0.98312058670981139</c:v>
                </c:pt>
                <c:pt idx="174">
                  <c:v>0.98351675390723825</c:v>
                </c:pt>
                <c:pt idx="175">
                  <c:v>0.98389734348474844</c:v>
                </c:pt>
                <c:pt idx="176">
                  <c:v>0.98426058525826043</c:v>
                </c:pt>
                <c:pt idx="177">
                  <c:v>0.98461072766956981</c:v>
                </c:pt>
                <c:pt idx="178">
                  <c:v>0.98494900984753353</c:v>
                </c:pt>
                <c:pt idx="179">
                  <c:v>0.98528622991504833</c:v>
                </c:pt>
                <c:pt idx="180">
                  <c:v>0.98562061768803289</c:v>
                </c:pt>
                <c:pt idx="181">
                  <c:v>0.98595447440579298</c:v>
                </c:pt>
                <c:pt idx="182">
                  <c:v>0.98626531873049428</c:v>
                </c:pt>
                <c:pt idx="183">
                  <c:v>0.9865651879138907</c:v>
                </c:pt>
                <c:pt idx="184">
                  <c:v>0.98685833039777759</c:v>
                </c:pt>
                <c:pt idx="185">
                  <c:v>0.9871344791144826</c:v>
                </c:pt>
                <c:pt idx="186">
                  <c:v>0.9874099197575551</c:v>
                </c:pt>
                <c:pt idx="187">
                  <c:v>0.98768075792201582</c:v>
                </c:pt>
                <c:pt idx="188">
                  <c:v>0.9879494718655788</c:v>
                </c:pt>
                <c:pt idx="189">
                  <c:v>0.98821765475391732</c:v>
                </c:pt>
                <c:pt idx="190">
                  <c:v>0.98848530658703149</c:v>
                </c:pt>
                <c:pt idx="191">
                  <c:v>0.98874994910720715</c:v>
                </c:pt>
                <c:pt idx="192">
                  <c:v>0.98901229038807692</c:v>
                </c:pt>
                <c:pt idx="193">
                  <c:v>0.98927427763213038</c:v>
                </c:pt>
                <c:pt idx="194">
                  <c:v>0.98953095432393956</c:v>
                </c:pt>
                <c:pt idx="195">
                  <c:v>0.98978621486848362</c:v>
                </c:pt>
                <c:pt idx="196">
                  <c:v>0.99003457169511</c:v>
                </c:pt>
                <c:pt idx="197">
                  <c:v>0.99028186641128757</c:v>
                </c:pt>
                <c:pt idx="198">
                  <c:v>0.99052473566726151</c:v>
                </c:pt>
                <c:pt idx="199">
                  <c:v>0.9907647726287051</c:v>
                </c:pt>
                <c:pt idx="200">
                  <c:v>0.99100286238765911</c:v>
                </c:pt>
                <c:pt idx="201">
                  <c:v>0.99123634966800145</c:v>
                </c:pt>
                <c:pt idx="202">
                  <c:v>0.99146859781948671</c:v>
                </c:pt>
                <c:pt idx="203">
                  <c:v>0.99169677454758465</c:v>
                </c:pt>
                <c:pt idx="204">
                  <c:v>0.991923004073193</c:v>
                </c:pt>
                <c:pt idx="205">
                  <c:v>0.9921456932306385</c:v>
                </c:pt>
                <c:pt idx="206">
                  <c:v>0.99236448798310484</c:v>
                </c:pt>
                <c:pt idx="207">
                  <c:v>0.9925823976435304</c:v>
                </c:pt>
                <c:pt idx="208">
                  <c:v>0.9927964128989768</c:v>
                </c:pt>
                <c:pt idx="209">
                  <c:v>0.99300458654695445</c:v>
                </c:pt>
                <c:pt idx="210">
                  <c:v>0.99321169808448329</c:v>
                </c:pt>
                <c:pt idx="211">
                  <c:v>0.99341385310658403</c:v>
                </c:pt>
                <c:pt idx="212">
                  <c:v>0.99361211372370561</c:v>
                </c:pt>
                <c:pt idx="213">
                  <c:v>0.9938103743408272</c:v>
                </c:pt>
                <c:pt idx="214">
                  <c:v>0.99400226229525557</c:v>
                </c:pt>
                <c:pt idx="215">
                  <c:v>0.99418476827405233</c:v>
                </c:pt>
                <c:pt idx="216">
                  <c:v>0.99436178668219655</c:v>
                </c:pt>
                <c:pt idx="217">
                  <c:v>0.9945379199983001</c:v>
                </c:pt>
                <c:pt idx="218">
                  <c:v>0.9947138762959955</c:v>
                </c:pt>
                <c:pt idx="219">
                  <c:v>0.99487195373446835</c:v>
                </c:pt>
                <c:pt idx="220">
                  <c:v>0.99502932309930858</c:v>
                </c:pt>
                <c:pt idx="221">
                  <c:v>0.99518332911439411</c:v>
                </c:pt>
                <c:pt idx="222">
                  <c:v>0.99533007737474566</c:v>
                </c:pt>
                <c:pt idx="223">
                  <c:v>0.99547399334056696</c:v>
                </c:pt>
                <c:pt idx="224">
                  <c:v>0.99561277577255203</c:v>
                </c:pt>
                <c:pt idx="225">
                  <c:v>0.99574500852343584</c:v>
                </c:pt>
                <c:pt idx="226">
                  <c:v>0.99587458599819745</c:v>
                </c:pt>
                <c:pt idx="227">
                  <c:v>0.99600203925206132</c:v>
                </c:pt>
                <c:pt idx="228">
                  <c:v>0.99612595213776234</c:v>
                </c:pt>
                <c:pt idx="229">
                  <c:v>0.99624650167370854</c:v>
                </c:pt>
                <c:pt idx="230">
                  <c:v>0.9963615636390023</c:v>
                </c:pt>
                <c:pt idx="231">
                  <c:v>0.99646777468388881</c:v>
                </c:pt>
                <c:pt idx="232">
                  <c:v>0.99657345467355096</c:v>
                </c:pt>
                <c:pt idx="233">
                  <c:v>0.9966784265895805</c:v>
                </c:pt>
                <c:pt idx="234">
                  <c:v>0.99678322148720189</c:v>
                </c:pt>
                <c:pt idx="235">
                  <c:v>0.99688058161168125</c:v>
                </c:pt>
                <c:pt idx="236">
                  <c:v>0.99697581751526287</c:v>
                </c:pt>
                <c:pt idx="237">
                  <c:v>0.99707087640043635</c:v>
                </c:pt>
                <c:pt idx="238">
                  <c:v>0.99716097877018173</c:v>
                </c:pt>
                <c:pt idx="239">
                  <c:v>0.99724771779017241</c:v>
                </c:pt>
                <c:pt idx="240">
                  <c:v>0.99733197855244904</c:v>
                </c:pt>
                <c:pt idx="241">
                  <c:v>0.99741269894656281</c:v>
                </c:pt>
                <c:pt idx="242">
                  <c:v>0.99748846282524861</c:v>
                </c:pt>
                <c:pt idx="243">
                  <c:v>0.99756227950144472</c:v>
                </c:pt>
                <c:pt idx="244">
                  <c:v>0.99763574214082462</c:v>
                </c:pt>
                <c:pt idx="245">
                  <c:v>0.9977081426697556</c:v>
                </c:pt>
                <c:pt idx="246">
                  <c:v>0.99778018916187028</c:v>
                </c:pt>
                <c:pt idx="247">
                  <c:v>0.99785099652512799</c:v>
                </c:pt>
                <c:pt idx="248">
                  <c:v>0.99791985668589611</c:v>
                </c:pt>
                <c:pt idx="249">
                  <c:v>0.99798765473621531</c:v>
                </c:pt>
                <c:pt idx="250">
                  <c:v>0.99805492173131016</c:v>
                </c:pt>
                <c:pt idx="251">
                  <c:v>0.99811953345028281</c:v>
                </c:pt>
                <c:pt idx="252">
                  <c:v>0.9981832600772147</c:v>
                </c:pt>
                <c:pt idx="253">
                  <c:v>0.99824433142802449</c:v>
                </c:pt>
                <c:pt idx="254">
                  <c:v>0.99830363259475285</c:v>
                </c:pt>
                <c:pt idx="255">
                  <c:v>0.99836063252217533</c:v>
                </c:pt>
                <c:pt idx="256">
                  <c:v>0.99841710139437334</c:v>
                </c:pt>
                <c:pt idx="257">
                  <c:v>0.99846967586159219</c:v>
                </c:pt>
                <c:pt idx="258">
                  <c:v>0.99852189629199473</c:v>
                </c:pt>
                <c:pt idx="259">
                  <c:v>0.99857393970398911</c:v>
                </c:pt>
                <c:pt idx="260">
                  <c:v>0.99862527504235099</c:v>
                </c:pt>
                <c:pt idx="261">
                  <c:v>0.9986757252886721</c:v>
                </c:pt>
                <c:pt idx="262">
                  <c:v>0.99872599851658506</c:v>
                </c:pt>
                <c:pt idx="263">
                  <c:v>0.99877379348678397</c:v>
                </c:pt>
                <c:pt idx="264">
                  <c:v>0.99882070336494222</c:v>
                </c:pt>
                <c:pt idx="265">
                  <c:v>0.99886584305901904</c:v>
                </c:pt>
                <c:pt idx="266">
                  <c:v>0.99890832747697367</c:v>
                </c:pt>
                <c:pt idx="267">
                  <c:v>0.99895081189492829</c:v>
                </c:pt>
                <c:pt idx="268">
                  <c:v>0.99899311929447476</c:v>
                </c:pt>
                <c:pt idx="269">
                  <c:v>0.99903471862038862</c:v>
                </c:pt>
                <c:pt idx="270">
                  <c:v>0.99907507881744551</c:v>
                </c:pt>
                <c:pt idx="271">
                  <c:v>0.99911526199609424</c:v>
                </c:pt>
                <c:pt idx="272">
                  <c:v>0.99915491411951851</c:v>
                </c:pt>
                <c:pt idx="273">
                  <c:v>0.99919385816931028</c:v>
                </c:pt>
                <c:pt idx="274">
                  <c:v>0.99923262520069389</c:v>
                </c:pt>
                <c:pt idx="275">
                  <c:v>0.9992713922320775</c:v>
                </c:pt>
                <c:pt idx="276">
                  <c:v>0.99930980522664481</c:v>
                </c:pt>
                <c:pt idx="277">
                  <c:v>0.99934538592668176</c:v>
                </c:pt>
                <c:pt idx="278">
                  <c:v>0.99938061258990252</c:v>
                </c:pt>
                <c:pt idx="279">
                  <c:v>0.99941583925312327</c:v>
                </c:pt>
                <c:pt idx="280">
                  <c:v>0.99945035784271141</c:v>
                </c:pt>
                <c:pt idx="281">
                  <c:v>0.9994846994138914</c:v>
                </c:pt>
                <c:pt idx="282">
                  <c:v>0.99951727080098995</c:v>
                </c:pt>
                <c:pt idx="283">
                  <c:v>0.99954824902241524</c:v>
                </c:pt>
                <c:pt idx="284">
                  <c:v>0.99957550985726951</c:v>
                </c:pt>
                <c:pt idx="285">
                  <c:v>0.99960259367371562</c:v>
                </c:pt>
                <c:pt idx="286">
                  <c:v>0.99962843836130466</c:v>
                </c:pt>
                <c:pt idx="287">
                  <c:v>0.99965322093844489</c:v>
                </c:pt>
                <c:pt idx="288">
                  <c:v>0.99967676438672803</c:v>
                </c:pt>
                <c:pt idx="289">
                  <c:v>0.99970013081660303</c:v>
                </c:pt>
                <c:pt idx="290">
                  <c:v>0.99972332022806998</c:v>
                </c:pt>
                <c:pt idx="291">
                  <c:v>0.99974615560272062</c:v>
                </c:pt>
                <c:pt idx="292">
                  <c:v>0.99976739781169788</c:v>
                </c:pt>
                <c:pt idx="293">
                  <c:v>0.99978828598385894</c:v>
                </c:pt>
                <c:pt idx="294">
                  <c:v>0.99980846608238738</c:v>
                </c:pt>
                <c:pt idx="295">
                  <c:v>0.99982599090479363</c:v>
                </c:pt>
                <c:pt idx="296">
                  <c:v>0.99984316169038367</c:v>
                </c:pt>
                <c:pt idx="297">
                  <c:v>0.99985767719985152</c:v>
                </c:pt>
                <c:pt idx="298">
                  <c:v>0.99987113059887045</c:v>
                </c:pt>
                <c:pt idx="299">
                  <c:v>0.99988245977699164</c:v>
                </c:pt>
                <c:pt idx="300">
                  <c:v>0.99989325789988848</c:v>
                </c:pt>
                <c:pt idx="301">
                  <c:v>0.99990387900437716</c:v>
                </c:pt>
                <c:pt idx="302">
                  <c:v>0.99991432309045769</c:v>
                </c:pt>
                <c:pt idx="303">
                  <c:v>0.99992441313972191</c:v>
                </c:pt>
                <c:pt idx="304">
                  <c:v>0.99993326406012917</c:v>
                </c:pt>
                <c:pt idx="305">
                  <c:v>0.99994211498053642</c:v>
                </c:pt>
                <c:pt idx="306">
                  <c:v>0.99995025782731106</c:v>
                </c:pt>
                <c:pt idx="307">
                  <c:v>0.9999584006740857</c:v>
                </c:pt>
                <c:pt idx="308">
                  <c:v>0.99996601246563588</c:v>
                </c:pt>
                <c:pt idx="309">
                  <c:v>0.99997362425718606</c:v>
                </c:pt>
                <c:pt idx="310">
                  <c:v>0.99998035095669557</c:v>
                </c:pt>
                <c:pt idx="311">
                  <c:v>0.99998566150893986</c:v>
                </c:pt>
                <c:pt idx="312">
                  <c:v>0.99999026398755164</c:v>
                </c:pt>
                <c:pt idx="313">
                  <c:v>0.99999398137412265</c:v>
                </c:pt>
                <c:pt idx="314">
                  <c:v>0.99999663665024485</c:v>
                </c:pt>
                <c:pt idx="315">
                  <c:v>0.99999858385273444</c:v>
                </c:pt>
                <c:pt idx="316">
                  <c:v>0.99999999999999956</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349</c:f>
              <c:strCache>
                <c:ptCount val="348"/>
                <c:pt idx="0">
                  <c:v>Ruinart</c:v>
                </c:pt>
                <c:pt idx="1">
                  <c:v>Ruinart</c:v>
                </c:pt>
                <c:pt idx="2">
                  <c:v>Nicolas</c:v>
                </c:pt>
                <c:pt idx="3">
                  <c:v>Deutz</c:v>
                </c:pt>
                <c:pt idx="4">
                  <c:v>Ruinart</c:v>
                </c:pt>
                <c:pt idx="5">
                  <c:v>Ruinart</c:v>
                </c:pt>
                <c:pt idx="6">
                  <c:v>Heidsieck &amp;</c:v>
                </c:pt>
                <c:pt idx="7">
                  <c:v>De Bligny</c:v>
                </c:pt>
                <c:pt idx="8">
                  <c:v>Malard</c:v>
                </c:pt>
                <c:pt idx="9">
                  <c:v>Nicolas Feu</c:v>
                </c:pt>
                <c:pt idx="10">
                  <c:v>Laurent Per</c:v>
                </c:pt>
                <c:pt idx="11">
                  <c:v>Taittinger</c:v>
                </c:pt>
                <c:pt idx="12">
                  <c:v>Canard Duch</c:v>
                </c:pt>
                <c:pt idx="13">
                  <c:v>Ruinart</c:v>
                </c:pt>
                <c:pt idx="14">
                  <c:v>Ruinart</c:v>
                </c:pt>
                <c:pt idx="15">
                  <c:v>Ayala</c:v>
                </c:pt>
                <c:pt idx="16">
                  <c:v>Bollinger</c:v>
                </c:pt>
                <c:pt idx="17">
                  <c:v>Dom Perigno</c:v>
                </c:pt>
                <c:pt idx="18">
                  <c:v>Deutz</c:v>
                </c:pt>
                <c:pt idx="19">
                  <c:v>Ruinart</c:v>
                </c:pt>
                <c:pt idx="20">
                  <c:v>Demoiselle</c:v>
                </c:pt>
                <c:pt idx="21">
                  <c:v>All Others</c:v>
                </c:pt>
                <c:pt idx="22">
                  <c:v>Besserat De</c:v>
                </c:pt>
                <c:pt idx="23">
                  <c:v>Savian</c:v>
                </c:pt>
                <c:pt idx="24">
                  <c:v>Deutz</c:v>
                </c:pt>
                <c:pt idx="25">
                  <c:v>Taittinger</c:v>
                </c:pt>
                <c:pt idx="26">
                  <c:v>Ruinart</c:v>
                </c:pt>
                <c:pt idx="27">
                  <c:v>Ruinart</c:v>
                </c:pt>
                <c:pt idx="28">
                  <c:v>Laurent Per</c:v>
                </c:pt>
                <c:pt idx="29">
                  <c:v>Perrier Jou</c:v>
                </c:pt>
                <c:pt idx="30">
                  <c:v>Campari: Al</c:v>
                </c:pt>
                <c:pt idx="31">
                  <c:v>Roederer</c:v>
                </c:pt>
                <c:pt idx="32">
                  <c:v>Dom Perigno</c:v>
                </c:pt>
                <c:pt idx="33">
                  <c:v>Demoiselle</c:v>
                </c:pt>
                <c:pt idx="34">
                  <c:v>Malard</c:v>
                </c:pt>
                <c:pt idx="35">
                  <c:v>Moët &amp; Chan</c:v>
                </c:pt>
                <c:pt idx="36">
                  <c:v>Bottega</c:v>
                </c:pt>
                <c:pt idx="37">
                  <c:v>Vesselle</c:v>
                </c:pt>
                <c:pt idx="38">
                  <c:v>All Others</c:v>
                </c:pt>
                <c:pt idx="39">
                  <c:v>Mure</c:v>
                </c:pt>
                <c:pt idx="40">
                  <c:v>Pommery</c:v>
                </c:pt>
                <c:pt idx="41">
                  <c:v>Laurent Per</c:v>
                </c:pt>
                <c:pt idx="42">
                  <c:v>Nicolas</c:v>
                </c:pt>
                <c:pt idx="43">
                  <c:v>Roederer</c:v>
                </c:pt>
                <c:pt idx="44">
                  <c:v>De Chanceny</c:v>
                </c:pt>
                <c:pt idx="45">
                  <c:v>Besserat De</c:v>
                </c:pt>
                <c:pt idx="46">
                  <c:v>Veuve Clicq</c:v>
                </c:pt>
                <c:pt idx="47">
                  <c:v>Moët &amp; Chan</c:v>
                </c:pt>
                <c:pt idx="48">
                  <c:v>Veuve Clicq</c:v>
                </c:pt>
                <c:pt idx="49">
                  <c:v>Bouvet-Ladu</c:v>
                </c:pt>
                <c:pt idx="50">
                  <c:v>Patriarche</c:v>
                </c:pt>
                <c:pt idx="51">
                  <c:v>Nicolas Feu</c:v>
                </c:pt>
                <c:pt idx="52">
                  <c:v>All Others</c:v>
                </c:pt>
                <c:pt idx="53">
                  <c:v>Ruinart</c:v>
                </c:pt>
                <c:pt idx="54">
                  <c:v>Nicolas</c:v>
                </c:pt>
                <c:pt idx="55">
                  <c:v>Veuve Clicq</c:v>
                </c:pt>
                <c:pt idx="56">
                  <c:v>Savian</c:v>
                </c:pt>
                <c:pt idx="57">
                  <c:v>All Others</c:v>
                </c:pt>
                <c:pt idx="58">
                  <c:v>De Venoge</c:v>
                </c:pt>
                <c:pt idx="59">
                  <c:v>Nicolas Feu</c:v>
                </c:pt>
                <c:pt idx="60">
                  <c:v>Henriot</c:v>
                </c:pt>
                <c:pt idx="61">
                  <c:v>Ruinart</c:v>
                </c:pt>
                <c:pt idx="62">
                  <c:v>Ayala</c:v>
                </c:pt>
                <c:pt idx="63">
                  <c:v>Ruinart</c:v>
                </c:pt>
                <c:pt idx="64">
                  <c:v>Malard</c:v>
                </c:pt>
                <c:pt idx="65">
                  <c:v>Nicolas</c:v>
                </c:pt>
                <c:pt idx="66">
                  <c:v>Vranken</c:v>
                </c:pt>
                <c:pt idx="67">
                  <c:v>Lyre's</c:v>
                </c:pt>
                <c:pt idx="68">
                  <c:v>Lanson</c:v>
                </c:pt>
                <c:pt idx="69">
                  <c:v>Malard</c:v>
                </c:pt>
                <c:pt idx="70">
                  <c:v>De Venoge</c:v>
                </c:pt>
                <c:pt idx="71">
                  <c:v>Canard Duch</c:v>
                </c:pt>
                <c:pt idx="72">
                  <c:v>Roederer</c:v>
                </c:pt>
                <c:pt idx="73">
                  <c:v>All Others</c:v>
                </c:pt>
                <c:pt idx="74">
                  <c:v>French Bloo</c:v>
                </c:pt>
                <c:pt idx="75">
                  <c:v>Roederer</c:v>
                </c:pt>
                <c:pt idx="76">
                  <c:v>Moët &amp; Chan</c:v>
                </c:pt>
                <c:pt idx="77">
                  <c:v>De Bligny</c:v>
                </c:pt>
                <c:pt idx="78">
                  <c:v>Malard</c:v>
                </c:pt>
                <c:pt idx="79">
                  <c:v>Pommery</c:v>
                </c:pt>
                <c:pt idx="80">
                  <c:v>Campari: Al</c:v>
                </c:pt>
                <c:pt idx="81">
                  <c:v>Krug</c:v>
                </c:pt>
                <c:pt idx="82">
                  <c:v>Laurent Per</c:v>
                </c:pt>
                <c:pt idx="83">
                  <c:v>Malard</c:v>
                </c:pt>
                <c:pt idx="84">
                  <c:v>Perrier Jou</c:v>
                </c:pt>
                <c:pt idx="85">
                  <c:v>Deutz</c:v>
                </c:pt>
                <c:pt idx="86">
                  <c:v>Deutz</c:v>
                </c:pt>
                <c:pt idx="87">
                  <c:v>Ruinart</c:v>
                </c:pt>
                <c:pt idx="88">
                  <c:v>Bollinger</c:v>
                </c:pt>
                <c:pt idx="89">
                  <c:v>Patriarche</c:v>
                </c:pt>
                <c:pt idx="90">
                  <c:v>Besserat De</c:v>
                </c:pt>
                <c:pt idx="91">
                  <c:v>Henriot</c:v>
                </c:pt>
                <c:pt idx="92">
                  <c:v>Piper Heids</c:v>
                </c:pt>
                <c:pt idx="93">
                  <c:v>Canard Duch</c:v>
                </c:pt>
                <c:pt idx="94">
                  <c:v>Roederer</c:v>
                </c:pt>
                <c:pt idx="95">
                  <c:v>Dom Perigno</c:v>
                </c:pt>
                <c:pt idx="96">
                  <c:v>Canard Duch</c:v>
                </c:pt>
                <c:pt idx="97">
                  <c:v>Roederer</c:v>
                </c:pt>
                <c:pt idx="98">
                  <c:v>Vesselle</c:v>
                </c:pt>
                <c:pt idx="99">
                  <c:v>Delamotte</c:v>
                </c:pt>
                <c:pt idx="100">
                  <c:v>Veuve Clicq</c:v>
                </c:pt>
                <c:pt idx="101">
                  <c:v>Nicolas Feu</c:v>
                </c:pt>
                <c:pt idx="102">
                  <c:v>Bottega</c:v>
                </c:pt>
                <c:pt idx="103">
                  <c:v>De Venoge</c:v>
                </c:pt>
                <c:pt idx="104">
                  <c:v>Ruinart</c:v>
                </c:pt>
                <c:pt idx="105">
                  <c:v>Canard Duch</c:v>
                </c:pt>
                <c:pt idx="106">
                  <c:v>Bollinger</c:v>
                </c:pt>
                <c:pt idx="107">
                  <c:v>All Others</c:v>
                </c:pt>
                <c:pt idx="108">
                  <c:v>All Others</c:v>
                </c:pt>
                <c:pt idx="109">
                  <c:v>Vranken</c:v>
                </c:pt>
                <c:pt idx="110">
                  <c:v>Louis Marti</c:v>
                </c:pt>
                <c:pt idx="111">
                  <c:v>Roederer</c:v>
                </c:pt>
                <c:pt idx="112">
                  <c:v>De Chanceny</c:v>
                </c:pt>
                <c:pt idx="113">
                  <c:v>Bollinger</c:v>
                </c:pt>
                <c:pt idx="114">
                  <c:v>All Others</c:v>
                </c:pt>
                <c:pt idx="115">
                  <c:v>All Others</c:v>
                </c:pt>
                <c:pt idx="116">
                  <c:v>Roederer</c:v>
                </c:pt>
                <c:pt idx="117">
                  <c:v>Kriter</c:v>
                </c:pt>
                <c:pt idx="118">
                  <c:v>Deutz</c:v>
                </c:pt>
                <c:pt idx="119">
                  <c:v>Ruinart</c:v>
                </c:pt>
                <c:pt idx="120">
                  <c:v>Nicolas</c:v>
                </c:pt>
                <c:pt idx="121">
                  <c:v>Delamotte</c:v>
                </c:pt>
                <c:pt idx="122">
                  <c:v>Henriot</c:v>
                </c:pt>
                <c:pt idx="123">
                  <c:v>All Others</c:v>
                </c:pt>
                <c:pt idx="124">
                  <c:v>Pommery</c:v>
                </c:pt>
                <c:pt idx="125">
                  <c:v>Henriot</c:v>
                </c:pt>
                <c:pt idx="126">
                  <c:v>Laurent Per</c:v>
                </c:pt>
                <c:pt idx="127">
                  <c:v>Nicolas</c:v>
                </c:pt>
                <c:pt idx="128">
                  <c:v>Ruinart</c:v>
                </c:pt>
                <c:pt idx="129">
                  <c:v>Taittinger</c:v>
                </c:pt>
                <c:pt idx="130">
                  <c:v>Ruinart</c:v>
                </c:pt>
                <c:pt idx="131">
                  <c:v>All Others</c:v>
                </c:pt>
                <c:pt idx="132">
                  <c:v>Ruinart</c:v>
                </c:pt>
                <c:pt idx="133">
                  <c:v>Lanson</c:v>
                </c:pt>
                <c:pt idx="134">
                  <c:v>Canard Duch</c:v>
                </c:pt>
                <c:pt idx="135">
                  <c:v>Roederer</c:v>
                </c:pt>
                <c:pt idx="136">
                  <c:v>Contarini</c:v>
                </c:pt>
                <c:pt idx="137">
                  <c:v>De Venoge</c:v>
                </c:pt>
                <c:pt idx="138">
                  <c:v>All Others</c:v>
                </c:pt>
                <c:pt idx="139">
                  <c:v>Nicolas Feu</c:v>
                </c:pt>
                <c:pt idx="140">
                  <c:v>Ruinart</c:v>
                </c:pt>
                <c:pt idx="141">
                  <c:v>All Others</c:v>
                </c:pt>
                <c:pt idx="142">
                  <c:v>Dom Perigno</c:v>
                </c:pt>
                <c:pt idx="143">
                  <c:v>Nicolas</c:v>
                </c:pt>
                <c:pt idx="144">
                  <c:v>All Others</c:v>
                </c:pt>
                <c:pt idx="145">
                  <c:v>Roederer</c:v>
                </c:pt>
                <c:pt idx="146">
                  <c:v>Ruinart</c:v>
                </c:pt>
                <c:pt idx="147">
                  <c:v>Cru La Maqu</c:v>
                </c:pt>
                <c:pt idx="148">
                  <c:v>Deutz</c:v>
                </c:pt>
                <c:pt idx="149">
                  <c:v>Deutz</c:v>
                </c:pt>
                <c:pt idx="150">
                  <c:v>Nicolas</c:v>
                </c:pt>
                <c:pt idx="151">
                  <c:v>Moët &amp; Chan</c:v>
                </c:pt>
                <c:pt idx="152">
                  <c:v>Nicolas</c:v>
                </c:pt>
                <c:pt idx="153">
                  <c:v>Demoiselle</c:v>
                </c:pt>
                <c:pt idx="154">
                  <c:v>Contarini</c:v>
                </c:pt>
                <c:pt idx="155">
                  <c:v>All Others</c:v>
                </c:pt>
                <c:pt idx="156">
                  <c:v>Pommery</c:v>
                </c:pt>
                <c:pt idx="157">
                  <c:v>Piper Heids</c:v>
                </c:pt>
                <c:pt idx="158">
                  <c:v>Ayala</c:v>
                </c:pt>
                <c:pt idx="159">
                  <c:v>Ruinart</c:v>
                </c:pt>
                <c:pt idx="160">
                  <c:v>Nicolas</c:v>
                </c:pt>
                <c:pt idx="161">
                  <c:v>Pommery</c:v>
                </c:pt>
                <c:pt idx="162">
                  <c:v>Nicolas</c:v>
                </c:pt>
                <c:pt idx="163">
                  <c:v>Perrier Jou</c:v>
                </c:pt>
                <c:pt idx="164">
                  <c:v>Piper Heids</c:v>
                </c:pt>
                <c:pt idx="165">
                  <c:v>Laurent Per</c:v>
                </c:pt>
                <c:pt idx="166">
                  <c:v>All Others</c:v>
                </c:pt>
                <c:pt idx="167">
                  <c:v>All Others</c:v>
                </c:pt>
                <c:pt idx="168">
                  <c:v>Nicolas</c:v>
                </c:pt>
                <c:pt idx="169">
                  <c:v>Vilaveroni</c:v>
                </c:pt>
                <c:pt idx="170">
                  <c:v>All Others</c:v>
                </c:pt>
                <c:pt idx="171">
                  <c:v>Besserat De</c:v>
                </c:pt>
                <c:pt idx="172">
                  <c:v>Vesselle</c:v>
                </c:pt>
                <c:pt idx="173">
                  <c:v>Nicolas</c:v>
                </c:pt>
                <c:pt idx="174">
                  <c:v>All Others</c:v>
                </c:pt>
                <c:pt idx="175">
                  <c:v>Dom Perigno</c:v>
                </c:pt>
                <c:pt idx="176">
                  <c:v>Mure</c:v>
                </c:pt>
                <c:pt idx="177">
                  <c:v>All Others</c:v>
                </c:pt>
                <c:pt idx="178">
                  <c:v>Taittinger</c:v>
                </c:pt>
                <c:pt idx="179">
                  <c:v>Malard</c:v>
                </c:pt>
                <c:pt idx="180">
                  <c:v>All Others</c:v>
                </c:pt>
                <c:pt idx="181">
                  <c:v>Nicolas</c:v>
                </c:pt>
                <c:pt idx="182">
                  <c:v>Roederer</c:v>
                </c:pt>
                <c:pt idx="183">
                  <c:v>Roederer</c:v>
                </c:pt>
                <c:pt idx="184">
                  <c:v>All Others</c:v>
                </c:pt>
                <c:pt idx="185">
                  <c:v>All Others</c:v>
                </c:pt>
                <c:pt idx="186">
                  <c:v>Roederer</c:v>
                </c:pt>
                <c:pt idx="187">
                  <c:v>All Others</c:v>
                </c:pt>
                <c:pt idx="188">
                  <c:v>Nicolas</c:v>
                </c:pt>
                <c:pt idx="189">
                  <c:v>Laurent Per</c:v>
                </c:pt>
                <c:pt idx="190">
                  <c:v>All Others</c:v>
                </c:pt>
                <c:pt idx="191">
                  <c:v>Nicolas</c:v>
                </c:pt>
                <c:pt idx="192">
                  <c:v>Ruinart</c:v>
                </c:pt>
                <c:pt idx="193">
                  <c:v>Deutz</c:v>
                </c:pt>
                <c:pt idx="194">
                  <c:v>Pommery</c:v>
                </c:pt>
                <c:pt idx="195">
                  <c:v>Nicolas</c:v>
                </c:pt>
                <c:pt idx="196">
                  <c:v>Lanson</c:v>
                </c:pt>
                <c:pt idx="197">
                  <c:v>All Others</c:v>
                </c:pt>
                <c:pt idx="198">
                  <c:v>Moët &amp; Chan</c:v>
                </c:pt>
                <c:pt idx="199">
                  <c:v>All Others</c:v>
                </c:pt>
                <c:pt idx="200">
                  <c:v>Deutz</c:v>
                </c:pt>
                <c:pt idx="201">
                  <c:v>Nicolas</c:v>
                </c:pt>
                <c:pt idx="202">
                  <c:v>All Others</c:v>
                </c:pt>
                <c:pt idx="203">
                  <c:v>All Others</c:v>
                </c:pt>
                <c:pt idx="204">
                  <c:v>De Venoge</c:v>
                </c:pt>
                <c:pt idx="205">
                  <c:v>Lanson</c:v>
                </c:pt>
                <c:pt idx="206">
                  <c:v>Besserat De</c:v>
                </c:pt>
                <c:pt idx="207">
                  <c:v>Laurent Per</c:v>
                </c:pt>
                <c:pt idx="208">
                  <c:v>Demoiselle</c:v>
                </c:pt>
                <c:pt idx="209">
                  <c:v>Canard Duch</c:v>
                </c:pt>
                <c:pt idx="210">
                  <c:v>Pommery</c:v>
                </c:pt>
                <c:pt idx="211">
                  <c:v>Laurent Per</c:v>
                </c:pt>
                <c:pt idx="212">
                  <c:v>Vranken</c:v>
                </c:pt>
                <c:pt idx="213">
                  <c:v>Bollinger</c:v>
                </c:pt>
                <c:pt idx="214">
                  <c:v>All Others</c:v>
                </c:pt>
                <c:pt idx="215">
                  <c:v>Piper Heids</c:v>
                </c:pt>
                <c:pt idx="216">
                  <c:v>Bollinger</c:v>
                </c:pt>
                <c:pt idx="217">
                  <c:v>Bollinger</c:v>
                </c:pt>
                <c:pt idx="218">
                  <c:v>All Others</c:v>
                </c:pt>
                <c:pt idx="219">
                  <c:v>Roederer</c:v>
                </c:pt>
                <c:pt idx="220">
                  <c:v>Louis Marti</c:v>
                </c:pt>
                <c:pt idx="221">
                  <c:v>Veuve Clicq</c:v>
                </c:pt>
                <c:pt idx="222">
                  <c:v>All Others</c:v>
                </c:pt>
                <c:pt idx="223">
                  <c:v>De Venoge</c:v>
                </c:pt>
                <c:pt idx="224">
                  <c:v>All Others</c:v>
                </c:pt>
                <c:pt idx="225">
                  <c:v>Pommery</c:v>
                </c:pt>
                <c:pt idx="226">
                  <c:v>All Others</c:v>
                </c:pt>
                <c:pt idx="227">
                  <c:v>All Others</c:v>
                </c:pt>
                <c:pt idx="228">
                  <c:v>Deutz</c:v>
                </c:pt>
                <c:pt idx="229">
                  <c:v>All Others</c:v>
                </c:pt>
                <c:pt idx="230">
                  <c:v>All Others</c:v>
                </c:pt>
                <c:pt idx="231">
                  <c:v>Roederer</c:v>
                </c:pt>
                <c:pt idx="232">
                  <c:v>Bouvet-Ladu</c:v>
                </c:pt>
                <c:pt idx="233">
                  <c:v>All Others</c:v>
                </c:pt>
                <c:pt idx="234">
                  <c:v>Nicolas</c:v>
                </c:pt>
                <c:pt idx="235">
                  <c:v>Taittinger</c:v>
                </c:pt>
                <c:pt idx="236">
                  <c:v>Laurent Per</c:v>
                </c:pt>
                <c:pt idx="237">
                  <c:v>Moët &amp; Chan</c:v>
                </c:pt>
                <c:pt idx="238">
                  <c:v>All Others</c:v>
                </c:pt>
                <c:pt idx="239">
                  <c:v>De Venoge</c:v>
                </c:pt>
                <c:pt idx="240">
                  <c:v>All Others</c:v>
                </c:pt>
                <c:pt idx="241">
                  <c:v>Henriot</c:v>
                </c:pt>
                <c:pt idx="242">
                  <c:v>All Others</c:v>
                </c:pt>
                <c:pt idx="243">
                  <c:v>Ayala</c:v>
                </c:pt>
                <c:pt idx="244">
                  <c:v>Vesselle</c:v>
                </c:pt>
                <c:pt idx="245">
                  <c:v>Krug</c:v>
                </c:pt>
                <c:pt idx="246">
                  <c:v>Veuve Clicq</c:v>
                </c:pt>
                <c:pt idx="247">
                  <c:v>Bouvet-Ladu</c:v>
                </c:pt>
                <c:pt idx="248">
                  <c:v>Perrier Jou</c:v>
                </c:pt>
                <c:pt idx="249">
                  <c:v>Perrier Jou</c:v>
                </c:pt>
                <c:pt idx="250">
                  <c:v>Pommery</c:v>
                </c:pt>
                <c:pt idx="251">
                  <c:v>All Others</c:v>
                </c:pt>
                <c:pt idx="252">
                  <c:v>Canard Duch</c:v>
                </c:pt>
                <c:pt idx="253">
                  <c:v>All Others</c:v>
                </c:pt>
                <c:pt idx="254">
                  <c:v>Bottega</c:v>
                </c:pt>
                <c:pt idx="255">
                  <c:v>Bollinger</c:v>
                </c:pt>
                <c:pt idx="256">
                  <c:v>Roederer</c:v>
                </c:pt>
                <c:pt idx="257">
                  <c:v>Moët &amp; Chan</c:v>
                </c:pt>
                <c:pt idx="258">
                  <c:v>Laurent Per</c:v>
                </c:pt>
                <c:pt idx="259">
                  <c:v>Krug</c:v>
                </c:pt>
                <c:pt idx="260">
                  <c:v>Dom Perigno</c:v>
                </c:pt>
                <c:pt idx="261">
                  <c:v>Nicolas</c:v>
                </c:pt>
                <c:pt idx="262">
                  <c:v>Laurent Per</c:v>
                </c:pt>
                <c:pt idx="263">
                  <c:v>Roederer</c:v>
                </c:pt>
                <c:pt idx="264">
                  <c:v>Veuve Clicq</c:v>
                </c:pt>
                <c:pt idx="265">
                  <c:v>Veuve Clicq</c:v>
                </c:pt>
                <c:pt idx="266">
                  <c:v>All Others</c:v>
                </c:pt>
                <c:pt idx="267">
                  <c:v>Taittinger</c:v>
                </c:pt>
                <c:pt idx="268">
                  <c:v>Vilaveroni</c:v>
                </c:pt>
                <c:pt idx="269">
                  <c:v>All Others</c:v>
                </c:pt>
                <c:pt idx="270">
                  <c:v>All Others</c:v>
                </c:pt>
                <c:pt idx="271">
                  <c:v>Laurent Per</c:v>
                </c:pt>
                <c:pt idx="272">
                  <c:v>Laurent Per</c:v>
                </c:pt>
                <c:pt idx="273">
                  <c:v>All Others</c:v>
                </c:pt>
                <c:pt idx="274">
                  <c:v>Perrier Jou</c:v>
                </c:pt>
                <c:pt idx="275">
                  <c:v>Dom Perigno</c:v>
                </c:pt>
                <c:pt idx="276">
                  <c:v>All Others</c:v>
                </c:pt>
                <c:pt idx="277">
                  <c:v>Malard</c:v>
                </c:pt>
                <c:pt idx="278">
                  <c:v>All Others</c:v>
                </c:pt>
                <c:pt idx="279">
                  <c:v>Laurent Per</c:v>
                </c:pt>
                <c:pt idx="280">
                  <c:v>Roederer</c:v>
                </c:pt>
                <c:pt idx="281">
                  <c:v>Vilaveroni</c:v>
                </c:pt>
                <c:pt idx="282">
                  <c:v>Veuve Clicq</c:v>
                </c:pt>
                <c:pt idx="283">
                  <c:v>De Venoge</c:v>
                </c:pt>
                <c:pt idx="284">
                  <c:v>Ruinart</c:v>
                </c:pt>
                <c:pt idx="285">
                  <c:v>Moët &amp; Chan</c:v>
                </c:pt>
                <c:pt idx="286">
                  <c:v>Canard Duch</c:v>
                </c:pt>
                <c:pt idx="287">
                  <c:v>Besserat De</c:v>
                </c:pt>
                <c:pt idx="288">
                  <c:v>Canard Duch</c:v>
                </c:pt>
                <c:pt idx="289">
                  <c:v>Henriot</c:v>
                </c:pt>
                <c:pt idx="290">
                  <c:v>Canard Duch</c:v>
                </c:pt>
                <c:pt idx="291">
                  <c:v>All Others</c:v>
                </c:pt>
                <c:pt idx="292">
                  <c:v>Ruinart</c:v>
                </c:pt>
                <c:pt idx="293">
                  <c:v>Bouvet-Ladu</c:v>
                </c:pt>
                <c:pt idx="294">
                  <c:v>Laurent Per</c:v>
                </c:pt>
                <c:pt idx="295">
                  <c:v>All Others</c:v>
                </c:pt>
                <c:pt idx="296">
                  <c:v>Jaillance</c:v>
                </c:pt>
                <c:pt idx="297">
                  <c:v>Pommery</c:v>
                </c:pt>
                <c:pt idx="298">
                  <c:v>All Others</c:v>
                </c:pt>
                <c:pt idx="299">
                  <c:v>All Others</c:v>
                </c:pt>
                <c:pt idx="300">
                  <c:v>Roederer</c:v>
                </c:pt>
                <c:pt idx="301">
                  <c:v>Celene</c:v>
                </c:pt>
                <c:pt idx="302">
                  <c:v>Piper Heids</c:v>
                </c:pt>
                <c:pt idx="303">
                  <c:v>Nicolas</c:v>
                </c:pt>
                <c:pt idx="304">
                  <c:v>Roederer</c:v>
                </c:pt>
                <c:pt idx="305">
                  <c:v>Mure</c:v>
                </c:pt>
                <c:pt idx="306">
                  <c:v>All Others</c:v>
                </c:pt>
                <c:pt idx="307">
                  <c:v>De Venoge</c:v>
                </c:pt>
                <c:pt idx="308">
                  <c:v>All Others</c:v>
                </c:pt>
                <c:pt idx="309">
                  <c:v>Roederer</c:v>
                </c:pt>
                <c:pt idx="310">
                  <c:v>Bollinger</c:v>
                </c:pt>
                <c:pt idx="311">
                  <c:v>Martel</c:v>
                </c:pt>
                <c:pt idx="312">
                  <c:v>Besserat De</c:v>
                </c:pt>
                <c:pt idx="313">
                  <c:v>Moët &amp; Chan</c:v>
                </c:pt>
                <c:pt idx="314">
                  <c:v>Vilaveroni</c:v>
                </c:pt>
                <c:pt idx="315">
                  <c:v>Malard</c:v>
                </c:pt>
                <c:pt idx="316">
                  <c:v>Ruinart</c:v>
                </c:pt>
                <c:pt idx="317">
                  <c:v>Moët &amp; Chan</c:v>
                </c:pt>
                <c:pt idx="318">
                  <c:v>All Others</c:v>
                </c:pt>
                <c:pt idx="319">
                  <c:v>Bollinger</c:v>
                </c:pt>
                <c:pt idx="320">
                  <c:v>Roederer</c:v>
                </c:pt>
                <c:pt idx="321">
                  <c:v>Roederer</c:v>
                </c:pt>
                <c:pt idx="322">
                  <c:v>Nicolas</c:v>
                </c:pt>
                <c:pt idx="323">
                  <c:v>Celene</c:v>
                </c:pt>
                <c:pt idx="324">
                  <c:v>All Others</c:v>
                </c:pt>
                <c:pt idx="325">
                  <c:v>Henriot</c:v>
                </c:pt>
                <c:pt idx="326">
                  <c:v>Lanson</c:v>
                </c:pt>
                <c:pt idx="327">
                  <c:v>Roederer</c:v>
                </c:pt>
                <c:pt idx="328">
                  <c:v>Roederer</c:v>
                </c:pt>
                <c:pt idx="329">
                  <c:v>Roederer</c:v>
                </c:pt>
                <c:pt idx="330">
                  <c:v>Deutz</c:v>
                </c:pt>
                <c:pt idx="331">
                  <c:v>De Venoge</c:v>
                </c:pt>
                <c:pt idx="332">
                  <c:v>Deutz</c:v>
                </c:pt>
                <c:pt idx="333">
                  <c:v>Henriot</c:v>
                </c:pt>
                <c:pt idx="334">
                  <c:v>Nicolas</c:v>
                </c:pt>
                <c:pt idx="335">
                  <c:v>All Others</c:v>
                </c:pt>
                <c:pt idx="336">
                  <c:v>Besserat De</c:v>
                </c:pt>
                <c:pt idx="337">
                  <c:v>Veuve Clicq</c:v>
                </c:pt>
                <c:pt idx="338">
                  <c:v>Vesselle</c:v>
                </c:pt>
                <c:pt idx="339">
                  <c:v>All Others</c:v>
                </c:pt>
                <c:pt idx="340">
                  <c:v>Bouvet-Ladu</c:v>
                </c:pt>
                <c:pt idx="341">
                  <c:v>All Others</c:v>
                </c:pt>
                <c:pt idx="342">
                  <c:v>All Others</c:v>
                </c:pt>
                <c:pt idx="343">
                  <c:v>All Others</c:v>
                </c:pt>
                <c:pt idx="344">
                  <c:v>All Others</c:v>
                </c:pt>
                <c:pt idx="345">
                  <c:v>Bottega</c:v>
                </c:pt>
                <c:pt idx="346">
                  <c:v>All Others</c:v>
                </c:pt>
                <c:pt idx="347">
                  <c:v>Bottega</c:v>
                </c:pt>
              </c:strCache>
            </c:strRef>
          </c:cat>
          <c:val>
            <c:numRef>
              <c:f>Sheet1!$B$2:$B$349</c:f>
              <c:numCache>
                <c:formatCode>General</c:formatCode>
                <c:ptCount val="348"/>
                <c:pt idx="0">
                  <c:v>1</c:v>
                </c:pt>
                <c:pt idx="1">
                  <c:v>0.97</c:v>
                </c:pt>
                <c:pt idx="2">
                  <c:v>1</c:v>
                </c:pt>
                <c:pt idx="3">
                  <c:v>0.96</c:v>
                </c:pt>
                <c:pt idx="4">
                  <c:v>0.86</c:v>
                </c:pt>
                <c:pt idx="5">
                  <c:v>0.81</c:v>
                </c:pt>
                <c:pt idx="6">
                  <c:v>0.94</c:v>
                </c:pt>
                <c:pt idx="7">
                  <c:v>0.96</c:v>
                </c:pt>
                <c:pt idx="8">
                  <c:v>0.91</c:v>
                </c:pt>
                <c:pt idx="9">
                  <c:v>0.95</c:v>
                </c:pt>
                <c:pt idx="10">
                  <c:v>0.92</c:v>
                </c:pt>
                <c:pt idx="11">
                  <c:v>0.89</c:v>
                </c:pt>
                <c:pt idx="12">
                  <c:v>0.95</c:v>
                </c:pt>
                <c:pt idx="13">
                  <c:v>0.76</c:v>
                </c:pt>
                <c:pt idx="14">
                  <c:v>0.56000000000000005</c:v>
                </c:pt>
                <c:pt idx="15">
                  <c:v>0.91</c:v>
                </c:pt>
                <c:pt idx="16">
                  <c:v>0.89</c:v>
                </c:pt>
                <c:pt idx="17">
                  <c:v>0.56000000000000005</c:v>
                </c:pt>
                <c:pt idx="18">
                  <c:v>0.7</c:v>
                </c:pt>
                <c:pt idx="19">
                  <c:v>0.78</c:v>
                </c:pt>
                <c:pt idx="20">
                  <c:v>0.9</c:v>
                </c:pt>
                <c:pt idx="21">
                  <c:v>0.9</c:v>
                </c:pt>
                <c:pt idx="22">
                  <c:v>0.83</c:v>
                </c:pt>
                <c:pt idx="23">
                  <c:v>0.8</c:v>
                </c:pt>
                <c:pt idx="24">
                  <c:v>0.88</c:v>
                </c:pt>
                <c:pt idx="25">
                  <c:v>0.71</c:v>
                </c:pt>
                <c:pt idx="26">
                  <c:v>0.45</c:v>
                </c:pt>
                <c:pt idx="27">
                  <c:v>0.84</c:v>
                </c:pt>
                <c:pt idx="28">
                  <c:v>0.77</c:v>
                </c:pt>
                <c:pt idx="29">
                  <c:v>0.8</c:v>
                </c:pt>
                <c:pt idx="30">
                  <c:v>0.68</c:v>
                </c:pt>
                <c:pt idx="31">
                  <c:v>0.9</c:v>
                </c:pt>
                <c:pt idx="32">
                  <c:v>0.51</c:v>
                </c:pt>
                <c:pt idx="33">
                  <c:v>0.77</c:v>
                </c:pt>
                <c:pt idx="34">
                  <c:v>0.66</c:v>
                </c:pt>
                <c:pt idx="35">
                  <c:v>0.79</c:v>
                </c:pt>
                <c:pt idx="36">
                  <c:v>0.76</c:v>
                </c:pt>
                <c:pt idx="37">
                  <c:v>0.73</c:v>
                </c:pt>
                <c:pt idx="38">
                  <c:v>0.91</c:v>
                </c:pt>
                <c:pt idx="39">
                  <c:v>0.77</c:v>
                </c:pt>
                <c:pt idx="40">
                  <c:v>0.79</c:v>
                </c:pt>
                <c:pt idx="41">
                  <c:v>0.73</c:v>
                </c:pt>
                <c:pt idx="42">
                  <c:v>0.65</c:v>
                </c:pt>
                <c:pt idx="43">
                  <c:v>0.75</c:v>
                </c:pt>
                <c:pt idx="44">
                  <c:v>0.8</c:v>
                </c:pt>
                <c:pt idx="45">
                  <c:v>0.67</c:v>
                </c:pt>
                <c:pt idx="46">
                  <c:v>0.56999999999999995</c:v>
                </c:pt>
                <c:pt idx="47">
                  <c:v>0.55000000000000004</c:v>
                </c:pt>
                <c:pt idx="48">
                  <c:v>0.53</c:v>
                </c:pt>
                <c:pt idx="49">
                  <c:v>0.73</c:v>
                </c:pt>
                <c:pt idx="50">
                  <c:v>0.83</c:v>
                </c:pt>
                <c:pt idx="51">
                  <c:v>0.71</c:v>
                </c:pt>
                <c:pt idx="52">
                  <c:v>0.25</c:v>
                </c:pt>
                <c:pt idx="53">
                  <c:v>0.65</c:v>
                </c:pt>
                <c:pt idx="54">
                  <c:v>0.82</c:v>
                </c:pt>
                <c:pt idx="55">
                  <c:v>0.64</c:v>
                </c:pt>
                <c:pt idx="56">
                  <c:v>0.75</c:v>
                </c:pt>
                <c:pt idx="57">
                  <c:v>0.54</c:v>
                </c:pt>
                <c:pt idx="58">
                  <c:v>0.52</c:v>
                </c:pt>
                <c:pt idx="59">
                  <c:v>0.56999999999999995</c:v>
                </c:pt>
                <c:pt idx="60">
                  <c:v>0.64</c:v>
                </c:pt>
                <c:pt idx="61">
                  <c:v>0.35</c:v>
                </c:pt>
                <c:pt idx="62">
                  <c:v>0.49</c:v>
                </c:pt>
                <c:pt idx="63">
                  <c:v>0.43</c:v>
                </c:pt>
                <c:pt idx="64">
                  <c:v>0.56999999999999995</c:v>
                </c:pt>
                <c:pt idx="65">
                  <c:v>0.76</c:v>
                </c:pt>
                <c:pt idx="66">
                  <c:v>0.46</c:v>
                </c:pt>
                <c:pt idx="67">
                  <c:v>0.94</c:v>
                </c:pt>
                <c:pt idx="68">
                  <c:v>0.61</c:v>
                </c:pt>
                <c:pt idx="69">
                  <c:v>0.54</c:v>
                </c:pt>
                <c:pt idx="70">
                  <c:v>0.37</c:v>
                </c:pt>
                <c:pt idx="71">
                  <c:v>0.4</c:v>
                </c:pt>
                <c:pt idx="72">
                  <c:v>0.41</c:v>
                </c:pt>
                <c:pt idx="73">
                  <c:v>0.2</c:v>
                </c:pt>
                <c:pt idx="74">
                  <c:v>0.74</c:v>
                </c:pt>
                <c:pt idx="75">
                  <c:v>0.24</c:v>
                </c:pt>
                <c:pt idx="76">
                  <c:v>0.61</c:v>
                </c:pt>
                <c:pt idx="77">
                  <c:v>0.44</c:v>
                </c:pt>
                <c:pt idx="78">
                  <c:v>0.51</c:v>
                </c:pt>
                <c:pt idx="79">
                  <c:v>0.55000000000000004</c:v>
                </c:pt>
                <c:pt idx="80">
                  <c:v>0.51</c:v>
                </c:pt>
                <c:pt idx="81">
                  <c:v>0.3</c:v>
                </c:pt>
                <c:pt idx="82">
                  <c:v>0.31</c:v>
                </c:pt>
                <c:pt idx="83">
                  <c:v>0.55000000000000004</c:v>
                </c:pt>
                <c:pt idx="84">
                  <c:v>0.42</c:v>
                </c:pt>
                <c:pt idx="85">
                  <c:v>0.31</c:v>
                </c:pt>
                <c:pt idx="86">
                  <c:v>0.65</c:v>
                </c:pt>
                <c:pt idx="87">
                  <c:v>0.49</c:v>
                </c:pt>
                <c:pt idx="88">
                  <c:v>0.28000000000000003</c:v>
                </c:pt>
                <c:pt idx="89">
                  <c:v>0.81</c:v>
                </c:pt>
                <c:pt idx="90">
                  <c:v>0.53</c:v>
                </c:pt>
                <c:pt idx="91">
                  <c:v>0.45</c:v>
                </c:pt>
                <c:pt idx="92">
                  <c:v>0.54</c:v>
                </c:pt>
                <c:pt idx="93">
                  <c:v>0.65</c:v>
                </c:pt>
                <c:pt idx="94">
                  <c:v>0.28000000000000003</c:v>
                </c:pt>
                <c:pt idx="95">
                  <c:v>0.41</c:v>
                </c:pt>
                <c:pt idx="96">
                  <c:v>0.68</c:v>
                </c:pt>
                <c:pt idx="97">
                  <c:v>0.37</c:v>
                </c:pt>
                <c:pt idx="98">
                  <c:v>0.47</c:v>
                </c:pt>
                <c:pt idx="99">
                  <c:v>0.31</c:v>
                </c:pt>
                <c:pt idx="100">
                  <c:v>0.41</c:v>
                </c:pt>
                <c:pt idx="101">
                  <c:v>0.6</c:v>
                </c:pt>
                <c:pt idx="102">
                  <c:v>0.56000000000000005</c:v>
                </c:pt>
                <c:pt idx="103">
                  <c:v>0.37</c:v>
                </c:pt>
                <c:pt idx="104">
                  <c:v>0.35</c:v>
                </c:pt>
                <c:pt idx="105">
                  <c:v>0.46</c:v>
                </c:pt>
                <c:pt idx="106">
                  <c:v>0.41</c:v>
                </c:pt>
                <c:pt idx="107">
                  <c:v>0.52</c:v>
                </c:pt>
                <c:pt idx="108">
                  <c:v>0.59</c:v>
                </c:pt>
                <c:pt idx="109">
                  <c:v>0.34</c:v>
                </c:pt>
                <c:pt idx="110">
                  <c:v>0.21</c:v>
                </c:pt>
                <c:pt idx="111">
                  <c:v>0.42</c:v>
                </c:pt>
                <c:pt idx="112">
                  <c:v>0.46</c:v>
                </c:pt>
                <c:pt idx="113">
                  <c:v>0.25</c:v>
                </c:pt>
                <c:pt idx="114">
                  <c:v>0.48</c:v>
                </c:pt>
                <c:pt idx="115">
                  <c:v>0.05</c:v>
                </c:pt>
                <c:pt idx="116">
                  <c:v>0.38</c:v>
                </c:pt>
                <c:pt idx="117">
                  <c:v>0.46</c:v>
                </c:pt>
                <c:pt idx="118">
                  <c:v>0.46</c:v>
                </c:pt>
                <c:pt idx="119">
                  <c:v>0.3</c:v>
                </c:pt>
                <c:pt idx="120">
                  <c:v>0.35</c:v>
                </c:pt>
                <c:pt idx="121">
                  <c:v>0.36</c:v>
                </c:pt>
                <c:pt idx="122">
                  <c:v>0.42</c:v>
                </c:pt>
                <c:pt idx="123">
                  <c:v>0.15</c:v>
                </c:pt>
                <c:pt idx="124">
                  <c:v>0.31</c:v>
                </c:pt>
                <c:pt idx="125">
                  <c:v>0.32</c:v>
                </c:pt>
                <c:pt idx="126">
                  <c:v>0.34</c:v>
                </c:pt>
                <c:pt idx="127">
                  <c:v>0.34</c:v>
                </c:pt>
                <c:pt idx="128">
                  <c:v>0.24</c:v>
                </c:pt>
                <c:pt idx="129">
                  <c:v>0.24</c:v>
                </c:pt>
                <c:pt idx="130">
                  <c:v>0.36</c:v>
                </c:pt>
                <c:pt idx="131">
                  <c:v>0.42</c:v>
                </c:pt>
                <c:pt idx="132">
                  <c:v>0.26</c:v>
                </c:pt>
                <c:pt idx="133">
                  <c:v>0.28000000000000003</c:v>
                </c:pt>
                <c:pt idx="134">
                  <c:v>0.37</c:v>
                </c:pt>
                <c:pt idx="135">
                  <c:v>0.19</c:v>
                </c:pt>
                <c:pt idx="136">
                  <c:v>0.77</c:v>
                </c:pt>
                <c:pt idx="137">
                  <c:v>0.46</c:v>
                </c:pt>
                <c:pt idx="138">
                  <c:v>0.62</c:v>
                </c:pt>
                <c:pt idx="139">
                  <c:v>0.53</c:v>
                </c:pt>
                <c:pt idx="140">
                  <c:v>0.24</c:v>
                </c:pt>
                <c:pt idx="141">
                  <c:v>0.18</c:v>
                </c:pt>
                <c:pt idx="142">
                  <c:v>0.12</c:v>
                </c:pt>
                <c:pt idx="143">
                  <c:v>0.53</c:v>
                </c:pt>
                <c:pt idx="144">
                  <c:v>0.66</c:v>
                </c:pt>
                <c:pt idx="145">
                  <c:v>0.17</c:v>
                </c:pt>
                <c:pt idx="146">
                  <c:v>0.42</c:v>
                </c:pt>
                <c:pt idx="147">
                  <c:v>0.52</c:v>
                </c:pt>
                <c:pt idx="148">
                  <c:v>0.16</c:v>
                </c:pt>
                <c:pt idx="149">
                  <c:v>0.15</c:v>
                </c:pt>
                <c:pt idx="150">
                  <c:v>0.39</c:v>
                </c:pt>
                <c:pt idx="151">
                  <c:v>0.17</c:v>
                </c:pt>
                <c:pt idx="152">
                  <c:v>0.61</c:v>
                </c:pt>
                <c:pt idx="153">
                  <c:v>0.36</c:v>
                </c:pt>
                <c:pt idx="154">
                  <c:v>0.28000000000000003</c:v>
                </c:pt>
                <c:pt idx="155">
                  <c:v>0.28000000000000003</c:v>
                </c:pt>
                <c:pt idx="156">
                  <c:v>0.21</c:v>
                </c:pt>
                <c:pt idx="157">
                  <c:v>0.17</c:v>
                </c:pt>
                <c:pt idx="158">
                  <c:v>0.17</c:v>
                </c:pt>
                <c:pt idx="159">
                  <c:v>0.19</c:v>
                </c:pt>
                <c:pt idx="160">
                  <c:v>0.43</c:v>
                </c:pt>
                <c:pt idx="161">
                  <c:v>0.27</c:v>
                </c:pt>
                <c:pt idx="162">
                  <c:v>0.36</c:v>
                </c:pt>
                <c:pt idx="163">
                  <c:v>0.24</c:v>
                </c:pt>
                <c:pt idx="164">
                  <c:v>0.21</c:v>
                </c:pt>
                <c:pt idx="165">
                  <c:v>0.16</c:v>
                </c:pt>
                <c:pt idx="166">
                  <c:v>0.3</c:v>
                </c:pt>
                <c:pt idx="167">
                  <c:v>0.43</c:v>
                </c:pt>
                <c:pt idx="168">
                  <c:v>0.23</c:v>
                </c:pt>
                <c:pt idx="169">
                  <c:v>0.22</c:v>
                </c:pt>
                <c:pt idx="170">
                  <c:v>0.47</c:v>
                </c:pt>
                <c:pt idx="171">
                  <c:v>0.26</c:v>
                </c:pt>
                <c:pt idx="172">
                  <c:v>0.19</c:v>
                </c:pt>
                <c:pt idx="173">
                  <c:v>0.17</c:v>
                </c:pt>
                <c:pt idx="174">
                  <c:v>0.05</c:v>
                </c:pt>
                <c:pt idx="175">
                  <c:v>0.11</c:v>
                </c:pt>
                <c:pt idx="176">
                  <c:v>0.18</c:v>
                </c:pt>
                <c:pt idx="177">
                  <c:v>0.1</c:v>
                </c:pt>
                <c:pt idx="178">
                  <c:v>0.15</c:v>
                </c:pt>
                <c:pt idx="179">
                  <c:v>0.13</c:v>
                </c:pt>
                <c:pt idx="180">
                  <c:v>0.33</c:v>
                </c:pt>
                <c:pt idx="181">
                  <c:v>0.18</c:v>
                </c:pt>
                <c:pt idx="182">
                  <c:v>0.25</c:v>
                </c:pt>
                <c:pt idx="183">
                  <c:v>0.19</c:v>
                </c:pt>
                <c:pt idx="184">
                  <c:v>0.18</c:v>
                </c:pt>
                <c:pt idx="185">
                  <c:v>0.09</c:v>
                </c:pt>
                <c:pt idx="186">
                  <c:v>0.2</c:v>
                </c:pt>
                <c:pt idx="187">
                  <c:v>0.43</c:v>
                </c:pt>
                <c:pt idx="188">
                  <c:v>0.05</c:v>
                </c:pt>
                <c:pt idx="189">
                  <c:v>0.27</c:v>
                </c:pt>
                <c:pt idx="190">
                  <c:v>0.04</c:v>
                </c:pt>
                <c:pt idx="191">
                  <c:v>0.16</c:v>
                </c:pt>
                <c:pt idx="192">
                  <c:v>0.1</c:v>
                </c:pt>
                <c:pt idx="193">
                  <c:v>0.14000000000000001</c:v>
                </c:pt>
                <c:pt idx="194">
                  <c:v>0.22</c:v>
                </c:pt>
                <c:pt idx="195">
                  <c:v>0.21</c:v>
                </c:pt>
                <c:pt idx="196">
                  <c:v>0.03</c:v>
                </c:pt>
                <c:pt idx="197">
                  <c:v>0.19</c:v>
                </c:pt>
                <c:pt idx="198">
                  <c:v>0.24</c:v>
                </c:pt>
                <c:pt idx="199">
                  <c:v>0.28000000000000003</c:v>
                </c:pt>
                <c:pt idx="200">
                  <c:v>0.23</c:v>
                </c:pt>
                <c:pt idx="201">
                  <c:v>0.21</c:v>
                </c:pt>
                <c:pt idx="202">
                  <c:v>0.05</c:v>
                </c:pt>
                <c:pt idx="203">
                  <c:v>0.26</c:v>
                </c:pt>
                <c:pt idx="204">
                  <c:v>0.15</c:v>
                </c:pt>
                <c:pt idx="205">
                  <c:v>0.19</c:v>
                </c:pt>
                <c:pt idx="206">
                  <c:v>0.2</c:v>
                </c:pt>
                <c:pt idx="207">
                  <c:v>0.19</c:v>
                </c:pt>
                <c:pt idx="208">
                  <c:v>0.16</c:v>
                </c:pt>
                <c:pt idx="209">
                  <c:v>0.21</c:v>
                </c:pt>
                <c:pt idx="210">
                  <c:v>0.25</c:v>
                </c:pt>
                <c:pt idx="211">
                  <c:v>7.0000000000000007E-2</c:v>
                </c:pt>
                <c:pt idx="212">
                  <c:v>7.0000000000000007E-2</c:v>
                </c:pt>
                <c:pt idx="213">
                  <c:v>0.16</c:v>
                </c:pt>
                <c:pt idx="214">
                  <c:v>0.36</c:v>
                </c:pt>
                <c:pt idx="215">
                  <c:v>0.22</c:v>
                </c:pt>
                <c:pt idx="216">
                  <c:v>0.17</c:v>
                </c:pt>
                <c:pt idx="217">
                  <c:v>0.13</c:v>
                </c:pt>
                <c:pt idx="218">
                  <c:v>0.04</c:v>
                </c:pt>
                <c:pt idx="219">
                  <c:v>0.06</c:v>
                </c:pt>
                <c:pt idx="220">
                  <c:v>0.2</c:v>
                </c:pt>
                <c:pt idx="221">
                  <c:v>0.24</c:v>
                </c:pt>
                <c:pt idx="222">
                  <c:v>7.0000000000000007E-2</c:v>
                </c:pt>
                <c:pt idx="223">
                  <c:v>0.06</c:v>
                </c:pt>
                <c:pt idx="224">
                  <c:v>0.11</c:v>
                </c:pt>
                <c:pt idx="225">
                  <c:v>0.1</c:v>
                </c:pt>
                <c:pt idx="226">
                  <c:v>0.03</c:v>
                </c:pt>
                <c:pt idx="227">
                  <c:v>0.15</c:v>
                </c:pt>
                <c:pt idx="228">
                  <c:v>0.11</c:v>
                </c:pt>
                <c:pt idx="229">
                  <c:v>0.17</c:v>
                </c:pt>
                <c:pt idx="230">
                  <c:v>0.12</c:v>
                </c:pt>
                <c:pt idx="231">
                  <c:v>0.05</c:v>
                </c:pt>
                <c:pt idx="232">
                  <c:v>0.13</c:v>
                </c:pt>
                <c:pt idx="233">
                  <c:v>0.16</c:v>
                </c:pt>
                <c:pt idx="234">
                  <c:v>0.09</c:v>
                </c:pt>
                <c:pt idx="235">
                  <c:v>0.08</c:v>
                </c:pt>
                <c:pt idx="236">
                  <c:v>0.16</c:v>
                </c:pt>
                <c:pt idx="237">
                  <c:v>0.23</c:v>
                </c:pt>
                <c:pt idx="238">
                  <c:v>7.0000000000000007E-2</c:v>
                </c:pt>
                <c:pt idx="239">
                  <c:v>0.12</c:v>
                </c:pt>
                <c:pt idx="240">
                  <c:v>0.22</c:v>
                </c:pt>
                <c:pt idx="241">
                  <c:v>0.05</c:v>
                </c:pt>
                <c:pt idx="242">
                  <c:v>0.06</c:v>
                </c:pt>
                <c:pt idx="243">
                  <c:v>0.19</c:v>
                </c:pt>
                <c:pt idx="244">
                  <c:v>0.18</c:v>
                </c:pt>
                <c:pt idx="245">
                  <c:v>0.14000000000000001</c:v>
                </c:pt>
                <c:pt idx="246">
                  <c:v>0.28000000000000003</c:v>
                </c:pt>
                <c:pt idx="247">
                  <c:v>0.11</c:v>
                </c:pt>
                <c:pt idx="248">
                  <c:v>0.15</c:v>
                </c:pt>
                <c:pt idx="249">
                  <c:v>0.14000000000000001</c:v>
                </c:pt>
                <c:pt idx="250">
                  <c:v>0.16</c:v>
                </c:pt>
                <c:pt idx="251">
                  <c:v>7.0000000000000007E-2</c:v>
                </c:pt>
                <c:pt idx="252">
                  <c:v>0.09</c:v>
                </c:pt>
                <c:pt idx="253">
                  <c:v>0.47</c:v>
                </c:pt>
                <c:pt idx="254">
                  <c:v>0.18</c:v>
                </c:pt>
                <c:pt idx="255">
                  <c:v>0.06</c:v>
                </c:pt>
                <c:pt idx="256">
                  <c:v>0.11</c:v>
                </c:pt>
                <c:pt idx="257">
                  <c:v>0.08</c:v>
                </c:pt>
                <c:pt idx="258">
                  <c:v>0.09</c:v>
                </c:pt>
                <c:pt idx="259">
                  <c:v>0.15</c:v>
                </c:pt>
                <c:pt idx="260">
                  <c:v>0.1</c:v>
                </c:pt>
                <c:pt idx="261">
                  <c:v>0.09</c:v>
                </c:pt>
                <c:pt idx="262">
                  <c:v>0.16</c:v>
                </c:pt>
                <c:pt idx="263">
                  <c:v>0.03</c:v>
                </c:pt>
                <c:pt idx="264">
                  <c:v>0.04</c:v>
                </c:pt>
                <c:pt idx="265">
                  <c:v>0.11</c:v>
                </c:pt>
                <c:pt idx="266">
                  <c:v>0.18</c:v>
                </c:pt>
                <c:pt idx="267">
                  <c:v>0.15</c:v>
                </c:pt>
                <c:pt idx="268">
                  <c:v>0.17</c:v>
                </c:pt>
                <c:pt idx="269">
                  <c:v>0.11</c:v>
                </c:pt>
                <c:pt idx="270">
                  <c:v>0.04</c:v>
                </c:pt>
                <c:pt idx="271">
                  <c:v>0.12</c:v>
                </c:pt>
                <c:pt idx="272">
                  <c:v>0.14000000000000001</c:v>
                </c:pt>
                <c:pt idx="273">
                  <c:v>0.13</c:v>
                </c:pt>
                <c:pt idx="274">
                  <c:v>0.14000000000000001</c:v>
                </c:pt>
                <c:pt idx="275">
                  <c:v>0.03</c:v>
                </c:pt>
                <c:pt idx="276">
                  <c:v>0.05</c:v>
                </c:pt>
                <c:pt idx="277">
                  <c:v>0.05</c:v>
                </c:pt>
                <c:pt idx="278">
                  <c:v>0.16</c:v>
                </c:pt>
                <c:pt idx="279">
                  <c:v>0.03</c:v>
                </c:pt>
                <c:pt idx="280">
                  <c:v>0.05</c:v>
                </c:pt>
                <c:pt idx="281">
                  <c:v>0.17</c:v>
                </c:pt>
                <c:pt idx="282">
                  <c:v>0.14000000000000001</c:v>
                </c:pt>
                <c:pt idx="283">
                  <c:v>0.05</c:v>
                </c:pt>
                <c:pt idx="284">
                  <c:v>0.12</c:v>
                </c:pt>
                <c:pt idx="285">
                  <c:v>0.17</c:v>
                </c:pt>
                <c:pt idx="286">
                  <c:v>0.17</c:v>
                </c:pt>
                <c:pt idx="287">
                  <c:v>0.08</c:v>
                </c:pt>
                <c:pt idx="288">
                  <c:v>0.1</c:v>
                </c:pt>
                <c:pt idx="289">
                  <c:v>0.15</c:v>
                </c:pt>
                <c:pt idx="290">
                  <c:v>0.17</c:v>
                </c:pt>
                <c:pt idx="291">
                  <c:v>0.12</c:v>
                </c:pt>
                <c:pt idx="292">
                  <c:v>0.1</c:v>
                </c:pt>
                <c:pt idx="293">
                  <c:v>0.1</c:v>
                </c:pt>
                <c:pt idx="294">
                  <c:v>0.06</c:v>
                </c:pt>
                <c:pt idx="295">
                  <c:v>0.06</c:v>
                </c:pt>
                <c:pt idx="296">
                  <c:v>0.11</c:v>
                </c:pt>
                <c:pt idx="297">
                  <c:v>0.04</c:v>
                </c:pt>
                <c:pt idx="298">
                  <c:v>0.03</c:v>
                </c:pt>
                <c:pt idx="299">
                  <c:v>0.03</c:v>
                </c:pt>
                <c:pt idx="300">
                  <c:v>0.03</c:v>
                </c:pt>
                <c:pt idx="301">
                  <c:v>0.16</c:v>
                </c:pt>
                <c:pt idx="302">
                  <c:v>0.02</c:v>
                </c:pt>
                <c:pt idx="303">
                  <c:v>0.03</c:v>
                </c:pt>
                <c:pt idx="304">
                  <c:v>0.04</c:v>
                </c:pt>
                <c:pt idx="305">
                  <c:v>0.04</c:v>
                </c:pt>
                <c:pt idx="306">
                  <c:v>0.16</c:v>
                </c:pt>
                <c:pt idx="307">
                  <c:v>0.06</c:v>
                </c:pt>
                <c:pt idx="308">
                  <c:v>0.14000000000000001</c:v>
                </c:pt>
                <c:pt idx="309">
                  <c:v>0.05</c:v>
                </c:pt>
                <c:pt idx="310">
                  <c:v>0.05</c:v>
                </c:pt>
                <c:pt idx="311">
                  <c:v>0.03</c:v>
                </c:pt>
                <c:pt idx="312">
                  <c:v>0.05</c:v>
                </c:pt>
                <c:pt idx="313">
                  <c:v>0.15</c:v>
                </c:pt>
                <c:pt idx="314">
                  <c:v>0.15</c:v>
                </c:pt>
                <c:pt idx="315">
                  <c:v>0.18</c:v>
                </c:pt>
                <c:pt idx="316">
                  <c:v>0.01</c:v>
                </c:pt>
                <c:pt idx="317">
                  <c:v>0.19</c:v>
                </c:pt>
                <c:pt idx="318">
                  <c:v>0.12</c:v>
                </c:pt>
                <c:pt idx="319">
                  <c:v>0.03</c:v>
                </c:pt>
                <c:pt idx="320">
                  <c:v>0.06</c:v>
                </c:pt>
                <c:pt idx="321">
                  <c:v>0.02</c:v>
                </c:pt>
                <c:pt idx="322">
                  <c:v>0.03</c:v>
                </c:pt>
                <c:pt idx="323">
                  <c:v>0.08</c:v>
                </c:pt>
                <c:pt idx="324">
                  <c:v>0.04</c:v>
                </c:pt>
                <c:pt idx="325">
                  <c:v>0.1</c:v>
                </c:pt>
                <c:pt idx="326">
                  <c:v>0.05</c:v>
                </c:pt>
                <c:pt idx="327">
                  <c:v>0.04</c:v>
                </c:pt>
                <c:pt idx="328">
                  <c:v>0.03</c:v>
                </c:pt>
                <c:pt idx="329">
                  <c:v>0.05</c:v>
                </c:pt>
                <c:pt idx="330">
                  <c:v>0.04</c:v>
                </c:pt>
                <c:pt idx="331">
                  <c:v>0.03</c:v>
                </c:pt>
                <c:pt idx="332">
                  <c:v>0.12</c:v>
                </c:pt>
                <c:pt idx="333">
                  <c:v>0.03</c:v>
                </c:pt>
                <c:pt idx="334">
                  <c:v>0.05</c:v>
                </c:pt>
                <c:pt idx="335">
                  <c:v>7.0000000000000007E-2</c:v>
                </c:pt>
                <c:pt idx="336">
                  <c:v>0.02</c:v>
                </c:pt>
                <c:pt idx="337">
                  <c:v>0.15</c:v>
                </c:pt>
                <c:pt idx="338">
                  <c:v>0.02</c:v>
                </c:pt>
                <c:pt idx="339">
                  <c:v>0.03</c:v>
                </c:pt>
                <c:pt idx="340">
                  <c:v>0.03</c:v>
                </c:pt>
                <c:pt idx="341">
                  <c:v>0.19</c:v>
                </c:pt>
                <c:pt idx="342">
                  <c:v>0.03</c:v>
                </c:pt>
                <c:pt idx="343">
                  <c:v>0.03</c:v>
                </c:pt>
                <c:pt idx="344">
                  <c:v>0.02</c:v>
                </c:pt>
                <c:pt idx="345">
                  <c:v>0.03</c:v>
                </c:pt>
                <c:pt idx="346">
                  <c:v>0.01</c:v>
                </c:pt>
                <c:pt idx="347">
                  <c:v>0.03</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7ECAC4"/>
              </a:solidFill>
            </c:spPr>
            <c:extLst>
              <c:ext xmlns:c16="http://schemas.microsoft.com/office/drawing/2014/chart" uri="{C3380CC4-5D6E-409C-BE32-E72D297353CC}">
                <c16:uniqueId val="{00000078-C76F-4230-900D-40618C09729F}"/>
              </c:ext>
            </c:extLst>
          </c:dPt>
          <c:dPt>
            <c:idx val="58"/>
            <c:invertIfNegative val="0"/>
            <c:bubble3D val="0"/>
            <c:spPr>
              <a:solidFill>
                <a:srgbClr val="7ECAC4"/>
              </a:solidFill>
            </c:spPr>
            <c:extLst>
              <c:ext xmlns:c16="http://schemas.microsoft.com/office/drawing/2014/chart" uri="{C3380CC4-5D6E-409C-BE32-E72D297353CC}">
                <c16:uniqueId val="{0000007A-C76F-4230-900D-40618C09729F}"/>
              </c:ext>
            </c:extLst>
          </c:dPt>
          <c:dPt>
            <c:idx val="59"/>
            <c:invertIfNegative val="0"/>
            <c:bubble3D val="0"/>
            <c:spPr>
              <a:solidFill>
                <a:srgbClr val="7ECAC4"/>
              </a:solidFill>
            </c:spPr>
            <c:extLst>
              <c:ext xmlns:c16="http://schemas.microsoft.com/office/drawing/2014/chart" uri="{C3380CC4-5D6E-409C-BE32-E72D297353CC}">
                <c16:uniqueId val="{0000007C-C76F-4230-900D-40618C09729F}"/>
              </c:ext>
            </c:extLst>
          </c:dPt>
          <c:dPt>
            <c:idx val="60"/>
            <c:invertIfNegative val="0"/>
            <c:bubble3D val="0"/>
            <c:spPr>
              <a:solidFill>
                <a:srgbClr val="7ECAC4"/>
              </a:solidFill>
            </c:spPr>
            <c:extLst>
              <c:ext xmlns:c16="http://schemas.microsoft.com/office/drawing/2014/chart" uri="{C3380CC4-5D6E-409C-BE32-E72D297353CC}">
                <c16:uniqueId val="{0000007E-C76F-4230-900D-40618C09729F}"/>
              </c:ext>
            </c:extLst>
          </c:dPt>
          <c:dPt>
            <c:idx val="61"/>
            <c:invertIfNegative val="0"/>
            <c:bubble3D val="0"/>
            <c:spPr>
              <a:solidFill>
                <a:srgbClr val="7ECAC4"/>
              </a:solidFill>
            </c:spPr>
            <c:extLst>
              <c:ext xmlns:c16="http://schemas.microsoft.com/office/drawing/2014/chart" uri="{C3380CC4-5D6E-409C-BE32-E72D297353CC}">
                <c16:uniqueId val="{00000080-C76F-4230-900D-40618C09729F}"/>
              </c:ext>
            </c:extLst>
          </c:dPt>
          <c:dPt>
            <c:idx val="62"/>
            <c:invertIfNegative val="0"/>
            <c:bubble3D val="0"/>
            <c:spPr>
              <a:solidFill>
                <a:srgbClr val="7ECAC4"/>
              </a:solidFill>
            </c:spPr>
            <c:extLst>
              <c:ext xmlns:c16="http://schemas.microsoft.com/office/drawing/2014/chart" uri="{C3380CC4-5D6E-409C-BE32-E72D297353CC}">
                <c16:uniqueId val="{00000082-C76F-4230-900D-40618C09729F}"/>
              </c:ext>
            </c:extLst>
          </c:dPt>
          <c:dPt>
            <c:idx val="63"/>
            <c:invertIfNegative val="0"/>
            <c:bubble3D val="0"/>
            <c:spPr>
              <a:solidFill>
                <a:srgbClr val="7ECAC4"/>
              </a:solidFill>
            </c:spPr>
            <c:extLst>
              <c:ext xmlns:c16="http://schemas.microsoft.com/office/drawing/2014/chart" uri="{C3380CC4-5D6E-409C-BE32-E72D297353CC}">
                <c16:uniqueId val="{00000084-C76F-4230-900D-40618C09729F}"/>
              </c:ext>
            </c:extLst>
          </c:dPt>
          <c:dPt>
            <c:idx val="64"/>
            <c:invertIfNegative val="0"/>
            <c:bubble3D val="0"/>
            <c:spPr>
              <a:solidFill>
                <a:srgbClr val="7ECAC4"/>
              </a:solidFill>
            </c:spPr>
            <c:extLst>
              <c:ext xmlns:c16="http://schemas.microsoft.com/office/drawing/2014/chart" uri="{C3380CC4-5D6E-409C-BE32-E72D297353CC}">
                <c16:uniqueId val="{00000086-C76F-4230-900D-40618C09729F}"/>
              </c:ext>
            </c:extLst>
          </c:dPt>
          <c:dPt>
            <c:idx val="65"/>
            <c:invertIfNegative val="0"/>
            <c:bubble3D val="0"/>
            <c:spPr>
              <a:solidFill>
                <a:srgbClr val="7ECAC4"/>
              </a:solidFill>
            </c:spPr>
            <c:extLst>
              <c:ext xmlns:c16="http://schemas.microsoft.com/office/drawing/2014/chart" uri="{C3380CC4-5D6E-409C-BE32-E72D297353CC}">
                <c16:uniqueId val="{00000088-C76F-4230-900D-40618C09729F}"/>
              </c:ext>
            </c:extLst>
          </c:dPt>
          <c:dPt>
            <c:idx val="66"/>
            <c:invertIfNegative val="0"/>
            <c:bubble3D val="0"/>
            <c:spPr>
              <a:solidFill>
                <a:srgbClr val="7ECAC4"/>
              </a:solidFill>
            </c:spPr>
            <c:extLst>
              <c:ext xmlns:c16="http://schemas.microsoft.com/office/drawing/2014/chart" uri="{C3380CC4-5D6E-409C-BE32-E72D297353CC}">
                <c16:uniqueId val="{0000008A-C76F-4230-900D-40618C09729F}"/>
              </c:ext>
            </c:extLst>
          </c:dPt>
          <c:dPt>
            <c:idx val="67"/>
            <c:invertIfNegative val="0"/>
            <c:bubble3D val="0"/>
            <c:spPr>
              <a:solidFill>
                <a:srgbClr val="7ECAC4"/>
              </a:solidFill>
            </c:spPr>
            <c:extLst>
              <c:ext xmlns:c16="http://schemas.microsoft.com/office/drawing/2014/chart" uri="{C3380CC4-5D6E-409C-BE32-E72D297353CC}">
                <c16:uniqueId val="{0000008C-C76F-4230-900D-40618C09729F}"/>
              </c:ext>
            </c:extLst>
          </c:dPt>
          <c:dPt>
            <c:idx val="68"/>
            <c:invertIfNegative val="0"/>
            <c:bubble3D val="0"/>
            <c:spPr>
              <a:solidFill>
                <a:srgbClr val="7ECAC4"/>
              </a:solidFill>
            </c:spPr>
            <c:extLst>
              <c:ext xmlns:c16="http://schemas.microsoft.com/office/drawing/2014/chart" uri="{C3380CC4-5D6E-409C-BE32-E72D297353CC}">
                <c16:uniqueId val="{0000008E-C76F-4230-900D-40618C09729F}"/>
              </c:ext>
            </c:extLst>
          </c:dPt>
          <c:dPt>
            <c:idx val="69"/>
            <c:invertIfNegative val="0"/>
            <c:bubble3D val="0"/>
            <c:spPr>
              <a:solidFill>
                <a:srgbClr val="7ECAC4"/>
              </a:solidFill>
            </c:spPr>
            <c:extLst>
              <c:ext xmlns:c16="http://schemas.microsoft.com/office/drawing/2014/chart" uri="{C3380CC4-5D6E-409C-BE32-E72D297353CC}">
                <c16:uniqueId val="{00000090-C76F-4230-900D-40618C09729F}"/>
              </c:ext>
            </c:extLst>
          </c:dPt>
          <c:dPt>
            <c:idx val="70"/>
            <c:invertIfNegative val="0"/>
            <c:bubble3D val="0"/>
            <c:spPr>
              <a:solidFill>
                <a:srgbClr val="7ECAC4"/>
              </a:solidFill>
            </c:spPr>
            <c:extLst>
              <c:ext xmlns:c16="http://schemas.microsoft.com/office/drawing/2014/chart" uri="{C3380CC4-5D6E-409C-BE32-E72D297353CC}">
                <c16:uniqueId val="{00000092-C76F-4230-900D-40618C09729F}"/>
              </c:ext>
            </c:extLst>
          </c:dPt>
          <c:dPt>
            <c:idx val="71"/>
            <c:invertIfNegative val="0"/>
            <c:bubble3D val="0"/>
            <c:spPr>
              <a:solidFill>
                <a:srgbClr val="7ECAC4"/>
              </a:solidFill>
            </c:spPr>
            <c:extLst>
              <c:ext xmlns:c16="http://schemas.microsoft.com/office/drawing/2014/chart" uri="{C3380CC4-5D6E-409C-BE32-E72D297353CC}">
                <c16:uniqueId val="{00000094-C76F-4230-900D-40618C09729F}"/>
              </c:ext>
            </c:extLst>
          </c:dPt>
          <c:dPt>
            <c:idx val="72"/>
            <c:invertIfNegative val="0"/>
            <c:bubble3D val="0"/>
            <c:spPr>
              <a:solidFill>
                <a:srgbClr val="7ECAC4"/>
              </a:solidFill>
            </c:spPr>
            <c:extLst>
              <c:ext xmlns:c16="http://schemas.microsoft.com/office/drawing/2014/chart" uri="{C3380CC4-5D6E-409C-BE32-E72D297353CC}">
                <c16:uniqueId val="{00000096-C76F-4230-900D-40618C09729F}"/>
              </c:ext>
            </c:extLst>
          </c:dPt>
          <c:dPt>
            <c:idx val="73"/>
            <c:invertIfNegative val="0"/>
            <c:bubble3D val="0"/>
            <c:spPr>
              <a:solidFill>
                <a:srgbClr val="7ECAC4"/>
              </a:solidFill>
            </c:spPr>
            <c:extLst>
              <c:ext xmlns:c16="http://schemas.microsoft.com/office/drawing/2014/chart" uri="{C3380CC4-5D6E-409C-BE32-E72D297353CC}">
                <c16:uniqueId val="{00000098-C76F-4230-900D-40618C09729F}"/>
              </c:ext>
            </c:extLst>
          </c:dPt>
          <c:dPt>
            <c:idx val="74"/>
            <c:invertIfNegative val="0"/>
            <c:bubble3D val="0"/>
            <c:spPr>
              <a:solidFill>
                <a:srgbClr val="7ECAC4"/>
              </a:solidFill>
            </c:spPr>
            <c:extLst>
              <c:ext xmlns:c16="http://schemas.microsoft.com/office/drawing/2014/chart" uri="{C3380CC4-5D6E-409C-BE32-E72D297353CC}">
                <c16:uniqueId val="{0000009A-C76F-4230-900D-40618C09729F}"/>
              </c:ext>
            </c:extLst>
          </c:dPt>
          <c:dPt>
            <c:idx val="75"/>
            <c:invertIfNegative val="0"/>
            <c:bubble3D val="0"/>
            <c:spPr>
              <a:solidFill>
                <a:srgbClr val="7ECAC4"/>
              </a:solidFill>
            </c:spPr>
            <c:extLst>
              <c:ext xmlns:c16="http://schemas.microsoft.com/office/drawing/2014/chart" uri="{C3380CC4-5D6E-409C-BE32-E72D297353CC}">
                <c16:uniqueId val="{0000009C-C76F-4230-900D-40618C09729F}"/>
              </c:ext>
            </c:extLst>
          </c:dPt>
          <c:dPt>
            <c:idx val="76"/>
            <c:invertIfNegative val="0"/>
            <c:bubble3D val="0"/>
            <c:spPr>
              <a:solidFill>
                <a:srgbClr val="7ECAC4"/>
              </a:solidFill>
            </c:spPr>
            <c:extLst>
              <c:ext xmlns:c16="http://schemas.microsoft.com/office/drawing/2014/chart" uri="{C3380CC4-5D6E-409C-BE32-E72D297353CC}">
                <c16:uniqueId val="{0000009E-C76F-4230-900D-40618C09729F}"/>
              </c:ext>
            </c:extLst>
          </c:dPt>
          <c:dPt>
            <c:idx val="77"/>
            <c:invertIfNegative val="0"/>
            <c:bubble3D val="0"/>
            <c:spPr>
              <a:solidFill>
                <a:srgbClr val="7ECAC4"/>
              </a:solidFill>
            </c:spPr>
            <c:extLst>
              <c:ext xmlns:c16="http://schemas.microsoft.com/office/drawing/2014/chart" uri="{C3380CC4-5D6E-409C-BE32-E72D297353CC}">
                <c16:uniqueId val="{000000A0-C76F-4230-900D-40618C09729F}"/>
              </c:ext>
            </c:extLst>
          </c:dPt>
          <c:dPt>
            <c:idx val="78"/>
            <c:invertIfNegative val="0"/>
            <c:bubble3D val="0"/>
            <c:spPr>
              <a:solidFill>
                <a:srgbClr val="7ECAC4"/>
              </a:solidFill>
            </c:spPr>
            <c:extLst>
              <c:ext xmlns:c16="http://schemas.microsoft.com/office/drawing/2014/chart" uri="{C3380CC4-5D6E-409C-BE32-E72D297353CC}">
                <c16:uniqueId val="{000000A2-C76F-4230-900D-40618C09729F}"/>
              </c:ext>
            </c:extLst>
          </c:dPt>
          <c:dPt>
            <c:idx val="79"/>
            <c:invertIfNegative val="0"/>
            <c:bubble3D val="0"/>
            <c:spPr>
              <a:solidFill>
                <a:srgbClr val="7ECAC4"/>
              </a:solidFill>
            </c:spPr>
            <c:extLst>
              <c:ext xmlns:c16="http://schemas.microsoft.com/office/drawing/2014/chart" uri="{C3380CC4-5D6E-409C-BE32-E72D297353CC}">
                <c16:uniqueId val="{000000A4-C76F-4230-900D-40618C09729F}"/>
              </c:ext>
            </c:extLst>
          </c:dPt>
          <c:dPt>
            <c:idx val="80"/>
            <c:invertIfNegative val="0"/>
            <c:bubble3D val="0"/>
            <c:spPr>
              <a:solidFill>
                <a:srgbClr val="7ECAC4"/>
              </a:solidFill>
            </c:spPr>
            <c:extLst>
              <c:ext xmlns:c16="http://schemas.microsoft.com/office/drawing/2014/chart" uri="{C3380CC4-5D6E-409C-BE32-E72D297353CC}">
                <c16:uniqueId val="{000000A6-C76F-4230-900D-40618C09729F}"/>
              </c:ext>
            </c:extLst>
          </c:dPt>
          <c:dPt>
            <c:idx val="81"/>
            <c:invertIfNegative val="1"/>
            <c:bubble3D val="0"/>
            <c:spPr>
              <a:solidFill>
                <a:srgbClr val="7ECAC4"/>
              </a:solidFill>
            </c:spPr>
            <c:extLst>
              <c:ext xmlns:c16="http://schemas.microsoft.com/office/drawing/2014/chart" uri="{C3380CC4-5D6E-409C-BE32-E72D297353CC}">
                <c16:uniqueId val="{000000A5-2993-41DE-A2CB-63102DE87051}"/>
              </c:ext>
            </c:extLst>
          </c:dPt>
          <c:dPt>
            <c:idx val="82"/>
            <c:invertIfNegative val="1"/>
            <c:bubble3D val="0"/>
            <c:spPr>
              <a:solidFill>
                <a:srgbClr val="7ECAC4"/>
              </a:solidFill>
            </c:spPr>
            <c:extLst>
              <c:ext xmlns:c16="http://schemas.microsoft.com/office/drawing/2014/chart" uri="{C3380CC4-5D6E-409C-BE32-E72D297353CC}">
                <c16:uniqueId val="{000000A7-2993-41DE-A2CB-63102DE87051}"/>
              </c:ext>
            </c:extLst>
          </c:dPt>
          <c:dPt>
            <c:idx val="83"/>
            <c:invertIfNegative val="1"/>
            <c:bubble3D val="0"/>
            <c:spPr>
              <a:solidFill>
                <a:srgbClr val="7ECAC4"/>
              </a:solidFill>
            </c:spPr>
            <c:extLst>
              <c:ext xmlns:c16="http://schemas.microsoft.com/office/drawing/2014/chart" uri="{C3380CC4-5D6E-409C-BE32-E72D297353CC}">
                <c16:uniqueId val="{000000A9-2993-41DE-A2CB-63102DE87051}"/>
              </c:ext>
            </c:extLst>
          </c:dPt>
          <c:dPt>
            <c:idx val="84"/>
            <c:invertIfNegative val="1"/>
            <c:bubble3D val="0"/>
            <c:spPr>
              <a:solidFill>
                <a:srgbClr val="7ECAC4"/>
              </a:solidFill>
            </c:spPr>
            <c:extLst>
              <c:ext xmlns:c16="http://schemas.microsoft.com/office/drawing/2014/chart" uri="{C3380CC4-5D6E-409C-BE32-E72D297353CC}">
                <c16:uniqueId val="{000000AB-2993-41DE-A2CB-63102DE87051}"/>
              </c:ext>
            </c:extLst>
          </c:dPt>
          <c:dPt>
            <c:idx val="85"/>
            <c:invertIfNegative val="1"/>
            <c:bubble3D val="0"/>
            <c:spPr>
              <a:solidFill>
                <a:srgbClr val="7ECAC4"/>
              </a:solidFill>
            </c:spPr>
            <c:extLst>
              <c:ext xmlns:c16="http://schemas.microsoft.com/office/drawing/2014/chart" uri="{C3380CC4-5D6E-409C-BE32-E72D297353CC}">
                <c16:uniqueId val="{000000AD-2993-41DE-A2CB-63102DE87051}"/>
              </c:ext>
            </c:extLst>
          </c:dPt>
          <c:dPt>
            <c:idx val="86"/>
            <c:invertIfNegative val="1"/>
            <c:bubble3D val="0"/>
            <c:spPr>
              <a:solidFill>
                <a:srgbClr val="7ECAC4"/>
              </a:solidFill>
            </c:spPr>
            <c:extLst>
              <c:ext xmlns:c16="http://schemas.microsoft.com/office/drawing/2014/chart" uri="{C3380CC4-5D6E-409C-BE32-E72D297353CC}">
                <c16:uniqueId val="{000000AF-2993-41DE-A2CB-63102DE87051}"/>
              </c:ext>
            </c:extLst>
          </c:dPt>
          <c:dPt>
            <c:idx val="87"/>
            <c:invertIfNegative val="1"/>
            <c:bubble3D val="0"/>
            <c:spPr>
              <a:solidFill>
                <a:srgbClr val="7ECAC4"/>
              </a:solidFill>
            </c:spPr>
            <c:extLst>
              <c:ext xmlns:c16="http://schemas.microsoft.com/office/drawing/2014/chart" uri="{C3380CC4-5D6E-409C-BE32-E72D297353CC}">
                <c16:uniqueId val="{000000B1-2993-41DE-A2CB-63102DE87051}"/>
              </c:ext>
            </c:extLst>
          </c:dPt>
          <c:dPt>
            <c:idx val="88"/>
            <c:invertIfNegative val="1"/>
            <c:bubble3D val="0"/>
            <c:spPr>
              <a:solidFill>
                <a:srgbClr val="7ECAC4"/>
              </a:solidFill>
            </c:spPr>
            <c:extLst>
              <c:ext xmlns:c16="http://schemas.microsoft.com/office/drawing/2014/chart" uri="{C3380CC4-5D6E-409C-BE32-E72D297353CC}">
                <c16:uniqueId val="{000000B3-2993-41DE-A2CB-63102DE87051}"/>
              </c:ext>
            </c:extLst>
          </c:dPt>
          <c:dPt>
            <c:idx val="89"/>
            <c:invertIfNegative val="1"/>
            <c:bubble3D val="0"/>
            <c:spPr>
              <a:solidFill>
                <a:srgbClr val="7ECAC4"/>
              </a:solidFill>
            </c:spPr>
            <c:extLst>
              <c:ext xmlns:c16="http://schemas.microsoft.com/office/drawing/2014/chart" uri="{C3380CC4-5D6E-409C-BE32-E72D297353CC}">
                <c16:uniqueId val="{000000B5-2993-41DE-A2CB-63102DE87051}"/>
              </c:ext>
            </c:extLst>
          </c:dPt>
          <c:dPt>
            <c:idx val="90"/>
            <c:invertIfNegative val="1"/>
            <c:bubble3D val="0"/>
            <c:spPr>
              <a:solidFill>
                <a:srgbClr val="7ECAC4"/>
              </a:solidFill>
            </c:spPr>
            <c:extLst>
              <c:ext xmlns:c16="http://schemas.microsoft.com/office/drawing/2014/chart" uri="{C3380CC4-5D6E-409C-BE32-E72D297353CC}">
                <c16:uniqueId val="{000000B7-2993-41DE-A2CB-63102DE87051}"/>
              </c:ext>
            </c:extLst>
          </c:dPt>
          <c:dPt>
            <c:idx val="91"/>
            <c:invertIfNegative val="1"/>
            <c:bubble3D val="0"/>
            <c:spPr>
              <a:solidFill>
                <a:srgbClr val="7ECAC4"/>
              </a:solidFill>
            </c:spPr>
            <c:extLst>
              <c:ext xmlns:c16="http://schemas.microsoft.com/office/drawing/2014/chart" uri="{C3380CC4-5D6E-409C-BE32-E72D297353CC}">
                <c16:uniqueId val="{000000B9-2993-41DE-A2CB-63102DE87051}"/>
              </c:ext>
            </c:extLst>
          </c:dPt>
          <c:dPt>
            <c:idx val="92"/>
            <c:invertIfNegative val="1"/>
            <c:bubble3D val="0"/>
            <c:spPr>
              <a:solidFill>
                <a:srgbClr val="7ECAC4"/>
              </a:solidFill>
            </c:spPr>
            <c:extLst>
              <c:ext xmlns:c16="http://schemas.microsoft.com/office/drawing/2014/chart" uri="{C3380CC4-5D6E-409C-BE32-E72D297353CC}">
                <c16:uniqueId val="{000000BB-2993-41DE-A2CB-63102DE87051}"/>
              </c:ext>
            </c:extLst>
          </c:dPt>
          <c:dPt>
            <c:idx val="93"/>
            <c:invertIfNegative val="1"/>
            <c:bubble3D val="0"/>
            <c:spPr>
              <a:solidFill>
                <a:srgbClr val="7ECAC4"/>
              </a:solidFill>
            </c:spPr>
            <c:extLst>
              <c:ext xmlns:c16="http://schemas.microsoft.com/office/drawing/2014/chart" uri="{C3380CC4-5D6E-409C-BE32-E72D297353CC}">
                <c16:uniqueId val="{000000BD-2993-41DE-A2CB-63102DE87051}"/>
              </c:ext>
            </c:extLst>
          </c:dPt>
          <c:dPt>
            <c:idx val="94"/>
            <c:invertIfNegative val="1"/>
            <c:bubble3D val="0"/>
            <c:spPr>
              <a:solidFill>
                <a:srgbClr val="7ECAC4"/>
              </a:solidFill>
            </c:spPr>
            <c:extLst>
              <c:ext xmlns:c16="http://schemas.microsoft.com/office/drawing/2014/chart" uri="{C3380CC4-5D6E-409C-BE32-E72D297353CC}">
                <c16:uniqueId val="{000000BF-2993-41DE-A2CB-63102DE87051}"/>
              </c:ext>
            </c:extLst>
          </c:dPt>
          <c:dPt>
            <c:idx val="95"/>
            <c:invertIfNegative val="1"/>
            <c:bubble3D val="0"/>
            <c:spPr>
              <a:solidFill>
                <a:srgbClr val="7ECAC4"/>
              </a:solidFill>
            </c:spPr>
            <c:extLst>
              <c:ext xmlns:c16="http://schemas.microsoft.com/office/drawing/2014/chart" uri="{C3380CC4-5D6E-409C-BE32-E72D297353CC}">
                <c16:uniqueId val="{000000C1-2993-41DE-A2CB-63102DE87051}"/>
              </c:ext>
            </c:extLst>
          </c:dPt>
          <c:dPt>
            <c:idx val="96"/>
            <c:invertIfNegative val="1"/>
            <c:bubble3D val="0"/>
            <c:spPr>
              <a:solidFill>
                <a:srgbClr val="7ECAC4"/>
              </a:solidFill>
            </c:spPr>
            <c:extLst>
              <c:ext xmlns:c16="http://schemas.microsoft.com/office/drawing/2014/chart" uri="{C3380CC4-5D6E-409C-BE32-E72D297353CC}">
                <c16:uniqueId val="{000000C3-2993-41DE-A2CB-63102DE87051}"/>
              </c:ext>
            </c:extLst>
          </c:dPt>
          <c:dPt>
            <c:idx val="97"/>
            <c:invertIfNegative val="1"/>
            <c:bubble3D val="0"/>
            <c:spPr>
              <a:solidFill>
                <a:srgbClr val="7ECAC4"/>
              </a:solidFill>
            </c:spPr>
            <c:extLst>
              <c:ext xmlns:c16="http://schemas.microsoft.com/office/drawing/2014/chart" uri="{C3380CC4-5D6E-409C-BE32-E72D297353CC}">
                <c16:uniqueId val="{000000C5-2993-41DE-A2CB-63102DE87051}"/>
              </c:ext>
            </c:extLst>
          </c:dPt>
          <c:dPt>
            <c:idx val="98"/>
            <c:invertIfNegative val="1"/>
            <c:bubble3D val="0"/>
            <c:spPr>
              <a:solidFill>
                <a:srgbClr val="7ECAC4"/>
              </a:solidFill>
            </c:spPr>
            <c:extLst>
              <c:ext xmlns:c16="http://schemas.microsoft.com/office/drawing/2014/chart" uri="{C3380CC4-5D6E-409C-BE32-E72D297353CC}">
                <c16:uniqueId val="{000000C7-2993-41DE-A2CB-63102DE87051}"/>
              </c:ext>
            </c:extLst>
          </c:dPt>
          <c:dPt>
            <c:idx val="99"/>
            <c:invertIfNegative val="1"/>
            <c:bubble3D val="0"/>
            <c:spPr>
              <a:solidFill>
                <a:srgbClr val="7ECAC4"/>
              </a:solidFill>
            </c:spPr>
            <c:extLst>
              <c:ext xmlns:c16="http://schemas.microsoft.com/office/drawing/2014/chart" uri="{C3380CC4-5D6E-409C-BE32-E72D297353CC}">
                <c16:uniqueId val="{000000C9-2993-41DE-A2CB-63102DE87051}"/>
              </c:ext>
            </c:extLst>
          </c:dPt>
          <c:dPt>
            <c:idx val="100"/>
            <c:invertIfNegative val="1"/>
            <c:bubble3D val="0"/>
            <c:spPr>
              <a:solidFill>
                <a:srgbClr val="7ECAC4"/>
              </a:solidFill>
            </c:spPr>
            <c:extLst>
              <c:ext xmlns:c16="http://schemas.microsoft.com/office/drawing/2014/chart" uri="{C3380CC4-5D6E-409C-BE32-E72D297353CC}">
                <c16:uniqueId val="{000000CB-2993-41DE-A2CB-63102DE87051}"/>
              </c:ext>
            </c:extLst>
          </c:dPt>
          <c:dPt>
            <c:idx val="101"/>
            <c:invertIfNegative val="1"/>
            <c:bubble3D val="0"/>
            <c:spPr>
              <a:solidFill>
                <a:srgbClr val="7ECAC4"/>
              </a:solidFill>
            </c:spPr>
            <c:extLst>
              <c:ext xmlns:c16="http://schemas.microsoft.com/office/drawing/2014/chart" uri="{C3380CC4-5D6E-409C-BE32-E72D297353CC}">
                <c16:uniqueId val="{000000CD-2993-41DE-A2CB-63102DE87051}"/>
              </c:ext>
            </c:extLst>
          </c:dPt>
          <c:dPt>
            <c:idx val="102"/>
            <c:invertIfNegative val="1"/>
            <c:bubble3D val="0"/>
            <c:spPr>
              <a:solidFill>
                <a:srgbClr val="7ECAC4"/>
              </a:solidFill>
            </c:spPr>
            <c:extLst>
              <c:ext xmlns:c16="http://schemas.microsoft.com/office/drawing/2014/chart" uri="{C3380CC4-5D6E-409C-BE32-E72D297353CC}">
                <c16:uniqueId val="{000000CF-2993-41DE-A2CB-63102DE87051}"/>
              </c:ext>
            </c:extLst>
          </c:dPt>
          <c:dPt>
            <c:idx val="103"/>
            <c:invertIfNegative val="1"/>
            <c:bubble3D val="0"/>
            <c:spPr>
              <a:solidFill>
                <a:srgbClr val="7ECAC4"/>
              </a:solidFill>
            </c:spPr>
            <c:extLst>
              <c:ext xmlns:c16="http://schemas.microsoft.com/office/drawing/2014/chart" uri="{C3380CC4-5D6E-409C-BE32-E72D297353CC}">
                <c16:uniqueId val="{000000D1-2993-41DE-A2CB-63102DE87051}"/>
              </c:ext>
            </c:extLst>
          </c:dPt>
          <c:dPt>
            <c:idx val="104"/>
            <c:invertIfNegative val="1"/>
            <c:bubble3D val="0"/>
            <c:spPr>
              <a:solidFill>
                <a:srgbClr val="7ECAC4"/>
              </a:solidFill>
            </c:spPr>
            <c:extLst>
              <c:ext xmlns:c16="http://schemas.microsoft.com/office/drawing/2014/chart" uri="{C3380CC4-5D6E-409C-BE32-E72D297353CC}">
                <c16:uniqueId val="{000000D3-2993-41DE-A2CB-63102DE87051}"/>
              </c:ext>
            </c:extLst>
          </c:dPt>
          <c:dPt>
            <c:idx val="105"/>
            <c:invertIfNegative val="1"/>
            <c:bubble3D val="0"/>
            <c:spPr>
              <a:solidFill>
                <a:srgbClr val="7ECAC4"/>
              </a:solidFill>
            </c:spPr>
            <c:extLst>
              <c:ext xmlns:c16="http://schemas.microsoft.com/office/drawing/2014/chart" uri="{C3380CC4-5D6E-409C-BE32-E72D297353CC}">
                <c16:uniqueId val="{000000D5-2993-41DE-A2CB-63102DE87051}"/>
              </c:ext>
            </c:extLst>
          </c:dPt>
          <c:dPt>
            <c:idx val="106"/>
            <c:invertIfNegative val="1"/>
            <c:bubble3D val="0"/>
            <c:spPr>
              <a:solidFill>
                <a:srgbClr val="7ECAC4"/>
              </a:solidFill>
            </c:spPr>
            <c:extLst>
              <c:ext xmlns:c16="http://schemas.microsoft.com/office/drawing/2014/chart" uri="{C3380CC4-5D6E-409C-BE32-E72D297353CC}">
                <c16:uniqueId val="{000000D7-2993-41DE-A2CB-63102DE87051}"/>
              </c:ext>
            </c:extLst>
          </c:dPt>
          <c:dPt>
            <c:idx val="107"/>
            <c:invertIfNegative val="1"/>
            <c:bubble3D val="0"/>
            <c:spPr>
              <a:solidFill>
                <a:srgbClr val="7ECAC4"/>
              </a:solidFill>
            </c:spPr>
            <c:extLst>
              <c:ext xmlns:c16="http://schemas.microsoft.com/office/drawing/2014/chart" uri="{C3380CC4-5D6E-409C-BE32-E72D297353CC}">
                <c16:uniqueId val="{000000D9-2993-41DE-A2CB-63102DE87051}"/>
              </c:ext>
            </c:extLst>
          </c:dPt>
          <c:dPt>
            <c:idx val="108"/>
            <c:invertIfNegative val="1"/>
            <c:bubble3D val="0"/>
            <c:spPr>
              <a:solidFill>
                <a:srgbClr val="7ECAC4"/>
              </a:solidFill>
            </c:spPr>
            <c:extLst>
              <c:ext xmlns:c16="http://schemas.microsoft.com/office/drawing/2014/chart" uri="{C3380CC4-5D6E-409C-BE32-E72D297353CC}">
                <c16:uniqueId val="{000000DB-2993-41DE-A2CB-63102DE87051}"/>
              </c:ext>
            </c:extLst>
          </c:dPt>
          <c:dPt>
            <c:idx val="109"/>
            <c:invertIfNegative val="1"/>
            <c:bubble3D val="0"/>
            <c:spPr>
              <a:solidFill>
                <a:srgbClr val="7ECAC4"/>
              </a:solidFill>
            </c:spPr>
            <c:extLst>
              <c:ext xmlns:c16="http://schemas.microsoft.com/office/drawing/2014/chart" uri="{C3380CC4-5D6E-409C-BE32-E72D297353CC}">
                <c16:uniqueId val="{000000DD-2993-41DE-A2CB-63102DE87051}"/>
              </c:ext>
            </c:extLst>
          </c:dPt>
          <c:dPt>
            <c:idx val="110"/>
            <c:invertIfNegative val="1"/>
            <c:bubble3D val="0"/>
            <c:spPr>
              <a:solidFill>
                <a:srgbClr val="7ECAC4"/>
              </a:solidFill>
            </c:spPr>
            <c:extLst>
              <c:ext xmlns:c16="http://schemas.microsoft.com/office/drawing/2014/chart" uri="{C3380CC4-5D6E-409C-BE32-E72D297353CC}">
                <c16:uniqueId val="{000000DF-2993-41DE-A2CB-63102DE87051}"/>
              </c:ext>
            </c:extLst>
          </c:dPt>
          <c:dPt>
            <c:idx val="111"/>
            <c:invertIfNegative val="1"/>
            <c:bubble3D val="0"/>
            <c:spPr>
              <a:solidFill>
                <a:srgbClr val="7ECAC4"/>
              </a:solidFill>
            </c:spPr>
            <c:extLst>
              <c:ext xmlns:c16="http://schemas.microsoft.com/office/drawing/2014/chart" uri="{C3380CC4-5D6E-409C-BE32-E72D297353CC}">
                <c16:uniqueId val="{000000E1-2993-41DE-A2CB-63102DE87051}"/>
              </c:ext>
            </c:extLst>
          </c:dPt>
          <c:dPt>
            <c:idx val="112"/>
            <c:invertIfNegative val="1"/>
            <c:bubble3D val="0"/>
            <c:spPr>
              <a:solidFill>
                <a:srgbClr val="7ECAC4"/>
              </a:solidFill>
            </c:spPr>
            <c:extLst>
              <c:ext xmlns:c16="http://schemas.microsoft.com/office/drawing/2014/chart" uri="{C3380CC4-5D6E-409C-BE32-E72D297353CC}">
                <c16:uniqueId val="{000000E3-2993-41DE-A2CB-63102DE87051}"/>
              </c:ext>
            </c:extLst>
          </c:dPt>
          <c:dPt>
            <c:idx val="113"/>
            <c:invertIfNegative val="1"/>
            <c:bubble3D val="0"/>
            <c:spPr>
              <a:solidFill>
                <a:srgbClr val="7ECAC4"/>
              </a:solidFill>
            </c:spPr>
            <c:extLst>
              <c:ext xmlns:c16="http://schemas.microsoft.com/office/drawing/2014/chart" uri="{C3380CC4-5D6E-409C-BE32-E72D297353CC}">
                <c16:uniqueId val="{000000E5-2993-41DE-A2CB-63102DE87051}"/>
              </c:ext>
            </c:extLst>
          </c:dPt>
          <c:dPt>
            <c:idx val="114"/>
            <c:invertIfNegative val="1"/>
            <c:bubble3D val="0"/>
            <c:spPr>
              <a:solidFill>
                <a:srgbClr val="7ECAC4"/>
              </a:solidFill>
            </c:spPr>
            <c:extLst>
              <c:ext xmlns:c16="http://schemas.microsoft.com/office/drawing/2014/chart" uri="{C3380CC4-5D6E-409C-BE32-E72D297353CC}">
                <c16:uniqueId val="{000000E7-2993-41DE-A2CB-63102DE87051}"/>
              </c:ext>
            </c:extLst>
          </c:dPt>
          <c:dPt>
            <c:idx val="115"/>
            <c:invertIfNegative val="1"/>
            <c:bubble3D val="0"/>
            <c:spPr>
              <a:solidFill>
                <a:srgbClr val="7ECAC4"/>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AEABAB"/>
              </a:solidFill>
            </c:spPr>
            <c:extLst>
              <c:ext xmlns:c16="http://schemas.microsoft.com/office/drawing/2014/chart" uri="{C3380CC4-5D6E-409C-BE32-E72D297353CC}">
                <c16:uniqueId val="{00000115-2993-41DE-A2CB-63102DE87051}"/>
              </c:ext>
            </c:extLst>
          </c:dPt>
          <c:dPt>
            <c:idx val="138"/>
            <c:invertIfNegative val="1"/>
            <c:bubble3D val="0"/>
            <c:spPr>
              <a:solidFill>
                <a:srgbClr val="AEABAB"/>
              </a:solidFill>
            </c:spPr>
            <c:extLst>
              <c:ext xmlns:c16="http://schemas.microsoft.com/office/drawing/2014/chart" uri="{C3380CC4-5D6E-409C-BE32-E72D297353CC}">
                <c16:uniqueId val="{00000117-2993-41DE-A2CB-63102DE87051}"/>
              </c:ext>
            </c:extLst>
          </c:dPt>
          <c:dPt>
            <c:idx val="139"/>
            <c:invertIfNegative val="1"/>
            <c:bubble3D val="0"/>
            <c:spPr>
              <a:solidFill>
                <a:srgbClr val="AEABAB"/>
              </a:solidFill>
            </c:spPr>
            <c:extLst>
              <c:ext xmlns:c16="http://schemas.microsoft.com/office/drawing/2014/chart" uri="{C3380CC4-5D6E-409C-BE32-E72D297353CC}">
                <c16:uniqueId val="{00000119-2993-41DE-A2CB-63102DE87051}"/>
              </c:ext>
            </c:extLst>
          </c:dPt>
          <c:dPt>
            <c:idx val="140"/>
            <c:invertIfNegative val="1"/>
            <c:bubble3D val="0"/>
            <c:spPr>
              <a:solidFill>
                <a:srgbClr val="AEABAB"/>
              </a:solidFill>
            </c:spPr>
            <c:extLst>
              <c:ext xmlns:c16="http://schemas.microsoft.com/office/drawing/2014/chart" uri="{C3380CC4-5D6E-409C-BE32-E72D297353CC}">
                <c16:uniqueId val="{0000011B-2993-41DE-A2CB-63102DE87051}"/>
              </c:ext>
            </c:extLst>
          </c:dPt>
          <c:dPt>
            <c:idx val="141"/>
            <c:invertIfNegative val="1"/>
            <c:bubble3D val="0"/>
            <c:spPr>
              <a:solidFill>
                <a:srgbClr val="AEABAB"/>
              </a:solidFill>
            </c:spPr>
            <c:extLst>
              <c:ext xmlns:c16="http://schemas.microsoft.com/office/drawing/2014/chart" uri="{C3380CC4-5D6E-409C-BE32-E72D297353CC}">
                <c16:uniqueId val="{0000011D-2993-41DE-A2CB-63102DE87051}"/>
              </c:ext>
            </c:extLst>
          </c:dPt>
          <c:dPt>
            <c:idx val="142"/>
            <c:invertIfNegative val="1"/>
            <c:bubble3D val="0"/>
            <c:spPr>
              <a:solidFill>
                <a:srgbClr val="AEABAB"/>
              </a:solidFill>
            </c:spPr>
            <c:extLst>
              <c:ext xmlns:c16="http://schemas.microsoft.com/office/drawing/2014/chart" uri="{C3380CC4-5D6E-409C-BE32-E72D297353CC}">
                <c16:uniqueId val="{0000011F-2993-41DE-A2CB-63102DE87051}"/>
              </c:ext>
            </c:extLst>
          </c:dPt>
          <c:dPt>
            <c:idx val="143"/>
            <c:invertIfNegative val="1"/>
            <c:bubble3D val="0"/>
            <c:spPr>
              <a:solidFill>
                <a:srgbClr val="AEABAB"/>
              </a:solidFill>
            </c:spPr>
            <c:extLst>
              <c:ext xmlns:c16="http://schemas.microsoft.com/office/drawing/2014/chart" uri="{C3380CC4-5D6E-409C-BE32-E72D297353CC}">
                <c16:uniqueId val="{00000121-2993-41DE-A2CB-63102DE87051}"/>
              </c:ext>
            </c:extLst>
          </c:dPt>
          <c:dPt>
            <c:idx val="144"/>
            <c:invertIfNegative val="1"/>
            <c:bubble3D val="0"/>
            <c:spPr>
              <a:solidFill>
                <a:srgbClr val="AEABAB"/>
              </a:solidFill>
            </c:spPr>
            <c:extLst>
              <c:ext xmlns:c16="http://schemas.microsoft.com/office/drawing/2014/chart" uri="{C3380CC4-5D6E-409C-BE32-E72D297353CC}">
                <c16:uniqueId val="{00000123-2993-41DE-A2CB-63102DE87051}"/>
              </c:ext>
            </c:extLst>
          </c:dPt>
          <c:dPt>
            <c:idx val="145"/>
            <c:invertIfNegative val="1"/>
            <c:bubble3D val="0"/>
            <c:spPr>
              <a:solidFill>
                <a:srgbClr val="AEABAB"/>
              </a:solidFill>
            </c:spPr>
            <c:extLst>
              <c:ext xmlns:c16="http://schemas.microsoft.com/office/drawing/2014/chart" uri="{C3380CC4-5D6E-409C-BE32-E72D297353CC}">
                <c16:uniqueId val="{00000125-2993-41DE-A2CB-63102DE87051}"/>
              </c:ext>
            </c:extLst>
          </c:dPt>
          <c:dPt>
            <c:idx val="146"/>
            <c:invertIfNegative val="1"/>
            <c:bubble3D val="0"/>
            <c:spPr>
              <a:solidFill>
                <a:srgbClr val="AEABAB"/>
              </a:solidFill>
            </c:spPr>
            <c:extLst>
              <c:ext xmlns:c16="http://schemas.microsoft.com/office/drawing/2014/chart" uri="{C3380CC4-5D6E-409C-BE32-E72D297353CC}">
                <c16:uniqueId val="{00000127-2993-41DE-A2CB-63102DE87051}"/>
              </c:ext>
            </c:extLst>
          </c:dPt>
          <c:dPt>
            <c:idx val="147"/>
            <c:invertIfNegative val="1"/>
            <c:bubble3D val="0"/>
            <c:spPr>
              <a:solidFill>
                <a:srgbClr val="AEABAB"/>
              </a:solidFill>
            </c:spPr>
            <c:extLst>
              <c:ext xmlns:c16="http://schemas.microsoft.com/office/drawing/2014/chart" uri="{C3380CC4-5D6E-409C-BE32-E72D297353CC}">
                <c16:uniqueId val="{00000129-2993-41DE-A2CB-63102DE87051}"/>
              </c:ext>
            </c:extLst>
          </c:dPt>
          <c:dPt>
            <c:idx val="148"/>
            <c:invertIfNegative val="1"/>
            <c:bubble3D val="0"/>
            <c:spPr>
              <a:solidFill>
                <a:srgbClr val="AEABAB"/>
              </a:solidFill>
            </c:spPr>
            <c:extLst>
              <c:ext xmlns:c16="http://schemas.microsoft.com/office/drawing/2014/chart" uri="{C3380CC4-5D6E-409C-BE32-E72D297353CC}">
                <c16:uniqueId val="{0000012B-2993-41DE-A2CB-63102DE87051}"/>
              </c:ext>
            </c:extLst>
          </c:dPt>
          <c:dPt>
            <c:idx val="149"/>
            <c:invertIfNegative val="1"/>
            <c:bubble3D val="0"/>
            <c:spPr>
              <a:solidFill>
                <a:srgbClr val="AEABAB"/>
              </a:solidFill>
            </c:spPr>
            <c:extLst>
              <c:ext xmlns:c16="http://schemas.microsoft.com/office/drawing/2014/chart" uri="{C3380CC4-5D6E-409C-BE32-E72D297353CC}">
                <c16:uniqueId val="{0000012D-2993-41DE-A2CB-63102DE87051}"/>
              </c:ext>
            </c:extLst>
          </c:dPt>
          <c:dPt>
            <c:idx val="150"/>
            <c:invertIfNegative val="1"/>
            <c:bubble3D val="0"/>
            <c:spPr>
              <a:solidFill>
                <a:srgbClr val="AEABAB"/>
              </a:solidFill>
            </c:spPr>
            <c:extLst>
              <c:ext xmlns:c16="http://schemas.microsoft.com/office/drawing/2014/chart" uri="{C3380CC4-5D6E-409C-BE32-E72D297353CC}">
                <c16:uniqueId val="{0000012F-2993-41DE-A2CB-63102DE87051}"/>
              </c:ext>
            </c:extLst>
          </c:dPt>
          <c:dPt>
            <c:idx val="151"/>
            <c:invertIfNegative val="1"/>
            <c:bubble3D val="0"/>
            <c:spPr>
              <a:solidFill>
                <a:srgbClr val="AEABAB"/>
              </a:solidFill>
            </c:spPr>
            <c:extLst>
              <c:ext xmlns:c16="http://schemas.microsoft.com/office/drawing/2014/chart" uri="{C3380CC4-5D6E-409C-BE32-E72D297353CC}">
                <c16:uniqueId val="{00000131-2993-41DE-A2CB-63102DE87051}"/>
              </c:ext>
            </c:extLst>
          </c:dPt>
          <c:dPt>
            <c:idx val="152"/>
            <c:invertIfNegative val="1"/>
            <c:bubble3D val="0"/>
            <c:spPr>
              <a:solidFill>
                <a:srgbClr val="AEABAB"/>
              </a:solidFill>
            </c:spPr>
            <c:extLst>
              <c:ext xmlns:c16="http://schemas.microsoft.com/office/drawing/2014/chart" uri="{C3380CC4-5D6E-409C-BE32-E72D297353CC}">
                <c16:uniqueId val="{00000133-2993-41DE-A2CB-63102DE87051}"/>
              </c:ext>
            </c:extLst>
          </c:dPt>
          <c:dPt>
            <c:idx val="153"/>
            <c:invertIfNegative val="1"/>
            <c:bubble3D val="0"/>
            <c:spPr>
              <a:solidFill>
                <a:srgbClr val="AEABAB"/>
              </a:solidFill>
            </c:spPr>
            <c:extLst>
              <c:ext xmlns:c16="http://schemas.microsoft.com/office/drawing/2014/chart" uri="{C3380CC4-5D6E-409C-BE32-E72D297353CC}">
                <c16:uniqueId val="{00000135-2993-41DE-A2CB-63102DE87051}"/>
              </c:ext>
            </c:extLst>
          </c:dPt>
          <c:dPt>
            <c:idx val="154"/>
            <c:invertIfNegative val="1"/>
            <c:bubble3D val="0"/>
            <c:spPr>
              <a:solidFill>
                <a:srgbClr val="AEABAB"/>
              </a:solidFill>
            </c:spPr>
            <c:extLst>
              <c:ext xmlns:c16="http://schemas.microsoft.com/office/drawing/2014/chart" uri="{C3380CC4-5D6E-409C-BE32-E72D297353CC}">
                <c16:uniqueId val="{00000137-2993-41DE-A2CB-63102DE87051}"/>
              </c:ext>
            </c:extLst>
          </c:dPt>
          <c:dPt>
            <c:idx val="155"/>
            <c:invertIfNegative val="1"/>
            <c:bubble3D val="0"/>
            <c:spPr>
              <a:solidFill>
                <a:srgbClr val="AEABAB"/>
              </a:solidFill>
            </c:spPr>
            <c:extLst>
              <c:ext xmlns:c16="http://schemas.microsoft.com/office/drawing/2014/chart" uri="{C3380CC4-5D6E-409C-BE32-E72D297353CC}">
                <c16:uniqueId val="{00000139-2993-41DE-A2CB-63102DE87051}"/>
              </c:ext>
            </c:extLst>
          </c:dPt>
          <c:dPt>
            <c:idx val="156"/>
            <c:invertIfNegative val="1"/>
            <c:bubble3D val="0"/>
            <c:spPr>
              <a:solidFill>
                <a:srgbClr val="AEABAB"/>
              </a:solidFill>
            </c:spPr>
            <c:extLst>
              <c:ext xmlns:c16="http://schemas.microsoft.com/office/drawing/2014/chart" uri="{C3380CC4-5D6E-409C-BE32-E72D297353CC}">
                <c16:uniqueId val="{0000013B-2993-41DE-A2CB-63102DE87051}"/>
              </c:ext>
            </c:extLst>
          </c:dPt>
          <c:dPt>
            <c:idx val="157"/>
            <c:invertIfNegative val="1"/>
            <c:bubble3D val="0"/>
            <c:spPr>
              <a:solidFill>
                <a:srgbClr val="AEABAB"/>
              </a:solidFill>
            </c:spPr>
            <c:extLst>
              <c:ext xmlns:c16="http://schemas.microsoft.com/office/drawing/2014/chart" uri="{C3380CC4-5D6E-409C-BE32-E72D297353CC}">
                <c16:uniqueId val="{0000013D-2993-41DE-A2CB-63102DE87051}"/>
              </c:ext>
            </c:extLst>
          </c:dPt>
          <c:dPt>
            <c:idx val="158"/>
            <c:invertIfNegative val="1"/>
            <c:bubble3D val="0"/>
            <c:spPr>
              <a:solidFill>
                <a:srgbClr val="AEABAB"/>
              </a:solidFill>
            </c:spPr>
            <c:extLst>
              <c:ext xmlns:c16="http://schemas.microsoft.com/office/drawing/2014/chart" uri="{C3380CC4-5D6E-409C-BE32-E72D297353CC}">
                <c16:uniqueId val="{0000013F-2993-41DE-A2CB-63102DE87051}"/>
              </c:ext>
            </c:extLst>
          </c:dPt>
          <c:dPt>
            <c:idx val="159"/>
            <c:invertIfNegative val="1"/>
            <c:bubble3D val="0"/>
            <c:spPr>
              <a:solidFill>
                <a:srgbClr val="AEABAB"/>
              </a:solidFill>
            </c:spPr>
            <c:extLst>
              <c:ext xmlns:c16="http://schemas.microsoft.com/office/drawing/2014/chart" uri="{C3380CC4-5D6E-409C-BE32-E72D297353CC}">
                <c16:uniqueId val="{00000141-2993-41DE-A2CB-63102DE87051}"/>
              </c:ext>
            </c:extLst>
          </c:dPt>
          <c:dPt>
            <c:idx val="160"/>
            <c:invertIfNegative val="1"/>
            <c:bubble3D val="0"/>
            <c:spPr>
              <a:solidFill>
                <a:srgbClr val="AEABAB"/>
              </a:solidFill>
            </c:spPr>
            <c:extLst>
              <c:ext xmlns:c16="http://schemas.microsoft.com/office/drawing/2014/chart" uri="{C3380CC4-5D6E-409C-BE32-E72D297353CC}">
                <c16:uniqueId val="{00000143-2993-41DE-A2CB-63102DE87051}"/>
              </c:ext>
            </c:extLst>
          </c:dPt>
          <c:dPt>
            <c:idx val="161"/>
            <c:invertIfNegative val="1"/>
            <c:bubble3D val="0"/>
            <c:spPr>
              <a:solidFill>
                <a:srgbClr val="AEABAB"/>
              </a:solidFill>
            </c:spPr>
            <c:extLst>
              <c:ext xmlns:c16="http://schemas.microsoft.com/office/drawing/2014/chart" uri="{C3380CC4-5D6E-409C-BE32-E72D297353CC}">
                <c16:uniqueId val="{00000145-2993-41DE-A2CB-63102DE87051}"/>
              </c:ext>
            </c:extLst>
          </c:dPt>
          <c:dPt>
            <c:idx val="162"/>
            <c:invertIfNegative val="1"/>
            <c:bubble3D val="0"/>
            <c:spPr>
              <a:solidFill>
                <a:srgbClr val="AEABAB"/>
              </a:solidFill>
            </c:spPr>
            <c:extLst>
              <c:ext xmlns:c16="http://schemas.microsoft.com/office/drawing/2014/chart" uri="{C3380CC4-5D6E-409C-BE32-E72D297353CC}">
                <c16:uniqueId val="{00000147-2993-41DE-A2CB-63102DE87051}"/>
              </c:ext>
            </c:extLst>
          </c:dPt>
          <c:dPt>
            <c:idx val="163"/>
            <c:invertIfNegative val="1"/>
            <c:bubble3D val="0"/>
            <c:spPr>
              <a:solidFill>
                <a:srgbClr val="AEABAB"/>
              </a:solidFill>
            </c:spPr>
            <c:extLst>
              <c:ext xmlns:c16="http://schemas.microsoft.com/office/drawing/2014/chart" uri="{C3380CC4-5D6E-409C-BE32-E72D297353CC}">
                <c16:uniqueId val="{00000149-2993-41DE-A2CB-63102DE87051}"/>
              </c:ext>
            </c:extLst>
          </c:dPt>
          <c:dPt>
            <c:idx val="164"/>
            <c:invertIfNegative val="1"/>
            <c:bubble3D val="0"/>
            <c:spPr>
              <a:solidFill>
                <a:srgbClr val="AEABAB"/>
              </a:solidFill>
            </c:spPr>
            <c:extLst>
              <c:ext xmlns:c16="http://schemas.microsoft.com/office/drawing/2014/chart" uri="{C3380CC4-5D6E-409C-BE32-E72D297353CC}">
                <c16:uniqueId val="{0000014B-2993-41DE-A2CB-63102DE87051}"/>
              </c:ext>
            </c:extLst>
          </c:dPt>
          <c:dPt>
            <c:idx val="165"/>
            <c:invertIfNegative val="1"/>
            <c:bubble3D val="0"/>
            <c:spPr>
              <a:solidFill>
                <a:srgbClr val="AEABAB"/>
              </a:solidFill>
            </c:spPr>
            <c:extLst>
              <c:ext xmlns:c16="http://schemas.microsoft.com/office/drawing/2014/chart" uri="{C3380CC4-5D6E-409C-BE32-E72D297353CC}">
                <c16:uniqueId val="{0000014D-2993-41DE-A2CB-63102DE87051}"/>
              </c:ext>
            </c:extLst>
          </c:dPt>
          <c:dPt>
            <c:idx val="166"/>
            <c:invertIfNegative val="1"/>
            <c:bubble3D val="0"/>
            <c:spPr>
              <a:solidFill>
                <a:srgbClr val="AEABAB"/>
              </a:solidFill>
            </c:spPr>
            <c:extLst>
              <c:ext xmlns:c16="http://schemas.microsoft.com/office/drawing/2014/chart" uri="{C3380CC4-5D6E-409C-BE32-E72D297353CC}">
                <c16:uniqueId val="{0000014F-2993-41DE-A2CB-63102DE87051}"/>
              </c:ext>
            </c:extLst>
          </c:dPt>
          <c:dPt>
            <c:idx val="167"/>
            <c:invertIfNegative val="1"/>
            <c:bubble3D val="0"/>
            <c:spPr>
              <a:solidFill>
                <a:srgbClr val="AEABAB"/>
              </a:solidFill>
            </c:spPr>
            <c:extLst>
              <c:ext xmlns:c16="http://schemas.microsoft.com/office/drawing/2014/chart" uri="{C3380CC4-5D6E-409C-BE32-E72D297353CC}">
                <c16:uniqueId val="{00000151-2993-41DE-A2CB-63102DE87051}"/>
              </c:ext>
            </c:extLst>
          </c:dPt>
          <c:dPt>
            <c:idx val="168"/>
            <c:invertIfNegative val="1"/>
            <c:bubble3D val="0"/>
            <c:spPr>
              <a:solidFill>
                <a:srgbClr val="AEABAB"/>
              </a:solidFill>
            </c:spPr>
            <c:extLst>
              <c:ext xmlns:c16="http://schemas.microsoft.com/office/drawing/2014/chart" uri="{C3380CC4-5D6E-409C-BE32-E72D297353CC}">
                <c16:uniqueId val="{00000153-2993-41DE-A2CB-63102DE87051}"/>
              </c:ext>
            </c:extLst>
          </c:dPt>
          <c:dPt>
            <c:idx val="169"/>
            <c:invertIfNegative val="1"/>
            <c:bubble3D val="0"/>
            <c:spPr>
              <a:solidFill>
                <a:srgbClr val="AEABAB"/>
              </a:solidFill>
            </c:spPr>
            <c:extLst>
              <c:ext xmlns:c16="http://schemas.microsoft.com/office/drawing/2014/chart" uri="{C3380CC4-5D6E-409C-BE32-E72D297353CC}">
                <c16:uniqueId val="{00000155-2993-41DE-A2CB-63102DE87051}"/>
              </c:ext>
            </c:extLst>
          </c:dPt>
          <c:dPt>
            <c:idx val="170"/>
            <c:invertIfNegative val="1"/>
            <c:bubble3D val="0"/>
            <c:spPr>
              <a:solidFill>
                <a:srgbClr val="AEABAB"/>
              </a:solidFill>
            </c:spPr>
            <c:extLst>
              <c:ext xmlns:c16="http://schemas.microsoft.com/office/drawing/2014/chart" uri="{C3380CC4-5D6E-409C-BE32-E72D297353CC}">
                <c16:uniqueId val="{00000157-2993-41DE-A2CB-63102DE87051}"/>
              </c:ext>
            </c:extLst>
          </c:dPt>
          <c:dPt>
            <c:idx val="171"/>
            <c:invertIfNegative val="1"/>
            <c:bubble3D val="0"/>
            <c:spPr>
              <a:solidFill>
                <a:srgbClr val="AEABAB"/>
              </a:solidFill>
            </c:spPr>
            <c:extLst>
              <c:ext xmlns:c16="http://schemas.microsoft.com/office/drawing/2014/chart" uri="{C3380CC4-5D6E-409C-BE32-E72D297353CC}">
                <c16:uniqueId val="{00000159-2993-41DE-A2CB-63102DE87051}"/>
              </c:ext>
            </c:extLst>
          </c:dPt>
          <c:dPt>
            <c:idx val="172"/>
            <c:invertIfNegative val="1"/>
            <c:bubble3D val="0"/>
            <c:spPr>
              <a:solidFill>
                <a:srgbClr val="AEABAB"/>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dPt>
            <c:idx val="210"/>
            <c:invertIfNegative val="1"/>
            <c:bubble3D val="0"/>
            <c:spPr>
              <a:solidFill>
                <a:srgbClr val="AEABAB"/>
              </a:solidFill>
            </c:spPr>
            <c:extLst>
              <c:ext xmlns:c16="http://schemas.microsoft.com/office/drawing/2014/chart" uri="{C3380CC4-5D6E-409C-BE32-E72D297353CC}">
                <c16:uniqueId val="{000001A7-09B8-45EC-99FF-01E55AD01204}"/>
              </c:ext>
            </c:extLst>
          </c:dPt>
          <c:dPt>
            <c:idx val="211"/>
            <c:invertIfNegative val="1"/>
            <c:bubble3D val="0"/>
            <c:spPr>
              <a:solidFill>
                <a:srgbClr val="AEABAB"/>
              </a:solidFill>
            </c:spPr>
            <c:extLst>
              <c:ext xmlns:c16="http://schemas.microsoft.com/office/drawing/2014/chart" uri="{C3380CC4-5D6E-409C-BE32-E72D297353CC}">
                <c16:uniqueId val="{000001A9-09B8-45EC-99FF-01E55AD01204}"/>
              </c:ext>
            </c:extLst>
          </c:dPt>
          <c:dPt>
            <c:idx val="212"/>
            <c:invertIfNegative val="1"/>
            <c:bubble3D val="0"/>
            <c:spPr>
              <a:solidFill>
                <a:srgbClr val="AEABAB"/>
              </a:solidFill>
            </c:spPr>
            <c:extLst>
              <c:ext xmlns:c16="http://schemas.microsoft.com/office/drawing/2014/chart" uri="{C3380CC4-5D6E-409C-BE32-E72D297353CC}">
                <c16:uniqueId val="{000001AB-09B8-45EC-99FF-01E55AD01204}"/>
              </c:ext>
            </c:extLst>
          </c:dPt>
          <c:dPt>
            <c:idx val="213"/>
            <c:invertIfNegative val="1"/>
            <c:bubble3D val="0"/>
            <c:spPr>
              <a:solidFill>
                <a:srgbClr val="AEABAB"/>
              </a:solidFill>
            </c:spPr>
            <c:extLst>
              <c:ext xmlns:c16="http://schemas.microsoft.com/office/drawing/2014/chart" uri="{C3380CC4-5D6E-409C-BE32-E72D297353CC}">
                <c16:uniqueId val="{000001AD-09B8-45EC-99FF-01E55AD01204}"/>
              </c:ext>
            </c:extLst>
          </c:dPt>
          <c:dPt>
            <c:idx val="214"/>
            <c:invertIfNegative val="1"/>
            <c:bubble3D val="0"/>
            <c:spPr>
              <a:solidFill>
                <a:srgbClr val="AEABAB"/>
              </a:solidFill>
            </c:spPr>
            <c:extLst>
              <c:ext xmlns:c16="http://schemas.microsoft.com/office/drawing/2014/chart" uri="{C3380CC4-5D6E-409C-BE32-E72D297353CC}">
                <c16:uniqueId val="{000001AF-09B8-45EC-99FF-01E55AD01204}"/>
              </c:ext>
            </c:extLst>
          </c:dPt>
          <c:dPt>
            <c:idx val="215"/>
            <c:invertIfNegative val="1"/>
            <c:bubble3D val="0"/>
            <c:spPr>
              <a:solidFill>
                <a:srgbClr val="AEABAB"/>
              </a:solidFill>
            </c:spPr>
            <c:extLst>
              <c:ext xmlns:c16="http://schemas.microsoft.com/office/drawing/2014/chart" uri="{C3380CC4-5D6E-409C-BE32-E72D297353CC}">
                <c16:uniqueId val="{000001B1-09B8-45EC-99FF-01E55AD01204}"/>
              </c:ext>
            </c:extLst>
          </c:dPt>
          <c:dPt>
            <c:idx val="216"/>
            <c:invertIfNegative val="1"/>
            <c:bubble3D val="0"/>
            <c:spPr>
              <a:solidFill>
                <a:srgbClr val="AEABAB"/>
              </a:solidFill>
            </c:spPr>
            <c:extLst>
              <c:ext xmlns:c16="http://schemas.microsoft.com/office/drawing/2014/chart" uri="{C3380CC4-5D6E-409C-BE32-E72D297353CC}">
                <c16:uniqueId val="{000001B3-09B8-45EC-99FF-01E55AD01204}"/>
              </c:ext>
            </c:extLst>
          </c:dPt>
          <c:dPt>
            <c:idx val="217"/>
            <c:invertIfNegative val="1"/>
            <c:bubble3D val="0"/>
            <c:spPr>
              <a:solidFill>
                <a:srgbClr val="AEABAB"/>
              </a:solidFill>
            </c:spPr>
            <c:extLst>
              <c:ext xmlns:c16="http://schemas.microsoft.com/office/drawing/2014/chart" uri="{C3380CC4-5D6E-409C-BE32-E72D297353CC}">
                <c16:uniqueId val="{000001B5-09B8-45EC-99FF-01E55AD01204}"/>
              </c:ext>
            </c:extLst>
          </c:dPt>
          <c:dPt>
            <c:idx val="218"/>
            <c:invertIfNegative val="1"/>
            <c:bubble3D val="0"/>
            <c:spPr>
              <a:solidFill>
                <a:srgbClr val="AEABAB"/>
              </a:solidFill>
            </c:spPr>
            <c:extLst>
              <c:ext xmlns:c16="http://schemas.microsoft.com/office/drawing/2014/chart" uri="{C3380CC4-5D6E-409C-BE32-E72D297353CC}">
                <c16:uniqueId val="{000001B7-09B8-45EC-99FF-01E55AD01204}"/>
              </c:ext>
            </c:extLst>
          </c:dPt>
          <c:dPt>
            <c:idx val="219"/>
            <c:invertIfNegative val="1"/>
            <c:bubble3D val="0"/>
            <c:spPr>
              <a:solidFill>
                <a:srgbClr val="AEABAB"/>
              </a:solidFill>
            </c:spPr>
            <c:extLst>
              <c:ext xmlns:c16="http://schemas.microsoft.com/office/drawing/2014/chart" uri="{C3380CC4-5D6E-409C-BE32-E72D297353CC}">
                <c16:uniqueId val="{000001B9-09B8-45EC-99FF-01E55AD01204}"/>
              </c:ext>
            </c:extLst>
          </c:dPt>
          <c:dPt>
            <c:idx val="220"/>
            <c:invertIfNegative val="1"/>
            <c:bubble3D val="0"/>
            <c:spPr>
              <a:solidFill>
                <a:srgbClr val="AEABAB"/>
              </a:solidFill>
            </c:spPr>
            <c:extLst>
              <c:ext xmlns:c16="http://schemas.microsoft.com/office/drawing/2014/chart" uri="{C3380CC4-5D6E-409C-BE32-E72D297353CC}">
                <c16:uniqueId val="{000001BB-09B8-45EC-99FF-01E55AD01204}"/>
              </c:ext>
            </c:extLst>
          </c:dPt>
          <c:dPt>
            <c:idx val="221"/>
            <c:invertIfNegative val="1"/>
            <c:bubble3D val="0"/>
            <c:spPr>
              <a:solidFill>
                <a:srgbClr val="AEABAB"/>
              </a:solidFill>
            </c:spPr>
            <c:extLst>
              <c:ext xmlns:c16="http://schemas.microsoft.com/office/drawing/2014/chart" uri="{C3380CC4-5D6E-409C-BE32-E72D297353CC}">
                <c16:uniqueId val="{000001BD-09B8-45EC-99FF-01E55AD01204}"/>
              </c:ext>
            </c:extLst>
          </c:dPt>
          <c:dPt>
            <c:idx val="222"/>
            <c:invertIfNegative val="1"/>
            <c:bubble3D val="0"/>
            <c:spPr>
              <a:solidFill>
                <a:srgbClr val="AEABAB"/>
              </a:solidFill>
            </c:spPr>
            <c:extLst>
              <c:ext xmlns:c16="http://schemas.microsoft.com/office/drawing/2014/chart" uri="{C3380CC4-5D6E-409C-BE32-E72D297353CC}">
                <c16:uniqueId val="{000001BF-09B8-45EC-99FF-01E55AD01204}"/>
              </c:ext>
            </c:extLst>
          </c:dPt>
          <c:dPt>
            <c:idx val="223"/>
            <c:invertIfNegative val="1"/>
            <c:bubble3D val="0"/>
            <c:spPr>
              <a:solidFill>
                <a:srgbClr val="AEABAB"/>
              </a:solidFill>
            </c:spPr>
            <c:extLst>
              <c:ext xmlns:c16="http://schemas.microsoft.com/office/drawing/2014/chart" uri="{C3380CC4-5D6E-409C-BE32-E72D297353CC}">
                <c16:uniqueId val="{000001C1-09B8-45EC-99FF-01E55AD01204}"/>
              </c:ext>
            </c:extLst>
          </c:dPt>
          <c:dPt>
            <c:idx val="224"/>
            <c:invertIfNegative val="1"/>
            <c:bubble3D val="0"/>
            <c:spPr>
              <a:solidFill>
                <a:srgbClr val="AEABAB"/>
              </a:solidFill>
            </c:spPr>
            <c:extLst>
              <c:ext xmlns:c16="http://schemas.microsoft.com/office/drawing/2014/chart" uri="{C3380CC4-5D6E-409C-BE32-E72D297353CC}">
                <c16:uniqueId val="{000001C3-09B8-45EC-99FF-01E55AD01204}"/>
              </c:ext>
            </c:extLst>
          </c:dPt>
          <c:dPt>
            <c:idx val="225"/>
            <c:invertIfNegative val="1"/>
            <c:bubble3D val="0"/>
            <c:spPr>
              <a:solidFill>
                <a:srgbClr val="AEABAB"/>
              </a:solidFill>
            </c:spPr>
            <c:extLst>
              <c:ext xmlns:c16="http://schemas.microsoft.com/office/drawing/2014/chart" uri="{C3380CC4-5D6E-409C-BE32-E72D297353CC}">
                <c16:uniqueId val="{000001C5-09B8-45EC-99FF-01E55AD01204}"/>
              </c:ext>
            </c:extLst>
          </c:dPt>
          <c:dPt>
            <c:idx val="226"/>
            <c:invertIfNegative val="1"/>
            <c:bubble3D val="0"/>
            <c:spPr>
              <a:solidFill>
                <a:srgbClr val="AEABAB"/>
              </a:solidFill>
            </c:spPr>
            <c:extLst>
              <c:ext xmlns:c16="http://schemas.microsoft.com/office/drawing/2014/chart" uri="{C3380CC4-5D6E-409C-BE32-E72D297353CC}">
                <c16:uniqueId val="{000001C7-09B8-45EC-99FF-01E55AD01204}"/>
              </c:ext>
            </c:extLst>
          </c:dPt>
          <c:dPt>
            <c:idx val="227"/>
            <c:invertIfNegative val="1"/>
            <c:bubble3D val="0"/>
            <c:spPr>
              <a:solidFill>
                <a:srgbClr val="AEABAB"/>
              </a:solidFill>
            </c:spPr>
            <c:extLst>
              <c:ext xmlns:c16="http://schemas.microsoft.com/office/drawing/2014/chart" uri="{C3380CC4-5D6E-409C-BE32-E72D297353CC}">
                <c16:uniqueId val="{000001C9-09B8-45EC-99FF-01E55AD01204}"/>
              </c:ext>
            </c:extLst>
          </c:dPt>
          <c:dPt>
            <c:idx val="228"/>
            <c:invertIfNegative val="1"/>
            <c:bubble3D val="0"/>
            <c:spPr>
              <a:solidFill>
                <a:srgbClr val="AEABAB"/>
              </a:solidFill>
            </c:spPr>
            <c:extLst>
              <c:ext xmlns:c16="http://schemas.microsoft.com/office/drawing/2014/chart" uri="{C3380CC4-5D6E-409C-BE32-E72D297353CC}">
                <c16:uniqueId val="{000001CB-09B8-45EC-99FF-01E55AD01204}"/>
              </c:ext>
            </c:extLst>
          </c:dPt>
          <c:dPt>
            <c:idx val="229"/>
            <c:invertIfNegative val="1"/>
            <c:bubble3D val="0"/>
            <c:spPr>
              <a:solidFill>
                <a:srgbClr val="AEABAB"/>
              </a:solidFill>
            </c:spPr>
            <c:extLst>
              <c:ext xmlns:c16="http://schemas.microsoft.com/office/drawing/2014/chart" uri="{C3380CC4-5D6E-409C-BE32-E72D297353CC}">
                <c16:uniqueId val="{000001CD-09B8-45EC-99FF-01E55AD01204}"/>
              </c:ext>
            </c:extLst>
          </c:dPt>
          <c:dPt>
            <c:idx val="230"/>
            <c:invertIfNegative val="1"/>
            <c:bubble3D val="0"/>
            <c:spPr>
              <a:solidFill>
                <a:srgbClr val="AEABAB"/>
              </a:solidFill>
            </c:spPr>
            <c:extLst>
              <c:ext xmlns:c16="http://schemas.microsoft.com/office/drawing/2014/chart" uri="{C3380CC4-5D6E-409C-BE32-E72D297353CC}">
                <c16:uniqueId val="{000001CF-09B8-45EC-99FF-01E55AD01204}"/>
              </c:ext>
            </c:extLst>
          </c:dPt>
          <c:dPt>
            <c:idx val="231"/>
            <c:invertIfNegative val="1"/>
            <c:bubble3D val="0"/>
            <c:spPr>
              <a:solidFill>
                <a:srgbClr val="AEABAB"/>
              </a:solidFill>
            </c:spPr>
            <c:extLst>
              <c:ext xmlns:c16="http://schemas.microsoft.com/office/drawing/2014/chart" uri="{C3380CC4-5D6E-409C-BE32-E72D297353CC}">
                <c16:uniqueId val="{000001D1-09B8-45EC-99FF-01E55AD01204}"/>
              </c:ext>
            </c:extLst>
          </c:dPt>
          <c:dPt>
            <c:idx val="232"/>
            <c:invertIfNegative val="1"/>
            <c:bubble3D val="0"/>
            <c:spPr>
              <a:solidFill>
                <a:srgbClr val="AEABAB"/>
              </a:solidFill>
            </c:spPr>
            <c:extLst>
              <c:ext xmlns:c16="http://schemas.microsoft.com/office/drawing/2014/chart" uri="{C3380CC4-5D6E-409C-BE32-E72D297353CC}">
                <c16:uniqueId val="{000001D3-09B8-45EC-99FF-01E55AD01204}"/>
              </c:ext>
            </c:extLst>
          </c:dPt>
          <c:dPt>
            <c:idx val="233"/>
            <c:invertIfNegative val="1"/>
            <c:bubble3D val="0"/>
            <c:spPr>
              <a:solidFill>
                <a:srgbClr val="AEABAB"/>
              </a:solidFill>
            </c:spPr>
            <c:extLst>
              <c:ext xmlns:c16="http://schemas.microsoft.com/office/drawing/2014/chart" uri="{C3380CC4-5D6E-409C-BE32-E72D297353CC}">
                <c16:uniqueId val="{000001D5-09B8-45EC-99FF-01E55AD01204}"/>
              </c:ext>
            </c:extLst>
          </c:dPt>
          <c:dPt>
            <c:idx val="234"/>
            <c:invertIfNegative val="1"/>
            <c:bubble3D val="0"/>
            <c:spPr>
              <a:solidFill>
                <a:srgbClr val="AEABAB"/>
              </a:solidFill>
            </c:spPr>
            <c:extLst>
              <c:ext xmlns:c16="http://schemas.microsoft.com/office/drawing/2014/chart" uri="{C3380CC4-5D6E-409C-BE32-E72D297353CC}">
                <c16:uniqueId val="{000001D7-09B8-45EC-99FF-01E55AD01204}"/>
              </c:ext>
            </c:extLst>
          </c:dPt>
          <c:dPt>
            <c:idx val="235"/>
            <c:invertIfNegative val="1"/>
            <c:bubble3D val="0"/>
            <c:spPr>
              <a:solidFill>
                <a:srgbClr val="AEABAB"/>
              </a:solidFill>
            </c:spPr>
            <c:extLst>
              <c:ext xmlns:c16="http://schemas.microsoft.com/office/drawing/2014/chart" uri="{C3380CC4-5D6E-409C-BE32-E72D297353CC}">
                <c16:uniqueId val="{000001D9-09B8-45EC-99FF-01E55AD01204}"/>
              </c:ext>
            </c:extLst>
          </c:dPt>
          <c:dPt>
            <c:idx val="236"/>
            <c:invertIfNegative val="1"/>
            <c:bubble3D val="0"/>
            <c:spPr>
              <a:solidFill>
                <a:srgbClr val="AEABAB"/>
              </a:solidFill>
            </c:spPr>
            <c:extLst>
              <c:ext xmlns:c16="http://schemas.microsoft.com/office/drawing/2014/chart" uri="{C3380CC4-5D6E-409C-BE32-E72D297353CC}">
                <c16:uniqueId val="{000001DB-09B8-45EC-99FF-01E55AD01204}"/>
              </c:ext>
            </c:extLst>
          </c:dPt>
          <c:dPt>
            <c:idx val="237"/>
            <c:invertIfNegative val="1"/>
            <c:bubble3D val="0"/>
            <c:spPr>
              <a:solidFill>
                <a:srgbClr val="AEABAB"/>
              </a:solidFill>
            </c:spPr>
            <c:extLst>
              <c:ext xmlns:c16="http://schemas.microsoft.com/office/drawing/2014/chart" uri="{C3380CC4-5D6E-409C-BE32-E72D297353CC}">
                <c16:uniqueId val="{000001DD-09B8-45EC-99FF-01E55AD01204}"/>
              </c:ext>
            </c:extLst>
          </c:dPt>
          <c:dPt>
            <c:idx val="238"/>
            <c:invertIfNegative val="1"/>
            <c:bubble3D val="0"/>
            <c:spPr>
              <a:solidFill>
                <a:srgbClr val="AEABAB"/>
              </a:solidFill>
            </c:spPr>
            <c:extLst>
              <c:ext xmlns:c16="http://schemas.microsoft.com/office/drawing/2014/chart" uri="{C3380CC4-5D6E-409C-BE32-E72D297353CC}">
                <c16:uniqueId val="{000001DF-09B8-45EC-99FF-01E55AD01204}"/>
              </c:ext>
            </c:extLst>
          </c:dPt>
          <c:dPt>
            <c:idx val="239"/>
            <c:invertIfNegative val="1"/>
            <c:bubble3D val="0"/>
            <c:spPr>
              <a:solidFill>
                <a:srgbClr val="AEABAB"/>
              </a:solidFill>
            </c:spPr>
            <c:extLst>
              <c:ext xmlns:c16="http://schemas.microsoft.com/office/drawing/2014/chart" uri="{C3380CC4-5D6E-409C-BE32-E72D297353CC}">
                <c16:uniqueId val="{000001E1-09B8-45EC-99FF-01E55AD01204}"/>
              </c:ext>
            </c:extLst>
          </c:dPt>
          <c:dPt>
            <c:idx val="240"/>
            <c:invertIfNegative val="1"/>
            <c:bubble3D val="0"/>
            <c:spPr>
              <a:solidFill>
                <a:srgbClr val="AEABAB"/>
              </a:solidFill>
            </c:spPr>
            <c:extLst>
              <c:ext xmlns:c16="http://schemas.microsoft.com/office/drawing/2014/chart" uri="{C3380CC4-5D6E-409C-BE32-E72D297353CC}">
                <c16:uniqueId val="{000001E3-09B8-45EC-99FF-01E55AD01204}"/>
              </c:ext>
            </c:extLst>
          </c:dPt>
          <c:dPt>
            <c:idx val="241"/>
            <c:invertIfNegative val="1"/>
            <c:bubble3D val="0"/>
            <c:spPr>
              <a:solidFill>
                <a:srgbClr val="AEABAB"/>
              </a:solidFill>
            </c:spPr>
            <c:extLst>
              <c:ext xmlns:c16="http://schemas.microsoft.com/office/drawing/2014/chart" uri="{C3380CC4-5D6E-409C-BE32-E72D297353CC}">
                <c16:uniqueId val="{000001E5-09B8-45EC-99FF-01E55AD01204}"/>
              </c:ext>
            </c:extLst>
          </c:dPt>
          <c:dPt>
            <c:idx val="242"/>
            <c:invertIfNegative val="1"/>
            <c:bubble3D val="0"/>
            <c:spPr>
              <a:solidFill>
                <a:srgbClr val="AEABAB"/>
              </a:solidFill>
            </c:spPr>
            <c:extLst>
              <c:ext xmlns:c16="http://schemas.microsoft.com/office/drawing/2014/chart" uri="{C3380CC4-5D6E-409C-BE32-E72D297353CC}">
                <c16:uniqueId val="{000001E7-09B8-45EC-99FF-01E55AD01204}"/>
              </c:ext>
            </c:extLst>
          </c:dPt>
          <c:dPt>
            <c:idx val="243"/>
            <c:invertIfNegative val="1"/>
            <c:bubble3D val="0"/>
            <c:spPr>
              <a:solidFill>
                <a:srgbClr val="AEABAB"/>
              </a:solidFill>
            </c:spPr>
            <c:extLst>
              <c:ext xmlns:c16="http://schemas.microsoft.com/office/drawing/2014/chart" uri="{C3380CC4-5D6E-409C-BE32-E72D297353CC}">
                <c16:uniqueId val="{000001E9-09B8-45EC-99FF-01E55AD01204}"/>
              </c:ext>
            </c:extLst>
          </c:dPt>
          <c:dPt>
            <c:idx val="244"/>
            <c:invertIfNegative val="1"/>
            <c:bubble3D val="0"/>
            <c:spPr>
              <a:solidFill>
                <a:srgbClr val="AEABAB"/>
              </a:solidFill>
            </c:spPr>
            <c:extLst>
              <c:ext xmlns:c16="http://schemas.microsoft.com/office/drawing/2014/chart" uri="{C3380CC4-5D6E-409C-BE32-E72D297353CC}">
                <c16:uniqueId val="{000001EB-09B8-45EC-99FF-01E55AD01204}"/>
              </c:ext>
            </c:extLst>
          </c:dPt>
          <c:dPt>
            <c:idx val="245"/>
            <c:invertIfNegative val="1"/>
            <c:bubble3D val="0"/>
            <c:spPr>
              <a:solidFill>
                <a:srgbClr val="AEABAB"/>
              </a:solidFill>
            </c:spPr>
            <c:extLst>
              <c:ext xmlns:c16="http://schemas.microsoft.com/office/drawing/2014/chart" uri="{C3380CC4-5D6E-409C-BE32-E72D297353CC}">
                <c16:uniqueId val="{000001ED-09B8-45EC-99FF-01E55AD01204}"/>
              </c:ext>
            </c:extLst>
          </c:dPt>
          <c:dPt>
            <c:idx val="246"/>
            <c:invertIfNegative val="1"/>
            <c:bubble3D val="0"/>
            <c:spPr>
              <a:solidFill>
                <a:srgbClr val="AEABAB"/>
              </a:solidFill>
            </c:spPr>
            <c:extLst>
              <c:ext xmlns:c16="http://schemas.microsoft.com/office/drawing/2014/chart" uri="{C3380CC4-5D6E-409C-BE32-E72D297353CC}">
                <c16:uniqueId val="{000001EF-09B8-45EC-99FF-01E55AD01204}"/>
              </c:ext>
            </c:extLst>
          </c:dPt>
          <c:dPt>
            <c:idx val="247"/>
            <c:invertIfNegative val="1"/>
            <c:bubble3D val="0"/>
            <c:spPr>
              <a:solidFill>
                <a:srgbClr val="AEABAB"/>
              </a:solidFill>
            </c:spPr>
            <c:extLst>
              <c:ext xmlns:c16="http://schemas.microsoft.com/office/drawing/2014/chart" uri="{C3380CC4-5D6E-409C-BE32-E72D297353CC}">
                <c16:uniqueId val="{000001F1-09B8-45EC-99FF-01E55AD01204}"/>
              </c:ext>
            </c:extLst>
          </c:dPt>
          <c:dPt>
            <c:idx val="248"/>
            <c:invertIfNegative val="1"/>
            <c:bubble3D val="0"/>
            <c:spPr>
              <a:solidFill>
                <a:srgbClr val="AEABAB"/>
              </a:solidFill>
            </c:spPr>
            <c:extLst>
              <c:ext xmlns:c16="http://schemas.microsoft.com/office/drawing/2014/chart" uri="{C3380CC4-5D6E-409C-BE32-E72D297353CC}">
                <c16:uniqueId val="{000001F3-09B8-45EC-99FF-01E55AD01204}"/>
              </c:ext>
            </c:extLst>
          </c:dPt>
          <c:dPt>
            <c:idx val="249"/>
            <c:invertIfNegative val="1"/>
            <c:bubble3D val="0"/>
            <c:spPr>
              <a:solidFill>
                <a:srgbClr val="AEABAB"/>
              </a:solidFill>
            </c:spPr>
            <c:extLst>
              <c:ext xmlns:c16="http://schemas.microsoft.com/office/drawing/2014/chart" uri="{C3380CC4-5D6E-409C-BE32-E72D297353CC}">
                <c16:uniqueId val="{000001F5-09B8-45EC-99FF-01E55AD01204}"/>
              </c:ext>
            </c:extLst>
          </c:dPt>
          <c:dPt>
            <c:idx val="250"/>
            <c:invertIfNegative val="1"/>
            <c:bubble3D val="0"/>
            <c:spPr>
              <a:solidFill>
                <a:srgbClr val="AEABAB"/>
              </a:solidFill>
            </c:spPr>
            <c:extLst>
              <c:ext xmlns:c16="http://schemas.microsoft.com/office/drawing/2014/chart" uri="{C3380CC4-5D6E-409C-BE32-E72D297353CC}">
                <c16:uniqueId val="{000001F7-09B8-45EC-99FF-01E55AD01204}"/>
              </c:ext>
            </c:extLst>
          </c:dPt>
          <c:dPt>
            <c:idx val="251"/>
            <c:invertIfNegative val="1"/>
            <c:bubble3D val="0"/>
            <c:spPr>
              <a:solidFill>
                <a:srgbClr val="AEABAB"/>
              </a:solidFill>
            </c:spPr>
            <c:extLst>
              <c:ext xmlns:c16="http://schemas.microsoft.com/office/drawing/2014/chart" uri="{C3380CC4-5D6E-409C-BE32-E72D297353CC}">
                <c16:uniqueId val="{000001F9-09B8-45EC-99FF-01E55AD01204}"/>
              </c:ext>
            </c:extLst>
          </c:dPt>
          <c:dPt>
            <c:idx val="252"/>
            <c:invertIfNegative val="1"/>
            <c:bubble3D val="0"/>
            <c:spPr>
              <a:solidFill>
                <a:srgbClr val="AEABAB"/>
              </a:solidFill>
            </c:spPr>
            <c:extLst>
              <c:ext xmlns:c16="http://schemas.microsoft.com/office/drawing/2014/chart" uri="{C3380CC4-5D6E-409C-BE32-E72D297353CC}">
                <c16:uniqueId val="{000001FB-09B8-45EC-99FF-01E55AD01204}"/>
              </c:ext>
            </c:extLst>
          </c:dPt>
          <c:dPt>
            <c:idx val="253"/>
            <c:invertIfNegative val="1"/>
            <c:bubble3D val="0"/>
            <c:spPr>
              <a:solidFill>
                <a:srgbClr val="AEABAB"/>
              </a:solidFill>
            </c:spPr>
            <c:extLst>
              <c:ext xmlns:c16="http://schemas.microsoft.com/office/drawing/2014/chart" uri="{C3380CC4-5D6E-409C-BE32-E72D297353CC}">
                <c16:uniqueId val="{000001FD-09B8-45EC-99FF-01E55AD01204}"/>
              </c:ext>
            </c:extLst>
          </c:dPt>
          <c:dPt>
            <c:idx val="254"/>
            <c:invertIfNegative val="1"/>
            <c:bubble3D val="0"/>
            <c:spPr>
              <a:solidFill>
                <a:srgbClr val="AEABAB"/>
              </a:solidFill>
            </c:spPr>
            <c:extLst>
              <c:ext xmlns:c16="http://schemas.microsoft.com/office/drawing/2014/chart" uri="{C3380CC4-5D6E-409C-BE32-E72D297353CC}">
                <c16:uniqueId val="{000001FF-09B8-45EC-99FF-01E55AD01204}"/>
              </c:ext>
            </c:extLst>
          </c:dPt>
          <c:dPt>
            <c:idx val="255"/>
            <c:invertIfNegative val="1"/>
            <c:bubble3D val="0"/>
            <c:spPr>
              <a:solidFill>
                <a:srgbClr val="AEABAB"/>
              </a:solidFill>
            </c:spPr>
            <c:extLst>
              <c:ext xmlns:c16="http://schemas.microsoft.com/office/drawing/2014/chart" uri="{C3380CC4-5D6E-409C-BE32-E72D297353CC}">
                <c16:uniqueId val="{00000201-09B8-45EC-99FF-01E55AD01204}"/>
              </c:ext>
            </c:extLst>
          </c:dPt>
          <c:dPt>
            <c:idx val="256"/>
            <c:invertIfNegative val="1"/>
            <c:bubble3D val="0"/>
            <c:spPr>
              <a:solidFill>
                <a:srgbClr val="AEABAB"/>
              </a:solidFill>
            </c:spPr>
            <c:extLst>
              <c:ext xmlns:c16="http://schemas.microsoft.com/office/drawing/2014/chart" uri="{C3380CC4-5D6E-409C-BE32-E72D297353CC}">
                <c16:uniqueId val="{00000203-09B8-45EC-99FF-01E55AD01204}"/>
              </c:ext>
            </c:extLst>
          </c:dPt>
          <c:dPt>
            <c:idx val="257"/>
            <c:invertIfNegative val="1"/>
            <c:bubble3D val="0"/>
            <c:spPr>
              <a:solidFill>
                <a:srgbClr val="AEABAB"/>
              </a:solidFill>
            </c:spPr>
            <c:extLst>
              <c:ext xmlns:c16="http://schemas.microsoft.com/office/drawing/2014/chart" uri="{C3380CC4-5D6E-409C-BE32-E72D297353CC}">
                <c16:uniqueId val="{00000205-09B8-45EC-99FF-01E55AD01204}"/>
              </c:ext>
            </c:extLst>
          </c:dPt>
          <c:dPt>
            <c:idx val="258"/>
            <c:invertIfNegative val="1"/>
            <c:bubble3D val="0"/>
            <c:spPr>
              <a:solidFill>
                <a:srgbClr val="AEABAB"/>
              </a:solidFill>
            </c:spPr>
            <c:extLst>
              <c:ext xmlns:c16="http://schemas.microsoft.com/office/drawing/2014/chart" uri="{C3380CC4-5D6E-409C-BE32-E72D297353CC}">
                <c16:uniqueId val="{00000207-09B8-45EC-99FF-01E55AD01204}"/>
              </c:ext>
            </c:extLst>
          </c:dPt>
          <c:dPt>
            <c:idx val="259"/>
            <c:invertIfNegative val="1"/>
            <c:bubble3D val="0"/>
            <c:spPr>
              <a:solidFill>
                <a:srgbClr val="AEABAB"/>
              </a:solidFill>
            </c:spPr>
            <c:extLst>
              <c:ext xmlns:c16="http://schemas.microsoft.com/office/drawing/2014/chart" uri="{C3380CC4-5D6E-409C-BE32-E72D297353CC}">
                <c16:uniqueId val="{00000209-09B8-45EC-99FF-01E55AD01204}"/>
              </c:ext>
            </c:extLst>
          </c:dPt>
          <c:dPt>
            <c:idx val="260"/>
            <c:invertIfNegative val="1"/>
            <c:bubble3D val="0"/>
            <c:spPr>
              <a:solidFill>
                <a:srgbClr val="AEABAB"/>
              </a:solidFill>
            </c:spPr>
            <c:extLst>
              <c:ext xmlns:c16="http://schemas.microsoft.com/office/drawing/2014/chart" uri="{C3380CC4-5D6E-409C-BE32-E72D297353CC}">
                <c16:uniqueId val="{0000020B-09B8-45EC-99FF-01E55AD01204}"/>
              </c:ext>
            </c:extLst>
          </c:dPt>
          <c:dPt>
            <c:idx val="261"/>
            <c:invertIfNegative val="1"/>
            <c:bubble3D val="0"/>
            <c:spPr>
              <a:solidFill>
                <a:srgbClr val="AEABAB"/>
              </a:solidFill>
            </c:spPr>
            <c:extLst>
              <c:ext xmlns:c16="http://schemas.microsoft.com/office/drawing/2014/chart" uri="{C3380CC4-5D6E-409C-BE32-E72D297353CC}">
                <c16:uniqueId val="{0000020D-09B8-45EC-99FF-01E55AD01204}"/>
              </c:ext>
            </c:extLst>
          </c:dPt>
          <c:dPt>
            <c:idx val="262"/>
            <c:invertIfNegative val="1"/>
            <c:bubble3D val="0"/>
            <c:spPr>
              <a:solidFill>
                <a:srgbClr val="AEABAB"/>
              </a:solidFill>
            </c:spPr>
            <c:extLst>
              <c:ext xmlns:c16="http://schemas.microsoft.com/office/drawing/2014/chart" uri="{C3380CC4-5D6E-409C-BE32-E72D297353CC}">
                <c16:uniqueId val="{0000020F-09B8-45EC-99FF-01E55AD01204}"/>
              </c:ext>
            </c:extLst>
          </c:dPt>
          <c:dPt>
            <c:idx val="263"/>
            <c:invertIfNegative val="1"/>
            <c:bubble3D val="0"/>
            <c:spPr>
              <a:solidFill>
                <a:srgbClr val="AEABAB"/>
              </a:solidFill>
            </c:spPr>
            <c:extLst>
              <c:ext xmlns:c16="http://schemas.microsoft.com/office/drawing/2014/chart" uri="{C3380CC4-5D6E-409C-BE32-E72D297353CC}">
                <c16:uniqueId val="{00000211-09B8-45EC-99FF-01E55AD01204}"/>
              </c:ext>
            </c:extLst>
          </c:dPt>
          <c:dPt>
            <c:idx val="264"/>
            <c:invertIfNegative val="1"/>
            <c:bubble3D val="0"/>
            <c:spPr>
              <a:solidFill>
                <a:srgbClr val="AEABAB"/>
              </a:solidFill>
            </c:spPr>
            <c:extLst>
              <c:ext xmlns:c16="http://schemas.microsoft.com/office/drawing/2014/chart" uri="{C3380CC4-5D6E-409C-BE32-E72D297353CC}">
                <c16:uniqueId val="{00000213-09B8-45EC-99FF-01E55AD01204}"/>
              </c:ext>
            </c:extLst>
          </c:dPt>
          <c:dPt>
            <c:idx val="265"/>
            <c:invertIfNegative val="1"/>
            <c:bubble3D val="0"/>
            <c:spPr>
              <a:solidFill>
                <a:srgbClr val="AEABAB"/>
              </a:solidFill>
            </c:spPr>
            <c:extLst>
              <c:ext xmlns:c16="http://schemas.microsoft.com/office/drawing/2014/chart" uri="{C3380CC4-5D6E-409C-BE32-E72D297353CC}">
                <c16:uniqueId val="{00000215-09B8-45EC-99FF-01E55AD01204}"/>
              </c:ext>
            </c:extLst>
          </c:dPt>
          <c:dPt>
            <c:idx val="266"/>
            <c:invertIfNegative val="1"/>
            <c:bubble3D val="0"/>
            <c:spPr>
              <a:solidFill>
                <a:srgbClr val="AEABAB"/>
              </a:solidFill>
            </c:spPr>
            <c:extLst>
              <c:ext xmlns:c16="http://schemas.microsoft.com/office/drawing/2014/chart" uri="{C3380CC4-5D6E-409C-BE32-E72D297353CC}">
                <c16:uniqueId val="{00000217-09B8-45EC-99FF-01E55AD01204}"/>
              </c:ext>
            </c:extLst>
          </c:dPt>
          <c:dPt>
            <c:idx val="267"/>
            <c:invertIfNegative val="1"/>
            <c:bubble3D val="0"/>
            <c:spPr>
              <a:solidFill>
                <a:srgbClr val="AEABAB"/>
              </a:solidFill>
            </c:spPr>
            <c:extLst>
              <c:ext xmlns:c16="http://schemas.microsoft.com/office/drawing/2014/chart" uri="{C3380CC4-5D6E-409C-BE32-E72D297353CC}">
                <c16:uniqueId val="{00000219-09B8-45EC-99FF-01E55AD01204}"/>
              </c:ext>
            </c:extLst>
          </c:dPt>
          <c:dPt>
            <c:idx val="268"/>
            <c:invertIfNegative val="1"/>
            <c:bubble3D val="0"/>
            <c:spPr>
              <a:solidFill>
                <a:srgbClr val="AEABAB"/>
              </a:solidFill>
            </c:spPr>
            <c:extLst>
              <c:ext xmlns:c16="http://schemas.microsoft.com/office/drawing/2014/chart" uri="{C3380CC4-5D6E-409C-BE32-E72D297353CC}">
                <c16:uniqueId val="{0000021B-09B8-45EC-99FF-01E55AD01204}"/>
              </c:ext>
            </c:extLst>
          </c:dPt>
          <c:dPt>
            <c:idx val="269"/>
            <c:invertIfNegative val="1"/>
            <c:bubble3D val="0"/>
            <c:spPr>
              <a:solidFill>
                <a:srgbClr val="AEABAB"/>
              </a:solidFill>
            </c:spPr>
            <c:extLst>
              <c:ext xmlns:c16="http://schemas.microsoft.com/office/drawing/2014/chart" uri="{C3380CC4-5D6E-409C-BE32-E72D297353CC}">
                <c16:uniqueId val="{0000021D-09B8-45EC-99FF-01E55AD01204}"/>
              </c:ext>
            </c:extLst>
          </c:dPt>
          <c:dPt>
            <c:idx val="270"/>
            <c:invertIfNegative val="1"/>
            <c:bubble3D val="0"/>
            <c:spPr>
              <a:solidFill>
                <a:srgbClr val="AEABAB"/>
              </a:solidFill>
            </c:spPr>
            <c:extLst>
              <c:ext xmlns:c16="http://schemas.microsoft.com/office/drawing/2014/chart" uri="{C3380CC4-5D6E-409C-BE32-E72D297353CC}">
                <c16:uniqueId val="{0000021F-09B8-45EC-99FF-01E55AD01204}"/>
              </c:ext>
            </c:extLst>
          </c:dPt>
          <c:dPt>
            <c:idx val="271"/>
            <c:invertIfNegative val="1"/>
            <c:bubble3D val="0"/>
            <c:spPr>
              <a:solidFill>
                <a:srgbClr val="AEABAB"/>
              </a:solidFill>
            </c:spPr>
            <c:extLst>
              <c:ext xmlns:c16="http://schemas.microsoft.com/office/drawing/2014/chart" uri="{C3380CC4-5D6E-409C-BE32-E72D297353CC}">
                <c16:uniqueId val="{00000221-09B8-45EC-99FF-01E55AD01204}"/>
              </c:ext>
            </c:extLst>
          </c:dPt>
          <c:dPt>
            <c:idx val="272"/>
            <c:invertIfNegative val="1"/>
            <c:bubble3D val="0"/>
            <c:spPr>
              <a:solidFill>
                <a:srgbClr val="AEABAB"/>
              </a:solidFill>
            </c:spPr>
            <c:extLst>
              <c:ext xmlns:c16="http://schemas.microsoft.com/office/drawing/2014/chart" uri="{C3380CC4-5D6E-409C-BE32-E72D297353CC}">
                <c16:uniqueId val="{00000223-09B8-45EC-99FF-01E55AD01204}"/>
              </c:ext>
            </c:extLst>
          </c:dPt>
          <c:dPt>
            <c:idx val="273"/>
            <c:invertIfNegative val="1"/>
            <c:bubble3D val="0"/>
            <c:spPr>
              <a:solidFill>
                <a:srgbClr val="AEABAB"/>
              </a:solidFill>
            </c:spPr>
            <c:extLst>
              <c:ext xmlns:c16="http://schemas.microsoft.com/office/drawing/2014/chart" uri="{C3380CC4-5D6E-409C-BE32-E72D297353CC}">
                <c16:uniqueId val="{00000225-09B8-45EC-99FF-01E55AD01204}"/>
              </c:ext>
            </c:extLst>
          </c:dPt>
          <c:dPt>
            <c:idx val="274"/>
            <c:invertIfNegative val="1"/>
            <c:bubble3D val="0"/>
            <c:spPr>
              <a:solidFill>
                <a:srgbClr val="AEABAB"/>
              </a:solidFill>
            </c:spPr>
            <c:extLst>
              <c:ext xmlns:c16="http://schemas.microsoft.com/office/drawing/2014/chart" uri="{C3380CC4-5D6E-409C-BE32-E72D297353CC}">
                <c16:uniqueId val="{00000227-09B8-45EC-99FF-01E55AD01204}"/>
              </c:ext>
            </c:extLst>
          </c:dPt>
          <c:dPt>
            <c:idx val="275"/>
            <c:invertIfNegative val="1"/>
            <c:bubble3D val="0"/>
            <c:spPr>
              <a:solidFill>
                <a:srgbClr val="AEABAB"/>
              </a:solidFill>
            </c:spPr>
            <c:extLst>
              <c:ext xmlns:c16="http://schemas.microsoft.com/office/drawing/2014/chart" uri="{C3380CC4-5D6E-409C-BE32-E72D297353CC}">
                <c16:uniqueId val="{00000229-09B8-45EC-99FF-01E55AD01204}"/>
              </c:ext>
            </c:extLst>
          </c:dPt>
          <c:dPt>
            <c:idx val="276"/>
            <c:invertIfNegative val="1"/>
            <c:bubble3D val="0"/>
            <c:spPr>
              <a:solidFill>
                <a:srgbClr val="AEABAB"/>
              </a:solidFill>
            </c:spPr>
            <c:extLst>
              <c:ext xmlns:c16="http://schemas.microsoft.com/office/drawing/2014/chart" uri="{C3380CC4-5D6E-409C-BE32-E72D297353CC}">
                <c16:uniqueId val="{0000022B-09B8-45EC-99FF-01E55AD01204}"/>
              </c:ext>
            </c:extLst>
          </c:dPt>
          <c:dPt>
            <c:idx val="277"/>
            <c:invertIfNegative val="1"/>
            <c:bubble3D val="0"/>
            <c:spPr>
              <a:solidFill>
                <a:srgbClr val="AEABAB"/>
              </a:solidFill>
            </c:spPr>
            <c:extLst>
              <c:ext xmlns:c16="http://schemas.microsoft.com/office/drawing/2014/chart" uri="{C3380CC4-5D6E-409C-BE32-E72D297353CC}">
                <c16:uniqueId val="{0000022D-09B8-45EC-99FF-01E55AD01204}"/>
              </c:ext>
            </c:extLst>
          </c:dPt>
          <c:dPt>
            <c:idx val="278"/>
            <c:invertIfNegative val="1"/>
            <c:bubble3D val="0"/>
            <c:spPr>
              <a:solidFill>
                <a:srgbClr val="AEABAB"/>
              </a:solidFill>
            </c:spPr>
            <c:extLst>
              <c:ext xmlns:c16="http://schemas.microsoft.com/office/drawing/2014/chart" uri="{C3380CC4-5D6E-409C-BE32-E72D297353CC}">
                <c16:uniqueId val="{0000022F-09B8-45EC-99FF-01E55AD01204}"/>
              </c:ext>
            </c:extLst>
          </c:dPt>
          <c:dPt>
            <c:idx val="279"/>
            <c:invertIfNegative val="1"/>
            <c:bubble3D val="0"/>
            <c:spPr>
              <a:solidFill>
                <a:srgbClr val="AEABAB"/>
              </a:solidFill>
            </c:spPr>
            <c:extLst>
              <c:ext xmlns:c16="http://schemas.microsoft.com/office/drawing/2014/chart" uri="{C3380CC4-5D6E-409C-BE32-E72D297353CC}">
                <c16:uniqueId val="{00000231-09B8-45EC-99FF-01E55AD01204}"/>
              </c:ext>
            </c:extLst>
          </c:dPt>
          <c:dPt>
            <c:idx val="280"/>
            <c:invertIfNegative val="1"/>
            <c:bubble3D val="0"/>
            <c:spPr>
              <a:solidFill>
                <a:srgbClr val="AEABAB"/>
              </a:solidFill>
            </c:spPr>
            <c:extLst>
              <c:ext xmlns:c16="http://schemas.microsoft.com/office/drawing/2014/chart" uri="{C3380CC4-5D6E-409C-BE32-E72D297353CC}">
                <c16:uniqueId val="{00000233-09B8-45EC-99FF-01E55AD01204}"/>
              </c:ext>
            </c:extLst>
          </c:dPt>
          <c:dPt>
            <c:idx val="281"/>
            <c:invertIfNegative val="1"/>
            <c:bubble3D val="0"/>
            <c:spPr>
              <a:solidFill>
                <a:srgbClr val="AEABAB"/>
              </a:solidFill>
            </c:spPr>
            <c:extLst>
              <c:ext xmlns:c16="http://schemas.microsoft.com/office/drawing/2014/chart" uri="{C3380CC4-5D6E-409C-BE32-E72D297353CC}">
                <c16:uniqueId val="{00000235-09B8-45EC-99FF-01E55AD01204}"/>
              </c:ext>
            </c:extLst>
          </c:dPt>
          <c:dPt>
            <c:idx val="282"/>
            <c:invertIfNegative val="1"/>
            <c:bubble3D val="0"/>
            <c:spPr>
              <a:solidFill>
                <a:srgbClr val="AEABAB"/>
              </a:solidFill>
            </c:spPr>
            <c:extLst>
              <c:ext xmlns:c16="http://schemas.microsoft.com/office/drawing/2014/chart" uri="{C3380CC4-5D6E-409C-BE32-E72D297353CC}">
                <c16:uniqueId val="{00000237-09B8-45EC-99FF-01E55AD01204}"/>
              </c:ext>
            </c:extLst>
          </c:dPt>
          <c:dPt>
            <c:idx val="283"/>
            <c:invertIfNegative val="1"/>
            <c:bubble3D val="0"/>
            <c:spPr>
              <a:solidFill>
                <a:srgbClr val="AEABAB"/>
              </a:solidFill>
            </c:spPr>
            <c:extLst>
              <c:ext xmlns:c16="http://schemas.microsoft.com/office/drawing/2014/chart" uri="{C3380CC4-5D6E-409C-BE32-E72D297353CC}">
                <c16:uniqueId val="{00000239-09B8-45EC-99FF-01E55AD01204}"/>
              </c:ext>
            </c:extLst>
          </c:dPt>
          <c:dPt>
            <c:idx val="284"/>
            <c:invertIfNegative val="1"/>
            <c:bubble3D val="0"/>
            <c:spPr>
              <a:solidFill>
                <a:srgbClr val="AEABAB"/>
              </a:solidFill>
            </c:spPr>
            <c:extLst>
              <c:ext xmlns:c16="http://schemas.microsoft.com/office/drawing/2014/chart" uri="{C3380CC4-5D6E-409C-BE32-E72D297353CC}">
                <c16:uniqueId val="{0000023B-09B8-45EC-99FF-01E55AD01204}"/>
              </c:ext>
            </c:extLst>
          </c:dPt>
          <c:dPt>
            <c:idx val="285"/>
            <c:invertIfNegative val="1"/>
            <c:bubble3D val="0"/>
            <c:spPr>
              <a:solidFill>
                <a:srgbClr val="AEABAB"/>
              </a:solidFill>
            </c:spPr>
            <c:extLst>
              <c:ext xmlns:c16="http://schemas.microsoft.com/office/drawing/2014/chart" uri="{C3380CC4-5D6E-409C-BE32-E72D297353CC}">
                <c16:uniqueId val="{0000023D-09B8-45EC-99FF-01E55AD01204}"/>
              </c:ext>
            </c:extLst>
          </c:dPt>
          <c:dPt>
            <c:idx val="286"/>
            <c:invertIfNegative val="1"/>
            <c:bubble3D val="0"/>
            <c:spPr>
              <a:solidFill>
                <a:srgbClr val="AEABAB"/>
              </a:solidFill>
            </c:spPr>
            <c:extLst>
              <c:ext xmlns:c16="http://schemas.microsoft.com/office/drawing/2014/chart" uri="{C3380CC4-5D6E-409C-BE32-E72D297353CC}">
                <c16:uniqueId val="{0000023F-09B8-45EC-99FF-01E55AD01204}"/>
              </c:ext>
            </c:extLst>
          </c:dPt>
          <c:dPt>
            <c:idx val="287"/>
            <c:invertIfNegative val="1"/>
            <c:bubble3D val="0"/>
            <c:spPr>
              <a:solidFill>
                <a:srgbClr val="AEABAB"/>
              </a:solidFill>
            </c:spPr>
            <c:extLst>
              <c:ext xmlns:c16="http://schemas.microsoft.com/office/drawing/2014/chart" uri="{C3380CC4-5D6E-409C-BE32-E72D297353CC}">
                <c16:uniqueId val="{00000241-09B8-45EC-99FF-01E55AD01204}"/>
              </c:ext>
            </c:extLst>
          </c:dPt>
          <c:dPt>
            <c:idx val="288"/>
            <c:invertIfNegative val="1"/>
            <c:bubble3D val="0"/>
            <c:spPr>
              <a:solidFill>
                <a:srgbClr val="AEABAB"/>
              </a:solidFill>
            </c:spPr>
            <c:extLst>
              <c:ext xmlns:c16="http://schemas.microsoft.com/office/drawing/2014/chart" uri="{C3380CC4-5D6E-409C-BE32-E72D297353CC}">
                <c16:uniqueId val="{00000243-09B8-45EC-99FF-01E55AD01204}"/>
              </c:ext>
            </c:extLst>
          </c:dPt>
          <c:dPt>
            <c:idx val="289"/>
            <c:invertIfNegative val="1"/>
            <c:bubble3D val="0"/>
            <c:spPr>
              <a:solidFill>
                <a:srgbClr val="AEABAB"/>
              </a:solidFill>
            </c:spPr>
            <c:extLst>
              <c:ext xmlns:c16="http://schemas.microsoft.com/office/drawing/2014/chart" uri="{C3380CC4-5D6E-409C-BE32-E72D297353CC}">
                <c16:uniqueId val="{00000245-09B8-45EC-99FF-01E55AD01204}"/>
              </c:ext>
            </c:extLst>
          </c:dPt>
          <c:dPt>
            <c:idx val="290"/>
            <c:invertIfNegative val="1"/>
            <c:bubble3D val="0"/>
            <c:spPr>
              <a:solidFill>
                <a:srgbClr val="AEABAB"/>
              </a:solidFill>
            </c:spPr>
            <c:extLst>
              <c:ext xmlns:c16="http://schemas.microsoft.com/office/drawing/2014/chart" uri="{C3380CC4-5D6E-409C-BE32-E72D297353CC}">
                <c16:uniqueId val="{00000247-09B8-45EC-99FF-01E55AD01204}"/>
              </c:ext>
            </c:extLst>
          </c:dPt>
          <c:dPt>
            <c:idx val="291"/>
            <c:invertIfNegative val="1"/>
            <c:bubble3D val="0"/>
            <c:spPr>
              <a:solidFill>
                <a:srgbClr val="AEABAB"/>
              </a:solidFill>
            </c:spPr>
            <c:extLst>
              <c:ext xmlns:c16="http://schemas.microsoft.com/office/drawing/2014/chart" uri="{C3380CC4-5D6E-409C-BE32-E72D297353CC}">
                <c16:uniqueId val="{00000249-09B8-45EC-99FF-01E55AD01204}"/>
              </c:ext>
            </c:extLst>
          </c:dPt>
          <c:dPt>
            <c:idx val="292"/>
            <c:invertIfNegative val="1"/>
            <c:bubble3D val="0"/>
            <c:spPr>
              <a:solidFill>
                <a:srgbClr val="AEABAB"/>
              </a:solidFill>
            </c:spPr>
            <c:extLst>
              <c:ext xmlns:c16="http://schemas.microsoft.com/office/drawing/2014/chart" uri="{C3380CC4-5D6E-409C-BE32-E72D297353CC}">
                <c16:uniqueId val="{0000024B-09B8-45EC-99FF-01E55AD01204}"/>
              </c:ext>
            </c:extLst>
          </c:dPt>
          <c:dPt>
            <c:idx val="293"/>
            <c:invertIfNegative val="1"/>
            <c:bubble3D val="0"/>
            <c:spPr>
              <a:solidFill>
                <a:srgbClr val="AEABAB"/>
              </a:solidFill>
            </c:spPr>
            <c:extLst>
              <c:ext xmlns:c16="http://schemas.microsoft.com/office/drawing/2014/chart" uri="{C3380CC4-5D6E-409C-BE32-E72D297353CC}">
                <c16:uniqueId val="{0000024D-09B8-45EC-99FF-01E55AD01204}"/>
              </c:ext>
            </c:extLst>
          </c:dPt>
          <c:dPt>
            <c:idx val="294"/>
            <c:invertIfNegative val="1"/>
            <c:bubble3D val="0"/>
            <c:spPr>
              <a:solidFill>
                <a:srgbClr val="AEABAB"/>
              </a:solidFill>
            </c:spPr>
            <c:extLst>
              <c:ext xmlns:c16="http://schemas.microsoft.com/office/drawing/2014/chart" uri="{C3380CC4-5D6E-409C-BE32-E72D297353CC}">
                <c16:uniqueId val="{0000024F-09B8-45EC-99FF-01E55AD01204}"/>
              </c:ext>
            </c:extLst>
          </c:dPt>
          <c:dPt>
            <c:idx val="295"/>
            <c:invertIfNegative val="1"/>
            <c:bubble3D val="0"/>
            <c:spPr>
              <a:solidFill>
                <a:srgbClr val="AEABAB"/>
              </a:solidFill>
            </c:spPr>
            <c:extLst>
              <c:ext xmlns:c16="http://schemas.microsoft.com/office/drawing/2014/chart" uri="{C3380CC4-5D6E-409C-BE32-E72D297353CC}">
                <c16:uniqueId val="{00000251-09B8-45EC-99FF-01E55AD01204}"/>
              </c:ext>
            </c:extLst>
          </c:dPt>
          <c:dPt>
            <c:idx val="296"/>
            <c:invertIfNegative val="1"/>
            <c:bubble3D val="0"/>
            <c:spPr>
              <a:solidFill>
                <a:srgbClr val="AEABAB"/>
              </a:solidFill>
            </c:spPr>
            <c:extLst>
              <c:ext xmlns:c16="http://schemas.microsoft.com/office/drawing/2014/chart" uri="{C3380CC4-5D6E-409C-BE32-E72D297353CC}">
                <c16:uniqueId val="{00000253-09B8-45EC-99FF-01E55AD01204}"/>
              </c:ext>
            </c:extLst>
          </c:dPt>
          <c:dPt>
            <c:idx val="297"/>
            <c:invertIfNegative val="1"/>
            <c:bubble3D val="0"/>
            <c:spPr>
              <a:solidFill>
                <a:srgbClr val="AEABAB"/>
              </a:solidFill>
            </c:spPr>
            <c:extLst>
              <c:ext xmlns:c16="http://schemas.microsoft.com/office/drawing/2014/chart" uri="{C3380CC4-5D6E-409C-BE32-E72D297353CC}">
                <c16:uniqueId val="{00000255-09B8-45EC-99FF-01E55AD01204}"/>
              </c:ext>
            </c:extLst>
          </c:dPt>
          <c:dPt>
            <c:idx val="298"/>
            <c:invertIfNegative val="1"/>
            <c:bubble3D val="0"/>
            <c:spPr>
              <a:solidFill>
                <a:srgbClr val="AEABAB"/>
              </a:solidFill>
            </c:spPr>
            <c:extLst>
              <c:ext xmlns:c16="http://schemas.microsoft.com/office/drawing/2014/chart" uri="{C3380CC4-5D6E-409C-BE32-E72D297353CC}">
                <c16:uniqueId val="{00000257-09B8-45EC-99FF-01E55AD01204}"/>
              </c:ext>
            </c:extLst>
          </c:dPt>
          <c:dPt>
            <c:idx val="299"/>
            <c:invertIfNegative val="1"/>
            <c:bubble3D val="0"/>
            <c:spPr>
              <a:solidFill>
                <a:srgbClr val="AEABAB"/>
              </a:solidFill>
            </c:spPr>
            <c:extLst>
              <c:ext xmlns:c16="http://schemas.microsoft.com/office/drawing/2014/chart" uri="{C3380CC4-5D6E-409C-BE32-E72D297353CC}">
                <c16:uniqueId val="{00000259-09B8-45EC-99FF-01E55AD01204}"/>
              </c:ext>
            </c:extLst>
          </c:dPt>
          <c:dPt>
            <c:idx val="300"/>
            <c:invertIfNegative val="1"/>
            <c:bubble3D val="0"/>
            <c:spPr>
              <a:solidFill>
                <a:srgbClr val="AEABAB"/>
              </a:solidFill>
            </c:spPr>
            <c:extLst>
              <c:ext xmlns:c16="http://schemas.microsoft.com/office/drawing/2014/chart" uri="{C3380CC4-5D6E-409C-BE32-E72D297353CC}">
                <c16:uniqueId val="{0000025B-09B8-45EC-99FF-01E55AD01204}"/>
              </c:ext>
            </c:extLst>
          </c:dPt>
          <c:dPt>
            <c:idx val="301"/>
            <c:invertIfNegative val="1"/>
            <c:bubble3D val="0"/>
            <c:spPr>
              <a:solidFill>
                <a:srgbClr val="AEABAB"/>
              </a:solidFill>
            </c:spPr>
            <c:extLst>
              <c:ext xmlns:c16="http://schemas.microsoft.com/office/drawing/2014/chart" uri="{C3380CC4-5D6E-409C-BE32-E72D297353CC}">
                <c16:uniqueId val="{0000025D-09B8-45EC-99FF-01E55AD01204}"/>
              </c:ext>
            </c:extLst>
          </c:dPt>
          <c:dPt>
            <c:idx val="302"/>
            <c:invertIfNegative val="1"/>
            <c:bubble3D val="0"/>
            <c:spPr>
              <a:solidFill>
                <a:srgbClr val="AEABAB"/>
              </a:solidFill>
            </c:spPr>
            <c:extLst>
              <c:ext xmlns:c16="http://schemas.microsoft.com/office/drawing/2014/chart" uri="{C3380CC4-5D6E-409C-BE32-E72D297353CC}">
                <c16:uniqueId val="{0000025F-09B8-45EC-99FF-01E55AD01204}"/>
              </c:ext>
            </c:extLst>
          </c:dPt>
          <c:dPt>
            <c:idx val="303"/>
            <c:invertIfNegative val="1"/>
            <c:bubble3D val="0"/>
            <c:spPr>
              <a:solidFill>
                <a:srgbClr val="AEABAB"/>
              </a:solidFill>
            </c:spPr>
            <c:extLst>
              <c:ext xmlns:c16="http://schemas.microsoft.com/office/drawing/2014/chart" uri="{C3380CC4-5D6E-409C-BE32-E72D297353CC}">
                <c16:uniqueId val="{00000261-09B8-45EC-99FF-01E55AD01204}"/>
              </c:ext>
            </c:extLst>
          </c:dPt>
          <c:dPt>
            <c:idx val="304"/>
            <c:invertIfNegative val="1"/>
            <c:bubble3D val="0"/>
            <c:spPr>
              <a:solidFill>
                <a:srgbClr val="AEABAB"/>
              </a:solidFill>
            </c:spPr>
            <c:extLst>
              <c:ext xmlns:c16="http://schemas.microsoft.com/office/drawing/2014/chart" uri="{C3380CC4-5D6E-409C-BE32-E72D297353CC}">
                <c16:uniqueId val="{00000263-09B8-45EC-99FF-01E55AD01204}"/>
              </c:ext>
            </c:extLst>
          </c:dPt>
          <c:dPt>
            <c:idx val="305"/>
            <c:invertIfNegative val="1"/>
            <c:bubble3D val="0"/>
            <c:spPr>
              <a:solidFill>
                <a:srgbClr val="AEABAB"/>
              </a:solidFill>
            </c:spPr>
            <c:extLst>
              <c:ext xmlns:c16="http://schemas.microsoft.com/office/drawing/2014/chart" uri="{C3380CC4-5D6E-409C-BE32-E72D297353CC}">
                <c16:uniqueId val="{00000265-09B8-45EC-99FF-01E55AD01204}"/>
              </c:ext>
            </c:extLst>
          </c:dPt>
          <c:dPt>
            <c:idx val="306"/>
            <c:invertIfNegative val="1"/>
            <c:bubble3D val="0"/>
            <c:spPr>
              <a:solidFill>
                <a:srgbClr val="AEABAB"/>
              </a:solidFill>
            </c:spPr>
            <c:extLst>
              <c:ext xmlns:c16="http://schemas.microsoft.com/office/drawing/2014/chart" uri="{C3380CC4-5D6E-409C-BE32-E72D297353CC}">
                <c16:uniqueId val="{00000267-09B8-45EC-99FF-01E55AD01204}"/>
              </c:ext>
            </c:extLst>
          </c:dPt>
          <c:dPt>
            <c:idx val="307"/>
            <c:invertIfNegative val="1"/>
            <c:bubble3D val="0"/>
            <c:spPr>
              <a:solidFill>
                <a:srgbClr val="AEABAB"/>
              </a:solidFill>
            </c:spPr>
            <c:extLst>
              <c:ext xmlns:c16="http://schemas.microsoft.com/office/drawing/2014/chart" uri="{C3380CC4-5D6E-409C-BE32-E72D297353CC}">
                <c16:uniqueId val="{00000269-09B8-45EC-99FF-01E55AD01204}"/>
              </c:ext>
            </c:extLst>
          </c:dPt>
          <c:dPt>
            <c:idx val="308"/>
            <c:invertIfNegative val="1"/>
            <c:bubble3D val="0"/>
            <c:spPr>
              <a:solidFill>
                <a:srgbClr val="AEABAB"/>
              </a:solidFill>
            </c:spPr>
            <c:extLst>
              <c:ext xmlns:c16="http://schemas.microsoft.com/office/drawing/2014/chart" uri="{C3380CC4-5D6E-409C-BE32-E72D297353CC}">
                <c16:uniqueId val="{0000026B-09B8-45EC-99FF-01E55AD01204}"/>
              </c:ext>
            </c:extLst>
          </c:dPt>
          <c:dPt>
            <c:idx val="309"/>
            <c:invertIfNegative val="1"/>
            <c:bubble3D val="0"/>
            <c:spPr>
              <a:solidFill>
                <a:srgbClr val="AEABAB"/>
              </a:solidFill>
            </c:spPr>
            <c:extLst>
              <c:ext xmlns:c16="http://schemas.microsoft.com/office/drawing/2014/chart" uri="{C3380CC4-5D6E-409C-BE32-E72D297353CC}">
                <c16:uniqueId val="{0000026D-09B8-45EC-99FF-01E55AD01204}"/>
              </c:ext>
            </c:extLst>
          </c:dPt>
          <c:dPt>
            <c:idx val="310"/>
            <c:invertIfNegative val="1"/>
            <c:bubble3D val="0"/>
            <c:spPr>
              <a:solidFill>
                <a:srgbClr val="AEABAB"/>
              </a:solidFill>
            </c:spPr>
            <c:extLst>
              <c:ext xmlns:c16="http://schemas.microsoft.com/office/drawing/2014/chart" uri="{C3380CC4-5D6E-409C-BE32-E72D297353CC}">
                <c16:uniqueId val="{0000026F-09B8-45EC-99FF-01E55AD01204}"/>
              </c:ext>
            </c:extLst>
          </c:dPt>
          <c:dPt>
            <c:idx val="311"/>
            <c:invertIfNegative val="1"/>
            <c:bubble3D val="0"/>
            <c:spPr>
              <a:solidFill>
                <a:srgbClr val="AEABAB"/>
              </a:solidFill>
            </c:spPr>
            <c:extLst>
              <c:ext xmlns:c16="http://schemas.microsoft.com/office/drawing/2014/chart" uri="{C3380CC4-5D6E-409C-BE32-E72D297353CC}">
                <c16:uniqueId val="{00000271-09B8-45EC-99FF-01E55AD01204}"/>
              </c:ext>
            </c:extLst>
          </c:dPt>
          <c:dPt>
            <c:idx val="312"/>
            <c:invertIfNegative val="1"/>
            <c:bubble3D val="0"/>
            <c:spPr>
              <a:solidFill>
                <a:srgbClr val="AEABAB"/>
              </a:solidFill>
            </c:spPr>
            <c:extLst>
              <c:ext xmlns:c16="http://schemas.microsoft.com/office/drawing/2014/chart" uri="{C3380CC4-5D6E-409C-BE32-E72D297353CC}">
                <c16:uniqueId val="{00000273-09B8-45EC-99FF-01E55AD01204}"/>
              </c:ext>
            </c:extLst>
          </c:dPt>
          <c:dPt>
            <c:idx val="313"/>
            <c:invertIfNegative val="1"/>
            <c:bubble3D val="0"/>
            <c:spPr>
              <a:solidFill>
                <a:srgbClr val="AEABAB"/>
              </a:solidFill>
            </c:spPr>
            <c:extLst>
              <c:ext xmlns:c16="http://schemas.microsoft.com/office/drawing/2014/chart" uri="{C3380CC4-5D6E-409C-BE32-E72D297353CC}">
                <c16:uniqueId val="{00000275-09B8-45EC-99FF-01E55AD01204}"/>
              </c:ext>
            </c:extLst>
          </c:dPt>
          <c:dPt>
            <c:idx val="314"/>
            <c:invertIfNegative val="1"/>
            <c:bubble3D val="0"/>
            <c:spPr>
              <a:solidFill>
                <a:srgbClr val="AEABAB"/>
              </a:solidFill>
            </c:spPr>
            <c:extLst>
              <c:ext xmlns:c16="http://schemas.microsoft.com/office/drawing/2014/chart" uri="{C3380CC4-5D6E-409C-BE32-E72D297353CC}">
                <c16:uniqueId val="{00000277-09B8-45EC-99FF-01E55AD01204}"/>
              </c:ext>
            </c:extLst>
          </c:dPt>
          <c:dPt>
            <c:idx val="315"/>
            <c:invertIfNegative val="1"/>
            <c:bubble3D val="0"/>
            <c:spPr>
              <a:solidFill>
                <a:srgbClr val="AEABAB"/>
              </a:solidFill>
            </c:spPr>
            <c:extLst>
              <c:ext xmlns:c16="http://schemas.microsoft.com/office/drawing/2014/chart" uri="{C3380CC4-5D6E-409C-BE32-E72D297353CC}">
                <c16:uniqueId val="{00000279-09B8-45EC-99FF-01E55AD01204}"/>
              </c:ext>
            </c:extLst>
          </c:dPt>
          <c:dPt>
            <c:idx val="316"/>
            <c:invertIfNegative val="1"/>
            <c:bubble3D val="0"/>
            <c:spPr>
              <a:solidFill>
                <a:srgbClr val="AEABAB"/>
              </a:solidFill>
            </c:spPr>
            <c:extLst>
              <c:ext xmlns:c16="http://schemas.microsoft.com/office/drawing/2014/chart" uri="{C3380CC4-5D6E-409C-BE32-E72D297353CC}">
                <c16:uniqueId val="{0000027B-09B8-45EC-99FF-01E55AD01204}"/>
              </c:ext>
            </c:extLst>
          </c:dPt>
          <c:dPt>
            <c:idx val="317"/>
            <c:invertIfNegative val="1"/>
            <c:bubble3D val="0"/>
            <c:spPr>
              <a:solidFill>
                <a:srgbClr val="AEABAB"/>
              </a:solidFill>
            </c:spPr>
            <c:extLst>
              <c:ext xmlns:c16="http://schemas.microsoft.com/office/drawing/2014/chart" uri="{C3380CC4-5D6E-409C-BE32-E72D297353CC}">
                <c16:uniqueId val="{0000027D-09B8-45EC-99FF-01E55AD01204}"/>
              </c:ext>
            </c:extLst>
          </c:dPt>
          <c:dPt>
            <c:idx val="318"/>
            <c:invertIfNegative val="1"/>
            <c:bubble3D val="0"/>
            <c:spPr>
              <a:solidFill>
                <a:srgbClr val="AEABAB"/>
              </a:solidFill>
            </c:spPr>
            <c:extLst>
              <c:ext xmlns:c16="http://schemas.microsoft.com/office/drawing/2014/chart" uri="{C3380CC4-5D6E-409C-BE32-E72D297353CC}">
                <c16:uniqueId val="{0000027F-09B8-45EC-99FF-01E55AD01204}"/>
              </c:ext>
            </c:extLst>
          </c:dPt>
          <c:dPt>
            <c:idx val="319"/>
            <c:invertIfNegative val="1"/>
            <c:bubble3D val="0"/>
            <c:spPr>
              <a:solidFill>
                <a:srgbClr val="AEABAB"/>
              </a:solidFill>
            </c:spPr>
            <c:extLst>
              <c:ext xmlns:c16="http://schemas.microsoft.com/office/drawing/2014/chart" uri="{C3380CC4-5D6E-409C-BE32-E72D297353CC}">
                <c16:uniqueId val="{00000281-09B8-45EC-99FF-01E55AD01204}"/>
              </c:ext>
            </c:extLst>
          </c:dPt>
          <c:dPt>
            <c:idx val="320"/>
            <c:invertIfNegative val="1"/>
            <c:bubble3D val="0"/>
            <c:spPr>
              <a:solidFill>
                <a:srgbClr val="AEABAB"/>
              </a:solidFill>
            </c:spPr>
            <c:extLst>
              <c:ext xmlns:c16="http://schemas.microsoft.com/office/drawing/2014/chart" uri="{C3380CC4-5D6E-409C-BE32-E72D297353CC}">
                <c16:uniqueId val="{00000283-09B8-45EC-99FF-01E55AD01204}"/>
              </c:ext>
            </c:extLst>
          </c:dPt>
          <c:dPt>
            <c:idx val="321"/>
            <c:invertIfNegative val="1"/>
            <c:bubble3D val="0"/>
            <c:spPr>
              <a:solidFill>
                <a:srgbClr val="AEABAB"/>
              </a:solidFill>
            </c:spPr>
            <c:extLst>
              <c:ext xmlns:c16="http://schemas.microsoft.com/office/drawing/2014/chart" uri="{C3380CC4-5D6E-409C-BE32-E72D297353CC}">
                <c16:uniqueId val="{00000285-09B8-45EC-99FF-01E55AD01204}"/>
              </c:ext>
            </c:extLst>
          </c:dPt>
          <c:dPt>
            <c:idx val="322"/>
            <c:invertIfNegative val="1"/>
            <c:bubble3D val="0"/>
            <c:spPr>
              <a:solidFill>
                <a:srgbClr val="AEABAB"/>
              </a:solidFill>
            </c:spPr>
            <c:extLst>
              <c:ext xmlns:c16="http://schemas.microsoft.com/office/drawing/2014/chart" uri="{C3380CC4-5D6E-409C-BE32-E72D297353CC}">
                <c16:uniqueId val="{00000287-09B8-45EC-99FF-01E55AD01204}"/>
              </c:ext>
            </c:extLst>
          </c:dPt>
          <c:dPt>
            <c:idx val="323"/>
            <c:invertIfNegative val="1"/>
            <c:bubble3D val="0"/>
            <c:spPr>
              <a:solidFill>
                <a:srgbClr val="AEABAB"/>
              </a:solidFill>
            </c:spPr>
            <c:extLst>
              <c:ext xmlns:c16="http://schemas.microsoft.com/office/drawing/2014/chart" uri="{C3380CC4-5D6E-409C-BE32-E72D297353CC}">
                <c16:uniqueId val="{00000289-09B8-45EC-99FF-01E55AD01204}"/>
              </c:ext>
            </c:extLst>
          </c:dPt>
          <c:dPt>
            <c:idx val="324"/>
            <c:invertIfNegative val="1"/>
            <c:bubble3D val="0"/>
            <c:spPr>
              <a:solidFill>
                <a:srgbClr val="AEABAB"/>
              </a:solidFill>
            </c:spPr>
            <c:extLst>
              <c:ext xmlns:c16="http://schemas.microsoft.com/office/drawing/2014/chart" uri="{C3380CC4-5D6E-409C-BE32-E72D297353CC}">
                <c16:uniqueId val="{0000028B-09B8-45EC-99FF-01E55AD01204}"/>
              </c:ext>
            </c:extLst>
          </c:dPt>
          <c:dPt>
            <c:idx val="325"/>
            <c:invertIfNegative val="1"/>
            <c:bubble3D val="0"/>
            <c:spPr>
              <a:solidFill>
                <a:srgbClr val="AEABAB"/>
              </a:solidFill>
            </c:spPr>
            <c:extLst>
              <c:ext xmlns:c16="http://schemas.microsoft.com/office/drawing/2014/chart" uri="{C3380CC4-5D6E-409C-BE32-E72D297353CC}">
                <c16:uniqueId val="{0000028D-09B8-45EC-99FF-01E55AD01204}"/>
              </c:ext>
            </c:extLst>
          </c:dPt>
          <c:dPt>
            <c:idx val="326"/>
            <c:invertIfNegative val="1"/>
            <c:bubble3D val="0"/>
            <c:spPr>
              <a:solidFill>
                <a:srgbClr val="AEABAB"/>
              </a:solidFill>
            </c:spPr>
            <c:extLst>
              <c:ext xmlns:c16="http://schemas.microsoft.com/office/drawing/2014/chart" uri="{C3380CC4-5D6E-409C-BE32-E72D297353CC}">
                <c16:uniqueId val="{0000028F-09B8-45EC-99FF-01E55AD01204}"/>
              </c:ext>
            </c:extLst>
          </c:dPt>
          <c:dPt>
            <c:idx val="327"/>
            <c:invertIfNegative val="1"/>
            <c:bubble3D val="0"/>
            <c:spPr>
              <a:solidFill>
                <a:srgbClr val="AEABAB"/>
              </a:solidFill>
            </c:spPr>
            <c:extLst>
              <c:ext xmlns:c16="http://schemas.microsoft.com/office/drawing/2014/chart" uri="{C3380CC4-5D6E-409C-BE32-E72D297353CC}">
                <c16:uniqueId val="{00000291-09B8-45EC-99FF-01E55AD01204}"/>
              </c:ext>
            </c:extLst>
          </c:dPt>
          <c:dPt>
            <c:idx val="328"/>
            <c:invertIfNegative val="1"/>
            <c:bubble3D val="0"/>
            <c:spPr>
              <a:solidFill>
                <a:srgbClr val="AEABAB"/>
              </a:solidFill>
            </c:spPr>
            <c:extLst>
              <c:ext xmlns:c16="http://schemas.microsoft.com/office/drawing/2014/chart" uri="{C3380CC4-5D6E-409C-BE32-E72D297353CC}">
                <c16:uniqueId val="{00000293-09B8-45EC-99FF-01E55AD01204}"/>
              </c:ext>
            </c:extLst>
          </c:dPt>
          <c:dPt>
            <c:idx val="329"/>
            <c:invertIfNegative val="1"/>
            <c:bubble3D val="0"/>
            <c:spPr>
              <a:solidFill>
                <a:srgbClr val="AEABAB"/>
              </a:solidFill>
            </c:spPr>
            <c:extLst>
              <c:ext xmlns:c16="http://schemas.microsoft.com/office/drawing/2014/chart" uri="{C3380CC4-5D6E-409C-BE32-E72D297353CC}">
                <c16:uniqueId val="{00000295-09B8-45EC-99FF-01E55AD01204}"/>
              </c:ext>
            </c:extLst>
          </c:dPt>
          <c:dPt>
            <c:idx val="330"/>
            <c:invertIfNegative val="1"/>
            <c:bubble3D val="0"/>
            <c:spPr>
              <a:solidFill>
                <a:srgbClr val="AEABAB"/>
              </a:solidFill>
            </c:spPr>
            <c:extLst>
              <c:ext xmlns:c16="http://schemas.microsoft.com/office/drawing/2014/chart" uri="{C3380CC4-5D6E-409C-BE32-E72D297353CC}">
                <c16:uniqueId val="{00000297-09B8-45EC-99FF-01E55AD01204}"/>
              </c:ext>
            </c:extLst>
          </c:dPt>
          <c:dPt>
            <c:idx val="331"/>
            <c:invertIfNegative val="1"/>
            <c:bubble3D val="0"/>
            <c:spPr>
              <a:solidFill>
                <a:srgbClr val="AEABAB"/>
              </a:solidFill>
            </c:spPr>
            <c:extLst>
              <c:ext xmlns:c16="http://schemas.microsoft.com/office/drawing/2014/chart" uri="{C3380CC4-5D6E-409C-BE32-E72D297353CC}">
                <c16:uniqueId val="{00000299-09B8-45EC-99FF-01E55AD01204}"/>
              </c:ext>
            </c:extLst>
          </c:dPt>
          <c:dPt>
            <c:idx val="332"/>
            <c:invertIfNegative val="1"/>
            <c:bubble3D val="0"/>
            <c:spPr>
              <a:solidFill>
                <a:srgbClr val="AEABAB"/>
              </a:solidFill>
            </c:spPr>
            <c:extLst>
              <c:ext xmlns:c16="http://schemas.microsoft.com/office/drawing/2014/chart" uri="{C3380CC4-5D6E-409C-BE32-E72D297353CC}">
                <c16:uniqueId val="{0000029B-09B8-45EC-99FF-01E55AD01204}"/>
              </c:ext>
            </c:extLst>
          </c:dPt>
          <c:dPt>
            <c:idx val="333"/>
            <c:invertIfNegative val="1"/>
            <c:bubble3D val="0"/>
            <c:spPr>
              <a:solidFill>
                <a:srgbClr val="AEABAB"/>
              </a:solidFill>
            </c:spPr>
            <c:extLst>
              <c:ext xmlns:c16="http://schemas.microsoft.com/office/drawing/2014/chart" uri="{C3380CC4-5D6E-409C-BE32-E72D297353CC}">
                <c16:uniqueId val="{0000029D-09B8-45EC-99FF-01E55AD01204}"/>
              </c:ext>
            </c:extLst>
          </c:dPt>
          <c:dPt>
            <c:idx val="334"/>
            <c:invertIfNegative val="1"/>
            <c:bubble3D val="0"/>
            <c:spPr>
              <a:solidFill>
                <a:srgbClr val="AEABAB"/>
              </a:solidFill>
            </c:spPr>
            <c:extLst>
              <c:ext xmlns:c16="http://schemas.microsoft.com/office/drawing/2014/chart" uri="{C3380CC4-5D6E-409C-BE32-E72D297353CC}">
                <c16:uniqueId val="{0000029F-09B8-45EC-99FF-01E55AD01204}"/>
              </c:ext>
            </c:extLst>
          </c:dPt>
          <c:dPt>
            <c:idx val="335"/>
            <c:invertIfNegative val="1"/>
            <c:bubble3D val="0"/>
            <c:spPr>
              <a:solidFill>
                <a:srgbClr val="AEABAB"/>
              </a:solidFill>
            </c:spPr>
            <c:extLst>
              <c:ext xmlns:c16="http://schemas.microsoft.com/office/drawing/2014/chart" uri="{C3380CC4-5D6E-409C-BE32-E72D297353CC}">
                <c16:uniqueId val="{000002A1-09B8-45EC-99FF-01E55AD01204}"/>
              </c:ext>
            </c:extLst>
          </c:dPt>
          <c:dPt>
            <c:idx val="336"/>
            <c:invertIfNegative val="1"/>
            <c:bubble3D val="0"/>
            <c:spPr>
              <a:solidFill>
                <a:srgbClr val="AEABAB"/>
              </a:solidFill>
            </c:spPr>
            <c:extLst>
              <c:ext xmlns:c16="http://schemas.microsoft.com/office/drawing/2014/chart" uri="{C3380CC4-5D6E-409C-BE32-E72D297353CC}">
                <c16:uniqueId val="{000002A3-09B8-45EC-99FF-01E55AD01204}"/>
              </c:ext>
            </c:extLst>
          </c:dPt>
          <c:dPt>
            <c:idx val="337"/>
            <c:invertIfNegative val="1"/>
            <c:bubble3D val="0"/>
            <c:spPr>
              <a:solidFill>
                <a:srgbClr val="AEABAB"/>
              </a:solidFill>
            </c:spPr>
            <c:extLst>
              <c:ext xmlns:c16="http://schemas.microsoft.com/office/drawing/2014/chart" uri="{C3380CC4-5D6E-409C-BE32-E72D297353CC}">
                <c16:uniqueId val="{000002A5-09B8-45EC-99FF-01E55AD01204}"/>
              </c:ext>
            </c:extLst>
          </c:dPt>
          <c:dPt>
            <c:idx val="338"/>
            <c:invertIfNegative val="1"/>
            <c:bubble3D val="0"/>
            <c:spPr>
              <a:solidFill>
                <a:srgbClr val="AEABAB"/>
              </a:solidFill>
            </c:spPr>
            <c:extLst>
              <c:ext xmlns:c16="http://schemas.microsoft.com/office/drawing/2014/chart" uri="{C3380CC4-5D6E-409C-BE32-E72D297353CC}">
                <c16:uniqueId val="{000002A7-09B8-45EC-99FF-01E55AD01204}"/>
              </c:ext>
            </c:extLst>
          </c:dPt>
          <c:dPt>
            <c:idx val="339"/>
            <c:invertIfNegative val="1"/>
            <c:bubble3D val="0"/>
            <c:spPr>
              <a:solidFill>
                <a:srgbClr val="AEABAB"/>
              </a:solidFill>
            </c:spPr>
            <c:extLst>
              <c:ext xmlns:c16="http://schemas.microsoft.com/office/drawing/2014/chart" uri="{C3380CC4-5D6E-409C-BE32-E72D297353CC}">
                <c16:uniqueId val="{000002A9-09B8-45EC-99FF-01E55AD01204}"/>
              </c:ext>
            </c:extLst>
          </c:dPt>
          <c:dPt>
            <c:idx val="340"/>
            <c:invertIfNegative val="1"/>
            <c:bubble3D val="0"/>
            <c:spPr>
              <a:solidFill>
                <a:srgbClr val="AEABAB"/>
              </a:solidFill>
            </c:spPr>
            <c:extLst>
              <c:ext xmlns:c16="http://schemas.microsoft.com/office/drawing/2014/chart" uri="{C3380CC4-5D6E-409C-BE32-E72D297353CC}">
                <c16:uniqueId val="{000002AB-09B8-45EC-99FF-01E55AD01204}"/>
              </c:ext>
            </c:extLst>
          </c:dPt>
          <c:dPt>
            <c:idx val="341"/>
            <c:invertIfNegative val="1"/>
            <c:bubble3D val="0"/>
            <c:spPr>
              <a:solidFill>
                <a:srgbClr val="AEABAB"/>
              </a:solidFill>
            </c:spPr>
            <c:extLst>
              <c:ext xmlns:c16="http://schemas.microsoft.com/office/drawing/2014/chart" uri="{C3380CC4-5D6E-409C-BE32-E72D297353CC}">
                <c16:uniqueId val="{000002AD-09B8-45EC-99FF-01E55AD01204}"/>
              </c:ext>
            </c:extLst>
          </c:dPt>
          <c:dPt>
            <c:idx val="342"/>
            <c:invertIfNegative val="1"/>
            <c:bubble3D val="0"/>
            <c:spPr>
              <a:solidFill>
                <a:srgbClr val="AEABAB"/>
              </a:solidFill>
            </c:spPr>
            <c:extLst>
              <c:ext xmlns:c16="http://schemas.microsoft.com/office/drawing/2014/chart" uri="{C3380CC4-5D6E-409C-BE32-E72D297353CC}">
                <c16:uniqueId val="{000002AF-09B8-45EC-99FF-01E55AD01204}"/>
              </c:ext>
            </c:extLst>
          </c:dPt>
          <c:dPt>
            <c:idx val="343"/>
            <c:invertIfNegative val="1"/>
            <c:bubble3D val="0"/>
            <c:spPr>
              <a:solidFill>
                <a:srgbClr val="AEABAB"/>
              </a:solidFill>
            </c:spPr>
            <c:extLst>
              <c:ext xmlns:c16="http://schemas.microsoft.com/office/drawing/2014/chart" uri="{C3380CC4-5D6E-409C-BE32-E72D297353CC}">
                <c16:uniqueId val="{000002B1-09B8-45EC-99FF-01E55AD01204}"/>
              </c:ext>
            </c:extLst>
          </c:dPt>
          <c:dPt>
            <c:idx val="344"/>
            <c:invertIfNegative val="1"/>
            <c:bubble3D val="0"/>
            <c:spPr>
              <a:solidFill>
                <a:srgbClr val="AEABAB"/>
              </a:solidFill>
            </c:spPr>
            <c:extLst>
              <c:ext xmlns:c16="http://schemas.microsoft.com/office/drawing/2014/chart" uri="{C3380CC4-5D6E-409C-BE32-E72D297353CC}">
                <c16:uniqueId val="{000002B3-09B8-45EC-99FF-01E55AD01204}"/>
              </c:ext>
            </c:extLst>
          </c:dPt>
          <c:dPt>
            <c:idx val="345"/>
            <c:invertIfNegative val="1"/>
            <c:bubble3D val="0"/>
            <c:spPr>
              <a:solidFill>
                <a:srgbClr val="AEABAB"/>
              </a:solidFill>
            </c:spPr>
            <c:extLst>
              <c:ext xmlns:c16="http://schemas.microsoft.com/office/drawing/2014/chart" uri="{C3380CC4-5D6E-409C-BE32-E72D297353CC}">
                <c16:uniqueId val="{000002B5-09B8-45EC-99FF-01E55AD01204}"/>
              </c:ext>
            </c:extLst>
          </c:dPt>
          <c:dPt>
            <c:idx val="346"/>
            <c:invertIfNegative val="1"/>
            <c:bubble3D val="0"/>
            <c:spPr>
              <a:solidFill>
                <a:srgbClr val="AEABAB"/>
              </a:solidFill>
            </c:spPr>
            <c:extLst>
              <c:ext xmlns:c16="http://schemas.microsoft.com/office/drawing/2014/chart" uri="{C3380CC4-5D6E-409C-BE32-E72D297353CC}">
                <c16:uniqueId val="{000002B7-09B8-45EC-99FF-01E55AD01204}"/>
              </c:ext>
            </c:extLst>
          </c:dPt>
          <c:dPt>
            <c:idx val="347"/>
            <c:invertIfNegative val="1"/>
            <c:bubble3D val="0"/>
            <c:spPr>
              <a:solidFill>
                <a:srgbClr val="AEABAB"/>
              </a:solidFill>
            </c:spPr>
            <c:extLst>
              <c:ext xmlns:c16="http://schemas.microsoft.com/office/drawing/2014/chart" uri="{C3380CC4-5D6E-409C-BE32-E72D297353CC}">
                <c16:uniqueId val="{000002B9-09B8-45EC-99FF-01E55AD01204}"/>
              </c:ext>
            </c:extLst>
          </c:dPt>
          <c:cat>
            <c:strRef>
              <c:f>Sheet1!$A$2:$A$349</c:f>
              <c:strCache>
                <c:ptCount val="348"/>
                <c:pt idx="0">
                  <c:v>Ruinart</c:v>
                </c:pt>
                <c:pt idx="1">
                  <c:v>Ruinart</c:v>
                </c:pt>
                <c:pt idx="2">
                  <c:v>Nicolas</c:v>
                </c:pt>
                <c:pt idx="3">
                  <c:v>Deutz</c:v>
                </c:pt>
                <c:pt idx="4">
                  <c:v>Ruinart</c:v>
                </c:pt>
                <c:pt idx="5">
                  <c:v>Ruinart</c:v>
                </c:pt>
                <c:pt idx="6">
                  <c:v>Heidsieck &amp;</c:v>
                </c:pt>
                <c:pt idx="7">
                  <c:v>De Bligny</c:v>
                </c:pt>
                <c:pt idx="8">
                  <c:v>Malard</c:v>
                </c:pt>
                <c:pt idx="9">
                  <c:v>Nicolas Feu</c:v>
                </c:pt>
                <c:pt idx="10">
                  <c:v>Laurent Per</c:v>
                </c:pt>
                <c:pt idx="11">
                  <c:v>Taittinger</c:v>
                </c:pt>
                <c:pt idx="12">
                  <c:v>Canard Duch</c:v>
                </c:pt>
                <c:pt idx="13">
                  <c:v>Ruinart</c:v>
                </c:pt>
                <c:pt idx="14">
                  <c:v>Ruinart</c:v>
                </c:pt>
                <c:pt idx="15">
                  <c:v>Ayala</c:v>
                </c:pt>
                <c:pt idx="16">
                  <c:v>Bollinger</c:v>
                </c:pt>
                <c:pt idx="17">
                  <c:v>Dom Perigno</c:v>
                </c:pt>
                <c:pt idx="18">
                  <c:v>Deutz</c:v>
                </c:pt>
                <c:pt idx="19">
                  <c:v>Ruinart</c:v>
                </c:pt>
                <c:pt idx="20">
                  <c:v>Demoiselle</c:v>
                </c:pt>
                <c:pt idx="21">
                  <c:v>All Others</c:v>
                </c:pt>
                <c:pt idx="22">
                  <c:v>Besserat De</c:v>
                </c:pt>
                <c:pt idx="23">
                  <c:v>Savian</c:v>
                </c:pt>
                <c:pt idx="24">
                  <c:v>Deutz</c:v>
                </c:pt>
                <c:pt idx="25">
                  <c:v>Taittinger</c:v>
                </c:pt>
                <c:pt idx="26">
                  <c:v>Ruinart</c:v>
                </c:pt>
                <c:pt idx="27">
                  <c:v>Ruinart</c:v>
                </c:pt>
                <c:pt idx="28">
                  <c:v>Laurent Per</c:v>
                </c:pt>
                <c:pt idx="29">
                  <c:v>Perrier Jou</c:v>
                </c:pt>
                <c:pt idx="30">
                  <c:v>Campari: Al</c:v>
                </c:pt>
                <c:pt idx="31">
                  <c:v>Roederer</c:v>
                </c:pt>
                <c:pt idx="32">
                  <c:v>Dom Perigno</c:v>
                </c:pt>
                <c:pt idx="33">
                  <c:v>Demoiselle</c:v>
                </c:pt>
                <c:pt idx="34">
                  <c:v>Malard</c:v>
                </c:pt>
                <c:pt idx="35">
                  <c:v>Moët &amp; Chan</c:v>
                </c:pt>
                <c:pt idx="36">
                  <c:v>Bottega</c:v>
                </c:pt>
                <c:pt idx="37">
                  <c:v>Vesselle</c:v>
                </c:pt>
                <c:pt idx="38">
                  <c:v>All Others</c:v>
                </c:pt>
                <c:pt idx="39">
                  <c:v>Mure</c:v>
                </c:pt>
                <c:pt idx="40">
                  <c:v>Pommery</c:v>
                </c:pt>
                <c:pt idx="41">
                  <c:v>Laurent Per</c:v>
                </c:pt>
                <c:pt idx="42">
                  <c:v>Nicolas</c:v>
                </c:pt>
                <c:pt idx="43">
                  <c:v>Roederer</c:v>
                </c:pt>
                <c:pt idx="44">
                  <c:v>De Chanceny</c:v>
                </c:pt>
                <c:pt idx="45">
                  <c:v>Besserat De</c:v>
                </c:pt>
                <c:pt idx="46">
                  <c:v>Veuve Clicq</c:v>
                </c:pt>
                <c:pt idx="47">
                  <c:v>Moët &amp; Chan</c:v>
                </c:pt>
                <c:pt idx="48">
                  <c:v>Veuve Clicq</c:v>
                </c:pt>
                <c:pt idx="49">
                  <c:v>Bouvet-Ladu</c:v>
                </c:pt>
                <c:pt idx="50">
                  <c:v>Patriarche</c:v>
                </c:pt>
                <c:pt idx="51">
                  <c:v>Nicolas Feu</c:v>
                </c:pt>
                <c:pt idx="52">
                  <c:v>All Others</c:v>
                </c:pt>
                <c:pt idx="53">
                  <c:v>Ruinart</c:v>
                </c:pt>
                <c:pt idx="54">
                  <c:v>Nicolas</c:v>
                </c:pt>
                <c:pt idx="55">
                  <c:v>Veuve Clicq</c:v>
                </c:pt>
                <c:pt idx="56">
                  <c:v>Savian</c:v>
                </c:pt>
                <c:pt idx="57">
                  <c:v>All Others</c:v>
                </c:pt>
                <c:pt idx="58">
                  <c:v>De Venoge</c:v>
                </c:pt>
                <c:pt idx="59">
                  <c:v>Nicolas Feu</c:v>
                </c:pt>
                <c:pt idx="60">
                  <c:v>Henriot</c:v>
                </c:pt>
                <c:pt idx="61">
                  <c:v>Ruinart</c:v>
                </c:pt>
                <c:pt idx="62">
                  <c:v>Ayala</c:v>
                </c:pt>
                <c:pt idx="63">
                  <c:v>Ruinart</c:v>
                </c:pt>
                <c:pt idx="64">
                  <c:v>Malard</c:v>
                </c:pt>
                <c:pt idx="65">
                  <c:v>Nicolas</c:v>
                </c:pt>
                <c:pt idx="66">
                  <c:v>Vranken</c:v>
                </c:pt>
                <c:pt idx="67">
                  <c:v>Lyre's</c:v>
                </c:pt>
                <c:pt idx="68">
                  <c:v>Lanson</c:v>
                </c:pt>
                <c:pt idx="69">
                  <c:v>Malard</c:v>
                </c:pt>
                <c:pt idx="70">
                  <c:v>De Venoge</c:v>
                </c:pt>
                <c:pt idx="71">
                  <c:v>Canard Duch</c:v>
                </c:pt>
                <c:pt idx="72">
                  <c:v>Roederer</c:v>
                </c:pt>
                <c:pt idx="73">
                  <c:v>All Others</c:v>
                </c:pt>
                <c:pt idx="74">
                  <c:v>French Bloo</c:v>
                </c:pt>
                <c:pt idx="75">
                  <c:v>Roederer</c:v>
                </c:pt>
                <c:pt idx="76">
                  <c:v>Moët &amp; Chan</c:v>
                </c:pt>
                <c:pt idx="77">
                  <c:v>De Bligny</c:v>
                </c:pt>
                <c:pt idx="78">
                  <c:v>Malard</c:v>
                </c:pt>
                <c:pt idx="79">
                  <c:v>Pommery</c:v>
                </c:pt>
                <c:pt idx="80">
                  <c:v>Campari: Al</c:v>
                </c:pt>
                <c:pt idx="81">
                  <c:v>Krug</c:v>
                </c:pt>
                <c:pt idx="82">
                  <c:v>Laurent Per</c:v>
                </c:pt>
                <c:pt idx="83">
                  <c:v>Malard</c:v>
                </c:pt>
                <c:pt idx="84">
                  <c:v>Perrier Jou</c:v>
                </c:pt>
                <c:pt idx="85">
                  <c:v>Deutz</c:v>
                </c:pt>
                <c:pt idx="86">
                  <c:v>Deutz</c:v>
                </c:pt>
                <c:pt idx="87">
                  <c:v>Ruinart</c:v>
                </c:pt>
                <c:pt idx="88">
                  <c:v>Bollinger</c:v>
                </c:pt>
                <c:pt idx="89">
                  <c:v>Patriarche</c:v>
                </c:pt>
                <c:pt idx="90">
                  <c:v>Besserat De</c:v>
                </c:pt>
                <c:pt idx="91">
                  <c:v>Henriot</c:v>
                </c:pt>
                <c:pt idx="92">
                  <c:v>Piper Heids</c:v>
                </c:pt>
                <c:pt idx="93">
                  <c:v>Canard Duch</c:v>
                </c:pt>
                <c:pt idx="94">
                  <c:v>Roederer</c:v>
                </c:pt>
                <c:pt idx="95">
                  <c:v>Dom Perigno</c:v>
                </c:pt>
                <c:pt idx="96">
                  <c:v>Canard Duch</c:v>
                </c:pt>
                <c:pt idx="97">
                  <c:v>Roederer</c:v>
                </c:pt>
                <c:pt idx="98">
                  <c:v>Vesselle</c:v>
                </c:pt>
                <c:pt idx="99">
                  <c:v>Delamotte</c:v>
                </c:pt>
                <c:pt idx="100">
                  <c:v>Veuve Clicq</c:v>
                </c:pt>
                <c:pt idx="101">
                  <c:v>Nicolas Feu</c:v>
                </c:pt>
                <c:pt idx="102">
                  <c:v>Bottega</c:v>
                </c:pt>
                <c:pt idx="103">
                  <c:v>De Venoge</c:v>
                </c:pt>
                <c:pt idx="104">
                  <c:v>Ruinart</c:v>
                </c:pt>
                <c:pt idx="105">
                  <c:v>Canard Duch</c:v>
                </c:pt>
                <c:pt idx="106">
                  <c:v>Bollinger</c:v>
                </c:pt>
                <c:pt idx="107">
                  <c:v>All Others</c:v>
                </c:pt>
                <c:pt idx="108">
                  <c:v>All Others</c:v>
                </c:pt>
                <c:pt idx="109">
                  <c:v>Vranken</c:v>
                </c:pt>
                <c:pt idx="110">
                  <c:v>Louis Marti</c:v>
                </c:pt>
                <c:pt idx="111">
                  <c:v>Roederer</c:v>
                </c:pt>
                <c:pt idx="112">
                  <c:v>De Chanceny</c:v>
                </c:pt>
                <c:pt idx="113">
                  <c:v>Bollinger</c:v>
                </c:pt>
                <c:pt idx="114">
                  <c:v>All Others</c:v>
                </c:pt>
                <c:pt idx="115">
                  <c:v>All Others</c:v>
                </c:pt>
                <c:pt idx="116">
                  <c:v>Roederer</c:v>
                </c:pt>
                <c:pt idx="117">
                  <c:v>Kriter</c:v>
                </c:pt>
                <c:pt idx="118">
                  <c:v>Deutz</c:v>
                </c:pt>
                <c:pt idx="119">
                  <c:v>Ruinart</c:v>
                </c:pt>
                <c:pt idx="120">
                  <c:v>Nicolas</c:v>
                </c:pt>
                <c:pt idx="121">
                  <c:v>Delamotte</c:v>
                </c:pt>
                <c:pt idx="122">
                  <c:v>Henriot</c:v>
                </c:pt>
                <c:pt idx="123">
                  <c:v>All Others</c:v>
                </c:pt>
                <c:pt idx="124">
                  <c:v>Pommery</c:v>
                </c:pt>
                <c:pt idx="125">
                  <c:v>Henriot</c:v>
                </c:pt>
                <c:pt idx="126">
                  <c:v>Laurent Per</c:v>
                </c:pt>
                <c:pt idx="127">
                  <c:v>Nicolas</c:v>
                </c:pt>
                <c:pt idx="128">
                  <c:v>Ruinart</c:v>
                </c:pt>
                <c:pt idx="129">
                  <c:v>Taittinger</c:v>
                </c:pt>
                <c:pt idx="130">
                  <c:v>Ruinart</c:v>
                </c:pt>
                <c:pt idx="131">
                  <c:v>All Others</c:v>
                </c:pt>
                <c:pt idx="132">
                  <c:v>Ruinart</c:v>
                </c:pt>
                <c:pt idx="133">
                  <c:v>Lanson</c:v>
                </c:pt>
                <c:pt idx="134">
                  <c:v>Canard Duch</c:v>
                </c:pt>
                <c:pt idx="135">
                  <c:v>Roederer</c:v>
                </c:pt>
                <c:pt idx="136">
                  <c:v>Contarini</c:v>
                </c:pt>
                <c:pt idx="137">
                  <c:v>De Venoge</c:v>
                </c:pt>
                <c:pt idx="138">
                  <c:v>All Others</c:v>
                </c:pt>
                <c:pt idx="139">
                  <c:v>Nicolas Feu</c:v>
                </c:pt>
                <c:pt idx="140">
                  <c:v>Ruinart</c:v>
                </c:pt>
                <c:pt idx="141">
                  <c:v>All Others</c:v>
                </c:pt>
                <c:pt idx="142">
                  <c:v>Dom Perigno</c:v>
                </c:pt>
                <c:pt idx="143">
                  <c:v>Nicolas</c:v>
                </c:pt>
                <c:pt idx="144">
                  <c:v>All Others</c:v>
                </c:pt>
                <c:pt idx="145">
                  <c:v>Roederer</c:v>
                </c:pt>
                <c:pt idx="146">
                  <c:v>Ruinart</c:v>
                </c:pt>
                <c:pt idx="147">
                  <c:v>Cru La Maqu</c:v>
                </c:pt>
                <c:pt idx="148">
                  <c:v>Deutz</c:v>
                </c:pt>
                <c:pt idx="149">
                  <c:v>Deutz</c:v>
                </c:pt>
                <c:pt idx="150">
                  <c:v>Nicolas</c:v>
                </c:pt>
                <c:pt idx="151">
                  <c:v>Moët &amp; Chan</c:v>
                </c:pt>
                <c:pt idx="152">
                  <c:v>Nicolas</c:v>
                </c:pt>
                <c:pt idx="153">
                  <c:v>Demoiselle</c:v>
                </c:pt>
                <c:pt idx="154">
                  <c:v>Contarini</c:v>
                </c:pt>
                <c:pt idx="155">
                  <c:v>All Others</c:v>
                </c:pt>
                <c:pt idx="156">
                  <c:v>Pommery</c:v>
                </c:pt>
                <c:pt idx="157">
                  <c:v>Piper Heids</c:v>
                </c:pt>
                <c:pt idx="158">
                  <c:v>Ayala</c:v>
                </c:pt>
                <c:pt idx="159">
                  <c:v>Ruinart</c:v>
                </c:pt>
                <c:pt idx="160">
                  <c:v>Nicolas</c:v>
                </c:pt>
                <c:pt idx="161">
                  <c:v>Pommery</c:v>
                </c:pt>
                <c:pt idx="162">
                  <c:v>Nicolas</c:v>
                </c:pt>
                <c:pt idx="163">
                  <c:v>Perrier Jou</c:v>
                </c:pt>
                <c:pt idx="164">
                  <c:v>Piper Heids</c:v>
                </c:pt>
                <c:pt idx="165">
                  <c:v>Laurent Per</c:v>
                </c:pt>
                <c:pt idx="166">
                  <c:v>All Others</c:v>
                </c:pt>
                <c:pt idx="167">
                  <c:v>All Others</c:v>
                </c:pt>
                <c:pt idx="168">
                  <c:v>Nicolas</c:v>
                </c:pt>
                <c:pt idx="169">
                  <c:v>Vilaveroni</c:v>
                </c:pt>
                <c:pt idx="170">
                  <c:v>All Others</c:v>
                </c:pt>
                <c:pt idx="171">
                  <c:v>Besserat De</c:v>
                </c:pt>
                <c:pt idx="172">
                  <c:v>Vesselle</c:v>
                </c:pt>
                <c:pt idx="173">
                  <c:v>Nicolas</c:v>
                </c:pt>
                <c:pt idx="174">
                  <c:v>All Others</c:v>
                </c:pt>
                <c:pt idx="175">
                  <c:v>Dom Perigno</c:v>
                </c:pt>
                <c:pt idx="176">
                  <c:v>Mure</c:v>
                </c:pt>
                <c:pt idx="177">
                  <c:v>All Others</c:v>
                </c:pt>
                <c:pt idx="178">
                  <c:v>Taittinger</c:v>
                </c:pt>
                <c:pt idx="179">
                  <c:v>Malard</c:v>
                </c:pt>
                <c:pt idx="180">
                  <c:v>All Others</c:v>
                </c:pt>
                <c:pt idx="181">
                  <c:v>Nicolas</c:v>
                </c:pt>
                <c:pt idx="182">
                  <c:v>Roederer</c:v>
                </c:pt>
                <c:pt idx="183">
                  <c:v>Roederer</c:v>
                </c:pt>
                <c:pt idx="184">
                  <c:v>All Others</c:v>
                </c:pt>
                <c:pt idx="185">
                  <c:v>All Others</c:v>
                </c:pt>
                <c:pt idx="186">
                  <c:v>Roederer</c:v>
                </c:pt>
                <c:pt idx="187">
                  <c:v>All Others</c:v>
                </c:pt>
                <c:pt idx="188">
                  <c:v>Nicolas</c:v>
                </c:pt>
                <c:pt idx="189">
                  <c:v>Laurent Per</c:v>
                </c:pt>
                <c:pt idx="190">
                  <c:v>All Others</c:v>
                </c:pt>
                <c:pt idx="191">
                  <c:v>Nicolas</c:v>
                </c:pt>
                <c:pt idx="192">
                  <c:v>Ruinart</c:v>
                </c:pt>
                <c:pt idx="193">
                  <c:v>Deutz</c:v>
                </c:pt>
                <c:pt idx="194">
                  <c:v>Pommery</c:v>
                </c:pt>
                <c:pt idx="195">
                  <c:v>Nicolas</c:v>
                </c:pt>
                <c:pt idx="196">
                  <c:v>Lanson</c:v>
                </c:pt>
                <c:pt idx="197">
                  <c:v>All Others</c:v>
                </c:pt>
                <c:pt idx="198">
                  <c:v>Moët &amp; Chan</c:v>
                </c:pt>
                <c:pt idx="199">
                  <c:v>All Others</c:v>
                </c:pt>
                <c:pt idx="200">
                  <c:v>Deutz</c:v>
                </c:pt>
                <c:pt idx="201">
                  <c:v>Nicolas</c:v>
                </c:pt>
                <c:pt idx="202">
                  <c:v>All Others</c:v>
                </c:pt>
                <c:pt idx="203">
                  <c:v>All Others</c:v>
                </c:pt>
                <c:pt idx="204">
                  <c:v>De Venoge</c:v>
                </c:pt>
                <c:pt idx="205">
                  <c:v>Lanson</c:v>
                </c:pt>
                <c:pt idx="206">
                  <c:v>Besserat De</c:v>
                </c:pt>
                <c:pt idx="207">
                  <c:v>Laurent Per</c:v>
                </c:pt>
                <c:pt idx="208">
                  <c:v>Demoiselle</c:v>
                </c:pt>
                <c:pt idx="209">
                  <c:v>Canard Duch</c:v>
                </c:pt>
                <c:pt idx="210">
                  <c:v>Pommery</c:v>
                </c:pt>
                <c:pt idx="211">
                  <c:v>Laurent Per</c:v>
                </c:pt>
                <c:pt idx="212">
                  <c:v>Vranken</c:v>
                </c:pt>
                <c:pt idx="213">
                  <c:v>Bollinger</c:v>
                </c:pt>
                <c:pt idx="214">
                  <c:v>All Others</c:v>
                </c:pt>
                <c:pt idx="215">
                  <c:v>Piper Heids</c:v>
                </c:pt>
                <c:pt idx="216">
                  <c:v>Bollinger</c:v>
                </c:pt>
                <c:pt idx="217">
                  <c:v>Bollinger</c:v>
                </c:pt>
                <c:pt idx="218">
                  <c:v>All Others</c:v>
                </c:pt>
                <c:pt idx="219">
                  <c:v>Roederer</c:v>
                </c:pt>
                <c:pt idx="220">
                  <c:v>Louis Marti</c:v>
                </c:pt>
                <c:pt idx="221">
                  <c:v>Veuve Clicq</c:v>
                </c:pt>
                <c:pt idx="222">
                  <c:v>All Others</c:v>
                </c:pt>
                <c:pt idx="223">
                  <c:v>De Venoge</c:v>
                </c:pt>
                <c:pt idx="224">
                  <c:v>All Others</c:v>
                </c:pt>
                <c:pt idx="225">
                  <c:v>Pommery</c:v>
                </c:pt>
                <c:pt idx="226">
                  <c:v>All Others</c:v>
                </c:pt>
                <c:pt idx="227">
                  <c:v>All Others</c:v>
                </c:pt>
                <c:pt idx="228">
                  <c:v>Deutz</c:v>
                </c:pt>
                <c:pt idx="229">
                  <c:v>All Others</c:v>
                </c:pt>
                <c:pt idx="230">
                  <c:v>All Others</c:v>
                </c:pt>
                <c:pt idx="231">
                  <c:v>Roederer</c:v>
                </c:pt>
                <c:pt idx="232">
                  <c:v>Bouvet-Ladu</c:v>
                </c:pt>
                <c:pt idx="233">
                  <c:v>All Others</c:v>
                </c:pt>
                <c:pt idx="234">
                  <c:v>Nicolas</c:v>
                </c:pt>
                <c:pt idx="235">
                  <c:v>Taittinger</c:v>
                </c:pt>
                <c:pt idx="236">
                  <c:v>Laurent Per</c:v>
                </c:pt>
                <c:pt idx="237">
                  <c:v>Moët &amp; Chan</c:v>
                </c:pt>
                <c:pt idx="238">
                  <c:v>All Others</c:v>
                </c:pt>
                <c:pt idx="239">
                  <c:v>De Venoge</c:v>
                </c:pt>
                <c:pt idx="240">
                  <c:v>All Others</c:v>
                </c:pt>
                <c:pt idx="241">
                  <c:v>Henriot</c:v>
                </c:pt>
                <c:pt idx="242">
                  <c:v>All Others</c:v>
                </c:pt>
                <c:pt idx="243">
                  <c:v>Ayala</c:v>
                </c:pt>
                <c:pt idx="244">
                  <c:v>Vesselle</c:v>
                </c:pt>
                <c:pt idx="245">
                  <c:v>Krug</c:v>
                </c:pt>
                <c:pt idx="246">
                  <c:v>Veuve Clicq</c:v>
                </c:pt>
                <c:pt idx="247">
                  <c:v>Bouvet-Ladu</c:v>
                </c:pt>
                <c:pt idx="248">
                  <c:v>Perrier Jou</c:v>
                </c:pt>
                <c:pt idx="249">
                  <c:v>Perrier Jou</c:v>
                </c:pt>
                <c:pt idx="250">
                  <c:v>Pommery</c:v>
                </c:pt>
                <c:pt idx="251">
                  <c:v>All Others</c:v>
                </c:pt>
                <c:pt idx="252">
                  <c:v>Canard Duch</c:v>
                </c:pt>
                <c:pt idx="253">
                  <c:v>All Others</c:v>
                </c:pt>
                <c:pt idx="254">
                  <c:v>Bottega</c:v>
                </c:pt>
                <c:pt idx="255">
                  <c:v>Bollinger</c:v>
                </c:pt>
                <c:pt idx="256">
                  <c:v>Roederer</c:v>
                </c:pt>
                <c:pt idx="257">
                  <c:v>Moët &amp; Chan</c:v>
                </c:pt>
                <c:pt idx="258">
                  <c:v>Laurent Per</c:v>
                </c:pt>
                <c:pt idx="259">
                  <c:v>Krug</c:v>
                </c:pt>
                <c:pt idx="260">
                  <c:v>Dom Perigno</c:v>
                </c:pt>
                <c:pt idx="261">
                  <c:v>Nicolas</c:v>
                </c:pt>
                <c:pt idx="262">
                  <c:v>Laurent Per</c:v>
                </c:pt>
                <c:pt idx="263">
                  <c:v>Roederer</c:v>
                </c:pt>
                <c:pt idx="264">
                  <c:v>Veuve Clicq</c:v>
                </c:pt>
                <c:pt idx="265">
                  <c:v>Veuve Clicq</c:v>
                </c:pt>
                <c:pt idx="266">
                  <c:v>All Others</c:v>
                </c:pt>
                <c:pt idx="267">
                  <c:v>Taittinger</c:v>
                </c:pt>
                <c:pt idx="268">
                  <c:v>Vilaveroni</c:v>
                </c:pt>
                <c:pt idx="269">
                  <c:v>All Others</c:v>
                </c:pt>
                <c:pt idx="270">
                  <c:v>All Others</c:v>
                </c:pt>
                <c:pt idx="271">
                  <c:v>Laurent Per</c:v>
                </c:pt>
                <c:pt idx="272">
                  <c:v>Laurent Per</c:v>
                </c:pt>
                <c:pt idx="273">
                  <c:v>All Others</c:v>
                </c:pt>
                <c:pt idx="274">
                  <c:v>Perrier Jou</c:v>
                </c:pt>
                <c:pt idx="275">
                  <c:v>Dom Perigno</c:v>
                </c:pt>
                <c:pt idx="276">
                  <c:v>All Others</c:v>
                </c:pt>
                <c:pt idx="277">
                  <c:v>Malard</c:v>
                </c:pt>
                <c:pt idx="278">
                  <c:v>All Others</c:v>
                </c:pt>
                <c:pt idx="279">
                  <c:v>Laurent Per</c:v>
                </c:pt>
                <c:pt idx="280">
                  <c:v>Roederer</c:v>
                </c:pt>
                <c:pt idx="281">
                  <c:v>Vilaveroni</c:v>
                </c:pt>
                <c:pt idx="282">
                  <c:v>Veuve Clicq</c:v>
                </c:pt>
                <c:pt idx="283">
                  <c:v>De Venoge</c:v>
                </c:pt>
                <c:pt idx="284">
                  <c:v>Ruinart</c:v>
                </c:pt>
                <c:pt idx="285">
                  <c:v>Moët &amp; Chan</c:v>
                </c:pt>
                <c:pt idx="286">
                  <c:v>Canard Duch</c:v>
                </c:pt>
                <c:pt idx="287">
                  <c:v>Besserat De</c:v>
                </c:pt>
                <c:pt idx="288">
                  <c:v>Canard Duch</c:v>
                </c:pt>
                <c:pt idx="289">
                  <c:v>Henriot</c:v>
                </c:pt>
                <c:pt idx="290">
                  <c:v>Canard Duch</c:v>
                </c:pt>
                <c:pt idx="291">
                  <c:v>All Others</c:v>
                </c:pt>
                <c:pt idx="292">
                  <c:v>Ruinart</c:v>
                </c:pt>
                <c:pt idx="293">
                  <c:v>Bouvet-Ladu</c:v>
                </c:pt>
                <c:pt idx="294">
                  <c:v>Laurent Per</c:v>
                </c:pt>
                <c:pt idx="295">
                  <c:v>All Others</c:v>
                </c:pt>
                <c:pt idx="296">
                  <c:v>Jaillance</c:v>
                </c:pt>
                <c:pt idx="297">
                  <c:v>Pommery</c:v>
                </c:pt>
                <c:pt idx="298">
                  <c:v>All Others</c:v>
                </c:pt>
                <c:pt idx="299">
                  <c:v>All Others</c:v>
                </c:pt>
                <c:pt idx="300">
                  <c:v>Roederer</c:v>
                </c:pt>
                <c:pt idx="301">
                  <c:v>Celene</c:v>
                </c:pt>
                <c:pt idx="302">
                  <c:v>Piper Heids</c:v>
                </c:pt>
                <c:pt idx="303">
                  <c:v>Nicolas</c:v>
                </c:pt>
                <c:pt idx="304">
                  <c:v>Roederer</c:v>
                </c:pt>
                <c:pt idx="305">
                  <c:v>Mure</c:v>
                </c:pt>
                <c:pt idx="306">
                  <c:v>All Others</c:v>
                </c:pt>
                <c:pt idx="307">
                  <c:v>De Venoge</c:v>
                </c:pt>
                <c:pt idx="308">
                  <c:v>All Others</c:v>
                </c:pt>
                <c:pt idx="309">
                  <c:v>Roederer</c:v>
                </c:pt>
                <c:pt idx="310">
                  <c:v>Bollinger</c:v>
                </c:pt>
                <c:pt idx="311">
                  <c:v>Martel</c:v>
                </c:pt>
                <c:pt idx="312">
                  <c:v>Besserat De</c:v>
                </c:pt>
                <c:pt idx="313">
                  <c:v>Moët &amp; Chan</c:v>
                </c:pt>
                <c:pt idx="314">
                  <c:v>Vilaveroni</c:v>
                </c:pt>
                <c:pt idx="315">
                  <c:v>Malard</c:v>
                </c:pt>
                <c:pt idx="316">
                  <c:v>Ruinart</c:v>
                </c:pt>
                <c:pt idx="317">
                  <c:v>Moët &amp; Chan</c:v>
                </c:pt>
                <c:pt idx="318">
                  <c:v>All Others</c:v>
                </c:pt>
                <c:pt idx="319">
                  <c:v>Bollinger</c:v>
                </c:pt>
                <c:pt idx="320">
                  <c:v>Roederer</c:v>
                </c:pt>
                <c:pt idx="321">
                  <c:v>Roederer</c:v>
                </c:pt>
                <c:pt idx="322">
                  <c:v>Nicolas</c:v>
                </c:pt>
                <c:pt idx="323">
                  <c:v>Celene</c:v>
                </c:pt>
                <c:pt idx="324">
                  <c:v>All Others</c:v>
                </c:pt>
                <c:pt idx="325">
                  <c:v>Henriot</c:v>
                </c:pt>
                <c:pt idx="326">
                  <c:v>Lanson</c:v>
                </c:pt>
                <c:pt idx="327">
                  <c:v>Roederer</c:v>
                </c:pt>
                <c:pt idx="328">
                  <c:v>Roederer</c:v>
                </c:pt>
                <c:pt idx="329">
                  <c:v>Roederer</c:v>
                </c:pt>
                <c:pt idx="330">
                  <c:v>Deutz</c:v>
                </c:pt>
                <c:pt idx="331">
                  <c:v>De Venoge</c:v>
                </c:pt>
                <c:pt idx="332">
                  <c:v>Deutz</c:v>
                </c:pt>
                <c:pt idx="333">
                  <c:v>Henriot</c:v>
                </c:pt>
                <c:pt idx="334">
                  <c:v>Nicolas</c:v>
                </c:pt>
                <c:pt idx="335">
                  <c:v>All Others</c:v>
                </c:pt>
                <c:pt idx="336">
                  <c:v>Besserat De</c:v>
                </c:pt>
                <c:pt idx="337">
                  <c:v>Veuve Clicq</c:v>
                </c:pt>
                <c:pt idx="338">
                  <c:v>Vesselle</c:v>
                </c:pt>
                <c:pt idx="339">
                  <c:v>All Others</c:v>
                </c:pt>
                <c:pt idx="340">
                  <c:v>Bouvet-Ladu</c:v>
                </c:pt>
                <c:pt idx="341">
                  <c:v>All Others</c:v>
                </c:pt>
                <c:pt idx="342">
                  <c:v>All Others</c:v>
                </c:pt>
                <c:pt idx="343">
                  <c:v>All Others</c:v>
                </c:pt>
                <c:pt idx="344">
                  <c:v>All Others</c:v>
                </c:pt>
                <c:pt idx="345">
                  <c:v>Bottega</c:v>
                </c:pt>
                <c:pt idx="346">
                  <c:v>All Others</c:v>
                </c:pt>
                <c:pt idx="347">
                  <c:v>Bottega</c:v>
                </c:pt>
              </c:strCache>
            </c:strRef>
          </c:cat>
          <c:val>
            <c:numRef>
              <c:f>Sheet1!$C$2:$C$349</c:f>
              <c:numCache>
                <c:formatCode>General</c:formatCode>
                <c:ptCount val="348"/>
                <c:pt idx="0">
                  <c:v>0.10011430090836416</c:v>
                </c:pt>
                <c:pt idx="1">
                  <c:v>0.16798406233255581</c:v>
                </c:pt>
                <c:pt idx="2">
                  <c:v>0.21818696658856682</c:v>
                </c:pt>
                <c:pt idx="3">
                  <c:v>0.25843314519150584</c:v>
                </c:pt>
                <c:pt idx="4">
                  <c:v>0.29511303185749338</c:v>
                </c:pt>
                <c:pt idx="5">
                  <c:v>0.32698002151343386</c:v>
                </c:pt>
                <c:pt idx="6">
                  <c:v>0.35098810430274435</c:v>
                </c:pt>
                <c:pt idx="7">
                  <c:v>0.37243563955271858</c:v>
                </c:pt>
                <c:pt idx="8">
                  <c:v>0.39378590967926108</c:v>
                </c:pt>
                <c:pt idx="9">
                  <c:v>0.41491747716140082</c:v>
                </c:pt>
                <c:pt idx="10">
                  <c:v>0.43243066694522475</c:v>
                </c:pt>
                <c:pt idx="11">
                  <c:v>0.44971076575277735</c:v>
                </c:pt>
                <c:pt idx="12">
                  <c:v>0.46692036173417384</c:v>
                </c:pt>
                <c:pt idx="13">
                  <c:v>0.4821858063134849</c:v>
                </c:pt>
                <c:pt idx="14">
                  <c:v>0.49651284388832578</c:v>
                </c:pt>
                <c:pt idx="15">
                  <c:v>0.5106145601861044</c:v>
                </c:pt>
                <c:pt idx="16">
                  <c:v>0.52463973055834201</c:v>
                </c:pt>
                <c:pt idx="17">
                  <c:v>0.53666377173429458</c:v>
                </c:pt>
                <c:pt idx="18">
                  <c:v>0.54816781859651598</c:v>
                </c:pt>
                <c:pt idx="19">
                  <c:v>0.5595682694692834</c:v>
                </c:pt>
                <c:pt idx="20">
                  <c:v>0.57096123840947921</c:v>
                </c:pt>
                <c:pt idx="21">
                  <c:v>0.58173752344578677</c:v>
                </c:pt>
                <c:pt idx="22">
                  <c:v>0.59239179542784859</c:v>
                </c:pt>
                <c:pt idx="23">
                  <c:v>0.60186277099703656</c:v>
                </c:pt>
                <c:pt idx="24">
                  <c:v>0.61128309963804706</c:v>
                </c:pt>
                <c:pt idx="25">
                  <c:v>0.62067522714859513</c:v>
                </c:pt>
                <c:pt idx="26">
                  <c:v>0.62980663808568416</c:v>
                </c:pt>
                <c:pt idx="27">
                  <c:v>0.63881546043525272</c:v>
                </c:pt>
                <c:pt idx="28">
                  <c:v>0.6473238566024313</c:v>
                </c:pt>
                <c:pt idx="29">
                  <c:v>0.65569211041720976</c:v>
                </c:pt>
                <c:pt idx="30">
                  <c:v>0.66398353053980985</c:v>
                </c:pt>
                <c:pt idx="31">
                  <c:v>0.67220933986908915</c:v>
                </c:pt>
                <c:pt idx="32">
                  <c:v>0.68019141085651436</c:v>
                </c:pt>
                <c:pt idx="33">
                  <c:v>0.68787046357478676</c:v>
                </c:pt>
                <c:pt idx="34">
                  <c:v>0.69520764952786118</c:v>
                </c:pt>
                <c:pt idx="35">
                  <c:v>0.70188987861427687</c:v>
                </c:pt>
                <c:pt idx="36">
                  <c:v>0.70854793530315341</c:v>
                </c:pt>
                <c:pt idx="37">
                  <c:v>0.71463650181667071</c:v>
                </c:pt>
                <c:pt idx="38">
                  <c:v>0.72055384718095161</c:v>
                </c:pt>
                <c:pt idx="39">
                  <c:v>0.72623579943586225</c:v>
                </c:pt>
                <c:pt idx="40">
                  <c:v>0.73175458800738291</c:v>
                </c:pt>
                <c:pt idx="41">
                  <c:v>0.73707884633204013</c:v>
                </c:pt>
                <c:pt idx="42">
                  <c:v>0.74224742290587908</c:v>
                </c:pt>
                <c:pt idx="43">
                  <c:v>0.74732305085584683</c:v>
                </c:pt>
                <c:pt idx="44">
                  <c:v>0.75206918600602357</c:v>
                </c:pt>
                <c:pt idx="45">
                  <c:v>0.75661935207615005</c:v>
                </c:pt>
                <c:pt idx="46">
                  <c:v>0.76099311719756746</c:v>
                </c:pt>
                <c:pt idx="47">
                  <c:v>0.7653369545886981</c:v>
                </c:pt>
                <c:pt idx="48">
                  <c:v>0.76962093651925545</c:v>
                </c:pt>
                <c:pt idx="49">
                  <c:v>0.77368333813903634</c:v>
                </c:pt>
                <c:pt idx="50">
                  <c:v>0.77767092043310049</c:v>
                </c:pt>
                <c:pt idx="51">
                  <c:v>0.78162598509714154</c:v>
                </c:pt>
                <c:pt idx="52">
                  <c:v>0.78556349599630293</c:v>
                </c:pt>
                <c:pt idx="53">
                  <c:v>0.78943539610214353</c:v>
                </c:pt>
                <c:pt idx="54">
                  <c:v>0.79328369934371956</c:v>
                </c:pt>
                <c:pt idx="55">
                  <c:v>0.7970986216553605</c:v>
                </c:pt>
                <c:pt idx="56">
                  <c:v>0.80065570505991612</c:v>
                </c:pt>
                <c:pt idx="57">
                  <c:v>0.80411983984060054</c:v>
                </c:pt>
                <c:pt idx="58">
                  <c:v>0.80752181702761261</c:v>
                </c:pt>
                <c:pt idx="59">
                  <c:v>0.81087487388627144</c:v>
                </c:pt>
                <c:pt idx="60">
                  <c:v>0.81411598952299258</c:v>
                </c:pt>
                <c:pt idx="61">
                  <c:v>0.817349623227142</c:v>
                </c:pt>
                <c:pt idx="62">
                  <c:v>0.82047534444227688</c:v>
                </c:pt>
                <c:pt idx="63">
                  <c:v>0.82351933993239812</c:v>
                </c:pt>
                <c:pt idx="64">
                  <c:v>0.82649513472946223</c:v>
                </c:pt>
                <c:pt idx="65">
                  <c:v>0.82944128956287699</c:v>
                </c:pt>
                <c:pt idx="66">
                  <c:v>0.83231981923650933</c:v>
                </c:pt>
                <c:pt idx="67">
                  <c:v>0.83518367281163575</c:v>
                </c:pt>
                <c:pt idx="68">
                  <c:v>0.83801529652337647</c:v>
                </c:pt>
                <c:pt idx="69">
                  <c:v>0.84081871910465478</c:v>
                </c:pt>
                <c:pt idx="70">
                  <c:v>0.84360976772052598</c:v>
                </c:pt>
                <c:pt idx="71">
                  <c:v>0.84633664437626333</c:v>
                </c:pt>
                <c:pt idx="72">
                  <c:v>0.84890150841516021</c:v>
                </c:pt>
                <c:pt idx="73">
                  <c:v>0.85130810080350239</c:v>
                </c:pt>
                <c:pt idx="74">
                  <c:v>0.85369771496023972</c:v>
                </c:pt>
                <c:pt idx="75">
                  <c:v>0.85608013495104274</c:v>
                </c:pt>
                <c:pt idx="76">
                  <c:v>0.85844960544316395</c:v>
                </c:pt>
                <c:pt idx="77">
                  <c:v>0.86076181037444821</c:v>
                </c:pt>
                <c:pt idx="78">
                  <c:v>0.86303487904304987</c:v>
                </c:pt>
                <c:pt idx="79">
                  <c:v>0.86529730034606867</c:v>
                </c:pt>
                <c:pt idx="80">
                  <c:v>0.8674699384582274</c:v>
                </c:pt>
                <c:pt idx="81">
                  <c:v>0.8696402744372872</c:v>
                </c:pt>
                <c:pt idx="82">
                  <c:v>0.87180399178368739</c:v>
                </c:pt>
                <c:pt idx="83">
                  <c:v>0.87389749407056883</c:v>
                </c:pt>
                <c:pt idx="84">
                  <c:v>0.87598667985788969</c:v>
                </c:pt>
                <c:pt idx="85">
                  <c:v>0.87806550604626521</c:v>
                </c:pt>
                <c:pt idx="86">
                  <c:v>0.88012562740321154</c:v>
                </c:pt>
                <c:pt idx="87">
                  <c:v>0.88216560509554176</c:v>
                </c:pt>
                <c:pt idx="88">
                  <c:v>0.88418630242316809</c:v>
                </c:pt>
                <c:pt idx="89">
                  <c:v>0.88612843945879183</c:v>
                </c:pt>
                <c:pt idx="90">
                  <c:v>0.88803000139854615</c:v>
                </c:pt>
                <c:pt idx="91">
                  <c:v>0.88990278667456324</c:v>
                </c:pt>
                <c:pt idx="92">
                  <c:v>0.89174161548737052</c:v>
                </c:pt>
                <c:pt idx="93">
                  <c:v>0.89357756663380405</c:v>
                </c:pt>
                <c:pt idx="94">
                  <c:v>0.89539596401535781</c:v>
                </c:pt>
                <c:pt idx="95">
                  <c:v>0.89720860606416419</c:v>
                </c:pt>
                <c:pt idx="96">
                  <c:v>0.89896081711912246</c:v>
                </c:pt>
                <c:pt idx="97">
                  <c:v>0.90069777654229999</c:v>
                </c:pt>
                <c:pt idx="98">
                  <c:v>0.90242236200007053</c:v>
                </c:pt>
                <c:pt idx="99">
                  <c:v>0.90414665969120367</c:v>
                </c:pt>
                <c:pt idx="100">
                  <c:v>0.90586232438321568</c:v>
                </c:pt>
                <c:pt idx="101">
                  <c:v>0.90756762947628233</c:v>
                </c:pt>
                <c:pt idx="102">
                  <c:v>0.90924588450543598</c:v>
                </c:pt>
                <c:pt idx="103">
                  <c:v>0.9108372340101033</c:v>
                </c:pt>
                <c:pt idx="104">
                  <c:v>0.9124000946176708</c:v>
                </c:pt>
                <c:pt idx="105">
                  <c:v>0.91396065309213925</c:v>
                </c:pt>
                <c:pt idx="106">
                  <c:v>0.9154616438726717</c:v>
                </c:pt>
                <c:pt idx="107">
                  <c:v>0.91696177135329204</c:v>
                </c:pt>
                <c:pt idx="108">
                  <c:v>0.91841326627219655</c:v>
                </c:pt>
                <c:pt idx="109">
                  <c:v>0.91979656049804381</c:v>
                </c:pt>
                <c:pt idx="110">
                  <c:v>0.92117208502468206</c:v>
                </c:pt>
                <c:pt idx="111">
                  <c:v>0.92253811325228707</c:v>
                </c:pt>
                <c:pt idx="112">
                  <c:v>0.92389637178068307</c:v>
                </c:pt>
                <c:pt idx="113">
                  <c:v>0.92519995464797833</c:v>
                </c:pt>
                <c:pt idx="114">
                  <c:v>0.92647878958445962</c:v>
                </c:pt>
                <c:pt idx="115">
                  <c:v>0.92774381172234699</c:v>
                </c:pt>
                <c:pt idx="116">
                  <c:v>0.92900480512731121</c:v>
                </c:pt>
                <c:pt idx="117">
                  <c:v>0.93023414420216444</c:v>
                </c:pt>
                <c:pt idx="118">
                  <c:v>0.9314390231128411</c:v>
                </c:pt>
                <c:pt idx="119">
                  <c:v>0.93263066475819867</c:v>
                </c:pt>
                <c:pt idx="120">
                  <c:v>0.93381309787116029</c:v>
                </c:pt>
                <c:pt idx="121">
                  <c:v>0.93498488361853915</c:v>
                </c:pt>
                <c:pt idx="122">
                  <c:v>0.93609307293905886</c:v>
                </c:pt>
                <c:pt idx="123">
                  <c:v>0.93718716169434724</c:v>
                </c:pt>
                <c:pt idx="124">
                  <c:v>0.93825506368563483</c:v>
                </c:pt>
                <c:pt idx="125">
                  <c:v>0.93932066354382338</c:v>
                </c:pt>
                <c:pt idx="126">
                  <c:v>0.94034568830614251</c:v>
                </c:pt>
                <c:pt idx="127">
                  <c:v>0.94135949016960419</c:v>
                </c:pt>
                <c:pt idx="128">
                  <c:v>0.94235775263464772</c:v>
                </c:pt>
                <c:pt idx="129">
                  <c:v>0.94335486403314173</c:v>
                </c:pt>
                <c:pt idx="130">
                  <c:v>0.94433183176701974</c:v>
                </c:pt>
                <c:pt idx="131">
                  <c:v>0.94530189310160084</c:v>
                </c:pt>
                <c:pt idx="132">
                  <c:v>0.94626130707059919</c:v>
                </c:pt>
                <c:pt idx="133">
                  <c:v>0.94719108107594818</c:v>
                </c:pt>
                <c:pt idx="134">
                  <c:v>0.94810848111589019</c:v>
                </c:pt>
                <c:pt idx="135">
                  <c:v>0.9490126438905131</c:v>
                </c:pt>
                <c:pt idx="136">
                  <c:v>0.94991105133238851</c:v>
                </c:pt>
                <c:pt idx="137">
                  <c:v>0.95080801994107711</c:v>
                </c:pt>
                <c:pt idx="138">
                  <c:v>0.95168829808479816</c:v>
                </c:pt>
                <c:pt idx="139">
                  <c:v>0.95253634636513351</c:v>
                </c:pt>
                <c:pt idx="140">
                  <c:v>0.95333461101720351</c:v>
                </c:pt>
                <c:pt idx="141">
                  <c:v>0.95412021393722912</c:v>
                </c:pt>
                <c:pt idx="142">
                  <c:v>0.95490293919088098</c:v>
                </c:pt>
                <c:pt idx="143">
                  <c:v>0.95566782291301577</c:v>
                </c:pt>
                <c:pt idx="144">
                  <c:v>0.95642090820301839</c:v>
                </c:pt>
                <c:pt idx="145">
                  <c:v>0.95715960516115239</c:v>
                </c:pt>
                <c:pt idx="146">
                  <c:v>0.957885640387242</c:v>
                </c:pt>
                <c:pt idx="147">
                  <c:v>0.95860851018032056</c:v>
                </c:pt>
                <c:pt idx="148">
                  <c:v>0.95931871824135473</c:v>
                </c:pt>
                <c:pt idx="149">
                  <c:v>0.96002604863601515</c:v>
                </c:pt>
                <c:pt idx="150">
                  <c:v>0.96071409866597168</c:v>
                </c:pt>
                <c:pt idx="151">
                  <c:v>0.96140186092929081</c:v>
                </c:pt>
                <c:pt idx="152">
                  <c:v>0.96208501892641196</c:v>
                </c:pt>
                <c:pt idx="153">
                  <c:v>0.96276645032370889</c:v>
                </c:pt>
                <c:pt idx="154">
                  <c:v>0.96344270192153314</c:v>
                </c:pt>
                <c:pt idx="155">
                  <c:v>0.96409564442173024</c:v>
                </c:pt>
                <c:pt idx="156">
                  <c:v>0.96474743585537792</c:v>
                </c:pt>
                <c:pt idx="157">
                  <c:v>0.96539433525619023</c:v>
                </c:pt>
                <c:pt idx="158">
                  <c:v>0.96601735002610067</c:v>
                </c:pt>
                <c:pt idx="159">
                  <c:v>0.96663863819618689</c:v>
                </c:pt>
                <c:pt idx="160">
                  <c:v>0.96723431513554703</c:v>
                </c:pt>
                <c:pt idx="161">
                  <c:v>0.9678133016099395</c:v>
                </c:pt>
                <c:pt idx="162">
                  <c:v>0.9683807774188371</c:v>
                </c:pt>
                <c:pt idx="163">
                  <c:v>0.96894537556136107</c:v>
                </c:pt>
                <c:pt idx="164">
                  <c:v>0.96950939817061021</c:v>
                </c:pt>
                <c:pt idx="165">
                  <c:v>0.97006824098038669</c:v>
                </c:pt>
                <c:pt idx="166">
                  <c:v>0.97062363059051471</c:v>
                </c:pt>
                <c:pt idx="167">
                  <c:v>0.97116491963541152</c:v>
                </c:pt>
                <c:pt idx="168">
                  <c:v>0.97168203628276906</c:v>
                </c:pt>
                <c:pt idx="169">
                  <c:v>0.97219886516348919</c:v>
                </c:pt>
                <c:pt idx="170">
                  <c:v>0.97269900357924177</c:v>
                </c:pt>
                <c:pt idx="171">
                  <c:v>0.97319741539517013</c:v>
                </c:pt>
                <c:pt idx="172">
                  <c:v>0.97367913674613094</c:v>
                </c:pt>
                <c:pt idx="173">
                  <c:v>0.97415970703054222</c:v>
                </c:pt>
                <c:pt idx="174">
                  <c:v>0.97463480974884342</c:v>
                </c:pt>
                <c:pt idx="175">
                  <c:v>0.97510962470050722</c:v>
                </c:pt>
                <c:pt idx="176">
                  <c:v>0.97558242528570949</c:v>
                </c:pt>
                <c:pt idx="177">
                  <c:v>0.97604860723825215</c:v>
                </c:pt>
                <c:pt idx="178">
                  <c:v>0.97651392589088271</c:v>
                </c:pt>
                <c:pt idx="179">
                  <c:v>0.97697320144412847</c:v>
                </c:pt>
                <c:pt idx="180">
                  <c:v>0.97742441953152781</c:v>
                </c:pt>
                <c:pt idx="181">
                  <c:v>0.97784743648846473</c:v>
                </c:pt>
                <c:pt idx="182">
                  <c:v>0.97825261191388457</c:v>
                </c:pt>
                <c:pt idx="183">
                  <c:v>0.97865577297284279</c:v>
                </c:pt>
                <c:pt idx="184">
                  <c:v>0.97905778296525148</c:v>
                </c:pt>
                <c:pt idx="185">
                  <c:v>0.97944396579260473</c:v>
                </c:pt>
                <c:pt idx="186">
                  <c:v>0.97982640765367213</c:v>
                </c:pt>
                <c:pt idx="187">
                  <c:v>0.98019618778269513</c:v>
                </c:pt>
                <c:pt idx="188">
                  <c:v>0.98056539237844342</c:v>
                </c:pt>
                <c:pt idx="189">
                  <c:v>0.98093373367427961</c:v>
                </c:pt>
                <c:pt idx="190">
                  <c:v>0.98129804623719263</c:v>
                </c:pt>
                <c:pt idx="191">
                  <c:v>0.98166207103346825</c:v>
                </c:pt>
                <c:pt idx="192">
                  <c:v>0.98202034049699638</c:v>
                </c:pt>
                <c:pt idx="193">
                  <c:v>0.98237717112733769</c:v>
                </c:pt>
                <c:pt idx="194">
                  <c:v>0.98271500915961241</c:v>
                </c:pt>
                <c:pt idx="195">
                  <c:v>0.98305054505878819</c:v>
                </c:pt>
                <c:pt idx="196">
                  <c:v>0.98338147669176601</c:v>
                </c:pt>
                <c:pt idx="197">
                  <c:v>0.98371183279146912</c:v>
                </c:pt>
                <c:pt idx="198">
                  <c:v>0.98403729685833685</c:v>
                </c:pt>
                <c:pt idx="199">
                  <c:v>0.98434981142652289</c:v>
                </c:pt>
                <c:pt idx="200">
                  <c:v>0.98466002386160989</c:v>
                </c:pt>
                <c:pt idx="201">
                  <c:v>0.98496966076342218</c:v>
                </c:pt>
                <c:pt idx="202">
                  <c:v>0.98527872213195977</c:v>
                </c:pt>
                <c:pt idx="203">
                  <c:v>0.98557224410207922</c:v>
                </c:pt>
                <c:pt idx="204">
                  <c:v>0.98585224104024216</c:v>
                </c:pt>
                <c:pt idx="205">
                  <c:v>0.98613108691185569</c:v>
                </c:pt>
                <c:pt idx="206">
                  <c:v>0.98640791841700759</c:v>
                </c:pt>
                <c:pt idx="207">
                  <c:v>0.98668359885560997</c:v>
                </c:pt>
                <c:pt idx="208">
                  <c:v>0.98695812822766282</c:v>
                </c:pt>
                <c:pt idx="209">
                  <c:v>0.98723064323325416</c:v>
                </c:pt>
                <c:pt idx="210">
                  <c:v>0.98748819437370217</c:v>
                </c:pt>
                <c:pt idx="211">
                  <c:v>0.9877411412479522</c:v>
                </c:pt>
                <c:pt idx="212">
                  <c:v>0.9879914982224659</c:v>
                </c:pt>
                <c:pt idx="213">
                  <c:v>0.98823725093078163</c:v>
                </c:pt>
                <c:pt idx="214">
                  <c:v>0.98848156480591043</c:v>
                </c:pt>
                <c:pt idx="215">
                  <c:v>0.98871954781501714</c:v>
                </c:pt>
                <c:pt idx="216">
                  <c:v>0.98895263879128847</c:v>
                </c:pt>
                <c:pt idx="217">
                  <c:v>0.98918572976755981</c:v>
                </c:pt>
                <c:pt idx="218">
                  <c:v>0.98941882074383114</c:v>
                </c:pt>
                <c:pt idx="219">
                  <c:v>0.98964845852045402</c:v>
                </c:pt>
                <c:pt idx="220">
                  <c:v>0.98987406756415364</c:v>
                </c:pt>
                <c:pt idx="221">
                  <c:v>0.99008125954306148</c:v>
                </c:pt>
                <c:pt idx="222">
                  <c:v>0.99028816375533191</c:v>
                </c:pt>
                <c:pt idx="223">
                  <c:v>0.99048873710158025</c:v>
                </c:pt>
                <c:pt idx="224">
                  <c:v>0.99068441841499322</c:v>
                </c:pt>
                <c:pt idx="225">
                  <c:v>0.99087952419513148</c:v>
                </c:pt>
                <c:pt idx="226">
                  <c:v>0.9910657092095112</c:v>
                </c:pt>
                <c:pt idx="227">
                  <c:v>0.99124527559123132</c:v>
                </c:pt>
                <c:pt idx="228">
                  <c:v>0.99142369090640192</c:v>
                </c:pt>
                <c:pt idx="229">
                  <c:v>0.99159951632183618</c:v>
                </c:pt>
                <c:pt idx="230">
                  <c:v>0.99177361513744622</c:v>
                </c:pt>
                <c:pt idx="231">
                  <c:v>0.99194713841978155</c:v>
                </c:pt>
                <c:pt idx="232">
                  <c:v>0.99211404306945727</c:v>
                </c:pt>
                <c:pt idx="233">
                  <c:v>0.99228037218585829</c:v>
                </c:pt>
                <c:pt idx="234">
                  <c:v>0.99244555023570979</c:v>
                </c:pt>
                <c:pt idx="235">
                  <c:v>0.9926041096529018</c:v>
                </c:pt>
                <c:pt idx="236">
                  <c:v>0.99275806480389583</c:v>
                </c:pt>
                <c:pt idx="237">
                  <c:v>0.99290971782179094</c:v>
                </c:pt>
                <c:pt idx="238">
                  <c:v>0.99306021977313652</c:v>
                </c:pt>
                <c:pt idx="239">
                  <c:v>0.99320813182474577</c:v>
                </c:pt>
                <c:pt idx="240">
                  <c:v>0.99335431727653078</c:v>
                </c:pt>
                <c:pt idx="241">
                  <c:v>0.99349935166176628</c:v>
                </c:pt>
                <c:pt idx="242">
                  <c:v>0.99363920624752911</c:v>
                </c:pt>
                <c:pt idx="243">
                  <c:v>0.99377819753337981</c:v>
                </c:pt>
                <c:pt idx="244">
                  <c:v>0.9939157499860436</c:v>
                </c:pt>
                <c:pt idx="245">
                  <c:v>0.99404582050613577</c:v>
                </c:pt>
                <c:pt idx="246">
                  <c:v>0.99417243782657949</c:v>
                </c:pt>
                <c:pt idx="247">
                  <c:v>0.99429790408047369</c:v>
                </c:pt>
                <c:pt idx="248">
                  <c:v>0.99442279480109319</c:v>
                </c:pt>
                <c:pt idx="249">
                  <c:v>0.99454653445516317</c:v>
                </c:pt>
                <c:pt idx="250">
                  <c:v>0.99467027410923314</c:v>
                </c:pt>
                <c:pt idx="251">
                  <c:v>0.99479171163020419</c:v>
                </c:pt>
                <c:pt idx="252">
                  <c:v>0.99491257361790042</c:v>
                </c:pt>
                <c:pt idx="253">
                  <c:v>0.99503343560559665</c:v>
                </c:pt>
                <c:pt idx="254">
                  <c:v>0.99515372206001818</c:v>
                </c:pt>
                <c:pt idx="255">
                  <c:v>0.99527113084806595</c:v>
                </c:pt>
                <c:pt idx="256">
                  <c:v>0.9953865252696521</c:v>
                </c:pt>
                <c:pt idx="257">
                  <c:v>0.99550134415796354</c:v>
                </c:pt>
                <c:pt idx="258">
                  <c:v>0.99561587527963757</c:v>
                </c:pt>
                <c:pt idx="259">
                  <c:v>0.99572666543502575</c:v>
                </c:pt>
                <c:pt idx="260">
                  <c:v>0.9958360167572271</c:v>
                </c:pt>
                <c:pt idx="261">
                  <c:v>0.99594306594632953</c:v>
                </c:pt>
                <c:pt idx="262">
                  <c:v>0.99604838853560773</c:v>
                </c:pt>
                <c:pt idx="263">
                  <c:v>0.9961516967584243</c:v>
                </c:pt>
                <c:pt idx="264">
                  <c:v>0.99625414168132875</c:v>
                </c:pt>
                <c:pt idx="265">
                  <c:v>0.99635486000440898</c:v>
                </c:pt>
                <c:pt idx="266">
                  <c:v>0.99645241289447806</c:v>
                </c:pt>
                <c:pt idx="267">
                  <c:v>0.99654852695136031</c:v>
                </c:pt>
                <c:pt idx="268">
                  <c:v>0.99664464100824257</c:v>
                </c:pt>
                <c:pt idx="269">
                  <c:v>0.99673816516538849</c:v>
                </c:pt>
                <c:pt idx="270">
                  <c:v>0.99682708505633644</c:v>
                </c:pt>
                <c:pt idx="271">
                  <c:v>0.99691341504754805</c:v>
                </c:pt>
                <c:pt idx="272">
                  <c:v>0.99699974503875965</c:v>
                </c:pt>
                <c:pt idx="273">
                  <c:v>0.99708578726333386</c:v>
                </c:pt>
                <c:pt idx="274">
                  <c:v>0.99717182948790806</c:v>
                </c:pt>
                <c:pt idx="275">
                  <c:v>0.99725672064593285</c:v>
                </c:pt>
                <c:pt idx="276">
                  <c:v>0.99734132403732023</c:v>
                </c:pt>
                <c:pt idx="277">
                  <c:v>0.99742592742870761</c:v>
                </c:pt>
                <c:pt idx="278">
                  <c:v>0.99750966752018289</c:v>
                </c:pt>
                <c:pt idx="279">
                  <c:v>0.99759311984502075</c:v>
                </c:pt>
                <c:pt idx="280">
                  <c:v>0.99767311897021016</c:v>
                </c:pt>
                <c:pt idx="281">
                  <c:v>0.99775283032876216</c:v>
                </c:pt>
                <c:pt idx="282">
                  <c:v>0.99783167838740205</c:v>
                </c:pt>
                <c:pt idx="283">
                  <c:v>0.99790937537949254</c:v>
                </c:pt>
                <c:pt idx="284">
                  <c:v>0.99798678460494561</c:v>
                </c:pt>
                <c:pt idx="285">
                  <c:v>0.99806246723057446</c:v>
                </c:pt>
                <c:pt idx="286">
                  <c:v>0.99813527218982956</c:v>
                </c:pt>
                <c:pt idx="287">
                  <c:v>0.99820721384917255</c:v>
                </c:pt>
                <c:pt idx="288">
                  <c:v>0.99827483900895497</c:v>
                </c:pt>
                <c:pt idx="289">
                  <c:v>0.99834044980227576</c:v>
                </c:pt>
                <c:pt idx="290">
                  <c:v>0.99840577282895926</c:v>
                </c:pt>
                <c:pt idx="291">
                  <c:v>0.99847052032236794</c:v>
                </c:pt>
                <c:pt idx="292">
                  <c:v>0.99852634705001808</c:v>
                </c:pt>
                <c:pt idx="293">
                  <c:v>0.99857843281138237</c:v>
                </c:pt>
                <c:pt idx="294">
                  <c:v>0.99862994303947195</c:v>
                </c:pt>
                <c:pt idx="295">
                  <c:v>0.99868116550092412</c:v>
                </c:pt>
                <c:pt idx="296">
                  <c:v>0.99873094912918947</c:v>
                </c:pt>
                <c:pt idx="297">
                  <c:v>0.99878044499081742</c:v>
                </c:pt>
                <c:pt idx="298">
                  <c:v>0.99882965308580807</c:v>
                </c:pt>
                <c:pt idx="299">
                  <c:v>0.99887886118079872</c:v>
                </c:pt>
                <c:pt idx="300">
                  <c:v>0.99892547937605303</c:v>
                </c:pt>
                <c:pt idx="301">
                  <c:v>0.99897094650475782</c:v>
                </c:pt>
                <c:pt idx="302">
                  <c:v>0.9990158381001879</c:v>
                </c:pt>
                <c:pt idx="303">
                  <c:v>0.99905929086243106</c:v>
                </c:pt>
                <c:pt idx="304">
                  <c:v>0.99910015372493788</c:v>
                </c:pt>
                <c:pt idx="305">
                  <c:v>0.99913785115443365</c:v>
                </c:pt>
                <c:pt idx="306">
                  <c:v>0.99917526081729202</c:v>
                </c:pt>
                <c:pt idx="307">
                  <c:v>0.99921238271351298</c:v>
                </c:pt>
                <c:pt idx="308">
                  <c:v>0.99924950460973394</c:v>
                </c:pt>
                <c:pt idx="309">
                  <c:v>0.9992860509726802</c:v>
                </c:pt>
                <c:pt idx="310">
                  <c:v>0.99932230956898904</c:v>
                </c:pt>
                <c:pt idx="311">
                  <c:v>0.99935799263202318</c:v>
                </c:pt>
                <c:pt idx="312">
                  <c:v>0.99939252462850781</c:v>
                </c:pt>
                <c:pt idx="313">
                  <c:v>0.99942705662499243</c:v>
                </c:pt>
                <c:pt idx="314">
                  <c:v>0.99946101308820234</c:v>
                </c:pt>
                <c:pt idx="315">
                  <c:v>0.99949381848486274</c:v>
                </c:pt>
                <c:pt idx="316">
                  <c:v>0.99952547281497361</c:v>
                </c:pt>
                <c:pt idx="317">
                  <c:v>0.99955540054526026</c:v>
                </c:pt>
                <c:pt idx="318">
                  <c:v>0.9995841772089975</c:v>
                </c:pt>
                <c:pt idx="319">
                  <c:v>0.99961180280618522</c:v>
                </c:pt>
                <c:pt idx="320">
                  <c:v>0.99963914063673553</c:v>
                </c:pt>
                <c:pt idx="321">
                  <c:v>0.99966532740073644</c:v>
                </c:pt>
                <c:pt idx="322">
                  <c:v>0.99969093863146252</c:v>
                </c:pt>
                <c:pt idx="323">
                  <c:v>0.99971511102900179</c:v>
                </c:pt>
                <c:pt idx="324">
                  <c:v>0.99973899565990365</c:v>
                </c:pt>
                <c:pt idx="325">
                  <c:v>0.99975971485779447</c:v>
                </c:pt>
                <c:pt idx="326">
                  <c:v>0.99978043405568529</c:v>
                </c:pt>
                <c:pt idx="327">
                  <c:v>0.99980086548693869</c:v>
                </c:pt>
                <c:pt idx="328">
                  <c:v>0.99982014585164258</c:v>
                </c:pt>
                <c:pt idx="329">
                  <c:v>0.99983798738315965</c:v>
                </c:pt>
                <c:pt idx="330">
                  <c:v>0.99985554114803932</c:v>
                </c:pt>
                <c:pt idx="331">
                  <c:v>0.99987280714628168</c:v>
                </c:pt>
                <c:pt idx="332">
                  <c:v>0.99989007314452405</c:v>
                </c:pt>
                <c:pt idx="333">
                  <c:v>0.9999061880762169</c:v>
                </c:pt>
                <c:pt idx="334">
                  <c:v>0.99991942534153599</c:v>
                </c:pt>
                <c:pt idx="335">
                  <c:v>0.99993064824039346</c:v>
                </c:pt>
                <c:pt idx="336">
                  <c:v>0.99994072007270152</c:v>
                </c:pt>
                <c:pt idx="337">
                  <c:v>0.99994992860509746</c:v>
                </c:pt>
                <c:pt idx="338">
                  <c:v>0.999958849370856</c:v>
                </c:pt>
                <c:pt idx="339">
                  <c:v>0.99996604353679031</c:v>
                </c:pt>
                <c:pt idx="340">
                  <c:v>0.99997266216944991</c:v>
                </c:pt>
                <c:pt idx="341">
                  <c:v>0.9999784175021974</c:v>
                </c:pt>
                <c:pt idx="342">
                  <c:v>0.99998359730167008</c:v>
                </c:pt>
                <c:pt idx="343">
                  <c:v>0.99998820156786805</c:v>
                </c:pt>
                <c:pt idx="344">
                  <c:v>0.99999194253415391</c:v>
                </c:pt>
                <c:pt idx="345">
                  <c:v>0.99999539573380236</c:v>
                </c:pt>
                <c:pt idx="346">
                  <c:v>0.9999979856335387</c:v>
                </c:pt>
                <c:pt idx="347">
                  <c:v>1.0000000000000002</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402</c:f>
              <c:strCache>
                <c:ptCount val="401"/>
                <c:pt idx="0">
                  <c:v>Ruinart</c:v>
                </c:pt>
                <c:pt idx="1">
                  <c:v>Nicolas</c:v>
                </c:pt>
                <c:pt idx="2">
                  <c:v>Deutz</c:v>
                </c:pt>
                <c:pt idx="3">
                  <c:v>Ruinart</c:v>
                </c:pt>
                <c:pt idx="4">
                  <c:v>Malard</c:v>
                </c:pt>
                <c:pt idx="5">
                  <c:v>Laurent Per</c:v>
                </c:pt>
                <c:pt idx="6">
                  <c:v>Heidsieck &amp;</c:v>
                </c:pt>
                <c:pt idx="7">
                  <c:v>Ayala</c:v>
                </c:pt>
                <c:pt idx="8">
                  <c:v>Nicolas Feu</c:v>
                </c:pt>
                <c:pt idx="9">
                  <c:v>De Bligny</c:v>
                </c:pt>
                <c:pt idx="10">
                  <c:v>Ruinart</c:v>
                </c:pt>
                <c:pt idx="11">
                  <c:v>Taittinger</c:v>
                </c:pt>
                <c:pt idx="12">
                  <c:v>Canard Duch</c:v>
                </c:pt>
                <c:pt idx="13">
                  <c:v>Bollinger</c:v>
                </c:pt>
                <c:pt idx="14">
                  <c:v>Besserat De</c:v>
                </c:pt>
                <c:pt idx="15">
                  <c:v>Ruinart</c:v>
                </c:pt>
                <c:pt idx="16">
                  <c:v>Demoiselle</c:v>
                </c:pt>
                <c:pt idx="17">
                  <c:v>Perrier Jou</c:v>
                </c:pt>
                <c:pt idx="18">
                  <c:v>Ruinart</c:v>
                </c:pt>
                <c:pt idx="19">
                  <c:v>All Others</c:v>
                </c:pt>
                <c:pt idx="20">
                  <c:v>Ruinart</c:v>
                </c:pt>
                <c:pt idx="21">
                  <c:v>Deutz</c:v>
                </c:pt>
                <c:pt idx="22">
                  <c:v>All Others</c:v>
                </c:pt>
                <c:pt idx="23">
                  <c:v>Laurent Per</c:v>
                </c:pt>
                <c:pt idx="24">
                  <c:v>Campari: Al</c:v>
                </c:pt>
                <c:pt idx="25">
                  <c:v>Vesselle</c:v>
                </c:pt>
                <c:pt idx="26">
                  <c:v>Roederer</c:v>
                </c:pt>
                <c:pt idx="27">
                  <c:v>Bottega</c:v>
                </c:pt>
                <c:pt idx="28">
                  <c:v>Pommery</c:v>
                </c:pt>
                <c:pt idx="29">
                  <c:v>Dom Perigno</c:v>
                </c:pt>
                <c:pt idx="30">
                  <c:v>Deutz</c:v>
                </c:pt>
                <c:pt idx="31">
                  <c:v>All Others</c:v>
                </c:pt>
                <c:pt idx="32">
                  <c:v>Moët &amp; Chan</c:v>
                </c:pt>
                <c:pt idx="33">
                  <c:v>Veuve Clicq</c:v>
                </c:pt>
                <c:pt idx="34">
                  <c:v>Malard</c:v>
                </c:pt>
                <c:pt idx="35">
                  <c:v>Ruinart</c:v>
                </c:pt>
                <c:pt idx="36">
                  <c:v>Savian</c:v>
                </c:pt>
                <c:pt idx="37">
                  <c:v>Veuve Clicq</c:v>
                </c:pt>
                <c:pt idx="38">
                  <c:v>Demoiselle</c:v>
                </c:pt>
                <c:pt idx="39">
                  <c:v>Patriarche</c:v>
                </c:pt>
                <c:pt idx="40">
                  <c:v>Dom Perigno</c:v>
                </c:pt>
                <c:pt idx="41">
                  <c:v>Nicolas</c:v>
                </c:pt>
                <c:pt idx="42">
                  <c:v>Taittinger</c:v>
                </c:pt>
                <c:pt idx="43">
                  <c:v>Henriot</c:v>
                </c:pt>
                <c:pt idx="44">
                  <c:v>Laurent Per</c:v>
                </c:pt>
                <c:pt idx="45">
                  <c:v>Mure</c:v>
                </c:pt>
                <c:pt idx="46">
                  <c:v>De Chanceny</c:v>
                </c:pt>
                <c:pt idx="47">
                  <c:v>Savian</c:v>
                </c:pt>
                <c:pt idx="48">
                  <c:v>Veuve Clicq</c:v>
                </c:pt>
                <c:pt idx="49">
                  <c:v>All Others</c:v>
                </c:pt>
                <c:pt idx="50">
                  <c:v>Malard</c:v>
                </c:pt>
                <c:pt idx="51">
                  <c:v>Ruinart</c:v>
                </c:pt>
                <c:pt idx="52">
                  <c:v>French Bloo</c:v>
                </c:pt>
                <c:pt idx="53">
                  <c:v>Roederer</c:v>
                </c:pt>
                <c:pt idx="54">
                  <c:v>De Venoge</c:v>
                </c:pt>
                <c:pt idx="55">
                  <c:v>Besserat De</c:v>
                </c:pt>
                <c:pt idx="56">
                  <c:v>Nicolas Feu</c:v>
                </c:pt>
                <c:pt idx="57">
                  <c:v>Ruinart</c:v>
                </c:pt>
                <c:pt idx="58">
                  <c:v>Moët &amp; Chan</c:v>
                </c:pt>
                <c:pt idx="59">
                  <c:v>Deutz</c:v>
                </c:pt>
                <c:pt idx="60">
                  <c:v>Bouvet-Ladu</c:v>
                </c:pt>
                <c:pt idx="61">
                  <c:v>Piper Heids</c:v>
                </c:pt>
                <c:pt idx="62">
                  <c:v>Louis Marti</c:v>
                </c:pt>
                <c:pt idx="63">
                  <c:v>Moët &amp; Chan</c:v>
                </c:pt>
                <c:pt idx="64">
                  <c:v>Nicolas</c:v>
                </c:pt>
                <c:pt idx="65">
                  <c:v>Ruinart</c:v>
                </c:pt>
                <c:pt idx="66">
                  <c:v>Nicolas Feu</c:v>
                </c:pt>
                <c:pt idx="67">
                  <c:v>Nicolas</c:v>
                </c:pt>
                <c:pt idx="68">
                  <c:v>Lyre's</c:v>
                </c:pt>
                <c:pt idx="69">
                  <c:v>Campari: Al</c:v>
                </c:pt>
                <c:pt idx="70">
                  <c:v>Lanson</c:v>
                </c:pt>
                <c:pt idx="71">
                  <c:v>Roederer</c:v>
                </c:pt>
                <c:pt idx="72">
                  <c:v>Malard</c:v>
                </c:pt>
                <c:pt idx="73">
                  <c:v>Nicolas Feu</c:v>
                </c:pt>
                <c:pt idx="74">
                  <c:v>Malard</c:v>
                </c:pt>
                <c:pt idx="75">
                  <c:v>Canard Duch</c:v>
                </c:pt>
                <c:pt idx="76">
                  <c:v>Henriot</c:v>
                </c:pt>
                <c:pt idx="77">
                  <c:v>Delamotte</c:v>
                </c:pt>
                <c:pt idx="78">
                  <c:v>De Chanceny</c:v>
                </c:pt>
                <c:pt idx="79">
                  <c:v>Krug</c:v>
                </c:pt>
                <c:pt idx="80">
                  <c:v>Bollinger</c:v>
                </c:pt>
                <c:pt idx="81">
                  <c:v>De Bligny</c:v>
                </c:pt>
                <c:pt idx="82">
                  <c:v>Laurent Per</c:v>
                </c:pt>
                <c:pt idx="83">
                  <c:v>Henriot</c:v>
                </c:pt>
                <c:pt idx="84">
                  <c:v>Besserat De</c:v>
                </c:pt>
                <c:pt idx="85">
                  <c:v>All Others</c:v>
                </c:pt>
                <c:pt idx="86">
                  <c:v>Pommery</c:v>
                </c:pt>
                <c:pt idx="87">
                  <c:v>Vranken</c:v>
                </c:pt>
                <c:pt idx="88">
                  <c:v>Dom Perigno</c:v>
                </c:pt>
                <c:pt idx="89">
                  <c:v>Perrier Jou</c:v>
                </c:pt>
                <c:pt idx="90">
                  <c:v>Ayala</c:v>
                </c:pt>
                <c:pt idx="91">
                  <c:v>Roederer</c:v>
                </c:pt>
                <c:pt idx="92">
                  <c:v>Roederer</c:v>
                </c:pt>
                <c:pt idx="93">
                  <c:v>Henriot</c:v>
                </c:pt>
                <c:pt idx="94">
                  <c:v>De Venoge</c:v>
                </c:pt>
                <c:pt idx="95">
                  <c:v>Roederer</c:v>
                </c:pt>
                <c:pt idx="96">
                  <c:v>Patriarche</c:v>
                </c:pt>
                <c:pt idx="97">
                  <c:v>Roederer</c:v>
                </c:pt>
                <c:pt idx="98">
                  <c:v>Ruinart</c:v>
                </c:pt>
                <c:pt idx="99">
                  <c:v>Bollinger</c:v>
                </c:pt>
                <c:pt idx="100">
                  <c:v>De Venoge</c:v>
                </c:pt>
                <c:pt idx="101">
                  <c:v>Ruinart</c:v>
                </c:pt>
                <c:pt idx="102">
                  <c:v>Canard Duch</c:v>
                </c:pt>
                <c:pt idx="103">
                  <c:v>Ruinart</c:v>
                </c:pt>
                <c:pt idx="104">
                  <c:v>Nicolas</c:v>
                </c:pt>
                <c:pt idx="105">
                  <c:v>Roederer</c:v>
                </c:pt>
                <c:pt idx="106">
                  <c:v>Roederer</c:v>
                </c:pt>
                <c:pt idx="107">
                  <c:v>Ruinart</c:v>
                </c:pt>
                <c:pt idx="108">
                  <c:v>Dom Perigno</c:v>
                </c:pt>
                <c:pt idx="109">
                  <c:v>Bottega</c:v>
                </c:pt>
                <c:pt idx="110">
                  <c:v>Kriter</c:v>
                </c:pt>
                <c:pt idx="111">
                  <c:v>Malard</c:v>
                </c:pt>
                <c:pt idx="112">
                  <c:v>De Venoge</c:v>
                </c:pt>
                <c:pt idx="113">
                  <c:v>Deutz</c:v>
                </c:pt>
                <c:pt idx="114">
                  <c:v>Ruinart</c:v>
                </c:pt>
                <c:pt idx="115">
                  <c:v>Vranken</c:v>
                </c:pt>
                <c:pt idx="116">
                  <c:v>Moët &amp; Chan</c:v>
                </c:pt>
                <c:pt idx="117">
                  <c:v>Deutz</c:v>
                </c:pt>
                <c:pt idx="118">
                  <c:v>Nicolas</c:v>
                </c:pt>
                <c:pt idx="119">
                  <c:v>Roederer</c:v>
                </c:pt>
                <c:pt idx="120">
                  <c:v>Canard Duch</c:v>
                </c:pt>
                <c:pt idx="121">
                  <c:v>Laurent Per</c:v>
                </c:pt>
                <c:pt idx="122">
                  <c:v>Veuve Clicq</c:v>
                </c:pt>
                <c:pt idx="123">
                  <c:v>Canard Duch</c:v>
                </c:pt>
                <c:pt idx="124">
                  <c:v>Laurent Per</c:v>
                </c:pt>
                <c:pt idx="125">
                  <c:v>Nicolas</c:v>
                </c:pt>
                <c:pt idx="126">
                  <c:v>Cru La Maqu</c:v>
                </c:pt>
                <c:pt idx="127">
                  <c:v>Nicolas</c:v>
                </c:pt>
                <c:pt idx="128">
                  <c:v>Contarini</c:v>
                </c:pt>
                <c:pt idx="129">
                  <c:v>Bollinger</c:v>
                </c:pt>
                <c:pt idx="130">
                  <c:v>Nicolas Feu</c:v>
                </c:pt>
                <c:pt idx="131">
                  <c:v>All Others</c:v>
                </c:pt>
                <c:pt idx="132">
                  <c:v>Nicolas</c:v>
                </c:pt>
                <c:pt idx="133">
                  <c:v>All Others</c:v>
                </c:pt>
                <c:pt idx="134">
                  <c:v>All Others</c:v>
                </c:pt>
                <c:pt idx="135">
                  <c:v>Nicolas</c:v>
                </c:pt>
                <c:pt idx="136">
                  <c:v>All Others</c:v>
                </c:pt>
                <c:pt idx="137">
                  <c:v>All Others</c:v>
                </c:pt>
                <c:pt idx="138">
                  <c:v>Nicolas</c:v>
                </c:pt>
                <c:pt idx="139">
                  <c:v>All Others</c:v>
                </c:pt>
                <c:pt idx="140">
                  <c:v>Roederer</c:v>
                </c:pt>
                <c:pt idx="141">
                  <c:v>All Others</c:v>
                </c:pt>
                <c:pt idx="142">
                  <c:v>Taittinger</c:v>
                </c:pt>
                <c:pt idx="143">
                  <c:v>Roederer</c:v>
                </c:pt>
                <c:pt idx="144">
                  <c:v>Veuve Clicq</c:v>
                </c:pt>
                <c:pt idx="145">
                  <c:v>Perrier Jou</c:v>
                </c:pt>
                <c:pt idx="146">
                  <c:v>Besserat De</c:v>
                </c:pt>
                <c:pt idx="147">
                  <c:v>Demoiselle</c:v>
                </c:pt>
                <c:pt idx="148">
                  <c:v>Nicolas</c:v>
                </c:pt>
                <c:pt idx="149">
                  <c:v>Laurent Per</c:v>
                </c:pt>
                <c:pt idx="150">
                  <c:v>Laurent Per</c:v>
                </c:pt>
                <c:pt idx="151">
                  <c:v>Pommery</c:v>
                </c:pt>
                <c:pt idx="152">
                  <c:v>Nicolas</c:v>
                </c:pt>
                <c:pt idx="153">
                  <c:v>Laurent Per</c:v>
                </c:pt>
                <c:pt idx="154">
                  <c:v>Ruinart</c:v>
                </c:pt>
                <c:pt idx="155">
                  <c:v>Roederer</c:v>
                </c:pt>
                <c:pt idx="156">
                  <c:v>Lanson</c:v>
                </c:pt>
                <c:pt idx="157">
                  <c:v>All Others</c:v>
                </c:pt>
                <c:pt idx="158">
                  <c:v>Ruinart</c:v>
                </c:pt>
                <c:pt idx="159">
                  <c:v>All Others</c:v>
                </c:pt>
                <c:pt idx="160">
                  <c:v>Canard Duch</c:v>
                </c:pt>
                <c:pt idx="161">
                  <c:v>All Others</c:v>
                </c:pt>
                <c:pt idx="162">
                  <c:v>Vesselle</c:v>
                </c:pt>
                <c:pt idx="163">
                  <c:v>Pommery</c:v>
                </c:pt>
                <c:pt idx="164">
                  <c:v>Moët &amp; Chan</c:v>
                </c:pt>
                <c:pt idx="165">
                  <c:v>Pommery</c:v>
                </c:pt>
                <c:pt idx="166">
                  <c:v>Nicolas</c:v>
                </c:pt>
                <c:pt idx="167">
                  <c:v>Louis Marti</c:v>
                </c:pt>
                <c:pt idx="168">
                  <c:v>Roederer</c:v>
                </c:pt>
                <c:pt idx="169">
                  <c:v>Dom Perigno</c:v>
                </c:pt>
                <c:pt idx="170">
                  <c:v>Contarini</c:v>
                </c:pt>
                <c:pt idx="171">
                  <c:v>All Others</c:v>
                </c:pt>
                <c:pt idx="172">
                  <c:v>All Others</c:v>
                </c:pt>
                <c:pt idx="173">
                  <c:v>Ruinart</c:v>
                </c:pt>
                <c:pt idx="174">
                  <c:v>Ruinart</c:v>
                </c:pt>
                <c:pt idx="175">
                  <c:v>Roederer</c:v>
                </c:pt>
                <c:pt idx="176">
                  <c:v>Demoiselle</c:v>
                </c:pt>
                <c:pt idx="177">
                  <c:v>Nicolas</c:v>
                </c:pt>
                <c:pt idx="178">
                  <c:v>Perrier Jou</c:v>
                </c:pt>
                <c:pt idx="179">
                  <c:v>Vranken</c:v>
                </c:pt>
                <c:pt idx="180">
                  <c:v>Taittinger</c:v>
                </c:pt>
                <c:pt idx="181">
                  <c:v>Deutz</c:v>
                </c:pt>
                <c:pt idx="182">
                  <c:v>Pommery</c:v>
                </c:pt>
                <c:pt idx="183">
                  <c:v>Laurent Per</c:v>
                </c:pt>
                <c:pt idx="184">
                  <c:v>Delamotte</c:v>
                </c:pt>
                <c:pt idx="185">
                  <c:v>Veuve Clicq</c:v>
                </c:pt>
                <c:pt idx="186">
                  <c:v>Veuve Clicq</c:v>
                </c:pt>
                <c:pt idx="187">
                  <c:v>Deutz</c:v>
                </c:pt>
                <c:pt idx="188">
                  <c:v>Ayala</c:v>
                </c:pt>
                <c:pt idx="189">
                  <c:v>Nicolas</c:v>
                </c:pt>
                <c:pt idx="190">
                  <c:v>Roederer</c:v>
                </c:pt>
                <c:pt idx="191">
                  <c:v>Pommery</c:v>
                </c:pt>
                <c:pt idx="192">
                  <c:v>Dom Perigno</c:v>
                </c:pt>
                <c:pt idx="193">
                  <c:v>Bollinger</c:v>
                </c:pt>
                <c:pt idx="194">
                  <c:v>Canard Duch</c:v>
                </c:pt>
                <c:pt idx="195">
                  <c:v>Piper Heids</c:v>
                </c:pt>
                <c:pt idx="196">
                  <c:v>Piper Heids</c:v>
                </c:pt>
                <c:pt idx="197">
                  <c:v>Nicolas</c:v>
                </c:pt>
                <c:pt idx="198">
                  <c:v>All Others</c:v>
                </c:pt>
                <c:pt idx="199">
                  <c:v>Moët &amp; Chan</c:v>
                </c:pt>
                <c:pt idx="200">
                  <c:v>Vesselle</c:v>
                </c:pt>
                <c:pt idx="201">
                  <c:v>Ruinart</c:v>
                </c:pt>
                <c:pt idx="202">
                  <c:v>Nicolas</c:v>
                </c:pt>
                <c:pt idx="203">
                  <c:v>Laurent Per</c:v>
                </c:pt>
                <c:pt idx="204">
                  <c:v>Besserat De</c:v>
                </c:pt>
                <c:pt idx="205">
                  <c:v>Roederer</c:v>
                </c:pt>
                <c:pt idx="206">
                  <c:v>Taittinger</c:v>
                </c:pt>
                <c:pt idx="207">
                  <c:v>Malard</c:v>
                </c:pt>
                <c:pt idx="208">
                  <c:v>Bollinger</c:v>
                </c:pt>
                <c:pt idx="209">
                  <c:v>Bollinger</c:v>
                </c:pt>
                <c:pt idx="210">
                  <c:v>All Others</c:v>
                </c:pt>
                <c:pt idx="211">
                  <c:v>Piper Heids</c:v>
                </c:pt>
                <c:pt idx="212">
                  <c:v>Bollinger</c:v>
                </c:pt>
                <c:pt idx="213">
                  <c:v>Bouvet-Ladu</c:v>
                </c:pt>
                <c:pt idx="214">
                  <c:v>All Others</c:v>
                </c:pt>
                <c:pt idx="215">
                  <c:v>Moët &amp; Chan</c:v>
                </c:pt>
                <c:pt idx="216">
                  <c:v>Bouvet-Ladu</c:v>
                </c:pt>
                <c:pt idx="217">
                  <c:v>All Others</c:v>
                </c:pt>
                <c:pt idx="218">
                  <c:v>Henriot</c:v>
                </c:pt>
                <c:pt idx="219">
                  <c:v>Roederer</c:v>
                </c:pt>
                <c:pt idx="220">
                  <c:v>Deutz</c:v>
                </c:pt>
                <c:pt idx="221">
                  <c:v>Dom Perigno</c:v>
                </c:pt>
                <c:pt idx="222">
                  <c:v>Canard Duch</c:v>
                </c:pt>
                <c:pt idx="223">
                  <c:v>Moët &amp; Chan</c:v>
                </c:pt>
                <c:pt idx="224">
                  <c:v>Deutz</c:v>
                </c:pt>
                <c:pt idx="225">
                  <c:v>Nicolas</c:v>
                </c:pt>
                <c:pt idx="226">
                  <c:v>De Venoge</c:v>
                </c:pt>
                <c:pt idx="227">
                  <c:v>Ruinart</c:v>
                </c:pt>
                <c:pt idx="228">
                  <c:v>Nicolas</c:v>
                </c:pt>
                <c:pt idx="229">
                  <c:v>Bouvet-Ladu</c:v>
                </c:pt>
                <c:pt idx="230">
                  <c:v>All Others</c:v>
                </c:pt>
                <c:pt idx="231">
                  <c:v>Laurent Per</c:v>
                </c:pt>
                <c:pt idx="232">
                  <c:v>Henriot</c:v>
                </c:pt>
                <c:pt idx="233">
                  <c:v>De Venoge</c:v>
                </c:pt>
                <c:pt idx="234">
                  <c:v>Krug</c:v>
                </c:pt>
                <c:pt idx="235">
                  <c:v>Perrier Jou</c:v>
                </c:pt>
                <c:pt idx="236">
                  <c:v>Nicolas</c:v>
                </c:pt>
                <c:pt idx="237">
                  <c:v>De Venoge</c:v>
                </c:pt>
                <c:pt idx="238">
                  <c:v>Lanson</c:v>
                </c:pt>
                <c:pt idx="239">
                  <c:v>Roederer</c:v>
                </c:pt>
                <c:pt idx="240">
                  <c:v>Pommery</c:v>
                </c:pt>
                <c:pt idx="241">
                  <c:v>All Others</c:v>
                </c:pt>
                <c:pt idx="242">
                  <c:v>Deutz</c:v>
                </c:pt>
                <c:pt idx="243">
                  <c:v>Krug</c:v>
                </c:pt>
                <c:pt idx="244">
                  <c:v>Taittinger</c:v>
                </c:pt>
                <c:pt idx="245">
                  <c:v>Ruinart</c:v>
                </c:pt>
                <c:pt idx="246">
                  <c:v>Laurent Per</c:v>
                </c:pt>
                <c:pt idx="247">
                  <c:v>Celene</c:v>
                </c:pt>
                <c:pt idx="248">
                  <c:v>Moët &amp; Chan</c:v>
                </c:pt>
                <c:pt idx="249">
                  <c:v>De Venoge</c:v>
                </c:pt>
                <c:pt idx="250">
                  <c:v>All Others</c:v>
                </c:pt>
                <c:pt idx="251">
                  <c:v>All Others</c:v>
                </c:pt>
                <c:pt idx="252">
                  <c:v>All Others</c:v>
                </c:pt>
                <c:pt idx="253">
                  <c:v>Krug</c:v>
                </c:pt>
                <c:pt idx="254">
                  <c:v>Roederer</c:v>
                </c:pt>
                <c:pt idx="255">
                  <c:v>Veuve Clicq</c:v>
                </c:pt>
                <c:pt idx="256">
                  <c:v>Nicolas Feu</c:v>
                </c:pt>
                <c:pt idx="257">
                  <c:v>All Others</c:v>
                </c:pt>
                <c:pt idx="258">
                  <c:v>Deutz</c:v>
                </c:pt>
                <c:pt idx="259">
                  <c:v>Dom Perigno</c:v>
                </c:pt>
                <c:pt idx="260">
                  <c:v>Roederer</c:v>
                </c:pt>
                <c:pt idx="261">
                  <c:v>Roederer</c:v>
                </c:pt>
                <c:pt idx="262">
                  <c:v>Veuve Clicq</c:v>
                </c:pt>
                <c:pt idx="263">
                  <c:v>Laurent Per</c:v>
                </c:pt>
                <c:pt idx="264">
                  <c:v>All Others</c:v>
                </c:pt>
                <c:pt idx="265">
                  <c:v>Dom Perigno</c:v>
                </c:pt>
                <c:pt idx="266">
                  <c:v>Piper Heids</c:v>
                </c:pt>
                <c:pt idx="267">
                  <c:v>Celene</c:v>
                </c:pt>
                <c:pt idx="268">
                  <c:v>Laurent Per</c:v>
                </c:pt>
                <c:pt idx="269">
                  <c:v>Bollinger</c:v>
                </c:pt>
                <c:pt idx="270">
                  <c:v>Bollinger</c:v>
                </c:pt>
                <c:pt idx="271">
                  <c:v>Ruinart</c:v>
                </c:pt>
                <c:pt idx="272">
                  <c:v>Pommery</c:v>
                </c:pt>
                <c:pt idx="273">
                  <c:v>Canard Duch</c:v>
                </c:pt>
                <c:pt idx="274">
                  <c:v>Veuve Clicq</c:v>
                </c:pt>
                <c:pt idx="275">
                  <c:v>Perrier Jou</c:v>
                </c:pt>
                <c:pt idx="276">
                  <c:v>Deutz</c:v>
                </c:pt>
                <c:pt idx="277">
                  <c:v>Ruinart</c:v>
                </c:pt>
                <c:pt idx="278">
                  <c:v>Taittinger</c:v>
                </c:pt>
                <c:pt idx="279">
                  <c:v>Dom Perigno</c:v>
                </c:pt>
                <c:pt idx="280">
                  <c:v>Deutz</c:v>
                </c:pt>
                <c:pt idx="281">
                  <c:v>Martel</c:v>
                </c:pt>
                <c:pt idx="282">
                  <c:v>Perrier Jou</c:v>
                </c:pt>
                <c:pt idx="283">
                  <c:v>All Others</c:v>
                </c:pt>
                <c:pt idx="284">
                  <c:v>Moët &amp; Chan</c:v>
                </c:pt>
                <c:pt idx="285">
                  <c:v>Bottega</c:v>
                </c:pt>
                <c:pt idx="286">
                  <c:v>Delamotte</c:v>
                </c:pt>
                <c:pt idx="287">
                  <c:v>All Others</c:v>
                </c:pt>
                <c:pt idx="288">
                  <c:v>Roederer</c:v>
                </c:pt>
                <c:pt idx="289">
                  <c:v>Bollinger</c:v>
                </c:pt>
                <c:pt idx="290">
                  <c:v>De Bligny</c:v>
                </c:pt>
                <c:pt idx="291">
                  <c:v>Ruinart</c:v>
                </c:pt>
                <c:pt idx="292">
                  <c:v>Bollinger</c:v>
                </c:pt>
                <c:pt idx="293">
                  <c:v>Malard</c:v>
                </c:pt>
                <c:pt idx="294">
                  <c:v>Pommery</c:v>
                </c:pt>
                <c:pt idx="295">
                  <c:v>Roederer</c:v>
                </c:pt>
                <c:pt idx="296">
                  <c:v>All Others</c:v>
                </c:pt>
                <c:pt idx="297">
                  <c:v>Bollinger</c:v>
                </c:pt>
                <c:pt idx="298">
                  <c:v>Ruinart</c:v>
                </c:pt>
                <c:pt idx="299">
                  <c:v>Ayala</c:v>
                </c:pt>
                <c:pt idx="300">
                  <c:v>Lanson</c:v>
                </c:pt>
                <c:pt idx="301">
                  <c:v>Delamotte</c:v>
                </c:pt>
                <c:pt idx="302">
                  <c:v>Jaillance</c:v>
                </c:pt>
                <c:pt idx="303">
                  <c:v>All Others</c:v>
                </c:pt>
                <c:pt idx="304">
                  <c:v>Ruinart</c:v>
                </c:pt>
                <c:pt idx="305">
                  <c:v>Roederer</c:v>
                </c:pt>
                <c:pt idx="306">
                  <c:v>De Venoge</c:v>
                </c:pt>
                <c:pt idx="307">
                  <c:v>De Venoge</c:v>
                </c:pt>
                <c:pt idx="308">
                  <c:v>Ayala</c:v>
                </c:pt>
                <c:pt idx="309">
                  <c:v>Laurent Per</c:v>
                </c:pt>
                <c:pt idx="310">
                  <c:v>Perrier Jou</c:v>
                </c:pt>
                <c:pt idx="311">
                  <c:v>All Others</c:v>
                </c:pt>
                <c:pt idx="312">
                  <c:v>Moët &amp; Chan</c:v>
                </c:pt>
                <c:pt idx="313">
                  <c:v>Vesselle</c:v>
                </c:pt>
                <c:pt idx="314">
                  <c:v>Bollinger</c:v>
                </c:pt>
                <c:pt idx="315">
                  <c:v>All Others</c:v>
                </c:pt>
                <c:pt idx="316">
                  <c:v>Besserat De</c:v>
                </c:pt>
                <c:pt idx="317">
                  <c:v>Ayala</c:v>
                </c:pt>
                <c:pt idx="318">
                  <c:v>Canard Duch</c:v>
                </c:pt>
                <c:pt idx="319">
                  <c:v>Demoiselle</c:v>
                </c:pt>
                <c:pt idx="320">
                  <c:v>Ruinart</c:v>
                </c:pt>
                <c:pt idx="321">
                  <c:v>Roederer</c:v>
                </c:pt>
                <c:pt idx="322">
                  <c:v>Deutz</c:v>
                </c:pt>
                <c:pt idx="323">
                  <c:v>Dom Perigno</c:v>
                </c:pt>
                <c:pt idx="324">
                  <c:v>Heidsieck &amp;</c:v>
                </c:pt>
                <c:pt idx="325">
                  <c:v>Dom Perigno</c:v>
                </c:pt>
                <c:pt idx="326">
                  <c:v>Roederer</c:v>
                </c:pt>
                <c:pt idx="327">
                  <c:v>Taittinger</c:v>
                </c:pt>
                <c:pt idx="328">
                  <c:v>All Others</c:v>
                </c:pt>
                <c:pt idx="329">
                  <c:v>Krug</c:v>
                </c:pt>
                <c:pt idx="330">
                  <c:v>Moët &amp; Chan</c:v>
                </c:pt>
                <c:pt idx="331">
                  <c:v>Taittinger</c:v>
                </c:pt>
                <c:pt idx="332">
                  <c:v>Vranken</c:v>
                </c:pt>
                <c:pt idx="333">
                  <c:v>Canard Duch</c:v>
                </c:pt>
                <c:pt idx="334">
                  <c:v>Laurent Per</c:v>
                </c:pt>
                <c:pt idx="335">
                  <c:v>Laurent Per</c:v>
                </c:pt>
                <c:pt idx="336">
                  <c:v>Nicolas Feu</c:v>
                </c:pt>
                <c:pt idx="337">
                  <c:v>Dom Perigno</c:v>
                </c:pt>
                <c:pt idx="338">
                  <c:v>Piper Heids</c:v>
                </c:pt>
                <c:pt idx="339">
                  <c:v>Laurent Per</c:v>
                </c:pt>
                <c:pt idx="340">
                  <c:v>Veuve Clicq</c:v>
                </c:pt>
                <c:pt idx="341">
                  <c:v>All Others</c:v>
                </c:pt>
                <c:pt idx="342">
                  <c:v>Heidsieck &amp;</c:v>
                </c:pt>
                <c:pt idx="343">
                  <c:v>Taittinger</c:v>
                </c:pt>
                <c:pt idx="344">
                  <c:v>Laurent Per</c:v>
                </c:pt>
                <c:pt idx="345">
                  <c:v>All Others</c:v>
                </c:pt>
                <c:pt idx="346">
                  <c:v>Piper Heids</c:v>
                </c:pt>
                <c:pt idx="347">
                  <c:v>Nicolas Feu</c:v>
                </c:pt>
                <c:pt idx="348">
                  <c:v>Ayala</c:v>
                </c:pt>
                <c:pt idx="349">
                  <c:v>Roederer</c:v>
                </c:pt>
                <c:pt idx="350">
                  <c:v>All Others</c:v>
                </c:pt>
                <c:pt idx="351">
                  <c:v>Krug</c:v>
                </c:pt>
                <c:pt idx="352">
                  <c:v>Demoiselle</c:v>
                </c:pt>
                <c:pt idx="353">
                  <c:v>Henriot</c:v>
                </c:pt>
                <c:pt idx="354">
                  <c:v>De Venoge</c:v>
                </c:pt>
                <c:pt idx="355">
                  <c:v>Deutz</c:v>
                </c:pt>
                <c:pt idx="356">
                  <c:v>Nicolas Feu</c:v>
                </c:pt>
                <c:pt idx="357">
                  <c:v>Krug</c:v>
                </c:pt>
                <c:pt idx="358">
                  <c:v>Ruinart</c:v>
                </c:pt>
                <c:pt idx="359">
                  <c:v>Ruinart</c:v>
                </c:pt>
                <c:pt idx="360">
                  <c:v>Bouvet-Ladu</c:v>
                </c:pt>
                <c:pt idx="361">
                  <c:v>De Bligny</c:v>
                </c:pt>
                <c:pt idx="362">
                  <c:v>Moët &amp; Chan</c:v>
                </c:pt>
                <c:pt idx="363">
                  <c:v>Besserat De</c:v>
                </c:pt>
                <c:pt idx="364">
                  <c:v>Bollinger</c:v>
                </c:pt>
                <c:pt idx="365">
                  <c:v>All Others</c:v>
                </c:pt>
                <c:pt idx="366">
                  <c:v>Veuve Clicq</c:v>
                </c:pt>
                <c:pt idx="367">
                  <c:v>All Others</c:v>
                </c:pt>
                <c:pt idx="368">
                  <c:v>Roederer</c:v>
                </c:pt>
                <c:pt idx="369">
                  <c:v>Bouvet-Ladu</c:v>
                </c:pt>
                <c:pt idx="370">
                  <c:v>All Others</c:v>
                </c:pt>
                <c:pt idx="371">
                  <c:v>All Others</c:v>
                </c:pt>
                <c:pt idx="372">
                  <c:v>Laurent Per</c:v>
                </c:pt>
                <c:pt idx="373">
                  <c:v>Taittinger</c:v>
                </c:pt>
                <c:pt idx="374">
                  <c:v>Nicolas</c:v>
                </c:pt>
                <c:pt idx="375">
                  <c:v>Laurent Per</c:v>
                </c:pt>
                <c:pt idx="376">
                  <c:v>All Others</c:v>
                </c:pt>
                <c:pt idx="377">
                  <c:v>Bollinger</c:v>
                </c:pt>
                <c:pt idx="378">
                  <c:v>All Others</c:v>
                </c:pt>
                <c:pt idx="379">
                  <c:v>Mumm</c:v>
                </c:pt>
                <c:pt idx="380">
                  <c:v>Demoiselle</c:v>
                </c:pt>
                <c:pt idx="381">
                  <c:v>Malard</c:v>
                </c:pt>
                <c:pt idx="382">
                  <c:v>Canard Duch</c:v>
                </c:pt>
                <c:pt idx="383">
                  <c:v>Vesselle</c:v>
                </c:pt>
                <c:pt idx="384">
                  <c:v>Piper Heids</c:v>
                </c:pt>
                <c:pt idx="385">
                  <c:v>Pommery</c:v>
                </c:pt>
                <c:pt idx="386">
                  <c:v>All Others</c:v>
                </c:pt>
                <c:pt idx="387">
                  <c:v>Malard</c:v>
                </c:pt>
                <c:pt idx="388">
                  <c:v>Pommery</c:v>
                </c:pt>
                <c:pt idx="389">
                  <c:v>Roederer</c:v>
                </c:pt>
                <c:pt idx="390">
                  <c:v>All Others</c:v>
                </c:pt>
                <c:pt idx="391">
                  <c:v>Taittinger</c:v>
                </c:pt>
                <c:pt idx="392">
                  <c:v>All Others</c:v>
                </c:pt>
                <c:pt idx="393">
                  <c:v>Moët &amp; Chan</c:v>
                </c:pt>
                <c:pt idx="394">
                  <c:v>Moët &amp; Chan</c:v>
                </c:pt>
                <c:pt idx="395">
                  <c:v>Besserat De</c:v>
                </c:pt>
                <c:pt idx="396">
                  <c:v>All Others</c:v>
                </c:pt>
                <c:pt idx="397">
                  <c:v>Moët &amp; Chan</c:v>
                </c:pt>
                <c:pt idx="398">
                  <c:v>Roederer</c:v>
                </c:pt>
                <c:pt idx="399">
                  <c:v>All Others</c:v>
                </c:pt>
                <c:pt idx="400">
                  <c:v>Bottega</c:v>
                </c:pt>
              </c:strCache>
            </c:strRef>
          </c:cat>
          <c:val>
            <c:numRef>
              <c:f>Sheet1!$B$2:$B$402</c:f>
              <c:numCache>
                <c:formatCode>General</c:formatCode>
                <c:ptCount val="401"/>
                <c:pt idx="0">
                  <c:v>1</c:v>
                </c:pt>
                <c:pt idx="1">
                  <c:v>0.99</c:v>
                </c:pt>
                <c:pt idx="2">
                  <c:v>0.99</c:v>
                </c:pt>
                <c:pt idx="3">
                  <c:v>0.83</c:v>
                </c:pt>
                <c:pt idx="4">
                  <c:v>0.95</c:v>
                </c:pt>
                <c:pt idx="5">
                  <c:v>0.98</c:v>
                </c:pt>
                <c:pt idx="6">
                  <c:v>0.94</c:v>
                </c:pt>
                <c:pt idx="7">
                  <c:v>0.95</c:v>
                </c:pt>
                <c:pt idx="8">
                  <c:v>0.97</c:v>
                </c:pt>
                <c:pt idx="9">
                  <c:v>0.93</c:v>
                </c:pt>
                <c:pt idx="10">
                  <c:v>0.65</c:v>
                </c:pt>
                <c:pt idx="11">
                  <c:v>0.88</c:v>
                </c:pt>
                <c:pt idx="12">
                  <c:v>0.95</c:v>
                </c:pt>
                <c:pt idx="13">
                  <c:v>0.86</c:v>
                </c:pt>
                <c:pt idx="14">
                  <c:v>0.83</c:v>
                </c:pt>
                <c:pt idx="15">
                  <c:v>0.66</c:v>
                </c:pt>
                <c:pt idx="16">
                  <c:v>0.89</c:v>
                </c:pt>
                <c:pt idx="17">
                  <c:v>0.83</c:v>
                </c:pt>
                <c:pt idx="18">
                  <c:v>0.51</c:v>
                </c:pt>
                <c:pt idx="19">
                  <c:v>0.81</c:v>
                </c:pt>
                <c:pt idx="20">
                  <c:v>0.66</c:v>
                </c:pt>
                <c:pt idx="21">
                  <c:v>0.68</c:v>
                </c:pt>
                <c:pt idx="22">
                  <c:v>0.9</c:v>
                </c:pt>
                <c:pt idx="23">
                  <c:v>0.72</c:v>
                </c:pt>
                <c:pt idx="24">
                  <c:v>0.65</c:v>
                </c:pt>
                <c:pt idx="25">
                  <c:v>0.72</c:v>
                </c:pt>
                <c:pt idx="26">
                  <c:v>0.59</c:v>
                </c:pt>
                <c:pt idx="27">
                  <c:v>0.8</c:v>
                </c:pt>
                <c:pt idx="28">
                  <c:v>0.68</c:v>
                </c:pt>
                <c:pt idx="29">
                  <c:v>0.28000000000000003</c:v>
                </c:pt>
                <c:pt idx="30">
                  <c:v>0.68</c:v>
                </c:pt>
                <c:pt idx="31">
                  <c:v>0.66</c:v>
                </c:pt>
                <c:pt idx="32">
                  <c:v>0.72</c:v>
                </c:pt>
                <c:pt idx="33">
                  <c:v>0.62</c:v>
                </c:pt>
                <c:pt idx="34">
                  <c:v>0.68</c:v>
                </c:pt>
                <c:pt idx="35">
                  <c:v>0.35</c:v>
                </c:pt>
                <c:pt idx="36">
                  <c:v>0.67</c:v>
                </c:pt>
                <c:pt idx="37">
                  <c:v>0.52</c:v>
                </c:pt>
                <c:pt idx="38">
                  <c:v>0.76</c:v>
                </c:pt>
                <c:pt idx="39">
                  <c:v>0.87</c:v>
                </c:pt>
                <c:pt idx="40">
                  <c:v>0.3</c:v>
                </c:pt>
                <c:pt idx="41">
                  <c:v>0.55000000000000004</c:v>
                </c:pt>
                <c:pt idx="42">
                  <c:v>0.49</c:v>
                </c:pt>
                <c:pt idx="43">
                  <c:v>0.56000000000000005</c:v>
                </c:pt>
                <c:pt idx="44">
                  <c:v>0.53</c:v>
                </c:pt>
                <c:pt idx="45">
                  <c:v>0.74</c:v>
                </c:pt>
                <c:pt idx="46">
                  <c:v>0.74</c:v>
                </c:pt>
                <c:pt idx="47">
                  <c:v>0.82</c:v>
                </c:pt>
                <c:pt idx="48">
                  <c:v>0.56000000000000005</c:v>
                </c:pt>
                <c:pt idx="49">
                  <c:v>0.4</c:v>
                </c:pt>
                <c:pt idx="50">
                  <c:v>0.62</c:v>
                </c:pt>
                <c:pt idx="51">
                  <c:v>0.49</c:v>
                </c:pt>
                <c:pt idx="52">
                  <c:v>0.69</c:v>
                </c:pt>
                <c:pt idx="53">
                  <c:v>0.45</c:v>
                </c:pt>
                <c:pt idx="54">
                  <c:v>0.59</c:v>
                </c:pt>
                <c:pt idx="55">
                  <c:v>0.4</c:v>
                </c:pt>
                <c:pt idx="56">
                  <c:v>0.55000000000000004</c:v>
                </c:pt>
                <c:pt idx="57">
                  <c:v>0.59</c:v>
                </c:pt>
                <c:pt idx="58">
                  <c:v>0.62</c:v>
                </c:pt>
                <c:pt idx="59">
                  <c:v>0.72</c:v>
                </c:pt>
                <c:pt idx="60">
                  <c:v>0.68</c:v>
                </c:pt>
                <c:pt idx="61">
                  <c:v>0.59</c:v>
                </c:pt>
                <c:pt idx="62">
                  <c:v>0.49</c:v>
                </c:pt>
                <c:pt idx="63">
                  <c:v>0.52</c:v>
                </c:pt>
                <c:pt idx="64">
                  <c:v>0.59</c:v>
                </c:pt>
                <c:pt idx="65">
                  <c:v>0.37</c:v>
                </c:pt>
                <c:pt idx="66">
                  <c:v>0.53</c:v>
                </c:pt>
                <c:pt idx="67">
                  <c:v>0.78</c:v>
                </c:pt>
                <c:pt idx="68">
                  <c:v>0.78</c:v>
                </c:pt>
                <c:pt idx="69">
                  <c:v>0.5</c:v>
                </c:pt>
                <c:pt idx="70">
                  <c:v>0.53</c:v>
                </c:pt>
                <c:pt idx="71">
                  <c:v>0.19</c:v>
                </c:pt>
                <c:pt idx="72">
                  <c:v>0.59</c:v>
                </c:pt>
                <c:pt idx="73">
                  <c:v>0.37</c:v>
                </c:pt>
                <c:pt idx="74">
                  <c:v>0.48</c:v>
                </c:pt>
                <c:pt idx="75">
                  <c:v>0.74</c:v>
                </c:pt>
                <c:pt idx="76">
                  <c:v>0.63</c:v>
                </c:pt>
                <c:pt idx="77">
                  <c:v>0.26</c:v>
                </c:pt>
                <c:pt idx="78">
                  <c:v>0.56999999999999995</c:v>
                </c:pt>
                <c:pt idx="79">
                  <c:v>0.14000000000000001</c:v>
                </c:pt>
                <c:pt idx="80">
                  <c:v>0.16</c:v>
                </c:pt>
                <c:pt idx="81">
                  <c:v>0.59</c:v>
                </c:pt>
                <c:pt idx="82">
                  <c:v>0.27</c:v>
                </c:pt>
                <c:pt idx="83">
                  <c:v>0.39</c:v>
                </c:pt>
                <c:pt idx="84">
                  <c:v>0.32</c:v>
                </c:pt>
                <c:pt idx="85">
                  <c:v>0.43</c:v>
                </c:pt>
                <c:pt idx="86">
                  <c:v>0.39</c:v>
                </c:pt>
                <c:pt idx="87">
                  <c:v>0.24</c:v>
                </c:pt>
                <c:pt idx="88">
                  <c:v>0.18</c:v>
                </c:pt>
                <c:pt idx="89">
                  <c:v>0.17</c:v>
                </c:pt>
                <c:pt idx="90">
                  <c:v>0.31</c:v>
                </c:pt>
                <c:pt idx="91">
                  <c:v>0.12</c:v>
                </c:pt>
                <c:pt idx="92">
                  <c:v>0.18</c:v>
                </c:pt>
                <c:pt idx="93">
                  <c:v>0.33</c:v>
                </c:pt>
                <c:pt idx="94">
                  <c:v>0.22</c:v>
                </c:pt>
                <c:pt idx="95">
                  <c:v>0.12</c:v>
                </c:pt>
                <c:pt idx="96">
                  <c:v>0.56000000000000005</c:v>
                </c:pt>
                <c:pt idx="97">
                  <c:v>0.26</c:v>
                </c:pt>
                <c:pt idx="98">
                  <c:v>0.11</c:v>
                </c:pt>
                <c:pt idx="99">
                  <c:v>0.19</c:v>
                </c:pt>
                <c:pt idx="100">
                  <c:v>0.39</c:v>
                </c:pt>
                <c:pt idx="101">
                  <c:v>0.28000000000000003</c:v>
                </c:pt>
                <c:pt idx="102">
                  <c:v>0.3</c:v>
                </c:pt>
                <c:pt idx="103">
                  <c:v>0.28000000000000003</c:v>
                </c:pt>
                <c:pt idx="104">
                  <c:v>0.32</c:v>
                </c:pt>
                <c:pt idx="105">
                  <c:v>0.18</c:v>
                </c:pt>
                <c:pt idx="106">
                  <c:v>0.14000000000000001</c:v>
                </c:pt>
                <c:pt idx="107">
                  <c:v>0.12</c:v>
                </c:pt>
                <c:pt idx="108">
                  <c:v>0.12</c:v>
                </c:pt>
                <c:pt idx="109">
                  <c:v>0.45</c:v>
                </c:pt>
                <c:pt idx="110">
                  <c:v>0.45</c:v>
                </c:pt>
                <c:pt idx="111">
                  <c:v>0.38</c:v>
                </c:pt>
                <c:pt idx="112">
                  <c:v>0.18</c:v>
                </c:pt>
                <c:pt idx="113">
                  <c:v>0.43</c:v>
                </c:pt>
                <c:pt idx="114">
                  <c:v>0.18</c:v>
                </c:pt>
                <c:pt idx="115">
                  <c:v>0.17</c:v>
                </c:pt>
                <c:pt idx="116">
                  <c:v>0.28000000000000003</c:v>
                </c:pt>
                <c:pt idx="117">
                  <c:v>0.12</c:v>
                </c:pt>
                <c:pt idx="118">
                  <c:v>0.16</c:v>
                </c:pt>
                <c:pt idx="119">
                  <c:v>0.33</c:v>
                </c:pt>
                <c:pt idx="120">
                  <c:v>0.25</c:v>
                </c:pt>
                <c:pt idx="121">
                  <c:v>0.15</c:v>
                </c:pt>
                <c:pt idx="122">
                  <c:v>0.2</c:v>
                </c:pt>
                <c:pt idx="123">
                  <c:v>0.14000000000000001</c:v>
                </c:pt>
                <c:pt idx="124">
                  <c:v>0.14000000000000001</c:v>
                </c:pt>
                <c:pt idx="125">
                  <c:v>0.33</c:v>
                </c:pt>
                <c:pt idx="126">
                  <c:v>0.35</c:v>
                </c:pt>
                <c:pt idx="127">
                  <c:v>0.15</c:v>
                </c:pt>
                <c:pt idx="128">
                  <c:v>0.87</c:v>
                </c:pt>
                <c:pt idx="129">
                  <c:v>7.0000000000000007E-2</c:v>
                </c:pt>
                <c:pt idx="130">
                  <c:v>0.26</c:v>
                </c:pt>
                <c:pt idx="131">
                  <c:v>0.19</c:v>
                </c:pt>
                <c:pt idx="132">
                  <c:v>0.24</c:v>
                </c:pt>
                <c:pt idx="133">
                  <c:v>0.26</c:v>
                </c:pt>
                <c:pt idx="134">
                  <c:v>0.45</c:v>
                </c:pt>
                <c:pt idx="135">
                  <c:v>0.14000000000000001</c:v>
                </c:pt>
                <c:pt idx="136">
                  <c:v>0.45</c:v>
                </c:pt>
                <c:pt idx="137">
                  <c:v>0.23</c:v>
                </c:pt>
                <c:pt idx="138">
                  <c:v>0.27</c:v>
                </c:pt>
                <c:pt idx="139">
                  <c:v>0.16</c:v>
                </c:pt>
                <c:pt idx="140">
                  <c:v>0.05</c:v>
                </c:pt>
                <c:pt idx="141">
                  <c:v>0.12</c:v>
                </c:pt>
                <c:pt idx="142">
                  <c:v>0.05</c:v>
                </c:pt>
                <c:pt idx="143">
                  <c:v>0.27</c:v>
                </c:pt>
                <c:pt idx="144">
                  <c:v>0.12</c:v>
                </c:pt>
                <c:pt idx="145">
                  <c:v>0.18</c:v>
                </c:pt>
                <c:pt idx="146">
                  <c:v>0.24</c:v>
                </c:pt>
                <c:pt idx="147">
                  <c:v>0.26</c:v>
                </c:pt>
                <c:pt idx="148">
                  <c:v>0.18</c:v>
                </c:pt>
                <c:pt idx="149">
                  <c:v>0.08</c:v>
                </c:pt>
                <c:pt idx="150">
                  <c:v>0.04</c:v>
                </c:pt>
                <c:pt idx="151">
                  <c:v>0.13</c:v>
                </c:pt>
                <c:pt idx="152">
                  <c:v>0.32</c:v>
                </c:pt>
                <c:pt idx="153">
                  <c:v>0.04</c:v>
                </c:pt>
                <c:pt idx="154">
                  <c:v>0.08</c:v>
                </c:pt>
                <c:pt idx="155">
                  <c:v>0.21</c:v>
                </c:pt>
                <c:pt idx="156">
                  <c:v>0.09</c:v>
                </c:pt>
                <c:pt idx="157">
                  <c:v>0.22</c:v>
                </c:pt>
                <c:pt idx="158">
                  <c:v>0.04</c:v>
                </c:pt>
                <c:pt idx="159">
                  <c:v>0.27</c:v>
                </c:pt>
                <c:pt idx="160">
                  <c:v>0.08</c:v>
                </c:pt>
                <c:pt idx="161">
                  <c:v>0.21</c:v>
                </c:pt>
                <c:pt idx="162">
                  <c:v>0.16</c:v>
                </c:pt>
                <c:pt idx="163">
                  <c:v>0.08</c:v>
                </c:pt>
                <c:pt idx="164">
                  <c:v>0.1</c:v>
                </c:pt>
                <c:pt idx="165">
                  <c:v>0.13</c:v>
                </c:pt>
                <c:pt idx="166">
                  <c:v>0.18</c:v>
                </c:pt>
                <c:pt idx="167">
                  <c:v>0.2</c:v>
                </c:pt>
                <c:pt idx="168">
                  <c:v>0.03</c:v>
                </c:pt>
                <c:pt idx="169">
                  <c:v>0.03</c:v>
                </c:pt>
                <c:pt idx="170">
                  <c:v>0.1</c:v>
                </c:pt>
                <c:pt idx="171">
                  <c:v>0.17</c:v>
                </c:pt>
                <c:pt idx="172">
                  <c:v>0.09</c:v>
                </c:pt>
                <c:pt idx="173">
                  <c:v>7.0000000000000007E-2</c:v>
                </c:pt>
                <c:pt idx="174">
                  <c:v>0.05</c:v>
                </c:pt>
                <c:pt idx="175">
                  <c:v>0.03</c:v>
                </c:pt>
                <c:pt idx="176">
                  <c:v>0.16</c:v>
                </c:pt>
                <c:pt idx="177">
                  <c:v>0.18</c:v>
                </c:pt>
                <c:pt idx="178">
                  <c:v>0.04</c:v>
                </c:pt>
                <c:pt idx="179">
                  <c:v>0.05</c:v>
                </c:pt>
                <c:pt idx="180">
                  <c:v>0.02</c:v>
                </c:pt>
                <c:pt idx="181">
                  <c:v>0.04</c:v>
                </c:pt>
                <c:pt idx="182">
                  <c:v>0.04</c:v>
                </c:pt>
                <c:pt idx="183">
                  <c:v>0.03</c:v>
                </c:pt>
                <c:pt idx="184">
                  <c:v>0.09</c:v>
                </c:pt>
                <c:pt idx="185">
                  <c:v>0.18</c:v>
                </c:pt>
                <c:pt idx="186">
                  <c:v>0.04</c:v>
                </c:pt>
                <c:pt idx="187">
                  <c:v>0.03</c:v>
                </c:pt>
                <c:pt idx="188">
                  <c:v>0.05</c:v>
                </c:pt>
                <c:pt idx="189">
                  <c:v>0.04</c:v>
                </c:pt>
                <c:pt idx="190">
                  <c:v>0.05</c:v>
                </c:pt>
                <c:pt idx="191">
                  <c:v>0.08</c:v>
                </c:pt>
                <c:pt idx="192">
                  <c:v>0.03</c:v>
                </c:pt>
                <c:pt idx="193">
                  <c:v>0.02</c:v>
                </c:pt>
                <c:pt idx="194">
                  <c:v>0.08</c:v>
                </c:pt>
                <c:pt idx="195">
                  <c:v>0.02</c:v>
                </c:pt>
                <c:pt idx="196">
                  <c:v>0.03</c:v>
                </c:pt>
                <c:pt idx="197">
                  <c:v>0.09</c:v>
                </c:pt>
                <c:pt idx="198">
                  <c:v>0.22</c:v>
                </c:pt>
                <c:pt idx="199">
                  <c:v>0.05</c:v>
                </c:pt>
                <c:pt idx="200">
                  <c:v>7.0000000000000007E-2</c:v>
                </c:pt>
                <c:pt idx="201">
                  <c:v>0.03</c:v>
                </c:pt>
                <c:pt idx="202">
                  <c:v>0.11</c:v>
                </c:pt>
                <c:pt idx="203">
                  <c:v>0.04</c:v>
                </c:pt>
                <c:pt idx="204">
                  <c:v>7.0000000000000007E-2</c:v>
                </c:pt>
                <c:pt idx="205">
                  <c:v>0.04</c:v>
                </c:pt>
                <c:pt idx="206">
                  <c:v>0.01</c:v>
                </c:pt>
                <c:pt idx="207">
                  <c:v>0.04</c:v>
                </c:pt>
                <c:pt idx="208">
                  <c:v>0.04</c:v>
                </c:pt>
                <c:pt idx="209">
                  <c:v>0.06</c:v>
                </c:pt>
                <c:pt idx="210">
                  <c:v>0.02</c:v>
                </c:pt>
                <c:pt idx="211">
                  <c:v>0.03</c:v>
                </c:pt>
                <c:pt idx="212">
                  <c:v>0.01</c:v>
                </c:pt>
                <c:pt idx="213">
                  <c:v>7.0000000000000007E-2</c:v>
                </c:pt>
                <c:pt idx="214">
                  <c:v>0.04</c:v>
                </c:pt>
                <c:pt idx="215">
                  <c:v>0.06</c:v>
                </c:pt>
                <c:pt idx="216">
                  <c:v>0.09</c:v>
                </c:pt>
                <c:pt idx="217">
                  <c:v>7.0000000000000007E-2</c:v>
                </c:pt>
                <c:pt idx="218">
                  <c:v>0.03</c:v>
                </c:pt>
                <c:pt idx="219">
                  <c:v>0.01</c:v>
                </c:pt>
                <c:pt idx="220">
                  <c:v>0.03</c:v>
                </c:pt>
                <c:pt idx="221">
                  <c:v>0.01</c:v>
                </c:pt>
                <c:pt idx="222">
                  <c:v>0.08</c:v>
                </c:pt>
                <c:pt idx="223">
                  <c:v>0.04</c:v>
                </c:pt>
                <c:pt idx="224">
                  <c:v>0.02</c:v>
                </c:pt>
                <c:pt idx="225">
                  <c:v>0.05</c:v>
                </c:pt>
                <c:pt idx="226">
                  <c:v>0.04</c:v>
                </c:pt>
                <c:pt idx="227">
                  <c:v>0.01</c:v>
                </c:pt>
                <c:pt idx="228">
                  <c:v>0.04</c:v>
                </c:pt>
                <c:pt idx="229">
                  <c:v>0.05</c:v>
                </c:pt>
                <c:pt idx="230">
                  <c:v>0.03</c:v>
                </c:pt>
                <c:pt idx="231">
                  <c:v>0.05</c:v>
                </c:pt>
                <c:pt idx="232">
                  <c:v>0.03</c:v>
                </c:pt>
                <c:pt idx="233">
                  <c:v>0.02</c:v>
                </c:pt>
                <c:pt idx="234">
                  <c:v>0.02</c:v>
                </c:pt>
                <c:pt idx="235">
                  <c:v>0.02</c:v>
                </c:pt>
                <c:pt idx="236">
                  <c:v>0.02</c:v>
                </c:pt>
                <c:pt idx="237">
                  <c:v>0.04</c:v>
                </c:pt>
                <c:pt idx="238">
                  <c:v>0.02</c:v>
                </c:pt>
                <c:pt idx="239">
                  <c:v>0.01</c:v>
                </c:pt>
                <c:pt idx="240">
                  <c:v>0.02</c:v>
                </c:pt>
                <c:pt idx="241">
                  <c:v>0.04</c:v>
                </c:pt>
                <c:pt idx="242">
                  <c:v>0.04</c:v>
                </c:pt>
                <c:pt idx="243">
                  <c:v>0.02</c:v>
                </c:pt>
                <c:pt idx="244">
                  <c:v>0.03</c:v>
                </c:pt>
                <c:pt idx="245">
                  <c:v>0.01</c:v>
                </c:pt>
                <c:pt idx="246">
                  <c:v>0.01</c:v>
                </c:pt>
                <c:pt idx="247">
                  <c:v>0.04</c:v>
                </c:pt>
                <c:pt idx="248">
                  <c:v>0.02</c:v>
                </c:pt>
                <c:pt idx="249">
                  <c:v>0.02</c:v>
                </c:pt>
                <c:pt idx="250">
                  <c:v>0.03</c:v>
                </c:pt>
                <c:pt idx="251">
                  <c:v>0.02</c:v>
                </c:pt>
                <c:pt idx="252">
                  <c:v>0.04</c:v>
                </c:pt>
                <c:pt idx="253">
                  <c:v>0.03</c:v>
                </c:pt>
                <c:pt idx="254">
                  <c:v>0.03</c:v>
                </c:pt>
                <c:pt idx="255">
                  <c:v>0.05</c:v>
                </c:pt>
                <c:pt idx="256">
                  <c:v>0.02</c:v>
                </c:pt>
                <c:pt idx="257">
                  <c:v>0.01</c:v>
                </c:pt>
                <c:pt idx="258">
                  <c:v>0.04</c:v>
                </c:pt>
                <c:pt idx="259">
                  <c:v>0.02</c:v>
                </c:pt>
                <c:pt idx="260">
                  <c:v>0.01</c:v>
                </c:pt>
                <c:pt idx="261">
                  <c:v>0.01</c:v>
                </c:pt>
                <c:pt idx="262">
                  <c:v>0.18</c:v>
                </c:pt>
                <c:pt idx="263">
                  <c:v>0.06</c:v>
                </c:pt>
                <c:pt idx="264">
                  <c:v>0.02</c:v>
                </c:pt>
                <c:pt idx="265">
                  <c:v>0.01</c:v>
                </c:pt>
                <c:pt idx="266">
                  <c:v>0.02</c:v>
                </c:pt>
                <c:pt idx="267">
                  <c:v>0.03</c:v>
                </c:pt>
                <c:pt idx="268">
                  <c:v>0.01</c:v>
                </c:pt>
                <c:pt idx="269">
                  <c:v>0.01</c:v>
                </c:pt>
                <c:pt idx="270">
                  <c:v>0.02</c:v>
                </c:pt>
                <c:pt idx="271">
                  <c:v>0.01</c:v>
                </c:pt>
                <c:pt idx="272">
                  <c:v>0.02</c:v>
                </c:pt>
                <c:pt idx="273">
                  <c:v>0.06</c:v>
                </c:pt>
                <c:pt idx="274">
                  <c:v>0.01</c:v>
                </c:pt>
                <c:pt idx="275">
                  <c:v>0.04</c:v>
                </c:pt>
                <c:pt idx="276">
                  <c:v>0.04</c:v>
                </c:pt>
                <c:pt idx="277">
                  <c:v>0.01</c:v>
                </c:pt>
                <c:pt idx="278">
                  <c:v>0.03</c:v>
                </c:pt>
                <c:pt idx="279">
                  <c:v>0.01</c:v>
                </c:pt>
                <c:pt idx="280">
                  <c:v>0.02</c:v>
                </c:pt>
                <c:pt idx="281">
                  <c:v>0.01</c:v>
                </c:pt>
                <c:pt idx="282">
                  <c:v>0.01</c:v>
                </c:pt>
                <c:pt idx="283">
                  <c:v>0.03</c:v>
                </c:pt>
                <c:pt idx="284">
                  <c:v>0.02</c:v>
                </c:pt>
                <c:pt idx="285">
                  <c:v>0.03</c:v>
                </c:pt>
                <c:pt idx="286">
                  <c:v>0.04</c:v>
                </c:pt>
                <c:pt idx="287">
                  <c:v>0.03</c:v>
                </c:pt>
                <c:pt idx="288">
                  <c:v>0.01</c:v>
                </c:pt>
                <c:pt idx="289">
                  <c:v>0.02</c:v>
                </c:pt>
                <c:pt idx="290">
                  <c:v>0.01</c:v>
                </c:pt>
                <c:pt idx="291">
                  <c:v>0.02</c:v>
                </c:pt>
                <c:pt idx="292">
                  <c:v>0.02</c:v>
                </c:pt>
                <c:pt idx="293">
                  <c:v>0.01</c:v>
                </c:pt>
                <c:pt idx="294">
                  <c:v>0.01</c:v>
                </c:pt>
                <c:pt idx="295">
                  <c:v>0.01</c:v>
                </c:pt>
                <c:pt idx="296">
                  <c:v>0.06</c:v>
                </c:pt>
                <c:pt idx="297">
                  <c:v>0.02</c:v>
                </c:pt>
                <c:pt idx="298">
                  <c:v>0.01</c:v>
                </c:pt>
                <c:pt idx="299">
                  <c:v>0.04</c:v>
                </c:pt>
                <c:pt idx="300">
                  <c:v>0.03</c:v>
                </c:pt>
                <c:pt idx="301">
                  <c:v>0.03</c:v>
                </c:pt>
                <c:pt idx="302">
                  <c:v>0.01</c:v>
                </c:pt>
                <c:pt idx="303">
                  <c:v>0.02</c:v>
                </c:pt>
                <c:pt idx="304">
                  <c:v>0.01</c:v>
                </c:pt>
                <c:pt idx="305">
                  <c:v>0.01</c:v>
                </c:pt>
                <c:pt idx="306">
                  <c:v>0.02</c:v>
                </c:pt>
                <c:pt idx="307">
                  <c:v>0.03</c:v>
                </c:pt>
                <c:pt idx="308">
                  <c:v>0.01</c:v>
                </c:pt>
                <c:pt idx="309">
                  <c:v>0.01</c:v>
                </c:pt>
                <c:pt idx="310">
                  <c:v>0.02</c:v>
                </c:pt>
                <c:pt idx="311">
                  <c:v>0.04</c:v>
                </c:pt>
                <c:pt idx="312">
                  <c:v>0.02</c:v>
                </c:pt>
                <c:pt idx="313">
                  <c:v>0.04</c:v>
                </c:pt>
                <c:pt idx="314">
                  <c:v>0.02</c:v>
                </c:pt>
                <c:pt idx="315">
                  <c:v>0.04</c:v>
                </c:pt>
                <c:pt idx="316">
                  <c:v>0.01</c:v>
                </c:pt>
                <c:pt idx="317">
                  <c:v>0.03</c:v>
                </c:pt>
                <c:pt idx="318">
                  <c:v>0.02</c:v>
                </c:pt>
                <c:pt idx="319">
                  <c:v>0.01</c:v>
                </c:pt>
                <c:pt idx="320">
                  <c:v>0.01</c:v>
                </c:pt>
                <c:pt idx="321">
                  <c:v>0.01</c:v>
                </c:pt>
                <c:pt idx="322">
                  <c:v>0.01</c:v>
                </c:pt>
                <c:pt idx="323">
                  <c:v>0.03</c:v>
                </c:pt>
                <c:pt idx="324">
                  <c:v>0.02</c:v>
                </c:pt>
                <c:pt idx="325">
                  <c:v>0.01</c:v>
                </c:pt>
                <c:pt idx="326">
                  <c:v>0.01</c:v>
                </c:pt>
                <c:pt idx="327">
                  <c:v>0.01</c:v>
                </c:pt>
                <c:pt idx="328">
                  <c:v>0.02</c:v>
                </c:pt>
                <c:pt idx="329">
                  <c:v>0.02</c:v>
                </c:pt>
                <c:pt idx="330">
                  <c:v>0.03</c:v>
                </c:pt>
                <c:pt idx="331">
                  <c:v>0.01</c:v>
                </c:pt>
                <c:pt idx="332">
                  <c:v>0.03</c:v>
                </c:pt>
                <c:pt idx="333">
                  <c:v>0.02</c:v>
                </c:pt>
                <c:pt idx="334">
                  <c:v>0.01</c:v>
                </c:pt>
                <c:pt idx="335">
                  <c:v>0.01</c:v>
                </c:pt>
                <c:pt idx="336">
                  <c:v>0.02</c:v>
                </c:pt>
                <c:pt idx="337">
                  <c:v>0.01</c:v>
                </c:pt>
                <c:pt idx="338">
                  <c:v>0.04</c:v>
                </c:pt>
                <c:pt idx="339">
                  <c:v>0.01</c:v>
                </c:pt>
                <c:pt idx="340">
                  <c:v>0.02</c:v>
                </c:pt>
                <c:pt idx="341">
                  <c:v>0.01</c:v>
                </c:pt>
                <c:pt idx="342">
                  <c:v>0.01</c:v>
                </c:pt>
                <c:pt idx="343">
                  <c:v>0.01</c:v>
                </c:pt>
                <c:pt idx="344">
                  <c:v>0.01</c:v>
                </c:pt>
                <c:pt idx="345">
                  <c:v>0.01</c:v>
                </c:pt>
                <c:pt idx="346">
                  <c:v>0.04</c:v>
                </c:pt>
                <c:pt idx="347">
                  <c:v>0.01</c:v>
                </c:pt>
                <c:pt idx="348">
                  <c:v>0.01</c:v>
                </c:pt>
                <c:pt idx="349">
                  <c:v>0.01</c:v>
                </c:pt>
                <c:pt idx="350">
                  <c:v>0.01</c:v>
                </c:pt>
                <c:pt idx="351">
                  <c:v>0.01</c:v>
                </c:pt>
                <c:pt idx="352">
                  <c:v>0.01</c:v>
                </c:pt>
                <c:pt idx="353">
                  <c:v>0.03</c:v>
                </c:pt>
                <c:pt idx="354">
                  <c:v>0.01</c:v>
                </c:pt>
                <c:pt idx="355">
                  <c:v>0.01</c:v>
                </c:pt>
                <c:pt idx="356">
                  <c:v>0.01</c:v>
                </c:pt>
                <c:pt idx="357">
                  <c:v>0.01</c:v>
                </c:pt>
                <c:pt idx="358">
                  <c:v>0.01</c:v>
                </c:pt>
                <c:pt idx="359">
                  <c:v>0.01</c:v>
                </c:pt>
                <c:pt idx="360">
                  <c:v>0.01</c:v>
                </c:pt>
                <c:pt idx="361">
                  <c:v>0.03</c:v>
                </c:pt>
                <c:pt idx="362">
                  <c:v>0.04</c:v>
                </c:pt>
                <c:pt idx="363">
                  <c:v>0.01</c:v>
                </c:pt>
                <c:pt idx="364">
                  <c:v>0.01</c:v>
                </c:pt>
                <c:pt idx="365">
                  <c:v>0.01</c:v>
                </c:pt>
                <c:pt idx="366">
                  <c:v>0.01</c:v>
                </c:pt>
                <c:pt idx="367">
                  <c:v>0.01</c:v>
                </c:pt>
                <c:pt idx="368">
                  <c:v>0.01</c:v>
                </c:pt>
                <c:pt idx="369">
                  <c:v>0.01</c:v>
                </c:pt>
                <c:pt idx="370">
                  <c:v>0.04</c:v>
                </c:pt>
                <c:pt idx="371">
                  <c:v>0.01</c:v>
                </c:pt>
                <c:pt idx="372">
                  <c:v>0.01</c:v>
                </c:pt>
                <c:pt idx="373">
                  <c:v>0.01</c:v>
                </c:pt>
                <c:pt idx="374">
                  <c:v>0.01</c:v>
                </c:pt>
                <c:pt idx="375">
                  <c:v>0.01</c:v>
                </c:pt>
                <c:pt idx="376">
                  <c:v>0.01</c:v>
                </c:pt>
                <c:pt idx="377">
                  <c:v>0.03</c:v>
                </c:pt>
                <c:pt idx="378">
                  <c:v>0.01</c:v>
                </c:pt>
                <c:pt idx="379">
                  <c:v>0.01</c:v>
                </c:pt>
                <c:pt idx="380">
                  <c:v>0.01</c:v>
                </c:pt>
                <c:pt idx="381">
                  <c:v>0.01</c:v>
                </c:pt>
                <c:pt idx="382">
                  <c:v>0.01</c:v>
                </c:pt>
                <c:pt idx="383">
                  <c:v>0.02</c:v>
                </c:pt>
                <c:pt idx="384">
                  <c:v>0.01</c:v>
                </c:pt>
                <c:pt idx="385">
                  <c:v>0.01</c:v>
                </c:pt>
                <c:pt idx="386">
                  <c:v>0.01</c:v>
                </c:pt>
                <c:pt idx="387">
                  <c:v>0.01</c:v>
                </c:pt>
                <c:pt idx="388">
                  <c:v>0.01</c:v>
                </c:pt>
                <c:pt idx="389">
                  <c:v>0.01</c:v>
                </c:pt>
                <c:pt idx="390">
                  <c:v>0.01</c:v>
                </c:pt>
                <c:pt idx="391">
                  <c:v>0.02</c:v>
                </c:pt>
                <c:pt idx="392">
                  <c:v>0.01</c:v>
                </c:pt>
                <c:pt idx="393">
                  <c:v>0.02</c:v>
                </c:pt>
                <c:pt idx="394">
                  <c:v>0.02</c:v>
                </c:pt>
                <c:pt idx="395">
                  <c:v>0.01</c:v>
                </c:pt>
                <c:pt idx="396">
                  <c:v>0.02</c:v>
                </c:pt>
                <c:pt idx="397">
                  <c:v>0.01</c:v>
                </c:pt>
                <c:pt idx="398">
                  <c:v>0.01</c:v>
                </c:pt>
                <c:pt idx="399">
                  <c:v>0.01</c:v>
                </c:pt>
                <c:pt idx="400">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7ECAC4"/>
              </a:solidFill>
            </c:spPr>
            <c:extLst>
              <c:ext xmlns:c16="http://schemas.microsoft.com/office/drawing/2014/chart" uri="{C3380CC4-5D6E-409C-BE32-E72D297353CC}">
                <c16:uniqueId val="{00000076-C76F-4230-900D-40618C09729F}"/>
              </c:ext>
            </c:extLst>
          </c:dPt>
          <c:dPt>
            <c:idx val="57"/>
            <c:invertIfNegative val="0"/>
            <c:bubble3D val="0"/>
            <c:spPr>
              <a:solidFill>
                <a:srgbClr val="7ECAC4"/>
              </a:solidFill>
            </c:spPr>
            <c:extLst>
              <c:ext xmlns:c16="http://schemas.microsoft.com/office/drawing/2014/chart" uri="{C3380CC4-5D6E-409C-BE32-E72D297353CC}">
                <c16:uniqueId val="{00000078-C76F-4230-900D-40618C09729F}"/>
              </c:ext>
            </c:extLst>
          </c:dPt>
          <c:dPt>
            <c:idx val="58"/>
            <c:invertIfNegative val="0"/>
            <c:bubble3D val="0"/>
            <c:spPr>
              <a:solidFill>
                <a:srgbClr val="7ECAC4"/>
              </a:solidFill>
            </c:spPr>
            <c:extLst>
              <c:ext xmlns:c16="http://schemas.microsoft.com/office/drawing/2014/chart" uri="{C3380CC4-5D6E-409C-BE32-E72D297353CC}">
                <c16:uniqueId val="{0000007A-C76F-4230-900D-40618C09729F}"/>
              </c:ext>
            </c:extLst>
          </c:dPt>
          <c:dPt>
            <c:idx val="59"/>
            <c:invertIfNegative val="0"/>
            <c:bubble3D val="0"/>
            <c:spPr>
              <a:solidFill>
                <a:srgbClr val="7ECAC4"/>
              </a:solidFill>
            </c:spPr>
            <c:extLst>
              <c:ext xmlns:c16="http://schemas.microsoft.com/office/drawing/2014/chart" uri="{C3380CC4-5D6E-409C-BE32-E72D297353CC}">
                <c16:uniqueId val="{0000007C-C76F-4230-900D-40618C09729F}"/>
              </c:ext>
            </c:extLst>
          </c:dPt>
          <c:dPt>
            <c:idx val="60"/>
            <c:invertIfNegative val="0"/>
            <c:bubble3D val="0"/>
            <c:spPr>
              <a:solidFill>
                <a:srgbClr val="7ECAC4"/>
              </a:solidFill>
            </c:spPr>
            <c:extLst>
              <c:ext xmlns:c16="http://schemas.microsoft.com/office/drawing/2014/chart" uri="{C3380CC4-5D6E-409C-BE32-E72D297353CC}">
                <c16:uniqueId val="{0000007E-C76F-4230-900D-40618C09729F}"/>
              </c:ext>
            </c:extLst>
          </c:dPt>
          <c:dPt>
            <c:idx val="61"/>
            <c:invertIfNegative val="0"/>
            <c:bubble3D val="0"/>
            <c:spPr>
              <a:solidFill>
                <a:srgbClr val="7ECAC4"/>
              </a:solidFill>
            </c:spPr>
            <c:extLst>
              <c:ext xmlns:c16="http://schemas.microsoft.com/office/drawing/2014/chart" uri="{C3380CC4-5D6E-409C-BE32-E72D297353CC}">
                <c16:uniqueId val="{00000080-C76F-4230-900D-40618C09729F}"/>
              </c:ext>
            </c:extLst>
          </c:dPt>
          <c:dPt>
            <c:idx val="62"/>
            <c:invertIfNegative val="0"/>
            <c:bubble3D val="0"/>
            <c:spPr>
              <a:solidFill>
                <a:srgbClr val="7ECAC4"/>
              </a:solidFill>
            </c:spPr>
            <c:extLst>
              <c:ext xmlns:c16="http://schemas.microsoft.com/office/drawing/2014/chart" uri="{C3380CC4-5D6E-409C-BE32-E72D297353CC}">
                <c16:uniqueId val="{00000082-C76F-4230-900D-40618C09729F}"/>
              </c:ext>
            </c:extLst>
          </c:dPt>
          <c:dPt>
            <c:idx val="63"/>
            <c:invertIfNegative val="0"/>
            <c:bubble3D val="0"/>
            <c:spPr>
              <a:solidFill>
                <a:srgbClr val="7ECAC4"/>
              </a:solidFill>
            </c:spPr>
            <c:extLst>
              <c:ext xmlns:c16="http://schemas.microsoft.com/office/drawing/2014/chart" uri="{C3380CC4-5D6E-409C-BE32-E72D297353CC}">
                <c16:uniqueId val="{00000084-C76F-4230-900D-40618C09729F}"/>
              </c:ext>
            </c:extLst>
          </c:dPt>
          <c:dPt>
            <c:idx val="64"/>
            <c:invertIfNegative val="0"/>
            <c:bubble3D val="0"/>
            <c:spPr>
              <a:solidFill>
                <a:srgbClr val="7ECAC4"/>
              </a:solidFill>
            </c:spPr>
            <c:extLst>
              <c:ext xmlns:c16="http://schemas.microsoft.com/office/drawing/2014/chart" uri="{C3380CC4-5D6E-409C-BE32-E72D297353CC}">
                <c16:uniqueId val="{00000086-C76F-4230-900D-40618C09729F}"/>
              </c:ext>
            </c:extLst>
          </c:dPt>
          <c:dPt>
            <c:idx val="65"/>
            <c:invertIfNegative val="0"/>
            <c:bubble3D val="0"/>
            <c:spPr>
              <a:solidFill>
                <a:srgbClr val="7ECAC4"/>
              </a:solidFill>
            </c:spPr>
            <c:extLst>
              <c:ext xmlns:c16="http://schemas.microsoft.com/office/drawing/2014/chart" uri="{C3380CC4-5D6E-409C-BE32-E72D297353CC}">
                <c16:uniqueId val="{00000088-C76F-4230-900D-40618C09729F}"/>
              </c:ext>
            </c:extLst>
          </c:dPt>
          <c:dPt>
            <c:idx val="66"/>
            <c:invertIfNegative val="0"/>
            <c:bubble3D val="0"/>
            <c:spPr>
              <a:solidFill>
                <a:srgbClr val="7ECAC4"/>
              </a:solidFill>
            </c:spPr>
            <c:extLst>
              <c:ext xmlns:c16="http://schemas.microsoft.com/office/drawing/2014/chart" uri="{C3380CC4-5D6E-409C-BE32-E72D297353CC}">
                <c16:uniqueId val="{0000008A-C76F-4230-900D-40618C09729F}"/>
              </c:ext>
            </c:extLst>
          </c:dPt>
          <c:dPt>
            <c:idx val="67"/>
            <c:invertIfNegative val="0"/>
            <c:bubble3D val="0"/>
            <c:spPr>
              <a:solidFill>
                <a:srgbClr val="7ECAC4"/>
              </a:solidFill>
            </c:spPr>
            <c:extLst>
              <c:ext xmlns:c16="http://schemas.microsoft.com/office/drawing/2014/chart" uri="{C3380CC4-5D6E-409C-BE32-E72D297353CC}">
                <c16:uniqueId val="{0000008C-C76F-4230-900D-40618C09729F}"/>
              </c:ext>
            </c:extLst>
          </c:dPt>
          <c:dPt>
            <c:idx val="68"/>
            <c:invertIfNegative val="0"/>
            <c:bubble3D val="0"/>
            <c:spPr>
              <a:solidFill>
                <a:srgbClr val="7ECAC4"/>
              </a:solidFill>
            </c:spPr>
            <c:extLst>
              <c:ext xmlns:c16="http://schemas.microsoft.com/office/drawing/2014/chart" uri="{C3380CC4-5D6E-409C-BE32-E72D297353CC}">
                <c16:uniqueId val="{0000008E-C76F-4230-900D-40618C09729F}"/>
              </c:ext>
            </c:extLst>
          </c:dPt>
          <c:dPt>
            <c:idx val="69"/>
            <c:invertIfNegative val="0"/>
            <c:bubble3D val="0"/>
            <c:spPr>
              <a:solidFill>
                <a:srgbClr val="7ECAC4"/>
              </a:solidFill>
            </c:spPr>
            <c:extLst>
              <c:ext xmlns:c16="http://schemas.microsoft.com/office/drawing/2014/chart" uri="{C3380CC4-5D6E-409C-BE32-E72D297353CC}">
                <c16:uniqueId val="{00000090-C76F-4230-900D-40618C09729F}"/>
              </c:ext>
            </c:extLst>
          </c:dPt>
          <c:dPt>
            <c:idx val="70"/>
            <c:invertIfNegative val="0"/>
            <c:bubble3D val="0"/>
            <c:spPr>
              <a:solidFill>
                <a:srgbClr val="7ECAC4"/>
              </a:solidFill>
            </c:spPr>
            <c:extLst>
              <c:ext xmlns:c16="http://schemas.microsoft.com/office/drawing/2014/chart" uri="{C3380CC4-5D6E-409C-BE32-E72D297353CC}">
                <c16:uniqueId val="{00000092-C76F-4230-900D-40618C09729F}"/>
              </c:ext>
            </c:extLst>
          </c:dPt>
          <c:dPt>
            <c:idx val="71"/>
            <c:invertIfNegative val="0"/>
            <c:bubble3D val="0"/>
            <c:spPr>
              <a:solidFill>
                <a:srgbClr val="7ECAC4"/>
              </a:solidFill>
            </c:spPr>
            <c:extLst>
              <c:ext xmlns:c16="http://schemas.microsoft.com/office/drawing/2014/chart" uri="{C3380CC4-5D6E-409C-BE32-E72D297353CC}">
                <c16:uniqueId val="{00000094-C76F-4230-900D-40618C09729F}"/>
              </c:ext>
            </c:extLst>
          </c:dPt>
          <c:dPt>
            <c:idx val="72"/>
            <c:invertIfNegative val="0"/>
            <c:bubble3D val="0"/>
            <c:spPr>
              <a:solidFill>
                <a:srgbClr val="7ECAC4"/>
              </a:solidFill>
            </c:spPr>
            <c:extLst>
              <c:ext xmlns:c16="http://schemas.microsoft.com/office/drawing/2014/chart" uri="{C3380CC4-5D6E-409C-BE32-E72D297353CC}">
                <c16:uniqueId val="{00000096-C76F-4230-900D-40618C09729F}"/>
              </c:ext>
            </c:extLst>
          </c:dPt>
          <c:dPt>
            <c:idx val="73"/>
            <c:invertIfNegative val="0"/>
            <c:bubble3D val="0"/>
            <c:spPr>
              <a:solidFill>
                <a:srgbClr val="7ECAC4"/>
              </a:solidFill>
            </c:spPr>
            <c:extLst>
              <c:ext xmlns:c16="http://schemas.microsoft.com/office/drawing/2014/chart" uri="{C3380CC4-5D6E-409C-BE32-E72D297353CC}">
                <c16:uniqueId val="{00000098-C76F-4230-900D-40618C09729F}"/>
              </c:ext>
            </c:extLst>
          </c:dPt>
          <c:dPt>
            <c:idx val="74"/>
            <c:invertIfNegative val="0"/>
            <c:bubble3D val="0"/>
            <c:spPr>
              <a:solidFill>
                <a:srgbClr val="7ECAC4"/>
              </a:solidFill>
            </c:spPr>
            <c:extLst>
              <c:ext xmlns:c16="http://schemas.microsoft.com/office/drawing/2014/chart" uri="{C3380CC4-5D6E-409C-BE32-E72D297353CC}">
                <c16:uniqueId val="{0000009A-C76F-4230-900D-40618C09729F}"/>
              </c:ext>
            </c:extLst>
          </c:dPt>
          <c:dPt>
            <c:idx val="75"/>
            <c:invertIfNegative val="0"/>
            <c:bubble3D val="0"/>
            <c:spPr>
              <a:solidFill>
                <a:srgbClr val="7ECAC4"/>
              </a:solidFill>
            </c:spPr>
            <c:extLst>
              <c:ext xmlns:c16="http://schemas.microsoft.com/office/drawing/2014/chart" uri="{C3380CC4-5D6E-409C-BE32-E72D297353CC}">
                <c16:uniqueId val="{0000009C-C76F-4230-900D-40618C09729F}"/>
              </c:ext>
            </c:extLst>
          </c:dPt>
          <c:dPt>
            <c:idx val="76"/>
            <c:invertIfNegative val="0"/>
            <c:bubble3D val="0"/>
            <c:spPr>
              <a:solidFill>
                <a:srgbClr val="7ECAC4"/>
              </a:solidFill>
            </c:spPr>
            <c:extLst>
              <c:ext xmlns:c16="http://schemas.microsoft.com/office/drawing/2014/chart" uri="{C3380CC4-5D6E-409C-BE32-E72D297353CC}">
                <c16:uniqueId val="{0000009E-C76F-4230-900D-40618C09729F}"/>
              </c:ext>
            </c:extLst>
          </c:dPt>
          <c:dPt>
            <c:idx val="77"/>
            <c:invertIfNegative val="0"/>
            <c:bubble3D val="0"/>
            <c:spPr>
              <a:solidFill>
                <a:srgbClr val="7ECAC4"/>
              </a:solidFill>
            </c:spPr>
            <c:extLst>
              <c:ext xmlns:c16="http://schemas.microsoft.com/office/drawing/2014/chart" uri="{C3380CC4-5D6E-409C-BE32-E72D297353CC}">
                <c16:uniqueId val="{000000A0-C76F-4230-900D-40618C09729F}"/>
              </c:ext>
            </c:extLst>
          </c:dPt>
          <c:dPt>
            <c:idx val="78"/>
            <c:invertIfNegative val="0"/>
            <c:bubble3D val="0"/>
            <c:spPr>
              <a:solidFill>
                <a:srgbClr val="7ECAC4"/>
              </a:solidFill>
            </c:spPr>
            <c:extLst>
              <c:ext xmlns:c16="http://schemas.microsoft.com/office/drawing/2014/chart" uri="{C3380CC4-5D6E-409C-BE32-E72D297353CC}">
                <c16:uniqueId val="{000000A2-C76F-4230-900D-40618C09729F}"/>
              </c:ext>
            </c:extLst>
          </c:dPt>
          <c:dPt>
            <c:idx val="79"/>
            <c:invertIfNegative val="0"/>
            <c:bubble3D val="0"/>
            <c:spPr>
              <a:solidFill>
                <a:srgbClr val="7ECAC4"/>
              </a:solidFill>
            </c:spPr>
            <c:extLst>
              <c:ext xmlns:c16="http://schemas.microsoft.com/office/drawing/2014/chart" uri="{C3380CC4-5D6E-409C-BE32-E72D297353CC}">
                <c16:uniqueId val="{000000A4-C76F-4230-900D-40618C09729F}"/>
              </c:ext>
            </c:extLst>
          </c:dPt>
          <c:dPt>
            <c:idx val="80"/>
            <c:invertIfNegative val="0"/>
            <c:bubble3D val="0"/>
            <c:spPr>
              <a:solidFill>
                <a:srgbClr val="7ECAC4"/>
              </a:solidFill>
            </c:spPr>
            <c:extLst>
              <c:ext xmlns:c16="http://schemas.microsoft.com/office/drawing/2014/chart" uri="{C3380CC4-5D6E-409C-BE32-E72D297353CC}">
                <c16:uniqueId val="{000000A6-C76F-4230-900D-40618C09729F}"/>
              </c:ext>
            </c:extLst>
          </c:dPt>
          <c:dPt>
            <c:idx val="81"/>
            <c:invertIfNegative val="1"/>
            <c:bubble3D val="0"/>
            <c:spPr>
              <a:solidFill>
                <a:srgbClr val="7ECAC4"/>
              </a:solidFill>
            </c:spPr>
            <c:extLst>
              <c:ext xmlns:c16="http://schemas.microsoft.com/office/drawing/2014/chart" uri="{C3380CC4-5D6E-409C-BE32-E72D297353CC}">
                <c16:uniqueId val="{000000A5-2993-41DE-A2CB-63102DE87051}"/>
              </c:ext>
            </c:extLst>
          </c:dPt>
          <c:dPt>
            <c:idx val="82"/>
            <c:invertIfNegative val="1"/>
            <c:bubble3D val="0"/>
            <c:spPr>
              <a:solidFill>
                <a:srgbClr val="7ECAC4"/>
              </a:solidFill>
            </c:spPr>
            <c:extLst>
              <c:ext xmlns:c16="http://schemas.microsoft.com/office/drawing/2014/chart" uri="{C3380CC4-5D6E-409C-BE32-E72D297353CC}">
                <c16:uniqueId val="{000000A7-2993-41DE-A2CB-63102DE87051}"/>
              </c:ext>
            </c:extLst>
          </c:dPt>
          <c:dPt>
            <c:idx val="83"/>
            <c:invertIfNegative val="1"/>
            <c:bubble3D val="0"/>
            <c:spPr>
              <a:solidFill>
                <a:srgbClr val="7ECAC4"/>
              </a:solidFill>
            </c:spPr>
            <c:extLst>
              <c:ext xmlns:c16="http://schemas.microsoft.com/office/drawing/2014/chart" uri="{C3380CC4-5D6E-409C-BE32-E72D297353CC}">
                <c16:uniqueId val="{000000A9-2993-41DE-A2CB-63102DE87051}"/>
              </c:ext>
            </c:extLst>
          </c:dPt>
          <c:dPt>
            <c:idx val="84"/>
            <c:invertIfNegative val="1"/>
            <c:bubble3D val="0"/>
            <c:spPr>
              <a:solidFill>
                <a:srgbClr val="7ECAC4"/>
              </a:solidFill>
            </c:spPr>
            <c:extLst>
              <c:ext xmlns:c16="http://schemas.microsoft.com/office/drawing/2014/chart" uri="{C3380CC4-5D6E-409C-BE32-E72D297353CC}">
                <c16:uniqueId val="{000000AB-2993-41DE-A2CB-63102DE87051}"/>
              </c:ext>
            </c:extLst>
          </c:dPt>
          <c:dPt>
            <c:idx val="85"/>
            <c:invertIfNegative val="1"/>
            <c:bubble3D val="0"/>
            <c:spPr>
              <a:solidFill>
                <a:srgbClr val="7ECAC4"/>
              </a:solidFill>
            </c:spPr>
            <c:extLst>
              <c:ext xmlns:c16="http://schemas.microsoft.com/office/drawing/2014/chart" uri="{C3380CC4-5D6E-409C-BE32-E72D297353CC}">
                <c16:uniqueId val="{000000AD-2993-41DE-A2CB-63102DE87051}"/>
              </c:ext>
            </c:extLst>
          </c:dPt>
          <c:dPt>
            <c:idx val="86"/>
            <c:invertIfNegative val="1"/>
            <c:bubble3D val="0"/>
            <c:spPr>
              <a:solidFill>
                <a:srgbClr val="7ECAC4"/>
              </a:solidFill>
            </c:spPr>
            <c:extLst>
              <c:ext xmlns:c16="http://schemas.microsoft.com/office/drawing/2014/chart" uri="{C3380CC4-5D6E-409C-BE32-E72D297353CC}">
                <c16:uniqueId val="{000000AF-2993-41DE-A2CB-63102DE87051}"/>
              </c:ext>
            </c:extLst>
          </c:dPt>
          <c:dPt>
            <c:idx val="87"/>
            <c:invertIfNegative val="1"/>
            <c:bubble3D val="0"/>
            <c:spPr>
              <a:solidFill>
                <a:srgbClr val="7ECAC4"/>
              </a:solidFill>
            </c:spPr>
            <c:extLst>
              <c:ext xmlns:c16="http://schemas.microsoft.com/office/drawing/2014/chart" uri="{C3380CC4-5D6E-409C-BE32-E72D297353CC}">
                <c16:uniqueId val="{000000B1-2993-41DE-A2CB-63102DE87051}"/>
              </c:ext>
            </c:extLst>
          </c:dPt>
          <c:dPt>
            <c:idx val="88"/>
            <c:invertIfNegative val="1"/>
            <c:bubble3D val="0"/>
            <c:spPr>
              <a:solidFill>
                <a:srgbClr val="7ECAC4"/>
              </a:solidFill>
            </c:spPr>
            <c:extLst>
              <c:ext xmlns:c16="http://schemas.microsoft.com/office/drawing/2014/chart" uri="{C3380CC4-5D6E-409C-BE32-E72D297353CC}">
                <c16:uniqueId val="{000000B3-2993-41DE-A2CB-63102DE87051}"/>
              </c:ext>
            </c:extLst>
          </c:dPt>
          <c:dPt>
            <c:idx val="89"/>
            <c:invertIfNegative val="1"/>
            <c:bubble3D val="0"/>
            <c:spPr>
              <a:solidFill>
                <a:srgbClr val="7ECAC4"/>
              </a:solidFill>
            </c:spPr>
            <c:extLst>
              <c:ext xmlns:c16="http://schemas.microsoft.com/office/drawing/2014/chart" uri="{C3380CC4-5D6E-409C-BE32-E72D297353CC}">
                <c16:uniqueId val="{000000B5-2993-41DE-A2CB-63102DE87051}"/>
              </c:ext>
            </c:extLst>
          </c:dPt>
          <c:dPt>
            <c:idx val="90"/>
            <c:invertIfNegative val="1"/>
            <c:bubble3D val="0"/>
            <c:spPr>
              <a:solidFill>
                <a:srgbClr val="7ECAC4"/>
              </a:solidFill>
            </c:spPr>
            <c:extLst>
              <c:ext xmlns:c16="http://schemas.microsoft.com/office/drawing/2014/chart" uri="{C3380CC4-5D6E-409C-BE32-E72D297353CC}">
                <c16:uniqueId val="{000000B7-2993-41DE-A2CB-63102DE87051}"/>
              </c:ext>
            </c:extLst>
          </c:dPt>
          <c:dPt>
            <c:idx val="91"/>
            <c:invertIfNegative val="1"/>
            <c:bubble3D val="0"/>
            <c:spPr>
              <a:solidFill>
                <a:srgbClr val="7ECAC4"/>
              </a:solidFill>
            </c:spPr>
            <c:extLst>
              <c:ext xmlns:c16="http://schemas.microsoft.com/office/drawing/2014/chart" uri="{C3380CC4-5D6E-409C-BE32-E72D297353CC}">
                <c16:uniqueId val="{000000B9-2993-41DE-A2CB-63102DE87051}"/>
              </c:ext>
            </c:extLst>
          </c:dPt>
          <c:dPt>
            <c:idx val="92"/>
            <c:invertIfNegative val="1"/>
            <c:bubble3D val="0"/>
            <c:spPr>
              <a:solidFill>
                <a:srgbClr val="7ECAC4"/>
              </a:solidFill>
            </c:spPr>
            <c:extLst>
              <c:ext xmlns:c16="http://schemas.microsoft.com/office/drawing/2014/chart" uri="{C3380CC4-5D6E-409C-BE32-E72D297353CC}">
                <c16:uniqueId val="{000000BB-2993-41DE-A2CB-63102DE87051}"/>
              </c:ext>
            </c:extLst>
          </c:dPt>
          <c:dPt>
            <c:idx val="93"/>
            <c:invertIfNegative val="1"/>
            <c:bubble3D val="0"/>
            <c:spPr>
              <a:solidFill>
                <a:srgbClr val="7ECAC4"/>
              </a:solidFill>
            </c:spPr>
            <c:extLst>
              <c:ext xmlns:c16="http://schemas.microsoft.com/office/drawing/2014/chart" uri="{C3380CC4-5D6E-409C-BE32-E72D297353CC}">
                <c16:uniqueId val="{000000BD-2993-41DE-A2CB-63102DE87051}"/>
              </c:ext>
            </c:extLst>
          </c:dPt>
          <c:dPt>
            <c:idx val="94"/>
            <c:invertIfNegative val="1"/>
            <c:bubble3D val="0"/>
            <c:spPr>
              <a:solidFill>
                <a:srgbClr val="7ECAC4"/>
              </a:solidFill>
            </c:spPr>
            <c:extLst>
              <c:ext xmlns:c16="http://schemas.microsoft.com/office/drawing/2014/chart" uri="{C3380CC4-5D6E-409C-BE32-E72D297353CC}">
                <c16:uniqueId val="{000000BF-2993-41DE-A2CB-63102DE87051}"/>
              </c:ext>
            </c:extLst>
          </c:dPt>
          <c:dPt>
            <c:idx val="95"/>
            <c:invertIfNegative val="1"/>
            <c:bubble3D val="0"/>
            <c:spPr>
              <a:solidFill>
                <a:srgbClr val="7ECAC4"/>
              </a:solidFill>
            </c:spPr>
            <c:extLst>
              <c:ext xmlns:c16="http://schemas.microsoft.com/office/drawing/2014/chart" uri="{C3380CC4-5D6E-409C-BE32-E72D297353CC}">
                <c16:uniqueId val="{000000C1-2993-41DE-A2CB-63102DE87051}"/>
              </c:ext>
            </c:extLst>
          </c:dPt>
          <c:dPt>
            <c:idx val="96"/>
            <c:invertIfNegative val="1"/>
            <c:bubble3D val="0"/>
            <c:spPr>
              <a:solidFill>
                <a:srgbClr val="7ECAC4"/>
              </a:solidFill>
            </c:spPr>
            <c:extLst>
              <c:ext xmlns:c16="http://schemas.microsoft.com/office/drawing/2014/chart" uri="{C3380CC4-5D6E-409C-BE32-E72D297353CC}">
                <c16:uniqueId val="{000000C3-2993-41DE-A2CB-63102DE87051}"/>
              </c:ext>
            </c:extLst>
          </c:dPt>
          <c:dPt>
            <c:idx val="97"/>
            <c:invertIfNegative val="1"/>
            <c:bubble3D val="0"/>
            <c:spPr>
              <a:solidFill>
                <a:srgbClr val="7ECAC4"/>
              </a:solidFill>
            </c:spPr>
            <c:extLst>
              <c:ext xmlns:c16="http://schemas.microsoft.com/office/drawing/2014/chart" uri="{C3380CC4-5D6E-409C-BE32-E72D297353CC}">
                <c16:uniqueId val="{000000C5-2993-41DE-A2CB-63102DE87051}"/>
              </c:ext>
            </c:extLst>
          </c:dPt>
          <c:dPt>
            <c:idx val="98"/>
            <c:invertIfNegative val="1"/>
            <c:bubble3D val="0"/>
            <c:spPr>
              <a:solidFill>
                <a:srgbClr val="7ECAC4"/>
              </a:solidFill>
            </c:spPr>
            <c:extLst>
              <c:ext xmlns:c16="http://schemas.microsoft.com/office/drawing/2014/chart" uri="{C3380CC4-5D6E-409C-BE32-E72D297353CC}">
                <c16:uniqueId val="{000000C7-2993-41DE-A2CB-63102DE87051}"/>
              </c:ext>
            </c:extLst>
          </c:dPt>
          <c:dPt>
            <c:idx val="99"/>
            <c:invertIfNegative val="1"/>
            <c:bubble3D val="0"/>
            <c:spPr>
              <a:solidFill>
                <a:srgbClr val="7ECAC4"/>
              </a:solidFill>
            </c:spPr>
            <c:extLst>
              <c:ext xmlns:c16="http://schemas.microsoft.com/office/drawing/2014/chart" uri="{C3380CC4-5D6E-409C-BE32-E72D297353CC}">
                <c16:uniqueId val="{000000C9-2993-41DE-A2CB-63102DE87051}"/>
              </c:ext>
            </c:extLst>
          </c:dPt>
          <c:dPt>
            <c:idx val="100"/>
            <c:invertIfNegative val="1"/>
            <c:bubble3D val="0"/>
            <c:spPr>
              <a:solidFill>
                <a:srgbClr val="7ECAC4"/>
              </a:solidFill>
            </c:spPr>
            <c:extLst>
              <c:ext xmlns:c16="http://schemas.microsoft.com/office/drawing/2014/chart" uri="{C3380CC4-5D6E-409C-BE32-E72D297353CC}">
                <c16:uniqueId val="{000000CB-2993-41DE-A2CB-63102DE87051}"/>
              </c:ext>
            </c:extLst>
          </c:dPt>
          <c:dPt>
            <c:idx val="101"/>
            <c:invertIfNegative val="1"/>
            <c:bubble3D val="0"/>
            <c:spPr>
              <a:solidFill>
                <a:srgbClr val="7ECAC4"/>
              </a:solidFill>
            </c:spPr>
            <c:extLst>
              <c:ext xmlns:c16="http://schemas.microsoft.com/office/drawing/2014/chart" uri="{C3380CC4-5D6E-409C-BE32-E72D297353CC}">
                <c16:uniqueId val="{000000CD-2993-41DE-A2CB-63102DE87051}"/>
              </c:ext>
            </c:extLst>
          </c:dPt>
          <c:dPt>
            <c:idx val="102"/>
            <c:invertIfNegative val="1"/>
            <c:bubble3D val="0"/>
            <c:spPr>
              <a:solidFill>
                <a:srgbClr val="7ECAC4"/>
              </a:solidFill>
            </c:spPr>
            <c:extLst>
              <c:ext xmlns:c16="http://schemas.microsoft.com/office/drawing/2014/chart" uri="{C3380CC4-5D6E-409C-BE32-E72D297353CC}">
                <c16:uniqueId val="{000000CF-2993-41DE-A2CB-63102DE87051}"/>
              </c:ext>
            </c:extLst>
          </c:dPt>
          <c:dPt>
            <c:idx val="103"/>
            <c:invertIfNegative val="1"/>
            <c:bubble3D val="0"/>
            <c:spPr>
              <a:solidFill>
                <a:srgbClr val="7ECAC4"/>
              </a:solidFill>
            </c:spPr>
            <c:extLst>
              <c:ext xmlns:c16="http://schemas.microsoft.com/office/drawing/2014/chart" uri="{C3380CC4-5D6E-409C-BE32-E72D297353CC}">
                <c16:uniqueId val="{000000D1-2993-41DE-A2CB-63102DE87051}"/>
              </c:ext>
            </c:extLst>
          </c:dPt>
          <c:dPt>
            <c:idx val="104"/>
            <c:invertIfNegative val="1"/>
            <c:bubble3D val="0"/>
            <c:spPr>
              <a:solidFill>
                <a:srgbClr val="7ECAC4"/>
              </a:solidFill>
            </c:spPr>
            <c:extLst>
              <c:ext xmlns:c16="http://schemas.microsoft.com/office/drawing/2014/chart" uri="{C3380CC4-5D6E-409C-BE32-E72D297353CC}">
                <c16:uniqueId val="{000000D3-2993-41DE-A2CB-63102DE87051}"/>
              </c:ext>
            </c:extLst>
          </c:dPt>
          <c:dPt>
            <c:idx val="105"/>
            <c:invertIfNegative val="1"/>
            <c:bubble3D val="0"/>
            <c:spPr>
              <a:solidFill>
                <a:srgbClr val="7ECAC4"/>
              </a:solidFill>
            </c:spPr>
            <c:extLst>
              <c:ext xmlns:c16="http://schemas.microsoft.com/office/drawing/2014/chart" uri="{C3380CC4-5D6E-409C-BE32-E72D297353CC}">
                <c16:uniqueId val="{000000D5-2993-41DE-A2CB-63102DE87051}"/>
              </c:ext>
            </c:extLst>
          </c:dPt>
          <c:dPt>
            <c:idx val="106"/>
            <c:invertIfNegative val="1"/>
            <c:bubble3D val="0"/>
            <c:spPr>
              <a:solidFill>
                <a:srgbClr val="7ECAC4"/>
              </a:solidFill>
            </c:spPr>
            <c:extLst>
              <c:ext xmlns:c16="http://schemas.microsoft.com/office/drawing/2014/chart" uri="{C3380CC4-5D6E-409C-BE32-E72D297353CC}">
                <c16:uniqueId val="{000000D7-2993-41DE-A2CB-63102DE87051}"/>
              </c:ext>
            </c:extLst>
          </c:dPt>
          <c:dPt>
            <c:idx val="107"/>
            <c:invertIfNegative val="1"/>
            <c:bubble3D val="0"/>
            <c:spPr>
              <a:solidFill>
                <a:srgbClr val="7ECAC4"/>
              </a:solidFill>
            </c:spPr>
            <c:extLst>
              <c:ext xmlns:c16="http://schemas.microsoft.com/office/drawing/2014/chart" uri="{C3380CC4-5D6E-409C-BE32-E72D297353CC}">
                <c16:uniqueId val="{000000D9-2993-41DE-A2CB-63102DE87051}"/>
              </c:ext>
            </c:extLst>
          </c:dPt>
          <c:dPt>
            <c:idx val="108"/>
            <c:invertIfNegative val="1"/>
            <c:bubble3D val="0"/>
            <c:spPr>
              <a:solidFill>
                <a:srgbClr val="7ECAC4"/>
              </a:solidFill>
            </c:spPr>
            <c:extLst>
              <c:ext xmlns:c16="http://schemas.microsoft.com/office/drawing/2014/chart" uri="{C3380CC4-5D6E-409C-BE32-E72D297353CC}">
                <c16:uniqueId val="{000000DB-2993-41DE-A2CB-63102DE87051}"/>
              </c:ext>
            </c:extLst>
          </c:dPt>
          <c:dPt>
            <c:idx val="109"/>
            <c:invertIfNegative val="1"/>
            <c:bubble3D val="0"/>
            <c:spPr>
              <a:solidFill>
                <a:srgbClr val="7ECAC4"/>
              </a:solidFill>
            </c:spPr>
            <c:extLst>
              <c:ext xmlns:c16="http://schemas.microsoft.com/office/drawing/2014/chart" uri="{C3380CC4-5D6E-409C-BE32-E72D297353CC}">
                <c16:uniqueId val="{000000DD-2993-41DE-A2CB-63102DE87051}"/>
              </c:ext>
            </c:extLst>
          </c:dPt>
          <c:dPt>
            <c:idx val="110"/>
            <c:invertIfNegative val="1"/>
            <c:bubble3D val="0"/>
            <c:spPr>
              <a:solidFill>
                <a:srgbClr val="7ECAC4"/>
              </a:solidFill>
            </c:spPr>
            <c:extLst>
              <c:ext xmlns:c16="http://schemas.microsoft.com/office/drawing/2014/chart" uri="{C3380CC4-5D6E-409C-BE32-E72D297353CC}">
                <c16:uniqueId val="{000000DF-2993-41DE-A2CB-63102DE87051}"/>
              </c:ext>
            </c:extLst>
          </c:dPt>
          <c:dPt>
            <c:idx val="111"/>
            <c:invertIfNegative val="1"/>
            <c:bubble3D val="0"/>
            <c:spPr>
              <a:solidFill>
                <a:srgbClr val="7ECAC4"/>
              </a:solidFill>
            </c:spPr>
            <c:extLst>
              <c:ext xmlns:c16="http://schemas.microsoft.com/office/drawing/2014/chart" uri="{C3380CC4-5D6E-409C-BE32-E72D297353CC}">
                <c16:uniqueId val="{000000E1-2993-41DE-A2CB-63102DE87051}"/>
              </c:ext>
            </c:extLst>
          </c:dPt>
          <c:dPt>
            <c:idx val="112"/>
            <c:invertIfNegative val="1"/>
            <c:bubble3D val="0"/>
            <c:spPr>
              <a:solidFill>
                <a:srgbClr val="7ECAC4"/>
              </a:solidFill>
            </c:spPr>
            <c:extLst>
              <c:ext xmlns:c16="http://schemas.microsoft.com/office/drawing/2014/chart" uri="{C3380CC4-5D6E-409C-BE32-E72D297353CC}">
                <c16:uniqueId val="{000000E3-2993-41DE-A2CB-63102DE87051}"/>
              </c:ext>
            </c:extLst>
          </c:dPt>
          <c:dPt>
            <c:idx val="113"/>
            <c:invertIfNegative val="1"/>
            <c:bubble3D val="0"/>
            <c:spPr>
              <a:solidFill>
                <a:srgbClr val="7ECAC4"/>
              </a:solidFill>
            </c:spPr>
            <c:extLst>
              <c:ext xmlns:c16="http://schemas.microsoft.com/office/drawing/2014/chart" uri="{C3380CC4-5D6E-409C-BE32-E72D297353CC}">
                <c16:uniqueId val="{000000E5-2993-41DE-A2CB-63102DE87051}"/>
              </c:ext>
            </c:extLst>
          </c:dPt>
          <c:dPt>
            <c:idx val="114"/>
            <c:invertIfNegative val="1"/>
            <c:bubble3D val="0"/>
            <c:spPr>
              <a:solidFill>
                <a:srgbClr val="7ECAC4"/>
              </a:solidFill>
            </c:spPr>
            <c:extLst>
              <c:ext xmlns:c16="http://schemas.microsoft.com/office/drawing/2014/chart" uri="{C3380CC4-5D6E-409C-BE32-E72D297353CC}">
                <c16:uniqueId val="{000000E7-2993-41DE-A2CB-63102DE87051}"/>
              </c:ext>
            </c:extLst>
          </c:dPt>
          <c:dPt>
            <c:idx val="115"/>
            <c:invertIfNegative val="1"/>
            <c:bubble3D val="0"/>
            <c:spPr>
              <a:solidFill>
                <a:srgbClr val="7ECAC4"/>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AEABAB"/>
              </a:solidFill>
            </c:spPr>
            <c:extLst>
              <c:ext xmlns:c16="http://schemas.microsoft.com/office/drawing/2014/chart" uri="{C3380CC4-5D6E-409C-BE32-E72D297353CC}">
                <c16:uniqueId val="{000000F5-2993-41DE-A2CB-63102DE87051}"/>
              </c:ext>
            </c:extLst>
          </c:dPt>
          <c:dPt>
            <c:idx val="122"/>
            <c:invertIfNegative val="1"/>
            <c:bubble3D val="0"/>
            <c:spPr>
              <a:solidFill>
                <a:srgbClr val="AEABAB"/>
              </a:solidFill>
            </c:spPr>
            <c:extLst>
              <c:ext xmlns:c16="http://schemas.microsoft.com/office/drawing/2014/chart" uri="{C3380CC4-5D6E-409C-BE32-E72D297353CC}">
                <c16:uniqueId val="{000000F7-2993-41DE-A2CB-63102DE87051}"/>
              </c:ext>
            </c:extLst>
          </c:dPt>
          <c:dPt>
            <c:idx val="123"/>
            <c:invertIfNegative val="1"/>
            <c:bubble3D val="0"/>
            <c:spPr>
              <a:solidFill>
                <a:srgbClr val="AEABAB"/>
              </a:solidFill>
            </c:spPr>
            <c:extLst>
              <c:ext xmlns:c16="http://schemas.microsoft.com/office/drawing/2014/chart" uri="{C3380CC4-5D6E-409C-BE32-E72D297353CC}">
                <c16:uniqueId val="{000000F9-2993-41DE-A2CB-63102DE87051}"/>
              </c:ext>
            </c:extLst>
          </c:dPt>
          <c:dPt>
            <c:idx val="124"/>
            <c:invertIfNegative val="1"/>
            <c:bubble3D val="0"/>
            <c:spPr>
              <a:solidFill>
                <a:srgbClr val="AEABAB"/>
              </a:solidFill>
            </c:spPr>
            <c:extLst>
              <c:ext xmlns:c16="http://schemas.microsoft.com/office/drawing/2014/chart" uri="{C3380CC4-5D6E-409C-BE32-E72D297353CC}">
                <c16:uniqueId val="{000000FB-2993-41DE-A2CB-63102DE87051}"/>
              </c:ext>
            </c:extLst>
          </c:dPt>
          <c:dPt>
            <c:idx val="125"/>
            <c:invertIfNegative val="1"/>
            <c:bubble3D val="0"/>
            <c:spPr>
              <a:solidFill>
                <a:srgbClr val="AEABAB"/>
              </a:solidFill>
            </c:spPr>
            <c:extLst>
              <c:ext xmlns:c16="http://schemas.microsoft.com/office/drawing/2014/chart" uri="{C3380CC4-5D6E-409C-BE32-E72D297353CC}">
                <c16:uniqueId val="{000000FD-2993-41DE-A2CB-63102DE87051}"/>
              </c:ext>
            </c:extLst>
          </c:dPt>
          <c:dPt>
            <c:idx val="126"/>
            <c:invertIfNegative val="1"/>
            <c:bubble3D val="0"/>
            <c:spPr>
              <a:solidFill>
                <a:srgbClr val="AEABAB"/>
              </a:solidFill>
            </c:spPr>
            <c:extLst>
              <c:ext xmlns:c16="http://schemas.microsoft.com/office/drawing/2014/chart" uri="{C3380CC4-5D6E-409C-BE32-E72D297353CC}">
                <c16:uniqueId val="{000000FF-2993-41DE-A2CB-63102DE87051}"/>
              </c:ext>
            </c:extLst>
          </c:dPt>
          <c:dPt>
            <c:idx val="127"/>
            <c:invertIfNegative val="1"/>
            <c:bubble3D val="0"/>
            <c:spPr>
              <a:solidFill>
                <a:srgbClr val="AEABAB"/>
              </a:solidFill>
            </c:spPr>
            <c:extLst>
              <c:ext xmlns:c16="http://schemas.microsoft.com/office/drawing/2014/chart" uri="{C3380CC4-5D6E-409C-BE32-E72D297353CC}">
                <c16:uniqueId val="{00000101-2993-41DE-A2CB-63102DE87051}"/>
              </c:ext>
            </c:extLst>
          </c:dPt>
          <c:dPt>
            <c:idx val="128"/>
            <c:invertIfNegative val="1"/>
            <c:bubble3D val="0"/>
            <c:spPr>
              <a:solidFill>
                <a:srgbClr val="AEABAB"/>
              </a:solidFill>
            </c:spPr>
            <c:extLst>
              <c:ext xmlns:c16="http://schemas.microsoft.com/office/drawing/2014/chart" uri="{C3380CC4-5D6E-409C-BE32-E72D297353CC}">
                <c16:uniqueId val="{00000103-2993-41DE-A2CB-63102DE87051}"/>
              </c:ext>
            </c:extLst>
          </c:dPt>
          <c:dPt>
            <c:idx val="129"/>
            <c:invertIfNegative val="1"/>
            <c:bubble3D val="0"/>
            <c:spPr>
              <a:solidFill>
                <a:srgbClr val="AEABAB"/>
              </a:solidFill>
            </c:spPr>
            <c:extLst>
              <c:ext xmlns:c16="http://schemas.microsoft.com/office/drawing/2014/chart" uri="{C3380CC4-5D6E-409C-BE32-E72D297353CC}">
                <c16:uniqueId val="{00000105-2993-41DE-A2CB-63102DE87051}"/>
              </c:ext>
            </c:extLst>
          </c:dPt>
          <c:dPt>
            <c:idx val="130"/>
            <c:invertIfNegative val="1"/>
            <c:bubble3D val="0"/>
            <c:spPr>
              <a:solidFill>
                <a:srgbClr val="AEABAB"/>
              </a:solidFill>
            </c:spPr>
            <c:extLst>
              <c:ext xmlns:c16="http://schemas.microsoft.com/office/drawing/2014/chart" uri="{C3380CC4-5D6E-409C-BE32-E72D297353CC}">
                <c16:uniqueId val="{00000107-2993-41DE-A2CB-63102DE87051}"/>
              </c:ext>
            </c:extLst>
          </c:dPt>
          <c:dPt>
            <c:idx val="131"/>
            <c:invertIfNegative val="1"/>
            <c:bubble3D val="0"/>
            <c:spPr>
              <a:solidFill>
                <a:srgbClr val="AEABAB"/>
              </a:solidFill>
            </c:spPr>
            <c:extLst>
              <c:ext xmlns:c16="http://schemas.microsoft.com/office/drawing/2014/chart" uri="{C3380CC4-5D6E-409C-BE32-E72D297353CC}">
                <c16:uniqueId val="{00000109-2993-41DE-A2CB-63102DE87051}"/>
              </c:ext>
            </c:extLst>
          </c:dPt>
          <c:dPt>
            <c:idx val="132"/>
            <c:invertIfNegative val="1"/>
            <c:bubble3D val="0"/>
            <c:spPr>
              <a:solidFill>
                <a:srgbClr val="AEABAB"/>
              </a:solidFill>
            </c:spPr>
            <c:extLst>
              <c:ext xmlns:c16="http://schemas.microsoft.com/office/drawing/2014/chart" uri="{C3380CC4-5D6E-409C-BE32-E72D297353CC}">
                <c16:uniqueId val="{0000010B-2993-41DE-A2CB-63102DE87051}"/>
              </c:ext>
            </c:extLst>
          </c:dPt>
          <c:dPt>
            <c:idx val="133"/>
            <c:invertIfNegative val="1"/>
            <c:bubble3D val="0"/>
            <c:spPr>
              <a:solidFill>
                <a:srgbClr val="AEABAB"/>
              </a:solidFill>
            </c:spPr>
            <c:extLst>
              <c:ext xmlns:c16="http://schemas.microsoft.com/office/drawing/2014/chart" uri="{C3380CC4-5D6E-409C-BE32-E72D297353CC}">
                <c16:uniqueId val="{0000010D-2993-41DE-A2CB-63102DE87051}"/>
              </c:ext>
            </c:extLst>
          </c:dPt>
          <c:dPt>
            <c:idx val="134"/>
            <c:invertIfNegative val="1"/>
            <c:bubble3D val="0"/>
            <c:spPr>
              <a:solidFill>
                <a:srgbClr val="AEABAB"/>
              </a:solidFill>
            </c:spPr>
            <c:extLst>
              <c:ext xmlns:c16="http://schemas.microsoft.com/office/drawing/2014/chart" uri="{C3380CC4-5D6E-409C-BE32-E72D297353CC}">
                <c16:uniqueId val="{0000010F-2993-41DE-A2CB-63102DE87051}"/>
              </c:ext>
            </c:extLst>
          </c:dPt>
          <c:dPt>
            <c:idx val="135"/>
            <c:invertIfNegative val="1"/>
            <c:bubble3D val="0"/>
            <c:spPr>
              <a:solidFill>
                <a:srgbClr val="AEABAB"/>
              </a:solidFill>
            </c:spPr>
            <c:extLst>
              <c:ext xmlns:c16="http://schemas.microsoft.com/office/drawing/2014/chart" uri="{C3380CC4-5D6E-409C-BE32-E72D297353CC}">
                <c16:uniqueId val="{00000111-2993-41DE-A2CB-63102DE87051}"/>
              </c:ext>
            </c:extLst>
          </c:dPt>
          <c:dPt>
            <c:idx val="136"/>
            <c:invertIfNegative val="1"/>
            <c:bubble3D val="0"/>
            <c:spPr>
              <a:solidFill>
                <a:srgbClr val="AEABAB"/>
              </a:solidFill>
            </c:spPr>
            <c:extLst>
              <c:ext xmlns:c16="http://schemas.microsoft.com/office/drawing/2014/chart" uri="{C3380CC4-5D6E-409C-BE32-E72D297353CC}">
                <c16:uniqueId val="{00000113-2993-41DE-A2CB-63102DE87051}"/>
              </c:ext>
            </c:extLst>
          </c:dPt>
          <c:dPt>
            <c:idx val="137"/>
            <c:invertIfNegative val="1"/>
            <c:bubble3D val="0"/>
            <c:spPr>
              <a:solidFill>
                <a:srgbClr val="AEABAB"/>
              </a:solidFill>
            </c:spPr>
            <c:extLst>
              <c:ext xmlns:c16="http://schemas.microsoft.com/office/drawing/2014/chart" uri="{C3380CC4-5D6E-409C-BE32-E72D297353CC}">
                <c16:uniqueId val="{00000115-2993-41DE-A2CB-63102DE87051}"/>
              </c:ext>
            </c:extLst>
          </c:dPt>
          <c:dPt>
            <c:idx val="138"/>
            <c:invertIfNegative val="1"/>
            <c:bubble3D val="0"/>
            <c:spPr>
              <a:solidFill>
                <a:srgbClr val="AEABAB"/>
              </a:solidFill>
            </c:spPr>
            <c:extLst>
              <c:ext xmlns:c16="http://schemas.microsoft.com/office/drawing/2014/chart" uri="{C3380CC4-5D6E-409C-BE32-E72D297353CC}">
                <c16:uniqueId val="{00000117-2993-41DE-A2CB-63102DE87051}"/>
              </c:ext>
            </c:extLst>
          </c:dPt>
          <c:dPt>
            <c:idx val="139"/>
            <c:invertIfNegative val="1"/>
            <c:bubble3D val="0"/>
            <c:spPr>
              <a:solidFill>
                <a:srgbClr val="AEABAB"/>
              </a:solidFill>
            </c:spPr>
            <c:extLst>
              <c:ext xmlns:c16="http://schemas.microsoft.com/office/drawing/2014/chart" uri="{C3380CC4-5D6E-409C-BE32-E72D297353CC}">
                <c16:uniqueId val="{00000119-2993-41DE-A2CB-63102DE87051}"/>
              </c:ext>
            </c:extLst>
          </c:dPt>
          <c:dPt>
            <c:idx val="140"/>
            <c:invertIfNegative val="1"/>
            <c:bubble3D val="0"/>
            <c:spPr>
              <a:solidFill>
                <a:srgbClr val="AEABAB"/>
              </a:solidFill>
            </c:spPr>
            <c:extLst>
              <c:ext xmlns:c16="http://schemas.microsoft.com/office/drawing/2014/chart" uri="{C3380CC4-5D6E-409C-BE32-E72D297353CC}">
                <c16:uniqueId val="{0000011B-2993-41DE-A2CB-63102DE87051}"/>
              </c:ext>
            </c:extLst>
          </c:dPt>
          <c:dPt>
            <c:idx val="141"/>
            <c:invertIfNegative val="1"/>
            <c:bubble3D val="0"/>
            <c:spPr>
              <a:solidFill>
                <a:srgbClr val="AEABAB"/>
              </a:solidFill>
            </c:spPr>
            <c:extLst>
              <c:ext xmlns:c16="http://schemas.microsoft.com/office/drawing/2014/chart" uri="{C3380CC4-5D6E-409C-BE32-E72D297353CC}">
                <c16:uniqueId val="{0000011D-2993-41DE-A2CB-63102DE87051}"/>
              </c:ext>
            </c:extLst>
          </c:dPt>
          <c:dPt>
            <c:idx val="142"/>
            <c:invertIfNegative val="1"/>
            <c:bubble3D val="0"/>
            <c:spPr>
              <a:solidFill>
                <a:srgbClr val="AEABAB"/>
              </a:solidFill>
            </c:spPr>
            <c:extLst>
              <c:ext xmlns:c16="http://schemas.microsoft.com/office/drawing/2014/chart" uri="{C3380CC4-5D6E-409C-BE32-E72D297353CC}">
                <c16:uniqueId val="{0000011F-2993-41DE-A2CB-63102DE87051}"/>
              </c:ext>
            </c:extLst>
          </c:dPt>
          <c:dPt>
            <c:idx val="143"/>
            <c:invertIfNegative val="1"/>
            <c:bubble3D val="0"/>
            <c:spPr>
              <a:solidFill>
                <a:srgbClr val="AEABAB"/>
              </a:solidFill>
            </c:spPr>
            <c:extLst>
              <c:ext xmlns:c16="http://schemas.microsoft.com/office/drawing/2014/chart" uri="{C3380CC4-5D6E-409C-BE32-E72D297353CC}">
                <c16:uniqueId val="{00000121-2993-41DE-A2CB-63102DE87051}"/>
              </c:ext>
            </c:extLst>
          </c:dPt>
          <c:dPt>
            <c:idx val="144"/>
            <c:invertIfNegative val="1"/>
            <c:bubble3D val="0"/>
            <c:spPr>
              <a:solidFill>
                <a:srgbClr val="AEABAB"/>
              </a:solidFill>
            </c:spPr>
            <c:extLst>
              <c:ext xmlns:c16="http://schemas.microsoft.com/office/drawing/2014/chart" uri="{C3380CC4-5D6E-409C-BE32-E72D297353CC}">
                <c16:uniqueId val="{00000123-2993-41DE-A2CB-63102DE87051}"/>
              </c:ext>
            </c:extLst>
          </c:dPt>
          <c:dPt>
            <c:idx val="145"/>
            <c:invertIfNegative val="1"/>
            <c:bubble3D val="0"/>
            <c:spPr>
              <a:solidFill>
                <a:srgbClr val="AEABAB"/>
              </a:solidFill>
            </c:spPr>
            <c:extLst>
              <c:ext xmlns:c16="http://schemas.microsoft.com/office/drawing/2014/chart" uri="{C3380CC4-5D6E-409C-BE32-E72D297353CC}">
                <c16:uniqueId val="{00000125-2993-41DE-A2CB-63102DE87051}"/>
              </c:ext>
            </c:extLst>
          </c:dPt>
          <c:dPt>
            <c:idx val="146"/>
            <c:invertIfNegative val="1"/>
            <c:bubble3D val="0"/>
            <c:spPr>
              <a:solidFill>
                <a:srgbClr val="AEABAB"/>
              </a:solidFill>
            </c:spPr>
            <c:extLst>
              <c:ext xmlns:c16="http://schemas.microsoft.com/office/drawing/2014/chart" uri="{C3380CC4-5D6E-409C-BE32-E72D297353CC}">
                <c16:uniqueId val="{00000127-2993-41DE-A2CB-63102DE87051}"/>
              </c:ext>
            </c:extLst>
          </c:dPt>
          <c:dPt>
            <c:idx val="147"/>
            <c:invertIfNegative val="1"/>
            <c:bubble3D val="0"/>
            <c:spPr>
              <a:solidFill>
                <a:srgbClr val="AEABAB"/>
              </a:solidFill>
            </c:spPr>
            <c:extLst>
              <c:ext xmlns:c16="http://schemas.microsoft.com/office/drawing/2014/chart" uri="{C3380CC4-5D6E-409C-BE32-E72D297353CC}">
                <c16:uniqueId val="{00000129-2993-41DE-A2CB-63102DE87051}"/>
              </c:ext>
            </c:extLst>
          </c:dPt>
          <c:dPt>
            <c:idx val="148"/>
            <c:invertIfNegative val="1"/>
            <c:bubble3D val="0"/>
            <c:spPr>
              <a:solidFill>
                <a:srgbClr val="AEABAB"/>
              </a:solidFill>
            </c:spPr>
            <c:extLst>
              <c:ext xmlns:c16="http://schemas.microsoft.com/office/drawing/2014/chart" uri="{C3380CC4-5D6E-409C-BE32-E72D297353CC}">
                <c16:uniqueId val="{0000012B-2993-41DE-A2CB-63102DE87051}"/>
              </c:ext>
            </c:extLst>
          </c:dPt>
          <c:dPt>
            <c:idx val="149"/>
            <c:invertIfNegative val="1"/>
            <c:bubble3D val="0"/>
            <c:spPr>
              <a:solidFill>
                <a:srgbClr val="AEABAB"/>
              </a:solidFill>
            </c:spPr>
            <c:extLst>
              <c:ext xmlns:c16="http://schemas.microsoft.com/office/drawing/2014/chart" uri="{C3380CC4-5D6E-409C-BE32-E72D297353CC}">
                <c16:uniqueId val="{0000012D-2993-41DE-A2CB-63102DE87051}"/>
              </c:ext>
            </c:extLst>
          </c:dPt>
          <c:dPt>
            <c:idx val="150"/>
            <c:invertIfNegative val="1"/>
            <c:bubble3D val="0"/>
            <c:spPr>
              <a:solidFill>
                <a:srgbClr val="AEABAB"/>
              </a:solidFill>
            </c:spPr>
            <c:extLst>
              <c:ext xmlns:c16="http://schemas.microsoft.com/office/drawing/2014/chart" uri="{C3380CC4-5D6E-409C-BE32-E72D297353CC}">
                <c16:uniqueId val="{0000012F-2993-41DE-A2CB-63102DE87051}"/>
              </c:ext>
            </c:extLst>
          </c:dPt>
          <c:dPt>
            <c:idx val="151"/>
            <c:invertIfNegative val="1"/>
            <c:bubble3D val="0"/>
            <c:spPr>
              <a:solidFill>
                <a:srgbClr val="AEABAB"/>
              </a:solidFill>
            </c:spPr>
            <c:extLst>
              <c:ext xmlns:c16="http://schemas.microsoft.com/office/drawing/2014/chart" uri="{C3380CC4-5D6E-409C-BE32-E72D297353CC}">
                <c16:uniqueId val="{00000131-2993-41DE-A2CB-63102DE87051}"/>
              </c:ext>
            </c:extLst>
          </c:dPt>
          <c:dPt>
            <c:idx val="152"/>
            <c:invertIfNegative val="1"/>
            <c:bubble3D val="0"/>
            <c:spPr>
              <a:solidFill>
                <a:srgbClr val="AEABAB"/>
              </a:solidFill>
            </c:spPr>
            <c:extLst>
              <c:ext xmlns:c16="http://schemas.microsoft.com/office/drawing/2014/chart" uri="{C3380CC4-5D6E-409C-BE32-E72D297353CC}">
                <c16:uniqueId val="{00000133-2993-41DE-A2CB-63102DE87051}"/>
              </c:ext>
            </c:extLst>
          </c:dPt>
          <c:dPt>
            <c:idx val="153"/>
            <c:invertIfNegative val="1"/>
            <c:bubble3D val="0"/>
            <c:spPr>
              <a:solidFill>
                <a:srgbClr val="AEABAB"/>
              </a:solidFill>
            </c:spPr>
            <c:extLst>
              <c:ext xmlns:c16="http://schemas.microsoft.com/office/drawing/2014/chart" uri="{C3380CC4-5D6E-409C-BE32-E72D297353CC}">
                <c16:uniqueId val="{00000135-2993-41DE-A2CB-63102DE87051}"/>
              </c:ext>
            </c:extLst>
          </c:dPt>
          <c:dPt>
            <c:idx val="154"/>
            <c:invertIfNegative val="1"/>
            <c:bubble3D val="0"/>
            <c:spPr>
              <a:solidFill>
                <a:srgbClr val="AEABAB"/>
              </a:solidFill>
            </c:spPr>
            <c:extLst>
              <c:ext xmlns:c16="http://schemas.microsoft.com/office/drawing/2014/chart" uri="{C3380CC4-5D6E-409C-BE32-E72D297353CC}">
                <c16:uniqueId val="{00000137-2993-41DE-A2CB-63102DE87051}"/>
              </c:ext>
            </c:extLst>
          </c:dPt>
          <c:dPt>
            <c:idx val="155"/>
            <c:invertIfNegative val="1"/>
            <c:bubble3D val="0"/>
            <c:spPr>
              <a:solidFill>
                <a:srgbClr val="AEABAB"/>
              </a:solidFill>
            </c:spPr>
            <c:extLst>
              <c:ext xmlns:c16="http://schemas.microsoft.com/office/drawing/2014/chart" uri="{C3380CC4-5D6E-409C-BE32-E72D297353CC}">
                <c16:uniqueId val="{00000139-2993-41DE-A2CB-63102DE87051}"/>
              </c:ext>
            </c:extLst>
          </c:dPt>
          <c:dPt>
            <c:idx val="156"/>
            <c:invertIfNegative val="1"/>
            <c:bubble3D val="0"/>
            <c:spPr>
              <a:solidFill>
                <a:srgbClr val="AEABAB"/>
              </a:solidFill>
            </c:spPr>
            <c:extLst>
              <c:ext xmlns:c16="http://schemas.microsoft.com/office/drawing/2014/chart" uri="{C3380CC4-5D6E-409C-BE32-E72D297353CC}">
                <c16:uniqueId val="{0000013B-2993-41DE-A2CB-63102DE87051}"/>
              </c:ext>
            </c:extLst>
          </c:dPt>
          <c:dPt>
            <c:idx val="157"/>
            <c:invertIfNegative val="1"/>
            <c:bubble3D val="0"/>
            <c:spPr>
              <a:solidFill>
                <a:srgbClr val="AEABAB"/>
              </a:solidFill>
            </c:spPr>
            <c:extLst>
              <c:ext xmlns:c16="http://schemas.microsoft.com/office/drawing/2014/chart" uri="{C3380CC4-5D6E-409C-BE32-E72D297353CC}">
                <c16:uniqueId val="{0000013D-2993-41DE-A2CB-63102DE87051}"/>
              </c:ext>
            </c:extLst>
          </c:dPt>
          <c:dPt>
            <c:idx val="158"/>
            <c:invertIfNegative val="1"/>
            <c:bubble3D val="0"/>
            <c:spPr>
              <a:solidFill>
                <a:srgbClr val="AEABAB"/>
              </a:solidFill>
            </c:spPr>
            <c:extLst>
              <c:ext xmlns:c16="http://schemas.microsoft.com/office/drawing/2014/chart" uri="{C3380CC4-5D6E-409C-BE32-E72D297353CC}">
                <c16:uniqueId val="{0000013F-2993-41DE-A2CB-63102DE87051}"/>
              </c:ext>
            </c:extLst>
          </c:dPt>
          <c:dPt>
            <c:idx val="159"/>
            <c:invertIfNegative val="1"/>
            <c:bubble3D val="0"/>
            <c:spPr>
              <a:solidFill>
                <a:srgbClr val="AEABAB"/>
              </a:solidFill>
            </c:spPr>
            <c:extLst>
              <c:ext xmlns:c16="http://schemas.microsoft.com/office/drawing/2014/chart" uri="{C3380CC4-5D6E-409C-BE32-E72D297353CC}">
                <c16:uniqueId val="{00000141-2993-41DE-A2CB-63102DE87051}"/>
              </c:ext>
            </c:extLst>
          </c:dPt>
          <c:dPt>
            <c:idx val="160"/>
            <c:invertIfNegative val="1"/>
            <c:bubble3D val="0"/>
            <c:spPr>
              <a:solidFill>
                <a:srgbClr val="AEABAB"/>
              </a:solidFill>
            </c:spPr>
            <c:extLst>
              <c:ext xmlns:c16="http://schemas.microsoft.com/office/drawing/2014/chart" uri="{C3380CC4-5D6E-409C-BE32-E72D297353CC}">
                <c16:uniqueId val="{00000143-2993-41DE-A2CB-63102DE87051}"/>
              </c:ext>
            </c:extLst>
          </c:dPt>
          <c:dPt>
            <c:idx val="161"/>
            <c:invertIfNegative val="1"/>
            <c:bubble3D val="0"/>
            <c:spPr>
              <a:solidFill>
                <a:srgbClr val="AEABAB"/>
              </a:solidFill>
            </c:spPr>
            <c:extLst>
              <c:ext xmlns:c16="http://schemas.microsoft.com/office/drawing/2014/chart" uri="{C3380CC4-5D6E-409C-BE32-E72D297353CC}">
                <c16:uniqueId val="{00000145-2993-41DE-A2CB-63102DE87051}"/>
              </c:ext>
            </c:extLst>
          </c:dPt>
          <c:dPt>
            <c:idx val="162"/>
            <c:invertIfNegative val="1"/>
            <c:bubble3D val="0"/>
            <c:spPr>
              <a:solidFill>
                <a:srgbClr val="AEABAB"/>
              </a:solidFill>
            </c:spPr>
            <c:extLst>
              <c:ext xmlns:c16="http://schemas.microsoft.com/office/drawing/2014/chart" uri="{C3380CC4-5D6E-409C-BE32-E72D297353CC}">
                <c16:uniqueId val="{00000147-2993-41DE-A2CB-63102DE87051}"/>
              </c:ext>
            </c:extLst>
          </c:dPt>
          <c:dPt>
            <c:idx val="163"/>
            <c:invertIfNegative val="1"/>
            <c:bubble3D val="0"/>
            <c:spPr>
              <a:solidFill>
                <a:srgbClr val="AEABAB"/>
              </a:solidFill>
            </c:spPr>
            <c:extLst>
              <c:ext xmlns:c16="http://schemas.microsoft.com/office/drawing/2014/chart" uri="{C3380CC4-5D6E-409C-BE32-E72D297353CC}">
                <c16:uniqueId val="{00000149-2993-41DE-A2CB-63102DE87051}"/>
              </c:ext>
            </c:extLst>
          </c:dPt>
          <c:dPt>
            <c:idx val="164"/>
            <c:invertIfNegative val="1"/>
            <c:bubble3D val="0"/>
            <c:spPr>
              <a:solidFill>
                <a:srgbClr val="AEABAB"/>
              </a:solidFill>
            </c:spPr>
            <c:extLst>
              <c:ext xmlns:c16="http://schemas.microsoft.com/office/drawing/2014/chart" uri="{C3380CC4-5D6E-409C-BE32-E72D297353CC}">
                <c16:uniqueId val="{0000014B-2993-41DE-A2CB-63102DE87051}"/>
              </c:ext>
            </c:extLst>
          </c:dPt>
          <c:dPt>
            <c:idx val="165"/>
            <c:invertIfNegative val="1"/>
            <c:bubble3D val="0"/>
            <c:spPr>
              <a:solidFill>
                <a:srgbClr val="AEABAB"/>
              </a:solidFill>
            </c:spPr>
            <c:extLst>
              <c:ext xmlns:c16="http://schemas.microsoft.com/office/drawing/2014/chart" uri="{C3380CC4-5D6E-409C-BE32-E72D297353CC}">
                <c16:uniqueId val="{0000014D-2993-41DE-A2CB-63102DE87051}"/>
              </c:ext>
            </c:extLst>
          </c:dPt>
          <c:dPt>
            <c:idx val="166"/>
            <c:invertIfNegative val="1"/>
            <c:bubble3D val="0"/>
            <c:spPr>
              <a:solidFill>
                <a:srgbClr val="AEABAB"/>
              </a:solidFill>
            </c:spPr>
            <c:extLst>
              <c:ext xmlns:c16="http://schemas.microsoft.com/office/drawing/2014/chart" uri="{C3380CC4-5D6E-409C-BE32-E72D297353CC}">
                <c16:uniqueId val="{0000014F-2993-41DE-A2CB-63102DE87051}"/>
              </c:ext>
            </c:extLst>
          </c:dPt>
          <c:dPt>
            <c:idx val="167"/>
            <c:invertIfNegative val="1"/>
            <c:bubble3D val="0"/>
            <c:spPr>
              <a:solidFill>
                <a:srgbClr val="AEABAB"/>
              </a:solidFill>
            </c:spPr>
            <c:extLst>
              <c:ext xmlns:c16="http://schemas.microsoft.com/office/drawing/2014/chart" uri="{C3380CC4-5D6E-409C-BE32-E72D297353CC}">
                <c16:uniqueId val="{00000151-2993-41DE-A2CB-63102DE87051}"/>
              </c:ext>
            </c:extLst>
          </c:dPt>
          <c:dPt>
            <c:idx val="168"/>
            <c:invertIfNegative val="1"/>
            <c:bubble3D val="0"/>
            <c:spPr>
              <a:solidFill>
                <a:srgbClr val="AEABAB"/>
              </a:solidFill>
            </c:spPr>
            <c:extLst>
              <c:ext xmlns:c16="http://schemas.microsoft.com/office/drawing/2014/chart" uri="{C3380CC4-5D6E-409C-BE32-E72D297353CC}">
                <c16:uniqueId val="{00000153-2993-41DE-A2CB-63102DE87051}"/>
              </c:ext>
            </c:extLst>
          </c:dPt>
          <c:dPt>
            <c:idx val="169"/>
            <c:invertIfNegative val="1"/>
            <c:bubble3D val="0"/>
            <c:spPr>
              <a:solidFill>
                <a:srgbClr val="AEABAB"/>
              </a:solidFill>
            </c:spPr>
            <c:extLst>
              <c:ext xmlns:c16="http://schemas.microsoft.com/office/drawing/2014/chart" uri="{C3380CC4-5D6E-409C-BE32-E72D297353CC}">
                <c16:uniqueId val="{00000155-2993-41DE-A2CB-63102DE87051}"/>
              </c:ext>
            </c:extLst>
          </c:dPt>
          <c:dPt>
            <c:idx val="170"/>
            <c:invertIfNegative val="1"/>
            <c:bubble3D val="0"/>
            <c:spPr>
              <a:solidFill>
                <a:srgbClr val="AEABAB"/>
              </a:solidFill>
            </c:spPr>
            <c:extLst>
              <c:ext xmlns:c16="http://schemas.microsoft.com/office/drawing/2014/chart" uri="{C3380CC4-5D6E-409C-BE32-E72D297353CC}">
                <c16:uniqueId val="{00000157-2993-41DE-A2CB-63102DE87051}"/>
              </c:ext>
            </c:extLst>
          </c:dPt>
          <c:dPt>
            <c:idx val="171"/>
            <c:invertIfNegative val="1"/>
            <c:bubble3D val="0"/>
            <c:spPr>
              <a:solidFill>
                <a:srgbClr val="AEABAB"/>
              </a:solidFill>
            </c:spPr>
            <c:extLst>
              <c:ext xmlns:c16="http://schemas.microsoft.com/office/drawing/2014/chart" uri="{C3380CC4-5D6E-409C-BE32-E72D297353CC}">
                <c16:uniqueId val="{00000159-2993-41DE-A2CB-63102DE87051}"/>
              </c:ext>
            </c:extLst>
          </c:dPt>
          <c:dPt>
            <c:idx val="172"/>
            <c:invertIfNegative val="1"/>
            <c:bubble3D val="0"/>
            <c:spPr>
              <a:solidFill>
                <a:srgbClr val="AEABAB"/>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dPt>
            <c:idx val="210"/>
            <c:invertIfNegative val="1"/>
            <c:bubble3D val="0"/>
            <c:spPr>
              <a:solidFill>
                <a:srgbClr val="AEABAB"/>
              </a:solidFill>
            </c:spPr>
            <c:extLst>
              <c:ext xmlns:c16="http://schemas.microsoft.com/office/drawing/2014/chart" uri="{C3380CC4-5D6E-409C-BE32-E72D297353CC}">
                <c16:uniqueId val="{000001A7-749D-414D-9DD8-CF636592D1C6}"/>
              </c:ext>
            </c:extLst>
          </c:dPt>
          <c:dPt>
            <c:idx val="211"/>
            <c:invertIfNegative val="1"/>
            <c:bubble3D val="0"/>
            <c:spPr>
              <a:solidFill>
                <a:srgbClr val="AEABAB"/>
              </a:solidFill>
            </c:spPr>
            <c:extLst>
              <c:ext xmlns:c16="http://schemas.microsoft.com/office/drawing/2014/chart" uri="{C3380CC4-5D6E-409C-BE32-E72D297353CC}">
                <c16:uniqueId val="{000001A9-749D-414D-9DD8-CF636592D1C6}"/>
              </c:ext>
            </c:extLst>
          </c:dPt>
          <c:dPt>
            <c:idx val="212"/>
            <c:invertIfNegative val="1"/>
            <c:bubble3D val="0"/>
            <c:spPr>
              <a:solidFill>
                <a:srgbClr val="AEABAB"/>
              </a:solidFill>
            </c:spPr>
            <c:extLst>
              <c:ext xmlns:c16="http://schemas.microsoft.com/office/drawing/2014/chart" uri="{C3380CC4-5D6E-409C-BE32-E72D297353CC}">
                <c16:uniqueId val="{000001AB-749D-414D-9DD8-CF636592D1C6}"/>
              </c:ext>
            </c:extLst>
          </c:dPt>
          <c:dPt>
            <c:idx val="213"/>
            <c:invertIfNegative val="1"/>
            <c:bubble3D val="0"/>
            <c:spPr>
              <a:solidFill>
                <a:srgbClr val="AEABAB"/>
              </a:solidFill>
            </c:spPr>
            <c:extLst>
              <c:ext xmlns:c16="http://schemas.microsoft.com/office/drawing/2014/chart" uri="{C3380CC4-5D6E-409C-BE32-E72D297353CC}">
                <c16:uniqueId val="{000001AD-749D-414D-9DD8-CF636592D1C6}"/>
              </c:ext>
            </c:extLst>
          </c:dPt>
          <c:dPt>
            <c:idx val="214"/>
            <c:invertIfNegative val="1"/>
            <c:bubble3D val="0"/>
            <c:spPr>
              <a:solidFill>
                <a:srgbClr val="AEABAB"/>
              </a:solidFill>
            </c:spPr>
            <c:extLst>
              <c:ext xmlns:c16="http://schemas.microsoft.com/office/drawing/2014/chart" uri="{C3380CC4-5D6E-409C-BE32-E72D297353CC}">
                <c16:uniqueId val="{000001AF-749D-414D-9DD8-CF636592D1C6}"/>
              </c:ext>
            </c:extLst>
          </c:dPt>
          <c:dPt>
            <c:idx val="215"/>
            <c:invertIfNegative val="1"/>
            <c:bubble3D val="0"/>
            <c:spPr>
              <a:solidFill>
                <a:srgbClr val="AEABAB"/>
              </a:solidFill>
            </c:spPr>
            <c:extLst>
              <c:ext xmlns:c16="http://schemas.microsoft.com/office/drawing/2014/chart" uri="{C3380CC4-5D6E-409C-BE32-E72D297353CC}">
                <c16:uniqueId val="{000001B1-749D-414D-9DD8-CF636592D1C6}"/>
              </c:ext>
            </c:extLst>
          </c:dPt>
          <c:dPt>
            <c:idx val="216"/>
            <c:invertIfNegative val="1"/>
            <c:bubble3D val="0"/>
            <c:spPr>
              <a:solidFill>
                <a:srgbClr val="AEABAB"/>
              </a:solidFill>
            </c:spPr>
            <c:extLst>
              <c:ext xmlns:c16="http://schemas.microsoft.com/office/drawing/2014/chart" uri="{C3380CC4-5D6E-409C-BE32-E72D297353CC}">
                <c16:uniqueId val="{000001B3-749D-414D-9DD8-CF636592D1C6}"/>
              </c:ext>
            </c:extLst>
          </c:dPt>
          <c:dPt>
            <c:idx val="217"/>
            <c:invertIfNegative val="1"/>
            <c:bubble3D val="0"/>
            <c:spPr>
              <a:solidFill>
                <a:srgbClr val="AEABAB"/>
              </a:solidFill>
            </c:spPr>
            <c:extLst>
              <c:ext xmlns:c16="http://schemas.microsoft.com/office/drawing/2014/chart" uri="{C3380CC4-5D6E-409C-BE32-E72D297353CC}">
                <c16:uniqueId val="{000001B5-749D-414D-9DD8-CF636592D1C6}"/>
              </c:ext>
            </c:extLst>
          </c:dPt>
          <c:dPt>
            <c:idx val="218"/>
            <c:invertIfNegative val="1"/>
            <c:bubble3D val="0"/>
            <c:spPr>
              <a:solidFill>
                <a:srgbClr val="AEABAB"/>
              </a:solidFill>
            </c:spPr>
            <c:extLst>
              <c:ext xmlns:c16="http://schemas.microsoft.com/office/drawing/2014/chart" uri="{C3380CC4-5D6E-409C-BE32-E72D297353CC}">
                <c16:uniqueId val="{000001B7-749D-414D-9DD8-CF636592D1C6}"/>
              </c:ext>
            </c:extLst>
          </c:dPt>
          <c:dPt>
            <c:idx val="219"/>
            <c:invertIfNegative val="1"/>
            <c:bubble3D val="0"/>
            <c:spPr>
              <a:solidFill>
                <a:srgbClr val="AEABAB"/>
              </a:solidFill>
            </c:spPr>
            <c:extLst>
              <c:ext xmlns:c16="http://schemas.microsoft.com/office/drawing/2014/chart" uri="{C3380CC4-5D6E-409C-BE32-E72D297353CC}">
                <c16:uniqueId val="{000001B9-749D-414D-9DD8-CF636592D1C6}"/>
              </c:ext>
            </c:extLst>
          </c:dPt>
          <c:dPt>
            <c:idx val="220"/>
            <c:invertIfNegative val="1"/>
            <c:bubble3D val="0"/>
            <c:spPr>
              <a:solidFill>
                <a:srgbClr val="AEABAB"/>
              </a:solidFill>
            </c:spPr>
            <c:extLst>
              <c:ext xmlns:c16="http://schemas.microsoft.com/office/drawing/2014/chart" uri="{C3380CC4-5D6E-409C-BE32-E72D297353CC}">
                <c16:uniqueId val="{000001BB-749D-414D-9DD8-CF636592D1C6}"/>
              </c:ext>
            </c:extLst>
          </c:dPt>
          <c:dPt>
            <c:idx val="221"/>
            <c:invertIfNegative val="1"/>
            <c:bubble3D val="0"/>
            <c:spPr>
              <a:solidFill>
                <a:srgbClr val="AEABAB"/>
              </a:solidFill>
            </c:spPr>
            <c:extLst>
              <c:ext xmlns:c16="http://schemas.microsoft.com/office/drawing/2014/chart" uri="{C3380CC4-5D6E-409C-BE32-E72D297353CC}">
                <c16:uniqueId val="{000001BD-749D-414D-9DD8-CF636592D1C6}"/>
              </c:ext>
            </c:extLst>
          </c:dPt>
          <c:dPt>
            <c:idx val="222"/>
            <c:invertIfNegative val="1"/>
            <c:bubble3D val="0"/>
            <c:spPr>
              <a:solidFill>
                <a:srgbClr val="AEABAB"/>
              </a:solidFill>
            </c:spPr>
            <c:extLst>
              <c:ext xmlns:c16="http://schemas.microsoft.com/office/drawing/2014/chart" uri="{C3380CC4-5D6E-409C-BE32-E72D297353CC}">
                <c16:uniqueId val="{000001BF-749D-414D-9DD8-CF636592D1C6}"/>
              </c:ext>
            </c:extLst>
          </c:dPt>
          <c:dPt>
            <c:idx val="223"/>
            <c:invertIfNegative val="1"/>
            <c:bubble3D val="0"/>
            <c:spPr>
              <a:solidFill>
                <a:srgbClr val="AEABAB"/>
              </a:solidFill>
            </c:spPr>
            <c:extLst>
              <c:ext xmlns:c16="http://schemas.microsoft.com/office/drawing/2014/chart" uri="{C3380CC4-5D6E-409C-BE32-E72D297353CC}">
                <c16:uniqueId val="{000001C1-749D-414D-9DD8-CF636592D1C6}"/>
              </c:ext>
            </c:extLst>
          </c:dPt>
          <c:dPt>
            <c:idx val="224"/>
            <c:invertIfNegative val="1"/>
            <c:bubble3D val="0"/>
            <c:spPr>
              <a:solidFill>
                <a:srgbClr val="AEABAB"/>
              </a:solidFill>
            </c:spPr>
            <c:extLst>
              <c:ext xmlns:c16="http://schemas.microsoft.com/office/drawing/2014/chart" uri="{C3380CC4-5D6E-409C-BE32-E72D297353CC}">
                <c16:uniqueId val="{000001C3-749D-414D-9DD8-CF636592D1C6}"/>
              </c:ext>
            </c:extLst>
          </c:dPt>
          <c:dPt>
            <c:idx val="225"/>
            <c:invertIfNegative val="1"/>
            <c:bubble3D val="0"/>
            <c:spPr>
              <a:solidFill>
                <a:srgbClr val="AEABAB"/>
              </a:solidFill>
            </c:spPr>
            <c:extLst>
              <c:ext xmlns:c16="http://schemas.microsoft.com/office/drawing/2014/chart" uri="{C3380CC4-5D6E-409C-BE32-E72D297353CC}">
                <c16:uniqueId val="{000001C5-749D-414D-9DD8-CF636592D1C6}"/>
              </c:ext>
            </c:extLst>
          </c:dPt>
          <c:dPt>
            <c:idx val="226"/>
            <c:invertIfNegative val="1"/>
            <c:bubble3D val="0"/>
            <c:spPr>
              <a:solidFill>
                <a:srgbClr val="AEABAB"/>
              </a:solidFill>
            </c:spPr>
            <c:extLst>
              <c:ext xmlns:c16="http://schemas.microsoft.com/office/drawing/2014/chart" uri="{C3380CC4-5D6E-409C-BE32-E72D297353CC}">
                <c16:uniqueId val="{000001C7-749D-414D-9DD8-CF636592D1C6}"/>
              </c:ext>
            </c:extLst>
          </c:dPt>
          <c:dPt>
            <c:idx val="227"/>
            <c:invertIfNegative val="1"/>
            <c:bubble3D val="0"/>
            <c:spPr>
              <a:solidFill>
                <a:srgbClr val="AEABAB"/>
              </a:solidFill>
            </c:spPr>
            <c:extLst>
              <c:ext xmlns:c16="http://schemas.microsoft.com/office/drawing/2014/chart" uri="{C3380CC4-5D6E-409C-BE32-E72D297353CC}">
                <c16:uniqueId val="{000001C9-749D-414D-9DD8-CF636592D1C6}"/>
              </c:ext>
            </c:extLst>
          </c:dPt>
          <c:dPt>
            <c:idx val="228"/>
            <c:invertIfNegative val="1"/>
            <c:bubble3D val="0"/>
            <c:spPr>
              <a:solidFill>
                <a:srgbClr val="AEABAB"/>
              </a:solidFill>
            </c:spPr>
            <c:extLst>
              <c:ext xmlns:c16="http://schemas.microsoft.com/office/drawing/2014/chart" uri="{C3380CC4-5D6E-409C-BE32-E72D297353CC}">
                <c16:uniqueId val="{000001CB-749D-414D-9DD8-CF636592D1C6}"/>
              </c:ext>
            </c:extLst>
          </c:dPt>
          <c:dPt>
            <c:idx val="229"/>
            <c:invertIfNegative val="1"/>
            <c:bubble3D val="0"/>
            <c:spPr>
              <a:solidFill>
                <a:srgbClr val="AEABAB"/>
              </a:solidFill>
            </c:spPr>
            <c:extLst>
              <c:ext xmlns:c16="http://schemas.microsoft.com/office/drawing/2014/chart" uri="{C3380CC4-5D6E-409C-BE32-E72D297353CC}">
                <c16:uniqueId val="{000001CD-749D-414D-9DD8-CF636592D1C6}"/>
              </c:ext>
            </c:extLst>
          </c:dPt>
          <c:dPt>
            <c:idx val="230"/>
            <c:invertIfNegative val="1"/>
            <c:bubble3D val="0"/>
            <c:spPr>
              <a:solidFill>
                <a:srgbClr val="AEABAB"/>
              </a:solidFill>
            </c:spPr>
            <c:extLst>
              <c:ext xmlns:c16="http://schemas.microsoft.com/office/drawing/2014/chart" uri="{C3380CC4-5D6E-409C-BE32-E72D297353CC}">
                <c16:uniqueId val="{000001CF-749D-414D-9DD8-CF636592D1C6}"/>
              </c:ext>
            </c:extLst>
          </c:dPt>
          <c:dPt>
            <c:idx val="231"/>
            <c:invertIfNegative val="1"/>
            <c:bubble3D val="0"/>
            <c:spPr>
              <a:solidFill>
                <a:srgbClr val="AEABAB"/>
              </a:solidFill>
            </c:spPr>
            <c:extLst>
              <c:ext xmlns:c16="http://schemas.microsoft.com/office/drawing/2014/chart" uri="{C3380CC4-5D6E-409C-BE32-E72D297353CC}">
                <c16:uniqueId val="{000001D1-749D-414D-9DD8-CF636592D1C6}"/>
              </c:ext>
            </c:extLst>
          </c:dPt>
          <c:dPt>
            <c:idx val="232"/>
            <c:invertIfNegative val="1"/>
            <c:bubble3D val="0"/>
            <c:spPr>
              <a:solidFill>
                <a:srgbClr val="AEABAB"/>
              </a:solidFill>
            </c:spPr>
            <c:extLst>
              <c:ext xmlns:c16="http://schemas.microsoft.com/office/drawing/2014/chart" uri="{C3380CC4-5D6E-409C-BE32-E72D297353CC}">
                <c16:uniqueId val="{000001D3-749D-414D-9DD8-CF636592D1C6}"/>
              </c:ext>
            </c:extLst>
          </c:dPt>
          <c:dPt>
            <c:idx val="233"/>
            <c:invertIfNegative val="1"/>
            <c:bubble3D val="0"/>
            <c:spPr>
              <a:solidFill>
                <a:srgbClr val="AEABAB"/>
              </a:solidFill>
            </c:spPr>
            <c:extLst>
              <c:ext xmlns:c16="http://schemas.microsoft.com/office/drawing/2014/chart" uri="{C3380CC4-5D6E-409C-BE32-E72D297353CC}">
                <c16:uniqueId val="{000001D5-749D-414D-9DD8-CF636592D1C6}"/>
              </c:ext>
            </c:extLst>
          </c:dPt>
          <c:dPt>
            <c:idx val="234"/>
            <c:invertIfNegative val="1"/>
            <c:bubble3D val="0"/>
            <c:spPr>
              <a:solidFill>
                <a:srgbClr val="AEABAB"/>
              </a:solidFill>
            </c:spPr>
            <c:extLst>
              <c:ext xmlns:c16="http://schemas.microsoft.com/office/drawing/2014/chart" uri="{C3380CC4-5D6E-409C-BE32-E72D297353CC}">
                <c16:uniqueId val="{000001D7-749D-414D-9DD8-CF636592D1C6}"/>
              </c:ext>
            </c:extLst>
          </c:dPt>
          <c:dPt>
            <c:idx val="235"/>
            <c:invertIfNegative val="1"/>
            <c:bubble3D val="0"/>
            <c:spPr>
              <a:solidFill>
                <a:srgbClr val="AEABAB"/>
              </a:solidFill>
            </c:spPr>
            <c:extLst>
              <c:ext xmlns:c16="http://schemas.microsoft.com/office/drawing/2014/chart" uri="{C3380CC4-5D6E-409C-BE32-E72D297353CC}">
                <c16:uniqueId val="{000001D9-749D-414D-9DD8-CF636592D1C6}"/>
              </c:ext>
            </c:extLst>
          </c:dPt>
          <c:dPt>
            <c:idx val="236"/>
            <c:invertIfNegative val="1"/>
            <c:bubble3D val="0"/>
            <c:spPr>
              <a:solidFill>
                <a:srgbClr val="AEABAB"/>
              </a:solidFill>
            </c:spPr>
            <c:extLst>
              <c:ext xmlns:c16="http://schemas.microsoft.com/office/drawing/2014/chart" uri="{C3380CC4-5D6E-409C-BE32-E72D297353CC}">
                <c16:uniqueId val="{000001DB-749D-414D-9DD8-CF636592D1C6}"/>
              </c:ext>
            </c:extLst>
          </c:dPt>
          <c:dPt>
            <c:idx val="237"/>
            <c:invertIfNegative val="1"/>
            <c:bubble3D val="0"/>
            <c:spPr>
              <a:solidFill>
                <a:srgbClr val="AEABAB"/>
              </a:solidFill>
            </c:spPr>
            <c:extLst>
              <c:ext xmlns:c16="http://schemas.microsoft.com/office/drawing/2014/chart" uri="{C3380CC4-5D6E-409C-BE32-E72D297353CC}">
                <c16:uniqueId val="{000001DD-749D-414D-9DD8-CF636592D1C6}"/>
              </c:ext>
            </c:extLst>
          </c:dPt>
          <c:dPt>
            <c:idx val="238"/>
            <c:invertIfNegative val="1"/>
            <c:bubble3D val="0"/>
            <c:spPr>
              <a:solidFill>
                <a:srgbClr val="AEABAB"/>
              </a:solidFill>
            </c:spPr>
            <c:extLst>
              <c:ext xmlns:c16="http://schemas.microsoft.com/office/drawing/2014/chart" uri="{C3380CC4-5D6E-409C-BE32-E72D297353CC}">
                <c16:uniqueId val="{000001DF-749D-414D-9DD8-CF636592D1C6}"/>
              </c:ext>
            </c:extLst>
          </c:dPt>
          <c:dPt>
            <c:idx val="239"/>
            <c:invertIfNegative val="1"/>
            <c:bubble3D val="0"/>
            <c:spPr>
              <a:solidFill>
                <a:srgbClr val="AEABAB"/>
              </a:solidFill>
            </c:spPr>
            <c:extLst>
              <c:ext xmlns:c16="http://schemas.microsoft.com/office/drawing/2014/chart" uri="{C3380CC4-5D6E-409C-BE32-E72D297353CC}">
                <c16:uniqueId val="{000001E1-749D-414D-9DD8-CF636592D1C6}"/>
              </c:ext>
            </c:extLst>
          </c:dPt>
          <c:dPt>
            <c:idx val="240"/>
            <c:invertIfNegative val="1"/>
            <c:bubble3D val="0"/>
            <c:spPr>
              <a:solidFill>
                <a:srgbClr val="AEABAB"/>
              </a:solidFill>
            </c:spPr>
            <c:extLst>
              <c:ext xmlns:c16="http://schemas.microsoft.com/office/drawing/2014/chart" uri="{C3380CC4-5D6E-409C-BE32-E72D297353CC}">
                <c16:uniqueId val="{000001E3-749D-414D-9DD8-CF636592D1C6}"/>
              </c:ext>
            </c:extLst>
          </c:dPt>
          <c:dPt>
            <c:idx val="241"/>
            <c:invertIfNegative val="1"/>
            <c:bubble3D val="0"/>
            <c:spPr>
              <a:solidFill>
                <a:srgbClr val="AEABAB"/>
              </a:solidFill>
            </c:spPr>
            <c:extLst>
              <c:ext xmlns:c16="http://schemas.microsoft.com/office/drawing/2014/chart" uri="{C3380CC4-5D6E-409C-BE32-E72D297353CC}">
                <c16:uniqueId val="{000001E5-749D-414D-9DD8-CF636592D1C6}"/>
              </c:ext>
            </c:extLst>
          </c:dPt>
          <c:dPt>
            <c:idx val="242"/>
            <c:invertIfNegative val="1"/>
            <c:bubble3D val="0"/>
            <c:spPr>
              <a:solidFill>
                <a:srgbClr val="AEABAB"/>
              </a:solidFill>
            </c:spPr>
            <c:extLst>
              <c:ext xmlns:c16="http://schemas.microsoft.com/office/drawing/2014/chart" uri="{C3380CC4-5D6E-409C-BE32-E72D297353CC}">
                <c16:uniqueId val="{000001E7-749D-414D-9DD8-CF636592D1C6}"/>
              </c:ext>
            </c:extLst>
          </c:dPt>
          <c:dPt>
            <c:idx val="243"/>
            <c:invertIfNegative val="1"/>
            <c:bubble3D val="0"/>
            <c:spPr>
              <a:solidFill>
                <a:srgbClr val="AEABAB"/>
              </a:solidFill>
            </c:spPr>
            <c:extLst>
              <c:ext xmlns:c16="http://schemas.microsoft.com/office/drawing/2014/chart" uri="{C3380CC4-5D6E-409C-BE32-E72D297353CC}">
                <c16:uniqueId val="{000001E9-749D-414D-9DD8-CF636592D1C6}"/>
              </c:ext>
            </c:extLst>
          </c:dPt>
          <c:dPt>
            <c:idx val="244"/>
            <c:invertIfNegative val="1"/>
            <c:bubble3D val="0"/>
            <c:spPr>
              <a:solidFill>
                <a:srgbClr val="AEABAB"/>
              </a:solidFill>
            </c:spPr>
            <c:extLst>
              <c:ext xmlns:c16="http://schemas.microsoft.com/office/drawing/2014/chart" uri="{C3380CC4-5D6E-409C-BE32-E72D297353CC}">
                <c16:uniqueId val="{000001EB-749D-414D-9DD8-CF636592D1C6}"/>
              </c:ext>
            </c:extLst>
          </c:dPt>
          <c:dPt>
            <c:idx val="245"/>
            <c:invertIfNegative val="1"/>
            <c:bubble3D val="0"/>
            <c:spPr>
              <a:solidFill>
                <a:srgbClr val="AEABAB"/>
              </a:solidFill>
            </c:spPr>
            <c:extLst>
              <c:ext xmlns:c16="http://schemas.microsoft.com/office/drawing/2014/chart" uri="{C3380CC4-5D6E-409C-BE32-E72D297353CC}">
                <c16:uniqueId val="{000001ED-749D-414D-9DD8-CF636592D1C6}"/>
              </c:ext>
            </c:extLst>
          </c:dPt>
          <c:dPt>
            <c:idx val="246"/>
            <c:invertIfNegative val="1"/>
            <c:bubble3D val="0"/>
            <c:spPr>
              <a:solidFill>
                <a:srgbClr val="AEABAB"/>
              </a:solidFill>
            </c:spPr>
            <c:extLst>
              <c:ext xmlns:c16="http://schemas.microsoft.com/office/drawing/2014/chart" uri="{C3380CC4-5D6E-409C-BE32-E72D297353CC}">
                <c16:uniqueId val="{000001EF-749D-414D-9DD8-CF636592D1C6}"/>
              </c:ext>
            </c:extLst>
          </c:dPt>
          <c:dPt>
            <c:idx val="247"/>
            <c:invertIfNegative val="1"/>
            <c:bubble3D val="0"/>
            <c:spPr>
              <a:solidFill>
                <a:srgbClr val="AEABAB"/>
              </a:solidFill>
            </c:spPr>
            <c:extLst>
              <c:ext xmlns:c16="http://schemas.microsoft.com/office/drawing/2014/chart" uri="{C3380CC4-5D6E-409C-BE32-E72D297353CC}">
                <c16:uniqueId val="{000001F1-749D-414D-9DD8-CF636592D1C6}"/>
              </c:ext>
            </c:extLst>
          </c:dPt>
          <c:dPt>
            <c:idx val="248"/>
            <c:invertIfNegative val="1"/>
            <c:bubble3D val="0"/>
            <c:spPr>
              <a:solidFill>
                <a:srgbClr val="AEABAB"/>
              </a:solidFill>
            </c:spPr>
            <c:extLst>
              <c:ext xmlns:c16="http://schemas.microsoft.com/office/drawing/2014/chart" uri="{C3380CC4-5D6E-409C-BE32-E72D297353CC}">
                <c16:uniqueId val="{000001F3-749D-414D-9DD8-CF636592D1C6}"/>
              </c:ext>
            </c:extLst>
          </c:dPt>
          <c:dPt>
            <c:idx val="249"/>
            <c:invertIfNegative val="1"/>
            <c:bubble3D val="0"/>
            <c:spPr>
              <a:solidFill>
                <a:srgbClr val="AEABAB"/>
              </a:solidFill>
            </c:spPr>
            <c:extLst>
              <c:ext xmlns:c16="http://schemas.microsoft.com/office/drawing/2014/chart" uri="{C3380CC4-5D6E-409C-BE32-E72D297353CC}">
                <c16:uniqueId val="{000001F5-749D-414D-9DD8-CF636592D1C6}"/>
              </c:ext>
            </c:extLst>
          </c:dPt>
          <c:dPt>
            <c:idx val="250"/>
            <c:invertIfNegative val="1"/>
            <c:bubble3D val="0"/>
            <c:spPr>
              <a:solidFill>
                <a:srgbClr val="AEABAB"/>
              </a:solidFill>
            </c:spPr>
            <c:extLst>
              <c:ext xmlns:c16="http://schemas.microsoft.com/office/drawing/2014/chart" uri="{C3380CC4-5D6E-409C-BE32-E72D297353CC}">
                <c16:uniqueId val="{000001F7-749D-414D-9DD8-CF636592D1C6}"/>
              </c:ext>
            </c:extLst>
          </c:dPt>
          <c:dPt>
            <c:idx val="251"/>
            <c:invertIfNegative val="1"/>
            <c:bubble3D val="0"/>
            <c:spPr>
              <a:solidFill>
                <a:srgbClr val="AEABAB"/>
              </a:solidFill>
            </c:spPr>
            <c:extLst>
              <c:ext xmlns:c16="http://schemas.microsoft.com/office/drawing/2014/chart" uri="{C3380CC4-5D6E-409C-BE32-E72D297353CC}">
                <c16:uniqueId val="{000001F9-749D-414D-9DD8-CF636592D1C6}"/>
              </c:ext>
            </c:extLst>
          </c:dPt>
          <c:dPt>
            <c:idx val="252"/>
            <c:invertIfNegative val="1"/>
            <c:bubble3D val="0"/>
            <c:spPr>
              <a:solidFill>
                <a:srgbClr val="AEABAB"/>
              </a:solidFill>
            </c:spPr>
            <c:extLst>
              <c:ext xmlns:c16="http://schemas.microsoft.com/office/drawing/2014/chart" uri="{C3380CC4-5D6E-409C-BE32-E72D297353CC}">
                <c16:uniqueId val="{000001FB-749D-414D-9DD8-CF636592D1C6}"/>
              </c:ext>
            </c:extLst>
          </c:dPt>
          <c:dPt>
            <c:idx val="253"/>
            <c:invertIfNegative val="1"/>
            <c:bubble3D val="0"/>
            <c:spPr>
              <a:solidFill>
                <a:srgbClr val="AEABAB"/>
              </a:solidFill>
            </c:spPr>
            <c:extLst>
              <c:ext xmlns:c16="http://schemas.microsoft.com/office/drawing/2014/chart" uri="{C3380CC4-5D6E-409C-BE32-E72D297353CC}">
                <c16:uniqueId val="{000001FD-749D-414D-9DD8-CF636592D1C6}"/>
              </c:ext>
            </c:extLst>
          </c:dPt>
          <c:dPt>
            <c:idx val="254"/>
            <c:invertIfNegative val="1"/>
            <c:bubble3D val="0"/>
            <c:spPr>
              <a:solidFill>
                <a:srgbClr val="AEABAB"/>
              </a:solidFill>
            </c:spPr>
            <c:extLst>
              <c:ext xmlns:c16="http://schemas.microsoft.com/office/drawing/2014/chart" uri="{C3380CC4-5D6E-409C-BE32-E72D297353CC}">
                <c16:uniqueId val="{000001FF-749D-414D-9DD8-CF636592D1C6}"/>
              </c:ext>
            </c:extLst>
          </c:dPt>
          <c:dPt>
            <c:idx val="255"/>
            <c:invertIfNegative val="1"/>
            <c:bubble3D val="0"/>
            <c:spPr>
              <a:solidFill>
                <a:srgbClr val="AEABAB"/>
              </a:solidFill>
            </c:spPr>
            <c:extLst>
              <c:ext xmlns:c16="http://schemas.microsoft.com/office/drawing/2014/chart" uri="{C3380CC4-5D6E-409C-BE32-E72D297353CC}">
                <c16:uniqueId val="{00000201-749D-414D-9DD8-CF636592D1C6}"/>
              </c:ext>
            </c:extLst>
          </c:dPt>
          <c:dPt>
            <c:idx val="256"/>
            <c:invertIfNegative val="1"/>
            <c:bubble3D val="0"/>
            <c:spPr>
              <a:solidFill>
                <a:srgbClr val="AEABAB"/>
              </a:solidFill>
            </c:spPr>
            <c:extLst>
              <c:ext xmlns:c16="http://schemas.microsoft.com/office/drawing/2014/chart" uri="{C3380CC4-5D6E-409C-BE32-E72D297353CC}">
                <c16:uniqueId val="{00000203-749D-414D-9DD8-CF636592D1C6}"/>
              </c:ext>
            </c:extLst>
          </c:dPt>
          <c:dPt>
            <c:idx val="257"/>
            <c:invertIfNegative val="1"/>
            <c:bubble3D val="0"/>
            <c:spPr>
              <a:solidFill>
                <a:srgbClr val="AEABAB"/>
              </a:solidFill>
            </c:spPr>
            <c:extLst>
              <c:ext xmlns:c16="http://schemas.microsoft.com/office/drawing/2014/chart" uri="{C3380CC4-5D6E-409C-BE32-E72D297353CC}">
                <c16:uniqueId val="{00000205-749D-414D-9DD8-CF636592D1C6}"/>
              </c:ext>
            </c:extLst>
          </c:dPt>
          <c:dPt>
            <c:idx val="258"/>
            <c:invertIfNegative val="1"/>
            <c:bubble3D val="0"/>
            <c:spPr>
              <a:solidFill>
                <a:srgbClr val="AEABAB"/>
              </a:solidFill>
            </c:spPr>
            <c:extLst>
              <c:ext xmlns:c16="http://schemas.microsoft.com/office/drawing/2014/chart" uri="{C3380CC4-5D6E-409C-BE32-E72D297353CC}">
                <c16:uniqueId val="{00000207-749D-414D-9DD8-CF636592D1C6}"/>
              </c:ext>
            </c:extLst>
          </c:dPt>
          <c:dPt>
            <c:idx val="259"/>
            <c:invertIfNegative val="1"/>
            <c:bubble3D val="0"/>
            <c:spPr>
              <a:solidFill>
                <a:srgbClr val="AEABAB"/>
              </a:solidFill>
            </c:spPr>
            <c:extLst>
              <c:ext xmlns:c16="http://schemas.microsoft.com/office/drawing/2014/chart" uri="{C3380CC4-5D6E-409C-BE32-E72D297353CC}">
                <c16:uniqueId val="{00000209-749D-414D-9DD8-CF636592D1C6}"/>
              </c:ext>
            </c:extLst>
          </c:dPt>
          <c:dPt>
            <c:idx val="260"/>
            <c:invertIfNegative val="1"/>
            <c:bubble3D val="0"/>
            <c:spPr>
              <a:solidFill>
                <a:srgbClr val="AEABAB"/>
              </a:solidFill>
            </c:spPr>
            <c:extLst>
              <c:ext xmlns:c16="http://schemas.microsoft.com/office/drawing/2014/chart" uri="{C3380CC4-5D6E-409C-BE32-E72D297353CC}">
                <c16:uniqueId val="{0000020B-749D-414D-9DD8-CF636592D1C6}"/>
              </c:ext>
            </c:extLst>
          </c:dPt>
          <c:dPt>
            <c:idx val="261"/>
            <c:invertIfNegative val="1"/>
            <c:bubble3D val="0"/>
            <c:spPr>
              <a:solidFill>
                <a:srgbClr val="AEABAB"/>
              </a:solidFill>
            </c:spPr>
            <c:extLst>
              <c:ext xmlns:c16="http://schemas.microsoft.com/office/drawing/2014/chart" uri="{C3380CC4-5D6E-409C-BE32-E72D297353CC}">
                <c16:uniqueId val="{0000020D-749D-414D-9DD8-CF636592D1C6}"/>
              </c:ext>
            </c:extLst>
          </c:dPt>
          <c:dPt>
            <c:idx val="262"/>
            <c:invertIfNegative val="1"/>
            <c:bubble3D val="0"/>
            <c:spPr>
              <a:solidFill>
                <a:srgbClr val="AEABAB"/>
              </a:solidFill>
            </c:spPr>
            <c:extLst>
              <c:ext xmlns:c16="http://schemas.microsoft.com/office/drawing/2014/chart" uri="{C3380CC4-5D6E-409C-BE32-E72D297353CC}">
                <c16:uniqueId val="{0000020F-749D-414D-9DD8-CF636592D1C6}"/>
              </c:ext>
            </c:extLst>
          </c:dPt>
          <c:dPt>
            <c:idx val="263"/>
            <c:invertIfNegative val="1"/>
            <c:bubble3D val="0"/>
            <c:spPr>
              <a:solidFill>
                <a:srgbClr val="AEABAB"/>
              </a:solidFill>
            </c:spPr>
            <c:extLst>
              <c:ext xmlns:c16="http://schemas.microsoft.com/office/drawing/2014/chart" uri="{C3380CC4-5D6E-409C-BE32-E72D297353CC}">
                <c16:uniqueId val="{00000211-749D-414D-9DD8-CF636592D1C6}"/>
              </c:ext>
            </c:extLst>
          </c:dPt>
          <c:dPt>
            <c:idx val="264"/>
            <c:invertIfNegative val="1"/>
            <c:bubble3D val="0"/>
            <c:spPr>
              <a:solidFill>
                <a:srgbClr val="AEABAB"/>
              </a:solidFill>
            </c:spPr>
            <c:extLst>
              <c:ext xmlns:c16="http://schemas.microsoft.com/office/drawing/2014/chart" uri="{C3380CC4-5D6E-409C-BE32-E72D297353CC}">
                <c16:uniqueId val="{00000213-749D-414D-9DD8-CF636592D1C6}"/>
              </c:ext>
            </c:extLst>
          </c:dPt>
          <c:dPt>
            <c:idx val="265"/>
            <c:invertIfNegative val="1"/>
            <c:bubble3D val="0"/>
            <c:spPr>
              <a:solidFill>
                <a:srgbClr val="AEABAB"/>
              </a:solidFill>
            </c:spPr>
            <c:extLst>
              <c:ext xmlns:c16="http://schemas.microsoft.com/office/drawing/2014/chart" uri="{C3380CC4-5D6E-409C-BE32-E72D297353CC}">
                <c16:uniqueId val="{00000215-749D-414D-9DD8-CF636592D1C6}"/>
              </c:ext>
            </c:extLst>
          </c:dPt>
          <c:dPt>
            <c:idx val="266"/>
            <c:invertIfNegative val="1"/>
            <c:bubble3D val="0"/>
            <c:spPr>
              <a:solidFill>
                <a:srgbClr val="AEABAB"/>
              </a:solidFill>
            </c:spPr>
            <c:extLst>
              <c:ext xmlns:c16="http://schemas.microsoft.com/office/drawing/2014/chart" uri="{C3380CC4-5D6E-409C-BE32-E72D297353CC}">
                <c16:uniqueId val="{00000217-749D-414D-9DD8-CF636592D1C6}"/>
              </c:ext>
            </c:extLst>
          </c:dPt>
          <c:dPt>
            <c:idx val="267"/>
            <c:invertIfNegative val="1"/>
            <c:bubble3D val="0"/>
            <c:spPr>
              <a:solidFill>
                <a:srgbClr val="AEABAB"/>
              </a:solidFill>
            </c:spPr>
            <c:extLst>
              <c:ext xmlns:c16="http://schemas.microsoft.com/office/drawing/2014/chart" uri="{C3380CC4-5D6E-409C-BE32-E72D297353CC}">
                <c16:uniqueId val="{00000219-749D-414D-9DD8-CF636592D1C6}"/>
              </c:ext>
            </c:extLst>
          </c:dPt>
          <c:dPt>
            <c:idx val="268"/>
            <c:invertIfNegative val="1"/>
            <c:bubble3D val="0"/>
            <c:spPr>
              <a:solidFill>
                <a:srgbClr val="AEABAB"/>
              </a:solidFill>
            </c:spPr>
            <c:extLst>
              <c:ext xmlns:c16="http://schemas.microsoft.com/office/drawing/2014/chart" uri="{C3380CC4-5D6E-409C-BE32-E72D297353CC}">
                <c16:uniqueId val="{0000021B-749D-414D-9DD8-CF636592D1C6}"/>
              </c:ext>
            </c:extLst>
          </c:dPt>
          <c:dPt>
            <c:idx val="269"/>
            <c:invertIfNegative val="1"/>
            <c:bubble3D val="0"/>
            <c:spPr>
              <a:solidFill>
                <a:srgbClr val="AEABAB"/>
              </a:solidFill>
            </c:spPr>
            <c:extLst>
              <c:ext xmlns:c16="http://schemas.microsoft.com/office/drawing/2014/chart" uri="{C3380CC4-5D6E-409C-BE32-E72D297353CC}">
                <c16:uniqueId val="{0000021D-749D-414D-9DD8-CF636592D1C6}"/>
              </c:ext>
            </c:extLst>
          </c:dPt>
          <c:dPt>
            <c:idx val="270"/>
            <c:invertIfNegative val="1"/>
            <c:bubble3D val="0"/>
            <c:spPr>
              <a:solidFill>
                <a:srgbClr val="AEABAB"/>
              </a:solidFill>
            </c:spPr>
            <c:extLst>
              <c:ext xmlns:c16="http://schemas.microsoft.com/office/drawing/2014/chart" uri="{C3380CC4-5D6E-409C-BE32-E72D297353CC}">
                <c16:uniqueId val="{0000021F-749D-414D-9DD8-CF636592D1C6}"/>
              </c:ext>
            </c:extLst>
          </c:dPt>
          <c:dPt>
            <c:idx val="271"/>
            <c:invertIfNegative val="1"/>
            <c:bubble3D val="0"/>
            <c:spPr>
              <a:solidFill>
                <a:srgbClr val="AEABAB"/>
              </a:solidFill>
            </c:spPr>
            <c:extLst>
              <c:ext xmlns:c16="http://schemas.microsoft.com/office/drawing/2014/chart" uri="{C3380CC4-5D6E-409C-BE32-E72D297353CC}">
                <c16:uniqueId val="{00000221-749D-414D-9DD8-CF636592D1C6}"/>
              </c:ext>
            </c:extLst>
          </c:dPt>
          <c:dPt>
            <c:idx val="272"/>
            <c:invertIfNegative val="1"/>
            <c:bubble3D val="0"/>
            <c:spPr>
              <a:solidFill>
                <a:srgbClr val="AEABAB"/>
              </a:solidFill>
            </c:spPr>
            <c:extLst>
              <c:ext xmlns:c16="http://schemas.microsoft.com/office/drawing/2014/chart" uri="{C3380CC4-5D6E-409C-BE32-E72D297353CC}">
                <c16:uniqueId val="{00000223-749D-414D-9DD8-CF636592D1C6}"/>
              </c:ext>
            </c:extLst>
          </c:dPt>
          <c:dPt>
            <c:idx val="273"/>
            <c:invertIfNegative val="1"/>
            <c:bubble3D val="0"/>
            <c:spPr>
              <a:solidFill>
                <a:srgbClr val="AEABAB"/>
              </a:solidFill>
            </c:spPr>
            <c:extLst>
              <c:ext xmlns:c16="http://schemas.microsoft.com/office/drawing/2014/chart" uri="{C3380CC4-5D6E-409C-BE32-E72D297353CC}">
                <c16:uniqueId val="{00000225-749D-414D-9DD8-CF636592D1C6}"/>
              </c:ext>
            </c:extLst>
          </c:dPt>
          <c:dPt>
            <c:idx val="274"/>
            <c:invertIfNegative val="1"/>
            <c:bubble3D val="0"/>
            <c:spPr>
              <a:solidFill>
                <a:srgbClr val="AEABAB"/>
              </a:solidFill>
            </c:spPr>
            <c:extLst>
              <c:ext xmlns:c16="http://schemas.microsoft.com/office/drawing/2014/chart" uri="{C3380CC4-5D6E-409C-BE32-E72D297353CC}">
                <c16:uniqueId val="{00000227-749D-414D-9DD8-CF636592D1C6}"/>
              </c:ext>
            </c:extLst>
          </c:dPt>
          <c:dPt>
            <c:idx val="275"/>
            <c:invertIfNegative val="1"/>
            <c:bubble3D val="0"/>
            <c:spPr>
              <a:solidFill>
                <a:srgbClr val="AEABAB"/>
              </a:solidFill>
            </c:spPr>
            <c:extLst>
              <c:ext xmlns:c16="http://schemas.microsoft.com/office/drawing/2014/chart" uri="{C3380CC4-5D6E-409C-BE32-E72D297353CC}">
                <c16:uniqueId val="{00000229-749D-414D-9DD8-CF636592D1C6}"/>
              </c:ext>
            </c:extLst>
          </c:dPt>
          <c:dPt>
            <c:idx val="276"/>
            <c:invertIfNegative val="1"/>
            <c:bubble3D val="0"/>
            <c:spPr>
              <a:solidFill>
                <a:srgbClr val="AEABAB"/>
              </a:solidFill>
            </c:spPr>
            <c:extLst>
              <c:ext xmlns:c16="http://schemas.microsoft.com/office/drawing/2014/chart" uri="{C3380CC4-5D6E-409C-BE32-E72D297353CC}">
                <c16:uniqueId val="{0000022B-749D-414D-9DD8-CF636592D1C6}"/>
              </c:ext>
            </c:extLst>
          </c:dPt>
          <c:dPt>
            <c:idx val="277"/>
            <c:invertIfNegative val="1"/>
            <c:bubble3D val="0"/>
            <c:spPr>
              <a:solidFill>
                <a:srgbClr val="AEABAB"/>
              </a:solidFill>
            </c:spPr>
            <c:extLst>
              <c:ext xmlns:c16="http://schemas.microsoft.com/office/drawing/2014/chart" uri="{C3380CC4-5D6E-409C-BE32-E72D297353CC}">
                <c16:uniqueId val="{0000022D-749D-414D-9DD8-CF636592D1C6}"/>
              </c:ext>
            </c:extLst>
          </c:dPt>
          <c:dPt>
            <c:idx val="278"/>
            <c:invertIfNegative val="1"/>
            <c:bubble3D val="0"/>
            <c:spPr>
              <a:solidFill>
                <a:srgbClr val="AEABAB"/>
              </a:solidFill>
            </c:spPr>
            <c:extLst>
              <c:ext xmlns:c16="http://schemas.microsoft.com/office/drawing/2014/chart" uri="{C3380CC4-5D6E-409C-BE32-E72D297353CC}">
                <c16:uniqueId val="{0000022F-749D-414D-9DD8-CF636592D1C6}"/>
              </c:ext>
            </c:extLst>
          </c:dPt>
          <c:dPt>
            <c:idx val="279"/>
            <c:invertIfNegative val="1"/>
            <c:bubble3D val="0"/>
            <c:spPr>
              <a:solidFill>
                <a:srgbClr val="AEABAB"/>
              </a:solidFill>
            </c:spPr>
            <c:extLst>
              <c:ext xmlns:c16="http://schemas.microsoft.com/office/drawing/2014/chart" uri="{C3380CC4-5D6E-409C-BE32-E72D297353CC}">
                <c16:uniqueId val="{00000231-749D-414D-9DD8-CF636592D1C6}"/>
              </c:ext>
            </c:extLst>
          </c:dPt>
          <c:dPt>
            <c:idx val="280"/>
            <c:invertIfNegative val="1"/>
            <c:bubble3D val="0"/>
            <c:spPr>
              <a:solidFill>
                <a:srgbClr val="AEABAB"/>
              </a:solidFill>
            </c:spPr>
            <c:extLst>
              <c:ext xmlns:c16="http://schemas.microsoft.com/office/drawing/2014/chart" uri="{C3380CC4-5D6E-409C-BE32-E72D297353CC}">
                <c16:uniqueId val="{00000233-749D-414D-9DD8-CF636592D1C6}"/>
              </c:ext>
            </c:extLst>
          </c:dPt>
          <c:dPt>
            <c:idx val="281"/>
            <c:invertIfNegative val="1"/>
            <c:bubble3D val="0"/>
            <c:spPr>
              <a:solidFill>
                <a:srgbClr val="AEABAB"/>
              </a:solidFill>
            </c:spPr>
            <c:extLst>
              <c:ext xmlns:c16="http://schemas.microsoft.com/office/drawing/2014/chart" uri="{C3380CC4-5D6E-409C-BE32-E72D297353CC}">
                <c16:uniqueId val="{00000235-749D-414D-9DD8-CF636592D1C6}"/>
              </c:ext>
            </c:extLst>
          </c:dPt>
          <c:dPt>
            <c:idx val="282"/>
            <c:invertIfNegative val="1"/>
            <c:bubble3D val="0"/>
            <c:spPr>
              <a:solidFill>
                <a:srgbClr val="AEABAB"/>
              </a:solidFill>
            </c:spPr>
            <c:extLst>
              <c:ext xmlns:c16="http://schemas.microsoft.com/office/drawing/2014/chart" uri="{C3380CC4-5D6E-409C-BE32-E72D297353CC}">
                <c16:uniqueId val="{00000237-749D-414D-9DD8-CF636592D1C6}"/>
              </c:ext>
            </c:extLst>
          </c:dPt>
          <c:dPt>
            <c:idx val="283"/>
            <c:invertIfNegative val="1"/>
            <c:bubble3D val="0"/>
            <c:spPr>
              <a:solidFill>
                <a:srgbClr val="AEABAB"/>
              </a:solidFill>
            </c:spPr>
            <c:extLst>
              <c:ext xmlns:c16="http://schemas.microsoft.com/office/drawing/2014/chart" uri="{C3380CC4-5D6E-409C-BE32-E72D297353CC}">
                <c16:uniqueId val="{00000239-749D-414D-9DD8-CF636592D1C6}"/>
              </c:ext>
            </c:extLst>
          </c:dPt>
          <c:dPt>
            <c:idx val="284"/>
            <c:invertIfNegative val="1"/>
            <c:bubble3D val="0"/>
            <c:spPr>
              <a:solidFill>
                <a:srgbClr val="AEABAB"/>
              </a:solidFill>
            </c:spPr>
            <c:extLst>
              <c:ext xmlns:c16="http://schemas.microsoft.com/office/drawing/2014/chart" uri="{C3380CC4-5D6E-409C-BE32-E72D297353CC}">
                <c16:uniqueId val="{0000023B-749D-414D-9DD8-CF636592D1C6}"/>
              </c:ext>
            </c:extLst>
          </c:dPt>
          <c:dPt>
            <c:idx val="285"/>
            <c:invertIfNegative val="1"/>
            <c:bubble3D val="0"/>
            <c:spPr>
              <a:solidFill>
                <a:srgbClr val="AEABAB"/>
              </a:solidFill>
            </c:spPr>
            <c:extLst>
              <c:ext xmlns:c16="http://schemas.microsoft.com/office/drawing/2014/chart" uri="{C3380CC4-5D6E-409C-BE32-E72D297353CC}">
                <c16:uniqueId val="{0000023D-749D-414D-9DD8-CF636592D1C6}"/>
              </c:ext>
            </c:extLst>
          </c:dPt>
          <c:dPt>
            <c:idx val="286"/>
            <c:invertIfNegative val="1"/>
            <c:bubble3D val="0"/>
            <c:spPr>
              <a:solidFill>
                <a:srgbClr val="AEABAB"/>
              </a:solidFill>
            </c:spPr>
            <c:extLst>
              <c:ext xmlns:c16="http://schemas.microsoft.com/office/drawing/2014/chart" uri="{C3380CC4-5D6E-409C-BE32-E72D297353CC}">
                <c16:uniqueId val="{0000023F-749D-414D-9DD8-CF636592D1C6}"/>
              </c:ext>
            </c:extLst>
          </c:dPt>
          <c:dPt>
            <c:idx val="287"/>
            <c:invertIfNegative val="1"/>
            <c:bubble3D val="0"/>
            <c:spPr>
              <a:solidFill>
                <a:srgbClr val="AEABAB"/>
              </a:solidFill>
            </c:spPr>
            <c:extLst>
              <c:ext xmlns:c16="http://schemas.microsoft.com/office/drawing/2014/chart" uri="{C3380CC4-5D6E-409C-BE32-E72D297353CC}">
                <c16:uniqueId val="{00000241-749D-414D-9DD8-CF636592D1C6}"/>
              </c:ext>
            </c:extLst>
          </c:dPt>
          <c:dPt>
            <c:idx val="288"/>
            <c:invertIfNegative val="1"/>
            <c:bubble3D val="0"/>
            <c:spPr>
              <a:solidFill>
                <a:srgbClr val="AEABAB"/>
              </a:solidFill>
            </c:spPr>
            <c:extLst>
              <c:ext xmlns:c16="http://schemas.microsoft.com/office/drawing/2014/chart" uri="{C3380CC4-5D6E-409C-BE32-E72D297353CC}">
                <c16:uniqueId val="{00000243-749D-414D-9DD8-CF636592D1C6}"/>
              </c:ext>
            </c:extLst>
          </c:dPt>
          <c:dPt>
            <c:idx val="289"/>
            <c:invertIfNegative val="1"/>
            <c:bubble3D val="0"/>
            <c:spPr>
              <a:solidFill>
                <a:srgbClr val="AEABAB"/>
              </a:solidFill>
            </c:spPr>
            <c:extLst>
              <c:ext xmlns:c16="http://schemas.microsoft.com/office/drawing/2014/chart" uri="{C3380CC4-5D6E-409C-BE32-E72D297353CC}">
                <c16:uniqueId val="{00000245-749D-414D-9DD8-CF636592D1C6}"/>
              </c:ext>
            </c:extLst>
          </c:dPt>
          <c:dPt>
            <c:idx val="290"/>
            <c:invertIfNegative val="1"/>
            <c:bubble3D val="0"/>
            <c:spPr>
              <a:solidFill>
                <a:srgbClr val="AEABAB"/>
              </a:solidFill>
            </c:spPr>
            <c:extLst>
              <c:ext xmlns:c16="http://schemas.microsoft.com/office/drawing/2014/chart" uri="{C3380CC4-5D6E-409C-BE32-E72D297353CC}">
                <c16:uniqueId val="{00000247-749D-414D-9DD8-CF636592D1C6}"/>
              </c:ext>
            </c:extLst>
          </c:dPt>
          <c:dPt>
            <c:idx val="291"/>
            <c:invertIfNegative val="1"/>
            <c:bubble3D val="0"/>
            <c:spPr>
              <a:solidFill>
                <a:srgbClr val="AEABAB"/>
              </a:solidFill>
            </c:spPr>
            <c:extLst>
              <c:ext xmlns:c16="http://schemas.microsoft.com/office/drawing/2014/chart" uri="{C3380CC4-5D6E-409C-BE32-E72D297353CC}">
                <c16:uniqueId val="{00000249-749D-414D-9DD8-CF636592D1C6}"/>
              </c:ext>
            </c:extLst>
          </c:dPt>
          <c:dPt>
            <c:idx val="292"/>
            <c:invertIfNegative val="1"/>
            <c:bubble3D val="0"/>
            <c:spPr>
              <a:solidFill>
                <a:srgbClr val="AEABAB"/>
              </a:solidFill>
            </c:spPr>
            <c:extLst>
              <c:ext xmlns:c16="http://schemas.microsoft.com/office/drawing/2014/chart" uri="{C3380CC4-5D6E-409C-BE32-E72D297353CC}">
                <c16:uniqueId val="{0000024B-749D-414D-9DD8-CF636592D1C6}"/>
              </c:ext>
            </c:extLst>
          </c:dPt>
          <c:dPt>
            <c:idx val="293"/>
            <c:invertIfNegative val="1"/>
            <c:bubble3D val="0"/>
            <c:spPr>
              <a:solidFill>
                <a:srgbClr val="AEABAB"/>
              </a:solidFill>
            </c:spPr>
            <c:extLst>
              <c:ext xmlns:c16="http://schemas.microsoft.com/office/drawing/2014/chart" uri="{C3380CC4-5D6E-409C-BE32-E72D297353CC}">
                <c16:uniqueId val="{0000024D-749D-414D-9DD8-CF636592D1C6}"/>
              </c:ext>
            </c:extLst>
          </c:dPt>
          <c:dPt>
            <c:idx val="294"/>
            <c:invertIfNegative val="1"/>
            <c:bubble3D val="0"/>
            <c:spPr>
              <a:solidFill>
                <a:srgbClr val="AEABAB"/>
              </a:solidFill>
            </c:spPr>
            <c:extLst>
              <c:ext xmlns:c16="http://schemas.microsoft.com/office/drawing/2014/chart" uri="{C3380CC4-5D6E-409C-BE32-E72D297353CC}">
                <c16:uniqueId val="{0000024F-749D-414D-9DD8-CF636592D1C6}"/>
              </c:ext>
            </c:extLst>
          </c:dPt>
          <c:dPt>
            <c:idx val="295"/>
            <c:invertIfNegative val="1"/>
            <c:bubble3D val="0"/>
            <c:spPr>
              <a:solidFill>
                <a:srgbClr val="AEABAB"/>
              </a:solidFill>
            </c:spPr>
            <c:extLst>
              <c:ext xmlns:c16="http://schemas.microsoft.com/office/drawing/2014/chart" uri="{C3380CC4-5D6E-409C-BE32-E72D297353CC}">
                <c16:uniqueId val="{00000251-749D-414D-9DD8-CF636592D1C6}"/>
              </c:ext>
            </c:extLst>
          </c:dPt>
          <c:dPt>
            <c:idx val="296"/>
            <c:invertIfNegative val="1"/>
            <c:bubble3D val="0"/>
            <c:spPr>
              <a:solidFill>
                <a:srgbClr val="AEABAB"/>
              </a:solidFill>
            </c:spPr>
            <c:extLst>
              <c:ext xmlns:c16="http://schemas.microsoft.com/office/drawing/2014/chart" uri="{C3380CC4-5D6E-409C-BE32-E72D297353CC}">
                <c16:uniqueId val="{00000253-749D-414D-9DD8-CF636592D1C6}"/>
              </c:ext>
            </c:extLst>
          </c:dPt>
          <c:dPt>
            <c:idx val="297"/>
            <c:invertIfNegative val="1"/>
            <c:bubble3D val="0"/>
            <c:spPr>
              <a:solidFill>
                <a:srgbClr val="AEABAB"/>
              </a:solidFill>
            </c:spPr>
            <c:extLst>
              <c:ext xmlns:c16="http://schemas.microsoft.com/office/drawing/2014/chart" uri="{C3380CC4-5D6E-409C-BE32-E72D297353CC}">
                <c16:uniqueId val="{00000255-749D-414D-9DD8-CF636592D1C6}"/>
              </c:ext>
            </c:extLst>
          </c:dPt>
          <c:dPt>
            <c:idx val="298"/>
            <c:invertIfNegative val="1"/>
            <c:bubble3D val="0"/>
            <c:spPr>
              <a:solidFill>
                <a:srgbClr val="AEABAB"/>
              </a:solidFill>
            </c:spPr>
            <c:extLst>
              <c:ext xmlns:c16="http://schemas.microsoft.com/office/drawing/2014/chart" uri="{C3380CC4-5D6E-409C-BE32-E72D297353CC}">
                <c16:uniqueId val="{00000257-749D-414D-9DD8-CF636592D1C6}"/>
              </c:ext>
            </c:extLst>
          </c:dPt>
          <c:dPt>
            <c:idx val="299"/>
            <c:invertIfNegative val="1"/>
            <c:bubble3D val="0"/>
            <c:spPr>
              <a:solidFill>
                <a:srgbClr val="AEABAB"/>
              </a:solidFill>
            </c:spPr>
            <c:extLst>
              <c:ext xmlns:c16="http://schemas.microsoft.com/office/drawing/2014/chart" uri="{C3380CC4-5D6E-409C-BE32-E72D297353CC}">
                <c16:uniqueId val="{00000259-749D-414D-9DD8-CF636592D1C6}"/>
              </c:ext>
            </c:extLst>
          </c:dPt>
          <c:dPt>
            <c:idx val="300"/>
            <c:invertIfNegative val="1"/>
            <c:bubble3D val="0"/>
            <c:spPr>
              <a:solidFill>
                <a:srgbClr val="AEABAB"/>
              </a:solidFill>
            </c:spPr>
            <c:extLst>
              <c:ext xmlns:c16="http://schemas.microsoft.com/office/drawing/2014/chart" uri="{C3380CC4-5D6E-409C-BE32-E72D297353CC}">
                <c16:uniqueId val="{0000025B-749D-414D-9DD8-CF636592D1C6}"/>
              </c:ext>
            </c:extLst>
          </c:dPt>
          <c:dPt>
            <c:idx val="301"/>
            <c:invertIfNegative val="1"/>
            <c:bubble3D val="0"/>
            <c:spPr>
              <a:solidFill>
                <a:srgbClr val="AEABAB"/>
              </a:solidFill>
            </c:spPr>
            <c:extLst>
              <c:ext xmlns:c16="http://schemas.microsoft.com/office/drawing/2014/chart" uri="{C3380CC4-5D6E-409C-BE32-E72D297353CC}">
                <c16:uniqueId val="{0000025D-749D-414D-9DD8-CF636592D1C6}"/>
              </c:ext>
            </c:extLst>
          </c:dPt>
          <c:dPt>
            <c:idx val="302"/>
            <c:invertIfNegative val="1"/>
            <c:bubble3D val="0"/>
            <c:spPr>
              <a:solidFill>
                <a:srgbClr val="AEABAB"/>
              </a:solidFill>
            </c:spPr>
            <c:extLst>
              <c:ext xmlns:c16="http://schemas.microsoft.com/office/drawing/2014/chart" uri="{C3380CC4-5D6E-409C-BE32-E72D297353CC}">
                <c16:uniqueId val="{0000025F-749D-414D-9DD8-CF636592D1C6}"/>
              </c:ext>
            </c:extLst>
          </c:dPt>
          <c:dPt>
            <c:idx val="303"/>
            <c:invertIfNegative val="1"/>
            <c:bubble3D val="0"/>
            <c:spPr>
              <a:solidFill>
                <a:srgbClr val="AEABAB"/>
              </a:solidFill>
            </c:spPr>
            <c:extLst>
              <c:ext xmlns:c16="http://schemas.microsoft.com/office/drawing/2014/chart" uri="{C3380CC4-5D6E-409C-BE32-E72D297353CC}">
                <c16:uniqueId val="{00000261-749D-414D-9DD8-CF636592D1C6}"/>
              </c:ext>
            </c:extLst>
          </c:dPt>
          <c:dPt>
            <c:idx val="304"/>
            <c:invertIfNegative val="1"/>
            <c:bubble3D val="0"/>
            <c:spPr>
              <a:solidFill>
                <a:srgbClr val="AEABAB"/>
              </a:solidFill>
            </c:spPr>
            <c:extLst>
              <c:ext xmlns:c16="http://schemas.microsoft.com/office/drawing/2014/chart" uri="{C3380CC4-5D6E-409C-BE32-E72D297353CC}">
                <c16:uniqueId val="{00000263-749D-414D-9DD8-CF636592D1C6}"/>
              </c:ext>
            </c:extLst>
          </c:dPt>
          <c:dPt>
            <c:idx val="305"/>
            <c:invertIfNegative val="1"/>
            <c:bubble3D val="0"/>
            <c:spPr>
              <a:solidFill>
                <a:srgbClr val="AEABAB"/>
              </a:solidFill>
            </c:spPr>
            <c:extLst>
              <c:ext xmlns:c16="http://schemas.microsoft.com/office/drawing/2014/chart" uri="{C3380CC4-5D6E-409C-BE32-E72D297353CC}">
                <c16:uniqueId val="{00000265-749D-414D-9DD8-CF636592D1C6}"/>
              </c:ext>
            </c:extLst>
          </c:dPt>
          <c:dPt>
            <c:idx val="306"/>
            <c:invertIfNegative val="1"/>
            <c:bubble3D val="0"/>
            <c:spPr>
              <a:solidFill>
                <a:srgbClr val="AEABAB"/>
              </a:solidFill>
            </c:spPr>
            <c:extLst>
              <c:ext xmlns:c16="http://schemas.microsoft.com/office/drawing/2014/chart" uri="{C3380CC4-5D6E-409C-BE32-E72D297353CC}">
                <c16:uniqueId val="{00000267-749D-414D-9DD8-CF636592D1C6}"/>
              </c:ext>
            </c:extLst>
          </c:dPt>
          <c:dPt>
            <c:idx val="307"/>
            <c:invertIfNegative val="1"/>
            <c:bubble3D val="0"/>
            <c:spPr>
              <a:solidFill>
                <a:srgbClr val="AEABAB"/>
              </a:solidFill>
            </c:spPr>
            <c:extLst>
              <c:ext xmlns:c16="http://schemas.microsoft.com/office/drawing/2014/chart" uri="{C3380CC4-5D6E-409C-BE32-E72D297353CC}">
                <c16:uniqueId val="{00000269-749D-414D-9DD8-CF636592D1C6}"/>
              </c:ext>
            </c:extLst>
          </c:dPt>
          <c:dPt>
            <c:idx val="308"/>
            <c:invertIfNegative val="1"/>
            <c:bubble3D val="0"/>
            <c:spPr>
              <a:solidFill>
                <a:srgbClr val="AEABAB"/>
              </a:solidFill>
            </c:spPr>
            <c:extLst>
              <c:ext xmlns:c16="http://schemas.microsoft.com/office/drawing/2014/chart" uri="{C3380CC4-5D6E-409C-BE32-E72D297353CC}">
                <c16:uniqueId val="{0000026B-749D-414D-9DD8-CF636592D1C6}"/>
              </c:ext>
            </c:extLst>
          </c:dPt>
          <c:dPt>
            <c:idx val="309"/>
            <c:invertIfNegative val="1"/>
            <c:bubble3D val="0"/>
            <c:spPr>
              <a:solidFill>
                <a:srgbClr val="AEABAB"/>
              </a:solidFill>
            </c:spPr>
            <c:extLst>
              <c:ext xmlns:c16="http://schemas.microsoft.com/office/drawing/2014/chart" uri="{C3380CC4-5D6E-409C-BE32-E72D297353CC}">
                <c16:uniqueId val="{0000026D-749D-414D-9DD8-CF636592D1C6}"/>
              </c:ext>
            </c:extLst>
          </c:dPt>
          <c:dPt>
            <c:idx val="310"/>
            <c:invertIfNegative val="1"/>
            <c:bubble3D val="0"/>
            <c:spPr>
              <a:solidFill>
                <a:srgbClr val="AEABAB"/>
              </a:solidFill>
            </c:spPr>
            <c:extLst>
              <c:ext xmlns:c16="http://schemas.microsoft.com/office/drawing/2014/chart" uri="{C3380CC4-5D6E-409C-BE32-E72D297353CC}">
                <c16:uniqueId val="{0000026F-749D-414D-9DD8-CF636592D1C6}"/>
              </c:ext>
            </c:extLst>
          </c:dPt>
          <c:dPt>
            <c:idx val="311"/>
            <c:invertIfNegative val="1"/>
            <c:bubble3D val="0"/>
            <c:spPr>
              <a:solidFill>
                <a:srgbClr val="AEABAB"/>
              </a:solidFill>
            </c:spPr>
            <c:extLst>
              <c:ext xmlns:c16="http://schemas.microsoft.com/office/drawing/2014/chart" uri="{C3380CC4-5D6E-409C-BE32-E72D297353CC}">
                <c16:uniqueId val="{00000271-749D-414D-9DD8-CF636592D1C6}"/>
              </c:ext>
            </c:extLst>
          </c:dPt>
          <c:dPt>
            <c:idx val="312"/>
            <c:invertIfNegative val="1"/>
            <c:bubble3D val="0"/>
            <c:spPr>
              <a:solidFill>
                <a:srgbClr val="AEABAB"/>
              </a:solidFill>
            </c:spPr>
            <c:extLst>
              <c:ext xmlns:c16="http://schemas.microsoft.com/office/drawing/2014/chart" uri="{C3380CC4-5D6E-409C-BE32-E72D297353CC}">
                <c16:uniqueId val="{00000273-749D-414D-9DD8-CF636592D1C6}"/>
              </c:ext>
            </c:extLst>
          </c:dPt>
          <c:dPt>
            <c:idx val="313"/>
            <c:invertIfNegative val="1"/>
            <c:bubble3D val="0"/>
            <c:spPr>
              <a:solidFill>
                <a:srgbClr val="AEABAB"/>
              </a:solidFill>
            </c:spPr>
            <c:extLst>
              <c:ext xmlns:c16="http://schemas.microsoft.com/office/drawing/2014/chart" uri="{C3380CC4-5D6E-409C-BE32-E72D297353CC}">
                <c16:uniqueId val="{00000275-749D-414D-9DD8-CF636592D1C6}"/>
              </c:ext>
            </c:extLst>
          </c:dPt>
          <c:dPt>
            <c:idx val="314"/>
            <c:invertIfNegative val="1"/>
            <c:bubble3D val="0"/>
            <c:spPr>
              <a:solidFill>
                <a:srgbClr val="AEABAB"/>
              </a:solidFill>
            </c:spPr>
            <c:extLst>
              <c:ext xmlns:c16="http://schemas.microsoft.com/office/drawing/2014/chart" uri="{C3380CC4-5D6E-409C-BE32-E72D297353CC}">
                <c16:uniqueId val="{00000277-749D-414D-9DD8-CF636592D1C6}"/>
              </c:ext>
            </c:extLst>
          </c:dPt>
          <c:dPt>
            <c:idx val="315"/>
            <c:invertIfNegative val="1"/>
            <c:bubble3D val="0"/>
            <c:spPr>
              <a:solidFill>
                <a:srgbClr val="AEABAB"/>
              </a:solidFill>
            </c:spPr>
            <c:extLst>
              <c:ext xmlns:c16="http://schemas.microsoft.com/office/drawing/2014/chart" uri="{C3380CC4-5D6E-409C-BE32-E72D297353CC}">
                <c16:uniqueId val="{00000279-749D-414D-9DD8-CF636592D1C6}"/>
              </c:ext>
            </c:extLst>
          </c:dPt>
          <c:dPt>
            <c:idx val="316"/>
            <c:invertIfNegative val="1"/>
            <c:bubble3D val="0"/>
            <c:spPr>
              <a:solidFill>
                <a:srgbClr val="AEABAB"/>
              </a:solidFill>
            </c:spPr>
            <c:extLst>
              <c:ext xmlns:c16="http://schemas.microsoft.com/office/drawing/2014/chart" uri="{C3380CC4-5D6E-409C-BE32-E72D297353CC}">
                <c16:uniqueId val="{0000027B-749D-414D-9DD8-CF636592D1C6}"/>
              </c:ext>
            </c:extLst>
          </c:dPt>
          <c:dPt>
            <c:idx val="317"/>
            <c:invertIfNegative val="1"/>
            <c:bubble3D val="0"/>
            <c:spPr>
              <a:solidFill>
                <a:srgbClr val="AEABAB"/>
              </a:solidFill>
            </c:spPr>
            <c:extLst>
              <c:ext xmlns:c16="http://schemas.microsoft.com/office/drawing/2014/chart" uri="{C3380CC4-5D6E-409C-BE32-E72D297353CC}">
                <c16:uniqueId val="{0000027D-749D-414D-9DD8-CF636592D1C6}"/>
              </c:ext>
            </c:extLst>
          </c:dPt>
          <c:dPt>
            <c:idx val="318"/>
            <c:invertIfNegative val="1"/>
            <c:bubble3D val="0"/>
            <c:spPr>
              <a:solidFill>
                <a:srgbClr val="AEABAB"/>
              </a:solidFill>
            </c:spPr>
            <c:extLst>
              <c:ext xmlns:c16="http://schemas.microsoft.com/office/drawing/2014/chart" uri="{C3380CC4-5D6E-409C-BE32-E72D297353CC}">
                <c16:uniqueId val="{0000027F-749D-414D-9DD8-CF636592D1C6}"/>
              </c:ext>
            </c:extLst>
          </c:dPt>
          <c:dPt>
            <c:idx val="319"/>
            <c:invertIfNegative val="1"/>
            <c:bubble3D val="0"/>
            <c:spPr>
              <a:solidFill>
                <a:srgbClr val="AEABAB"/>
              </a:solidFill>
            </c:spPr>
            <c:extLst>
              <c:ext xmlns:c16="http://schemas.microsoft.com/office/drawing/2014/chart" uri="{C3380CC4-5D6E-409C-BE32-E72D297353CC}">
                <c16:uniqueId val="{00000281-749D-414D-9DD8-CF636592D1C6}"/>
              </c:ext>
            </c:extLst>
          </c:dPt>
          <c:dPt>
            <c:idx val="320"/>
            <c:invertIfNegative val="1"/>
            <c:bubble3D val="0"/>
            <c:spPr>
              <a:solidFill>
                <a:srgbClr val="AEABAB"/>
              </a:solidFill>
            </c:spPr>
            <c:extLst>
              <c:ext xmlns:c16="http://schemas.microsoft.com/office/drawing/2014/chart" uri="{C3380CC4-5D6E-409C-BE32-E72D297353CC}">
                <c16:uniqueId val="{00000283-749D-414D-9DD8-CF636592D1C6}"/>
              </c:ext>
            </c:extLst>
          </c:dPt>
          <c:dPt>
            <c:idx val="321"/>
            <c:invertIfNegative val="1"/>
            <c:bubble3D val="0"/>
            <c:spPr>
              <a:solidFill>
                <a:srgbClr val="AEABAB"/>
              </a:solidFill>
            </c:spPr>
            <c:extLst>
              <c:ext xmlns:c16="http://schemas.microsoft.com/office/drawing/2014/chart" uri="{C3380CC4-5D6E-409C-BE32-E72D297353CC}">
                <c16:uniqueId val="{00000285-749D-414D-9DD8-CF636592D1C6}"/>
              </c:ext>
            </c:extLst>
          </c:dPt>
          <c:dPt>
            <c:idx val="322"/>
            <c:invertIfNegative val="1"/>
            <c:bubble3D val="0"/>
            <c:spPr>
              <a:solidFill>
                <a:srgbClr val="AEABAB"/>
              </a:solidFill>
            </c:spPr>
            <c:extLst>
              <c:ext xmlns:c16="http://schemas.microsoft.com/office/drawing/2014/chart" uri="{C3380CC4-5D6E-409C-BE32-E72D297353CC}">
                <c16:uniqueId val="{00000287-749D-414D-9DD8-CF636592D1C6}"/>
              </c:ext>
            </c:extLst>
          </c:dPt>
          <c:dPt>
            <c:idx val="323"/>
            <c:invertIfNegative val="1"/>
            <c:bubble3D val="0"/>
            <c:spPr>
              <a:solidFill>
                <a:srgbClr val="AEABAB"/>
              </a:solidFill>
            </c:spPr>
            <c:extLst>
              <c:ext xmlns:c16="http://schemas.microsoft.com/office/drawing/2014/chart" uri="{C3380CC4-5D6E-409C-BE32-E72D297353CC}">
                <c16:uniqueId val="{00000289-749D-414D-9DD8-CF636592D1C6}"/>
              </c:ext>
            </c:extLst>
          </c:dPt>
          <c:dPt>
            <c:idx val="324"/>
            <c:invertIfNegative val="1"/>
            <c:bubble3D val="0"/>
            <c:spPr>
              <a:solidFill>
                <a:srgbClr val="AEABAB"/>
              </a:solidFill>
            </c:spPr>
            <c:extLst>
              <c:ext xmlns:c16="http://schemas.microsoft.com/office/drawing/2014/chart" uri="{C3380CC4-5D6E-409C-BE32-E72D297353CC}">
                <c16:uniqueId val="{0000028B-749D-414D-9DD8-CF636592D1C6}"/>
              </c:ext>
            </c:extLst>
          </c:dPt>
          <c:dPt>
            <c:idx val="325"/>
            <c:invertIfNegative val="1"/>
            <c:bubble3D val="0"/>
            <c:spPr>
              <a:solidFill>
                <a:srgbClr val="AEABAB"/>
              </a:solidFill>
            </c:spPr>
            <c:extLst>
              <c:ext xmlns:c16="http://schemas.microsoft.com/office/drawing/2014/chart" uri="{C3380CC4-5D6E-409C-BE32-E72D297353CC}">
                <c16:uniqueId val="{0000028D-749D-414D-9DD8-CF636592D1C6}"/>
              </c:ext>
            </c:extLst>
          </c:dPt>
          <c:dPt>
            <c:idx val="326"/>
            <c:invertIfNegative val="1"/>
            <c:bubble3D val="0"/>
            <c:spPr>
              <a:solidFill>
                <a:srgbClr val="AEABAB"/>
              </a:solidFill>
            </c:spPr>
            <c:extLst>
              <c:ext xmlns:c16="http://schemas.microsoft.com/office/drawing/2014/chart" uri="{C3380CC4-5D6E-409C-BE32-E72D297353CC}">
                <c16:uniqueId val="{0000028F-749D-414D-9DD8-CF636592D1C6}"/>
              </c:ext>
            </c:extLst>
          </c:dPt>
          <c:dPt>
            <c:idx val="327"/>
            <c:invertIfNegative val="1"/>
            <c:bubble3D val="0"/>
            <c:spPr>
              <a:solidFill>
                <a:srgbClr val="AEABAB"/>
              </a:solidFill>
            </c:spPr>
            <c:extLst>
              <c:ext xmlns:c16="http://schemas.microsoft.com/office/drawing/2014/chart" uri="{C3380CC4-5D6E-409C-BE32-E72D297353CC}">
                <c16:uniqueId val="{00000291-749D-414D-9DD8-CF636592D1C6}"/>
              </c:ext>
            </c:extLst>
          </c:dPt>
          <c:dPt>
            <c:idx val="328"/>
            <c:invertIfNegative val="1"/>
            <c:bubble3D val="0"/>
            <c:spPr>
              <a:solidFill>
                <a:srgbClr val="AEABAB"/>
              </a:solidFill>
            </c:spPr>
            <c:extLst>
              <c:ext xmlns:c16="http://schemas.microsoft.com/office/drawing/2014/chart" uri="{C3380CC4-5D6E-409C-BE32-E72D297353CC}">
                <c16:uniqueId val="{00000293-749D-414D-9DD8-CF636592D1C6}"/>
              </c:ext>
            </c:extLst>
          </c:dPt>
          <c:dPt>
            <c:idx val="329"/>
            <c:invertIfNegative val="1"/>
            <c:bubble3D val="0"/>
            <c:spPr>
              <a:solidFill>
                <a:srgbClr val="AEABAB"/>
              </a:solidFill>
            </c:spPr>
            <c:extLst>
              <c:ext xmlns:c16="http://schemas.microsoft.com/office/drawing/2014/chart" uri="{C3380CC4-5D6E-409C-BE32-E72D297353CC}">
                <c16:uniqueId val="{00000295-749D-414D-9DD8-CF636592D1C6}"/>
              </c:ext>
            </c:extLst>
          </c:dPt>
          <c:dPt>
            <c:idx val="330"/>
            <c:invertIfNegative val="1"/>
            <c:bubble3D val="0"/>
            <c:spPr>
              <a:solidFill>
                <a:srgbClr val="AEABAB"/>
              </a:solidFill>
            </c:spPr>
            <c:extLst>
              <c:ext xmlns:c16="http://schemas.microsoft.com/office/drawing/2014/chart" uri="{C3380CC4-5D6E-409C-BE32-E72D297353CC}">
                <c16:uniqueId val="{00000297-749D-414D-9DD8-CF636592D1C6}"/>
              </c:ext>
            </c:extLst>
          </c:dPt>
          <c:dPt>
            <c:idx val="331"/>
            <c:invertIfNegative val="1"/>
            <c:bubble3D val="0"/>
            <c:spPr>
              <a:solidFill>
                <a:srgbClr val="AEABAB"/>
              </a:solidFill>
            </c:spPr>
            <c:extLst>
              <c:ext xmlns:c16="http://schemas.microsoft.com/office/drawing/2014/chart" uri="{C3380CC4-5D6E-409C-BE32-E72D297353CC}">
                <c16:uniqueId val="{00000299-749D-414D-9DD8-CF636592D1C6}"/>
              </c:ext>
            </c:extLst>
          </c:dPt>
          <c:dPt>
            <c:idx val="332"/>
            <c:invertIfNegative val="1"/>
            <c:bubble3D val="0"/>
            <c:spPr>
              <a:solidFill>
                <a:srgbClr val="AEABAB"/>
              </a:solidFill>
            </c:spPr>
            <c:extLst>
              <c:ext xmlns:c16="http://schemas.microsoft.com/office/drawing/2014/chart" uri="{C3380CC4-5D6E-409C-BE32-E72D297353CC}">
                <c16:uniqueId val="{0000029B-749D-414D-9DD8-CF636592D1C6}"/>
              </c:ext>
            </c:extLst>
          </c:dPt>
          <c:dPt>
            <c:idx val="333"/>
            <c:invertIfNegative val="1"/>
            <c:bubble3D val="0"/>
            <c:spPr>
              <a:solidFill>
                <a:srgbClr val="AEABAB"/>
              </a:solidFill>
            </c:spPr>
            <c:extLst>
              <c:ext xmlns:c16="http://schemas.microsoft.com/office/drawing/2014/chart" uri="{C3380CC4-5D6E-409C-BE32-E72D297353CC}">
                <c16:uniqueId val="{0000029D-749D-414D-9DD8-CF636592D1C6}"/>
              </c:ext>
            </c:extLst>
          </c:dPt>
          <c:dPt>
            <c:idx val="334"/>
            <c:invertIfNegative val="1"/>
            <c:bubble3D val="0"/>
            <c:spPr>
              <a:solidFill>
                <a:srgbClr val="AEABAB"/>
              </a:solidFill>
            </c:spPr>
            <c:extLst>
              <c:ext xmlns:c16="http://schemas.microsoft.com/office/drawing/2014/chart" uri="{C3380CC4-5D6E-409C-BE32-E72D297353CC}">
                <c16:uniqueId val="{0000029F-749D-414D-9DD8-CF636592D1C6}"/>
              </c:ext>
            </c:extLst>
          </c:dPt>
          <c:dPt>
            <c:idx val="335"/>
            <c:invertIfNegative val="1"/>
            <c:bubble3D val="0"/>
            <c:spPr>
              <a:solidFill>
                <a:srgbClr val="AEABAB"/>
              </a:solidFill>
            </c:spPr>
            <c:extLst>
              <c:ext xmlns:c16="http://schemas.microsoft.com/office/drawing/2014/chart" uri="{C3380CC4-5D6E-409C-BE32-E72D297353CC}">
                <c16:uniqueId val="{000002A1-749D-414D-9DD8-CF636592D1C6}"/>
              </c:ext>
            </c:extLst>
          </c:dPt>
          <c:dPt>
            <c:idx val="336"/>
            <c:invertIfNegative val="1"/>
            <c:bubble3D val="0"/>
            <c:spPr>
              <a:solidFill>
                <a:srgbClr val="AEABAB"/>
              </a:solidFill>
            </c:spPr>
            <c:extLst>
              <c:ext xmlns:c16="http://schemas.microsoft.com/office/drawing/2014/chart" uri="{C3380CC4-5D6E-409C-BE32-E72D297353CC}">
                <c16:uniqueId val="{000002A3-749D-414D-9DD8-CF636592D1C6}"/>
              </c:ext>
            </c:extLst>
          </c:dPt>
          <c:dPt>
            <c:idx val="337"/>
            <c:invertIfNegative val="1"/>
            <c:bubble3D val="0"/>
            <c:spPr>
              <a:solidFill>
                <a:srgbClr val="AEABAB"/>
              </a:solidFill>
            </c:spPr>
            <c:extLst>
              <c:ext xmlns:c16="http://schemas.microsoft.com/office/drawing/2014/chart" uri="{C3380CC4-5D6E-409C-BE32-E72D297353CC}">
                <c16:uniqueId val="{000002A5-749D-414D-9DD8-CF636592D1C6}"/>
              </c:ext>
            </c:extLst>
          </c:dPt>
          <c:dPt>
            <c:idx val="338"/>
            <c:invertIfNegative val="1"/>
            <c:bubble3D val="0"/>
            <c:spPr>
              <a:solidFill>
                <a:srgbClr val="AEABAB"/>
              </a:solidFill>
            </c:spPr>
            <c:extLst>
              <c:ext xmlns:c16="http://schemas.microsoft.com/office/drawing/2014/chart" uri="{C3380CC4-5D6E-409C-BE32-E72D297353CC}">
                <c16:uniqueId val="{000002A7-749D-414D-9DD8-CF636592D1C6}"/>
              </c:ext>
            </c:extLst>
          </c:dPt>
          <c:dPt>
            <c:idx val="339"/>
            <c:invertIfNegative val="1"/>
            <c:bubble3D val="0"/>
            <c:spPr>
              <a:solidFill>
                <a:srgbClr val="AEABAB"/>
              </a:solidFill>
            </c:spPr>
            <c:extLst>
              <c:ext xmlns:c16="http://schemas.microsoft.com/office/drawing/2014/chart" uri="{C3380CC4-5D6E-409C-BE32-E72D297353CC}">
                <c16:uniqueId val="{000002A9-749D-414D-9DD8-CF636592D1C6}"/>
              </c:ext>
            </c:extLst>
          </c:dPt>
          <c:dPt>
            <c:idx val="340"/>
            <c:invertIfNegative val="1"/>
            <c:bubble3D val="0"/>
            <c:spPr>
              <a:solidFill>
                <a:srgbClr val="AEABAB"/>
              </a:solidFill>
            </c:spPr>
            <c:extLst>
              <c:ext xmlns:c16="http://schemas.microsoft.com/office/drawing/2014/chart" uri="{C3380CC4-5D6E-409C-BE32-E72D297353CC}">
                <c16:uniqueId val="{000002AB-749D-414D-9DD8-CF636592D1C6}"/>
              </c:ext>
            </c:extLst>
          </c:dPt>
          <c:dPt>
            <c:idx val="341"/>
            <c:invertIfNegative val="1"/>
            <c:bubble3D val="0"/>
            <c:spPr>
              <a:solidFill>
                <a:srgbClr val="AEABAB"/>
              </a:solidFill>
            </c:spPr>
            <c:extLst>
              <c:ext xmlns:c16="http://schemas.microsoft.com/office/drawing/2014/chart" uri="{C3380CC4-5D6E-409C-BE32-E72D297353CC}">
                <c16:uniqueId val="{000002AD-749D-414D-9DD8-CF636592D1C6}"/>
              </c:ext>
            </c:extLst>
          </c:dPt>
          <c:dPt>
            <c:idx val="342"/>
            <c:invertIfNegative val="1"/>
            <c:bubble3D val="0"/>
            <c:spPr>
              <a:solidFill>
                <a:srgbClr val="AEABAB"/>
              </a:solidFill>
            </c:spPr>
            <c:extLst>
              <c:ext xmlns:c16="http://schemas.microsoft.com/office/drawing/2014/chart" uri="{C3380CC4-5D6E-409C-BE32-E72D297353CC}">
                <c16:uniqueId val="{000002AF-749D-414D-9DD8-CF636592D1C6}"/>
              </c:ext>
            </c:extLst>
          </c:dPt>
          <c:dPt>
            <c:idx val="343"/>
            <c:invertIfNegative val="1"/>
            <c:bubble3D val="0"/>
            <c:spPr>
              <a:solidFill>
                <a:srgbClr val="AEABAB"/>
              </a:solidFill>
            </c:spPr>
            <c:extLst>
              <c:ext xmlns:c16="http://schemas.microsoft.com/office/drawing/2014/chart" uri="{C3380CC4-5D6E-409C-BE32-E72D297353CC}">
                <c16:uniqueId val="{000002B1-749D-414D-9DD8-CF636592D1C6}"/>
              </c:ext>
            </c:extLst>
          </c:dPt>
          <c:dPt>
            <c:idx val="344"/>
            <c:invertIfNegative val="1"/>
            <c:bubble3D val="0"/>
            <c:spPr>
              <a:solidFill>
                <a:srgbClr val="AEABAB"/>
              </a:solidFill>
            </c:spPr>
            <c:extLst>
              <c:ext xmlns:c16="http://schemas.microsoft.com/office/drawing/2014/chart" uri="{C3380CC4-5D6E-409C-BE32-E72D297353CC}">
                <c16:uniqueId val="{000002B3-749D-414D-9DD8-CF636592D1C6}"/>
              </c:ext>
            </c:extLst>
          </c:dPt>
          <c:dPt>
            <c:idx val="345"/>
            <c:invertIfNegative val="1"/>
            <c:bubble3D val="0"/>
            <c:spPr>
              <a:solidFill>
                <a:srgbClr val="AEABAB"/>
              </a:solidFill>
            </c:spPr>
            <c:extLst>
              <c:ext xmlns:c16="http://schemas.microsoft.com/office/drawing/2014/chart" uri="{C3380CC4-5D6E-409C-BE32-E72D297353CC}">
                <c16:uniqueId val="{000002B5-749D-414D-9DD8-CF636592D1C6}"/>
              </c:ext>
            </c:extLst>
          </c:dPt>
          <c:dPt>
            <c:idx val="346"/>
            <c:invertIfNegative val="1"/>
            <c:bubble3D val="0"/>
            <c:spPr>
              <a:solidFill>
                <a:srgbClr val="AEABAB"/>
              </a:solidFill>
            </c:spPr>
            <c:extLst>
              <c:ext xmlns:c16="http://schemas.microsoft.com/office/drawing/2014/chart" uri="{C3380CC4-5D6E-409C-BE32-E72D297353CC}">
                <c16:uniqueId val="{000002B7-749D-414D-9DD8-CF636592D1C6}"/>
              </c:ext>
            </c:extLst>
          </c:dPt>
          <c:dPt>
            <c:idx val="347"/>
            <c:invertIfNegative val="1"/>
            <c:bubble3D val="0"/>
            <c:spPr>
              <a:solidFill>
                <a:srgbClr val="AEABAB"/>
              </a:solidFill>
            </c:spPr>
            <c:extLst>
              <c:ext xmlns:c16="http://schemas.microsoft.com/office/drawing/2014/chart" uri="{C3380CC4-5D6E-409C-BE32-E72D297353CC}">
                <c16:uniqueId val="{000002B9-749D-414D-9DD8-CF636592D1C6}"/>
              </c:ext>
            </c:extLst>
          </c:dPt>
          <c:dPt>
            <c:idx val="348"/>
            <c:invertIfNegative val="1"/>
            <c:bubble3D val="0"/>
            <c:spPr>
              <a:solidFill>
                <a:srgbClr val="AEABAB"/>
              </a:solidFill>
            </c:spPr>
            <c:extLst>
              <c:ext xmlns:c16="http://schemas.microsoft.com/office/drawing/2014/chart" uri="{C3380CC4-5D6E-409C-BE32-E72D297353CC}">
                <c16:uniqueId val="{000002BB-749D-414D-9DD8-CF636592D1C6}"/>
              </c:ext>
            </c:extLst>
          </c:dPt>
          <c:dPt>
            <c:idx val="349"/>
            <c:invertIfNegative val="1"/>
            <c:bubble3D val="0"/>
            <c:spPr>
              <a:solidFill>
                <a:srgbClr val="AEABAB"/>
              </a:solidFill>
            </c:spPr>
            <c:extLst>
              <c:ext xmlns:c16="http://schemas.microsoft.com/office/drawing/2014/chart" uri="{C3380CC4-5D6E-409C-BE32-E72D297353CC}">
                <c16:uniqueId val="{000002BD-749D-414D-9DD8-CF636592D1C6}"/>
              </c:ext>
            </c:extLst>
          </c:dPt>
          <c:dPt>
            <c:idx val="350"/>
            <c:invertIfNegative val="1"/>
            <c:bubble3D val="0"/>
            <c:spPr>
              <a:solidFill>
                <a:srgbClr val="AEABAB"/>
              </a:solidFill>
            </c:spPr>
            <c:extLst>
              <c:ext xmlns:c16="http://schemas.microsoft.com/office/drawing/2014/chart" uri="{C3380CC4-5D6E-409C-BE32-E72D297353CC}">
                <c16:uniqueId val="{000002BF-749D-414D-9DD8-CF636592D1C6}"/>
              </c:ext>
            </c:extLst>
          </c:dPt>
          <c:dPt>
            <c:idx val="351"/>
            <c:invertIfNegative val="1"/>
            <c:bubble3D val="0"/>
            <c:spPr>
              <a:solidFill>
                <a:srgbClr val="AEABAB"/>
              </a:solidFill>
            </c:spPr>
            <c:extLst>
              <c:ext xmlns:c16="http://schemas.microsoft.com/office/drawing/2014/chart" uri="{C3380CC4-5D6E-409C-BE32-E72D297353CC}">
                <c16:uniqueId val="{000002C1-749D-414D-9DD8-CF636592D1C6}"/>
              </c:ext>
            </c:extLst>
          </c:dPt>
          <c:dPt>
            <c:idx val="352"/>
            <c:invertIfNegative val="1"/>
            <c:bubble3D val="0"/>
            <c:spPr>
              <a:solidFill>
                <a:srgbClr val="AEABAB"/>
              </a:solidFill>
            </c:spPr>
            <c:extLst>
              <c:ext xmlns:c16="http://schemas.microsoft.com/office/drawing/2014/chart" uri="{C3380CC4-5D6E-409C-BE32-E72D297353CC}">
                <c16:uniqueId val="{000002C3-749D-414D-9DD8-CF636592D1C6}"/>
              </c:ext>
            </c:extLst>
          </c:dPt>
          <c:dPt>
            <c:idx val="353"/>
            <c:invertIfNegative val="1"/>
            <c:bubble3D val="0"/>
            <c:spPr>
              <a:solidFill>
                <a:srgbClr val="AEABAB"/>
              </a:solidFill>
            </c:spPr>
            <c:extLst>
              <c:ext xmlns:c16="http://schemas.microsoft.com/office/drawing/2014/chart" uri="{C3380CC4-5D6E-409C-BE32-E72D297353CC}">
                <c16:uniqueId val="{000002C5-749D-414D-9DD8-CF636592D1C6}"/>
              </c:ext>
            </c:extLst>
          </c:dPt>
          <c:dPt>
            <c:idx val="354"/>
            <c:invertIfNegative val="1"/>
            <c:bubble3D val="0"/>
            <c:spPr>
              <a:solidFill>
                <a:srgbClr val="AEABAB"/>
              </a:solidFill>
            </c:spPr>
            <c:extLst>
              <c:ext xmlns:c16="http://schemas.microsoft.com/office/drawing/2014/chart" uri="{C3380CC4-5D6E-409C-BE32-E72D297353CC}">
                <c16:uniqueId val="{000002C7-749D-414D-9DD8-CF636592D1C6}"/>
              </c:ext>
            </c:extLst>
          </c:dPt>
          <c:dPt>
            <c:idx val="355"/>
            <c:invertIfNegative val="1"/>
            <c:bubble3D val="0"/>
            <c:spPr>
              <a:solidFill>
                <a:srgbClr val="AEABAB"/>
              </a:solidFill>
            </c:spPr>
            <c:extLst>
              <c:ext xmlns:c16="http://schemas.microsoft.com/office/drawing/2014/chart" uri="{C3380CC4-5D6E-409C-BE32-E72D297353CC}">
                <c16:uniqueId val="{000002C9-749D-414D-9DD8-CF636592D1C6}"/>
              </c:ext>
            </c:extLst>
          </c:dPt>
          <c:dPt>
            <c:idx val="356"/>
            <c:invertIfNegative val="1"/>
            <c:bubble3D val="0"/>
            <c:spPr>
              <a:solidFill>
                <a:srgbClr val="AEABAB"/>
              </a:solidFill>
            </c:spPr>
            <c:extLst>
              <c:ext xmlns:c16="http://schemas.microsoft.com/office/drawing/2014/chart" uri="{C3380CC4-5D6E-409C-BE32-E72D297353CC}">
                <c16:uniqueId val="{000002CB-749D-414D-9DD8-CF636592D1C6}"/>
              </c:ext>
            </c:extLst>
          </c:dPt>
          <c:dPt>
            <c:idx val="357"/>
            <c:invertIfNegative val="1"/>
            <c:bubble3D val="0"/>
            <c:spPr>
              <a:solidFill>
                <a:srgbClr val="AEABAB"/>
              </a:solidFill>
            </c:spPr>
            <c:extLst>
              <c:ext xmlns:c16="http://schemas.microsoft.com/office/drawing/2014/chart" uri="{C3380CC4-5D6E-409C-BE32-E72D297353CC}">
                <c16:uniqueId val="{000002CD-749D-414D-9DD8-CF636592D1C6}"/>
              </c:ext>
            </c:extLst>
          </c:dPt>
          <c:dPt>
            <c:idx val="358"/>
            <c:invertIfNegative val="1"/>
            <c:bubble3D val="0"/>
            <c:spPr>
              <a:solidFill>
                <a:srgbClr val="AEABAB"/>
              </a:solidFill>
            </c:spPr>
            <c:extLst>
              <c:ext xmlns:c16="http://schemas.microsoft.com/office/drawing/2014/chart" uri="{C3380CC4-5D6E-409C-BE32-E72D297353CC}">
                <c16:uniqueId val="{000002CF-749D-414D-9DD8-CF636592D1C6}"/>
              </c:ext>
            </c:extLst>
          </c:dPt>
          <c:dPt>
            <c:idx val="359"/>
            <c:invertIfNegative val="1"/>
            <c:bubble3D val="0"/>
            <c:spPr>
              <a:solidFill>
                <a:srgbClr val="AEABAB"/>
              </a:solidFill>
            </c:spPr>
            <c:extLst>
              <c:ext xmlns:c16="http://schemas.microsoft.com/office/drawing/2014/chart" uri="{C3380CC4-5D6E-409C-BE32-E72D297353CC}">
                <c16:uniqueId val="{000002D1-749D-414D-9DD8-CF636592D1C6}"/>
              </c:ext>
            </c:extLst>
          </c:dPt>
          <c:dPt>
            <c:idx val="360"/>
            <c:invertIfNegative val="1"/>
            <c:bubble3D val="0"/>
            <c:spPr>
              <a:solidFill>
                <a:srgbClr val="AEABAB"/>
              </a:solidFill>
            </c:spPr>
            <c:extLst>
              <c:ext xmlns:c16="http://schemas.microsoft.com/office/drawing/2014/chart" uri="{C3380CC4-5D6E-409C-BE32-E72D297353CC}">
                <c16:uniqueId val="{000002D3-749D-414D-9DD8-CF636592D1C6}"/>
              </c:ext>
            </c:extLst>
          </c:dPt>
          <c:dPt>
            <c:idx val="361"/>
            <c:invertIfNegative val="1"/>
            <c:bubble3D val="0"/>
            <c:spPr>
              <a:solidFill>
                <a:srgbClr val="AEABAB"/>
              </a:solidFill>
            </c:spPr>
            <c:extLst>
              <c:ext xmlns:c16="http://schemas.microsoft.com/office/drawing/2014/chart" uri="{C3380CC4-5D6E-409C-BE32-E72D297353CC}">
                <c16:uniqueId val="{000002D5-749D-414D-9DD8-CF636592D1C6}"/>
              </c:ext>
            </c:extLst>
          </c:dPt>
          <c:dPt>
            <c:idx val="362"/>
            <c:invertIfNegative val="1"/>
            <c:bubble3D val="0"/>
            <c:spPr>
              <a:solidFill>
                <a:srgbClr val="AEABAB"/>
              </a:solidFill>
            </c:spPr>
            <c:extLst>
              <c:ext xmlns:c16="http://schemas.microsoft.com/office/drawing/2014/chart" uri="{C3380CC4-5D6E-409C-BE32-E72D297353CC}">
                <c16:uniqueId val="{000002D7-749D-414D-9DD8-CF636592D1C6}"/>
              </c:ext>
            </c:extLst>
          </c:dPt>
          <c:dPt>
            <c:idx val="363"/>
            <c:invertIfNegative val="1"/>
            <c:bubble3D val="0"/>
            <c:spPr>
              <a:solidFill>
                <a:srgbClr val="AEABAB"/>
              </a:solidFill>
            </c:spPr>
            <c:extLst>
              <c:ext xmlns:c16="http://schemas.microsoft.com/office/drawing/2014/chart" uri="{C3380CC4-5D6E-409C-BE32-E72D297353CC}">
                <c16:uniqueId val="{000002D9-749D-414D-9DD8-CF636592D1C6}"/>
              </c:ext>
            </c:extLst>
          </c:dPt>
          <c:dPt>
            <c:idx val="364"/>
            <c:invertIfNegative val="1"/>
            <c:bubble3D val="0"/>
            <c:spPr>
              <a:solidFill>
                <a:srgbClr val="AEABAB"/>
              </a:solidFill>
            </c:spPr>
            <c:extLst>
              <c:ext xmlns:c16="http://schemas.microsoft.com/office/drawing/2014/chart" uri="{C3380CC4-5D6E-409C-BE32-E72D297353CC}">
                <c16:uniqueId val="{000002DB-749D-414D-9DD8-CF636592D1C6}"/>
              </c:ext>
            </c:extLst>
          </c:dPt>
          <c:dPt>
            <c:idx val="365"/>
            <c:invertIfNegative val="1"/>
            <c:bubble3D val="0"/>
            <c:spPr>
              <a:solidFill>
                <a:srgbClr val="AEABAB"/>
              </a:solidFill>
            </c:spPr>
            <c:extLst>
              <c:ext xmlns:c16="http://schemas.microsoft.com/office/drawing/2014/chart" uri="{C3380CC4-5D6E-409C-BE32-E72D297353CC}">
                <c16:uniqueId val="{000002DD-749D-414D-9DD8-CF636592D1C6}"/>
              </c:ext>
            </c:extLst>
          </c:dPt>
          <c:dPt>
            <c:idx val="366"/>
            <c:invertIfNegative val="1"/>
            <c:bubble3D val="0"/>
            <c:spPr>
              <a:solidFill>
                <a:srgbClr val="AEABAB"/>
              </a:solidFill>
            </c:spPr>
            <c:extLst>
              <c:ext xmlns:c16="http://schemas.microsoft.com/office/drawing/2014/chart" uri="{C3380CC4-5D6E-409C-BE32-E72D297353CC}">
                <c16:uniqueId val="{000002DF-749D-414D-9DD8-CF636592D1C6}"/>
              </c:ext>
            </c:extLst>
          </c:dPt>
          <c:dPt>
            <c:idx val="367"/>
            <c:invertIfNegative val="1"/>
            <c:bubble3D val="0"/>
            <c:spPr>
              <a:solidFill>
                <a:srgbClr val="AEABAB"/>
              </a:solidFill>
            </c:spPr>
            <c:extLst>
              <c:ext xmlns:c16="http://schemas.microsoft.com/office/drawing/2014/chart" uri="{C3380CC4-5D6E-409C-BE32-E72D297353CC}">
                <c16:uniqueId val="{000002E1-749D-414D-9DD8-CF636592D1C6}"/>
              </c:ext>
            </c:extLst>
          </c:dPt>
          <c:dPt>
            <c:idx val="368"/>
            <c:invertIfNegative val="1"/>
            <c:bubble3D val="0"/>
            <c:spPr>
              <a:solidFill>
                <a:srgbClr val="AEABAB"/>
              </a:solidFill>
            </c:spPr>
            <c:extLst>
              <c:ext xmlns:c16="http://schemas.microsoft.com/office/drawing/2014/chart" uri="{C3380CC4-5D6E-409C-BE32-E72D297353CC}">
                <c16:uniqueId val="{000002E3-749D-414D-9DD8-CF636592D1C6}"/>
              </c:ext>
            </c:extLst>
          </c:dPt>
          <c:dPt>
            <c:idx val="369"/>
            <c:invertIfNegative val="1"/>
            <c:bubble3D val="0"/>
            <c:spPr>
              <a:solidFill>
                <a:srgbClr val="AEABAB"/>
              </a:solidFill>
            </c:spPr>
            <c:extLst>
              <c:ext xmlns:c16="http://schemas.microsoft.com/office/drawing/2014/chart" uri="{C3380CC4-5D6E-409C-BE32-E72D297353CC}">
                <c16:uniqueId val="{000002E5-749D-414D-9DD8-CF636592D1C6}"/>
              </c:ext>
            </c:extLst>
          </c:dPt>
          <c:dPt>
            <c:idx val="370"/>
            <c:invertIfNegative val="1"/>
            <c:bubble3D val="0"/>
            <c:spPr>
              <a:solidFill>
                <a:srgbClr val="AEABAB"/>
              </a:solidFill>
            </c:spPr>
            <c:extLst>
              <c:ext xmlns:c16="http://schemas.microsoft.com/office/drawing/2014/chart" uri="{C3380CC4-5D6E-409C-BE32-E72D297353CC}">
                <c16:uniqueId val="{000002E7-749D-414D-9DD8-CF636592D1C6}"/>
              </c:ext>
            </c:extLst>
          </c:dPt>
          <c:dPt>
            <c:idx val="371"/>
            <c:invertIfNegative val="1"/>
            <c:bubble3D val="0"/>
            <c:spPr>
              <a:solidFill>
                <a:srgbClr val="AEABAB"/>
              </a:solidFill>
            </c:spPr>
            <c:extLst>
              <c:ext xmlns:c16="http://schemas.microsoft.com/office/drawing/2014/chart" uri="{C3380CC4-5D6E-409C-BE32-E72D297353CC}">
                <c16:uniqueId val="{000002E9-749D-414D-9DD8-CF636592D1C6}"/>
              </c:ext>
            </c:extLst>
          </c:dPt>
          <c:dPt>
            <c:idx val="372"/>
            <c:invertIfNegative val="1"/>
            <c:bubble3D val="0"/>
            <c:spPr>
              <a:solidFill>
                <a:srgbClr val="AEABAB"/>
              </a:solidFill>
            </c:spPr>
            <c:extLst>
              <c:ext xmlns:c16="http://schemas.microsoft.com/office/drawing/2014/chart" uri="{C3380CC4-5D6E-409C-BE32-E72D297353CC}">
                <c16:uniqueId val="{000002EB-749D-414D-9DD8-CF636592D1C6}"/>
              </c:ext>
            </c:extLst>
          </c:dPt>
          <c:dPt>
            <c:idx val="373"/>
            <c:invertIfNegative val="1"/>
            <c:bubble3D val="0"/>
            <c:spPr>
              <a:solidFill>
                <a:srgbClr val="AEABAB"/>
              </a:solidFill>
            </c:spPr>
            <c:extLst>
              <c:ext xmlns:c16="http://schemas.microsoft.com/office/drawing/2014/chart" uri="{C3380CC4-5D6E-409C-BE32-E72D297353CC}">
                <c16:uniqueId val="{000002ED-749D-414D-9DD8-CF636592D1C6}"/>
              </c:ext>
            </c:extLst>
          </c:dPt>
          <c:dPt>
            <c:idx val="374"/>
            <c:invertIfNegative val="1"/>
            <c:bubble3D val="0"/>
            <c:spPr>
              <a:solidFill>
                <a:srgbClr val="AEABAB"/>
              </a:solidFill>
            </c:spPr>
            <c:extLst>
              <c:ext xmlns:c16="http://schemas.microsoft.com/office/drawing/2014/chart" uri="{C3380CC4-5D6E-409C-BE32-E72D297353CC}">
                <c16:uniqueId val="{000002EF-749D-414D-9DD8-CF636592D1C6}"/>
              </c:ext>
            </c:extLst>
          </c:dPt>
          <c:dPt>
            <c:idx val="375"/>
            <c:invertIfNegative val="1"/>
            <c:bubble3D val="0"/>
            <c:spPr>
              <a:solidFill>
                <a:srgbClr val="AEABAB"/>
              </a:solidFill>
            </c:spPr>
            <c:extLst>
              <c:ext xmlns:c16="http://schemas.microsoft.com/office/drawing/2014/chart" uri="{C3380CC4-5D6E-409C-BE32-E72D297353CC}">
                <c16:uniqueId val="{000002F1-749D-414D-9DD8-CF636592D1C6}"/>
              </c:ext>
            </c:extLst>
          </c:dPt>
          <c:dPt>
            <c:idx val="376"/>
            <c:invertIfNegative val="1"/>
            <c:bubble3D val="0"/>
            <c:spPr>
              <a:solidFill>
                <a:srgbClr val="AEABAB"/>
              </a:solidFill>
            </c:spPr>
            <c:extLst>
              <c:ext xmlns:c16="http://schemas.microsoft.com/office/drawing/2014/chart" uri="{C3380CC4-5D6E-409C-BE32-E72D297353CC}">
                <c16:uniqueId val="{000002F3-749D-414D-9DD8-CF636592D1C6}"/>
              </c:ext>
            </c:extLst>
          </c:dPt>
          <c:dPt>
            <c:idx val="377"/>
            <c:invertIfNegative val="1"/>
            <c:bubble3D val="0"/>
            <c:spPr>
              <a:solidFill>
                <a:srgbClr val="AEABAB"/>
              </a:solidFill>
            </c:spPr>
            <c:extLst>
              <c:ext xmlns:c16="http://schemas.microsoft.com/office/drawing/2014/chart" uri="{C3380CC4-5D6E-409C-BE32-E72D297353CC}">
                <c16:uniqueId val="{000002F5-749D-414D-9DD8-CF636592D1C6}"/>
              </c:ext>
            </c:extLst>
          </c:dPt>
          <c:dPt>
            <c:idx val="378"/>
            <c:invertIfNegative val="1"/>
            <c:bubble3D val="0"/>
            <c:spPr>
              <a:solidFill>
                <a:srgbClr val="AEABAB"/>
              </a:solidFill>
            </c:spPr>
            <c:extLst>
              <c:ext xmlns:c16="http://schemas.microsoft.com/office/drawing/2014/chart" uri="{C3380CC4-5D6E-409C-BE32-E72D297353CC}">
                <c16:uniqueId val="{000002F7-749D-414D-9DD8-CF636592D1C6}"/>
              </c:ext>
            </c:extLst>
          </c:dPt>
          <c:dPt>
            <c:idx val="379"/>
            <c:invertIfNegative val="1"/>
            <c:bubble3D val="0"/>
            <c:spPr>
              <a:solidFill>
                <a:srgbClr val="AEABAB"/>
              </a:solidFill>
            </c:spPr>
            <c:extLst>
              <c:ext xmlns:c16="http://schemas.microsoft.com/office/drawing/2014/chart" uri="{C3380CC4-5D6E-409C-BE32-E72D297353CC}">
                <c16:uniqueId val="{000002F9-749D-414D-9DD8-CF636592D1C6}"/>
              </c:ext>
            </c:extLst>
          </c:dPt>
          <c:dPt>
            <c:idx val="380"/>
            <c:invertIfNegative val="1"/>
            <c:bubble3D val="0"/>
            <c:spPr>
              <a:solidFill>
                <a:srgbClr val="AEABAB"/>
              </a:solidFill>
            </c:spPr>
            <c:extLst>
              <c:ext xmlns:c16="http://schemas.microsoft.com/office/drawing/2014/chart" uri="{C3380CC4-5D6E-409C-BE32-E72D297353CC}">
                <c16:uniqueId val="{000002FB-749D-414D-9DD8-CF636592D1C6}"/>
              </c:ext>
            </c:extLst>
          </c:dPt>
          <c:dPt>
            <c:idx val="381"/>
            <c:invertIfNegative val="1"/>
            <c:bubble3D val="0"/>
            <c:spPr>
              <a:solidFill>
                <a:srgbClr val="AEABAB"/>
              </a:solidFill>
            </c:spPr>
            <c:extLst>
              <c:ext xmlns:c16="http://schemas.microsoft.com/office/drawing/2014/chart" uri="{C3380CC4-5D6E-409C-BE32-E72D297353CC}">
                <c16:uniqueId val="{000002FD-749D-414D-9DD8-CF636592D1C6}"/>
              </c:ext>
            </c:extLst>
          </c:dPt>
          <c:dPt>
            <c:idx val="382"/>
            <c:invertIfNegative val="1"/>
            <c:bubble3D val="0"/>
            <c:spPr>
              <a:solidFill>
                <a:srgbClr val="AEABAB"/>
              </a:solidFill>
            </c:spPr>
            <c:extLst>
              <c:ext xmlns:c16="http://schemas.microsoft.com/office/drawing/2014/chart" uri="{C3380CC4-5D6E-409C-BE32-E72D297353CC}">
                <c16:uniqueId val="{000002FF-749D-414D-9DD8-CF636592D1C6}"/>
              </c:ext>
            </c:extLst>
          </c:dPt>
          <c:dPt>
            <c:idx val="383"/>
            <c:invertIfNegative val="1"/>
            <c:bubble3D val="0"/>
            <c:spPr>
              <a:solidFill>
                <a:srgbClr val="AEABAB"/>
              </a:solidFill>
            </c:spPr>
            <c:extLst>
              <c:ext xmlns:c16="http://schemas.microsoft.com/office/drawing/2014/chart" uri="{C3380CC4-5D6E-409C-BE32-E72D297353CC}">
                <c16:uniqueId val="{00000301-749D-414D-9DD8-CF636592D1C6}"/>
              </c:ext>
            </c:extLst>
          </c:dPt>
          <c:dPt>
            <c:idx val="384"/>
            <c:invertIfNegative val="1"/>
            <c:bubble3D val="0"/>
            <c:spPr>
              <a:solidFill>
                <a:srgbClr val="AEABAB"/>
              </a:solidFill>
            </c:spPr>
            <c:extLst>
              <c:ext xmlns:c16="http://schemas.microsoft.com/office/drawing/2014/chart" uri="{C3380CC4-5D6E-409C-BE32-E72D297353CC}">
                <c16:uniqueId val="{00000303-749D-414D-9DD8-CF636592D1C6}"/>
              </c:ext>
            </c:extLst>
          </c:dPt>
          <c:dPt>
            <c:idx val="385"/>
            <c:invertIfNegative val="1"/>
            <c:bubble3D val="0"/>
            <c:spPr>
              <a:solidFill>
                <a:srgbClr val="AEABAB"/>
              </a:solidFill>
            </c:spPr>
            <c:extLst>
              <c:ext xmlns:c16="http://schemas.microsoft.com/office/drawing/2014/chart" uri="{C3380CC4-5D6E-409C-BE32-E72D297353CC}">
                <c16:uniqueId val="{00000305-749D-414D-9DD8-CF636592D1C6}"/>
              </c:ext>
            </c:extLst>
          </c:dPt>
          <c:dPt>
            <c:idx val="386"/>
            <c:invertIfNegative val="1"/>
            <c:bubble3D val="0"/>
            <c:spPr>
              <a:solidFill>
                <a:srgbClr val="AEABAB"/>
              </a:solidFill>
            </c:spPr>
            <c:extLst>
              <c:ext xmlns:c16="http://schemas.microsoft.com/office/drawing/2014/chart" uri="{C3380CC4-5D6E-409C-BE32-E72D297353CC}">
                <c16:uniqueId val="{00000307-749D-414D-9DD8-CF636592D1C6}"/>
              </c:ext>
            </c:extLst>
          </c:dPt>
          <c:dPt>
            <c:idx val="387"/>
            <c:invertIfNegative val="1"/>
            <c:bubble3D val="0"/>
            <c:spPr>
              <a:solidFill>
                <a:srgbClr val="AEABAB"/>
              </a:solidFill>
            </c:spPr>
            <c:extLst>
              <c:ext xmlns:c16="http://schemas.microsoft.com/office/drawing/2014/chart" uri="{C3380CC4-5D6E-409C-BE32-E72D297353CC}">
                <c16:uniqueId val="{00000309-749D-414D-9DD8-CF636592D1C6}"/>
              </c:ext>
            </c:extLst>
          </c:dPt>
          <c:dPt>
            <c:idx val="388"/>
            <c:invertIfNegative val="1"/>
            <c:bubble3D val="0"/>
            <c:spPr>
              <a:solidFill>
                <a:srgbClr val="AEABAB"/>
              </a:solidFill>
            </c:spPr>
            <c:extLst>
              <c:ext xmlns:c16="http://schemas.microsoft.com/office/drawing/2014/chart" uri="{C3380CC4-5D6E-409C-BE32-E72D297353CC}">
                <c16:uniqueId val="{0000030B-749D-414D-9DD8-CF636592D1C6}"/>
              </c:ext>
            </c:extLst>
          </c:dPt>
          <c:dPt>
            <c:idx val="389"/>
            <c:invertIfNegative val="1"/>
            <c:bubble3D val="0"/>
            <c:spPr>
              <a:solidFill>
                <a:srgbClr val="AEABAB"/>
              </a:solidFill>
            </c:spPr>
            <c:extLst>
              <c:ext xmlns:c16="http://schemas.microsoft.com/office/drawing/2014/chart" uri="{C3380CC4-5D6E-409C-BE32-E72D297353CC}">
                <c16:uniqueId val="{0000030D-749D-414D-9DD8-CF636592D1C6}"/>
              </c:ext>
            </c:extLst>
          </c:dPt>
          <c:dPt>
            <c:idx val="390"/>
            <c:invertIfNegative val="1"/>
            <c:bubble3D val="0"/>
            <c:spPr>
              <a:solidFill>
                <a:srgbClr val="AEABAB"/>
              </a:solidFill>
            </c:spPr>
            <c:extLst>
              <c:ext xmlns:c16="http://schemas.microsoft.com/office/drawing/2014/chart" uri="{C3380CC4-5D6E-409C-BE32-E72D297353CC}">
                <c16:uniqueId val="{0000030F-749D-414D-9DD8-CF636592D1C6}"/>
              </c:ext>
            </c:extLst>
          </c:dPt>
          <c:dPt>
            <c:idx val="391"/>
            <c:invertIfNegative val="1"/>
            <c:bubble3D val="0"/>
            <c:spPr>
              <a:solidFill>
                <a:srgbClr val="AEABAB"/>
              </a:solidFill>
            </c:spPr>
            <c:extLst>
              <c:ext xmlns:c16="http://schemas.microsoft.com/office/drawing/2014/chart" uri="{C3380CC4-5D6E-409C-BE32-E72D297353CC}">
                <c16:uniqueId val="{00000311-749D-414D-9DD8-CF636592D1C6}"/>
              </c:ext>
            </c:extLst>
          </c:dPt>
          <c:dPt>
            <c:idx val="392"/>
            <c:invertIfNegative val="1"/>
            <c:bubble3D val="0"/>
            <c:spPr>
              <a:solidFill>
                <a:srgbClr val="AEABAB"/>
              </a:solidFill>
            </c:spPr>
            <c:extLst>
              <c:ext xmlns:c16="http://schemas.microsoft.com/office/drawing/2014/chart" uri="{C3380CC4-5D6E-409C-BE32-E72D297353CC}">
                <c16:uniqueId val="{00000313-749D-414D-9DD8-CF636592D1C6}"/>
              </c:ext>
            </c:extLst>
          </c:dPt>
          <c:dPt>
            <c:idx val="393"/>
            <c:invertIfNegative val="1"/>
            <c:bubble3D val="0"/>
            <c:spPr>
              <a:solidFill>
                <a:srgbClr val="AEABAB"/>
              </a:solidFill>
            </c:spPr>
            <c:extLst>
              <c:ext xmlns:c16="http://schemas.microsoft.com/office/drawing/2014/chart" uri="{C3380CC4-5D6E-409C-BE32-E72D297353CC}">
                <c16:uniqueId val="{00000315-749D-414D-9DD8-CF636592D1C6}"/>
              </c:ext>
            </c:extLst>
          </c:dPt>
          <c:dPt>
            <c:idx val="394"/>
            <c:invertIfNegative val="1"/>
            <c:bubble3D val="0"/>
            <c:spPr>
              <a:solidFill>
                <a:srgbClr val="AEABAB"/>
              </a:solidFill>
            </c:spPr>
            <c:extLst>
              <c:ext xmlns:c16="http://schemas.microsoft.com/office/drawing/2014/chart" uri="{C3380CC4-5D6E-409C-BE32-E72D297353CC}">
                <c16:uniqueId val="{00000317-749D-414D-9DD8-CF636592D1C6}"/>
              </c:ext>
            </c:extLst>
          </c:dPt>
          <c:dPt>
            <c:idx val="395"/>
            <c:invertIfNegative val="1"/>
            <c:bubble3D val="0"/>
            <c:spPr>
              <a:solidFill>
                <a:srgbClr val="AEABAB"/>
              </a:solidFill>
            </c:spPr>
            <c:extLst>
              <c:ext xmlns:c16="http://schemas.microsoft.com/office/drawing/2014/chart" uri="{C3380CC4-5D6E-409C-BE32-E72D297353CC}">
                <c16:uniqueId val="{00000319-749D-414D-9DD8-CF636592D1C6}"/>
              </c:ext>
            </c:extLst>
          </c:dPt>
          <c:dPt>
            <c:idx val="396"/>
            <c:invertIfNegative val="1"/>
            <c:bubble3D val="0"/>
            <c:spPr>
              <a:solidFill>
                <a:srgbClr val="AEABAB"/>
              </a:solidFill>
            </c:spPr>
            <c:extLst>
              <c:ext xmlns:c16="http://schemas.microsoft.com/office/drawing/2014/chart" uri="{C3380CC4-5D6E-409C-BE32-E72D297353CC}">
                <c16:uniqueId val="{0000031B-749D-414D-9DD8-CF636592D1C6}"/>
              </c:ext>
            </c:extLst>
          </c:dPt>
          <c:dPt>
            <c:idx val="397"/>
            <c:invertIfNegative val="1"/>
            <c:bubble3D val="0"/>
            <c:spPr>
              <a:solidFill>
                <a:srgbClr val="AEABAB"/>
              </a:solidFill>
            </c:spPr>
            <c:extLst>
              <c:ext xmlns:c16="http://schemas.microsoft.com/office/drawing/2014/chart" uri="{C3380CC4-5D6E-409C-BE32-E72D297353CC}">
                <c16:uniqueId val="{0000031D-749D-414D-9DD8-CF636592D1C6}"/>
              </c:ext>
            </c:extLst>
          </c:dPt>
          <c:dPt>
            <c:idx val="398"/>
            <c:invertIfNegative val="1"/>
            <c:bubble3D val="0"/>
            <c:spPr>
              <a:solidFill>
                <a:srgbClr val="AEABAB"/>
              </a:solidFill>
            </c:spPr>
            <c:extLst>
              <c:ext xmlns:c16="http://schemas.microsoft.com/office/drawing/2014/chart" uri="{C3380CC4-5D6E-409C-BE32-E72D297353CC}">
                <c16:uniqueId val="{0000031F-749D-414D-9DD8-CF636592D1C6}"/>
              </c:ext>
            </c:extLst>
          </c:dPt>
          <c:dPt>
            <c:idx val="399"/>
            <c:invertIfNegative val="1"/>
            <c:bubble3D val="0"/>
            <c:spPr>
              <a:solidFill>
                <a:srgbClr val="AEABAB"/>
              </a:solidFill>
            </c:spPr>
            <c:extLst>
              <c:ext xmlns:c16="http://schemas.microsoft.com/office/drawing/2014/chart" uri="{C3380CC4-5D6E-409C-BE32-E72D297353CC}">
                <c16:uniqueId val="{00000321-749D-414D-9DD8-CF636592D1C6}"/>
              </c:ext>
            </c:extLst>
          </c:dPt>
          <c:dPt>
            <c:idx val="400"/>
            <c:invertIfNegative val="1"/>
            <c:bubble3D val="0"/>
            <c:spPr>
              <a:solidFill>
                <a:srgbClr val="AEABAB"/>
              </a:solidFill>
            </c:spPr>
            <c:extLst>
              <c:ext xmlns:c16="http://schemas.microsoft.com/office/drawing/2014/chart" uri="{C3380CC4-5D6E-409C-BE32-E72D297353CC}">
                <c16:uniqueId val="{00000323-749D-414D-9DD8-CF636592D1C6}"/>
              </c:ext>
            </c:extLst>
          </c:dPt>
          <c:cat>
            <c:strRef>
              <c:f>Sheet1!$A$2:$A$402</c:f>
              <c:strCache>
                <c:ptCount val="401"/>
                <c:pt idx="0">
                  <c:v>Ruinart</c:v>
                </c:pt>
                <c:pt idx="1">
                  <c:v>Nicolas</c:v>
                </c:pt>
                <c:pt idx="2">
                  <c:v>Deutz</c:v>
                </c:pt>
                <c:pt idx="3">
                  <c:v>Ruinart</c:v>
                </c:pt>
                <c:pt idx="4">
                  <c:v>Malard</c:v>
                </c:pt>
                <c:pt idx="5">
                  <c:v>Laurent Per</c:v>
                </c:pt>
                <c:pt idx="6">
                  <c:v>Heidsieck &amp;</c:v>
                </c:pt>
                <c:pt idx="7">
                  <c:v>Ayala</c:v>
                </c:pt>
                <c:pt idx="8">
                  <c:v>Nicolas Feu</c:v>
                </c:pt>
                <c:pt idx="9">
                  <c:v>De Bligny</c:v>
                </c:pt>
                <c:pt idx="10">
                  <c:v>Ruinart</c:v>
                </c:pt>
                <c:pt idx="11">
                  <c:v>Taittinger</c:v>
                </c:pt>
                <c:pt idx="12">
                  <c:v>Canard Duch</c:v>
                </c:pt>
                <c:pt idx="13">
                  <c:v>Bollinger</c:v>
                </c:pt>
                <c:pt idx="14">
                  <c:v>Besserat De</c:v>
                </c:pt>
                <c:pt idx="15">
                  <c:v>Ruinart</c:v>
                </c:pt>
                <c:pt idx="16">
                  <c:v>Demoiselle</c:v>
                </c:pt>
                <c:pt idx="17">
                  <c:v>Perrier Jou</c:v>
                </c:pt>
                <c:pt idx="18">
                  <c:v>Ruinart</c:v>
                </c:pt>
                <c:pt idx="19">
                  <c:v>All Others</c:v>
                </c:pt>
                <c:pt idx="20">
                  <c:v>Ruinart</c:v>
                </c:pt>
                <c:pt idx="21">
                  <c:v>Deutz</c:v>
                </c:pt>
                <c:pt idx="22">
                  <c:v>All Others</c:v>
                </c:pt>
                <c:pt idx="23">
                  <c:v>Laurent Per</c:v>
                </c:pt>
                <c:pt idx="24">
                  <c:v>Campari: Al</c:v>
                </c:pt>
                <c:pt idx="25">
                  <c:v>Vesselle</c:v>
                </c:pt>
                <c:pt idx="26">
                  <c:v>Roederer</c:v>
                </c:pt>
                <c:pt idx="27">
                  <c:v>Bottega</c:v>
                </c:pt>
                <c:pt idx="28">
                  <c:v>Pommery</c:v>
                </c:pt>
                <c:pt idx="29">
                  <c:v>Dom Perigno</c:v>
                </c:pt>
                <c:pt idx="30">
                  <c:v>Deutz</c:v>
                </c:pt>
                <c:pt idx="31">
                  <c:v>All Others</c:v>
                </c:pt>
                <c:pt idx="32">
                  <c:v>Moët &amp; Chan</c:v>
                </c:pt>
                <c:pt idx="33">
                  <c:v>Veuve Clicq</c:v>
                </c:pt>
                <c:pt idx="34">
                  <c:v>Malard</c:v>
                </c:pt>
                <c:pt idx="35">
                  <c:v>Ruinart</c:v>
                </c:pt>
                <c:pt idx="36">
                  <c:v>Savian</c:v>
                </c:pt>
                <c:pt idx="37">
                  <c:v>Veuve Clicq</c:v>
                </c:pt>
                <c:pt idx="38">
                  <c:v>Demoiselle</c:v>
                </c:pt>
                <c:pt idx="39">
                  <c:v>Patriarche</c:v>
                </c:pt>
                <c:pt idx="40">
                  <c:v>Dom Perigno</c:v>
                </c:pt>
                <c:pt idx="41">
                  <c:v>Nicolas</c:v>
                </c:pt>
                <c:pt idx="42">
                  <c:v>Taittinger</c:v>
                </c:pt>
                <c:pt idx="43">
                  <c:v>Henriot</c:v>
                </c:pt>
                <c:pt idx="44">
                  <c:v>Laurent Per</c:v>
                </c:pt>
                <c:pt idx="45">
                  <c:v>Mure</c:v>
                </c:pt>
                <c:pt idx="46">
                  <c:v>De Chanceny</c:v>
                </c:pt>
                <c:pt idx="47">
                  <c:v>Savian</c:v>
                </c:pt>
                <c:pt idx="48">
                  <c:v>Veuve Clicq</c:v>
                </c:pt>
                <c:pt idx="49">
                  <c:v>All Others</c:v>
                </c:pt>
                <c:pt idx="50">
                  <c:v>Malard</c:v>
                </c:pt>
                <c:pt idx="51">
                  <c:v>Ruinart</c:v>
                </c:pt>
                <c:pt idx="52">
                  <c:v>French Bloo</c:v>
                </c:pt>
                <c:pt idx="53">
                  <c:v>Roederer</c:v>
                </c:pt>
                <c:pt idx="54">
                  <c:v>De Venoge</c:v>
                </c:pt>
                <c:pt idx="55">
                  <c:v>Besserat De</c:v>
                </c:pt>
                <c:pt idx="56">
                  <c:v>Nicolas Feu</c:v>
                </c:pt>
                <c:pt idx="57">
                  <c:v>Ruinart</c:v>
                </c:pt>
                <c:pt idx="58">
                  <c:v>Moët &amp; Chan</c:v>
                </c:pt>
                <c:pt idx="59">
                  <c:v>Deutz</c:v>
                </c:pt>
                <c:pt idx="60">
                  <c:v>Bouvet-Ladu</c:v>
                </c:pt>
                <c:pt idx="61">
                  <c:v>Piper Heids</c:v>
                </c:pt>
                <c:pt idx="62">
                  <c:v>Louis Marti</c:v>
                </c:pt>
                <c:pt idx="63">
                  <c:v>Moët &amp; Chan</c:v>
                </c:pt>
                <c:pt idx="64">
                  <c:v>Nicolas</c:v>
                </c:pt>
                <c:pt idx="65">
                  <c:v>Ruinart</c:v>
                </c:pt>
                <c:pt idx="66">
                  <c:v>Nicolas Feu</c:v>
                </c:pt>
                <c:pt idx="67">
                  <c:v>Nicolas</c:v>
                </c:pt>
                <c:pt idx="68">
                  <c:v>Lyre's</c:v>
                </c:pt>
                <c:pt idx="69">
                  <c:v>Campari: Al</c:v>
                </c:pt>
                <c:pt idx="70">
                  <c:v>Lanson</c:v>
                </c:pt>
                <c:pt idx="71">
                  <c:v>Roederer</c:v>
                </c:pt>
                <c:pt idx="72">
                  <c:v>Malard</c:v>
                </c:pt>
                <c:pt idx="73">
                  <c:v>Nicolas Feu</c:v>
                </c:pt>
                <c:pt idx="74">
                  <c:v>Malard</c:v>
                </c:pt>
                <c:pt idx="75">
                  <c:v>Canard Duch</c:v>
                </c:pt>
                <c:pt idx="76">
                  <c:v>Henriot</c:v>
                </c:pt>
                <c:pt idx="77">
                  <c:v>Delamotte</c:v>
                </c:pt>
                <c:pt idx="78">
                  <c:v>De Chanceny</c:v>
                </c:pt>
                <c:pt idx="79">
                  <c:v>Krug</c:v>
                </c:pt>
                <c:pt idx="80">
                  <c:v>Bollinger</c:v>
                </c:pt>
                <c:pt idx="81">
                  <c:v>De Bligny</c:v>
                </c:pt>
                <c:pt idx="82">
                  <c:v>Laurent Per</c:v>
                </c:pt>
                <c:pt idx="83">
                  <c:v>Henriot</c:v>
                </c:pt>
                <c:pt idx="84">
                  <c:v>Besserat De</c:v>
                </c:pt>
                <c:pt idx="85">
                  <c:v>All Others</c:v>
                </c:pt>
                <c:pt idx="86">
                  <c:v>Pommery</c:v>
                </c:pt>
                <c:pt idx="87">
                  <c:v>Vranken</c:v>
                </c:pt>
                <c:pt idx="88">
                  <c:v>Dom Perigno</c:v>
                </c:pt>
                <c:pt idx="89">
                  <c:v>Perrier Jou</c:v>
                </c:pt>
                <c:pt idx="90">
                  <c:v>Ayala</c:v>
                </c:pt>
                <c:pt idx="91">
                  <c:v>Roederer</c:v>
                </c:pt>
                <c:pt idx="92">
                  <c:v>Roederer</c:v>
                </c:pt>
                <c:pt idx="93">
                  <c:v>Henriot</c:v>
                </c:pt>
                <c:pt idx="94">
                  <c:v>De Venoge</c:v>
                </c:pt>
                <c:pt idx="95">
                  <c:v>Roederer</c:v>
                </c:pt>
                <c:pt idx="96">
                  <c:v>Patriarche</c:v>
                </c:pt>
                <c:pt idx="97">
                  <c:v>Roederer</c:v>
                </c:pt>
                <c:pt idx="98">
                  <c:v>Ruinart</c:v>
                </c:pt>
                <c:pt idx="99">
                  <c:v>Bollinger</c:v>
                </c:pt>
                <c:pt idx="100">
                  <c:v>De Venoge</c:v>
                </c:pt>
                <c:pt idx="101">
                  <c:v>Ruinart</c:v>
                </c:pt>
                <c:pt idx="102">
                  <c:v>Canard Duch</c:v>
                </c:pt>
                <c:pt idx="103">
                  <c:v>Ruinart</c:v>
                </c:pt>
                <c:pt idx="104">
                  <c:v>Nicolas</c:v>
                </c:pt>
                <c:pt idx="105">
                  <c:v>Roederer</c:v>
                </c:pt>
                <c:pt idx="106">
                  <c:v>Roederer</c:v>
                </c:pt>
                <c:pt idx="107">
                  <c:v>Ruinart</c:v>
                </c:pt>
                <c:pt idx="108">
                  <c:v>Dom Perigno</c:v>
                </c:pt>
                <c:pt idx="109">
                  <c:v>Bottega</c:v>
                </c:pt>
                <c:pt idx="110">
                  <c:v>Kriter</c:v>
                </c:pt>
                <c:pt idx="111">
                  <c:v>Malard</c:v>
                </c:pt>
                <c:pt idx="112">
                  <c:v>De Venoge</c:v>
                </c:pt>
                <c:pt idx="113">
                  <c:v>Deutz</c:v>
                </c:pt>
                <c:pt idx="114">
                  <c:v>Ruinart</c:v>
                </c:pt>
                <c:pt idx="115">
                  <c:v>Vranken</c:v>
                </c:pt>
                <c:pt idx="116">
                  <c:v>Moët &amp; Chan</c:v>
                </c:pt>
                <c:pt idx="117">
                  <c:v>Deutz</c:v>
                </c:pt>
                <c:pt idx="118">
                  <c:v>Nicolas</c:v>
                </c:pt>
                <c:pt idx="119">
                  <c:v>Roederer</c:v>
                </c:pt>
                <c:pt idx="120">
                  <c:v>Canard Duch</c:v>
                </c:pt>
                <c:pt idx="121">
                  <c:v>Laurent Per</c:v>
                </c:pt>
                <c:pt idx="122">
                  <c:v>Veuve Clicq</c:v>
                </c:pt>
                <c:pt idx="123">
                  <c:v>Canard Duch</c:v>
                </c:pt>
                <c:pt idx="124">
                  <c:v>Laurent Per</c:v>
                </c:pt>
                <c:pt idx="125">
                  <c:v>Nicolas</c:v>
                </c:pt>
                <c:pt idx="126">
                  <c:v>Cru La Maqu</c:v>
                </c:pt>
                <c:pt idx="127">
                  <c:v>Nicolas</c:v>
                </c:pt>
                <c:pt idx="128">
                  <c:v>Contarini</c:v>
                </c:pt>
                <c:pt idx="129">
                  <c:v>Bollinger</c:v>
                </c:pt>
                <c:pt idx="130">
                  <c:v>Nicolas Feu</c:v>
                </c:pt>
                <c:pt idx="131">
                  <c:v>All Others</c:v>
                </c:pt>
                <c:pt idx="132">
                  <c:v>Nicolas</c:v>
                </c:pt>
                <c:pt idx="133">
                  <c:v>All Others</c:v>
                </c:pt>
                <c:pt idx="134">
                  <c:v>All Others</c:v>
                </c:pt>
                <c:pt idx="135">
                  <c:v>Nicolas</c:v>
                </c:pt>
                <c:pt idx="136">
                  <c:v>All Others</c:v>
                </c:pt>
                <c:pt idx="137">
                  <c:v>All Others</c:v>
                </c:pt>
                <c:pt idx="138">
                  <c:v>Nicolas</c:v>
                </c:pt>
                <c:pt idx="139">
                  <c:v>All Others</c:v>
                </c:pt>
                <c:pt idx="140">
                  <c:v>Roederer</c:v>
                </c:pt>
                <c:pt idx="141">
                  <c:v>All Others</c:v>
                </c:pt>
                <c:pt idx="142">
                  <c:v>Taittinger</c:v>
                </c:pt>
                <c:pt idx="143">
                  <c:v>Roederer</c:v>
                </c:pt>
                <c:pt idx="144">
                  <c:v>Veuve Clicq</c:v>
                </c:pt>
                <c:pt idx="145">
                  <c:v>Perrier Jou</c:v>
                </c:pt>
                <c:pt idx="146">
                  <c:v>Besserat De</c:v>
                </c:pt>
                <c:pt idx="147">
                  <c:v>Demoiselle</c:v>
                </c:pt>
                <c:pt idx="148">
                  <c:v>Nicolas</c:v>
                </c:pt>
                <c:pt idx="149">
                  <c:v>Laurent Per</c:v>
                </c:pt>
                <c:pt idx="150">
                  <c:v>Laurent Per</c:v>
                </c:pt>
                <c:pt idx="151">
                  <c:v>Pommery</c:v>
                </c:pt>
                <c:pt idx="152">
                  <c:v>Nicolas</c:v>
                </c:pt>
                <c:pt idx="153">
                  <c:v>Laurent Per</c:v>
                </c:pt>
                <c:pt idx="154">
                  <c:v>Ruinart</c:v>
                </c:pt>
                <c:pt idx="155">
                  <c:v>Roederer</c:v>
                </c:pt>
                <c:pt idx="156">
                  <c:v>Lanson</c:v>
                </c:pt>
                <c:pt idx="157">
                  <c:v>All Others</c:v>
                </c:pt>
                <c:pt idx="158">
                  <c:v>Ruinart</c:v>
                </c:pt>
                <c:pt idx="159">
                  <c:v>All Others</c:v>
                </c:pt>
                <c:pt idx="160">
                  <c:v>Canard Duch</c:v>
                </c:pt>
                <c:pt idx="161">
                  <c:v>All Others</c:v>
                </c:pt>
                <c:pt idx="162">
                  <c:v>Vesselle</c:v>
                </c:pt>
                <c:pt idx="163">
                  <c:v>Pommery</c:v>
                </c:pt>
                <c:pt idx="164">
                  <c:v>Moët &amp; Chan</c:v>
                </c:pt>
                <c:pt idx="165">
                  <c:v>Pommery</c:v>
                </c:pt>
                <c:pt idx="166">
                  <c:v>Nicolas</c:v>
                </c:pt>
                <c:pt idx="167">
                  <c:v>Louis Marti</c:v>
                </c:pt>
                <c:pt idx="168">
                  <c:v>Roederer</c:v>
                </c:pt>
                <c:pt idx="169">
                  <c:v>Dom Perigno</c:v>
                </c:pt>
                <c:pt idx="170">
                  <c:v>Contarini</c:v>
                </c:pt>
                <c:pt idx="171">
                  <c:v>All Others</c:v>
                </c:pt>
                <c:pt idx="172">
                  <c:v>All Others</c:v>
                </c:pt>
                <c:pt idx="173">
                  <c:v>Ruinart</c:v>
                </c:pt>
                <c:pt idx="174">
                  <c:v>Ruinart</c:v>
                </c:pt>
                <c:pt idx="175">
                  <c:v>Roederer</c:v>
                </c:pt>
                <c:pt idx="176">
                  <c:v>Demoiselle</c:v>
                </c:pt>
                <c:pt idx="177">
                  <c:v>Nicolas</c:v>
                </c:pt>
                <c:pt idx="178">
                  <c:v>Perrier Jou</c:v>
                </c:pt>
                <c:pt idx="179">
                  <c:v>Vranken</c:v>
                </c:pt>
                <c:pt idx="180">
                  <c:v>Taittinger</c:v>
                </c:pt>
                <c:pt idx="181">
                  <c:v>Deutz</c:v>
                </c:pt>
                <c:pt idx="182">
                  <c:v>Pommery</c:v>
                </c:pt>
                <c:pt idx="183">
                  <c:v>Laurent Per</c:v>
                </c:pt>
                <c:pt idx="184">
                  <c:v>Delamotte</c:v>
                </c:pt>
                <c:pt idx="185">
                  <c:v>Veuve Clicq</c:v>
                </c:pt>
                <c:pt idx="186">
                  <c:v>Veuve Clicq</c:v>
                </c:pt>
                <c:pt idx="187">
                  <c:v>Deutz</c:v>
                </c:pt>
                <c:pt idx="188">
                  <c:v>Ayala</c:v>
                </c:pt>
                <c:pt idx="189">
                  <c:v>Nicolas</c:v>
                </c:pt>
                <c:pt idx="190">
                  <c:v>Roederer</c:v>
                </c:pt>
                <c:pt idx="191">
                  <c:v>Pommery</c:v>
                </c:pt>
                <c:pt idx="192">
                  <c:v>Dom Perigno</c:v>
                </c:pt>
                <c:pt idx="193">
                  <c:v>Bollinger</c:v>
                </c:pt>
                <c:pt idx="194">
                  <c:v>Canard Duch</c:v>
                </c:pt>
                <c:pt idx="195">
                  <c:v>Piper Heids</c:v>
                </c:pt>
                <c:pt idx="196">
                  <c:v>Piper Heids</c:v>
                </c:pt>
                <c:pt idx="197">
                  <c:v>Nicolas</c:v>
                </c:pt>
                <c:pt idx="198">
                  <c:v>All Others</c:v>
                </c:pt>
                <c:pt idx="199">
                  <c:v>Moët &amp; Chan</c:v>
                </c:pt>
                <c:pt idx="200">
                  <c:v>Vesselle</c:v>
                </c:pt>
                <c:pt idx="201">
                  <c:v>Ruinart</c:v>
                </c:pt>
                <c:pt idx="202">
                  <c:v>Nicolas</c:v>
                </c:pt>
                <c:pt idx="203">
                  <c:v>Laurent Per</c:v>
                </c:pt>
                <c:pt idx="204">
                  <c:v>Besserat De</c:v>
                </c:pt>
                <c:pt idx="205">
                  <c:v>Roederer</c:v>
                </c:pt>
                <c:pt idx="206">
                  <c:v>Taittinger</c:v>
                </c:pt>
                <c:pt idx="207">
                  <c:v>Malard</c:v>
                </c:pt>
                <c:pt idx="208">
                  <c:v>Bollinger</c:v>
                </c:pt>
                <c:pt idx="209">
                  <c:v>Bollinger</c:v>
                </c:pt>
                <c:pt idx="210">
                  <c:v>All Others</c:v>
                </c:pt>
                <c:pt idx="211">
                  <c:v>Piper Heids</c:v>
                </c:pt>
                <c:pt idx="212">
                  <c:v>Bollinger</c:v>
                </c:pt>
                <c:pt idx="213">
                  <c:v>Bouvet-Ladu</c:v>
                </c:pt>
                <c:pt idx="214">
                  <c:v>All Others</c:v>
                </c:pt>
                <c:pt idx="215">
                  <c:v>Moët &amp; Chan</c:v>
                </c:pt>
                <c:pt idx="216">
                  <c:v>Bouvet-Ladu</c:v>
                </c:pt>
                <c:pt idx="217">
                  <c:v>All Others</c:v>
                </c:pt>
                <c:pt idx="218">
                  <c:v>Henriot</c:v>
                </c:pt>
                <c:pt idx="219">
                  <c:v>Roederer</c:v>
                </c:pt>
                <c:pt idx="220">
                  <c:v>Deutz</c:v>
                </c:pt>
                <c:pt idx="221">
                  <c:v>Dom Perigno</c:v>
                </c:pt>
                <c:pt idx="222">
                  <c:v>Canard Duch</c:v>
                </c:pt>
                <c:pt idx="223">
                  <c:v>Moët &amp; Chan</c:v>
                </c:pt>
                <c:pt idx="224">
                  <c:v>Deutz</c:v>
                </c:pt>
                <c:pt idx="225">
                  <c:v>Nicolas</c:v>
                </c:pt>
                <c:pt idx="226">
                  <c:v>De Venoge</c:v>
                </c:pt>
                <c:pt idx="227">
                  <c:v>Ruinart</c:v>
                </c:pt>
                <c:pt idx="228">
                  <c:v>Nicolas</c:v>
                </c:pt>
                <c:pt idx="229">
                  <c:v>Bouvet-Ladu</c:v>
                </c:pt>
                <c:pt idx="230">
                  <c:v>All Others</c:v>
                </c:pt>
                <c:pt idx="231">
                  <c:v>Laurent Per</c:v>
                </c:pt>
                <c:pt idx="232">
                  <c:v>Henriot</c:v>
                </c:pt>
                <c:pt idx="233">
                  <c:v>De Venoge</c:v>
                </c:pt>
                <c:pt idx="234">
                  <c:v>Krug</c:v>
                </c:pt>
                <c:pt idx="235">
                  <c:v>Perrier Jou</c:v>
                </c:pt>
                <c:pt idx="236">
                  <c:v>Nicolas</c:v>
                </c:pt>
                <c:pt idx="237">
                  <c:v>De Venoge</c:v>
                </c:pt>
                <c:pt idx="238">
                  <c:v>Lanson</c:v>
                </c:pt>
                <c:pt idx="239">
                  <c:v>Roederer</c:v>
                </c:pt>
                <c:pt idx="240">
                  <c:v>Pommery</c:v>
                </c:pt>
                <c:pt idx="241">
                  <c:v>All Others</c:v>
                </c:pt>
                <c:pt idx="242">
                  <c:v>Deutz</c:v>
                </c:pt>
                <c:pt idx="243">
                  <c:v>Krug</c:v>
                </c:pt>
                <c:pt idx="244">
                  <c:v>Taittinger</c:v>
                </c:pt>
                <c:pt idx="245">
                  <c:v>Ruinart</c:v>
                </c:pt>
                <c:pt idx="246">
                  <c:v>Laurent Per</c:v>
                </c:pt>
                <c:pt idx="247">
                  <c:v>Celene</c:v>
                </c:pt>
                <c:pt idx="248">
                  <c:v>Moët &amp; Chan</c:v>
                </c:pt>
                <c:pt idx="249">
                  <c:v>De Venoge</c:v>
                </c:pt>
                <c:pt idx="250">
                  <c:v>All Others</c:v>
                </c:pt>
                <c:pt idx="251">
                  <c:v>All Others</c:v>
                </c:pt>
                <c:pt idx="252">
                  <c:v>All Others</c:v>
                </c:pt>
                <c:pt idx="253">
                  <c:v>Krug</c:v>
                </c:pt>
                <c:pt idx="254">
                  <c:v>Roederer</c:v>
                </c:pt>
                <c:pt idx="255">
                  <c:v>Veuve Clicq</c:v>
                </c:pt>
                <c:pt idx="256">
                  <c:v>Nicolas Feu</c:v>
                </c:pt>
                <c:pt idx="257">
                  <c:v>All Others</c:v>
                </c:pt>
                <c:pt idx="258">
                  <c:v>Deutz</c:v>
                </c:pt>
                <c:pt idx="259">
                  <c:v>Dom Perigno</c:v>
                </c:pt>
                <c:pt idx="260">
                  <c:v>Roederer</c:v>
                </c:pt>
                <c:pt idx="261">
                  <c:v>Roederer</c:v>
                </c:pt>
                <c:pt idx="262">
                  <c:v>Veuve Clicq</c:v>
                </c:pt>
                <c:pt idx="263">
                  <c:v>Laurent Per</c:v>
                </c:pt>
                <c:pt idx="264">
                  <c:v>All Others</c:v>
                </c:pt>
                <c:pt idx="265">
                  <c:v>Dom Perigno</c:v>
                </c:pt>
                <c:pt idx="266">
                  <c:v>Piper Heids</c:v>
                </c:pt>
                <c:pt idx="267">
                  <c:v>Celene</c:v>
                </c:pt>
                <c:pt idx="268">
                  <c:v>Laurent Per</c:v>
                </c:pt>
                <c:pt idx="269">
                  <c:v>Bollinger</c:v>
                </c:pt>
                <c:pt idx="270">
                  <c:v>Bollinger</c:v>
                </c:pt>
                <c:pt idx="271">
                  <c:v>Ruinart</c:v>
                </c:pt>
                <c:pt idx="272">
                  <c:v>Pommery</c:v>
                </c:pt>
                <c:pt idx="273">
                  <c:v>Canard Duch</c:v>
                </c:pt>
                <c:pt idx="274">
                  <c:v>Veuve Clicq</c:v>
                </c:pt>
                <c:pt idx="275">
                  <c:v>Perrier Jou</c:v>
                </c:pt>
                <c:pt idx="276">
                  <c:v>Deutz</c:v>
                </c:pt>
                <c:pt idx="277">
                  <c:v>Ruinart</c:v>
                </c:pt>
                <c:pt idx="278">
                  <c:v>Taittinger</c:v>
                </c:pt>
                <c:pt idx="279">
                  <c:v>Dom Perigno</c:v>
                </c:pt>
                <c:pt idx="280">
                  <c:v>Deutz</c:v>
                </c:pt>
                <c:pt idx="281">
                  <c:v>Martel</c:v>
                </c:pt>
                <c:pt idx="282">
                  <c:v>Perrier Jou</c:v>
                </c:pt>
                <c:pt idx="283">
                  <c:v>All Others</c:v>
                </c:pt>
                <c:pt idx="284">
                  <c:v>Moët &amp; Chan</c:v>
                </c:pt>
                <c:pt idx="285">
                  <c:v>Bottega</c:v>
                </c:pt>
                <c:pt idx="286">
                  <c:v>Delamotte</c:v>
                </c:pt>
                <c:pt idx="287">
                  <c:v>All Others</c:v>
                </c:pt>
                <c:pt idx="288">
                  <c:v>Roederer</c:v>
                </c:pt>
                <c:pt idx="289">
                  <c:v>Bollinger</c:v>
                </c:pt>
                <c:pt idx="290">
                  <c:v>De Bligny</c:v>
                </c:pt>
                <c:pt idx="291">
                  <c:v>Ruinart</c:v>
                </c:pt>
                <c:pt idx="292">
                  <c:v>Bollinger</c:v>
                </c:pt>
                <c:pt idx="293">
                  <c:v>Malard</c:v>
                </c:pt>
                <c:pt idx="294">
                  <c:v>Pommery</c:v>
                </c:pt>
                <c:pt idx="295">
                  <c:v>Roederer</c:v>
                </c:pt>
                <c:pt idx="296">
                  <c:v>All Others</c:v>
                </c:pt>
                <c:pt idx="297">
                  <c:v>Bollinger</c:v>
                </c:pt>
                <c:pt idx="298">
                  <c:v>Ruinart</c:v>
                </c:pt>
                <c:pt idx="299">
                  <c:v>Ayala</c:v>
                </c:pt>
                <c:pt idx="300">
                  <c:v>Lanson</c:v>
                </c:pt>
                <c:pt idx="301">
                  <c:v>Delamotte</c:v>
                </c:pt>
                <c:pt idx="302">
                  <c:v>Jaillance</c:v>
                </c:pt>
                <c:pt idx="303">
                  <c:v>All Others</c:v>
                </c:pt>
                <c:pt idx="304">
                  <c:v>Ruinart</c:v>
                </c:pt>
                <c:pt idx="305">
                  <c:v>Roederer</c:v>
                </c:pt>
                <c:pt idx="306">
                  <c:v>De Venoge</c:v>
                </c:pt>
                <c:pt idx="307">
                  <c:v>De Venoge</c:v>
                </c:pt>
                <c:pt idx="308">
                  <c:v>Ayala</c:v>
                </c:pt>
                <c:pt idx="309">
                  <c:v>Laurent Per</c:v>
                </c:pt>
                <c:pt idx="310">
                  <c:v>Perrier Jou</c:v>
                </c:pt>
                <c:pt idx="311">
                  <c:v>All Others</c:v>
                </c:pt>
                <c:pt idx="312">
                  <c:v>Moët &amp; Chan</c:v>
                </c:pt>
                <c:pt idx="313">
                  <c:v>Vesselle</c:v>
                </c:pt>
                <c:pt idx="314">
                  <c:v>Bollinger</c:v>
                </c:pt>
                <c:pt idx="315">
                  <c:v>All Others</c:v>
                </c:pt>
                <c:pt idx="316">
                  <c:v>Besserat De</c:v>
                </c:pt>
                <c:pt idx="317">
                  <c:v>Ayala</c:v>
                </c:pt>
                <c:pt idx="318">
                  <c:v>Canard Duch</c:v>
                </c:pt>
                <c:pt idx="319">
                  <c:v>Demoiselle</c:v>
                </c:pt>
                <c:pt idx="320">
                  <c:v>Ruinart</c:v>
                </c:pt>
                <c:pt idx="321">
                  <c:v>Roederer</c:v>
                </c:pt>
                <c:pt idx="322">
                  <c:v>Deutz</c:v>
                </c:pt>
                <c:pt idx="323">
                  <c:v>Dom Perigno</c:v>
                </c:pt>
                <c:pt idx="324">
                  <c:v>Heidsieck &amp;</c:v>
                </c:pt>
                <c:pt idx="325">
                  <c:v>Dom Perigno</c:v>
                </c:pt>
                <c:pt idx="326">
                  <c:v>Roederer</c:v>
                </c:pt>
                <c:pt idx="327">
                  <c:v>Taittinger</c:v>
                </c:pt>
                <c:pt idx="328">
                  <c:v>All Others</c:v>
                </c:pt>
                <c:pt idx="329">
                  <c:v>Krug</c:v>
                </c:pt>
                <c:pt idx="330">
                  <c:v>Moët &amp; Chan</c:v>
                </c:pt>
                <c:pt idx="331">
                  <c:v>Taittinger</c:v>
                </c:pt>
                <c:pt idx="332">
                  <c:v>Vranken</c:v>
                </c:pt>
                <c:pt idx="333">
                  <c:v>Canard Duch</c:v>
                </c:pt>
                <c:pt idx="334">
                  <c:v>Laurent Per</c:v>
                </c:pt>
                <c:pt idx="335">
                  <c:v>Laurent Per</c:v>
                </c:pt>
                <c:pt idx="336">
                  <c:v>Nicolas Feu</c:v>
                </c:pt>
                <c:pt idx="337">
                  <c:v>Dom Perigno</c:v>
                </c:pt>
                <c:pt idx="338">
                  <c:v>Piper Heids</c:v>
                </c:pt>
                <c:pt idx="339">
                  <c:v>Laurent Per</c:v>
                </c:pt>
                <c:pt idx="340">
                  <c:v>Veuve Clicq</c:v>
                </c:pt>
                <c:pt idx="341">
                  <c:v>All Others</c:v>
                </c:pt>
                <c:pt idx="342">
                  <c:v>Heidsieck &amp;</c:v>
                </c:pt>
                <c:pt idx="343">
                  <c:v>Taittinger</c:v>
                </c:pt>
                <c:pt idx="344">
                  <c:v>Laurent Per</c:v>
                </c:pt>
                <c:pt idx="345">
                  <c:v>All Others</c:v>
                </c:pt>
                <c:pt idx="346">
                  <c:v>Piper Heids</c:v>
                </c:pt>
                <c:pt idx="347">
                  <c:v>Nicolas Feu</c:v>
                </c:pt>
                <c:pt idx="348">
                  <c:v>Ayala</c:v>
                </c:pt>
                <c:pt idx="349">
                  <c:v>Roederer</c:v>
                </c:pt>
                <c:pt idx="350">
                  <c:v>All Others</c:v>
                </c:pt>
                <c:pt idx="351">
                  <c:v>Krug</c:v>
                </c:pt>
                <c:pt idx="352">
                  <c:v>Demoiselle</c:v>
                </c:pt>
                <c:pt idx="353">
                  <c:v>Henriot</c:v>
                </c:pt>
                <c:pt idx="354">
                  <c:v>De Venoge</c:v>
                </c:pt>
                <c:pt idx="355">
                  <c:v>Deutz</c:v>
                </c:pt>
                <c:pt idx="356">
                  <c:v>Nicolas Feu</c:v>
                </c:pt>
                <c:pt idx="357">
                  <c:v>Krug</c:v>
                </c:pt>
                <c:pt idx="358">
                  <c:v>Ruinart</c:v>
                </c:pt>
                <c:pt idx="359">
                  <c:v>Ruinart</c:v>
                </c:pt>
                <c:pt idx="360">
                  <c:v>Bouvet-Ladu</c:v>
                </c:pt>
                <c:pt idx="361">
                  <c:v>De Bligny</c:v>
                </c:pt>
                <c:pt idx="362">
                  <c:v>Moët &amp; Chan</c:v>
                </c:pt>
                <c:pt idx="363">
                  <c:v>Besserat De</c:v>
                </c:pt>
                <c:pt idx="364">
                  <c:v>Bollinger</c:v>
                </c:pt>
                <c:pt idx="365">
                  <c:v>All Others</c:v>
                </c:pt>
                <c:pt idx="366">
                  <c:v>Veuve Clicq</c:v>
                </c:pt>
                <c:pt idx="367">
                  <c:v>All Others</c:v>
                </c:pt>
                <c:pt idx="368">
                  <c:v>Roederer</c:v>
                </c:pt>
                <c:pt idx="369">
                  <c:v>Bouvet-Ladu</c:v>
                </c:pt>
                <c:pt idx="370">
                  <c:v>All Others</c:v>
                </c:pt>
                <c:pt idx="371">
                  <c:v>All Others</c:v>
                </c:pt>
                <c:pt idx="372">
                  <c:v>Laurent Per</c:v>
                </c:pt>
                <c:pt idx="373">
                  <c:v>Taittinger</c:v>
                </c:pt>
                <c:pt idx="374">
                  <c:v>Nicolas</c:v>
                </c:pt>
                <c:pt idx="375">
                  <c:v>Laurent Per</c:v>
                </c:pt>
                <c:pt idx="376">
                  <c:v>All Others</c:v>
                </c:pt>
                <c:pt idx="377">
                  <c:v>Bollinger</c:v>
                </c:pt>
                <c:pt idx="378">
                  <c:v>All Others</c:v>
                </c:pt>
                <c:pt idx="379">
                  <c:v>Mumm</c:v>
                </c:pt>
                <c:pt idx="380">
                  <c:v>Demoiselle</c:v>
                </c:pt>
                <c:pt idx="381">
                  <c:v>Malard</c:v>
                </c:pt>
                <c:pt idx="382">
                  <c:v>Canard Duch</c:v>
                </c:pt>
                <c:pt idx="383">
                  <c:v>Vesselle</c:v>
                </c:pt>
                <c:pt idx="384">
                  <c:v>Piper Heids</c:v>
                </c:pt>
                <c:pt idx="385">
                  <c:v>Pommery</c:v>
                </c:pt>
                <c:pt idx="386">
                  <c:v>All Others</c:v>
                </c:pt>
                <c:pt idx="387">
                  <c:v>Malard</c:v>
                </c:pt>
                <c:pt idx="388">
                  <c:v>Pommery</c:v>
                </c:pt>
                <c:pt idx="389">
                  <c:v>Roederer</c:v>
                </c:pt>
                <c:pt idx="390">
                  <c:v>All Others</c:v>
                </c:pt>
                <c:pt idx="391">
                  <c:v>Taittinger</c:v>
                </c:pt>
                <c:pt idx="392">
                  <c:v>All Others</c:v>
                </c:pt>
                <c:pt idx="393">
                  <c:v>Moët &amp; Chan</c:v>
                </c:pt>
                <c:pt idx="394">
                  <c:v>Moët &amp; Chan</c:v>
                </c:pt>
                <c:pt idx="395">
                  <c:v>Besserat De</c:v>
                </c:pt>
                <c:pt idx="396">
                  <c:v>All Others</c:v>
                </c:pt>
                <c:pt idx="397">
                  <c:v>Moët &amp; Chan</c:v>
                </c:pt>
                <c:pt idx="398">
                  <c:v>Roederer</c:v>
                </c:pt>
                <c:pt idx="399">
                  <c:v>All Others</c:v>
                </c:pt>
                <c:pt idx="400">
                  <c:v>Bottega</c:v>
                </c:pt>
              </c:strCache>
            </c:strRef>
          </c:cat>
          <c:val>
            <c:numRef>
              <c:f>Sheet1!$C$2:$C$402</c:f>
              <c:numCache>
                <c:formatCode>General</c:formatCode>
                <c:ptCount val="401"/>
                <c:pt idx="0">
                  <c:v>9.8310878788518949E-2</c:v>
                </c:pt>
                <c:pt idx="1">
                  <c:v>0.15672966661380686</c:v>
                </c:pt>
                <c:pt idx="2">
                  <c:v>0.20561923661418907</c:v>
                </c:pt>
                <c:pt idx="3">
                  <c:v>0.25292130711472849</c:v>
                </c:pt>
                <c:pt idx="4">
                  <c:v>0.28446492430833503</c:v>
                </c:pt>
                <c:pt idx="5">
                  <c:v>0.31559850319283089</c:v>
                </c:pt>
                <c:pt idx="6">
                  <c:v>0.34523505320830616</c:v>
                </c:pt>
                <c:pt idx="7">
                  <c:v>0.37143898462619607</c:v>
                </c:pt>
                <c:pt idx="8">
                  <c:v>0.39552595870783125</c:v>
                </c:pt>
                <c:pt idx="9">
                  <c:v>0.41799836031574422</c:v>
                </c:pt>
                <c:pt idx="10">
                  <c:v>0.4368943368049768</c:v>
                </c:pt>
                <c:pt idx="11">
                  <c:v>0.45548110582482282</c:v>
                </c:pt>
                <c:pt idx="12">
                  <c:v>0.47336506470621953</c:v>
                </c:pt>
                <c:pt idx="13">
                  <c:v>0.48996717156768144</c:v>
                </c:pt>
                <c:pt idx="14">
                  <c:v>0.50593155001451606</c:v>
                </c:pt>
                <c:pt idx="15">
                  <c:v>0.5218165428277074</c:v>
                </c:pt>
                <c:pt idx="16">
                  <c:v>0.5344321009921692</c:v>
                </c:pt>
                <c:pt idx="17">
                  <c:v>0.54673928306203279</c:v>
                </c:pt>
                <c:pt idx="18">
                  <c:v>0.55705702789780442</c:v>
                </c:pt>
                <c:pt idx="19">
                  <c:v>0.56733156256188033</c:v>
                </c:pt>
                <c:pt idx="20">
                  <c:v>0.577384738359213</c:v>
                </c:pt>
                <c:pt idx="21">
                  <c:v>0.58737436727848691</c:v>
                </c:pt>
                <c:pt idx="22">
                  <c:v>0.59693108442331733</c:v>
                </c:pt>
                <c:pt idx="23">
                  <c:v>0.60538714661748461</c:v>
                </c:pt>
                <c:pt idx="24">
                  <c:v>0.61366105246377822</c:v>
                </c:pt>
                <c:pt idx="25">
                  <c:v>0.62190306762587999</c:v>
                </c:pt>
                <c:pt idx="26">
                  <c:v>0.63013858101079023</c:v>
                </c:pt>
                <c:pt idx="27">
                  <c:v>0.63787998064644769</c:v>
                </c:pt>
                <c:pt idx="28">
                  <c:v>0.64557782903357308</c:v>
                </c:pt>
                <c:pt idx="29">
                  <c:v>0.65303877824060252</c:v>
                </c:pt>
                <c:pt idx="30">
                  <c:v>0.66030972633252383</c:v>
                </c:pt>
                <c:pt idx="31">
                  <c:v>0.6675549870752131</c:v>
                </c:pt>
                <c:pt idx="32">
                  <c:v>0.67453636093313596</c:v>
                </c:pt>
                <c:pt idx="33">
                  <c:v>0.68144789930883132</c:v>
                </c:pt>
                <c:pt idx="34">
                  <c:v>0.68808365574509511</c:v>
                </c:pt>
                <c:pt idx="35">
                  <c:v>0.69464435396007584</c:v>
                </c:pt>
                <c:pt idx="36">
                  <c:v>0.70112792617545372</c:v>
                </c:pt>
                <c:pt idx="37">
                  <c:v>0.7074065325295319</c:v>
                </c:pt>
                <c:pt idx="38">
                  <c:v>0.71342142253726171</c:v>
                </c:pt>
                <c:pt idx="39">
                  <c:v>0.71918643112781477</c:v>
                </c:pt>
                <c:pt idx="40">
                  <c:v>0.72493074061786633</c:v>
                </c:pt>
                <c:pt idx="41">
                  <c:v>0.73066511624506136</c:v>
                </c:pt>
                <c:pt idx="42">
                  <c:v>0.73636990345670938</c:v>
                </c:pt>
                <c:pt idx="43">
                  <c:v>0.74186959690324417</c:v>
                </c:pt>
                <c:pt idx="44">
                  <c:v>0.74729190854254879</c:v>
                </c:pt>
                <c:pt idx="45">
                  <c:v>0.75236316684811611</c:v>
                </c:pt>
                <c:pt idx="46">
                  <c:v>0.75742212507027529</c:v>
                </c:pt>
                <c:pt idx="47">
                  <c:v>0.76247835467774427</c:v>
                </c:pt>
                <c:pt idx="48">
                  <c:v>0.7674788182224821</c:v>
                </c:pt>
                <c:pt idx="49">
                  <c:v>0.77238137139790641</c:v>
                </c:pt>
                <c:pt idx="50">
                  <c:v>0.77727085706704091</c:v>
                </c:pt>
                <c:pt idx="51">
                  <c:v>0.78207733316114669</c:v>
                </c:pt>
                <c:pt idx="52">
                  <c:v>0.78686492212544368</c:v>
                </c:pt>
                <c:pt idx="53">
                  <c:v>0.79156402296802919</c:v>
                </c:pt>
                <c:pt idx="54">
                  <c:v>0.79623185132818863</c:v>
                </c:pt>
                <c:pt idx="55">
                  <c:v>0.80064133530217119</c:v>
                </c:pt>
                <c:pt idx="56">
                  <c:v>0.80487731775300053</c:v>
                </c:pt>
                <c:pt idx="57">
                  <c:v>0.80906721219632804</c:v>
                </c:pt>
                <c:pt idx="58">
                  <c:v>0.81322116566803293</c:v>
                </c:pt>
                <c:pt idx="59">
                  <c:v>0.81733035280497668</c:v>
                </c:pt>
                <c:pt idx="60">
                  <c:v>0.82141020733400061</c:v>
                </c:pt>
                <c:pt idx="61">
                  <c:v>0.82548511624889853</c:v>
                </c:pt>
                <c:pt idx="62">
                  <c:v>0.82944962285535428</c:v>
                </c:pt>
                <c:pt idx="63">
                  <c:v>0.83341212563539702</c:v>
                </c:pt>
                <c:pt idx="64">
                  <c:v>0.8371702381213012</c:v>
                </c:pt>
                <c:pt idx="65">
                  <c:v>0.84081010353152896</c:v>
                </c:pt>
                <c:pt idx="66">
                  <c:v>0.84429857346105464</c:v>
                </c:pt>
                <c:pt idx="67">
                  <c:v>0.84767261211200962</c:v>
                </c:pt>
                <c:pt idx="68">
                  <c:v>0.85096170131342963</c:v>
                </c:pt>
                <c:pt idx="69">
                  <c:v>0.85423279871173607</c:v>
                </c:pt>
                <c:pt idx="70">
                  <c:v>0.85748091605819832</c:v>
                </c:pt>
                <c:pt idx="71">
                  <c:v>0.86048249880393979</c:v>
                </c:pt>
                <c:pt idx="72">
                  <c:v>0.8633976612062898</c:v>
                </c:pt>
                <c:pt idx="73">
                  <c:v>0.86624880774993118</c:v>
                </c:pt>
                <c:pt idx="74">
                  <c:v>0.86903065174390171</c:v>
                </c:pt>
                <c:pt idx="75">
                  <c:v>0.87180584473956479</c:v>
                </c:pt>
                <c:pt idx="76">
                  <c:v>0.87450092731330753</c:v>
                </c:pt>
                <c:pt idx="77">
                  <c:v>0.87715382294586342</c:v>
                </c:pt>
                <c:pt idx="78">
                  <c:v>0.87977120395284203</c:v>
                </c:pt>
                <c:pt idx="79">
                  <c:v>0.88231446469983743</c:v>
                </c:pt>
                <c:pt idx="80">
                  <c:v>0.88484399710417272</c:v>
                </c:pt>
                <c:pt idx="81">
                  <c:v>0.88730919389026541</c:v>
                </c:pt>
                <c:pt idx="82">
                  <c:v>0.88976432890968793</c:v>
                </c:pt>
                <c:pt idx="83">
                  <c:v>0.89216996515324587</c:v>
                </c:pt>
                <c:pt idx="84">
                  <c:v>0.89455566971918388</c:v>
                </c:pt>
                <c:pt idx="85">
                  <c:v>0.89682937317900979</c:v>
                </c:pt>
                <c:pt idx="86">
                  <c:v>0.89903607635780969</c:v>
                </c:pt>
                <c:pt idx="87">
                  <c:v>0.90106185959226737</c:v>
                </c:pt>
                <c:pt idx="88">
                  <c:v>0.9029875794098825</c:v>
                </c:pt>
                <c:pt idx="89">
                  <c:v>0.90488654601315222</c:v>
                </c:pt>
                <c:pt idx="90">
                  <c:v>0.90678508627037657</c:v>
                </c:pt>
                <c:pt idx="91">
                  <c:v>0.9086211241973533</c:v>
                </c:pt>
                <c:pt idx="92">
                  <c:v>0.91042058163363948</c:v>
                </c:pt>
                <c:pt idx="93">
                  <c:v>0.91218028230119719</c:v>
                </c:pt>
                <c:pt idx="94">
                  <c:v>0.91393957794001179</c:v>
                </c:pt>
                <c:pt idx="95">
                  <c:v>0.91569556939697505</c:v>
                </c:pt>
                <c:pt idx="96">
                  <c:v>0.91744529356707172</c:v>
                </c:pt>
                <c:pt idx="97">
                  <c:v>0.91919096744973761</c:v>
                </c:pt>
                <c:pt idx="98">
                  <c:v>0.92079136391745209</c:v>
                </c:pt>
                <c:pt idx="99">
                  <c:v>0.92229613096719565</c:v>
                </c:pt>
                <c:pt idx="100">
                  <c:v>0.92377593545598424</c:v>
                </c:pt>
                <c:pt idx="101">
                  <c:v>0.92522523488522834</c:v>
                </c:pt>
                <c:pt idx="102">
                  <c:v>0.92665485844447981</c:v>
                </c:pt>
                <c:pt idx="103">
                  <c:v>0.92808096464885714</c:v>
                </c:pt>
                <c:pt idx="104">
                  <c:v>0.92950583444970303</c:v>
                </c:pt>
                <c:pt idx="105">
                  <c:v>0.93091548369673005</c:v>
                </c:pt>
                <c:pt idx="106">
                  <c:v>0.93231543357122548</c:v>
                </c:pt>
                <c:pt idx="107">
                  <c:v>0.9336964536813076</c:v>
                </c:pt>
                <c:pt idx="108">
                  <c:v>0.93506033468036687</c:v>
                </c:pt>
                <c:pt idx="109">
                  <c:v>0.93642148706473594</c:v>
                </c:pt>
                <c:pt idx="110">
                  <c:v>0.93775439402360083</c:v>
                </c:pt>
                <c:pt idx="111">
                  <c:v>0.93906617553591887</c:v>
                </c:pt>
                <c:pt idx="112">
                  <c:v>0.94036898246398237</c:v>
                </c:pt>
                <c:pt idx="113">
                  <c:v>0.94166010751040341</c:v>
                </c:pt>
                <c:pt idx="114">
                  <c:v>0.94290710574113124</c:v>
                </c:pt>
                <c:pt idx="115">
                  <c:v>0.94407403618454322</c:v>
                </c:pt>
                <c:pt idx="116">
                  <c:v>0.94520869223232262</c:v>
                </c:pt>
                <c:pt idx="117">
                  <c:v>0.94634223978038412</c:v>
                </c:pt>
                <c:pt idx="118">
                  <c:v>0.9474235812551931</c:v>
                </c:pt>
                <c:pt idx="119">
                  <c:v>0.94847435371855082</c:v>
                </c:pt>
                <c:pt idx="120">
                  <c:v>0.94946831557136635</c:v>
                </c:pt>
                <c:pt idx="121">
                  <c:v>0.95045240751323212</c:v>
                </c:pt>
                <c:pt idx="122">
                  <c:v>0.95143298210022376</c:v>
                </c:pt>
                <c:pt idx="123">
                  <c:v>0.95238803987640153</c:v>
                </c:pt>
                <c:pt idx="124">
                  <c:v>0.95331061008392393</c:v>
                </c:pt>
                <c:pt idx="125">
                  <c:v>0.95422714749490478</c:v>
                </c:pt>
                <c:pt idx="126">
                  <c:v>0.95514091365659082</c:v>
                </c:pt>
                <c:pt idx="127">
                  <c:v>0.95604393589793424</c:v>
                </c:pt>
                <c:pt idx="128">
                  <c:v>0.95694373922663523</c:v>
                </c:pt>
                <c:pt idx="129">
                  <c:v>0.95783565515349733</c:v>
                </c:pt>
                <c:pt idx="130">
                  <c:v>0.95872569515775996</c:v>
                </c:pt>
                <c:pt idx="131">
                  <c:v>0.95961554330630217</c:v>
                </c:pt>
                <c:pt idx="132">
                  <c:v>0.96043596100135986</c:v>
                </c:pt>
                <c:pt idx="133">
                  <c:v>0.961243886757289</c:v>
                </c:pt>
                <c:pt idx="134">
                  <c:v>0.96204676031258074</c:v>
                </c:pt>
                <c:pt idx="135">
                  <c:v>0.9628096852434237</c:v>
                </c:pt>
                <c:pt idx="136">
                  <c:v>0.96357000946339</c:v>
                </c:pt>
                <c:pt idx="137">
                  <c:v>0.9643034738824996</c:v>
                </c:pt>
                <c:pt idx="138">
                  <c:v>0.96502348708387853</c:v>
                </c:pt>
                <c:pt idx="139">
                  <c:v>0.96574226388172602</c:v>
                </c:pt>
                <c:pt idx="140">
                  <c:v>0.9664535156718731</c:v>
                </c:pt>
                <c:pt idx="141">
                  <c:v>0.96715670952176314</c:v>
                </c:pt>
                <c:pt idx="142">
                  <c:v>0.96783099710977882</c:v>
                </c:pt>
                <c:pt idx="143">
                  <c:v>0.96849394389298837</c:v>
                </c:pt>
                <c:pt idx="144">
                  <c:v>0.96912774992399853</c:v>
                </c:pt>
                <c:pt idx="145">
                  <c:v>0.96975234688042922</c:v>
                </c:pt>
                <c:pt idx="146">
                  <c:v>0.97035850437039872</c:v>
                </c:pt>
                <c:pt idx="147">
                  <c:v>0.97093174794566761</c:v>
                </c:pt>
                <c:pt idx="148">
                  <c:v>0.97150324350215056</c:v>
                </c:pt>
                <c:pt idx="149">
                  <c:v>0.97204110035565583</c:v>
                </c:pt>
                <c:pt idx="150">
                  <c:v>0.97257416081615089</c:v>
                </c:pt>
                <c:pt idx="151">
                  <c:v>0.97310050632643175</c:v>
                </c:pt>
                <c:pt idx="152">
                  <c:v>0.97362616968304005</c:v>
                </c:pt>
                <c:pt idx="153">
                  <c:v>0.97414729245426546</c:v>
                </c:pt>
                <c:pt idx="154">
                  <c:v>0.97465637094970992</c:v>
                </c:pt>
                <c:pt idx="155">
                  <c:v>0.97516504441641128</c:v>
                </c:pt>
                <c:pt idx="156">
                  <c:v>0.97566864436517298</c:v>
                </c:pt>
                <c:pt idx="157">
                  <c:v>0.97614374308080343</c:v>
                </c:pt>
                <c:pt idx="158">
                  <c:v>0.97661287295179899</c:v>
                </c:pt>
                <c:pt idx="159">
                  <c:v>0.97707835756410688</c:v>
                </c:pt>
                <c:pt idx="160">
                  <c:v>0.97754205152302431</c:v>
                </c:pt>
                <c:pt idx="161">
                  <c:v>0.97800442380920116</c:v>
                </c:pt>
                <c:pt idx="162">
                  <c:v>0.97846502675928981</c:v>
                </c:pt>
                <c:pt idx="163">
                  <c:v>0.97892533126714676</c:v>
                </c:pt>
                <c:pt idx="164">
                  <c:v>0.97938137231455025</c:v>
                </c:pt>
                <c:pt idx="165">
                  <c:v>0.97982035952013991</c:v>
                </c:pt>
                <c:pt idx="166">
                  <c:v>0.98025064926640448</c:v>
                </c:pt>
                <c:pt idx="167">
                  <c:v>0.98066785018907698</c:v>
                </c:pt>
                <c:pt idx="168">
                  <c:v>0.98108364416979987</c:v>
                </c:pt>
                <c:pt idx="169">
                  <c:v>0.98149860677573431</c:v>
                </c:pt>
                <c:pt idx="170">
                  <c:v>0.98190502114345957</c:v>
                </c:pt>
                <c:pt idx="171">
                  <c:v>0.98230595696450218</c:v>
                </c:pt>
                <c:pt idx="172">
                  <c:v>0.98269949568165804</c:v>
                </c:pt>
                <c:pt idx="173">
                  <c:v>0.98307800570071546</c:v>
                </c:pt>
                <c:pt idx="174">
                  <c:v>0.98344138043516316</c:v>
                </c:pt>
                <c:pt idx="175">
                  <c:v>0.98379330777829332</c:v>
                </c:pt>
                <c:pt idx="176">
                  <c:v>0.98414310339119682</c:v>
                </c:pt>
                <c:pt idx="177">
                  <c:v>0.98448518214067948</c:v>
                </c:pt>
                <c:pt idx="178">
                  <c:v>0.98482244317984979</c:v>
                </c:pt>
                <c:pt idx="179">
                  <c:v>0.98515599500842554</c:v>
                </c:pt>
                <c:pt idx="180">
                  <c:v>0.98546754738106157</c:v>
                </c:pt>
                <c:pt idx="181">
                  <c:v>0.98577805520588646</c:v>
                </c:pt>
                <c:pt idx="182">
                  <c:v>0.9860799082059909</c:v>
                </c:pt>
                <c:pt idx="183">
                  <c:v>0.98637869151456881</c:v>
                </c:pt>
                <c:pt idx="184">
                  <c:v>0.9866681378447536</c:v>
                </c:pt>
                <c:pt idx="185">
                  <c:v>0.98695310754146237</c:v>
                </c:pt>
                <c:pt idx="186">
                  <c:v>0.98723790669975298</c:v>
                </c:pt>
                <c:pt idx="187">
                  <c:v>0.98752129891609397</c:v>
                </c:pt>
                <c:pt idx="188">
                  <c:v>0.9877902806361023</c:v>
                </c:pt>
                <c:pt idx="189">
                  <c:v>0.98804489449438249</c:v>
                </c:pt>
                <c:pt idx="190">
                  <c:v>0.98829876224708324</c:v>
                </c:pt>
                <c:pt idx="191">
                  <c:v>0.98855256604787722</c:v>
                </c:pt>
                <c:pt idx="192">
                  <c:v>0.98879686233186004</c:v>
                </c:pt>
                <c:pt idx="193">
                  <c:v>0.98903173636824071</c:v>
                </c:pt>
                <c:pt idx="194">
                  <c:v>0.98925887222389841</c:v>
                </c:pt>
                <c:pt idx="195">
                  <c:v>0.98948345000328397</c:v>
                </c:pt>
                <c:pt idx="196">
                  <c:v>0.98970657820611541</c:v>
                </c:pt>
                <c:pt idx="197">
                  <c:v>0.98992552821770241</c:v>
                </c:pt>
                <c:pt idx="198">
                  <c:v>0.99014447822928942</c:v>
                </c:pt>
                <c:pt idx="199">
                  <c:v>0.99036040118395452</c:v>
                </c:pt>
                <c:pt idx="200">
                  <c:v>0.9905680530253399</c:v>
                </c:pt>
                <c:pt idx="201">
                  <c:v>0.99077538510719121</c:v>
                </c:pt>
                <c:pt idx="202">
                  <c:v>0.99098154473741784</c:v>
                </c:pt>
                <c:pt idx="203">
                  <c:v>0.99117205746778037</c:v>
                </c:pt>
                <c:pt idx="204">
                  <c:v>0.99135883967024607</c:v>
                </c:pt>
                <c:pt idx="205">
                  <c:v>0.99153065712652022</c:v>
                </c:pt>
                <c:pt idx="206">
                  <c:v>0.99169533328653481</c:v>
                </c:pt>
                <c:pt idx="207">
                  <c:v>0.99185378479428732</c:v>
                </c:pt>
                <c:pt idx="208">
                  <c:v>0.99200667248614816</c:v>
                </c:pt>
                <c:pt idx="209">
                  <c:v>0.99215623467885528</c:v>
                </c:pt>
                <c:pt idx="210">
                  <c:v>0.99230296167036081</c:v>
                </c:pt>
                <c:pt idx="211">
                  <c:v>0.99244838830642801</c:v>
                </c:pt>
                <c:pt idx="212">
                  <c:v>0.99259234404863883</c:v>
                </c:pt>
                <c:pt idx="213">
                  <c:v>0.99273589476210655</c:v>
                </c:pt>
                <c:pt idx="214">
                  <c:v>0.99287481962098223</c:v>
                </c:pt>
                <c:pt idx="215">
                  <c:v>0.99301327549920804</c:v>
                </c:pt>
                <c:pt idx="216">
                  <c:v>0.99314098745709123</c:v>
                </c:pt>
                <c:pt idx="217">
                  <c:v>0.99326360457973251</c:v>
                </c:pt>
                <c:pt idx="218">
                  <c:v>0.99338338650117219</c:v>
                </c:pt>
                <c:pt idx="219">
                  <c:v>0.99350199597098721</c:v>
                </c:pt>
                <c:pt idx="220">
                  <c:v>0.99361992328712967</c:v>
                </c:pt>
                <c:pt idx="221">
                  <c:v>0.9937370618630883</c:v>
                </c:pt>
                <c:pt idx="222">
                  <c:v>0.99385096020910224</c:v>
                </c:pt>
                <c:pt idx="223">
                  <c:v>0.99396311053633024</c:v>
                </c:pt>
                <c:pt idx="224">
                  <c:v>0.9940733636236565</c:v>
                </c:pt>
                <c:pt idx="225">
                  <c:v>0.99418261479777625</c:v>
                </c:pt>
                <c:pt idx="226">
                  <c:v>0.99428956370325106</c:v>
                </c:pt>
                <c:pt idx="227">
                  <c:v>0.99439576650314654</c:v>
                </c:pt>
                <c:pt idx="228">
                  <c:v>0.99450094607253314</c:v>
                </c:pt>
                <c:pt idx="229">
                  <c:v>0.99460452684424971</c:v>
                </c:pt>
                <c:pt idx="230">
                  <c:v>0.99470793707754823</c:v>
                </c:pt>
                <c:pt idx="231">
                  <c:v>0.99480294829375338</c:v>
                </c:pt>
                <c:pt idx="232">
                  <c:v>0.99489520957796607</c:v>
                </c:pt>
                <c:pt idx="233">
                  <c:v>0.99498563757418379</c:v>
                </c:pt>
                <c:pt idx="234">
                  <c:v>0.99507591634928561</c:v>
                </c:pt>
                <c:pt idx="235">
                  <c:v>0.99516576877834206</c:v>
                </c:pt>
                <c:pt idx="236">
                  <c:v>0.99525295654461521</c:v>
                </c:pt>
                <c:pt idx="237">
                  <c:v>0.99533820443638199</c:v>
                </c:pt>
                <c:pt idx="238">
                  <c:v>0.99542279149177848</c:v>
                </c:pt>
                <c:pt idx="239">
                  <c:v>0.99550718669145455</c:v>
                </c:pt>
                <c:pt idx="240">
                  <c:v>0.99558797926704745</c:v>
                </c:pt>
                <c:pt idx="241">
                  <c:v>0.99566855866961768</c:v>
                </c:pt>
                <c:pt idx="242">
                  <c:v>0.995747070293868</c:v>
                </c:pt>
                <c:pt idx="243">
                  <c:v>0.99582487844714351</c:v>
                </c:pt>
                <c:pt idx="244">
                  <c:v>0.99589948900507896</c:v>
                </c:pt>
                <c:pt idx="245">
                  <c:v>0.99597375848617808</c:v>
                </c:pt>
                <c:pt idx="246">
                  <c:v>0.99604495827575068</c:v>
                </c:pt>
                <c:pt idx="247">
                  <c:v>0.99611479375797818</c:v>
                </c:pt>
                <c:pt idx="248">
                  <c:v>0.99618352074048777</c:v>
                </c:pt>
                <c:pt idx="249">
                  <c:v>0.99625209850188157</c:v>
                </c:pt>
                <c:pt idx="250">
                  <c:v>0.99632035650374129</c:v>
                </c:pt>
                <c:pt idx="251">
                  <c:v>0.99638580062170179</c:v>
                </c:pt>
                <c:pt idx="252">
                  <c:v>0.99644913432673776</c:v>
                </c:pt>
                <c:pt idx="253">
                  <c:v>0.99651116767633552</c:v>
                </c:pt>
                <c:pt idx="254">
                  <c:v>0.99657256150686524</c:v>
                </c:pt>
                <c:pt idx="255">
                  <c:v>0.99663244180893396</c:v>
                </c:pt>
                <c:pt idx="256">
                  <c:v>0.99669198103416645</c:v>
                </c:pt>
                <c:pt idx="257">
                  <c:v>0.99675147762479432</c:v>
                </c:pt>
                <c:pt idx="258">
                  <c:v>0.99681091026351543</c:v>
                </c:pt>
                <c:pt idx="259">
                  <c:v>0.99686931967172776</c:v>
                </c:pt>
                <c:pt idx="260">
                  <c:v>0.99692512836906344</c:v>
                </c:pt>
                <c:pt idx="261">
                  <c:v>0.99698078784528321</c:v>
                </c:pt>
                <c:pt idx="262">
                  <c:v>0.99703619151387579</c:v>
                </c:pt>
                <c:pt idx="263">
                  <c:v>0.99709133937484118</c:v>
                </c:pt>
                <c:pt idx="264">
                  <c:v>0.99714597562055218</c:v>
                </c:pt>
                <c:pt idx="265">
                  <c:v>0.99720012156831106</c:v>
                </c:pt>
                <c:pt idx="266">
                  <c:v>0.99725392643923361</c:v>
                </c:pt>
                <c:pt idx="267">
                  <c:v>0.99730728364680854</c:v>
                </c:pt>
                <c:pt idx="268">
                  <c:v>0.99735940445085203</c:v>
                </c:pt>
                <c:pt idx="269">
                  <c:v>0.99740843424606673</c:v>
                </c:pt>
                <c:pt idx="270">
                  <c:v>0.99745733613746779</c:v>
                </c:pt>
                <c:pt idx="271">
                  <c:v>0.99750508689454642</c:v>
                </c:pt>
                <c:pt idx="272">
                  <c:v>0.99755213418065025</c:v>
                </c:pt>
                <c:pt idx="273">
                  <c:v>0.99759711368843418</c:v>
                </c:pt>
                <c:pt idx="274">
                  <c:v>0.99764188002319543</c:v>
                </c:pt>
                <c:pt idx="275">
                  <c:v>0.99773077317364989</c:v>
                </c:pt>
                <c:pt idx="276">
                  <c:v>0.99777374885502068</c:v>
                </c:pt>
                <c:pt idx="277">
                  <c:v>0.99781591447890527</c:v>
                </c:pt>
                <c:pt idx="278">
                  <c:v>0.99785748321832646</c:v>
                </c:pt>
                <c:pt idx="279">
                  <c:v>0.99789809267914553</c:v>
                </c:pt>
                <c:pt idx="280">
                  <c:v>0.99793680490006287</c:v>
                </c:pt>
                <c:pt idx="281">
                  <c:v>0.99797464311158723</c:v>
                </c:pt>
                <c:pt idx="282">
                  <c:v>0.99801164994832314</c:v>
                </c:pt>
                <c:pt idx="283">
                  <c:v>0.99804835834282735</c:v>
                </c:pt>
                <c:pt idx="284">
                  <c:v>0.99808493883351801</c:v>
                </c:pt>
                <c:pt idx="285">
                  <c:v>0.99812137010309276</c:v>
                </c:pt>
                <c:pt idx="286">
                  <c:v>0.99815773742076075</c:v>
                </c:pt>
                <c:pt idx="287">
                  <c:v>0.99819286833489718</c:v>
                </c:pt>
                <c:pt idx="288">
                  <c:v>0.99822778607601093</c:v>
                </c:pt>
                <c:pt idx="289">
                  <c:v>0.99826253327870651</c:v>
                </c:pt>
                <c:pt idx="290">
                  <c:v>0.99829685413535685</c:v>
                </c:pt>
                <c:pt idx="291">
                  <c:v>0.99833010912689379</c:v>
                </c:pt>
                <c:pt idx="292">
                  <c:v>0.99836315094540806</c:v>
                </c:pt>
                <c:pt idx="293">
                  <c:v>0.99839597959089965</c:v>
                </c:pt>
                <c:pt idx="294">
                  <c:v>0.99842806213081192</c:v>
                </c:pt>
                <c:pt idx="295">
                  <c:v>0.99845897221909941</c:v>
                </c:pt>
                <c:pt idx="296">
                  <c:v>0.99848864590385544</c:v>
                </c:pt>
                <c:pt idx="297">
                  <c:v>0.9985172963581026</c:v>
                </c:pt>
                <c:pt idx="298">
                  <c:v>0.99854556310090903</c:v>
                </c:pt>
                <c:pt idx="299">
                  <c:v>0.99857365930529729</c:v>
                </c:pt>
                <c:pt idx="300">
                  <c:v>0.99860105203871075</c:v>
                </c:pt>
                <c:pt idx="301">
                  <c:v>0.99862776261845165</c:v>
                </c:pt>
                <c:pt idx="302">
                  <c:v>0.99865263991019759</c:v>
                </c:pt>
                <c:pt idx="303">
                  <c:v>0.9987003053980672</c:v>
                </c:pt>
                <c:pt idx="304">
                  <c:v>0.99872322149800452</c:v>
                </c:pt>
                <c:pt idx="305">
                  <c:v>0.99874603101143045</c:v>
                </c:pt>
                <c:pt idx="306">
                  <c:v>0.99876811573657931</c:v>
                </c:pt>
                <c:pt idx="307">
                  <c:v>0.99878956094266014</c:v>
                </c:pt>
                <c:pt idx="308">
                  <c:v>0.99885221249402367</c:v>
                </c:pt>
                <c:pt idx="309">
                  <c:v>0.99887259183499122</c:v>
                </c:pt>
                <c:pt idx="310">
                  <c:v>0.99889282195484286</c:v>
                </c:pt>
                <c:pt idx="311">
                  <c:v>0.99891268968055591</c:v>
                </c:pt>
                <c:pt idx="312">
                  <c:v>0.99893228028133951</c:v>
                </c:pt>
                <c:pt idx="313">
                  <c:v>0.99895163639179818</c:v>
                </c:pt>
                <c:pt idx="314">
                  <c:v>0.99897058747351375</c:v>
                </c:pt>
                <c:pt idx="315">
                  <c:v>0.99898915484378858</c:v>
                </c:pt>
                <c:pt idx="316">
                  <c:v>0.99900759431024977</c:v>
                </c:pt>
                <c:pt idx="317">
                  <c:v>0.99902599114210644</c:v>
                </c:pt>
                <c:pt idx="318">
                  <c:v>0.99904389767601098</c:v>
                </c:pt>
                <c:pt idx="319">
                  <c:v>0.99906150576768371</c:v>
                </c:pt>
                <c:pt idx="320">
                  <c:v>0.99907875146521796</c:v>
                </c:pt>
                <c:pt idx="321">
                  <c:v>0.99909580530703179</c:v>
                </c:pt>
                <c:pt idx="322">
                  <c:v>0.99911200645675491</c:v>
                </c:pt>
                <c:pt idx="323">
                  <c:v>0.9991276107220145</c:v>
                </c:pt>
                <c:pt idx="324">
                  <c:v>0.99914253283360155</c:v>
                </c:pt>
                <c:pt idx="325">
                  <c:v>0.99915745494518859</c:v>
                </c:pt>
                <c:pt idx="326">
                  <c:v>0.99917235573947338</c:v>
                </c:pt>
                <c:pt idx="327">
                  <c:v>0.99920124068404548</c:v>
                </c:pt>
                <c:pt idx="328">
                  <c:v>0.99921543800735546</c:v>
                </c:pt>
                <c:pt idx="329">
                  <c:v>0.9992295074268519</c:v>
                </c:pt>
                <c:pt idx="330">
                  <c:v>0.99925734782361286</c:v>
                </c:pt>
                <c:pt idx="331">
                  <c:v>0.99928463397051492</c:v>
                </c:pt>
                <c:pt idx="332">
                  <c:v>0.99931138718486034</c:v>
                </c:pt>
                <c:pt idx="333">
                  <c:v>0.9993243907392434</c:v>
                </c:pt>
                <c:pt idx="334">
                  <c:v>0.99933718112060377</c:v>
                </c:pt>
                <c:pt idx="335">
                  <c:v>0.99934986491545275</c:v>
                </c:pt>
                <c:pt idx="336">
                  <c:v>0.99938663726186372</c:v>
                </c:pt>
                <c:pt idx="337">
                  <c:v>0.9993983617781107</c:v>
                </c:pt>
                <c:pt idx="338">
                  <c:v>0.99940983048673049</c:v>
                </c:pt>
                <c:pt idx="339">
                  <c:v>0.99942123524344351</c:v>
                </c:pt>
                <c:pt idx="340">
                  <c:v>0.9994325973655519</c:v>
                </c:pt>
                <c:pt idx="341">
                  <c:v>0.99944389553575352</c:v>
                </c:pt>
                <c:pt idx="342">
                  <c:v>0.99945498053293247</c:v>
                </c:pt>
                <c:pt idx="343">
                  <c:v>0.99946598026090239</c:v>
                </c:pt>
                <c:pt idx="344">
                  <c:v>0.99947695867157005</c:v>
                </c:pt>
                <c:pt idx="345">
                  <c:v>0.99949878758909172</c:v>
                </c:pt>
                <c:pt idx="346">
                  <c:v>0.99954061213613998</c:v>
                </c:pt>
                <c:pt idx="347">
                  <c:v>0.99955075917201919</c:v>
                </c:pt>
                <c:pt idx="348">
                  <c:v>0.9995606504002712</c:v>
                </c:pt>
                <c:pt idx="349">
                  <c:v>0.9995704989939187</c:v>
                </c:pt>
                <c:pt idx="350">
                  <c:v>0.99958017704914803</c:v>
                </c:pt>
                <c:pt idx="351">
                  <c:v>0.99958981246977285</c:v>
                </c:pt>
                <c:pt idx="352">
                  <c:v>0.99959929866928177</c:v>
                </c:pt>
                <c:pt idx="353">
                  <c:v>0.99960867828227939</c:v>
                </c:pt>
                <c:pt idx="354">
                  <c:v>0.99962711774874058</c:v>
                </c:pt>
                <c:pt idx="355">
                  <c:v>0.99963619891950639</c:v>
                </c:pt>
                <c:pt idx="356">
                  <c:v>0.9996452800902722</c:v>
                </c:pt>
                <c:pt idx="357">
                  <c:v>0.9996540201842018</c:v>
                </c:pt>
                <c:pt idx="358">
                  <c:v>0.99967109534331788</c:v>
                </c:pt>
                <c:pt idx="359">
                  <c:v>0.99967936645659761</c:v>
                </c:pt>
                <c:pt idx="360">
                  <c:v>0.99968761625257507</c:v>
                </c:pt>
                <c:pt idx="361">
                  <c:v>0.99970347632546186</c:v>
                </c:pt>
                <c:pt idx="362">
                  <c:v>0.99971123582348709</c:v>
                </c:pt>
                <c:pt idx="363">
                  <c:v>0.99971867556197835</c:v>
                </c:pt>
                <c:pt idx="364">
                  <c:v>0.99972603003126059</c:v>
                </c:pt>
                <c:pt idx="365">
                  <c:v>0.99973317132752015</c:v>
                </c:pt>
                <c:pt idx="366">
                  <c:v>0.99974020603726832</c:v>
                </c:pt>
                <c:pt idx="367">
                  <c:v>0.9997471341605052</c:v>
                </c:pt>
                <c:pt idx="368">
                  <c:v>0.99975404096643983</c:v>
                </c:pt>
                <c:pt idx="369">
                  <c:v>0.99976084118586306</c:v>
                </c:pt>
                <c:pt idx="370">
                  <c:v>0.99976764140528629</c:v>
                </c:pt>
                <c:pt idx="371">
                  <c:v>0.99977442030740726</c:v>
                </c:pt>
                <c:pt idx="372">
                  <c:v>0.9997938403697727</c:v>
                </c:pt>
                <c:pt idx="373">
                  <c:v>0.99981268486497699</c:v>
                </c:pt>
                <c:pt idx="374">
                  <c:v>0.99983596335905289</c:v>
                </c:pt>
                <c:pt idx="375">
                  <c:v>0.99986250340037564</c:v>
                </c:pt>
                <c:pt idx="376">
                  <c:v>0.99987646623336068</c:v>
                </c:pt>
                <c:pt idx="377">
                  <c:v>0.99988996008569586</c:v>
                </c:pt>
                <c:pt idx="378">
                  <c:v>0.99989428749805609</c:v>
                </c:pt>
                <c:pt idx="379">
                  <c:v>0.99989852964120729</c:v>
                </c:pt>
                <c:pt idx="380">
                  <c:v>0.99990277178435849</c:v>
                </c:pt>
                <c:pt idx="381">
                  <c:v>0.99991496528125534</c:v>
                </c:pt>
                <c:pt idx="382">
                  <c:v>0.99991878107836119</c:v>
                </c:pt>
                <c:pt idx="383">
                  <c:v>0.9999290773353563</c:v>
                </c:pt>
                <c:pt idx="384">
                  <c:v>0.99993221097878959</c:v>
                </c:pt>
                <c:pt idx="385">
                  <c:v>0.99994099370732359</c:v>
                </c:pt>
                <c:pt idx="386">
                  <c:v>0.99994642961940172</c:v>
                </c:pt>
                <c:pt idx="387">
                  <c:v>0.99995141786813224</c:v>
                </c:pt>
                <c:pt idx="388">
                  <c:v>0.99996039245238666</c:v>
                </c:pt>
                <c:pt idx="389">
                  <c:v>0.99996435747060841</c:v>
                </c:pt>
                <c:pt idx="390">
                  <c:v>0.99996621207590564</c:v>
                </c:pt>
                <c:pt idx="391">
                  <c:v>0.99996972943077977</c:v>
                </c:pt>
                <c:pt idx="392">
                  <c:v>0.99997139218035658</c:v>
                </c:pt>
                <c:pt idx="393">
                  <c:v>0.99997305492993338</c:v>
                </c:pt>
                <c:pt idx="394">
                  <c:v>0.99997471767951018</c:v>
                </c:pt>
                <c:pt idx="395">
                  <c:v>0.99998352172534677</c:v>
                </c:pt>
                <c:pt idx="396">
                  <c:v>0.99998710303212757</c:v>
                </c:pt>
                <c:pt idx="397">
                  <c:v>0.99999138780988339</c:v>
                </c:pt>
                <c:pt idx="398">
                  <c:v>0.99999236840578765</c:v>
                </c:pt>
                <c:pt idx="399">
                  <c:v>0.99999756982754073</c:v>
                </c:pt>
                <c:pt idx="400">
                  <c:v>0.99999987209618568</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320</c:f>
              <c:strCache>
                <c:ptCount val="319"/>
                <c:pt idx="0">
                  <c:v>Ruinart</c:v>
                </c:pt>
                <c:pt idx="1">
                  <c:v>Nicolas</c:v>
                </c:pt>
                <c:pt idx="2">
                  <c:v>Ruinart</c:v>
                </c:pt>
                <c:pt idx="3">
                  <c:v>Deutz</c:v>
                </c:pt>
                <c:pt idx="4">
                  <c:v>Heidsieck &amp;</c:v>
                </c:pt>
                <c:pt idx="5">
                  <c:v>Ruinart</c:v>
                </c:pt>
                <c:pt idx="6">
                  <c:v>Laurent Per</c:v>
                </c:pt>
                <c:pt idx="7">
                  <c:v>Ruinart</c:v>
                </c:pt>
                <c:pt idx="8">
                  <c:v>De Bligny</c:v>
                </c:pt>
                <c:pt idx="9">
                  <c:v>Malard</c:v>
                </c:pt>
                <c:pt idx="10">
                  <c:v>Ayala</c:v>
                </c:pt>
                <c:pt idx="11">
                  <c:v>Bollinger</c:v>
                </c:pt>
                <c:pt idx="12">
                  <c:v>Taittinger</c:v>
                </c:pt>
                <c:pt idx="13">
                  <c:v>Nicolas Feu</c:v>
                </c:pt>
                <c:pt idx="14">
                  <c:v>Canard Duch</c:v>
                </c:pt>
                <c:pt idx="15">
                  <c:v>Ruinart</c:v>
                </c:pt>
                <c:pt idx="16">
                  <c:v>Ruinart</c:v>
                </c:pt>
                <c:pt idx="17">
                  <c:v>Dom Perigno</c:v>
                </c:pt>
                <c:pt idx="18">
                  <c:v>Deutz</c:v>
                </c:pt>
                <c:pt idx="19">
                  <c:v>Ruinart</c:v>
                </c:pt>
                <c:pt idx="20">
                  <c:v>Demoiselle</c:v>
                </c:pt>
                <c:pt idx="21">
                  <c:v>All Others</c:v>
                </c:pt>
                <c:pt idx="22">
                  <c:v>Dom Perigno</c:v>
                </c:pt>
                <c:pt idx="23">
                  <c:v>Perrier Jou</c:v>
                </c:pt>
                <c:pt idx="24">
                  <c:v>Bottega</c:v>
                </c:pt>
                <c:pt idx="25">
                  <c:v>Besserat De</c:v>
                </c:pt>
                <c:pt idx="26">
                  <c:v>Laurent Per</c:v>
                </c:pt>
                <c:pt idx="27">
                  <c:v>Pommery</c:v>
                </c:pt>
                <c:pt idx="28">
                  <c:v>Roederer</c:v>
                </c:pt>
                <c:pt idx="29">
                  <c:v>Laurent Per</c:v>
                </c:pt>
                <c:pt idx="30">
                  <c:v>Deutz</c:v>
                </c:pt>
                <c:pt idx="31">
                  <c:v>Moët &amp; Chan</c:v>
                </c:pt>
                <c:pt idx="32">
                  <c:v>All Others</c:v>
                </c:pt>
                <c:pt idx="33">
                  <c:v>Taittinger</c:v>
                </c:pt>
                <c:pt idx="34">
                  <c:v>Ruinart</c:v>
                </c:pt>
                <c:pt idx="35">
                  <c:v>Veuve Clicq</c:v>
                </c:pt>
                <c:pt idx="36">
                  <c:v>Demoiselle</c:v>
                </c:pt>
                <c:pt idx="37">
                  <c:v>Nicolas</c:v>
                </c:pt>
                <c:pt idx="38">
                  <c:v>Savian</c:v>
                </c:pt>
                <c:pt idx="39">
                  <c:v>Roederer</c:v>
                </c:pt>
                <c:pt idx="40">
                  <c:v>Veuve Clicq</c:v>
                </c:pt>
                <c:pt idx="41">
                  <c:v>Roederer</c:v>
                </c:pt>
                <c:pt idx="42">
                  <c:v>Malard</c:v>
                </c:pt>
                <c:pt idx="43">
                  <c:v>Savian</c:v>
                </c:pt>
                <c:pt idx="44">
                  <c:v>Nicolas</c:v>
                </c:pt>
                <c:pt idx="45">
                  <c:v>Campari: Al</c:v>
                </c:pt>
                <c:pt idx="46">
                  <c:v>Vesselle</c:v>
                </c:pt>
                <c:pt idx="47">
                  <c:v>Besserat De</c:v>
                </c:pt>
                <c:pt idx="48">
                  <c:v>Veuve Clicq</c:v>
                </c:pt>
                <c:pt idx="49">
                  <c:v>Patriarche</c:v>
                </c:pt>
                <c:pt idx="50">
                  <c:v>De Chanceny</c:v>
                </c:pt>
                <c:pt idx="51">
                  <c:v>Ruinart</c:v>
                </c:pt>
                <c:pt idx="52">
                  <c:v>All Others</c:v>
                </c:pt>
                <c:pt idx="53">
                  <c:v>Krug</c:v>
                </c:pt>
                <c:pt idx="54">
                  <c:v>Nicolas Feu</c:v>
                </c:pt>
                <c:pt idx="55">
                  <c:v>All Others</c:v>
                </c:pt>
                <c:pt idx="56">
                  <c:v>Ruinart</c:v>
                </c:pt>
                <c:pt idx="57">
                  <c:v>Roederer</c:v>
                </c:pt>
                <c:pt idx="58">
                  <c:v>Mure</c:v>
                </c:pt>
                <c:pt idx="59">
                  <c:v>Nicolas</c:v>
                </c:pt>
                <c:pt idx="60">
                  <c:v>Piper Heids</c:v>
                </c:pt>
                <c:pt idx="61">
                  <c:v>Moët &amp; Chan</c:v>
                </c:pt>
                <c:pt idx="62">
                  <c:v>Nicolas Feu</c:v>
                </c:pt>
                <c:pt idx="63">
                  <c:v>Henriot</c:v>
                </c:pt>
                <c:pt idx="64">
                  <c:v>Moët &amp; Chan</c:v>
                </c:pt>
                <c:pt idx="65">
                  <c:v>Bollinger</c:v>
                </c:pt>
                <c:pt idx="66">
                  <c:v>Nicolas Feu</c:v>
                </c:pt>
                <c:pt idx="67">
                  <c:v>De Bligny</c:v>
                </c:pt>
                <c:pt idx="68">
                  <c:v>Pommery</c:v>
                </c:pt>
                <c:pt idx="69">
                  <c:v>Lanson</c:v>
                </c:pt>
                <c:pt idx="70">
                  <c:v>Deutz</c:v>
                </c:pt>
                <c:pt idx="71">
                  <c:v>Roederer</c:v>
                </c:pt>
                <c:pt idx="72">
                  <c:v>Ruinart</c:v>
                </c:pt>
                <c:pt idx="73">
                  <c:v>Malard</c:v>
                </c:pt>
                <c:pt idx="74">
                  <c:v>Canard Duch</c:v>
                </c:pt>
                <c:pt idx="75">
                  <c:v>Lyre's</c:v>
                </c:pt>
                <c:pt idx="76">
                  <c:v>Nicolas</c:v>
                </c:pt>
                <c:pt idx="77">
                  <c:v>All Others</c:v>
                </c:pt>
                <c:pt idx="78">
                  <c:v>Bouvet-Ladu</c:v>
                </c:pt>
                <c:pt idx="79">
                  <c:v>Campari: Al</c:v>
                </c:pt>
                <c:pt idx="80">
                  <c:v>Louis Marti</c:v>
                </c:pt>
                <c:pt idx="81">
                  <c:v>De Venoge</c:v>
                </c:pt>
                <c:pt idx="82">
                  <c:v>Delamotte</c:v>
                </c:pt>
                <c:pt idx="83">
                  <c:v>Roederer</c:v>
                </c:pt>
                <c:pt idx="84">
                  <c:v>Besserat De</c:v>
                </c:pt>
                <c:pt idx="85">
                  <c:v>Patriarche</c:v>
                </c:pt>
                <c:pt idx="86">
                  <c:v>Malard</c:v>
                </c:pt>
                <c:pt idx="87">
                  <c:v>Bottega</c:v>
                </c:pt>
                <c:pt idx="88">
                  <c:v>French Bloo</c:v>
                </c:pt>
                <c:pt idx="89">
                  <c:v>Malard</c:v>
                </c:pt>
                <c:pt idx="90">
                  <c:v>Deutz</c:v>
                </c:pt>
                <c:pt idx="91">
                  <c:v>Laurent Per</c:v>
                </c:pt>
                <c:pt idx="92">
                  <c:v>Ayala</c:v>
                </c:pt>
                <c:pt idx="93">
                  <c:v>Ruinart</c:v>
                </c:pt>
                <c:pt idx="94">
                  <c:v>Henriot</c:v>
                </c:pt>
                <c:pt idx="95">
                  <c:v>Bollinger</c:v>
                </c:pt>
                <c:pt idx="96">
                  <c:v>Roederer</c:v>
                </c:pt>
                <c:pt idx="97">
                  <c:v>Ruinart</c:v>
                </c:pt>
                <c:pt idx="98">
                  <c:v>Dom Perigno</c:v>
                </c:pt>
                <c:pt idx="99">
                  <c:v>Roederer</c:v>
                </c:pt>
                <c:pt idx="100">
                  <c:v>Henriot</c:v>
                </c:pt>
                <c:pt idx="101">
                  <c:v>Moët &amp; Chan</c:v>
                </c:pt>
                <c:pt idx="102">
                  <c:v>Taittinger</c:v>
                </c:pt>
                <c:pt idx="103">
                  <c:v>Ruinart</c:v>
                </c:pt>
                <c:pt idx="104">
                  <c:v>Perrier Jou</c:v>
                </c:pt>
                <c:pt idx="105">
                  <c:v>Perrier Jou</c:v>
                </c:pt>
                <c:pt idx="106">
                  <c:v>Nicolas</c:v>
                </c:pt>
                <c:pt idx="107">
                  <c:v>De Chanceny</c:v>
                </c:pt>
                <c:pt idx="108">
                  <c:v>Canard Duch</c:v>
                </c:pt>
                <c:pt idx="109">
                  <c:v>Dom Perigno</c:v>
                </c:pt>
                <c:pt idx="110">
                  <c:v>Deutz</c:v>
                </c:pt>
                <c:pt idx="111">
                  <c:v>Ruinart</c:v>
                </c:pt>
                <c:pt idx="112">
                  <c:v>Nicolas</c:v>
                </c:pt>
                <c:pt idx="113">
                  <c:v>Nicolas</c:v>
                </c:pt>
                <c:pt idx="114">
                  <c:v>Vranken</c:v>
                </c:pt>
                <c:pt idx="115">
                  <c:v>Ruinart</c:v>
                </c:pt>
                <c:pt idx="116">
                  <c:v>Roederer</c:v>
                </c:pt>
                <c:pt idx="117">
                  <c:v>Henriot</c:v>
                </c:pt>
                <c:pt idx="118">
                  <c:v>Malard</c:v>
                </c:pt>
                <c:pt idx="119">
                  <c:v>Laurent Per</c:v>
                </c:pt>
                <c:pt idx="120">
                  <c:v>Taittinger</c:v>
                </c:pt>
                <c:pt idx="121">
                  <c:v>Canard Duch</c:v>
                </c:pt>
                <c:pt idx="122">
                  <c:v>Nicolas</c:v>
                </c:pt>
                <c:pt idx="123">
                  <c:v>Moët &amp; Chan</c:v>
                </c:pt>
                <c:pt idx="124">
                  <c:v>Pommery</c:v>
                </c:pt>
                <c:pt idx="125">
                  <c:v>Bollinger</c:v>
                </c:pt>
                <c:pt idx="126">
                  <c:v>Vranken</c:v>
                </c:pt>
                <c:pt idx="127">
                  <c:v>Contarini</c:v>
                </c:pt>
                <c:pt idx="128">
                  <c:v>De Venoge</c:v>
                </c:pt>
                <c:pt idx="129">
                  <c:v>De Venoge</c:v>
                </c:pt>
                <c:pt idx="130">
                  <c:v>Ruinart</c:v>
                </c:pt>
                <c:pt idx="131">
                  <c:v>All Others</c:v>
                </c:pt>
                <c:pt idx="132">
                  <c:v>Demoiselle</c:v>
                </c:pt>
                <c:pt idx="133">
                  <c:v>Laurent Per</c:v>
                </c:pt>
                <c:pt idx="134">
                  <c:v>Kriter</c:v>
                </c:pt>
                <c:pt idx="135">
                  <c:v>All Others</c:v>
                </c:pt>
                <c:pt idx="136">
                  <c:v>De Venoge</c:v>
                </c:pt>
                <c:pt idx="137">
                  <c:v>Laurent Per</c:v>
                </c:pt>
                <c:pt idx="138">
                  <c:v>Ruinart</c:v>
                </c:pt>
                <c:pt idx="139">
                  <c:v>Nicolas</c:v>
                </c:pt>
                <c:pt idx="140">
                  <c:v>Nicolas</c:v>
                </c:pt>
                <c:pt idx="141">
                  <c:v>Ruinart</c:v>
                </c:pt>
                <c:pt idx="142">
                  <c:v>Cru La Maqu</c:v>
                </c:pt>
                <c:pt idx="143">
                  <c:v>Piper Heids</c:v>
                </c:pt>
                <c:pt idx="144">
                  <c:v>All Others</c:v>
                </c:pt>
                <c:pt idx="145">
                  <c:v>Canard Duch</c:v>
                </c:pt>
                <c:pt idx="146">
                  <c:v>Laurent Per</c:v>
                </c:pt>
                <c:pt idx="147">
                  <c:v>Nicolas</c:v>
                </c:pt>
                <c:pt idx="148">
                  <c:v>All Others</c:v>
                </c:pt>
                <c:pt idx="149">
                  <c:v>Nicolas</c:v>
                </c:pt>
                <c:pt idx="150">
                  <c:v>All Others</c:v>
                </c:pt>
                <c:pt idx="151">
                  <c:v>All Others</c:v>
                </c:pt>
                <c:pt idx="152">
                  <c:v>Laurent Per</c:v>
                </c:pt>
                <c:pt idx="153">
                  <c:v>Moët &amp; Chan</c:v>
                </c:pt>
                <c:pt idx="154">
                  <c:v>Roederer</c:v>
                </c:pt>
                <c:pt idx="155">
                  <c:v>Nicolas Feu</c:v>
                </c:pt>
                <c:pt idx="156">
                  <c:v>Delamotte</c:v>
                </c:pt>
                <c:pt idx="157">
                  <c:v>All Others</c:v>
                </c:pt>
                <c:pt idx="158">
                  <c:v>Nicolas</c:v>
                </c:pt>
                <c:pt idx="159">
                  <c:v>All Others</c:v>
                </c:pt>
                <c:pt idx="160">
                  <c:v>Roederer</c:v>
                </c:pt>
                <c:pt idx="161">
                  <c:v>Besserat De</c:v>
                </c:pt>
                <c:pt idx="162">
                  <c:v>Ruinart</c:v>
                </c:pt>
                <c:pt idx="163">
                  <c:v>Veuve Clicq</c:v>
                </c:pt>
                <c:pt idx="164">
                  <c:v>Canard Duch</c:v>
                </c:pt>
                <c:pt idx="165">
                  <c:v>Ruinart</c:v>
                </c:pt>
                <c:pt idx="166">
                  <c:v>Dom Perigno</c:v>
                </c:pt>
                <c:pt idx="167">
                  <c:v>Roederer</c:v>
                </c:pt>
                <c:pt idx="168">
                  <c:v>Roederer</c:v>
                </c:pt>
                <c:pt idx="169">
                  <c:v>Deutz</c:v>
                </c:pt>
                <c:pt idx="170">
                  <c:v>Lanson</c:v>
                </c:pt>
                <c:pt idx="171">
                  <c:v>Roederer</c:v>
                </c:pt>
                <c:pt idx="172">
                  <c:v>Piper Heids</c:v>
                </c:pt>
                <c:pt idx="173">
                  <c:v>All Others</c:v>
                </c:pt>
                <c:pt idx="174">
                  <c:v>Krug</c:v>
                </c:pt>
                <c:pt idx="175">
                  <c:v>All Others</c:v>
                </c:pt>
                <c:pt idx="176">
                  <c:v>Contarini</c:v>
                </c:pt>
                <c:pt idx="177">
                  <c:v>Pommery</c:v>
                </c:pt>
                <c:pt idx="178">
                  <c:v>Pommery</c:v>
                </c:pt>
                <c:pt idx="179">
                  <c:v>Nicolas</c:v>
                </c:pt>
                <c:pt idx="180">
                  <c:v>All Others</c:v>
                </c:pt>
                <c:pt idx="181">
                  <c:v>All Others</c:v>
                </c:pt>
                <c:pt idx="182">
                  <c:v>Pommery</c:v>
                </c:pt>
                <c:pt idx="183">
                  <c:v>All Others</c:v>
                </c:pt>
                <c:pt idx="184">
                  <c:v>Nicolas</c:v>
                </c:pt>
                <c:pt idx="185">
                  <c:v>Pommery</c:v>
                </c:pt>
                <c:pt idx="186">
                  <c:v>All Others</c:v>
                </c:pt>
                <c:pt idx="187">
                  <c:v>Vranken</c:v>
                </c:pt>
                <c:pt idx="188">
                  <c:v>Bollinger</c:v>
                </c:pt>
                <c:pt idx="189">
                  <c:v>Dom Perigno</c:v>
                </c:pt>
                <c:pt idx="190">
                  <c:v>Krug</c:v>
                </c:pt>
                <c:pt idx="191">
                  <c:v>Canard Duch</c:v>
                </c:pt>
                <c:pt idx="192">
                  <c:v>Nicolas</c:v>
                </c:pt>
                <c:pt idx="193">
                  <c:v>Roederer</c:v>
                </c:pt>
                <c:pt idx="194">
                  <c:v>All Others</c:v>
                </c:pt>
                <c:pt idx="195">
                  <c:v>Deutz</c:v>
                </c:pt>
                <c:pt idx="196">
                  <c:v>All Others</c:v>
                </c:pt>
                <c:pt idx="197">
                  <c:v>Vesselle</c:v>
                </c:pt>
                <c:pt idx="198">
                  <c:v>All Others</c:v>
                </c:pt>
                <c:pt idx="199">
                  <c:v>Veuve Clicq</c:v>
                </c:pt>
                <c:pt idx="200">
                  <c:v>Malard</c:v>
                </c:pt>
                <c:pt idx="201">
                  <c:v>Demoiselle</c:v>
                </c:pt>
                <c:pt idx="202">
                  <c:v>All Others</c:v>
                </c:pt>
                <c:pt idx="203">
                  <c:v>Perrier Jou</c:v>
                </c:pt>
                <c:pt idx="204">
                  <c:v>Nicolas</c:v>
                </c:pt>
                <c:pt idx="205">
                  <c:v>Deutz</c:v>
                </c:pt>
                <c:pt idx="206">
                  <c:v>Nicolas</c:v>
                </c:pt>
                <c:pt idx="207">
                  <c:v>Taittinger</c:v>
                </c:pt>
                <c:pt idx="208">
                  <c:v>Roederer</c:v>
                </c:pt>
                <c:pt idx="209">
                  <c:v>Moët &amp; Chan</c:v>
                </c:pt>
                <c:pt idx="210">
                  <c:v>Taittinger</c:v>
                </c:pt>
                <c:pt idx="211">
                  <c:v>Bollinger</c:v>
                </c:pt>
                <c:pt idx="212">
                  <c:v>Bollinger</c:v>
                </c:pt>
                <c:pt idx="213">
                  <c:v>Bouvet-Ladu</c:v>
                </c:pt>
                <c:pt idx="214">
                  <c:v>De Venoge</c:v>
                </c:pt>
                <c:pt idx="215">
                  <c:v>Pommery</c:v>
                </c:pt>
                <c:pt idx="216">
                  <c:v>Bottega</c:v>
                </c:pt>
                <c:pt idx="217">
                  <c:v>Veuve Clicq</c:v>
                </c:pt>
                <c:pt idx="218">
                  <c:v>De Venoge</c:v>
                </c:pt>
                <c:pt idx="219">
                  <c:v>Nicolas Feu</c:v>
                </c:pt>
                <c:pt idx="220">
                  <c:v>All Others</c:v>
                </c:pt>
                <c:pt idx="221">
                  <c:v>Roederer</c:v>
                </c:pt>
                <c:pt idx="222">
                  <c:v>Deutz</c:v>
                </c:pt>
                <c:pt idx="223">
                  <c:v>Moët &amp; Chan</c:v>
                </c:pt>
                <c:pt idx="224">
                  <c:v>All Others</c:v>
                </c:pt>
                <c:pt idx="225">
                  <c:v>Bouvet-Ladu</c:v>
                </c:pt>
                <c:pt idx="226">
                  <c:v>Vesselle</c:v>
                </c:pt>
                <c:pt idx="227">
                  <c:v>Dom Perigno</c:v>
                </c:pt>
                <c:pt idx="228">
                  <c:v>Louis Marti</c:v>
                </c:pt>
                <c:pt idx="229">
                  <c:v>All Others</c:v>
                </c:pt>
                <c:pt idx="230">
                  <c:v>Besserat De</c:v>
                </c:pt>
                <c:pt idx="231">
                  <c:v>Ayala</c:v>
                </c:pt>
                <c:pt idx="232">
                  <c:v>Piper Heids</c:v>
                </c:pt>
                <c:pt idx="233">
                  <c:v>Pommery</c:v>
                </c:pt>
                <c:pt idx="234">
                  <c:v>Roederer</c:v>
                </c:pt>
                <c:pt idx="235">
                  <c:v>Canard Duch</c:v>
                </c:pt>
                <c:pt idx="236">
                  <c:v>Perrier Jou</c:v>
                </c:pt>
                <c:pt idx="237">
                  <c:v>Henriot</c:v>
                </c:pt>
                <c:pt idx="238">
                  <c:v>All Others</c:v>
                </c:pt>
                <c:pt idx="239">
                  <c:v>De Venoge</c:v>
                </c:pt>
                <c:pt idx="240">
                  <c:v>Perrier Jou</c:v>
                </c:pt>
                <c:pt idx="241">
                  <c:v>All Others</c:v>
                </c:pt>
                <c:pt idx="242">
                  <c:v>Ruinart</c:v>
                </c:pt>
                <c:pt idx="243">
                  <c:v>Roederer</c:v>
                </c:pt>
                <c:pt idx="244">
                  <c:v>Krug</c:v>
                </c:pt>
                <c:pt idx="245">
                  <c:v>Demoiselle</c:v>
                </c:pt>
                <c:pt idx="246">
                  <c:v>All Others</c:v>
                </c:pt>
                <c:pt idx="247">
                  <c:v>Ruinart</c:v>
                </c:pt>
                <c:pt idx="248">
                  <c:v>Veuve Clicq</c:v>
                </c:pt>
                <c:pt idx="249">
                  <c:v>Ruinart</c:v>
                </c:pt>
                <c:pt idx="250">
                  <c:v>Bollinger</c:v>
                </c:pt>
                <c:pt idx="251">
                  <c:v>Celene</c:v>
                </c:pt>
                <c:pt idx="252">
                  <c:v>De Venoge</c:v>
                </c:pt>
                <c:pt idx="253">
                  <c:v>De Venoge</c:v>
                </c:pt>
                <c:pt idx="254">
                  <c:v>Roederer</c:v>
                </c:pt>
                <c:pt idx="255">
                  <c:v>Bollinger</c:v>
                </c:pt>
                <c:pt idx="256">
                  <c:v>All Others</c:v>
                </c:pt>
                <c:pt idx="257">
                  <c:v>Laurent Per</c:v>
                </c:pt>
                <c:pt idx="258">
                  <c:v>Taittinger</c:v>
                </c:pt>
                <c:pt idx="259">
                  <c:v>Celene</c:v>
                </c:pt>
                <c:pt idx="260">
                  <c:v>All Others</c:v>
                </c:pt>
                <c:pt idx="261">
                  <c:v>Pommery</c:v>
                </c:pt>
                <c:pt idx="262">
                  <c:v>Nicolas</c:v>
                </c:pt>
                <c:pt idx="263">
                  <c:v>All Others</c:v>
                </c:pt>
                <c:pt idx="264">
                  <c:v>All Others</c:v>
                </c:pt>
                <c:pt idx="265">
                  <c:v>Laurent Per</c:v>
                </c:pt>
                <c:pt idx="266">
                  <c:v>Bouvet-Ladu</c:v>
                </c:pt>
                <c:pt idx="267">
                  <c:v>Bollinger</c:v>
                </c:pt>
                <c:pt idx="268">
                  <c:v>Nicolas Feu</c:v>
                </c:pt>
                <c:pt idx="269">
                  <c:v>Roederer</c:v>
                </c:pt>
                <c:pt idx="270">
                  <c:v>De Venoge</c:v>
                </c:pt>
                <c:pt idx="271">
                  <c:v>Ruinart</c:v>
                </c:pt>
                <c:pt idx="272">
                  <c:v>All Others</c:v>
                </c:pt>
                <c:pt idx="273">
                  <c:v>All Others</c:v>
                </c:pt>
                <c:pt idx="274">
                  <c:v>Roederer</c:v>
                </c:pt>
                <c:pt idx="275">
                  <c:v>Canard Duch</c:v>
                </c:pt>
                <c:pt idx="276">
                  <c:v>Ruinart</c:v>
                </c:pt>
                <c:pt idx="277">
                  <c:v>Laurent Per</c:v>
                </c:pt>
                <c:pt idx="278">
                  <c:v>Moët &amp; Chan</c:v>
                </c:pt>
                <c:pt idx="279">
                  <c:v>Lanson</c:v>
                </c:pt>
                <c:pt idx="280">
                  <c:v>Henriot</c:v>
                </c:pt>
                <c:pt idx="281">
                  <c:v>All Others</c:v>
                </c:pt>
                <c:pt idx="282">
                  <c:v>Roederer</c:v>
                </c:pt>
                <c:pt idx="283">
                  <c:v>Demoiselle</c:v>
                </c:pt>
                <c:pt idx="284">
                  <c:v>De Bligny</c:v>
                </c:pt>
                <c:pt idx="285">
                  <c:v>All Others</c:v>
                </c:pt>
                <c:pt idx="286">
                  <c:v>Roederer</c:v>
                </c:pt>
                <c:pt idx="287">
                  <c:v>Laurent Per</c:v>
                </c:pt>
                <c:pt idx="288">
                  <c:v>Bollinger</c:v>
                </c:pt>
                <c:pt idx="289">
                  <c:v>Martel</c:v>
                </c:pt>
                <c:pt idx="290">
                  <c:v>Besserat De</c:v>
                </c:pt>
                <c:pt idx="291">
                  <c:v>Malard</c:v>
                </c:pt>
                <c:pt idx="292">
                  <c:v>Lanson</c:v>
                </c:pt>
                <c:pt idx="293">
                  <c:v>Besserat De</c:v>
                </c:pt>
                <c:pt idx="294">
                  <c:v>All Others</c:v>
                </c:pt>
                <c:pt idx="295">
                  <c:v>Vesselle</c:v>
                </c:pt>
                <c:pt idx="296">
                  <c:v>All Others</c:v>
                </c:pt>
                <c:pt idx="297">
                  <c:v>Roederer</c:v>
                </c:pt>
                <c:pt idx="298">
                  <c:v>Roederer</c:v>
                </c:pt>
                <c:pt idx="299">
                  <c:v>Jaillance</c:v>
                </c:pt>
                <c:pt idx="300">
                  <c:v>Vranken</c:v>
                </c:pt>
                <c:pt idx="301">
                  <c:v>Nicolas</c:v>
                </c:pt>
                <c:pt idx="302">
                  <c:v>Bouvet-Ladu</c:v>
                </c:pt>
                <c:pt idx="303">
                  <c:v>Piper Heids</c:v>
                </c:pt>
                <c:pt idx="304">
                  <c:v>Nicolas Feu</c:v>
                </c:pt>
                <c:pt idx="305">
                  <c:v>Laurent Per</c:v>
                </c:pt>
                <c:pt idx="306">
                  <c:v>Deutz</c:v>
                </c:pt>
                <c:pt idx="307">
                  <c:v>All Others</c:v>
                </c:pt>
                <c:pt idx="308">
                  <c:v>Roederer</c:v>
                </c:pt>
                <c:pt idx="309">
                  <c:v>Nicolas</c:v>
                </c:pt>
                <c:pt idx="310">
                  <c:v>All Others</c:v>
                </c:pt>
                <c:pt idx="311">
                  <c:v>Bollinger</c:v>
                </c:pt>
                <c:pt idx="312">
                  <c:v>Bouvet-Ladu</c:v>
                </c:pt>
                <c:pt idx="313">
                  <c:v>All Others</c:v>
                </c:pt>
                <c:pt idx="314">
                  <c:v>All Others</c:v>
                </c:pt>
                <c:pt idx="315">
                  <c:v>All Others</c:v>
                </c:pt>
                <c:pt idx="316">
                  <c:v>All Others</c:v>
                </c:pt>
                <c:pt idx="317">
                  <c:v>All Others</c:v>
                </c:pt>
                <c:pt idx="318">
                  <c:v>All Others</c:v>
                </c:pt>
              </c:strCache>
            </c:strRef>
          </c:cat>
          <c:val>
            <c:numRef>
              <c:f>Sheet1!$B$2:$B$320</c:f>
              <c:numCache>
                <c:formatCode>General</c:formatCode>
                <c:ptCount val="319"/>
                <c:pt idx="0">
                  <c:v>1</c:v>
                </c:pt>
                <c:pt idx="1">
                  <c:v>1</c:v>
                </c:pt>
                <c:pt idx="2">
                  <c:v>0.89</c:v>
                </c:pt>
                <c:pt idx="3">
                  <c:v>1</c:v>
                </c:pt>
                <c:pt idx="4">
                  <c:v>0.99</c:v>
                </c:pt>
                <c:pt idx="5">
                  <c:v>0.85</c:v>
                </c:pt>
                <c:pt idx="6">
                  <c:v>1</c:v>
                </c:pt>
                <c:pt idx="7">
                  <c:v>0.81</c:v>
                </c:pt>
                <c:pt idx="8">
                  <c:v>0.93</c:v>
                </c:pt>
                <c:pt idx="9">
                  <c:v>0.98</c:v>
                </c:pt>
                <c:pt idx="10">
                  <c:v>0.94</c:v>
                </c:pt>
                <c:pt idx="11">
                  <c:v>0.88</c:v>
                </c:pt>
                <c:pt idx="12">
                  <c:v>0.92</c:v>
                </c:pt>
                <c:pt idx="13">
                  <c:v>1</c:v>
                </c:pt>
                <c:pt idx="14">
                  <c:v>0.95</c:v>
                </c:pt>
                <c:pt idx="15">
                  <c:v>0.73</c:v>
                </c:pt>
                <c:pt idx="16">
                  <c:v>0.79</c:v>
                </c:pt>
                <c:pt idx="17">
                  <c:v>0.48</c:v>
                </c:pt>
                <c:pt idx="18">
                  <c:v>0.81</c:v>
                </c:pt>
                <c:pt idx="19">
                  <c:v>0.52</c:v>
                </c:pt>
                <c:pt idx="20">
                  <c:v>0.95</c:v>
                </c:pt>
                <c:pt idx="21">
                  <c:v>0.98</c:v>
                </c:pt>
                <c:pt idx="22">
                  <c:v>0.5</c:v>
                </c:pt>
                <c:pt idx="23">
                  <c:v>0.8</c:v>
                </c:pt>
                <c:pt idx="24">
                  <c:v>0.93</c:v>
                </c:pt>
                <c:pt idx="25">
                  <c:v>0.82</c:v>
                </c:pt>
                <c:pt idx="26">
                  <c:v>0.81</c:v>
                </c:pt>
                <c:pt idx="27">
                  <c:v>0.75</c:v>
                </c:pt>
                <c:pt idx="28">
                  <c:v>0.79</c:v>
                </c:pt>
                <c:pt idx="29">
                  <c:v>0.93</c:v>
                </c:pt>
                <c:pt idx="30">
                  <c:v>0.77</c:v>
                </c:pt>
                <c:pt idx="31">
                  <c:v>0.86</c:v>
                </c:pt>
                <c:pt idx="32">
                  <c:v>0.74</c:v>
                </c:pt>
                <c:pt idx="33">
                  <c:v>0.6</c:v>
                </c:pt>
                <c:pt idx="34">
                  <c:v>0.59</c:v>
                </c:pt>
                <c:pt idx="35">
                  <c:v>0.7</c:v>
                </c:pt>
                <c:pt idx="36">
                  <c:v>0.89</c:v>
                </c:pt>
                <c:pt idx="37">
                  <c:v>0.73</c:v>
                </c:pt>
                <c:pt idx="38">
                  <c:v>0.79</c:v>
                </c:pt>
                <c:pt idx="39">
                  <c:v>0.71</c:v>
                </c:pt>
                <c:pt idx="40">
                  <c:v>0.73</c:v>
                </c:pt>
                <c:pt idx="41">
                  <c:v>0.28000000000000003</c:v>
                </c:pt>
                <c:pt idx="42">
                  <c:v>0.63</c:v>
                </c:pt>
                <c:pt idx="43">
                  <c:v>0.76</c:v>
                </c:pt>
                <c:pt idx="44">
                  <c:v>0.86</c:v>
                </c:pt>
                <c:pt idx="45">
                  <c:v>0.71</c:v>
                </c:pt>
                <c:pt idx="46">
                  <c:v>0.59</c:v>
                </c:pt>
                <c:pt idx="47">
                  <c:v>0.48</c:v>
                </c:pt>
                <c:pt idx="48">
                  <c:v>0.6</c:v>
                </c:pt>
                <c:pt idx="49">
                  <c:v>0.89</c:v>
                </c:pt>
                <c:pt idx="50">
                  <c:v>0.68</c:v>
                </c:pt>
                <c:pt idx="51">
                  <c:v>0.45</c:v>
                </c:pt>
                <c:pt idx="52">
                  <c:v>0.56000000000000005</c:v>
                </c:pt>
                <c:pt idx="53">
                  <c:v>0.3</c:v>
                </c:pt>
                <c:pt idx="54">
                  <c:v>0.55000000000000004</c:v>
                </c:pt>
                <c:pt idx="55">
                  <c:v>0.59</c:v>
                </c:pt>
                <c:pt idx="56">
                  <c:v>0.56000000000000005</c:v>
                </c:pt>
                <c:pt idx="57">
                  <c:v>0.38</c:v>
                </c:pt>
                <c:pt idx="58">
                  <c:v>0.77</c:v>
                </c:pt>
                <c:pt idx="59">
                  <c:v>0.78</c:v>
                </c:pt>
                <c:pt idx="60">
                  <c:v>0.6</c:v>
                </c:pt>
                <c:pt idx="61">
                  <c:v>0.73</c:v>
                </c:pt>
                <c:pt idx="62">
                  <c:v>0.56999999999999995</c:v>
                </c:pt>
                <c:pt idx="63">
                  <c:v>0.56000000000000005</c:v>
                </c:pt>
                <c:pt idx="64">
                  <c:v>0.61</c:v>
                </c:pt>
                <c:pt idx="65">
                  <c:v>0.38</c:v>
                </c:pt>
                <c:pt idx="66">
                  <c:v>0.54</c:v>
                </c:pt>
                <c:pt idx="67">
                  <c:v>0.51</c:v>
                </c:pt>
                <c:pt idx="68">
                  <c:v>0.49</c:v>
                </c:pt>
                <c:pt idx="69">
                  <c:v>0.69</c:v>
                </c:pt>
                <c:pt idx="70">
                  <c:v>0.84</c:v>
                </c:pt>
                <c:pt idx="71">
                  <c:v>0.3</c:v>
                </c:pt>
                <c:pt idx="72">
                  <c:v>0.3</c:v>
                </c:pt>
                <c:pt idx="73">
                  <c:v>0.5</c:v>
                </c:pt>
                <c:pt idx="74">
                  <c:v>0.77</c:v>
                </c:pt>
                <c:pt idx="75">
                  <c:v>0.86</c:v>
                </c:pt>
                <c:pt idx="76">
                  <c:v>0.39</c:v>
                </c:pt>
                <c:pt idx="77">
                  <c:v>0.72</c:v>
                </c:pt>
                <c:pt idx="78">
                  <c:v>0.66</c:v>
                </c:pt>
                <c:pt idx="79">
                  <c:v>0.43</c:v>
                </c:pt>
                <c:pt idx="80">
                  <c:v>0.37</c:v>
                </c:pt>
                <c:pt idx="81">
                  <c:v>0.54</c:v>
                </c:pt>
                <c:pt idx="82">
                  <c:v>0.36</c:v>
                </c:pt>
                <c:pt idx="83">
                  <c:v>0.27</c:v>
                </c:pt>
                <c:pt idx="84">
                  <c:v>0.31</c:v>
                </c:pt>
                <c:pt idx="85">
                  <c:v>0.66</c:v>
                </c:pt>
                <c:pt idx="86">
                  <c:v>0.42</c:v>
                </c:pt>
                <c:pt idx="87">
                  <c:v>0.56999999999999995</c:v>
                </c:pt>
                <c:pt idx="88">
                  <c:v>0.63</c:v>
                </c:pt>
                <c:pt idx="89">
                  <c:v>0.42</c:v>
                </c:pt>
                <c:pt idx="90">
                  <c:v>0.24</c:v>
                </c:pt>
                <c:pt idx="91">
                  <c:v>0.31</c:v>
                </c:pt>
                <c:pt idx="92">
                  <c:v>0.32</c:v>
                </c:pt>
                <c:pt idx="93">
                  <c:v>0.23</c:v>
                </c:pt>
                <c:pt idx="94">
                  <c:v>0.37</c:v>
                </c:pt>
                <c:pt idx="95">
                  <c:v>0.28000000000000003</c:v>
                </c:pt>
                <c:pt idx="96">
                  <c:v>0.35</c:v>
                </c:pt>
                <c:pt idx="97">
                  <c:v>0.4</c:v>
                </c:pt>
                <c:pt idx="98">
                  <c:v>0.28000000000000003</c:v>
                </c:pt>
                <c:pt idx="99">
                  <c:v>0.23</c:v>
                </c:pt>
                <c:pt idx="100">
                  <c:v>0.56000000000000005</c:v>
                </c:pt>
                <c:pt idx="101">
                  <c:v>0.64</c:v>
                </c:pt>
                <c:pt idx="102">
                  <c:v>0.14000000000000001</c:v>
                </c:pt>
                <c:pt idx="103">
                  <c:v>0.2</c:v>
                </c:pt>
                <c:pt idx="104">
                  <c:v>0.28000000000000003</c:v>
                </c:pt>
                <c:pt idx="105">
                  <c:v>0.15</c:v>
                </c:pt>
                <c:pt idx="106">
                  <c:v>0.44</c:v>
                </c:pt>
                <c:pt idx="107">
                  <c:v>0.43</c:v>
                </c:pt>
                <c:pt idx="108">
                  <c:v>0.3</c:v>
                </c:pt>
                <c:pt idx="109">
                  <c:v>0.17</c:v>
                </c:pt>
                <c:pt idx="110">
                  <c:v>0.37</c:v>
                </c:pt>
                <c:pt idx="111">
                  <c:v>0.36</c:v>
                </c:pt>
                <c:pt idx="112">
                  <c:v>0.37</c:v>
                </c:pt>
                <c:pt idx="113">
                  <c:v>0.43</c:v>
                </c:pt>
                <c:pt idx="114">
                  <c:v>0.23</c:v>
                </c:pt>
                <c:pt idx="115">
                  <c:v>0.22</c:v>
                </c:pt>
                <c:pt idx="116">
                  <c:v>0.22</c:v>
                </c:pt>
                <c:pt idx="117">
                  <c:v>0.3</c:v>
                </c:pt>
                <c:pt idx="118">
                  <c:v>0.28000000000000003</c:v>
                </c:pt>
                <c:pt idx="119">
                  <c:v>0.31</c:v>
                </c:pt>
                <c:pt idx="120">
                  <c:v>0.24</c:v>
                </c:pt>
                <c:pt idx="121">
                  <c:v>0.41</c:v>
                </c:pt>
                <c:pt idx="122">
                  <c:v>0.2</c:v>
                </c:pt>
                <c:pt idx="123">
                  <c:v>0.28000000000000003</c:v>
                </c:pt>
                <c:pt idx="124">
                  <c:v>0.5</c:v>
                </c:pt>
                <c:pt idx="125">
                  <c:v>0.24</c:v>
                </c:pt>
                <c:pt idx="126">
                  <c:v>0.3</c:v>
                </c:pt>
                <c:pt idx="127">
                  <c:v>0.84</c:v>
                </c:pt>
                <c:pt idx="128">
                  <c:v>0.37</c:v>
                </c:pt>
                <c:pt idx="129">
                  <c:v>0.16</c:v>
                </c:pt>
                <c:pt idx="130">
                  <c:v>0.17</c:v>
                </c:pt>
                <c:pt idx="131">
                  <c:v>0.46</c:v>
                </c:pt>
                <c:pt idx="132">
                  <c:v>0.28000000000000003</c:v>
                </c:pt>
                <c:pt idx="133">
                  <c:v>0.16</c:v>
                </c:pt>
                <c:pt idx="134">
                  <c:v>0.44</c:v>
                </c:pt>
                <c:pt idx="135">
                  <c:v>0.36</c:v>
                </c:pt>
                <c:pt idx="136">
                  <c:v>0.23</c:v>
                </c:pt>
                <c:pt idx="137">
                  <c:v>0.21</c:v>
                </c:pt>
                <c:pt idx="138">
                  <c:v>0.21</c:v>
                </c:pt>
                <c:pt idx="139">
                  <c:v>0.19</c:v>
                </c:pt>
                <c:pt idx="140">
                  <c:v>0.26</c:v>
                </c:pt>
                <c:pt idx="141">
                  <c:v>0.15</c:v>
                </c:pt>
                <c:pt idx="142">
                  <c:v>0.44</c:v>
                </c:pt>
                <c:pt idx="143">
                  <c:v>0.06</c:v>
                </c:pt>
                <c:pt idx="144">
                  <c:v>0.22</c:v>
                </c:pt>
                <c:pt idx="145">
                  <c:v>0.19</c:v>
                </c:pt>
                <c:pt idx="146">
                  <c:v>0.25</c:v>
                </c:pt>
                <c:pt idx="147">
                  <c:v>0.25</c:v>
                </c:pt>
                <c:pt idx="148">
                  <c:v>0.47</c:v>
                </c:pt>
                <c:pt idx="149">
                  <c:v>0.41</c:v>
                </c:pt>
                <c:pt idx="150">
                  <c:v>0.37</c:v>
                </c:pt>
                <c:pt idx="151">
                  <c:v>0.35</c:v>
                </c:pt>
                <c:pt idx="152">
                  <c:v>0.17</c:v>
                </c:pt>
                <c:pt idx="153">
                  <c:v>0.31</c:v>
                </c:pt>
                <c:pt idx="154">
                  <c:v>0.25</c:v>
                </c:pt>
                <c:pt idx="155">
                  <c:v>0.28000000000000003</c:v>
                </c:pt>
                <c:pt idx="156">
                  <c:v>0.2</c:v>
                </c:pt>
                <c:pt idx="157">
                  <c:v>0.49</c:v>
                </c:pt>
                <c:pt idx="158">
                  <c:v>0.17</c:v>
                </c:pt>
                <c:pt idx="159">
                  <c:v>0.3</c:v>
                </c:pt>
                <c:pt idx="160">
                  <c:v>0.06</c:v>
                </c:pt>
                <c:pt idx="161">
                  <c:v>0.32</c:v>
                </c:pt>
                <c:pt idx="162">
                  <c:v>0.2</c:v>
                </c:pt>
                <c:pt idx="163">
                  <c:v>0.23</c:v>
                </c:pt>
                <c:pt idx="164">
                  <c:v>0.28000000000000003</c:v>
                </c:pt>
                <c:pt idx="165">
                  <c:v>0.14000000000000001</c:v>
                </c:pt>
                <c:pt idx="166">
                  <c:v>7.0000000000000007E-2</c:v>
                </c:pt>
                <c:pt idx="167">
                  <c:v>0.31</c:v>
                </c:pt>
                <c:pt idx="168">
                  <c:v>0.17</c:v>
                </c:pt>
                <c:pt idx="169">
                  <c:v>0.15</c:v>
                </c:pt>
                <c:pt idx="170">
                  <c:v>0.21</c:v>
                </c:pt>
                <c:pt idx="171">
                  <c:v>0.19</c:v>
                </c:pt>
                <c:pt idx="172">
                  <c:v>0.08</c:v>
                </c:pt>
                <c:pt idx="173">
                  <c:v>0.14000000000000001</c:v>
                </c:pt>
                <c:pt idx="174">
                  <c:v>0.14000000000000001</c:v>
                </c:pt>
                <c:pt idx="175">
                  <c:v>0.33</c:v>
                </c:pt>
                <c:pt idx="176">
                  <c:v>0.23</c:v>
                </c:pt>
                <c:pt idx="177">
                  <c:v>0.22</c:v>
                </c:pt>
                <c:pt idx="178">
                  <c:v>0.23</c:v>
                </c:pt>
                <c:pt idx="179">
                  <c:v>0.16</c:v>
                </c:pt>
                <c:pt idx="180">
                  <c:v>0.23</c:v>
                </c:pt>
                <c:pt idx="181">
                  <c:v>0.21</c:v>
                </c:pt>
                <c:pt idx="182">
                  <c:v>0.18</c:v>
                </c:pt>
                <c:pt idx="183">
                  <c:v>0.19</c:v>
                </c:pt>
                <c:pt idx="184">
                  <c:v>0.2</c:v>
                </c:pt>
                <c:pt idx="185">
                  <c:v>0.2</c:v>
                </c:pt>
                <c:pt idx="186">
                  <c:v>0.18</c:v>
                </c:pt>
                <c:pt idx="187">
                  <c:v>0.12</c:v>
                </c:pt>
                <c:pt idx="188">
                  <c:v>0.08</c:v>
                </c:pt>
                <c:pt idx="189">
                  <c:v>0.17</c:v>
                </c:pt>
                <c:pt idx="190">
                  <c:v>0.09</c:v>
                </c:pt>
                <c:pt idx="191">
                  <c:v>0.15</c:v>
                </c:pt>
                <c:pt idx="192">
                  <c:v>0.09</c:v>
                </c:pt>
                <c:pt idx="193">
                  <c:v>0.05</c:v>
                </c:pt>
                <c:pt idx="194">
                  <c:v>0.15</c:v>
                </c:pt>
                <c:pt idx="195">
                  <c:v>0.08</c:v>
                </c:pt>
                <c:pt idx="196">
                  <c:v>0.11</c:v>
                </c:pt>
                <c:pt idx="197">
                  <c:v>0.27</c:v>
                </c:pt>
                <c:pt idx="198">
                  <c:v>0.08</c:v>
                </c:pt>
                <c:pt idx="199">
                  <c:v>0.13</c:v>
                </c:pt>
                <c:pt idx="200">
                  <c:v>0.13</c:v>
                </c:pt>
                <c:pt idx="201">
                  <c:v>0.16</c:v>
                </c:pt>
                <c:pt idx="202">
                  <c:v>0.08</c:v>
                </c:pt>
                <c:pt idx="203">
                  <c:v>0.14000000000000001</c:v>
                </c:pt>
                <c:pt idx="204">
                  <c:v>0.14000000000000001</c:v>
                </c:pt>
                <c:pt idx="205">
                  <c:v>0.14000000000000001</c:v>
                </c:pt>
                <c:pt idx="206">
                  <c:v>0.08</c:v>
                </c:pt>
                <c:pt idx="207">
                  <c:v>0.1</c:v>
                </c:pt>
                <c:pt idx="208">
                  <c:v>0.14000000000000001</c:v>
                </c:pt>
                <c:pt idx="209">
                  <c:v>0.16</c:v>
                </c:pt>
                <c:pt idx="210">
                  <c:v>0.05</c:v>
                </c:pt>
                <c:pt idx="211">
                  <c:v>0.03</c:v>
                </c:pt>
                <c:pt idx="212">
                  <c:v>0.06</c:v>
                </c:pt>
                <c:pt idx="213">
                  <c:v>0.12</c:v>
                </c:pt>
                <c:pt idx="214">
                  <c:v>0.09</c:v>
                </c:pt>
                <c:pt idx="215">
                  <c:v>0.13</c:v>
                </c:pt>
                <c:pt idx="216">
                  <c:v>0.18</c:v>
                </c:pt>
                <c:pt idx="217">
                  <c:v>0.2</c:v>
                </c:pt>
                <c:pt idx="218">
                  <c:v>7.0000000000000007E-2</c:v>
                </c:pt>
                <c:pt idx="219">
                  <c:v>0.1</c:v>
                </c:pt>
                <c:pt idx="220">
                  <c:v>0.03</c:v>
                </c:pt>
                <c:pt idx="221">
                  <c:v>0.04</c:v>
                </c:pt>
                <c:pt idx="222">
                  <c:v>0.09</c:v>
                </c:pt>
                <c:pt idx="223">
                  <c:v>0.22</c:v>
                </c:pt>
                <c:pt idx="224">
                  <c:v>0.06</c:v>
                </c:pt>
                <c:pt idx="225">
                  <c:v>0.09</c:v>
                </c:pt>
                <c:pt idx="226">
                  <c:v>0.14000000000000001</c:v>
                </c:pt>
                <c:pt idx="227">
                  <c:v>7.0000000000000007E-2</c:v>
                </c:pt>
                <c:pt idx="228">
                  <c:v>0.13</c:v>
                </c:pt>
                <c:pt idx="229">
                  <c:v>0.17</c:v>
                </c:pt>
                <c:pt idx="230">
                  <c:v>7.0000000000000007E-2</c:v>
                </c:pt>
                <c:pt idx="231">
                  <c:v>7.0000000000000007E-2</c:v>
                </c:pt>
                <c:pt idx="232">
                  <c:v>0.06</c:v>
                </c:pt>
                <c:pt idx="233">
                  <c:v>0.06</c:v>
                </c:pt>
                <c:pt idx="234">
                  <c:v>0.04</c:v>
                </c:pt>
                <c:pt idx="235">
                  <c:v>0.16</c:v>
                </c:pt>
                <c:pt idx="236">
                  <c:v>0.13</c:v>
                </c:pt>
                <c:pt idx="237">
                  <c:v>0.05</c:v>
                </c:pt>
                <c:pt idx="238">
                  <c:v>0.17</c:v>
                </c:pt>
                <c:pt idx="239">
                  <c:v>0.03</c:v>
                </c:pt>
                <c:pt idx="240">
                  <c:v>0.02</c:v>
                </c:pt>
                <c:pt idx="241">
                  <c:v>0.03</c:v>
                </c:pt>
                <c:pt idx="242">
                  <c:v>0.02</c:v>
                </c:pt>
                <c:pt idx="243">
                  <c:v>0.08</c:v>
                </c:pt>
                <c:pt idx="244">
                  <c:v>0.16</c:v>
                </c:pt>
                <c:pt idx="245">
                  <c:v>0.15</c:v>
                </c:pt>
                <c:pt idx="246">
                  <c:v>0.14000000000000001</c:v>
                </c:pt>
                <c:pt idx="247">
                  <c:v>0.01</c:v>
                </c:pt>
                <c:pt idx="248">
                  <c:v>0.17</c:v>
                </c:pt>
                <c:pt idx="249">
                  <c:v>0.02</c:v>
                </c:pt>
                <c:pt idx="250">
                  <c:v>0.17</c:v>
                </c:pt>
                <c:pt idx="251">
                  <c:v>7.0000000000000007E-2</c:v>
                </c:pt>
                <c:pt idx="252">
                  <c:v>0.04</c:v>
                </c:pt>
                <c:pt idx="253">
                  <c:v>7.0000000000000007E-2</c:v>
                </c:pt>
                <c:pt idx="254">
                  <c:v>0.02</c:v>
                </c:pt>
                <c:pt idx="255">
                  <c:v>0.04</c:v>
                </c:pt>
                <c:pt idx="256">
                  <c:v>0.17</c:v>
                </c:pt>
                <c:pt idx="257">
                  <c:v>7.0000000000000007E-2</c:v>
                </c:pt>
                <c:pt idx="258">
                  <c:v>0.14000000000000001</c:v>
                </c:pt>
                <c:pt idx="259">
                  <c:v>0.12</c:v>
                </c:pt>
                <c:pt idx="260">
                  <c:v>0.08</c:v>
                </c:pt>
                <c:pt idx="261">
                  <c:v>0.05</c:v>
                </c:pt>
                <c:pt idx="262">
                  <c:v>0.04</c:v>
                </c:pt>
                <c:pt idx="263">
                  <c:v>0.03</c:v>
                </c:pt>
                <c:pt idx="264">
                  <c:v>0.15</c:v>
                </c:pt>
                <c:pt idx="265">
                  <c:v>0.02</c:v>
                </c:pt>
                <c:pt idx="266">
                  <c:v>0.06</c:v>
                </c:pt>
                <c:pt idx="267">
                  <c:v>0.05</c:v>
                </c:pt>
                <c:pt idx="268">
                  <c:v>0.08</c:v>
                </c:pt>
                <c:pt idx="269">
                  <c:v>0.04</c:v>
                </c:pt>
                <c:pt idx="270">
                  <c:v>0.03</c:v>
                </c:pt>
                <c:pt idx="271">
                  <c:v>0.03</c:v>
                </c:pt>
                <c:pt idx="272">
                  <c:v>0.08</c:v>
                </c:pt>
                <c:pt idx="273">
                  <c:v>0.2</c:v>
                </c:pt>
                <c:pt idx="274">
                  <c:v>0.02</c:v>
                </c:pt>
                <c:pt idx="275">
                  <c:v>0.04</c:v>
                </c:pt>
                <c:pt idx="276">
                  <c:v>0.01</c:v>
                </c:pt>
                <c:pt idx="277">
                  <c:v>0.03</c:v>
                </c:pt>
                <c:pt idx="278">
                  <c:v>0.03</c:v>
                </c:pt>
                <c:pt idx="279">
                  <c:v>0.03</c:v>
                </c:pt>
                <c:pt idx="280">
                  <c:v>0.06</c:v>
                </c:pt>
                <c:pt idx="281">
                  <c:v>0.17</c:v>
                </c:pt>
                <c:pt idx="282">
                  <c:v>0.03</c:v>
                </c:pt>
                <c:pt idx="283">
                  <c:v>0.05</c:v>
                </c:pt>
                <c:pt idx="284">
                  <c:v>0.02</c:v>
                </c:pt>
                <c:pt idx="285">
                  <c:v>0.02</c:v>
                </c:pt>
                <c:pt idx="286">
                  <c:v>0.01</c:v>
                </c:pt>
                <c:pt idx="287">
                  <c:v>0.02</c:v>
                </c:pt>
                <c:pt idx="288">
                  <c:v>0.05</c:v>
                </c:pt>
                <c:pt idx="289">
                  <c:v>0.06</c:v>
                </c:pt>
                <c:pt idx="290">
                  <c:v>0.03</c:v>
                </c:pt>
                <c:pt idx="291">
                  <c:v>0.03</c:v>
                </c:pt>
                <c:pt idx="292">
                  <c:v>0.01</c:v>
                </c:pt>
                <c:pt idx="293">
                  <c:v>7.0000000000000007E-2</c:v>
                </c:pt>
                <c:pt idx="294">
                  <c:v>0.08</c:v>
                </c:pt>
                <c:pt idx="295">
                  <c:v>0.17</c:v>
                </c:pt>
                <c:pt idx="296">
                  <c:v>0.19</c:v>
                </c:pt>
                <c:pt idx="297">
                  <c:v>0.02</c:v>
                </c:pt>
                <c:pt idx="298">
                  <c:v>0.02</c:v>
                </c:pt>
                <c:pt idx="299">
                  <c:v>7.0000000000000007E-2</c:v>
                </c:pt>
                <c:pt idx="300">
                  <c:v>0.08</c:v>
                </c:pt>
                <c:pt idx="301">
                  <c:v>0.03</c:v>
                </c:pt>
                <c:pt idx="302">
                  <c:v>0.06</c:v>
                </c:pt>
                <c:pt idx="303">
                  <c:v>0.03</c:v>
                </c:pt>
                <c:pt idx="304">
                  <c:v>0.01</c:v>
                </c:pt>
                <c:pt idx="305">
                  <c:v>0.01</c:v>
                </c:pt>
                <c:pt idx="306">
                  <c:v>0.08</c:v>
                </c:pt>
                <c:pt idx="307">
                  <c:v>0.04</c:v>
                </c:pt>
                <c:pt idx="308">
                  <c:v>0.01</c:v>
                </c:pt>
                <c:pt idx="309">
                  <c:v>0.02</c:v>
                </c:pt>
                <c:pt idx="310">
                  <c:v>0.02</c:v>
                </c:pt>
                <c:pt idx="311">
                  <c:v>0.05</c:v>
                </c:pt>
                <c:pt idx="312">
                  <c:v>0.01</c:v>
                </c:pt>
                <c:pt idx="313">
                  <c:v>0.01</c:v>
                </c:pt>
                <c:pt idx="314">
                  <c:v>0.02</c:v>
                </c:pt>
                <c:pt idx="315">
                  <c:v>0.01</c:v>
                </c:pt>
                <c:pt idx="316">
                  <c:v>0.01</c:v>
                </c:pt>
                <c:pt idx="317">
                  <c:v>0.01</c:v>
                </c:pt>
                <c:pt idx="318">
                  <c:v>0.05</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7ECAC4"/>
              </a:solidFill>
            </c:spPr>
            <c:extLst>
              <c:ext xmlns:c16="http://schemas.microsoft.com/office/drawing/2014/chart" uri="{C3380CC4-5D6E-409C-BE32-E72D297353CC}">
                <c16:uniqueId val="{0000009D-2993-41DE-A2CB-63102DE87051}"/>
              </c:ext>
            </c:extLst>
          </c:dPt>
          <c:dPt>
            <c:idx val="51"/>
            <c:invertIfNegative val="1"/>
            <c:bubble3D val="0"/>
            <c:spPr>
              <a:solidFill>
                <a:srgbClr val="7ECAC4"/>
              </a:solidFill>
            </c:spPr>
            <c:extLst>
              <c:ext xmlns:c16="http://schemas.microsoft.com/office/drawing/2014/chart" uri="{C3380CC4-5D6E-409C-BE32-E72D297353CC}">
                <c16:uniqueId val="{0000009F-2993-41DE-A2CB-63102DE87051}"/>
              </c:ext>
            </c:extLst>
          </c:dPt>
          <c:dPt>
            <c:idx val="52"/>
            <c:invertIfNegative val="1"/>
            <c:bubble3D val="0"/>
            <c:spPr>
              <a:solidFill>
                <a:srgbClr val="7ECAC4"/>
              </a:solidFill>
            </c:spPr>
            <c:extLst>
              <c:ext xmlns:c16="http://schemas.microsoft.com/office/drawing/2014/chart" uri="{C3380CC4-5D6E-409C-BE32-E72D297353CC}">
                <c16:uniqueId val="{000000A1-2993-41DE-A2CB-63102DE87051}"/>
              </c:ext>
            </c:extLst>
          </c:dPt>
          <c:dPt>
            <c:idx val="53"/>
            <c:invertIfNegative val="1"/>
            <c:bubble3D val="0"/>
            <c:spPr>
              <a:solidFill>
                <a:srgbClr val="7ECAC4"/>
              </a:solidFill>
            </c:spPr>
            <c:extLst>
              <c:ext xmlns:c16="http://schemas.microsoft.com/office/drawing/2014/chart" uri="{C3380CC4-5D6E-409C-BE32-E72D297353CC}">
                <c16:uniqueId val="{000000A3-2993-41DE-A2CB-63102DE87051}"/>
              </c:ext>
            </c:extLst>
          </c:dPt>
          <c:dPt>
            <c:idx val="54"/>
            <c:invertIfNegative val="0"/>
            <c:bubble3D val="0"/>
            <c:spPr>
              <a:solidFill>
                <a:srgbClr val="7ECAC4"/>
              </a:solidFill>
            </c:spPr>
            <c:extLst>
              <c:ext xmlns:c16="http://schemas.microsoft.com/office/drawing/2014/chart" uri="{C3380CC4-5D6E-409C-BE32-E72D297353CC}">
                <c16:uniqueId val="{00000072-C76F-4230-900D-40618C09729F}"/>
              </c:ext>
            </c:extLst>
          </c:dPt>
          <c:dPt>
            <c:idx val="55"/>
            <c:invertIfNegative val="0"/>
            <c:bubble3D val="0"/>
            <c:spPr>
              <a:solidFill>
                <a:srgbClr val="7ECAC4"/>
              </a:solidFill>
            </c:spPr>
            <c:extLst>
              <c:ext xmlns:c16="http://schemas.microsoft.com/office/drawing/2014/chart" uri="{C3380CC4-5D6E-409C-BE32-E72D297353CC}">
                <c16:uniqueId val="{00000074-C76F-4230-900D-40618C09729F}"/>
              </c:ext>
            </c:extLst>
          </c:dPt>
          <c:dPt>
            <c:idx val="56"/>
            <c:invertIfNegative val="0"/>
            <c:bubble3D val="0"/>
            <c:spPr>
              <a:solidFill>
                <a:srgbClr val="7ECAC4"/>
              </a:solidFill>
            </c:spPr>
            <c:extLst>
              <c:ext xmlns:c16="http://schemas.microsoft.com/office/drawing/2014/chart" uri="{C3380CC4-5D6E-409C-BE32-E72D297353CC}">
                <c16:uniqueId val="{00000076-C76F-4230-900D-40618C09729F}"/>
              </c:ext>
            </c:extLst>
          </c:dPt>
          <c:dPt>
            <c:idx val="57"/>
            <c:invertIfNegative val="0"/>
            <c:bubble3D val="0"/>
            <c:spPr>
              <a:solidFill>
                <a:srgbClr val="7ECAC4"/>
              </a:solidFill>
            </c:spPr>
            <c:extLst>
              <c:ext xmlns:c16="http://schemas.microsoft.com/office/drawing/2014/chart" uri="{C3380CC4-5D6E-409C-BE32-E72D297353CC}">
                <c16:uniqueId val="{00000078-C76F-4230-900D-40618C09729F}"/>
              </c:ext>
            </c:extLst>
          </c:dPt>
          <c:dPt>
            <c:idx val="58"/>
            <c:invertIfNegative val="0"/>
            <c:bubble3D val="0"/>
            <c:spPr>
              <a:solidFill>
                <a:srgbClr val="7ECAC4"/>
              </a:solidFill>
            </c:spPr>
            <c:extLst>
              <c:ext xmlns:c16="http://schemas.microsoft.com/office/drawing/2014/chart" uri="{C3380CC4-5D6E-409C-BE32-E72D297353CC}">
                <c16:uniqueId val="{0000007A-C76F-4230-900D-40618C09729F}"/>
              </c:ext>
            </c:extLst>
          </c:dPt>
          <c:dPt>
            <c:idx val="59"/>
            <c:invertIfNegative val="0"/>
            <c:bubble3D val="0"/>
            <c:spPr>
              <a:solidFill>
                <a:srgbClr val="7ECAC4"/>
              </a:solidFill>
            </c:spPr>
            <c:extLst>
              <c:ext xmlns:c16="http://schemas.microsoft.com/office/drawing/2014/chart" uri="{C3380CC4-5D6E-409C-BE32-E72D297353CC}">
                <c16:uniqueId val="{0000007C-C76F-4230-900D-40618C09729F}"/>
              </c:ext>
            </c:extLst>
          </c:dPt>
          <c:dPt>
            <c:idx val="60"/>
            <c:invertIfNegative val="0"/>
            <c:bubble3D val="0"/>
            <c:spPr>
              <a:solidFill>
                <a:srgbClr val="7ECAC4"/>
              </a:solidFill>
            </c:spPr>
            <c:extLst>
              <c:ext xmlns:c16="http://schemas.microsoft.com/office/drawing/2014/chart" uri="{C3380CC4-5D6E-409C-BE32-E72D297353CC}">
                <c16:uniqueId val="{0000007E-C76F-4230-900D-40618C09729F}"/>
              </c:ext>
            </c:extLst>
          </c:dPt>
          <c:dPt>
            <c:idx val="61"/>
            <c:invertIfNegative val="0"/>
            <c:bubble3D val="0"/>
            <c:spPr>
              <a:solidFill>
                <a:srgbClr val="7ECAC4"/>
              </a:solidFill>
            </c:spPr>
            <c:extLst>
              <c:ext xmlns:c16="http://schemas.microsoft.com/office/drawing/2014/chart" uri="{C3380CC4-5D6E-409C-BE32-E72D297353CC}">
                <c16:uniqueId val="{00000080-C76F-4230-900D-40618C09729F}"/>
              </c:ext>
            </c:extLst>
          </c:dPt>
          <c:dPt>
            <c:idx val="62"/>
            <c:invertIfNegative val="0"/>
            <c:bubble3D val="0"/>
            <c:spPr>
              <a:solidFill>
                <a:srgbClr val="7ECAC4"/>
              </a:solidFill>
            </c:spPr>
            <c:extLst>
              <c:ext xmlns:c16="http://schemas.microsoft.com/office/drawing/2014/chart" uri="{C3380CC4-5D6E-409C-BE32-E72D297353CC}">
                <c16:uniqueId val="{00000082-C76F-4230-900D-40618C09729F}"/>
              </c:ext>
            </c:extLst>
          </c:dPt>
          <c:dPt>
            <c:idx val="63"/>
            <c:invertIfNegative val="0"/>
            <c:bubble3D val="0"/>
            <c:spPr>
              <a:solidFill>
                <a:srgbClr val="7ECAC4"/>
              </a:solidFill>
            </c:spPr>
            <c:extLst>
              <c:ext xmlns:c16="http://schemas.microsoft.com/office/drawing/2014/chart" uri="{C3380CC4-5D6E-409C-BE32-E72D297353CC}">
                <c16:uniqueId val="{00000084-C76F-4230-900D-40618C09729F}"/>
              </c:ext>
            </c:extLst>
          </c:dPt>
          <c:dPt>
            <c:idx val="64"/>
            <c:invertIfNegative val="0"/>
            <c:bubble3D val="0"/>
            <c:spPr>
              <a:solidFill>
                <a:srgbClr val="7ECAC4"/>
              </a:solidFill>
            </c:spPr>
            <c:extLst>
              <c:ext xmlns:c16="http://schemas.microsoft.com/office/drawing/2014/chart" uri="{C3380CC4-5D6E-409C-BE32-E72D297353CC}">
                <c16:uniqueId val="{00000086-C76F-4230-900D-40618C09729F}"/>
              </c:ext>
            </c:extLst>
          </c:dPt>
          <c:dPt>
            <c:idx val="65"/>
            <c:invertIfNegative val="0"/>
            <c:bubble3D val="0"/>
            <c:spPr>
              <a:solidFill>
                <a:srgbClr val="7ECAC4"/>
              </a:solidFill>
            </c:spPr>
            <c:extLst>
              <c:ext xmlns:c16="http://schemas.microsoft.com/office/drawing/2014/chart" uri="{C3380CC4-5D6E-409C-BE32-E72D297353CC}">
                <c16:uniqueId val="{00000088-C76F-4230-900D-40618C09729F}"/>
              </c:ext>
            </c:extLst>
          </c:dPt>
          <c:dPt>
            <c:idx val="66"/>
            <c:invertIfNegative val="0"/>
            <c:bubble3D val="0"/>
            <c:spPr>
              <a:solidFill>
                <a:srgbClr val="7ECAC4"/>
              </a:solidFill>
            </c:spPr>
            <c:extLst>
              <c:ext xmlns:c16="http://schemas.microsoft.com/office/drawing/2014/chart" uri="{C3380CC4-5D6E-409C-BE32-E72D297353CC}">
                <c16:uniqueId val="{0000008A-C76F-4230-900D-40618C09729F}"/>
              </c:ext>
            </c:extLst>
          </c:dPt>
          <c:dPt>
            <c:idx val="67"/>
            <c:invertIfNegative val="0"/>
            <c:bubble3D val="0"/>
            <c:spPr>
              <a:solidFill>
                <a:srgbClr val="7ECAC4"/>
              </a:solidFill>
            </c:spPr>
            <c:extLst>
              <c:ext xmlns:c16="http://schemas.microsoft.com/office/drawing/2014/chart" uri="{C3380CC4-5D6E-409C-BE32-E72D297353CC}">
                <c16:uniqueId val="{0000008C-C76F-4230-900D-40618C09729F}"/>
              </c:ext>
            </c:extLst>
          </c:dPt>
          <c:dPt>
            <c:idx val="68"/>
            <c:invertIfNegative val="0"/>
            <c:bubble3D val="0"/>
            <c:spPr>
              <a:solidFill>
                <a:srgbClr val="7ECAC4"/>
              </a:solidFill>
            </c:spPr>
            <c:extLst>
              <c:ext xmlns:c16="http://schemas.microsoft.com/office/drawing/2014/chart" uri="{C3380CC4-5D6E-409C-BE32-E72D297353CC}">
                <c16:uniqueId val="{0000008E-C76F-4230-900D-40618C09729F}"/>
              </c:ext>
            </c:extLst>
          </c:dPt>
          <c:dPt>
            <c:idx val="69"/>
            <c:invertIfNegative val="0"/>
            <c:bubble3D val="0"/>
            <c:spPr>
              <a:solidFill>
                <a:srgbClr val="7ECAC4"/>
              </a:solidFill>
            </c:spPr>
            <c:extLst>
              <c:ext xmlns:c16="http://schemas.microsoft.com/office/drawing/2014/chart" uri="{C3380CC4-5D6E-409C-BE32-E72D297353CC}">
                <c16:uniqueId val="{00000090-C76F-4230-900D-40618C09729F}"/>
              </c:ext>
            </c:extLst>
          </c:dPt>
          <c:dPt>
            <c:idx val="70"/>
            <c:invertIfNegative val="0"/>
            <c:bubble3D val="0"/>
            <c:spPr>
              <a:solidFill>
                <a:srgbClr val="7ECAC4"/>
              </a:solidFill>
            </c:spPr>
            <c:extLst>
              <c:ext xmlns:c16="http://schemas.microsoft.com/office/drawing/2014/chart" uri="{C3380CC4-5D6E-409C-BE32-E72D297353CC}">
                <c16:uniqueId val="{00000092-C76F-4230-900D-40618C09729F}"/>
              </c:ext>
            </c:extLst>
          </c:dPt>
          <c:dPt>
            <c:idx val="71"/>
            <c:invertIfNegative val="0"/>
            <c:bubble3D val="0"/>
            <c:spPr>
              <a:solidFill>
                <a:srgbClr val="7ECAC4"/>
              </a:solidFill>
            </c:spPr>
            <c:extLst>
              <c:ext xmlns:c16="http://schemas.microsoft.com/office/drawing/2014/chart" uri="{C3380CC4-5D6E-409C-BE32-E72D297353CC}">
                <c16:uniqueId val="{00000094-C76F-4230-900D-40618C09729F}"/>
              </c:ext>
            </c:extLst>
          </c:dPt>
          <c:dPt>
            <c:idx val="72"/>
            <c:invertIfNegative val="0"/>
            <c:bubble3D val="0"/>
            <c:spPr>
              <a:solidFill>
                <a:srgbClr val="7ECAC4"/>
              </a:solidFill>
            </c:spPr>
            <c:extLst>
              <c:ext xmlns:c16="http://schemas.microsoft.com/office/drawing/2014/chart" uri="{C3380CC4-5D6E-409C-BE32-E72D297353CC}">
                <c16:uniqueId val="{00000096-C76F-4230-900D-40618C09729F}"/>
              </c:ext>
            </c:extLst>
          </c:dPt>
          <c:dPt>
            <c:idx val="73"/>
            <c:invertIfNegative val="0"/>
            <c:bubble3D val="0"/>
            <c:spPr>
              <a:solidFill>
                <a:srgbClr val="7ECAC4"/>
              </a:solidFill>
            </c:spPr>
            <c:extLst>
              <c:ext xmlns:c16="http://schemas.microsoft.com/office/drawing/2014/chart" uri="{C3380CC4-5D6E-409C-BE32-E72D297353CC}">
                <c16:uniqueId val="{00000098-C76F-4230-900D-40618C09729F}"/>
              </c:ext>
            </c:extLst>
          </c:dPt>
          <c:dPt>
            <c:idx val="74"/>
            <c:invertIfNegative val="0"/>
            <c:bubble3D val="0"/>
            <c:spPr>
              <a:solidFill>
                <a:srgbClr val="7ECAC4"/>
              </a:solidFill>
            </c:spPr>
            <c:extLst>
              <c:ext xmlns:c16="http://schemas.microsoft.com/office/drawing/2014/chart" uri="{C3380CC4-5D6E-409C-BE32-E72D297353CC}">
                <c16:uniqueId val="{0000009A-C76F-4230-900D-40618C09729F}"/>
              </c:ext>
            </c:extLst>
          </c:dPt>
          <c:dPt>
            <c:idx val="75"/>
            <c:invertIfNegative val="0"/>
            <c:bubble3D val="0"/>
            <c:spPr>
              <a:solidFill>
                <a:srgbClr val="7ECAC4"/>
              </a:solidFill>
            </c:spPr>
            <c:extLst>
              <c:ext xmlns:c16="http://schemas.microsoft.com/office/drawing/2014/chart" uri="{C3380CC4-5D6E-409C-BE32-E72D297353CC}">
                <c16:uniqueId val="{0000009C-C76F-4230-900D-40618C09729F}"/>
              </c:ext>
            </c:extLst>
          </c:dPt>
          <c:dPt>
            <c:idx val="76"/>
            <c:invertIfNegative val="0"/>
            <c:bubble3D val="0"/>
            <c:spPr>
              <a:solidFill>
                <a:srgbClr val="7ECAC4"/>
              </a:solidFill>
            </c:spPr>
            <c:extLst>
              <c:ext xmlns:c16="http://schemas.microsoft.com/office/drawing/2014/chart" uri="{C3380CC4-5D6E-409C-BE32-E72D297353CC}">
                <c16:uniqueId val="{0000009E-C76F-4230-900D-40618C09729F}"/>
              </c:ext>
            </c:extLst>
          </c:dPt>
          <c:dPt>
            <c:idx val="77"/>
            <c:invertIfNegative val="0"/>
            <c:bubble3D val="0"/>
            <c:spPr>
              <a:solidFill>
                <a:srgbClr val="7ECAC4"/>
              </a:solidFill>
            </c:spPr>
            <c:extLst>
              <c:ext xmlns:c16="http://schemas.microsoft.com/office/drawing/2014/chart" uri="{C3380CC4-5D6E-409C-BE32-E72D297353CC}">
                <c16:uniqueId val="{000000A0-C76F-4230-900D-40618C09729F}"/>
              </c:ext>
            </c:extLst>
          </c:dPt>
          <c:dPt>
            <c:idx val="78"/>
            <c:invertIfNegative val="0"/>
            <c:bubble3D val="0"/>
            <c:spPr>
              <a:solidFill>
                <a:srgbClr val="7ECAC4"/>
              </a:solidFill>
            </c:spPr>
            <c:extLst>
              <c:ext xmlns:c16="http://schemas.microsoft.com/office/drawing/2014/chart" uri="{C3380CC4-5D6E-409C-BE32-E72D297353CC}">
                <c16:uniqueId val="{000000A2-C76F-4230-900D-40618C09729F}"/>
              </c:ext>
            </c:extLst>
          </c:dPt>
          <c:dPt>
            <c:idx val="79"/>
            <c:invertIfNegative val="0"/>
            <c:bubble3D val="0"/>
            <c:spPr>
              <a:solidFill>
                <a:srgbClr val="7ECAC4"/>
              </a:solidFill>
            </c:spPr>
            <c:extLst>
              <c:ext xmlns:c16="http://schemas.microsoft.com/office/drawing/2014/chart" uri="{C3380CC4-5D6E-409C-BE32-E72D297353CC}">
                <c16:uniqueId val="{000000A4-C76F-4230-900D-40618C09729F}"/>
              </c:ext>
            </c:extLst>
          </c:dPt>
          <c:dPt>
            <c:idx val="80"/>
            <c:invertIfNegative val="0"/>
            <c:bubble3D val="0"/>
            <c:spPr>
              <a:solidFill>
                <a:srgbClr val="7ECAC4"/>
              </a:solidFill>
            </c:spPr>
            <c:extLst>
              <c:ext xmlns:c16="http://schemas.microsoft.com/office/drawing/2014/chart" uri="{C3380CC4-5D6E-409C-BE32-E72D297353CC}">
                <c16:uniqueId val="{000000A6-C76F-4230-900D-40618C09729F}"/>
              </c:ext>
            </c:extLst>
          </c:dPt>
          <c:dPt>
            <c:idx val="81"/>
            <c:invertIfNegative val="1"/>
            <c:bubble3D val="0"/>
            <c:spPr>
              <a:solidFill>
                <a:srgbClr val="7ECAC4"/>
              </a:solidFill>
            </c:spPr>
            <c:extLst>
              <c:ext xmlns:c16="http://schemas.microsoft.com/office/drawing/2014/chart" uri="{C3380CC4-5D6E-409C-BE32-E72D297353CC}">
                <c16:uniqueId val="{000000A5-2993-41DE-A2CB-63102DE87051}"/>
              </c:ext>
            </c:extLst>
          </c:dPt>
          <c:dPt>
            <c:idx val="82"/>
            <c:invertIfNegative val="1"/>
            <c:bubble3D val="0"/>
            <c:spPr>
              <a:solidFill>
                <a:srgbClr val="7ECAC4"/>
              </a:solidFill>
            </c:spPr>
            <c:extLst>
              <c:ext xmlns:c16="http://schemas.microsoft.com/office/drawing/2014/chart" uri="{C3380CC4-5D6E-409C-BE32-E72D297353CC}">
                <c16:uniqueId val="{000000A7-2993-41DE-A2CB-63102DE87051}"/>
              </c:ext>
            </c:extLst>
          </c:dPt>
          <c:dPt>
            <c:idx val="83"/>
            <c:invertIfNegative val="1"/>
            <c:bubble3D val="0"/>
            <c:spPr>
              <a:solidFill>
                <a:srgbClr val="7ECAC4"/>
              </a:solidFill>
            </c:spPr>
            <c:extLst>
              <c:ext xmlns:c16="http://schemas.microsoft.com/office/drawing/2014/chart" uri="{C3380CC4-5D6E-409C-BE32-E72D297353CC}">
                <c16:uniqueId val="{000000A9-2993-41DE-A2CB-63102DE87051}"/>
              </c:ext>
            </c:extLst>
          </c:dPt>
          <c:dPt>
            <c:idx val="84"/>
            <c:invertIfNegative val="1"/>
            <c:bubble3D val="0"/>
            <c:spPr>
              <a:solidFill>
                <a:srgbClr val="7ECAC4"/>
              </a:solidFill>
            </c:spPr>
            <c:extLst>
              <c:ext xmlns:c16="http://schemas.microsoft.com/office/drawing/2014/chart" uri="{C3380CC4-5D6E-409C-BE32-E72D297353CC}">
                <c16:uniqueId val="{000000AB-2993-41DE-A2CB-63102DE87051}"/>
              </c:ext>
            </c:extLst>
          </c:dPt>
          <c:dPt>
            <c:idx val="85"/>
            <c:invertIfNegative val="1"/>
            <c:bubble3D val="0"/>
            <c:spPr>
              <a:solidFill>
                <a:srgbClr val="7ECAC4"/>
              </a:solidFill>
            </c:spPr>
            <c:extLst>
              <c:ext xmlns:c16="http://schemas.microsoft.com/office/drawing/2014/chart" uri="{C3380CC4-5D6E-409C-BE32-E72D297353CC}">
                <c16:uniqueId val="{000000AD-2993-41DE-A2CB-63102DE87051}"/>
              </c:ext>
            </c:extLst>
          </c:dPt>
          <c:dPt>
            <c:idx val="86"/>
            <c:invertIfNegative val="1"/>
            <c:bubble3D val="0"/>
            <c:spPr>
              <a:solidFill>
                <a:srgbClr val="7ECAC4"/>
              </a:solidFill>
            </c:spPr>
            <c:extLst>
              <c:ext xmlns:c16="http://schemas.microsoft.com/office/drawing/2014/chart" uri="{C3380CC4-5D6E-409C-BE32-E72D297353CC}">
                <c16:uniqueId val="{000000AF-2993-41DE-A2CB-63102DE87051}"/>
              </c:ext>
            </c:extLst>
          </c:dPt>
          <c:dPt>
            <c:idx val="87"/>
            <c:invertIfNegative val="1"/>
            <c:bubble3D val="0"/>
            <c:spPr>
              <a:solidFill>
                <a:srgbClr val="7ECAC4"/>
              </a:solidFill>
            </c:spPr>
            <c:extLst>
              <c:ext xmlns:c16="http://schemas.microsoft.com/office/drawing/2014/chart" uri="{C3380CC4-5D6E-409C-BE32-E72D297353CC}">
                <c16:uniqueId val="{000000B1-2993-41DE-A2CB-63102DE87051}"/>
              </c:ext>
            </c:extLst>
          </c:dPt>
          <c:dPt>
            <c:idx val="88"/>
            <c:invertIfNegative val="1"/>
            <c:bubble3D val="0"/>
            <c:spPr>
              <a:solidFill>
                <a:srgbClr val="7ECAC4"/>
              </a:solidFill>
            </c:spPr>
            <c:extLst>
              <c:ext xmlns:c16="http://schemas.microsoft.com/office/drawing/2014/chart" uri="{C3380CC4-5D6E-409C-BE32-E72D297353CC}">
                <c16:uniqueId val="{000000B3-2993-41DE-A2CB-63102DE87051}"/>
              </c:ext>
            </c:extLst>
          </c:dPt>
          <c:dPt>
            <c:idx val="89"/>
            <c:invertIfNegative val="1"/>
            <c:bubble3D val="0"/>
            <c:spPr>
              <a:solidFill>
                <a:srgbClr val="7ECAC4"/>
              </a:solidFill>
            </c:spPr>
            <c:extLst>
              <c:ext xmlns:c16="http://schemas.microsoft.com/office/drawing/2014/chart" uri="{C3380CC4-5D6E-409C-BE32-E72D297353CC}">
                <c16:uniqueId val="{000000B5-2993-41DE-A2CB-63102DE87051}"/>
              </c:ext>
            </c:extLst>
          </c:dPt>
          <c:dPt>
            <c:idx val="90"/>
            <c:invertIfNegative val="1"/>
            <c:bubble3D val="0"/>
            <c:spPr>
              <a:solidFill>
                <a:srgbClr val="7ECAC4"/>
              </a:solidFill>
            </c:spPr>
            <c:extLst>
              <c:ext xmlns:c16="http://schemas.microsoft.com/office/drawing/2014/chart" uri="{C3380CC4-5D6E-409C-BE32-E72D297353CC}">
                <c16:uniqueId val="{000000B7-2993-41DE-A2CB-63102DE87051}"/>
              </c:ext>
            </c:extLst>
          </c:dPt>
          <c:dPt>
            <c:idx val="91"/>
            <c:invertIfNegative val="1"/>
            <c:bubble3D val="0"/>
            <c:spPr>
              <a:solidFill>
                <a:srgbClr val="7ECAC4"/>
              </a:solidFill>
            </c:spPr>
            <c:extLst>
              <c:ext xmlns:c16="http://schemas.microsoft.com/office/drawing/2014/chart" uri="{C3380CC4-5D6E-409C-BE32-E72D297353CC}">
                <c16:uniqueId val="{000000B9-2993-41DE-A2CB-63102DE87051}"/>
              </c:ext>
            </c:extLst>
          </c:dPt>
          <c:dPt>
            <c:idx val="92"/>
            <c:invertIfNegative val="1"/>
            <c:bubble3D val="0"/>
            <c:spPr>
              <a:solidFill>
                <a:srgbClr val="7ECAC4"/>
              </a:solidFill>
            </c:spPr>
            <c:extLst>
              <c:ext xmlns:c16="http://schemas.microsoft.com/office/drawing/2014/chart" uri="{C3380CC4-5D6E-409C-BE32-E72D297353CC}">
                <c16:uniqueId val="{000000BB-2993-41DE-A2CB-63102DE87051}"/>
              </c:ext>
            </c:extLst>
          </c:dPt>
          <c:dPt>
            <c:idx val="93"/>
            <c:invertIfNegative val="1"/>
            <c:bubble3D val="0"/>
            <c:spPr>
              <a:solidFill>
                <a:srgbClr val="7ECAC4"/>
              </a:solidFill>
            </c:spPr>
            <c:extLst>
              <c:ext xmlns:c16="http://schemas.microsoft.com/office/drawing/2014/chart" uri="{C3380CC4-5D6E-409C-BE32-E72D297353CC}">
                <c16:uniqueId val="{000000BD-2993-41DE-A2CB-63102DE87051}"/>
              </c:ext>
            </c:extLst>
          </c:dPt>
          <c:dPt>
            <c:idx val="94"/>
            <c:invertIfNegative val="1"/>
            <c:bubble3D val="0"/>
            <c:spPr>
              <a:solidFill>
                <a:srgbClr val="7ECAC4"/>
              </a:solidFill>
            </c:spPr>
            <c:extLst>
              <c:ext xmlns:c16="http://schemas.microsoft.com/office/drawing/2014/chart" uri="{C3380CC4-5D6E-409C-BE32-E72D297353CC}">
                <c16:uniqueId val="{000000BF-2993-41DE-A2CB-63102DE87051}"/>
              </c:ext>
            </c:extLst>
          </c:dPt>
          <c:dPt>
            <c:idx val="95"/>
            <c:invertIfNegative val="1"/>
            <c:bubble3D val="0"/>
            <c:spPr>
              <a:solidFill>
                <a:srgbClr val="7ECAC4"/>
              </a:solidFill>
            </c:spPr>
            <c:extLst>
              <c:ext xmlns:c16="http://schemas.microsoft.com/office/drawing/2014/chart" uri="{C3380CC4-5D6E-409C-BE32-E72D297353CC}">
                <c16:uniqueId val="{000000C1-2993-41DE-A2CB-63102DE87051}"/>
              </c:ext>
            </c:extLst>
          </c:dPt>
          <c:dPt>
            <c:idx val="96"/>
            <c:invertIfNegative val="1"/>
            <c:bubble3D val="0"/>
            <c:spPr>
              <a:solidFill>
                <a:srgbClr val="7ECAC4"/>
              </a:solidFill>
            </c:spPr>
            <c:extLst>
              <c:ext xmlns:c16="http://schemas.microsoft.com/office/drawing/2014/chart" uri="{C3380CC4-5D6E-409C-BE32-E72D297353CC}">
                <c16:uniqueId val="{000000C3-2993-41DE-A2CB-63102DE87051}"/>
              </c:ext>
            </c:extLst>
          </c:dPt>
          <c:dPt>
            <c:idx val="97"/>
            <c:invertIfNegative val="1"/>
            <c:bubble3D val="0"/>
            <c:spPr>
              <a:solidFill>
                <a:srgbClr val="7ECAC4"/>
              </a:solidFill>
            </c:spPr>
            <c:extLst>
              <c:ext xmlns:c16="http://schemas.microsoft.com/office/drawing/2014/chart" uri="{C3380CC4-5D6E-409C-BE32-E72D297353CC}">
                <c16:uniqueId val="{000000C5-2993-41DE-A2CB-63102DE87051}"/>
              </c:ext>
            </c:extLst>
          </c:dPt>
          <c:dPt>
            <c:idx val="98"/>
            <c:invertIfNegative val="1"/>
            <c:bubble3D val="0"/>
            <c:spPr>
              <a:solidFill>
                <a:srgbClr val="7ECAC4"/>
              </a:solidFill>
            </c:spPr>
            <c:extLst>
              <c:ext xmlns:c16="http://schemas.microsoft.com/office/drawing/2014/chart" uri="{C3380CC4-5D6E-409C-BE32-E72D297353CC}">
                <c16:uniqueId val="{000000C7-2993-41DE-A2CB-63102DE87051}"/>
              </c:ext>
            </c:extLst>
          </c:dPt>
          <c:dPt>
            <c:idx val="99"/>
            <c:invertIfNegative val="1"/>
            <c:bubble3D val="0"/>
            <c:spPr>
              <a:solidFill>
                <a:srgbClr val="7ECAC4"/>
              </a:solidFill>
            </c:spPr>
            <c:extLst>
              <c:ext xmlns:c16="http://schemas.microsoft.com/office/drawing/2014/chart" uri="{C3380CC4-5D6E-409C-BE32-E72D297353CC}">
                <c16:uniqueId val="{000000C9-2993-41DE-A2CB-63102DE87051}"/>
              </c:ext>
            </c:extLst>
          </c:dPt>
          <c:dPt>
            <c:idx val="100"/>
            <c:invertIfNegative val="1"/>
            <c:bubble3D val="0"/>
            <c:spPr>
              <a:solidFill>
                <a:srgbClr val="7ECAC4"/>
              </a:solidFill>
            </c:spPr>
            <c:extLst>
              <c:ext xmlns:c16="http://schemas.microsoft.com/office/drawing/2014/chart" uri="{C3380CC4-5D6E-409C-BE32-E72D297353CC}">
                <c16:uniqueId val="{000000CB-2993-41DE-A2CB-63102DE87051}"/>
              </c:ext>
            </c:extLst>
          </c:dPt>
          <c:dPt>
            <c:idx val="101"/>
            <c:invertIfNegative val="1"/>
            <c:bubble3D val="0"/>
            <c:spPr>
              <a:solidFill>
                <a:srgbClr val="7ECAC4"/>
              </a:solidFill>
            </c:spPr>
            <c:extLst>
              <c:ext xmlns:c16="http://schemas.microsoft.com/office/drawing/2014/chart" uri="{C3380CC4-5D6E-409C-BE32-E72D297353CC}">
                <c16:uniqueId val="{000000CD-2993-41DE-A2CB-63102DE87051}"/>
              </c:ext>
            </c:extLst>
          </c:dPt>
          <c:dPt>
            <c:idx val="102"/>
            <c:invertIfNegative val="1"/>
            <c:bubble3D val="0"/>
            <c:spPr>
              <a:solidFill>
                <a:srgbClr val="7ECAC4"/>
              </a:solidFill>
            </c:spPr>
            <c:extLst>
              <c:ext xmlns:c16="http://schemas.microsoft.com/office/drawing/2014/chart" uri="{C3380CC4-5D6E-409C-BE32-E72D297353CC}">
                <c16:uniqueId val="{000000CF-2993-41DE-A2CB-63102DE87051}"/>
              </c:ext>
            </c:extLst>
          </c:dPt>
          <c:dPt>
            <c:idx val="103"/>
            <c:invertIfNegative val="1"/>
            <c:bubble3D val="0"/>
            <c:spPr>
              <a:solidFill>
                <a:srgbClr val="7ECAC4"/>
              </a:solidFill>
            </c:spPr>
            <c:extLst>
              <c:ext xmlns:c16="http://schemas.microsoft.com/office/drawing/2014/chart" uri="{C3380CC4-5D6E-409C-BE32-E72D297353CC}">
                <c16:uniqueId val="{000000D1-2993-41DE-A2CB-63102DE87051}"/>
              </c:ext>
            </c:extLst>
          </c:dPt>
          <c:dPt>
            <c:idx val="104"/>
            <c:invertIfNegative val="1"/>
            <c:bubble3D val="0"/>
            <c:spPr>
              <a:solidFill>
                <a:srgbClr val="7ECAC4"/>
              </a:solidFill>
            </c:spPr>
            <c:extLst>
              <c:ext xmlns:c16="http://schemas.microsoft.com/office/drawing/2014/chart" uri="{C3380CC4-5D6E-409C-BE32-E72D297353CC}">
                <c16:uniqueId val="{000000D3-2993-41DE-A2CB-63102DE87051}"/>
              </c:ext>
            </c:extLst>
          </c:dPt>
          <c:dPt>
            <c:idx val="105"/>
            <c:invertIfNegative val="1"/>
            <c:bubble3D val="0"/>
            <c:spPr>
              <a:solidFill>
                <a:srgbClr val="7ECAC4"/>
              </a:solidFill>
            </c:spPr>
            <c:extLst>
              <c:ext xmlns:c16="http://schemas.microsoft.com/office/drawing/2014/chart" uri="{C3380CC4-5D6E-409C-BE32-E72D297353CC}">
                <c16:uniqueId val="{000000D5-2993-41DE-A2CB-63102DE87051}"/>
              </c:ext>
            </c:extLst>
          </c:dPt>
          <c:dPt>
            <c:idx val="106"/>
            <c:invertIfNegative val="1"/>
            <c:bubble3D val="0"/>
            <c:spPr>
              <a:solidFill>
                <a:srgbClr val="7ECAC4"/>
              </a:solidFill>
            </c:spPr>
            <c:extLst>
              <c:ext xmlns:c16="http://schemas.microsoft.com/office/drawing/2014/chart" uri="{C3380CC4-5D6E-409C-BE32-E72D297353CC}">
                <c16:uniqueId val="{000000D7-2993-41DE-A2CB-63102DE87051}"/>
              </c:ext>
            </c:extLst>
          </c:dPt>
          <c:dPt>
            <c:idx val="107"/>
            <c:invertIfNegative val="1"/>
            <c:bubble3D val="0"/>
            <c:spPr>
              <a:solidFill>
                <a:srgbClr val="7ECAC4"/>
              </a:solidFill>
            </c:spPr>
            <c:extLst>
              <c:ext xmlns:c16="http://schemas.microsoft.com/office/drawing/2014/chart" uri="{C3380CC4-5D6E-409C-BE32-E72D297353CC}">
                <c16:uniqueId val="{000000D9-2993-41DE-A2CB-63102DE87051}"/>
              </c:ext>
            </c:extLst>
          </c:dPt>
          <c:dPt>
            <c:idx val="108"/>
            <c:invertIfNegative val="1"/>
            <c:bubble3D val="0"/>
            <c:spPr>
              <a:solidFill>
                <a:srgbClr val="7ECAC4"/>
              </a:solidFill>
            </c:spPr>
            <c:extLst>
              <c:ext xmlns:c16="http://schemas.microsoft.com/office/drawing/2014/chart" uri="{C3380CC4-5D6E-409C-BE32-E72D297353CC}">
                <c16:uniqueId val="{000000DB-2993-41DE-A2CB-63102DE87051}"/>
              </c:ext>
            </c:extLst>
          </c:dPt>
          <c:dPt>
            <c:idx val="109"/>
            <c:invertIfNegative val="1"/>
            <c:bubble3D val="0"/>
            <c:spPr>
              <a:solidFill>
                <a:srgbClr val="7ECAC4"/>
              </a:solidFill>
            </c:spPr>
            <c:extLst>
              <c:ext xmlns:c16="http://schemas.microsoft.com/office/drawing/2014/chart" uri="{C3380CC4-5D6E-409C-BE32-E72D297353CC}">
                <c16:uniqueId val="{000000DD-2993-41DE-A2CB-63102DE87051}"/>
              </c:ext>
            </c:extLst>
          </c:dPt>
          <c:dPt>
            <c:idx val="110"/>
            <c:invertIfNegative val="1"/>
            <c:bubble3D val="0"/>
            <c:spPr>
              <a:solidFill>
                <a:srgbClr val="7ECAC4"/>
              </a:solidFill>
            </c:spPr>
            <c:extLst>
              <c:ext xmlns:c16="http://schemas.microsoft.com/office/drawing/2014/chart" uri="{C3380CC4-5D6E-409C-BE32-E72D297353CC}">
                <c16:uniqueId val="{000000DF-2993-41DE-A2CB-63102DE87051}"/>
              </c:ext>
            </c:extLst>
          </c:dPt>
          <c:dPt>
            <c:idx val="111"/>
            <c:invertIfNegative val="1"/>
            <c:bubble3D val="0"/>
            <c:spPr>
              <a:solidFill>
                <a:srgbClr val="7ECAC4"/>
              </a:solidFill>
            </c:spPr>
            <c:extLst>
              <c:ext xmlns:c16="http://schemas.microsoft.com/office/drawing/2014/chart" uri="{C3380CC4-5D6E-409C-BE32-E72D297353CC}">
                <c16:uniqueId val="{000000E1-2993-41DE-A2CB-63102DE87051}"/>
              </c:ext>
            </c:extLst>
          </c:dPt>
          <c:dPt>
            <c:idx val="112"/>
            <c:invertIfNegative val="1"/>
            <c:bubble3D val="0"/>
            <c:spPr>
              <a:solidFill>
                <a:srgbClr val="7ECAC4"/>
              </a:solidFill>
            </c:spPr>
            <c:extLst>
              <c:ext xmlns:c16="http://schemas.microsoft.com/office/drawing/2014/chart" uri="{C3380CC4-5D6E-409C-BE32-E72D297353CC}">
                <c16:uniqueId val="{000000E3-2993-41DE-A2CB-63102DE87051}"/>
              </c:ext>
            </c:extLst>
          </c:dPt>
          <c:dPt>
            <c:idx val="113"/>
            <c:invertIfNegative val="1"/>
            <c:bubble3D val="0"/>
            <c:spPr>
              <a:solidFill>
                <a:srgbClr val="7ECAC4"/>
              </a:solidFill>
            </c:spPr>
            <c:extLst>
              <c:ext xmlns:c16="http://schemas.microsoft.com/office/drawing/2014/chart" uri="{C3380CC4-5D6E-409C-BE32-E72D297353CC}">
                <c16:uniqueId val="{000000E5-2993-41DE-A2CB-63102DE87051}"/>
              </c:ext>
            </c:extLst>
          </c:dPt>
          <c:dPt>
            <c:idx val="114"/>
            <c:invertIfNegative val="1"/>
            <c:bubble3D val="0"/>
            <c:spPr>
              <a:solidFill>
                <a:srgbClr val="7ECAC4"/>
              </a:solidFill>
            </c:spPr>
            <c:extLst>
              <c:ext xmlns:c16="http://schemas.microsoft.com/office/drawing/2014/chart" uri="{C3380CC4-5D6E-409C-BE32-E72D297353CC}">
                <c16:uniqueId val="{000000E7-2993-41DE-A2CB-63102DE87051}"/>
              </c:ext>
            </c:extLst>
          </c:dPt>
          <c:dPt>
            <c:idx val="115"/>
            <c:invertIfNegative val="1"/>
            <c:bubble3D val="0"/>
            <c:spPr>
              <a:solidFill>
                <a:srgbClr val="7ECAC4"/>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AEABAB"/>
              </a:solidFill>
            </c:spPr>
            <c:extLst>
              <c:ext xmlns:c16="http://schemas.microsoft.com/office/drawing/2014/chart" uri="{C3380CC4-5D6E-409C-BE32-E72D297353CC}">
                <c16:uniqueId val="{000000F3-2993-41DE-A2CB-63102DE87051}"/>
              </c:ext>
            </c:extLst>
          </c:dPt>
          <c:dPt>
            <c:idx val="121"/>
            <c:invertIfNegative val="1"/>
            <c:bubble3D val="0"/>
            <c:spPr>
              <a:solidFill>
                <a:srgbClr val="AEABAB"/>
              </a:solidFill>
            </c:spPr>
            <c:extLst>
              <c:ext xmlns:c16="http://schemas.microsoft.com/office/drawing/2014/chart" uri="{C3380CC4-5D6E-409C-BE32-E72D297353CC}">
                <c16:uniqueId val="{000000F5-2993-41DE-A2CB-63102DE87051}"/>
              </c:ext>
            </c:extLst>
          </c:dPt>
          <c:dPt>
            <c:idx val="122"/>
            <c:invertIfNegative val="1"/>
            <c:bubble3D val="0"/>
            <c:spPr>
              <a:solidFill>
                <a:srgbClr val="AEABAB"/>
              </a:solidFill>
            </c:spPr>
            <c:extLst>
              <c:ext xmlns:c16="http://schemas.microsoft.com/office/drawing/2014/chart" uri="{C3380CC4-5D6E-409C-BE32-E72D297353CC}">
                <c16:uniqueId val="{000000F7-2993-41DE-A2CB-63102DE87051}"/>
              </c:ext>
            </c:extLst>
          </c:dPt>
          <c:dPt>
            <c:idx val="123"/>
            <c:invertIfNegative val="1"/>
            <c:bubble3D val="0"/>
            <c:spPr>
              <a:solidFill>
                <a:srgbClr val="AEABAB"/>
              </a:solidFill>
            </c:spPr>
            <c:extLst>
              <c:ext xmlns:c16="http://schemas.microsoft.com/office/drawing/2014/chart" uri="{C3380CC4-5D6E-409C-BE32-E72D297353CC}">
                <c16:uniqueId val="{000000F9-2993-41DE-A2CB-63102DE87051}"/>
              </c:ext>
            </c:extLst>
          </c:dPt>
          <c:dPt>
            <c:idx val="124"/>
            <c:invertIfNegative val="1"/>
            <c:bubble3D val="0"/>
            <c:spPr>
              <a:solidFill>
                <a:srgbClr val="AEABAB"/>
              </a:solidFill>
            </c:spPr>
            <c:extLst>
              <c:ext xmlns:c16="http://schemas.microsoft.com/office/drawing/2014/chart" uri="{C3380CC4-5D6E-409C-BE32-E72D297353CC}">
                <c16:uniqueId val="{000000FB-2993-41DE-A2CB-63102DE87051}"/>
              </c:ext>
            </c:extLst>
          </c:dPt>
          <c:dPt>
            <c:idx val="125"/>
            <c:invertIfNegative val="1"/>
            <c:bubble3D val="0"/>
            <c:spPr>
              <a:solidFill>
                <a:srgbClr val="AEABAB"/>
              </a:solidFill>
            </c:spPr>
            <c:extLst>
              <c:ext xmlns:c16="http://schemas.microsoft.com/office/drawing/2014/chart" uri="{C3380CC4-5D6E-409C-BE32-E72D297353CC}">
                <c16:uniqueId val="{000000FD-2993-41DE-A2CB-63102DE87051}"/>
              </c:ext>
            </c:extLst>
          </c:dPt>
          <c:dPt>
            <c:idx val="126"/>
            <c:invertIfNegative val="1"/>
            <c:bubble3D val="0"/>
            <c:spPr>
              <a:solidFill>
                <a:srgbClr val="AEABAB"/>
              </a:solidFill>
            </c:spPr>
            <c:extLst>
              <c:ext xmlns:c16="http://schemas.microsoft.com/office/drawing/2014/chart" uri="{C3380CC4-5D6E-409C-BE32-E72D297353CC}">
                <c16:uniqueId val="{000000FF-2993-41DE-A2CB-63102DE87051}"/>
              </c:ext>
            </c:extLst>
          </c:dPt>
          <c:dPt>
            <c:idx val="127"/>
            <c:invertIfNegative val="1"/>
            <c:bubble3D val="0"/>
            <c:spPr>
              <a:solidFill>
                <a:srgbClr val="AEABAB"/>
              </a:solidFill>
            </c:spPr>
            <c:extLst>
              <c:ext xmlns:c16="http://schemas.microsoft.com/office/drawing/2014/chart" uri="{C3380CC4-5D6E-409C-BE32-E72D297353CC}">
                <c16:uniqueId val="{00000101-2993-41DE-A2CB-63102DE87051}"/>
              </c:ext>
            </c:extLst>
          </c:dPt>
          <c:dPt>
            <c:idx val="128"/>
            <c:invertIfNegative val="1"/>
            <c:bubble3D val="0"/>
            <c:spPr>
              <a:solidFill>
                <a:srgbClr val="AEABAB"/>
              </a:solidFill>
            </c:spPr>
            <c:extLst>
              <c:ext xmlns:c16="http://schemas.microsoft.com/office/drawing/2014/chart" uri="{C3380CC4-5D6E-409C-BE32-E72D297353CC}">
                <c16:uniqueId val="{00000103-2993-41DE-A2CB-63102DE87051}"/>
              </c:ext>
            </c:extLst>
          </c:dPt>
          <c:dPt>
            <c:idx val="129"/>
            <c:invertIfNegative val="1"/>
            <c:bubble3D val="0"/>
            <c:spPr>
              <a:solidFill>
                <a:srgbClr val="AEABAB"/>
              </a:solidFill>
            </c:spPr>
            <c:extLst>
              <c:ext xmlns:c16="http://schemas.microsoft.com/office/drawing/2014/chart" uri="{C3380CC4-5D6E-409C-BE32-E72D297353CC}">
                <c16:uniqueId val="{00000105-2993-41DE-A2CB-63102DE87051}"/>
              </c:ext>
            </c:extLst>
          </c:dPt>
          <c:dPt>
            <c:idx val="130"/>
            <c:invertIfNegative val="1"/>
            <c:bubble3D val="0"/>
            <c:spPr>
              <a:solidFill>
                <a:srgbClr val="AEABAB"/>
              </a:solidFill>
            </c:spPr>
            <c:extLst>
              <c:ext xmlns:c16="http://schemas.microsoft.com/office/drawing/2014/chart" uri="{C3380CC4-5D6E-409C-BE32-E72D297353CC}">
                <c16:uniqueId val="{00000107-2993-41DE-A2CB-63102DE87051}"/>
              </c:ext>
            </c:extLst>
          </c:dPt>
          <c:dPt>
            <c:idx val="131"/>
            <c:invertIfNegative val="1"/>
            <c:bubble3D val="0"/>
            <c:spPr>
              <a:solidFill>
                <a:srgbClr val="AEABAB"/>
              </a:solidFill>
            </c:spPr>
            <c:extLst>
              <c:ext xmlns:c16="http://schemas.microsoft.com/office/drawing/2014/chart" uri="{C3380CC4-5D6E-409C-BE32-E72D297353CC}">
                <c16:uniqueId val="{00000109-2993-41DE-A2CB-63102DE87051}"/>
              </c:ext>
            </c:extLst>
          </c:dPt>
          <c:dPt>
            <c:idx val="132"/>
            <c:invertIfNegative val="1"/>
            <c:bubble3D val="0"/>
            <c:spPr>
              <a:solidFill>
                <a:srgbClr val="AEABAB"/>
              </a:solidFill>
            </c:spPr>
            <c:extLst>
              <c:ext xmlns:c16="http://schemas.microsoft.com/office/drawing/2014/chart" uri="{C3380CC4-5D6E-409C-BE32-E72D297353CC}">
                <c16:uniqueId val="{0000010B-2993-41DE-A2CB-63102DE87051}"/>
              </c:ext>
            </c:extLst>
          </c:dPt>
          <c:dPt>
            <c:idx val="133"/>
            <c:invertIfNegative val="1"/>
            <c:bubble3D val="0"/>
            <c:spPr>
              <a:solidFill>
                <a:srgbClr val="AEABAB"/>
              </a:solidFill>
            </c:spPr>
            <c:extLst>
              <c:ext xmlns:c16="http://schemas.microsoft.com/office/drawing/2014/chart" uri="{C3380CC4-5D6E-409C-BE32-E72D297353CC}">
                <c16:uniqueId val="{0000010D-2993-41DE-A2CB-63102DE87051}"/>
              </c:ext>
            </c:extLst>
          </c:dPt>
          <c:dPt>
            <c:idx val="134"/>
            <c:invertIfNegative val="1"/>
            <c:bubble3D val="0"/>
            <c:spPr>
              <a:solidFill>
                <a:srgbClr val="AEABAB"/>
              </a:solidFill>
            </c:spPr>
            <c:extLst>
              <c:ext xmlns:c16="http://schemas.microsoft.com/office/drawing/2014/chart" uri="{C3380CC4-5D6E-409C-BE32-E72D297353CC}">
                <c16:uniqueId val="{0000010F-2993-41DE-A2CB-63102DE87051}"/>
              </c:ext>
            </c:extLst>
          </c:dPt>
          <c:dPt>
            <c:idx val="135"/>
            <c:invertIfNegative val="1"/>
            <c:bubble3D val="0"/>
            <c:spPr>
              <a:solidFill>
                <a:srgbClr val="AEABAB"/>
              </a:solidFill>
            </c:spPr>
            <c:extLst>
              <c:ext xmlns:c16="http://schemas.microsoft.com/office/drawing/2014/chart" uri="{C3380CC4-5D6E-409C-BE32-E72D297353CC}">
                <c16:uniqueId val="{00000111-2993-41DE-A2CB-63102DE87051}"/>
              </c:ext>
            </c:extLst>
          </c:dPt>
          <c:dPt>
            <c:idx val="136"/>
            <c:invertIfNegative val="1"/>
            <c:bubble3D val="0"/>
            <c:spPr>
              <a:solidFill>
                <a:srgbClr val="AEABAB"/>
              </a:solidFill>
            </c:spPr>
            <c:extLst>
              <c:ext xmlns:c16="http://schemas.microsoft.com/office/drawing/2014/chart" uri="{C3380CC4-5D6E-409C-BE32-E72D297353CC}">
                <c16:uniqueId val="{00000113-2993-41DE-A2CB-63102DE87051}"/>
              </c:ext>
            </c:extLst>
          </c:dPt>
          <c:dPt>
            <c:idx val="137"/>
            <c:invertIfNegative val="1"/>
            <c:bubble3D val="0"/>
            <c:spPr>
              <a:solidFill>
                <a:srgbClr val="AEABAB"/>
              </a:solidFill>
            </c:spPr>
            <c:extLst>
              <c:ext xmlns:c16="http://schemas.microsoft.com/office/drawing/2014/chart" uri="{C3380CC4-5D6E-409C-BE32-E72D297353CC}">
                <c16:uniqueId val="{00000115-2993-41DE-A2CB-63102DE87051}"/>
              </c:ext>
            </c:extLst>
          </c:dPt>
          <c:dPt>
            <c:idx val="138"/>
            <c:invertIfNegative val="1"/>
            <c:bubble3D val="0"/>
            <c:spPr>
              <a:solidFill>
                <a:srgbClr val="AEABAB"/>
              </a:solidFill>
            </c:spPr>
            <c:extLst>
              <c:ext xmlns:c16="http://schemas.microsoft.com/office/drawing/2014/chart" uri="{C3380CC4-5D6E-409C-BE32-E72D297353CC}">
                <c16:uniqueId val="{00000117-2993-41DE-A2CB-63102DE87051}"/>
              </c:ext>
            </c:extLst>
          </c:dPt>
          <c:dPt>
            <c:idx val="139"/>
            <c:invertIfNegative val="1"/>
            <c:bubble3D val="0"/>
            <c:spPr>
              <a:solidFill>
                <a:srgbClr val="AEABAB"/>
              </a:solidFill>
            </c:spPr>
            <c:extLst>
              <c:ext xmlns:c16="http://schemas.microsoft.com/office/drawing/2014/chart" uri="{C3380CC4-5D6E-409C-BE32-E72D297353CC}">
                <c16:uniqueId val="{00000119-2993-41DE-A2CB-63102DE87051}"/>
              </c:ext>
            </c:extLst>
          </c:dPt>
          <c:dPt>
            <c:idx val="140"/>
            <c:invertIfNegative val="1"/>
            <c:bubble3D val="0"/>
            <c:spPr>
              <a:solidFill>
                <a:srgbClr val="AEABAB"/>
              </a:solidFill>
            </c:spPr>
            <c:extLst>
              <c:ext xmlns:c16="http://schemas.microsoft.com/office/drawing/2014/chart" uri="{C3380CC4-5D6E-409C-BE32-E72D297353CC}">
                <c16:uniqueId val="{0000011B-2993-41DE-A2CB-63102DE87051}"/>
              </c:ext>
            </c:extLst>
          </c:dPt>
          <c:dPt>
            <c:idx val="141"/>
            <c:invertIfNegative val="1"/>
            <c:bubble3D val="0"/>
            <c:spPr>
              <a:solidFill>
                <a:srgbClr val="AEABAB"/>
              </a:solidFill>
            </c:spPr>
            <c:extLst>
              <c:ext xmlns:c16="http://schemas.microsoft.com/office/drawing/2014/chart" uri="{C3380CC4-5D6E-409C-BE32-E72D297353CC}">
                <c16:uniqueId val="{0000011D-2993-41DE-A2CB-63102DE87051}"/>
              </c:ext>
            </c:extLst>
          </c:dPt>
          <c:dPt>
            <c:idx val="142"/>
            <c:invertIfNegative val="1"/>
            <c:bubble3D val="0"/>
            <c:spPr>
              <a:solidFill>
                <a:srgbClr val="AEABAB"/>
              </a:solidFill>
            </c:spPr>
            <c:extLst>
              <c:ext xmlns:c16="http://schemas.microsoft.com/office/drawing/2014/chart" uri="{C3380CC4-5D6E-409C-BE32-E72D297353CC}">
                <c16:uniqueId val="{0000011F-2993-41DE-A2CB-63102DE87051}"/>
              </c:ext>
            </c:extLst>
          </c:dPt>
          <c:dPt>
            <c:idx val="143"/>
            <c:invertIfNegative val="1"/>
            <c:bubble3D val="0"/>
            <c:spPr>
              <a:solidFill>
                <a:srgbClr val="AEABAB"/>
              </a:solidFill>
            </c:spPr>
            <c:extLst>
              <c:ext xmlns:c16="http://schemas.microsoft.com/office/drawing/2014/chart" uri="{C3380CC4-5D6E-409C-BE32-E72D297353CC}">
                <c16:uniqueId val="{00000121-2993-41DE-A2CB-63102DE87051}"/>
              </c:ext>
            </c:extLst>
          </c:dPt>
          <c:dPt>
            <c:idx val="144"/>
            <c:invertIfNegative val="1"/>
            <c:bubble3D val="0"/>
            <c:spPr>
              <a:solidFill>
                <a:srgbClr val="AEABAB"/>
              </a:solidFill>
            </c:spPr>
            <c:extLst>
              <c:ext xmlns:c16="http://schemas.microsoft.com/office/drawing/2014/chart" uri="{C3380CC4-5D6E-409C-BE32-E72D297353CC}">
                <c16:uniqueId val="{00000123-2993-41DE-A2CB-63102DE87051}"/>
              </c:ext>
            </c:extLst>
          </c:dPt>
          <c:dPt>
            <c:idx val="145"/>
            <c:invertIfNegative val="1"/>
            <c:bubble3D val="0"/>
            <c:spPr>
              <a:solidFill>
                <a:srgbClr val="AEABAB"/>
              </a:solidFill>
            </c:spPr>
            <c:extLst>
              <c:ext xmlns:c16="http://schemas.microsoft.com/office/drawing/2014/chart" uri="{C3380CC4-5D6E-409C-BE32-E72D297353CC}">
                <c16:uniqueId val="{00000125-2993-41DE-A2CB-63102DE87051}"/>
              </c:ext>
            </c:extLst>
          </c:dPt>
          <c:dPt>
            <c:idx val="146"/>
            <c:invertIfNegative val="1"/>
            <c:bubble3D val="0"/>
            <c:spPr>
              <a:solidFill>
                <a:srgbClr val="AEABAB"/>
              </a:solidFill>
            </c:spPr>
            <c:extLst>
              <c:ext xmlns:c16="http://schemas.microsoft.com/office/drawing/2014/chart" uri="{C3380CC4-5D6E-409C-BE32-E72D297353CC}">
                <c16:uniqueId val="{00000127-2993-41DE-A2CB-63102DE87051}"/>
              </c:ext>
            </c:extLst>
          </c:dPt>
          <c:dPt>
            <c:idx val="147"/>
            <c:invertIfNegative val="1"/>
            <c:bubble3D val="0"/>
            <c:spPr>
              <a:solidFill>
                <a:srgbClr val="AEABAB"/>
              </a:solidFill>
            </c:spPr>
            <c:extLst>
              <c:ext xmlns:c16="http://schemas.microsoft.com/office/drawing/2014/chart" uri="{C3380CC4-5D6E-409C-BE32-E72D297353CC}">
                <c16:uniqueId val="{00000129-2993-41DE-A2CB-63102DE87051}"/>
              </c:ext>
            </c:extLst>
          </c:dPt>
          <c:dPt>
            <c:idx val="148"/>
            <c:invertIfNegative val="1"/>
            <c:bubble3D val="0"/>
            <c:spPr>
              <a:solidFill>
                <a:srgbClr val="AEABAB"/>
              </a:solidFill>
            </c:spPr>
            <c:extLst>
              <c:ext xmlns:c16="http://schemas.microsoft.com/office/drawing/2014/chart" uri="{C3380CC4-5D6E-409C-BE32-E72D297353CC}">
                <c16:uniqueId val="{0000012B-2993-41DE-A2CB-63102DE87051}"/>
              </c:ext>
            </c:extLst>
          </c:dPt>
          <c:dPt>
            <c:idx val="149"/>
            <c:invertIfNegative val="1"/>
            <c:bubble3D val="0"/>
            <c:spPr>
              <a:solidFill>
                <a:srgbClr val="AEABAB"/>
              </a:solidFill>
            </c:spPr>
            <c:extLst>
              <c:ext xmlns:c16="http://schemas.microsoft.com/office/drawing/2014/chart" uri="{C3380CC4-5D6E-409C-BE32-E72D297353CC}">
                <c16:uniqueId val="{0000012D-2993-41DE-A2CB-63102DE87051}"/>
              </c:ext>
            </c:extLst>
          </c:dPt>
          <c:dPt>
            <c:idx val="150"/>
            <c:invertIfNegative val="1"/>
            <c:bubble3D val="0"/>
            <c:spPr>
              <a:solidFill>
                <a:srgbClr val="AEABAB"/>
              </a:solidFill>
            </c:spPr>
            <c:extLst>
              <c:ext xmlns:c16="http://schemas.microsoft.com/office/drawing/2014/chart" uri="{C3380CC4-5D6E-409C-BE32-E72D297353CC}">
                <c16:uniqueId val="{0000012F-2993-41DE-A2CB-63102DE87051}"/>
              </c:ext>
            </c:extLst>
          </c:dPt>
          <c:dPt>
            <c:idx val="151"/>
            <c:invertIfNegative val="1"/>
            <c:bubble3D val="0"/>
            <c:spPr>
              <a:solidFill>
                <a:srgbClr val="AEABAB"/>
              </a:solidFill>
            </c:spPr>
            <c:extLst>
              <c:ext xmlns:c16="http://schemas.microsoft.com/office/drawing/2014/chart" uri="{C3380CC4-5D6E-409C-BE32-E72D297353CC}">
                <c16:uniqueId val="{00000131-2993-41DE-A2CB-63102DE87051}"/>
              </c:ext>
            </c:extLst>
          </c:dPt>
          <c:dPt>
            <c:idx val="152"/>
            <c:invertIfNegative val="1"/>
            <c:bubble3D val="0"/>
            <c:spPr>
              <a:solidFill>
                <a:srgbClr val="AEABAB"/>
              </a:solidFill>
            </c:spPr>
            <c:extLst>
              <c:ext xmlns:c16="http://schemas.microsoft.com/office/drawing/2014/chart" uri="{C3380CC4-5D6E-409C-BE32-E72D297353CC}">
                <c16:uniqueId val="{00000133-2993-41DE-A2CB-63102DE87051}"/>
              </c:ext>
            </c:extLst>
          </c:dPt>
          <c:dPt>
            <c:idx val="153"/>
            <c:invertIfNegative val="1"/>
            <c:bubble3D val="0"/>
            <c:spPr>
              <a:solidFill>
                <a:srgbClr val="AEABAB"/>
              </a:solidFill>
            </c:spPr>
            <c:extLst>
              <c:ext xmlns:c16="http://schemas.microsoft.com/office/drawing/2014/chart" uri="{C3380CC4-5D6E-409C-BE32-E72D297353CC}">
                <c16:uniqueId val="{00000135-2993-41DE-A2CB-63102DE87051}"/>
              </c:ext>
            </c:extLst>
          </c:dPt>
          <c:dPt>
            <c:idx val="154"/>
            <c:invertIfNegative val="1"/>
            <c:bubble3D val="0"/>
            <c:spPr>
              <a:solidFill>
                <a:srgbClr val="AEABAB"/>
              </a:solidFill>
            </c:spPr>
            <c:extLst>
              <c:ext xmlns:c16="http://schemas.microsoft.com/office/drawing/2014/chart" uri="{C3380CC4-5D6E-409C-BE32-E72D297353CC}">
                <c16:uniqueId val="{00000137-2993-41DE-A2CB-63102DE87051}"/>
              </c:ext>
            </c:extLst>
          </c:dPt>
          <c:dPt>
            <c:idx val="155"/>
            <c:invertIfNegative val="1"/>
            <c:bubble3D val="0"/>
            <c:spPr>
              <a:solidFill>
                <a:srgbClr val="AEABAB"/>
              </a:solidFill>
            </c:spPr>
            <c:extLst>
              <c:ext xmlns:c16="http://schemas.microsoft.com/office/drawing/2014/chart" uri="{C3380CC4-5D6E-409C-BE32-E72D297353CC}">
                <c16:uniqueId val="{00000139-2993-41DE-A2CB-63102DE87051}"/>
              </c:ext>
            </c:extLst>
          </c:dPt>
          <c:dPt>
            <c:idx val="156"/>
            <c:invertIfNegative val="1"/>
            <c:bubble3D val="0"/>
            <c:spPr>
              <a:solidFill>
                <a:srgbClr val="AEABAB"/>
              </a:solidFill>
            </c:spPr>
            <c:extLst>
              <c:ext xmlns:c16="http://schemas.microsoft.com/office/drawing/2014/chart" uri="{C3380CC4-5D6E-409C-BE32-E72D297353CC}">
                <c16:uniqueId val="{0000013B-2993-41DE-A2CB-63102DE87051}"/>
              </c:ext>
            </c:extLst>
          </c:dPt>
          <c:dPt>
            <c:idx val="157"/>
            <c:invertIfNegative val="1"/>
            <c:bubble3D val="0"/>
            <c:spPr>
              <a:solidFill>
                <a:srgbClr val="AEABAB"/>
              </a:solidFill>
            </c:spPr>
            <c:extLst>
              <c:ext xmlns:c16="http://schemas.microsoft.com/office/drawing/2014/chart" uri="{C3380CC4-5D6E-409C-BE32-E72D297353CC}">
                <c16:uniqueId val="{0000013D-2993-41DE-A2CB-63102DE87051}"/>
              </c:ext>
            </c:extLst>
          </c:dPt>
          <c:dPt>
            <c:idx val="158"/>
            <c:invertIfNegative val="1"/>
            <c:bubble3D val="0"/>
            <c:spPr>
              <a:solidFill>
                <a:srgbClr val="AEABAB"/>
              </a:solidFill>
            </c:spPr>
            <c:extLst>
              <c:ext xmlns:c16="http://schemas.microsoft.com/office/drawing/2014/chart" uri="{C3380CC4-5D6E-409C-BE32-E72D297353CC}">
                <c16:uniqueId val="{0000013F-2993-41DE-A2CB-63102DE87051}"/>
              </c:ext>
            </c:extLst>
          </c:dPt>
          <c:dPt>
            <c:idx val="159"/>
            <c:invertIfNegative val="1"/>
            <c:bubble3D val="0"/>
            <c:spPr>
              <a:solidFill>
                <a:srgbClr val="AEABAB"/>
              </a:solidFill>
            </c:spPr>
            <c:extLst>
              <c:ext xmlns:c16="http://schemas.microsoft.com/office/drawing/2014/chart" uri="{C3380CC4-5D6E-409C-BE32-E72D297353CC}">
                <c16:uniqueId val="{00000141-2993-41DE-A2CB-63102DE87051}"/>
              </c:ext>
            </c:extLst>
          </c:dPt>
          <c:dPt>
            <c:idx val="160"/>
            <c:invertIfNegative val="1"/>
            <c:bubble3D val="0"/>
            <c:spPr>
              <a:solidFill>
                <a:srgbClr val="AEABAB"/>
              </a:solidFill>
            </c:spPr>
            <c:extLst>
              <c:ext xmlns:c16="http://schemas.microsoft.com/office/drawing/2014/chart" uri="{C3380CC4-5D6E-409C-BE32-E72D297353CC}">
                <c16:uniqueId val="{00000143-2993-41DE-A2CB-63102DE87051}"/>
              </c:ext>
            </c:extLst>
          </c:dPt>
          <c:dPt>
            <c:idx val="161"/>
            <c:invertIfNegative val="1"/>
            <c:bubble3D val="0"/>
            <c:spPr>
              <a:solidFill>
                <a:srgbClr val="AEABAB"/>
              </a:solidFill>
            </c:spPr>
            <c:extLst>
              <c:ext xmlns:c16="http://schemas.microsoft.com/office/drawing/2014/chart" uri="{C3380CC4-5D6E-409C-BE32-E72D297353CC}">
                <c16:uniqueId val="{00000145-2993-41DE-A2CB-63102DE87051}"/>
              </c:ext>
            </c:extLst>
          </c:dPt>
          <c:dPt>
            <c:idx val="162"/>
            <c:invertIfNegative val="1"/>
            <c:bubble3D val="0"/>
            <c:spPr>
              <a:solidFill>
                <a:srgbClr val="AEABAB"/>
              </a:solidFill>
            </c:spPr>
            <c:extLst>
              <c:ext xmlns:c16="http://schemas.microsoft.com/office/drawing/2014/chart" uri="{C3380CC4-5D6E-409C-BE32-E72D297353CC}">
                <c16:uniqueId val="{00000147-2993-41DE-A2CB-63102DE87051}"/>
              </c:ext>
            </c:extLst>
          </c:dPt>
          <c:dPt>
            <c:idx val="163"/>
            <c:invertIfNegative val="1"/>
            <c:bubble3D val="0"/>
            <c:spPr>
              <a:solidFill>
                <a:srgbClr val="AEABAB"/>
              </a:solidFill>
            </c:spPr>
            <c:extLst>
              <c:ext xmlns:c16="http://schemas.microsoft.com/office/drawing/2014/chart" uri="{C3380CC4-5D6E-409C-BE32-E72D297353CC}">
                <c16:uniqueId val="{00000149-2993-41DE-A2CB-63102DE87051}"/>
              </c:ext>
            </c:extLst>
          </c:dPt>
          <c:dPt>
            <c:idx val="164"/>
            <c:invertIfNegative val="1"/>
            <c:bubble3D val="0"/>
            <c:spPr>
              <a:solidFill>
                <a:srgbClr val="AEABAB"/>
              </a:solidFill>
            </c:spPr>
            <c:extLst>
              <c:ext xmlns:c16="http://schemas.microsoft.com/office/drawing/2014/chart" uri="{C3380CC4-5D6E-409C-BE32-E72D297353CC}">
                <c16:uniqueId val="{0000014B-2993-41DE-A2CB-63102DE87051}"/>
              </c:ext>
            </c:extLst>
          </c:dPt>
          <c:dPt>
            <c:idx val="165"/>
            <c:invertIfNegative val="1"/>
            <c:bubble3D val="0"/>
            <c:spPr>
              <a:solidFill>
                <a:srgbClr val="AEABAB"/>
              </a:solidFill>
            </c:spPr>
            <c:extLst>
              <c:ext xmlns:c16="http://schemas.microsoft.com/office/drawing/2014/chart" uri="{C3380CC4-5D6E-409C-BE32-E72D297353CC}">
                <c16:uniqueId val="{0000014D-2993-41DE-A2CB-63102DE87051}"/>
              </c:ext>
            </c:extLst>
          </c:dPt>
          <c:dPt>
            <c:idx val="166"/>
            <c:invertIfNegative val="1"/>
            <c:bubble3D val="0"/>
            <c:spPr>
              <a:solidFill>
                <a:srgbClr val="AEABAB"/>
              </a:solidFill>
            </c:spPr>
            <c:extLst>
              <c:ext xmlns:c16="http://schemas.microsoft.com/office/drawing/2014/chart" uri="{C3380CC4-5D6E-409C-BE32-E72D297353CC}">
                <c16:uniqueId val="{0000014F-2993-41DE-A2CB-63102DE87051}"/>
              </c:ext>
            </c:extLst>
          </c:dPt>
          <c:dPt>
            <c:idx val="167"/>
            <c:invertIfNegative val="1"/>
            <c:bubble3D val="0"/>
            <c:spPr>
              <a:solidFill>
                <a:srgbClr val="AEABAB"/>
              </a:solidFill>
            </c:spPr>
            <c:extLst>
              <c:ext xmlns:c16="http://schemas.microsoft.com/office/drawing/2014/chart" uri="{C3380CC4-5D6E-409C-BE32-E72D297353CC}">
                <c16:uniqueId val="{00000151-2993-41DE-A2CB-63102DE87051}"/>
              </c:ext>
            </c:extLst>
          </c:dPt>
          <c:dPt>
            <c:idx val="168"/>
            <c:invertIfNegative val="1"/>
            <c:bubble3D val="0"/>
            <c:spPr>
              <a:solidFill>
                <a:srgbClr val="AEABAB"/>
              </a:solidFill>
            </c:spPr>
            <c:extLst>
              <c:ext xmlns:c16="http://schemas.microsoft.com/office/drawing/2014/chart" uri="{C3380CC4-5D6E-409C-BE32-E72D297353CC}">
                <c16:uniqueId val="{00000153-2993-41DE-A2CB-63102DE87051}"/>
              </c:ext>
            </c:extLst>
          </c:dPt>
          <c:dPt>
            <c:idx val="169"/>
            <c:invertIfNegative val="1"/>
            <c:bubble3D val="0"/>
            <c:spPr>
              <a:solidFill>
                <a:srgbClr val="AEABAB"/>
              </a:solidFill>
            </c:spPr>
            <c:extLst>
              <c:ext xmlns:c16="http://schemas.microsoft.com/office/drawing/2014/chart" uri="{C3380CC4-5D6E-409C-BE32-E72D297353CC}">
                <c16:uniqueId val="{00000155-2993-41DE-A2CB-63102DE87051}"/>
              </c:ext>
            </c:extLst>
          </c:dPt>
          <c:dPt>
            <c:idx val="170"/>
            <c:invertIfNegative val="1"/>
            <c:bubble3D val="0"/>
            <c:spPr>
              <a:solidFill>
                <a:srgbClr val="AEABAB"/>
              </a:solidFill>
            </c:spPr>
            <c:extLst>
              <c:ext xmlns:c16="http://schemas.microsoft.com/office/drawing/2014/chart" uri="{C3380CC4-5D6E-409C-BE32-E72D297353CC}">
                <c16:uniqueId val="{00000157-2993-41DE-A2CB-63102DE87051}"/>
              </c:ext>
            </c:extLst>
          </c:dPt>
          <c:dPt>
            <c:idx val="171"/>
            <c:invertIfNegative val="1"/>
            <c:bubble3D val="0"/>
            <c:spPr>
              <a:solidFill>
                <a:srgbClr val="AEABAB"/>
              </a:solidFill>
            </c:spPr>
            <c:extLst>
              <c:ext xmlns:c16="http://schemas.microsoft.com/office/drawing/2014/chart" uri="{C3380CC4-5D6E-409C-BE32-E72D297353CC}">
                <c16:uniqueId val="{00000159-2993-41DE-A2CB-63102DE87051}"/>
              </c:ext>
            </c:extLst>
          </c:dPt>
          <c:dPt>
            <c:idx val="172"/>
            <c:invertIfNegative val="1"/>
            <c:bubble3D val="0"/>
            <c:spPr>
              <a:solidFill>
                <a:srgbClr val="AEABAB"/>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dPt>
            <c:idx val="210"/>
            <c:invertIfNegative val="1"/>
            <c:bubble3D val="0"/>
            <c:spPr>
              <a:solidFill>
                <a:srgbClr val="AEABAB"/>
              </a:solidFill>
            </c:spPr>
            <c:extLst>
              <c:ext xmlns:c16="http://schemas.microsoft.com/office/drawing/2014/chart" uri="{C3380CC4-5D6E-409C-BE32-E72D297353CC}">
                <c16:uniqueId val="{000001A7-CCEF-4D31-898C-474E4884EB0F}"/>
              </c:ext>
            </c:extLst>
          </c:dPt>
          <c:dPt>
            <c:idx val="211"/>
            <c:invertIfNegative val="1"/>
            <c:bubble3D val="0"/>
            <c:spPr>
              <a:solidFill>
                <a:srgbClr val="AEABAB"/>
              </a:solidFill>
            </c:spPr>
            <c:extLst>
              <c:ext xmlns:c16="http://schemas.microsoft.com/office/drawing/2014/chart" uri="{C3380CC4-5D6E-409C-BE32-E72D297353CC}">
                <c16:uniqueId val="{000001A9-CCEF-4D31-898C-474E4884EB0F}"/>
              </c:ext>
            </c:extLst>
          </c:dPt>
          <c:dPt>
            <c:idx val="212"/>
            <c:invertIfNegative val="1"/>
            <c:bubble3D val="0"/>
            <c:spPr>
              <a:solidFill>
                <a:srgbClr val="AEABAB"/>
              </a:solidFill>
            </c:spPr>
            <c:extLst>
              <c:ext xmlns:c16="http://schemas.microsoft.com/office/drawing/2014/chart" uri="{C3380CC4-5D6E-409C-BE32-E72D297353CC}">
                <c16:uniqueId val="{000001AB-CCEF-4D31-898C-474E4884EB0F}"/>
              </c:ext>
            </c:extLst>
          </c:dPt>
          <c:dPt>
            <c:idx val="213"/>
            <c:invertIfNegative val="1"/>
            <c:bubble3D val="0"/>
            <c:spPr>
              <a:solidFill>
                <a:srgbClr val="AEABAB"/>
              </a:solidFill>
            </c:spPr>
            <c:extLst>
              <c:ext xmlns:c16="http://schemas.microsoft.com/office/drawing/2014/chart" uri="{C3380CC4-5D6E-409C-BE32-E72D297353CC}">
                <c16:uniqueId val="{000001AD-CCEF-4D31-898C-474E4884EB0F}"/>
              </c:ext>
            </c:extLst>
          </c:dPt>
          <c:dPt>
            <c:idx val="214"/>
            <c:invertIfNegative val="1"/>
            <c:bubble3D val="0"/>
            <c:spPr>
              <a:solidFill>
                <a:srgbClr val="AEABAB"/>
              </a:solidFill>
            </c:spPr>
            <c:extLst>
              <c:ext xmlns:c16="http://schemas.microsoft.com/office/drawing/2014/chart" uri="{C3380CC4-5D6E-409C-BE32-E72D297353CC}">
                <c16:uniqueId val="{000001AF-CCEF-4D31-898C-474E4884EB0F}"/>
              </c:ext>
            </c:extLst>
          </c:dPt>
          <c:dPt>
            <c:idx val="215"/>
            <c:invertIfNegative val="1"/>
            <c:bubble3D val="0"/>
            <c:spPr>
              <a:solidFill>
                <a:srgbClr val="AEABAB"/>
              </a:solidFill>
            </c:spPr>
            <c:extLst>
              <c:ext xmlns:c16="http://schemas.microsoft.com/office/drawing/2014/chart" uri="{C3380CC4-5D6E-409C-BE32-E72D297353CC}">
                <c16:uniqueId val="{000001B1-CCEF-4D31-898C-474E4884EB0F}"/>
              </c:ext>
            </c:extLst>
          </c:dPt>
          <c:dPt>
            <c:idx val="216"/>
            <c:invertIfNegative val="1"/>
            <c:bubble3D val="0"/>
            <c:spPr>
              <a:solidFill>
                <a:srgbClr val="AEABAB"/>
              </a:solidFill>
            </c:spPr>
            <c:extLst>
              <c:ext xmlns:c16="http://schemas.microsoft.com/office/drawing/2014/chart" uri="{C3380CC4-5D6E-409C-BE32-E72D297353CC}">
                <c16:uniqueId val="{000001B3-CCEF-4D31-898C-474E4884EB0F}"/>
              </c:ext>
            </c:extLst>
          </c:dPt>
          <c:dPt>
            <c:idx val="217"/>
            <c:invertIfNegative val="1"/>
            <c:bubble3D val="0"/>
            <c:spPr>
              <a:solidFill>
                <a:srgbClr val="AEABAB"/>
              </a:solidFill>
            </c:spPr>
            <c:extLst>
              <c:ext xmlns:c16="http://schemas.microsoft.com/office/drawing/2014/chart" uri="{C3380CC4-5D6E-409C-BE32-E72D297353CC}">
                <c16:uniqueId val="{000001B5-CCEF-4D31-898C-474E4884EB0F}"/>
              </c:ext>
            </c:extLst>
          </c:dPt>
          <c:dPt>
            <c:idx val="218"/>
            <c:invertIfNegative val="1"/>
            <c:bubble3D val="0"/>
            <c:spPr>
              <a:solidFill>
                <a:srgbClr val="AEABAB"/>
              </a:solidFill>
            </c:spPr>
            <c:extLst>
              <c:ext xmlns:c16="http://schemas.microsoft.com/office/drawing/2014/chart" uri="{C3380CC4-5D6E-409C-BE32-E72D297353CC}">
                <c16:uniqueId val="{000001B7-CCEF-4D31-898C-474E4884EB0F}"/>
              </c:ext>
            </c:extLst>
          </c:dPt>
          <c:dPt>
            <c:idx val="219"/>
            <c:invertIfNegative val="1"/>
            <c:bubble3D val="0"/>
            <c:spPr>
              <a:solidFill>
                <a:srgbClr val="AEABAB"/>
              </a:solidFill>
            </c:spPr>
            <c:extLst>
              <c:ext xmlns:c16="http://schemas.microsoft.com/office/drawing/2014/chart" uri="{C3380CC4-5D6E-409C-BE32-E72D297353CC}">
                <c16:uniqueId val="{000001B9-CCEF-4D31-898C-474E4884EB0F}"/>
              </c:ext>
            </c:extLst>
          </c:dPt>
          <c:dPt>
            <c:idx val="220"/>
            <c:invertIfNegative val="1"/>
            <c:bubble3D val="0"/>
            <c:spPr>
              <a:solidFill>
                <a:srgbClr val="AEABAB"/>
              </a:solidFill>
            </c:spPr>
            <c:extLst>
              <c:ext xmlns:c16="http://schemas.microsoft.com/office/drawing/2014/chart" uri="{C3380CC4-5D6E-409C-BE32-E72D297353CC}">
                <c16:uniqueId val="{000001BB-CCEF-4D31-898C-474E4884EB0F}"/>
              </c:ext>
            </c:extLst>
          </c:dPt>
          <c:dPt>
            <c:idx val="221"/>
            <c:invertIfNegative val="1"/>
            <c:bubble3D val="0"/>
            <c:spPr>
              <a:solidFill>
                <a:srgbClr val="AEABAB"/>
              </a:solidFill>
            </c:spPr>
            <c:extLst>
              <c:ext xmlns:c16="http://schemas.microsoft.com/office/drawing/2014/chart" uri="{C3380CC4-5D6E-409C-BE32-E72D297353CC}">
                <c16:uniqueId val="{000001BD-CCEF-4D31-898C-474E4884EB0F}"/>
              </c:ext>
            </c:extLst>
          </c:dPt>
          <c:dPt>
            <c:idx val="222"/>
            <c:invertIfNegative val="1"/>
            <c:bubble3D val="0"/>
            <c:spPr>
              <a:solidFill>
                <a:srgbClr val="AEABAB"/>
              </a:solidFill>
            </c:spPr>
            <c:extLst>
              <c:ext xmlns:c16="http://schemas.microsoft.com/office/drawing/2014/chart" uri="{C3380CC4-5D6E-409C-BE32-E72D297353CC}">
                <c16:uniqueId val="{000001BF-CCEF-4D31-898C-474E4884EB0F}"/>
              </c:ext>
            </c:extLst>
          </c:dPt>
          <c:dPt>
            <c:idx val="223"/>
            <c:invertIfNegative val="1"/>
            <c:bubble3D val="0"/>
            <c:spPr>
              <a:solidFill>
                <a:srgbClr val="AEABAB"/>
              </a:solidFill>
            </c:spPr>
            <c:extLst>
              <c:ext xmlns:c16="http://schemas.microsoft.com/office/drawing/2014/chart" uri="{C3380CC4-5D6E-409C-BE32-E72D297353CC}">
                <c16:uniqueId val="{000001C1-CCEF-4D31-898C-474E4884EB0F}"/>
              </c:ext>
            </c:extLst>
          </c:dPt>
          <c:dPt>
            <c:idx val="224"/>
            <c:invertIfNegative val="1"/>
            <c:bubble3D val="0"/>
            <c:spPr>
              <a:solidFill>
                <a:srgbClr val="AEABAB"/>
              </a:solidFill>
            </c:spPr>
            <c:extLst>
              <c:ext xmlns:c16="http://schemas.microsoft.com/office/drawing/2014/chart" uri="{C3380CC4-5D6E-409C-BE32-E72D297353CC}">
                <c16:uniqueId val="{000001C3-CCEF-4D31-898C-474E4884EB0F}"/>
              </c:ext>
            </c:extLst>
          </c:dPt>
          <c:dPt>
            <c:idx val="225"/>
            <c:invertIfNegative val="1"/>
            <c:bubble3D val="0"/>
            <c:spPr>
              <a:solidFill>
                <a:srgbClr val="AEABAB"/>
              </a:solidFill>
            </c:spPr>
            <c:extLst>
              <c:ext xmlns:c16="http://schemas.microsoft.com/office/drawing/2014/chart" uri="{C3380CC4-5D6E-409C-BE32-E72D297353CC}">
                <c16:uniqueId val="{000001C5-CCEF-4D31-898C-474E4884EB0F}"/>
              </c:ext>
            </c:extLst>
          </c:dPt>
          <c:dPt>
            <c:idx val="226"/>
            <c:invertIfNegative val="1"/>
            <c:bubble3D val="0"/>
            <c:spPr>
              <a:solidFill>
                <a:srgbClr val="AEABAB"/>
              </a:solidFill>
            </c:spPr>
            <c:extLst>
              <c:ext xmlns:c16="http://schemas.microsoft.com/office/drawing/2014/chart" uri="{C3380CC4-5D6E-409C-BE32-E72D297353CC}">
                <c16:uniqueId val="{000001C7-CCEF-4D31-898C-474E4884EB0F}"/>
              </c:ext>
            </c:extLst>
          </c:dPt>
          <c:dPt>
            <c:idx val="227"/>
            <c:invertIfNegative val="1"/>
            <c:bubble3D val="0"/>
            <c:spPr>
              <a:solidFill>
                <a:srgbClr val="AEABAB"/>
              </a:solidFill>
            </c:spPr>
            <c:extLst>
              <c:ext xmlns:c16="http://schemas.microsoft.com/office/drawing/2014/chart" uri="{C3380CC4-5D6E-409C-BE32-E72D297353CC}">
                <c16:uniqueId val="{000001C9-CCEF-4D31-898C-474E4884EB0F}"/>
              </c:ext>
            </c:extLst>
          </c:dPt>
          <c:dPt>
            <c:idx val="228"/>
            <c:invertIfNegative val="1"/>
            <c:bubble3D val="0"/>
            <c:spPr>
              <a:solidFill>
                <a:srgbClr val="AEABAB"/>
              </a:solidFill>
            </c:spPr>
            <c:extLst>
              <c:ext xmlns:c16="http://schemas.microsoft.com/office/drawing/2014/chart" uri="{C3380CC4-5D6E-409C-BE32-E72D297353CC}">
                <c16:uniqueId val="{000001CB-CCEF-4D31-898C-474E4884EB0F}"/>
              </c:ext>
            </c:extLst>
          </c:dPt>
          <c:dPt>
            <c:idx val="229"/>
            <c:invertIfNegative val="1"/>
            <c:bubble3D val="0"/>
            <c:spPr>
              <a:solidFill>
                <a:srgbClr val="AEABAB"/>
              </a:solidFill>
            </c:spPr>
            <c:extLst>
              <c:ext xmlns:c16="http://schemas.microsoft.com/office/drawing/2014/chart" uri="{C3380CC4-5D6E-409C-BE32-E72D297353CC}">
                <c16:uniqueId val="{000001CD-CCEF-4D31-898C-474E4884EB0F}"/>
              </c:ext>
            </c:extLst>
          </c:dPt>
          <c:dPt>
            <c:idx val="230"/>
            <c:invertIfNegative val="1"/>
            <c:bubble3D val="0"/>
            <c:spPr>
              <a:solidFill>
                <a:srgbClr val="AEABAB"/>
              </a:solidFill>
            </c:spPr>
            <c:extLst>
              <c:ext xmlns:c16="http://schemas.microsoft.com/office/drawing/2014/chart" uri="{C3380CC4-5D6E-409C-BE32-E72D297353CC}">
                <c16:uniqueId val="{000001CF-CCEF-4D31-898C-474E4884EB0F}"/>
              </c:ext>
            </c:extLst>
          </c:dPt>
          <c:dPt>
            <c:idx val="231"/>
            <c:invertIfNegative val="1"/>
            <c:bubble3D val="0"/>
            <c:spPr>
              <a:solidFill>
                <a:srgbClr val="AEABAB"/>
              </a:solidFill>
            </c:spPr>
            <c:extLst>
              <c:ext xmlns:c16="http://schemas.microsoft.com/office/drawing/2014/chart" uri="{C3380CC4-5D6E-409C-BE32-E72D297353CC}">
                <c16:uniqueId val="{000001D1-CCEF-4D31-898C-474E4884EB0F}"/>
              </c:ext>
            </c:extLst>
          </c:dPt>
          <c:dPt>
            <c:idx val="232"/>
            <c:invertIfNegative val="1"/>
            <c:bubble3D val="0"/>
            <c:spPr>
              <a:solidFill>
                <a:srgbClr val="AEABAB"/>
              </a:solidFill>
            </c:spPr>
            <c:extLst>
              <c:ext xmlns:c16="http://schemas.microsoft.com/office/drawing/2014/chart" uri="{C3380CC4-5D6E-409C-BE32-E72D297353CC}">
                <c16:uniqueId val="{000001D3-CCEF-4D31-898C-474E4884EB0F}"/>
              </c:ext>
            </c:extLst>
          </c:dPt>
          <c:dPt>
            <c:idx val="233"/>
            <c:invertIfNegative val="1"/>
            <c:bubble3D val="0"/>
            <c:spPr>
              <a:solidFill>
                <a:srgbClr val="AEABAB"/>
              </a:solidFill>
            </c:spPr>
            <c:extLst>
              <c:ext xmlns:c16="http://schemas.microsoft.com/office/drawing/2014/chart" uri="{C3380CC4-5D6E-409C-BE32-E72D297353CC}">
                <c16:uniqueId val="{000001D5-CCEF-4D31-898C-474E4884EB0F}"/>
              </c:ext>
            </c:extLst>
          </c:dPt>
          <c:dPt>
            <c:idx val="234"/>
            <c:invertIfNegative val="1"/>
            <c:bubble3D val="0"/>
            <c:spPr>
              <a:solidFill>
                <a:srgbClr val="AEABAB"/>
              </a:solidFill>
            </c:spPr>
            <c:extLst>
              <c:ext xmlns:c16="http://schemas.microsoft.com/office/drawing/2014/chart" uri="{C3380CC4-5D6E-409C-BE32-E72D297353CC}">
                <c16:uniqueId val="{000001D7-CCEF-4D31-898C-474E4884EB0F}"/>
              </c:ext>
            </c:extLst>
          </c:dPt>
          <c:dPt>
            <c:idx val="235"/>
            <c:invertIfNegative val="1"/>
            <c:bubble3D val="0"/>
            <c:spPr>
              <a:solidFill>
                <a:srgbClr val="AEABAB"/>
              </a:solidFill>
            </c:spPr>
            <c:extLst>
              <c:ext xmlns:c16="http://schemas.microsoft.com/office/drawing/2014/chart" uri="{C3380CC4-5D6E-409C-BE32-E72D297353CC}">
                <c16:uniqueId val="{000001D9-CCEF-4D31-898C-474E4884EB0F}"/>
              </c:ext>
            </c:extLst>
          </c:dPt>
          <c:dPt>
            <c:idx val="236"/>
            <c:invertIfNegative val="1"/>
            <c:bubble3D val="0"/>
            <c:spPr>
              <a:solidFill>
                <a:srgbClr val="AEABAB"/>
              </a:solidFill>
            </c:spPr>
            <c:extLst>
              <c:ext xmlns:c16="http://schemas.microsoft.com/office/drawing/2014/chart" uri="{C3380CC4-5D6E-409C-BE32-E72D297353CC}">
                <c16:uniqueId val="{000001DB-CCEF-4D31-898C-474E4884EB0F}"/>
              </c:ext>
            </c:extLst>
          </c:dPt>
          <c:dPt>
            <c:idx val="237"/>
            <c:invertIfNegative val="1"/>
            <c:bubble3D val="0"/>
            <c:spPr>
              <a:solidFill>
                <a:srgbClr val="AEABAB"/>
              </a:solidFill>
            </c:spPr>
            <c:extLst>
              <c:ext xmlns:c16="http://schemas.microsoft.com/office/drawing/2014/chart" uri="{C3380CC4-5D6E-409C-BE32-E72D297353CC}">
                <c16:uniqueId val="{000001DD-CCEF-4D31-898C-474E4884EB0F}"/>
              </c:ext>
            </c:extLst>
          </c:dPt>
          <c:dPt>
            <c:idx val="238"/>
            <c:invertIfNegative val="1"/>
            <c:bubble3D val="0"/>
            <c:spPr>
              <a:solidFill>
                <a:srgbClr val="AEABAB"/>
              </a:solidFill>
            </c:spPr>
            <c:extLst>
              <c:ext xmlns:c16="http://schemas.microsoft.com/office/drawing/2014/chart" uri="{C3380CC4-5D6E-409C-BE32-E72D297353CC}">
                <c16:uniqueId val="{000001DF-CCEF-4D31-898C-474E4884EB0F}"/>
              </c:ext>
            </c:extLst>
          </c:dPt>
          <c:dPt>
            <c:idx val="239"/>
            <c:invertIfNegative val="1"/>
            <c:bubble3D val="0"/>
            <c:spPr>
              <a:solidFill>
                <a:srgbClr val="AEABAB"/>
              </a:solidFill>
            </c:spPr>
            <c:extLst>
              <c:ext xmlns:c16="http://schemas.microsoft.com/office/drawing/2014/chart" uri="{C3380CC4-5D6E-409C-BE32-E72D297353CC}">
                <c16:uniqueId val="{000001E1-CCEF-4D31-898C-474E4884EB0F}"/>
              </c:ext>
            </c:extLst>
          </c:dPt>
          <c:dPt>
            <c:idx val="240"/>
            <c:invertIfNegative val="1"/>
            <c:bubble3D val="0"/>
            <c:spPr>
              <a:solidFill>
                <a:srgbClr val="AEABAB"/>
              </a:solidFill>
            </c:spPr>
            <c:extLst>
              <c:ext xmlns:c16="http://schemas.microsoft.com/office/drawing/2014/chart" uri="{C3380CC4-5D6E-409C-BE32-E72D297353CC}">
                <c16:uniqueId val="{000001E3-CCEF-4D31-898C-474E4884EB0F}"/>
              </c:ext>
            </c:extLst>
          </c:dPt>
          <c:dPt>
            <c:idx val="241"/>
            <c:invertIfNegative val="1"/>
            <c:bubble3D val="0"/>
            <c:spPr>
              <a:solidFill>
                <a:srgbClr val="AEABAB"/>
              </a:solidFill>
            </c:spPr>
            <c:extLst>
              <c:ext xmlns:c16="http://schemas.microsoft.com/office/drawing/2014/chart" uri="{C3380CC4-5D6E-409C-BE32-E72D297353CC}">
                <c16:uniqueId val="{000001E5-CCEF-4D31-898C-474E4884EB0F}"/>
              </c:ext>
            </c:extLst>
          </c:dPt>
          <c:dPt>
            <c:idx val="242"/>
            <c:invertIfNegative val="1"/>
            <c:bubble3D val="0"/>
            <c:spPr>
              <a:solidFill>
                <a:srgbClr val="AEABAB"/>
              </a:solidFill>
            </c:spPr>
            <c:extLst>
              <c:ext xmlns:c16="http://schemas.microsoft.com/office/drawing/2014/chart" uri="{C3380CC4-5D6E-409C-BE32-E72D297353CC}">
                <c16:uniqueId val="{000001E7-CCEF-4D31-898C-474E4884EB0F}"/>
              </c:ext>
            </c:extLst>
          </c:dPt>
          <c:dPt>
            <c:idx val="243"/>
            <c:invertIfNegative val="1"/>
            <c:bubble3D val="0"/>
            <c:spPr>
              <a:solidFill>
                <a:srgbClr val="AEABAB"/>
              </a:solidFill>
            </c:spPr>
            <c:extLst>
              <c:ext xmlns:c16="http://schemas.microsoft.com/office/drawing/2014/chart" uri="{C3380CC4-5D6E-409C-BE32-E72D297353CC}">
                <c16:uniqueId val="{000001E9-CCEF-4D31-898C-474E4884EB0F}"/>
              </c:ext>
            </c:extLst>
          </c:dPt>
          <c:dPt>
            <c:idx val="244"/>
            <c:invertIfNegative val="1"/>
            <c:bubble3D val="0"/>
            <c:spPr>
              <a:solidFill>
                <a:srgbClr val="AEABAB"/>
              </a:solidFill>
            </c:spPr>
            <c:extLst>
              <c:ext xmlns:c16="http://schemas.microsoft.com/office/drawing/2014/chart" uri="{C3380CC4-5D6E-409C-BE32-E72D297353CC}">
                <c16:uniqueId val="{000001EB-CCEF-4D31-898C-474E4884EB0F}"/>
              </c:ext>
            </c:extLst>
          </c:dPt>
          <c:dPt>
            <c:idx val="245"/>
            <c:invertIfNegative val="1"/>
            <c:bubble3D val="0"/>
            <c:spPr>
              <a:solidFill>
                <a:srgbClr val="AEABAB"/>
              </a:solidFill>
            </c:spPr>
            <c:extLst>
              <c:ext xmlns:c16="http://schemas.microsoft.com/office/drawing/2014/chart" uri="{C3380CC4-5D6E-409C-BE32-E72D297353CC}">
                <c16:uniqueId val="{000001ED-CCEF-4D31-898C-474E4884EB0F}"/>
              </c:ext>
            </c:extLst>
          </c:dPt>
          <c:dPt>
            <c:idx val="246"/>
            <c:invertIfNegative val="1"/>
            <c:bubble3D val="0"/>
            <c:spPr>
              <a:solidFill>
                <a:srgbClr val="AEABAB"/>
              </a:solidFill>
            </c:spPr>
            <c:extLst>
              <c:ext xmlns:c16="http://schemas.microsoft.com/office/drawing/2014/chart" uri="{C3380CC4-5D6E-409C-BE32-E72D297353CC}">
                <c16:uniqueId val="{000001EF-CCEF-4D31-898C-474E4884EB0F}"/>
              </c:ext>
            </c:extLst>
          </c:dPt>
          <c:dPt>
            <c:idx val="247"/>
            <c:invertIfNegative val="1"/>
            <c:bubble3D val="0"/>
            <c:spPr>
              <a:solidFill>
                <a:srgbClr val="AEABAB"/>
              </a:solidFill>
            </c:spPr>
            <c:extLst>
              <c:ext xmlns:c16="http://schemas.microsoft.com/office/drawing/2014/chart" uri="{C3380CC4-5D6E-409C-BE32-E72D297353CC}">
                <c16:uniqueId val="{000001F1-CCEF-4D31-898C-474E4884EB0F}"/>
              </c:ext>
            </c:extLst>
          </c:dPt>
          <c:dPt>
            <c:idx val="248"/>
            <c:invertIfNegative val="1"/>
            <c:bubble3D val="0"/>
            <c:spPr>
              <a:solidFill>
                <a:srgbClr val="AEABAB"/>
              </a:solidFill>
            </c:spPr>
            <c:extLst>
              <c:ext xmlns:c16="http://schemas.microsoft.com/office/drawing/2014/chart" uri="{C3380CC4-5D6E-409C-BE32-E72D297353CC}">
                <c16:uniqueId val="{000001F3-CCEF-4D31-898C-474E4884EB0F}"/>
              </c:ext>
            </c:extLst>
          </c:dPt>
          <c:dPt>
            <c:idx val="249"/>
            <c:invertIfNegative val="1"/>
            <c:bubble3D val="0"/>
            <c:spPr>
              <a:solidFill>
                <a:srgbClr val="AEABAB"/>
              </a:solidFill>
            </c:spPr>
            <c:extLst>
              <c:ext xmlns:c16="http://schemas.microsoft.com/office/drawing/2014/chart" uri="{C3380CC4-5D6E-409C-BE32-E72D297353CC}">
                <c16:uniqueId val="{000001F5-CCEF-4D31-898C-474E4884EB0F}"/>
              </c:ext>
            </c:extLst>
          </c:dPt>
          <c:dPt>
            <c:idx val="250"/>
            <c:invertIfNegative val="1"/>
            <c:bubble3D val="0"/>
            <c:spPr>
              <a:solidFill>
                <a:srgbClr val="AEABAB"/>
              </a:solidFill>
            </c:spPr>
            <c:extLst>
              <c:ext xmlns:c16="http://schemas.microsoft.com/office/drawing/2014/chart" uri="{C3380CC4-5D6E-409C-BE32-E72D297353CC}">
                <c16:uniqueId val="{000001F7-CCEF-4D31-898C-474E4884EB0F}"/>
              </c:ext>
            </c:extLst>
          </c:dPt>
          <c:dPt>
            <c:idx val="251"/>
            <c:invertIfNegative val="1"/>
            <c:bubble3D val="0"/>
            <c:spPr>
              <a:solidFill>
                <a:srgbClr val="AEABAB"/>
              </a:solidFill>
            </c:spPr>
            <c:extLst>
              <c:ext xmlns:c16="http://schemas.microsoft.com/office/drawing/2014/chart" uri="{C3380CC4-5D6E-409C-BE32-E72D297353CC}">
                <c16:uniqueId val="{000001F9-CCEF-4D31-898C-474E4884EB0F}"/>
              </c:ext>
            </c:extLst>
          </c:dPt>
          <c:dPt>
            <c:idx val="252"/>
            <c:invertIfNegative val="1"/>
            <c:bubble3D val="0"/>
            <c:spPr>
              <a:solidFill>
                <a:srgbClr val="AEABAB"/>
              </a:solidFill>
            </c:spPr>
            <c:extLst>
              <c:ext xmlns:c16="http://schemas.microsoft.com/office/drawing/2014/chart" uri="{C3380CC4-5D6E-409C-BE32-E72D297353CC}">
                <c16:uniqueId val="{000001FB-CCEF-4D31-898C-474E4884EB0F}"/>
              </c:ext>
            </c:extLst>
          </c:dPt>
          <c:dPt>
            <c:idx val="253"/>
            <c:invertIfNegative val="1"/>
            <c:bubble3D val="0"/>
            <c:spPr>
              <a:solidFill>
                <a:srgbClr val="AEABAB"/>
              </a:solidFill>
            </c:spPr>
            <c:extLst>
              <c:ext xmlns:c16="http://schemas.microsoft.com/office/drawing/2014/chart" uri="{C3380CC4-5D6E-409C-BE32-E72D297353CC}">
                <c16:uniqueId val="{000001FD-CCEF-4D31-898C-474E4884EB0F}"/>
              </c:ext>
            </c:extLst>
          </c:dPt>
          <c:dPt>
            <c:idx val="254"/>
            <c:invertIfNegative val="1"/>
            <c:bubble3D val="0"/>
            <c:spPr>
              <a:solidFill>
                <a:srgbClr val="AEABAB"/>
              </a:solidFill>
            </c:spPr>
            <c:extLst>
              <c:ext xmlns:c16="http://schemas.microsoft.com/office/drawing/2014/chart" uri="{C3380CC4-5D6E-409C-BE32-E72D297353CC}">
                <c16:uniqueId val="{000001FF-CCEF-4D31-898C-474E4884EB0F}"/>
              </c:ext>
            </c:extLst>
          </c:dPt>
          <c:dPt>
            <c:idx val="255"/>
            <c:invertIfNegative val="1"/>
            <c:bubble3D val="0"/>
            <c:spPr>
              <a:solidFill>
                <a:srgbClr val="AEABAB"/>
              </a:solidFill>
            </c:spPr>
            <c:extLst>
              <c:ext xmlns:c16="http://schemas.microsoft.com/office/drawing/2014/chart" uri="{C3380CC4-5D6E-409C-BE32-E72D297353CC}">
                <c16:uniqueId val="{00000201-CCEF-4D31-898C-474E4884EB0F}"/>
              </c:ext>
            </c:extLst>
          </c:dPt>
          <c:dPt>
            <c:idx val="256"/>
            <c:invertIfNegative val="1"/>
            <c:bubble3D val="0"/>
            <c:spPr>
              <a:solidFill>
                <a:srgbClr val="AEABAB"/>
              </a:solidFill>
            </c:spPr>
            <c:extLst>
              <c:ext xmlns:c16="http://schemas.microsoft.com/office/drawing/2014/chart" uri="{C3380CC4-5D6E-409C-BE32-E72D297353CC}">
                <c16:uniqueId val="{00000203-CCEF-4D31-898C-474E4884EB0F}"/>
              </c:ext>
            </c:extLst>
          </c:dPt>
          <c:dPt>
            <c:idx val="257"/>
            <c:invertIfNegative val="1"/>
            <c:bubble3D val="0"/>
            <c:spPr>
              <a:solidFill>
                <a:srgbClr val="AEABAB"/>
              </a:solidFill>
            </c:spPr>
            <c:extLst>
              <c:ext xmlns:c16="http://schemas.microsoft.com/office/drawing/2014/chart" uri="{C3380CC4-5D6E-409C-BE32-E72D297353CC}">
                <c16:uniqueId val="{00000205-CCEF-4D31-898C-474E4884EB0F}"/>
              </c:ext>
            </c:extLst>
          </c:dPt>
          <c:dPt>
            <c:idx val="258"/>
            <c:invertIfNegative val="1"/>
            <c:bubble3D val="0"/>
            <c:spPr>
              <a:solidFill>
                <a:srgbClr val="AEABAB"/>
              </a:solidFill>
            </c:spPr>
            <c:extLst>
              <c:ext xmlns:c16="http://schemas.microsoft.com/office/drawing/2014/chart" uri="{C3380CC4-5D6E-409C-BE32-E72D297353CC}">
                <c16:uniqueId val="{00000207-CCEF-4D31-898C-474E4884EB0F}"/>
              </c:ext>
            </c:extLst>
          </c:dPt>
          <c:dPt>
            <c:idx val="259"/>
            <c:invertIfNegative val="1"/>
            <c:bubble3D val="0"/>
            <c:spPr>
              <a:solidFill>
                <a:srgbClr val="AEABAB"/>
              </a:solidFill>
            </c:spPr>
            <c:extLst>
              <c:ext xmlns:c16="http://schemas.microsoft.com/office/drawing/2014/chart" uri="{C3380CC4-5D6E-409C-BE32-E72D297353CC}">
                <c16:uniqueId val="{00000209-CCEF-4D31-898C-474E4884EB0F}"/>
              </c:ext>
            </c:extLst>
          </c:dPt>
          <c:dPt>
            <c:idx val="260"/>
            <c:invertIfNegative val="1"/>
            <c:bubble3D val="0"/>
            <c:spPr>
              <a:solidFill>
                <a:srgbClr val="AEABAB"/>
              </a:solidFill>
            </c:spPr>
            <c:extLst>
              <c:ext xmlns:c16="http://schemas.microsoft.com/office/drawing/2014/chart" uri="{C3380CC4-5D6E-409C-BE32-E72D297353CC}">
                <c16:uniqueId val="{0000020B-CCEF-4D31-898C-474E4884EB0F}"/>
              </c:ext>
            </c:extLst>
          </c:dPt>
          <c:dPt>
            <c:idx val="261"/>
            <c:invertIfNegative val="1"/>
            <c:bubble3D val="0"/>
            <c:spPr>
              <a:solidFill>
                <a:srgbClr val="AEABAB"/>
              </a:solidFill>
            </c:spPr>
            <c:extLst>
              <c:ext xmlns:c16="http://schemas.microsoft.com/office/drawing/2014/chart" uri="{C3380CC4-5D6E-409C-BE32-E72D297353CC}">
                <c16:uniqueId val="{0000020D-CCEF-4D31-898C-474E4884EB0F}"/>
              </c:ext>
            </c:extLst>
          </c:dPt>
          <c:dPt>
            <c:idx val="262"/>
            <c:invertIfNegative val="1"/>
            <c:bubble3D val="0"/>
            <c:spPr>
              <a:solidFill>
                <a:srgbClr val="AEABAB"/>
              </a:solidFill>
            </c:spPr>
            <c:extLst>
              <c:ext xmlns:c16="http://schemas.microsoft.com/office/drawing/2014/chart" uri="{C3380CC4-5D6E-409C-BE32-E72D297353CC}">
                <c16:uniqueId val="{0000020F-CCEF-4D31-898C-474E4884EB0F}"/>
              </c:ext>
            </c:extLst>
          </c:dPt>
          <c:dPt>
            <c:idx val="263"/>
            <c:invertIfNegative val="1"/>
            <c:bubble3D val="0"/>
            <c:spPr>
              <a:solidFill>
                <a:srgbClr val="AEABAB"/>
              </a:solidFill>
            </c:spPr>
            <c:extLst>
              <c:ext xmlns:c16="http://schemas.microsoft.com/office/drawing/2014/chart" uri="{C3380CC4-5D6E-409C-BE32-E72D297353CC}">
                <c16:uniqueId val="{00000211-CCEF-4D31-898C-474E4884EB0F}"/>
              </c:ext>
            </c:extLst>
          </c:dPt>
          <c:dPt>
            <c:idx val="264"/>
            <c:invertIfNegative val="1"/>
            <c:bubble3D val="0"/>
            <c:spPr>
              <a:solidFill>
                <a:srgbClr val="AEABAB"/>
              </a:solidFill>
            </c:spPr>
            <c:extLst>
              <c:ext xmlns:c16="http://schemas.microsoft.com/office/drawing/2014/chart" uri="{C3380CC4-5D6E-409C-BE32-E72D297353CC}">
                <c16:uniqueId val="{00000213-CCEF-4D31-898C-474E4884EB0F}"/>
              </c:ext>
            </c:extLst>
          </c:dPt>
          <c:dPt>
            <c:idx val="265"/>
            <c:invertIfNegative val="1"/>
            <c:bubble3D val="0"/>
            <c:spPr>
              <a:solidFill>
                <a:srgbClr val="AEABAB"/>
              </a:solidFill>
            </c:spPr>
            <c:extLst>
              <c:ext xmlns:c16="http://schemas.microsoft.com/office/drawing/2014/chart" uri="{C3380CC4-5D6E-409C-BE32-E72D297353CC}">
                <c16:uniqueId val="{00000215-CCEF-4D31-898C-474E4884EB0F}"/>
              </c:ext>
            </c:extLst>
          </c:dPt>
          <c:dPt>
            <c:idx val="266"/>
            <c:invertIfNegative val="1"/>
            <c:bubble3D val="0"/>
            <c:spPr>
              <a:solidFill>
                <a:srgbClr val="AEABAB"/>
              </a:solidFill>
            </c:spPr>
            <c:extLst>
              <c:ext xmlns:c16="http://schemas.microsoft.com/office/drawing/2014/chart" uri="{C3380CC4-5D6E-409C-BE32-E72D297353CC}">
                <c16:uniqueId val="{00000217-CCEF-4D31-898C-474E4884EB0F}"/>
              </c:ext>
            </c:extLst>
          </c:dPt>
          <c:dPt>
            <c:idx val="267"/>
            <c:invertIfNegative val="1"/>
            <c:bubble3D val="0"/>
            <c:spPr>
              <a:solidFill>
                <a:srgbClr val="AEABAB"/>
              </a:solidFill>
            </c:spPr>
            <c:extLst>
              <c:ext xmlns:c16="http://schemas.microsoft.com/office/drawing/2014/chart" uri="{C3380CC4-5D6E-409C-BE32-E72D297353CC}">
                <c16:uniqueId val="{00000219-CCEF-4D31-898C-474E4884EB0F}"/>
              </c:ext>
            </c:extLst>
          </c:dPt>
          <c:dPt>
            <c:idx val="268"/>
            <c:invertIfNegative val="1"/>
            <c:bubble3D val="0"/>
            <c:spPr>
              <a:solidFill>
                <a:srgbClr val="AEABAB"/>
              </a:solidFill>
            </c:spPr>
            <c:extLst>
              <c:ext xmlns:c16="http://schemas.microsoft.com/office/drawing/2014/chart" uri="{C3380CC4-5D6E-409C-BE32-E72D297353CC}">
                <c16:uniqueId val="{0000021B-CCEF-4D31-898C-474E4884EB0F}"/>
              </c:ext>
            </c:extLst>
          </c:dPt>
          <c:dPt>
            <c:idx val="269"/>
            <c:invertIfNegative val="1"/>
            <c:bubble3D val="0"/>
            <c:spPr>
              <a:solidFill>
                <a:srgbClr val="AEABAB"/>
              </a:solidFill>
            </c:spPr>
            <c:extLst>
              <c:ext xmlns:c16="http://schemas.microsoft.com/office/drawing/2014/chart" uri="{C3380CC4-5D6E-409C-BE32-E72D297353CC}">
                <c16:uniqueId val="{0000021D-CCEF-4D31-898C-474E4884EB0F}"/>
              </c:ext>
            </c:extLst>
          </c:dPt>
          <c:dPt>
            <c:idx val="270"/>
            <c:invertIfNegative val="1"/>
            <c:bubble3D val="0"/>
            <c:spPr>
              <a:solidFill>
                <a:srgbClr val="AEABAB"/>
              </a:solidFill>
            </c:spPr>
            <c:extLst>
              <c:ext xmlns:c16="http://schemas.microsoft.com/office/drawing/2014/chart" uri="{C3380CC4-5D6E-409C-BE32-E72D297353CC}">
                <c16:uniqueId val="{0000021F-CCEF-4D31-898C-474E4884EB0F}"/>
              </c:ext>
            </c:extLst>
          </c:dPt>
          <c:dPt>
            <c:idx val="271"/>
            <c:invertIfNegative val="1"/>
            <c:bubble3D val="0"/>
            <c:spPr>
              <a:solidFill>
                <a:srgbClr val="AEABAB"/>
              </a:solidFill>
            </c:spPr>
            <c:extLst>
              <c:ext xmlns:c16="http://schemas.microsoft.com/office/drawing/2014/chart" uri="{C3380CC4-5D6E-409C-BE32-E72D297353CC}">
                <c16:uniqueId val="{00000221-CCEF-4D31-898C-474E4884EB0F}"/>
              </c:ext>
            </c:extLst>
          </c:dPt>
          <c:dPt>
            <c:idx val="272"/>
            <c:invertIfNegative val="1"/>
            <c:bubble3D val="0"/>
            <c:spPr>
              <a:solidFill>
                <a:srgbClr val="AEABAB"/>
              </a:solidFill>
            </c:spPr>
            <c:extLst>
              <c:ext xmlns:c16="http://schemas.microsoft.com/office/drawing/2014/chart" uri="{C3380CC4-5D6E-409C-BE32-E72D297353CC}">
                <c16:uniqueId val="{00000223-CCEF-4D31-898C-474E4884EB0F}"/>
              </c:ext>
            </c:extLst>
          </c:dPt>
          <c:dPt>
            <c:idx val="273"/>
            <c:invertIfNegative val="1"/>
            <c:bubble3D val="0"/>
            <c:spPr>
              <a:solidFill>
                <a:srgbClr val="AEABAB"/>
              </a:solidFill>
            </c:spPr>
            <c:extLst>
              <c:ext xmlns:c16="http://schemas.microsoft.com/office/drawing/2014/chart" uri="{C3380CC4-5D6E-409C-BE32-E72D297353CC}">
                <c16:uniqueId val="{00000225-CCEF-4D31-898C-474E4884EB0F}"/>
              </c:ext>
            </c:extLst>
          </c:dPt>
          <c:dPt>
            <c:idx val="274"/>
            <c:invertIfNegative val="1"/>
            <c:bubble3D val="0"/>
            <c:spPr>
              <a:solidFill>
                <a:srgbClr val="AEABAB"/>
              </a:solidFill>
            </c:spPr>
            <c:extLst>
              <c:ext xmlns:c16="http://schemas.microsoft.com/office/drawing/2014/chart" uri="{C3380CC4-5D6E-409C-BE32-E72D297353CC}">
                <c16:uniqueId val="{00000227-CCEF-4D31-898C-474E4884EB0F}"/>
              </c:ext>
            </c:extLst>
          </c:dPt>
          <c:dPt>
            <c:idx val="275"/>
            <c:invertIfNegative val="1"/>
            <c:bubble3D val="0"/>
            <c:spPr>
              <a:solidFill>
                <a:srgbClr val="AEABAB"/>
              </a:solidFill>
            </c:spPr>
            <c:extLst>
              <c:ext xmlns:c16="http://schemas.microsoft.com/office/drawing/2014/chart" uri="{C3380CC4-5D6E-409C-BE32-E72D297353CC}">
                <c16:uniqueId val="{00000229-CCEF-4D31-898C-474E4884EB0F}"/>
              </c:ext>
            </c:extLst>
          </c:dPt>
          <c:dPt>
            <c:idx val="276"/>
            <c:invertIfNegative val="1"/>
            <c:bubble3D val="0"/>
            <c:spPr>
              <a:solidFill>
                <a:srgbClr val="AEABAB"/>
              </a:solidFill>
            </c:spPr>
            <c:extLst>
              <c:ext xmlns:c16="http://schemas.microsoft.com/office/drawing/2014/chart" uri="{C3380CC4-5D6E-409C-BE32-E72D297353CC}">
                <c16:uniqueId val="{0000022B-CCEF-4D31-898C-474E4884EB0F}"/>
              </c:ext>
            </c:extLst>
          </c:dPt>
          <c:dPt>
            <c:idx val="277"/>
            <c:invertIfNegative val="1"/>
            <c:bubble3D val="0"/>
            <c:spPr>
              <a:solidFill>
                <a:srgbClr val="AEABAB"/>
              </a:solidFill>
            </c:spPr>
            <c:extLst>
              <c:ext xmlns:c16="http://schemas.microsoft.com/office/drawing/2014/chart" uri="{C3380CC4-5D6E-409C-BE32-E72D297353CC}">
                <c16:uniqueId val="{0000022D-CCEF-4D31-898C-474E4884EB0F}"/>
              </c:ext>
            </c:extLst>
          </c:dPt>
          <c:dPt>
            <c:idx val="278"/>
            <c:invertIfNegative val="1"/>
            <c:bubble3D val="0"/>
            <c:spPr>
              <a:solidFill>
                <a:srgbClr val="AEABAB"/>
              </a:solidFill>
            </c:spPr>
            <c:extLst>
              <c:ext xmlns:c16="http://schemas.microsoft.com/office/drawing/2014/chart" uri="{C3380CC4-5D6E-409C-BE32-E72D297353CC}">
                <c16:uniqueId val="{0000022F-CCEF-4D31-898C-474E4884EB0F}"/>
              </c:ext>
            </c:extLst>
          </c:dPt>
          <c:dPt>
            <c:idx val="279"/>
            <c:invertIfNegative val="1"/>
            <c:bubble3D val="0"/>
            <c:spPr>
              <a:solidFill>
                <a:srgbClr val="AEABAB"/>
              </a:solidFill>
            </c:spPr>
            <c:extLst>
              <c:ext xmlns:c16="http://schemas.microsoft.com/office/drawing/2014/chart" uri="{C3380CC4-5D6E-409C-BE32-E72D297353CC}">
                <c16:uniqueId val="{00000231-CCEF-4D31-898C-474E4884EB0F}"/>
              </c:ext>
            </c:extLst>
          </c:dPt>
          <c:dPt>
            <c:idx val="280"/>
            <c:invertIfNegative val="1"/>
            <c:bubble3D val="0"/>
            <c:spPr>
              <a:solidFill>
                <a:srgbClr val="AEABAB"/>
              </a:solidFill>
            </c:spPr>
            <c:extLst>
              <c:ext xmlns:c16="http://schemas.microsoft.com/office/drawing/2014/chart" uri="{C3380CC4-5D6E-409C-BE32-E72D297353CC}">
                <c16:uniqueId val="{00000233-CCEF-4D31-898C-474E4884EB0F}"/>
              </c:ext>
            </c:extLst>
          </c:dPt>
          <c:dPt>
            <c:idx val="281"/>
            <c:invertIfNegative val="1"/>
            <c:bubble3D val="0"/>
            <c:spPr>
              <a:solidFill>
                <a:srgbClr val="AEABAB"/>
              </a:solidFill>
            </c:spPr>
            <c:extLst>
              <c:ext xmlns:c16="http://schemas.microsoft.com/office/drawing/2014/chart" uri="{C3380CC4-5D6E-409C-BE32-E72D297353CC}">
                <c16:uniqueId val="{00000235-CCEF-4D31-898C-474E4884EB0F}"/>
              </c:ext>
            </c:extLst>
          </c:dPt>
          <c:dPt>
            <c:idx val="282"/>
            <c:invertIfNegative val="1"/>
            <c:bubble3D val="0"/>
            <c:spPr>
              <a:solidFill>
                <a:srgbClr val="AEABAB"/>
              </a:solidFill>
            </c:spPr>
            <c:extLst>
              <c:ext xmlns:c16="http://schemas.microsoft.com/office/drawing/2014/chart" uri="{C3380CC4-5D6E-409C-BE32-E72D297353CC}">
                <c16:uniqueId val="{00000237-CCEF-4D31-898C-474E4884EB0F}"/>
              </c:ext>
            </c:extLst>
          </c:dPt>
          <c:dPt>
            <c:idx val="283"/>
            <c:invertIfNegative val="1"/>
            <c:bubble3D val="0"/>
            <c:spPr>
              <a:solidFill>
                <a:srgbClr val="AEABAB"/>
              </a:solidFill>
            </c:spPr>
            <c:extLst>
              <c:ext xmlns:c16="http://schemas.microsoft.com/office/drawing/2014/chart" uri="{C3380CC4-5D6E-409C-BE32-E72D297353CC}">
                <c16:uniqueId val="{00000239-CCEF-4D31-898C-474E4884EB0F}"/>
              </c:ext>
            </c:extLst>
          </c:dPt>
          <c:dPt>
            <c:idx val="284"/>
            <c:invertIfNegative val="1"/>
            <c:bubble3D val="0"/>
            <c:spPr>
              <a:solidFill>
                <a:srgbClr val="AEABAB"/>
              </a:solidFill>
            </c:spPr>
            <c:extLst>
              <c:ext xmlns:c16="http://schemas.microsoft.com/office/drawing/2014/chart" uri="{C3380CC4-5D6E-409C-BE32-E72D297353CC}">
                <c16:uniqueId val="{0000023B-CCEF-4D31-898C-474E4884EB0F}"/>
              </c:ext>
            </c:extLst>
          </c:dPt>
          <c:dPt>
            <c:idx val="285"/>
            <c:invertIfNegative val="1"/>
            <c:bubble3D val="0"/>
            <c:spPr>
              <a:solidFill>
                <a:srgbClr val="AEABAB"/>
              </a:solidFill>
            </c:spPr>
            <c:extLst>
              <c:ext xmlns:c16="http://schemas.microsoft.com/office/drawing/2014/chart" uri="{C3380CC4-5D6E-409C-BE32-E72D297353CC}">
                <c16:uniqueId val="{0000023D-CCEF-4D31-898C-474E4884EB0F}"/>
              </c:ext>
            </c:extLst>
          </c:dPt>
          <c:dPt>
            <c:idx val="286"/>
            <c:invertIfNegative val="1"/>
            <c:bubble3D val="0"/>
            <c:spPr>
              <a:solidFill>
                <a:srgbClr val="AEABAB"/>
              </a:solidFill>
            </c:spPr>
            <c:extLst>
              <c:ext xmlns:c16="http://schemas.microsoft.com/office/drawing/2014/chart" uri="{C3380CC4-5D6E-409C-BE32-E72D297353CC}">
                <c16:uniqueId val="{0000023F-CCEF-4D31-898C-474E4884EB0F}"/>
              </c:ext>
            </c:extLst>
          </c:dPt>
          <c:dPt>
            <c:idx val="287"/>
            <c:invertIfNegative val="1"/>
            <c:bubble3D val="0"/>
            <c:spPr>
              <a:solidFill>
                <a:srgbClr val="AEABAB"/>
              </a:solidFill>
            </c:spPr>
            <c:extLst>
              <c:ext xmlns:c16="http://schemas.microsoft.com/office/drawing/2014/chart" uri="{C3380CC4-5D6E-409C-BE32-E72D297353CC}">
                <c16:uniqueId val="{00000241-CCEF-4D31-898C-474E4884EB0F}"/>
              </c:ext>
            </c:extLst>
          </c:dPt>
          <c:dPt>
            <c:idx val="288"/>
            <c:invertIfNegative val="1"/>
            <c:bubble3D val="0"/>
            <c:spPr>
              <a:solidFill>
                <a:srgbClr val="AEABAB"/>
              </a:solidFill>
            </c:spPr>
            <c:extLst>
              <c:ext xmlns:c16="http://schemas.microsoft.com/office/drawing/2014/chart" uri="{C3380CC4-5D6E-409C-BE32-E72D297353CC}">
                <c16:uniqueId val="{00000243-CCEF-4D31-898C-474E4884EB0F}"/>
              </c:ext>
            </c:extLst>
          </c:dPt>
          <c:dPt>
            <c:idx val="289"/>
            <c:invertIfNegative val="1"/>
            <c:bubble3D val="0"/>
            <c:spPr>
              <a:solidFill>
                <a:srgbClr val="AEABAB"/>
              </a:solidFill>
            </c:spPr>
            <c:extLst>
              <c:ext xmlns:c16="http://schemas.microsoft.com/office/drawing/2014/chart" uri="{C3380CC4-5D6E-409C-BE32-E72D297353CC}">
                <c16:uniqueId val="{00000245-CCEF-4D31-898C-474E4884EB0F}"/>
              </c:ext>
            </c:extLst>
          </c:dPt>
          <c:dPt>
            <c:idx val="290"/>
            <c:invertIfNegative val="1"/>
            <c:bubble3D val="0"/>
            <c:spPr>
              <a:solidFill>
                <a:srgbClr val="AEABAB"/>
              </a:solidFill>
            </c:spPr>
            <c:extLst>
              <c:ext xmlns:c16="http://schemas.microsoft.com/office/drawing/2014/chart" uri="{C3380CC4-5D6E-409C-BE32-E72D297353CC}">
                <c16:uniqueId val="{00000247-CCEF-4D31-898C-474E4884EB0F}"/>
              </c:ext>
            </c:extLst>
          </c:dPt>
          <c:dPt>
            <c:idx val="291"/>
            <c:invertIfNegative val="1"/>
            <c:bubble3D val="0"/>
            <c:spPr>
              <a:solidFill>
                <a:srgbClr val="AEABAB"/>
              </a:solidFill>
            </c:spPr>
            <c:extLst>
              <c:ext xmlns:c16="http://schemas.microsoft.com/office/drawing/2014/chart" uri="{C3380CC4-5D6E-409C-BE32-E72D297353CC}">
                <c16:uniqueId val="{00000249-CCEF-4D31-898C-474E4884EB0F}"/>
              </c:ext>
            </c:extLst>
          </c:dPt>
          <c:dPt>
            <c:idx val="292"/>
            <c:invertIfNegative val="1"/>
            <c:bubble3D val="0"/>
            <c:spPr>
              <a:solidFill>
                <a:srgbClr val="AEABAB"/>
              </a:solidFill>
            </c:spPr>
            <c:extLst>
              <c:ext xmlns:c16="http://schemas.microsoft.com/office/drawing/2014/chart" uri="{C3380CC4-5D6E-409C-BE32-E72D297353CC}">
                <c16:uniqueId val="{0000024B-CCEF-4D31-898C-474E4884EB0F}"/>
              </c:ext>
            </c:extLst>
          </c:dPt>
          <c:dPt>
            <c:idx val="293"/>
            <c:invertIfNegative val="1"/>
            <c:bubble3D val="0"/>
            <c:spPr>
              <a:solidFill>
                <a:srgbClr val="AEABAB"/>
              </a:solidFill>
            </c:spPr>
            <c:extLst>
              <c:ext xmlns:c16="http://schemas.microsoft.com/office/drawing/2014/chart" uri="{C3380CC4-5D6E-409C-BE32-E72D297353CC}">
                <c16:uniqueId val="{0000024D-CCEF-4D31-898C-474E4884EB0F}"/>
              </c:ext>
            </c:extLst>
          </c:dPt>
          <c:dPt>
            <c:idx val="294"/>
            <c:invertIfNegative val="1"/>
            <c:bubble3D val="0"/>
            <c:spPr>
              <a:solidFill>
                <a:srgbClr val="AEABAB"/>
              </a:solidFill>
            </c:spPr>
            <c:extLst>
              <c:ext xmlns:c16="http://schemas.microsoft.com/office/drawing/2014/chart" uri="{C3380CC4-5D6E-409C-BE32-E72D297353CC}">
                <c16:uniqueId val="{0000024F-CCEF-4D31-898C-474E4884EB0F}"/>
              </c:ext>
            </c:extLst>
          </c:dPt>
          <c:dPt>
            <c:idx val="295"/>
            <c:invertIfNegative val="1"/>
            <c:bubble3D val="0"/>
            <c:spPr>
              <a:solidFill>
                <a:srgbClr val="AEABAB"/>
              </a:solidFill>
            </c:spPr>
            <c:extLst>
              <c:ext xmlns:c16="http://schemas.microsoft.com/office/drawing/2014/chart" uri="{C3380CC4-5D6E-409C-BE32-E72D297353CC}">
                <c16:uniqueId val="{00000251-CCEF-4D31-898C-474E4884EB0F}"/>
              </c:ext>
            </c:extLst>
          </c:dPt>
          <c:dPt>
            <c:idx val="296"/>
            <c:invertIfNegative val="1"/>
            <c:bubble3D val="0"/>
            <c:spPr>
              <a:solidFill>
                <a:srgbClr val="AEABAB"/>
              </a:solidFill>
            </c:spPr>
            <c:extLst>
              <c:ext xmlns:c16="http://schemas.microsoft.com/office/drawing/2014/chart" uri="{C3380CC4-5D6E-409C-BE32-E72D297353CC}">
                <c16:uniqueId val="{00000253-CCEF-4D31-898C-474E4884EB0F}"/>
              </c:ext>
            </c:extLst>
          </c:dPt>
          <c:dPt>
            <c:idx val="297"/>
            <c:invertIfNegative val="1"/>
            <c:bubble3D val="0"/>
            <c:spPr>
              <a:solidFill>
                <a:srgbClr val="AEABAB"/>
              </a:solidFill>
            </c:spPr>
            <c:extLst>
              <c:ext xmlns:c16="http://schemas.microsoft.com/office/drawing/2014/chart" uri="{C3380CC4-5D6E-409C-BE32-E72D297353CC}">
                <c16:uniqueId val="{00000255-CCEF-4D31-898C-474E4884EB0F}"/>
              </c:ext>
            </c:extLst>
          </c:dPt>
          <c:dPt>
            <c:idx val="298"/>
            <c:invertIfNegative val="1"/>
            <c:bubble3D val="0"/>
            <c:spPr>
              <a:solidFill>
                <a:srgbClr val="AEABAB"/>
              </a:solidFill>
            </c:spPr>
            <c:extLst>
              <c:ext xmlns:c16="http://schemas.microsoft.com/office/drawing/2014/chart" uri="{C3380CC4-5D6E-409C-BE32-E72D297353CC}">
                <c16:uniqueId val="{00000257-CCEF-4D31-898C-474E4884EB0F}"/>
              </c:ext>
            </c:extLst>
          </c:dPt>
          <c:dPt>
            <c:idx val="299"/>
            <c:invertIfNegative val="1"/>
            <c:bubble3D val="0"/>
            <c:spPr>
              <a:solidFill>
                <a:srgbClr val="AEABAB"/>
              </a:solidFill>
            </c:spPr>
            <c:extLst>
              <c:ext xmlns:c16="http://schemas.microsoft.com/office/drawing/2014/chart" uri="{C3380CC4-5D6E-409C-BE32-E72D297353CC}">
                <c16:uniqueId val="{00000259-CCEF-4D31-898C-474E4884EB0F}"/>
              </c:ext>
            </c:extLst>
          </c:dPt>
          <c:dPt>
            <c:idx val="300"/>
            <c:invertIfNegative val="1"/>
            <c:bubble3D val="0"/>
            <c:spPr>
              <a:solidFill>
                <a:srgbClr val="AEABAB"/>
              </a:solidFill>
            </c:spPr>
            <c:extLst>
              <c:ext xmlns:c16="http://schemas.microsoft.com/office/drawing/2014/chart" uri="{C3380CC4-5D6E-409C-BE32-E72D297353CC}">
                <c16:uniqueId val="{0000025B-CCEF-4D31-898C-474E4884EB0F}"/>
              </c:ext>
            </c:extLst>
          </c:dPt>
          <c:dPt>
            <c:idx val="301"/>
            <c:invertIfNegative val="1"/>
            <c:bubble3D val="0"/>
            <c:spPr>
              <a:solidFill>
                <a:srgbClr val="AEABAB"/>
              </a:solidFill>
            </c:spPr>
            <c:extLst>
              <c:ext xmlns:c16="http://schemas.microsoft.com/office/drawing/2014/chart" uri="{C3380CC4-5D6E-409C-BE32-E72D297353CC}">
                <c16:uniqueId val="{0000025D-CCEF-4D31-898C-474E4884EB0F}"/>
              </c:ext>
            </c:extLst>
          </c:dPt>
          <c:dPt>
            <c:idx val="302"/>
            <c:invertIfNegative val="1"/>
            <c:bubble3D val="0"/>
            <c:spPr>
              <a:solidFill>
                <a:srgbClr val="AEABAB"/>
              </a:solidFill>
            </c:spPr>
            <c:extLst>
              <c:ext xmlns:c16="http://schemas.microsoft.com/office/drawing/2014/chart" uri="{C3380CC4-5D6E-409C-BE32-E72D297353CC}">
                <c16:uniqueId val="{0000025F-CCEF-4D31-898C-474E4884EB0F}"/>
              </c:ext>
            </c:extLst>
          </c:dPt>
          <c:dPt>
            <c:idx val="303"/>
            <c:invertIfNegative val="1"/>
            <c:bubble3D val="0"/>
            <c:spPr>
              <a:solidFill>
                <a:srgbClr val="AEABAB"/>
              </a:solidFill>
            </c:spPr>
            <c:extLst>
              <c:ext xmlns:c16="http://schemas.microsoft.com/office/drawing/2014/chart" uri="{C3380CC4-5D6E-409C-BE32-E72D297353CC}">
                <c16:uniqueId val="{00000261-CCEF-4D31-898C-474E4884EB0F}"/>
              </c:ext>
            </c:extLst>
          </c:dPt>
          <c:dPt>
            <c:idx val="304"/>
            <c:invertIfNegative val="1"/>
            <c:bubble3D val="0"/>
            <c:spPr>
              <a:solidFill>
                <a:srgbClr val="AEABAB"/>
              </a:solidFill>
            </c:spPr>
            <c:extLst>
              <c:ext xmlns:c16="http://schemas.microsoft.com/office/drawing/2014/chart" uri="{C3380CC4-5D6E-409C-BE32-E72D297353CC}">
                <c16:uniqueId val="{00000263-CCEF-4D31-898C-474E4884EB0F}"/>
              </c:ext>
            </c:extLst>
          </c:dPt>
          <c:dPt>
            <c:idx val="305"/>
            <c:invertIfNegative val="1"/>
            <c:bubble3D val="0"/>
            <c:spPr>
              <a:solidFill>
                <a:srgbClr val="AEABAB"/>
              </a:solidFill>
            </c:spPr>
            <c:extLst>
              <c:ext xmlns:c16="http://schemas.microsoft.com/office/drawing/2014/chart" uri="{C3380CC4-5D6E-409C-BE32-E72D297353CC}">
                <c16:uniqueId val="{00000265-CCEF-4D31-898C-474E4884EB0F}"/>
              </c:ext>
            </c:extLst>
          </c:dPt>
          <c:dPt>
            <c:idx val="306"/>
            <c:invertIfNegative val="1"/>
            <c:bubble3D val="0"/>
            <c:spPr>
              <a:solidFill>
                <a:srgbClr val="AEABAB"/>
              </a:solidFill>
            </c:spPr>
            <c:extLst>
              <c:ext xmlns:c16="http://schemas.microsoft.com/office/drawing/2014/chart" uri="{C3380CC4-5D6E-409C-BE32-E72D297353CC}">
                <c16:uniqueId val="{00000267-CCEF-4D31-898C-474E4884EB0F}"/>
              </c:ext>
            </c:extLst>
          </c:dPt>
          <c:dPt>
            <c:idx val="307"/>
            <c:invertIfNegative val="1"/>
            <c:bubble3D val="0"/>
            <c:spPr>
              <a:solidFill>
                <a:srgbClr val="AEABAB"/>
              </a:solidFill>
            </c:spPr>
            <c:extLst>
              <c:ext xmlns:c16="http://schemas.microsoft.com/office/drawing/2014/chart" uri="{C3380CC4-5D6E-409C-BE32-E72D297353CC}">
                <c16:uniqueId val="{00000269-CCEF-4D31-898C-474E4884EB0F}"/>
              </c:ext>
            </c:extLst>
          </c:dPt>
          <c:dPt>
            <c:idx val="308"/>
            <c:invertIfNegative val="1"/>
            <c:bubble3D val="0"/>
            <c:spPr>
              <a:solidFill>
                <a:srgbClr val="AEABAB"/>
              </a:solidFill>
            </c:spPr>
            <c:extLst>
              <c:ext xmlns:c16="http://schemas.microsoft.com/office/drawing/2014/chart" uri="{C3380CC4-5D6E-409C-BE32-E72D297353CC}">
                <c16:uniqueId val="{0000026B-CCEF-4D31-898C-474E4884EB0F}"/>
              </c:ext>
            </c:extLst>
          </c:dPt>
          <c:dPt>
            <c:idx val="309"/>
            <c:invertIfNegative val="1"/>
            <c:bubble3D val="0"/>
            <c:spPr>
              <a:solidFill>
                <a:srgbClr val="AEABAB"/>
              </a:solidFill>
            </c:spPr>
            <c:extLst>
              <c:ext xmlns:c16="http://schemas.microsoft.com/office/drawing/2014/chart" uri="{C3380CC4-5D6E-409C-BE32-E72D297353CC}">
                <c16:uniqueId val="{0000026D-CCEF-4D31-898C-474E4884EB0F}"/>
              </c:ext>
            </c:extLst>
          </c:dPt>
          <c:dPt>
            <c:idx val="310"/>
            <c:invertIfNegative val="1"/>
            <c:bubble3D val="0"/>
            <c:spPr>
              <a:solidFill>
                <a:srgbClr val="AEABAB"/>
              </a:solidFill>
            </c:spPr>
            <c:extLst>
              <c:ext xmlns:c16="http://schemas.microsoft.com/office/drawing/2014/chart" uri="{C3380CC4-5D6E-409C-BE32-E72D297353CC}">
                <c16:uniqueId val="{0000026F-CCEF-4D31-898C-474E4884EB0F}"/>
              </c:ext>
            </c:extLst>
          </c:dPt>
          <c:dPt>
            <c:idx val="311"/>
            <c:invertIfNegative val="1"/>
            <c:bubble3D val="0"/>
            <c:spPr>
              <a:solidFill>
                <a:srgbClr val="AEABAB"/>
              </a:solidFill>
            </c:spPr>
            <c:extLst>
              <c:ext xmlns:c16="http://schemas.microsoft.com/office/drawing/2014/chart" uri="{C3380CC4-5D6E-409C-BE32-E72D297353CC}">
                <c16:uniqueId val="{00000271-CCEF-4D31-898C-474E4884EB0F}"/>
              </c:ext>
            </c:extLst>
          </c:dPt>
          <c:dPt>
            <c:idx val="312"/>
            <c:invertIfNegative val="1"/>
            <c:bubble3D val="0"/>
            <c:spPr>
              <a:solidFill>
                <a:srgbClr val="AEABAB"/>
              </a:solidFill>
            </c:spPr>
            <c:extLst>
              <c:ext xmlns:c16="http://schemas.microsoft.com/office/drawing/2014/chart" uri="{C3380CC4-5D6E-409C-BE32-E72D297353CC}">
                <c16:uniqueId val="{00000273-CCEF-4D31-898C-474E4884EB0F}"/>
              </c:ext>
            </c:extLst>
          </c:dPt>
          <c:dPt>
            <c:idx val="313"/>
            <c:invertIfNegative val="1"/>
            <c:bubble3D val="0"/>
            <c:spPr>
              <a:solidFill>
                <a:srgbClr val="AEABAB"/>
              </a:solidFill>
            </c:spPr>
            <c:extLst>
              <c:ext xmlns:c16="http://schemas.microsoft.com/office/drawing/2014/chart" uri="{C3380CC4-5D6E-409C-BE32-E72D297353CC}">
                <c16:uniqueId val="{00000275-CCEF-4D31-898C-474E4884EB0F}"/>
              </c:ext>
            </c:extLst>
          </c:dPt>
          <c:dPt>
            <c:idx val="314"/>
            <c:invertIfNegative val="1"/>
            <c:bubble3D val="0"/>
            <c:spPr>
              <a:solidFill>
                <a:srgbClr val="AEABAB"/>
              </a:solidFill>
            </c:spPr>
            <c:extLst>
              <c:ext xmlns:c16="http://schemas.microsoft.com/office/drawing/2014/chart" uri="{C3380CC4-5D6E-409C-BE32-E72D297353CC}">
                <c16:uniqueId val="{00000277-CCEF-4D31-898C-474E4884EB0F}"/>
              </c:ext>
            </c:extLst>
          </c:dPt>
          <c:dPt>
            <c:idx val="315"/>
            <c:invertIfNegative val="1"/>
            <c:bubble3D val="0"/>
            <c:spPr>
              <a:solidFill>
                <a:srgbClr val="AEABAB"/>
              </a:solidFill>
            </c:spPr>
            <c:extLst>
              <c:ext xmlns:c16="http://schemas.microsoft.com/office/drawing/2014/chart" uri="{C3380CC4-5D6E-409C-BE32-E72D297353CC}">
                <c16:uniqueId val="{00000279-CCEF-4D31-898C-474E4884EB0F}"/>
              </c:ext>
            </c:extLst>
          </c:dPt>
          <c:dPt>
            <c:idx val="316"/>
            <c:invertIfNegative val="1"/>
            <c:bubble3D val="0"/>
            <c:spPr>
              <a:solidFill>
                <a:srgbClr val="AEABAB"/>
              </a:solidFill>
            </c:spPr>
            <c:extLst>
              <c:ext xmlns:c16="http://schemas.microsoft.com/office/drawing/2014/chart" uri="{C3380CC4-5D6E-409C-BE32-E72D297353CC}">
                <c16:uniqueId val="{0000027B-CCEF-4D31-898C-474E4884EB0F}"/>
              </c:ext>
            </c:extLst>
          </c:dPt>
          <c:dPt>
            <c:idx val="317"/>
            <c:invertIfNegative val="1"/>
            <c:bubble3D val="0"/>
            <c:spPr>
              <a:solidFill>
                <a:srgbClr val="AEABAB"/>
              </a:solidFill>
            </c:spPr>
            <c:extLst>
              <c:ext xmlns:c16="http://schemas.microsoft.com/office/drawing/2014/chart" uri="{C3380CC4-5D6E-409C-BE32-E72D297353CC}">
                <c16:uniqueId val="{0000027D-CCEF-4D31-898C-474E4884EB0F}"/>
              </c:ext>
            </c:extLst>
          </c:dPt>
          <c:dPt>
            <c:idx val="318"/>
            <c:invertIfNegative val="1"/>
            <c:bubble3D val="0"/>
            <c:spPr>
              <a:solidFill>
                <a:srgbClr val="AEABAB"/>
              </a:solidFill>
            </c:spPr>
            <c:extLst>
              <c:ext xmlns:c16="http://schemas.microsoft.com/office/drawing/2014/chart" uri="{C3380CC4-5D6E-409C-BE32-E72D297353CC}">
                <c16:uniqueId val="{0000027F-CCEF-4D31-898C-474E4884EB0F}"/>
              </c:ext>
            </c:extLst>
          </c:dPt>
          <c:cat>
            <c:strRef>
              <c:f>Sheet1!$A$2:$A$320</c:f>
              <c:strCache>
                <c:ptCount val="319"/>
                <c:pt idx="0">
                  <c:v>Ruinart</c:v>
                </c:pt>
                <c:pt idx="1">
                  <c:v>Nicolas</c:v>
                </c:pt>
                <c:pt idx="2">
                  <c:v>Ruinart</c:v>
                </c:pt>
                <c:pt idx="3">
                  <c:v>Deutz</c:v>
                </c:pt>
                <c:pt idx="4">
                  <c:v>Heidsieck &amp;</c:v>
                </c:pt>
                <c:pt idx="5">
                  <c:v>Ruinart</c:v>
                </c:pt>
                <c:pt idx="6">
                  <c:v>Laurent Per</c:v>
                </c:pt>
                <c:pt idx="7">
                  <c:v>Ruinart</c:v>
                </c:pt>
                <c:pt idx="8">
                  <c:v>De Bligny</c:v>
                </c:pt>
                <c:pt idx="9">
                  <c:v>Malard</c:v>
                </c:pt>
                <c:pt idx="10">
                  <c:v>Ayala</c:v>
                </c:pt>
                <c:pt idx="11">
                  <c:v>Bollinger</c:v>
                </c:pt>
                <c:pt idx="12">
                  <c:v>Taittinger</c:v>
                </c:pt>
                <c:pt idx="13">
                  <c:v>Nicolas Feu</c:v>
                </c:pt>
                <c:pt idx="14">
                  <c:v>Canard Duch</c:v>
                </c:pt>
                <c:pt idx="15">
                  <c:v>Ruinart</c:v>
                </c:pt>
                <c:pt idx="16">
                  <c:v>Ruinart</c:v>
                </c:pt>
                <c:pt idx="17">
                  <c:v>Dom Perigno</c:v>
                </c:pt>
                <c:pt idx="18">
                  <c:v>Deutz</c:v>
                </c:pt>
                <c:pt idx="19">
                  <c:v>Ruinart</c:v>
                </c:pt>
                <c:pt idx="20">
                  <c:v>Demoiselle</c:v>
                </c:pt>
                <c:pt idx="21">
                  <c:v>All Others</c:v>
                </c:pt>
                <c:pt idx="22">
                  <c:v>Dom Perigno</c:v>
                </c:pt>
                <c:pt idx="23">
                  <c:v>Perrier Jou</c:v>
                </c:pt>
                <c:pt idx="24">
                  <c:v>Bottega</c:v>
                </c:pt>
                <c:pt idx="25">
                  <c:v>Besserat De</c:v>
                </c:pt>
                <c:pt idx="26">
                  <c:v>Laurent Per</c:v>
                </c:pt>
                <c:pt idx="27">
                  <c:v>Pommery</c:v>
                </c:pt>
                <c:pt idx="28">
                  <c:v>Roederer</c:v>
                </c:pt>
                <c:pt idx="29">
                  <c:v>Laurent Per</c:v>
                </c:pt>
                <c:pt idx="30">
                  <c:v>Deutz</c:v>
                </c:pt>
                <c:pt idx="31">
                  <c:v>Moët &amp; Chan</c:v>
                </c:pt>
                <c:pt idx="32">
                  <c:v>All Others</c:v>
                </c:pt>
                <c:pt idx="33">
                  <c:v>Taittinger</c:v>
                </c:pt>
                <c:pt idx="34">
                  <c:v>Ruinart</c:v>
                </c:pt>
                <c:pt idx="35">
                  <c:v>Veuve Clicq</c:v>
                </c:pt>
                <c:pt idx="36">
                  <c:v>Demoiselle</c:v>
                </c:pt>
                <c:pt idx="37">
                  <c:v>Nicolas</c:v>
                </c:pt>
                <c:pt idx="38">
                  <c:v>Savian</c:v>
                </c:pt>
                <c:pt idx="39">
                  <c:v>Roederer</c:v>
                </c:pt>
                <c:pt idx="40">
                  <c:v>Veuve Clicq</c:v>
                </c:pt>
                <c:pt idx="41">
                  <c:v>Roederer</c:v>
                </c:pt>
                <c:pt idx="42">
                  <c:v>Malard</c:v>
                </c:pt>
                <c:pt idx="43">
                  <c:v>Savian</c:v>
                </c:pt>
                <c:pt idx="44">
                  <c:v>Nicolas</c:v>
                </c:pt>
                <c:pt idx="45">
                  <c:v>Campari: Al</c:v>
                </c:pt>
                <c:pt idx="46">
                  <c:v>Vesselle</c:v>
                </c:pt>
                <c:pt idx="47">
                  <c:v>Besserat De</c:v>
                </c:pt>
                <c:pt idx="48">
                  <c:v>Veuve Clicq</c:v>
                </c:pt>
                <c:pt idx="49">
                  <c:v>Patriarche</c:v>
                </c:pt>
                <c:pt idx="50">
                  <c:v>De Chanceny</c:v>
                </c:pt>
                <c:pt idx="51">
                  <c:v>Ruinart</c:v>
                </c:pt>
                <c:pt idx="52">
                  <c:v>All Others</c:v>
                </c:pt>
                <c:pt idx="53">
                  <c:v>Krug</c:v>
                </c:pt>
                <c:pt idx="54">
                  <c:v>Nicolas Feu</c:v>
                </c:pt>
                <c:pt idx="55">
                  <c:v>All Others</c:v>
                </c:pt>
                <c:pt idx="56">
                  <c:v>Ruinart</c:v>
                </c:pt>
                <c:pt idx="57">
                  <c:v>Roederer</c:v>
                </c:pt>
                <c:pt idx="58">
                  <c:v>Mure</c:v>
                </c:pt>
                <c:pt idx="59">
                  <c:v>Nicolas</c:v>
                </c:pt>
                <c:pt idx="60">
                  <c:v>Piper Heids</c:v>
                </c:pt>
                <c:pt idx="61">
                  <c:v>Moët &amp; Chan</c:v>
                </c:pt>
                <c:pt idx="62">
                  <c:v>Nicolas Feu</c:v>
                </c:pt>
                <c:pt idx="63">
                  <c:v>Henriot</c:v>
                </c:pt>
                <c:pt idx="64">
                  <c:v>Moët &amp; Chan</c:v>
                </c:pt>
                <c:pt idx="65">
                  <c:v>Bollinger</c:v>
                </c:pt>
                <c:pt idx="66">
                  <c:v>Nicolas Feu</c:v>
                </c:pt>
                <c:pt idx="67">
                  <c:v>De Bligny</c:v>
                </c:pt>
                <c:pt idx="68">
                  <c:v>Pommery</c:v>
                </c:pt>
                <c:pt idx="69">
                  <c:v>Lanson</c:v>
                </c:pt>
                <c:pt idx="70">
                  <c:v>Deutz</c:v>
                </c:pt>
                <c:pt idx="71">
                  <c:v>Roederer</c:v>
                </c:pt>
                <c:pt idx="72">
                  <c:v>Ruinart</c:v>
                </c:pt>
                <c:pt idx="73">
                  <c:v>Malard</c:v>
                </c:pt>
                <c:pt idx="74">
                  <c:v>Canard Duch</c:v>
                </c:pt>
                <c:pt idx="75">
                  <c:v>Lyre's</c:v>
                </c:pt>
                <c:pt idx="76">
                  <c:v>Nicolas</c:v>
                </c:pt>
                <c:pt idx="77">
                  <c:v>All Others</c:v>
                </c:pt>
                <c:pt idx="78">
                  <c:v>Bouvet-Ladu</c:v>
                </c:pt>
                <c:pt idx="79">
                  <c:v>Campari: Al</c:v>
                </c:pt>
                <c:pt idx="80">
                  <c:v>Louis Marti</c:v>
                </c:pt>
                <c:pt idx="81">
                  <c:v>De Venoge</c:v>
                </c:pt>
                <c:pt idx="82">
                  <c:v>Delamotte</c:v>
                </c:pt>
                <c:pt idx="83">
                  <c:v>Roederer</c:v>
                </c:pt>
                <c:pt idx="84">
                  <c:v>Besserat De</c:v>
                </c:pt>
                <c:pt idx="85">
                  <c:v>Patriarche</c:v>
                </c:pt>
                <c:pt idx="86">
                  <c:v>Malard</c:v>
                </c:pt>
                <c:pt idx="87">
                  <c:v>Bottega</c:v>
                </c:pt>
                <c:pt idx="88">
                  <c:v>French Bloo</c:v>
                </c:pt>
                <c:pt idx="89">
                  <c:v>Malard</c:v>
                </c:pt>
                <c:pt idx="90">
                  <c:v>Deutz</c:v>
                </c:pt>
                <c:pt idx="91">
                  <c:v>Laurent Per</c:v>
                </c:pt>
                <c:pt idx="92">
                  <c:v>Ayala</c:v>
                </c:pt>
                <c:pt idx="93">
                  <c:v>Ruinart</c:v>
                </c:pt>
                <c:pt idx="94">
                  <c:v>Henriot</c:v>
                </c:pt>
                <c:pt idx="95">
                  <c:v>Bollinger</c:v>
                </c:pt>
                <c:pt idx="96">
                  <c:v>Roederer</c:v>
                </c:pt>
                <c:pt idx="97">
                  <c:v>Ruinart</c:v>
                </c:pt>
                <c:pt idx="98">
                  <c:v>Dom Perigno</c:v>
                </c:pt>
                <c:pt idx="99">
                  <c:v>Roederer</c:v>
                </c:pt>
                <c:pt idx="100">
                  <c:v>Henriot</c:v>
                </c:pt>
                <c:pt idx="101">
                  <c:v>Moët &amp; Chan</c:v>
                </c:pt>
                <c:pt idx="102">
                  <c:v>Taittinger</c:v>
                </c:pt>
                <c:pt idx="103">
                  <c:v>Ruinart</c:v>
                </c:pt>
                <c:pt idx="104">
                  <c:v>Perrier Jou</c:v>
                </c:pt>
                <c:pt idx="105">
                  <c:v>Perrier Jou</c:v>
                </c:pt>
                <c:pt idx="106">
                  <c:v>Nicolas</c:v>
                </c:pt>
                <c:pt idx="107">
                  <c:v>De Chanceny</c:v>
                </c:pt>
                <c:pt idx="108">
                  <c:v>Canard Duch</c:v>
                </c:pt>
                <c:pt idx="109">
                  <c:v>Dom Perigno</c:v>
                </c:pt>
                <c:pt idx="110">
                  <c:v>Deutz</c:v>
                </c:pt>
                <c:pt idx="111">
                  <c:v>Ruinart</c:v>
                </c:pt>
                <c:pt idx="112">
                  <c:v>Nicolas</c:v>
                </c:pt>
                <c:pt idx="113">
                  <c:v>Nicolas</c:v>
                </c:pt>
                <c:pt idx="114">
                  <c:v>Vranken</c:v>
                </c:pt>
                <c:pt idx="115">
                  <c:v>Ruinart</c:v>
                </c:pt>
                <c:pt idx="116">
                  <c:v>Roederer</c:v>
                </c:pt>
                <c:pt idx="117">
                  <c:v>Henriot</c:v>
                </c:pt>
                <c:pt idx="118">
                  <c:v>Malard</c:v>
                </c:pt>
                <c:pt idx="119">
                  <c:v>Laurent Per</c:v>
                </c:pt>
                <c:pt idx="120">
                  <c:v>Taittinger</c:v>
                </c:pt>
                <c:pt idx="121">
                  <c:v>Canard Duch</c:v>
                </c:pt>
                <c:pt idx="122">
                  <c:v>Nicolas</c:v>
                </c:pt>
                <c:pt idx="123">
                  <c:v>Moët &amp; Chan</c:v>
                </c:pt>
                <c:pt idx="124">
                  <c:v>Pommery</c:v>
                </c:pt>
                <c:pt idx="125">
                  <c:v>Bollinger</c:v>
                </c:pt>
                <c:pt idx="126">
                  <c:v>Vranken</c:v>
                </c:pt>
                <c:pt idx="127">
                  <c:v>Contarini</c:v>
                </c:pt>
                <c:pt idx="128">
                  <c:v>De Venoge</c:v>
                </c:pt>
                <c:pt idx="129">
                  <c:v>De Venoge</c:v>
                </c:pt>
                <c:pt idx="130">
                  <c:v>Ruinart</c:v>
                </c:pt>
                <c:pt idx="131">
                  <c:v>All Others</c:v>
                </c:pt>
                <c:pt idx="132">
                  <c:v>Demoiselle</c:v>
                </c:pt>
                <c:pt idx="133">
                  <c:v>Laurent Per</c:v>
                </c:pt>
                <c:pt idx="134">
                  <c:v>Kriter</c:v>
                </c:pt>
                <c:pt idx="135">
                  <c:v>All Others</c:v>
                </c:pt>
                <c:pt idx="136">
                  <c:v>De Venoge</c:v>
                </c:pt>
                <c:pt idx="137">
                  <c:v>Laurent Per</c:v>
                </c:pt>
                <c:pt idx="138">
                  <c:v>Ruinart</c:v>
                </c:pt>
                <c:pt idx="139">
                  <c:v>Nicolas</c:v>
                </c:pt>
                <c:pt idx="140">
                  <c:v>Nicolas</c:v>
                </c:pt>
                <c:pt idx="141">
                  <c:v>Ruinart</c:v>
                </c:pt>
                <c:pt idx="142">
                  <c:v>Cru La Maqu</c:v>
                </c:pt>
                <c:pt idx="143">
                  <c:v>Piper Heids</c:v>
                </c:pt>
                <c:pt idx="144">
                  <c:v>All Others</c:v>
                </c:pt>
                <c:pt idx="145">
                  <c:v>Canard Duch</c:v>
                </c:pt>
                <c:pt idx="146">
                  <c:v>Laurent Per</c:v>
                </c:pt>
                <c:pt idx="147">
                  <c:v>Nicolas</c:v>
                </c:pt>
                <c:pt idx="148">
                  <c:v>All Others</c:v>
                </c:pt>
                <c:pt idx="149">
                  <c:v>Nicolas</c:v>
                </c:pt>
                <c:pt idx="150">
                  <c:v>All Others</c:v>
                </c:pt>
                <c:pt idx="151">
                  <c:v>All Others</c:v>
                </c:pt>
                <c:pt idx="152">
                  <c:v>Laurent Per</c:v>
                </c:pt>
                <c:pt idx="153">
                  <c:v>Moët &amp; Chan</c:v>
                </c:pt>
                <c:pt idx="154">
                  <c:v>Roederer</c:v>
                </c:pt>
                <c:pt idx="155">
                  <c:v>Nicolas Feu</c:v>
                </c:pt>
                <c:pt idx="156">
                  <c:v>Delamotte</c:v>
                </c:pt>
                <c:pt idx="157">
                  <c:v>All Others</c:v>
                </c:pt>
                <c:pt idx="158">
                  <c:v>Nicolas</c:v>
                </c:pt>
                <c:pt idx="159">
                  <c:v>All Others</c:v>
                </c:pt>
                <c:pt idx="160">
                  <c:v>Roederer</c:v>
                </c:pt>
                <c:pt idx="161">
                  <c:v>Besserat De</c:v>
                </c:pt>
                <c:pt idx="162">
                  <c:v>Ruinart</c:v>
                </c:pt>
                <c:pt idx="163">
                  <c:v>Veuve Clicq</c:v>
                </c:pt>
                <c:pt idx="164">
                  <c:v>Canard Duch</c:v>
                </c:pt>
                <c:pt idx="165">
                  <c:v>Ruinart</c:v>
                </c:pt>
                <c:pt idx="166">
                  <c:v>Dom Perigno</c:v>
                </c:pt>
                <c:pt idx="167">
                  <c:v>Roederer</c:v>
                </c:pt>
                <c:pt idx="168">
                  <c:v>Roederer</c:v>
                </c:pt>
                <c:pt idx="169">
                  <c:v>Deutz</c:v>
                </c:pt>
                <c:pt idx="170">
                  <c:v>Lanson</c:v>
                </c:pt>
                <c:pt idx="171">
                  <c:v>Roederer</c:v>
                </c:pt>
                <c:pt idx="172">
                  <c:v>Piper Heids</c:v>
                </c:pt>
                <c:pt idx="173">
                  <c:v>All Others</c:v>
                </c:pt>
                <c:pt idx="174">
                  <c:v>Krug</c:v>
                </c:pt>
                <c:pt idx="175">
                  <c:v>All Others</c:v>
                </c:pt>
                <c:pt idx="176">
                  <c:v>Contarini</c:v>
                </c:pt>
                <c:pt idx="177">
                  <c:v>Pommery</c:v>
                </c:pt>
                <c:pt idx="178">
                  <c:v>Pommery</c:v>
                </c:pt>
                <c:pt idx="179">
                  <c:v>Nicolas</c:v>
                </c:pt>
                <c:pt idx="180">
                  <c:v>All Others</c:v>
                </c:pt>
                <c:pt idx="181">
                  <c:v>All Others</c:v>
                </c:pt>
                <c:pt idx="182">
                  <c:v>Pommery</c:v>
                </c:pt>
                <c:pt idx="183">
                  <c:v>All Others</c:v>
                </c:pt>
                <c:pt idx="184">
                  <c:v>Nicolas</c:v>
                </c:pt>
                <c:pt idx="185">
                  <c:v>Pommery</c:v>
                </c:pt>
                <c:pt idx="186">
                  <c:v>All Others</c:v>
                </c:pt>
                <c:pt idx="187">
                  <c:v>Vranken</c:v>
                </c:pt>
                <c:pt idx="188">
                  <c:v>Bollinger</c:v>
                </c:pt>
                <c:pt idx="189">
                  <c:v>Dom Perigno</c:v>
                </c:pt>
                <c:pt idx="190">
                  <c:v>Krug</c:v>
                </c:pt>
                <c:pt idx="191">
                  <c:v>Canard Duch</c:v>
                </c:pt>
                <c:pt idx="192">
                  <c:v>Nicolas</c:v>
                </c:pt>
                <c:pt idx="193">
                  <c:v>Roederer</c:v>
                </c:pt>
                <c:pt idx="194">
                  <c:v>All Others</c:v>
                </c:pt>
                <c:pt idx="195">
                  <c:v>Deutz</c:v>
                </c:pt>
                <c:pt idx="196">
                  <c:v>All Others</c:v>
                </c:pt>
                <c:pt idx="197">
                  <c:v>Vesselle</c:v>
                </c:pt>
                <c:pt idx="198">
                  <c:v>All Others</c:v>
                </c:pt>
                <c:pt idx="199">
                  <c:v>Veuve Clicq</c:v>
                </c:pt>
                <c:pt idx="200">
                  <c:v>Malard</c:v>
                </c:pt>
                <c:pt idx="201">
                  <c:v>Demoiselle</c:v>
                </c:pt>
                <c:pt idx="202">
                  <c:v>All Others</c:v>
                </c:pt>
                <c:pt idx="203">
                  <c:v>Perrier Jou</c:v>
                </c:pt>
                <c:pt idx="204">
                  <c:v>Nicolas</c:v>
                </c:pt>
                <c:pt idx="205">
                  <c:v>Deutz</c:v>
                </c:pt>
                <c:pt idx="206">
                  <c:v>Nicolas</c:v>
                </c:pt>
                <c:pt idx="207">
                  <c:v>Taittinger</c:v>
                </c:pt>
                <c:pt idx="208">
                  <c:v>Roederer</c:v>
                </c:pt>
                <c:pt idx="209">
                  <c:v>Moët &amp; Chan</c:v>
                </c:pt>
                <c:pt idx="210">
                  <c:v>Taittinger</c:v>
                </c:pt>
                <c:pt idx="211">
                  <c:v>Bollinger</c:v>
                </c:pt>
                <c:pt idx="212">
                  <c:v>Bollinger</c:v>
                </c:pt>
                <c:pt idx="213">
                  <c:v>Bouvet-Ladu</c:v>
                </c:pt>
                <c:pt idx="214">
                  <c:v>De Venoge</c:v>
                </c:pt>
                <c:pt idx="215">
                  <c:v>Pommery</c:v>
                </c:pt>
                <c:pt idx="216">
                  <c:v>Bottega</c:v>
                </c:pt>
                <c:pt idx="217">
                  <c:v>Veuve Clicq</c:v>
                </c:pt>
                <c:pt idx="218">
                  <c:v>De Venoge</c:v>
                </c:pt>
                <c:pt idx="219">
                  <c:v>Nicolas Feu</c:v>
                </c:pt>
                <c:pt idx="220">
                  <c:v>All Others</c:v>
                </c:pt>
                <c:pt idx="221">
                  <c:v>Roederer</c:v>
                </c:pt>
                <c:pt idx="222">
                  <c:v>Deutz</c:v>
                </c:pt>
                <c:pt idx="223">
                  <c:v>Moët &amp; Chan</c:v>
                </c:pt>
                <c:pt idx="224">
                  <c:v>All Others</c:v>
                </c:pt>
                <c:pt idx="225">
                  <c:v>Bouvet-Ladu</c:v>
                </c:pt>
                <c:pt idx="226">
                  <c:v>Vesselle</c:v>
                </c:pt>
                <c:pt idx="227">
                  <c:v>Dom Perigno</c:v>
                </c:pt>
                <c:pt idx="228">
                  <c:v>Louis Marti</c:v>
                </c:pt>
                <c:pt idx="229">
                  <c:v>All Others</c:v>
                </c:pt>
                <c:pt idx="230">
                  <c:v>Besserat De</c:v>
                </c:pt>
                <c:pt idx="231">
                  <c:v>Ayala</c:v>
                </c:pt>
                <c:pt idx="232">
                  <c:v>Piper Heids</c:v>
                </c:pt>
                <c:pt idx="233">
                  <c:v>Pommery</c:v>
                </c:pt>
                <c:pt idx="234">
                  <c:v>Roederer</c:v>
                </c:pt>
                <c:pt idx="235">
                  <c:v>Canard Duch</c:v>
                </c:pt>
                <c:pt idx="236">
                  <c:v>Perrier Jou</c:v>
                </c:pt>
                <c:pt idx="237">
                  <c:v>Henriot</c:v>
                </c:pt>
                <c:pt idx="238">
                  <c:v>All Others</c:v>
                </c:pt>
                <c:pt idx="239">
                  <c:v>De Venoge</c:v>
                </c:pt>
                <c:pt idx="240">
                  <c:v>Perrier Jou</c:v>
                </c:pt>
                <c:pt idx="241">
                  <c:v>All Others</c:v>
                </c:pt>
                <c:pt idx="242">
                  <c:v>Ruinart</c:v>
                </c:pt>
                <c:pt idx="243">
                  <c:v>Roederer</c:v>
                </c:pt>
                <c:pt idx="244">
                  <c:v>Krug</c:v>
                </c:pt>
                <c:pt idx="245">
                  <c:v>Demoiselle</c:v>
                </c:pt>
                <c:pt idx="246">
                  <c:v>All Others</c:v>
                </c:pt>
                <c:pt idx="247">
                  <c:v>Ruinart</c:v>
                </c:pt>
                <c:pt idx="248">
                  <c:v>Veuve Clicq</c:v>
                </c:pt>
                <c:pt idx="249">
                  <c:v>Ruinart</c:v>
                </c:pt>
                <c:pt idx="250">
                  <c:v>Bollinger</c:v>
                </c:pt>
                <c:pt idx="251">
                  <c:v>Celene</c:v>
                </c:pt>
                <c:pt idx="252">
                  <c:v>De Venoge</c:v>
                </c:pt>
                <c:pt idx="253">
                  <c:v>De Venoge</c:v>
                </c:pt>
                <c:pt idx="254">
                  <c:v>Roederer</c:v>
                </c:pt>
                <c:pt idx="255">
                  <c:v>Bollinger</c:v>
                </c:pt>
                <c:pt idx="256">
                  <c:v>All Others</c:v>
                </c:pt>
                <c:pt idx="257">
                  <c:v>Laurent Per</c:v>
                </c:pt>
                <c:pt idx="258">
                  <c:v>Taittinger</c:v>
                </c:pt>
                <c:pt idx="259">
                  <c:v>Celene</c:v>
                </c:pt>
                <c:pt idx="260">
                  <c:v>All Others</c:v>
                </c:pt>
                <c:pt idx="261">
                  <c:v>Pommery</c:v>
                </c:pt>
                <c:pt idx="262">
                  <c:v>Nicolas</c:v>
                </c:pt>
                <c:pt idx="263">
                  <c:v>All Others</c:v>
                </c:pt>
                <c:pt idx="264">
                  <c:v>All Others</c:v>
                </c:pt>
                <c:pt idx="265">
                  <c:v>Laurent Per</c:v>
                </c:pt>
                <c:pt idx="266">
                  <c:v>Bouvet-Ladu</c:v>
                </c:pt>
                <c:pt idx="267">
                  <c:v>Bollinger</c:v>
                </c:pt>
                <c:pt idx="268">
                  <c:v>Nicolas Feu</c:v>
                </c:pt>
                <c:pt idx="269">
                  <c:v>Roederer</c:v>
                </c:pt>
                <c:pt idx="270">
                  <c:v>De Venoge</c:v>
                </c:pt>
                <c:pt idx="271">
                  <c:v>Ruinart</c:v>
                </c:pt>
                <c:pt idx="272">
                  <c:v>All Others</c:v>
                </c:pt>
                <c:pt idx="273">
                  <c:v>All Others</c:v>
                </c:pt>
                <c:pt idx="274">
                  <c:v>Roederer</c:v>
                </c:pt>
                <c:pt idx="275">
                  <c:v>Canard Duch</c:v>
                </c:pt>
                <c:pt idx="276">
                  <c:v>Ruinart</c:v>
                </c:pt>
                <c:pt idx="277">
                  <c:v>Laurent Per</c:v>
                </c:pt>
                <c:pt idx="278">
                  <c:v>Moët &amp; Chan</c:v>
                </c:pt>
                <c:pt idx="279">
                  <c:v>Lanson</c:v>
                </c:pt>
                <c:pt idx="280">
                  <c:v>Henriot</c:v>
                </c:pt>
                <c:pt idx="281">
                  <c:v>All Others</c:v>
                </c:pt>
                <c:pt idx="282">
                  <c:v>Roederer</c:v>
                </c:pt>
                <c:pt idx="283">
                  <c:v>Demoiselle</c:v>
                </c:pt>
                <c:pt idx="284">
                  <c:v>De Bligny</c:v>
                </c:pt>
                <c:pt idx="285">
                  <c:v>All Others</c:v>
                </c:pt>
                <c:pt idx="286">
                  <c:v>Roederer</c:v>
                </c:pt>
                <c:pt idx="287">
                  <c:v>Laurent Per</c:v>
                </c:pt>
                <c:pt idx="288">
                  <c:v>Bollinger</c:v>
                </c:pt>
                <c:pt idx="289">
                  <c:v>Martel</c:v>
                </c:pt>
                <c:pt idx="290">
                  <c:v>Besserat De</c:v>
                </c:pt>
                <c:pt idx="291">
                  <c:v>Malard</c:v>
                </c:pt>
                <c:pt idx="292">
                  <c:v>Lanson</c:v>
                </c:pt>
                <c:pt idx="293">
                  <c:v>Besserat De</c:v>
                </c:pt>
                <c:pt idx="294">
                  <c:v>All Others</c:v>
                </c:pt>
                <c:pt idx="295">
                  <c:v>Vesselle</c:v>
                </c:pt>
                <c:pt idx="296">
                  <c:v>All Others</c:v>
                </c:pt>
                <c:pt idx="297">
                  <c:v>Roederer</c:v>
                </c:pt>
                <c:pt idx="298">
                  <c:v>Roederer</c:v>
                </c:pt>
                <c:pt idx="299">
                  <c:v>Jaillance</c:v>
                </c:pt>
                <c:pt idx="300">
                  <c:v>Vranken</c:v>
                </c:pt>
                <c:pt idx="301">
                  <c:v>Nicolas</c:v>
                </c:pt>
                <c:pt idx="302">
                  <c:v>Bouvet-Ladu</c:v>
                </c:pt>
                <c:pt idx="303">
                  <c:v>Piper Heids</c:v>
                </c:pt>
                <c:pt idx="304">
                  <c:v>Nicolas Feu</c:v>
                </c:pt>
                <c:pt idx="305">
                  <c:v>Laurent Per</c:v>
                </c:pt>
                <c:pt idx="306">
                  <c:v>Deutz</c:v>
                </c:pt>
                <c:pt idx="307">
                  <c:v>All Others</c:v>
                </c:pt>
                <c:pt idx="308">
                  <c:v>Roederer</c:v>
                </c:pt>
                <c:pt idx="309">
                  <c:v>Nicolas</c:v>
                </c:pt>
                <c:pt idx="310">
                  <c:v>All Others</c:v>
                </c:pt>
                <c:pt idx="311">
                  <c:v>Bollinger</c:v>
                </c:pt>
                <c:pt idx="312">
                  <c:v>Bouvet-Ladu</c:v>
                </c:pt>
                <c:pt idx="313">
                  <c:v>All Others</c:v>
                </c:pt>
                <c:pt idx="314">
                  <c:v>All Others</c:v>
                </c:pt>
                <c:pt idx="315">
                  <c:v>All Others</c:v>
                </c:pt>
                <c:pt idx="316">
                  <c:v>All Others</c:v>
                </c:pt>
                <c:pt idx="317">
                  <c:v>All Others</c:v>
                </c:pt>
                <c:pt idx="318">
                  <c:v>All Others</c:v>
                </c:pt>
              </c:strCache>
            </c:strRef>
          </c:cat>
          <c:val>
            <c:numRef>
              <c:f>Sheet1!$C$2:$C$320</c:f>
              <c:numCache>
                <c:formatCode>General</c:formatCode>
                <c:ptCount val="319"/>
                <c:pt idx="0">
                  <c:v>0.10093563574005276</c:v>
                </c:pt>
                <c:pt idx="1">
                  <c:v>0.16979147502559838</c:v>
                </c:pt>
                <c:pt idx="2">
                  <c:v>0.23106188906326822</c:v>
                </c:pt>
                <c:pt idx="3">
                  <c:v>0.27819663299481556</c:v>
                </c:pt>
                <c:pt idx="4">
                  <c:v>0.31084379946588653</c:v>
                </c:pt>
                <c:pt idx="5">
                  <c:v>0.33933180185411849</c:v>
                </c:pt>
                <c:pt idx="6">
                  <c:v>0.36755816029972255</c:v>
                </c:pt>
                <c:pt idx="7">
                  <c:v>0.39468336509795759</c:v>
                </c:pt>
                <c:pt idx="8">
                  <c:v>0.41579975556908011</c:v>
                </c:pt>
                <c:pt idx="9">
                  <c:v>0.43540955673617704</c:v>
                </c:pt>
                <c:pt idx="10">
                  <c:v>0.45346598756194184</c:v>
                </c:pt>
                <c:pt idx="11">
                  <c:v>0.47082670039699415</c:v>
                </c:pt>
                <c:pt idx="12">
                  <c:v>0.48810764556586994</c:v>
                </c:pt>
                <c:pt idx="13">
                  <c:v>0.50509066150036086</c:v>
                </c:pt>
                <c:pt idx="14">
                  <c:v>0.5203361817287363</c:v>
                </c:pt>
                <c:pt idx="15">
                  <c:v>0.53549278799838484</c:v>
                </c:pt>
                <c:pt idx="16">
                  <c:v>0.5496579961312682</c:v>
                </c:pt>
                <c:pt idx="17">
                  <c:v>0.56350428353866766</c:v>
                </c:pt>
                <c:pt idx="18">
                  <c:v>0.5760230090732722</c:v>
                </c:pt>
                <c:pt idx="19">
                  <c:v>0.58776369998421141</c:v>
                </c:pt>
                <c:pt idx="20">
                  <c:v>0.59945566064795641</c:v>
                </c:pt>
                <c:pt idx="21">
                  <c:v>0.61086813460163925</c:v>
                </c:pt>
                <c:pt idx="22">
                  <c:v>0.62167485409789147</c:v>
                </c:pt>
                <c:pt idx="23">
                  <c:v>0.63160802768597757</c:v>
                </c:pt>
                <c:pt idx="24">
                  <c:v>0.64139695974236854</c:v>
                </c:pt>
                <c:pt idx="25">
                  <c:v>0.65091944980102323</c:v>
                </c:pt>
                <c:pt idx="26">
                  <c:v>0.66033278410596274</c:v>
                </c:pt>
                <c:pt idx="27">
                  <c:v>0.6695771369075546</c:v>
                </c:pt>
                <c:pt idx="28">
                  <c:v>0.67827271215612761</c:v>
                </c:pt>
                <c:pt idx="29">
                  <c:v>0.68652131858351229</c:v>
                </c:pt>
                <c:pt idx="30">
                  <c:v>0.69401348163521925</c:v>
                </c:pt>
                <c:pt idx="31">
                  <c:v>0.70138689282299427</c:v>
                </c:pt>
                <c:pt idx="32">
                  <c:v>0.70873451446456182</c:v>
                </c:pt>
                <c:pt idx="33">
                  <c:v>0.71575346933120665</c:v>
                </c:pt>
                <c:pt idx="34">
                  <c:v>0.72237223641396964</c:v>
                </c:pt>
                <c:pt idx="35">
                  <c:v>0.72889714154367535</c:v>
                </c:pt>
                <c:pt idx="36">
                  <c:v>0.73537676502829585</c:v>
                </c:pt>
                <c:pt idx="37">
                  <c:v>0.74171364637344261</c:v>
                </c:pt>
                <c:pt idx="38">
                  <c:v>0.74799669953784242</c:v>
                </c:pt>
                <c:pt idx="39">
                  <c:v>0.75419353764951391</c:v>
                </c:pt>
                <c:pt idx="40">
                  <c:v>0.76016666644175801</c:v>
                </c:pt>
                <c:pt idx="41">
                  <c:v>0.76526564956894738</c:v>
                </c:pt>
                <c:pt idx="42">
                  <c:v>0.77023193648454613</c:v>
                </c:pt>
                <c:pt idx="43">
                  <c:v>0.77503913788545831</c:v>
                </c:pt>
                <c:pt idx="44">
                  <c:v>0.77962937723193926</c:v>
                </c:pt>
                <c:pt idx="45">
                  <c:v>0.78405903167151214</c:v>
                </c:pt>
                <c:pt idx="46">
                  <c:v>0.7884558494214372</c:v>
                </c:pt>
                <c:pt idx="47">
                  <c:v>0.79264785019392403</c:v>
                </c:pt>
                <c:pt idx="48">
                  <c:v>0.79677897564222355</c:v>
                </c:pt>
                <c:pt idx="49">
                  <c:v>0.80082328628090615</c:v>
                </c:pt>
                <c:pt idx="50">
                  <c:v>0.80480807104840069</c:v>
                </c:pt>
                <c:pt idx="51">
                  <c:v>0.80874097684503599</c:v>
                </c:pt>
                <c:pt idx="52">
                  <c:v>0.81266668555900878</c:v>
                </c:pt>
                <c:pt idx="53">
                  <c:v>0.81624573479140239</c:v>
                </c:pt>
                <c:pt idx="54">
                  <c:v>0.81976765718016209</c:v>
                </c:pt>
                <c:pt idx="55">
                  <c:v>0.82316812879899137</c:v>
                </c:pt>
                <c:pt idx="56">
                  <c:v>0.82651117369574245</c:v>
                </c:pt>
                <c:pt idx="57">
                  <c:v>0.8298531690179386</c:v>
                </c:pt>
                <c:pt idx="58">
                  <c:v>0.83317867102569976</c:v>
                </c:pt>
                <c:pt idx="59">
                  <c:v>0.83650147412746245</c:v>
                </c:pt>
                <c:pt idx="60">
                  <c:v>0.83953279538139214</c:v>
                </c:pt>
                <c:pt idx="61">
                  <c:v>0.84256021821554627</c:v>
                </c:pt>
                <c:pt idx="62">
                  <c:v>0.84550172587541639</c:v>
                </c:pt>
                <c:pt idx="63">
                  <c:v>0.84844083450773233</c:v>
                </c:pt>
                <c:pt idx="64">
                  <c:v>0.85137079684749795</c:v>
                </c:pt>
                <c:pt idx="65">
                  <c:v>0.85426132517184172</c:v>
                </c:pt>
                <c:pt idx="66">
                  <c:v>0.85714450647430074</c:v>
                </c:pt>
                <c:pt idx="67">
                  <c:v>0.85989184284150433</c:v>
                </c:pt>
                <c:pt idx="68">
                  <c:v>0.86263348151826669</c:v>
                </c:pt>
                <c:pt idx="69">
                  <c:v>0.86533988447782706</c:v>
                </c:pt>
                <c:pt idx="70">
                  <c:v>0.86801120165940748</c:v>
                </c:pt>
                <c:pt idx="71">
                  <c:v>0.87053317937574015</c:v>
                </c:pt>
                <c:pt idx="72">
                  <c:v>0.87303776414230505</c:v>
                </c:pt>
                <c:pt idx="73">
                  <c:v>0.87545133580103318</c:v>
                </c:pt>
                <c:pt idx="74">
                  <c:v>0.87786040928309728</c:v>
                </c:pt>
                <c:pt idx="75">
                  <c:v>0.88023139820273866</c:v>
                </c:pt>
                <c:pt idx="76">
                  <c:v>0.88247164012067725</c:v>
                </c:pt>
                <c:pt idx="77">
                  <c:v>0.8846952387849587</c:v>
                </c:pt>
                <c:pt idx="78">
                  <c:v>0.88690279395247151</c:v>
                </c:pt>
                <c:pt idx="79">
                  <c:v>0.8890772125518922</c:v>
                </c:pt>
                <c:pt idx="80">
                  <c:v>0.89116181755725332</c:v>
                </c:pt>
                <c:pt idx="81">
                  <c:v>0.89320683860797045</c:v>
                </c:pt>
                <c:pt idx="82">
                  <c:v>0.89521857315137332</c:v>
                </c:pt>
                <c:pt idx="83">
                  <c:v>0.89722176115911434</c:v>
                </c:pt>
                <c:pt idx="84">
                  <c:v>0.89914563131834524</c:v>
                </c:pt>
                <c:pt idx="85">
                  <c:v>0.90100487767283544</c:v>
                </c:pt>
                <c:pt idx="86">
                  <c:v>0.9028399838125617</c:v>
                </c:pt>
                <c:pt idx="87">
                  <c:v>0.90467314074240024</c:v>
                </c:pt>
                <c:pt idx="88">
                  <c:v>0.90648320703202978</c:v>
                </c:pt>
                <c:pt idx="89">
                  <c:v>0.90826343541645416</c:v>
                </c:pt>
                <c:pt idx="90">
                  <c:v>0.91004156465176866</c:v>
                </c:pt>
                <c:pt idx="91">
                  <c:v>0.91179900227442834</c:v>
                </c:pt>
                <c:pt idx="92">
                  <c:v>0.91353754755509886</c:v>
                </c:pt>
                <c:pt idx="93">
                  <c:v>0.91524475553834284</c:v>
                </c:pt>
                <c:pt idx="94">
                  <c:v>0.91682601457499235</c:v>
                </c:pt>
                <c:pt idx="95">
                  <c:v>0.91840232561731139</c:v>
                </c:pt>
                <c:pt idx="96">
                  <c:v>0.91994535015231615</c:v>
                </c:pt>
                <c:pt idx="97">
                  <c:v>0.92146753313544394</c:v>
                </c:pt>
                <c:pt idx="98">
                  <c:v>0.92297412243946952</c:v>
                </c:pt>
                <c:pt idx="99">
                  <c:v>0.92446286897606089</c:v>
                </c:pt>
                <c:pt idx="100">
                  <c:v>0.9259027353262359</c:v>
                </c:pt>
                <c:pt idx="101">
                  <c:v>0.92734080240574523</c:v>
                </c:pt>
                <c:pt idx="102">
                  <c:v>0.92877302185559119</c:v>
                </c:pt>
                <c:pt idx="103">
                  <c:v>0.93017300437267791</c:v>
                </c:pt>
                <c:pt idx="104">
                  <c:v>0.93157013804454403</c:v>
                </c:pt>
                <c:pt idx="105">
                  <c:v>0.93295947487685904</c:v>
                </c:pt>
                <c:pt idx="106">
                  <c:v>0.93434851183072976</c:v>
                </c:pt>
                <c:pt idx="107">
                  <c:v>0.93563633980965855</c:v>
                </c:pt>
                <c:pt idx="108">
                  <c:v>0.93691637094903624</c:v>
                </c:pt>
                <c:pt idx="109">
                  <c:v>0.93814572263133178</c:v>
                </c:pt>
                <c:pt idx="110">
                  <c:v>0.93934088817098027</c:v>
                </c:pt>
                <c:pt idx="111">
                  <c:v>0.94053110571629828</c:v>
                </c:pt>
                <c:pt idx="112">
                  <c:v>0.9417201237478392</c:v>
                </c:pt>
                <c:pt idx="113">
                  <c:v>0.94284031967641957</c:v>
                </c:pt>
                <c:pt idx="114">
                  <c:v>0.94395376834000377</c:v>
                </c:pt>
                <c:pt idx="115">
                  <c:v>0.94504352660649049</c:v>
                </c:pt>
                <c:pt idx="116">
                  <c:v>0.94612713736486953</c:v>
                </c:pt>
                <c:pt idx="117">
                  <c:v>0.9472011520130319</c:v>
                </c:pt>
                <c:pt idx="118">
                  <c:v>0.94826347140186762</c:v>
                </c:pt>
                <c:pt idx="119">
                  <c:v>0.94931874364726299</c:v>
                </c:pt>
                <c:pt idx="120">
                  <c:v>0.95035782245666756</c:v>
                </c:pt>
                <c:pt idx="121">
                  <c:v>0.95139225315018594</c:v>
                </c:pt>
                <c:pt idx="122">
                  <c:v>0.95238470086150617</c:v>
                </c:pt>
                <c:pt idx="123">
                  <c:v>0.95336950167249745</c:v>
                </c:pt>
                <c:pt idx="124">
                  <c:v>0.954345755947827</c:v>
                </c:pt>
                <c:pt idx="125">
                  <c:v>0.95531691228960391</c:v>
                </c:pt>
                <c:pt idx="126">
                  <c:v>0.95622899257785909</c:v>
                </c:pt>
                <c:pt idx="127">
                  <c:v>0.95710313824291371</c:v>
                </c:pt>
                <c:pt idx="128">
                  <c:v>0.95795764186986854</c:v>
                </c:pt>
                <c:pt idx="129">
                  <c:v>0.95880899677315845</c:v>
                </c:pt>
                <c:pt idx="130">
                  <c:v>0.95963351255568596</c:v>
                </c:pt>
                <c:pt idx="131">
                  <c:v>0.96045502955377082</c:v>
                </c:pt>
                <c:pt idx="132">
                  <c:v>0.96126979928685952</c:v>
                </c:pt>
                <c:pt idx="133">
                  <c:v>0.96207092455073384</c:v>
                </c:pt>
                <c:pt idx="134">
                  <c:v>0.96287145005771957</c:v>
                </c:pt>
                <c:pt idx="135">
                  <c:v>0.9636488849244963</c:v>
                </c:pt>
                <c:pt idx="136">
                  <c:v>0.96440637787472894</c:v>
                </c:pt>
                <c:pt idx="137">
                  <c:v>0.96515922270907528</c:v>
                </c:pt>
                <c:pt idx="138">
                  <c:v>0.96590921869820112</c:v>
                </c:pt>
                <c:pt idx="139">
                  <c:v>0.9666559160244399</c:v>
                </c:pt>
                <c:pt idx="140">
                  <c:v>0.96739406681501694</c:v>
                </c:pt>
                <c:pt idx="141">
                  <c:v>0.96812232161693301</c:v>
                </c:pt>
                <c:pt idx="142">
                  <c:v>0.9688487771481834</c:v>
                </c:pt>
                <c:pt idx="143">
                  <c:v>0.96954674422722786</c:v>
                </c:pt>
                <c:pt idx="144">
                  <c:v>0.97024141264338537</c:v>
                </c:pt>
                <c:pt idx="145">
                  <c:v>0.97092153695499561</c:v>
                </c:pt>
                <c:pt idx="146">
                  <c:v>0.97158096965395113</c:v>
                </c:pt>
                <c:pt idx="147">
                  <c:v>0.97223560429779821</c:v>
                </c:pt>
                <c:pt idx="148">
                  <c:v>0.9728890394278682</c:v>
                </c:pt>
                <c:pt idx="149">
                  <c:v>0.97353827625971845</c:v>
                </c:pt>
                <c:pt idx="150">
                  <c:v>0.97416742123580236</c:v>
                </c:pt>
                <c:pt idx="151">
                  <c:v>0.97478637034478099</c:v>
                </c:pt>
                <c:pt idx="152">
                  <c:v>0.97540307036542762</c:v>
                </c:pt>
                <c:pt idx="153">
                  <c:v>0.97601692154085362</c:v>
                </c:pt>
                <c:pt idx="154">
                  <c:v>0.97662807381028116</c:v>
                </c:pt>
                <c:pt idx="155">
                  <c:v>0.97722723094193786</c:v>
                </c:pt>
                <c:pt idx="156">
                  <c:v>0.97779550059383447</c:v>
                </c:pt>
                <c:pt idx="157">
                  <c:v>0.9783495260196281</c:v>
                </c:pt>
                <c:pt idx="158">
                  <c:v>0.97890340150619959</c:v>
                </c:pt>
                <c:pt idx="159">
                  <c:v>0.97944933021399794</c:v>
                </c:pt>
                <c:pt idx="160">
                  <c:v>0.97997651651902917</c:v>
                </c:pt>
                <c:pt idx="161">
                  <c:v>0.98048720950962542</c:v>
                </c:pt>
                <c:pt idx="162">
                  <c:v>0.98099625316877814</c:v>
                </c:pt>
                <c:pt idx="163">
                  <c:v>0.98150394737493163</c:v>
                </c:pt>
                <c:pt idx="164">
                  <c:v>0.98198180367588006</c:v>
                </c:pt>
                <c:pt idx="165">
                  <c:v>0.98244046775639504</c:v>
                </c:pt>
                <c:pt idx="166">
                  <c:v>0.98289013548358184</c:v>
                </c:pt>
                <c:pt idx="167">
                  <c:v>0.98332675849844275</c:v>
                </c:pt>
                <c:pt idx="168">
                  <c:v>0.98376008285041672</c:v>
                </c:pt>
                <c:pt idx="169">
                  <c:v>0.98418740963350515</c:v>
                </c:pt>
                <c:pt idx="170">
                  <c:v>0.98461278720670586</c:v>
                </c:pt>
                <c:pt idx="171">
                  <c:v>0.98503156745413256</c:v>
                </c:pt>
                <c:pt idx="172">
                  <c:v>0.98544390031500739</c:v>
                </c:pt>
                <c:pt idx="173">
                  <c:v>0.98584873621477542</c:v>
                </c:pt>
                <c:pt idx="174">
                  <c:v>0.98625282241843282</c:v>
                </c:pt>
                <c:pt idx="175">
                  <c:v>0.98662512150699722</c:v>
                </c:pt>
                <c:pt idx="176">
                  <c:v>0.98698827430301139</c:v>
                </c:pt>
                <c:pt idx="177">
                  <c:v>0.98733508372381262</c:v>
                </c:pt>
                <c:pt idx="178">
                  <c:v>0.9876791942386155</c:v>
                </c:pt>
                <c:pt idx="179">
                  <c:v>0.98801160949409172</c:v>
                </c:pt>
                <c:pt idx="180">
                  <c:v>0.98833757736301608</c:v>
                </c:pt>
                <c:pt idx="181">
                  <c:v>0.98865964681216489</c:v>
                </c:pt>
                <c:pt idx="182">
                  <c:v>0.98898111650442511</c:v>
                </c:pt>
                <c:pt idx="183">
                  <c:v>0.98929823795924343</c:v>
                </c:pt>
                <c:pt idx="184">
                  <c:v>0.98959361822685199</c:v>
                </c:pt>
                <c:pt idx="185">
                  <c:v>0.98985646168325692</c:v>
                </c:pt>
                <c:pt idx="186">
                  <c:v>0.99010041279767269</c:v>
                </c:pt>
                <c:pt idx="187">
                  <c:v>0.99033626719409307</c:v>
                </c:pt>
                <c:pt idx="188">
                  <c:v>0.99056942268451498</c:v>
                </c:pt>
                <c:pt idx="189">
                  <c:v>0.99079882969438349</c:v>
                </c:pt>
                <c:pt idx="190">
                  <c:v>0.99101624156648116</c:v>
                </c:pt>
                <c:pt idx="191">
                  <c:v>0.99123185416791315</c:v>
                </c:pt>
                <c:pt idx="192">
                  <c:v>0.99144011974746049</c:v>
                </c:pt>
                <c:pt idx="193">
                  <c:v>0.99164073842667888</c:v>
                </c:pt>
                <c:pt idx="194">
                  <c:v>0.9918274127582386</c:v>
                </c:pt>
                <c:pt idx="195">
                  <c:v>0.99201303751524339</c:v>
                </c:pt>
                <c:pt idx="196">
                  <c:v>0.99219806251535958</c:v>
                </c:pt>
                <c:pt idx="197">
                  <c:v>0.99238113830558805</c:v>
                </c:pt>
                <c:pt idx="198">
                  <c:v>0.99256361433892792</c:v>
                </c:pt>
                <c:pt idx="199">
                  <c:v>0.99274354140549148</c:v>
                </c:pt>
                <c:pt idx="200">
                  <c:v>0.99291986993072379</c:v>
                </c:pt>
                <c:pt idx="201">
                  <c:v>0.99309095058318131</c:v>
                </c:pt>
                <c:pt idx="202">
                  <c:v>0.99325513403142052</c:v>
                </c:pt>
                <c:pt idx="203">
                  <c:v>0.99341856778354909</c:v>
                </c:pt>
                <c:pt idx="204">
                  <c:v>0.99357705354134718</c:v>
                </c:pt>
                <c:pt idx="205">
                  <c:v>0.99373074124403693</c:v>
                </c:pt>
                <c:pt idx="206">
                  <c:v>0.99388352931139379</c:v>
                </c:pt>
                <c:pt idx="207">
                  <c:v>0.99402957011375459</c:v>
                </c:pt>
                <c:pt idx="208">
                  <c:v>0.99417201237478403</c:v>
                </c:pt>
                <c:pt idx="209">
                  <c:v>0.99431175572981512</c:v>
                </c:pt>
                <c:pt idx="210">
                  <c:v>0.99444969981418052</c:v>
                </c:pt>
                <c:pt idx="211">
                  <c:v>0.99457669833533002</c:v>
                </c:pt>
                <c:pt idx="212">
                  <c:v>0.99469814910526044</c:v>
                </c:pt>
                <c:pt idx="213">
                  <c:v>0.99481929999674656</c:v>
                </c:pt>
                <c:pt idx="214">
                  <c:v>0.99493625259001284</c:v>
                </c:pt>
                <c:pt idx="215">
                  <c:v>0.99505290530483492</c:v>
                </c:pt>
                <c:pt idx="216">
                  <c:v>0.99516940808043486</c:v>
                </c:pt>
                <c:pt idx="217">
                  <c:v>0.99528486128147986</c:v>
                </c:pt>
                <c:pt idx="218">
                  <c:v>0.99539866515108133</c:v>
                </c:pt>
                <c:pt idx="219">
                  <c:v>0.99551111956768357</c:v>
                </c:pt>
                <c:pt idx="220">
                  <c:v>0.9956232741058415</c:v>
                </c:pt>
                <c:pt idx="221">
                  <c:v>0.99573123034577959</c:v>
                </c:pt>
                <c:pt idx="222">
                  <c:v>0.99583918658571768</c:v>
                </c:pt>
                <c:pt idx="223">
                  <c:v>0.99594714282565577</c:v>
                </c:pt>
                <c:pt idx="224">
                  <c:v>0.99605389955181678</c:v>
                </c:pt>
                <c:pt idx="225">
                  <c:v>0.99615960670342285</c:v>
                </c:pt>
                <c:pt idx="226">
                  <c:v>0.99626501397658462</c:v>
                </c:pt>
                <c:pt idx="227">
                  <c:v>0.99636997143208006</c:v>
                </c:pt>
                <c:pt idx="228">
                  <c:v>0.99647447906990905</c:v>
                </c:pt>
                <c:pt idx="229">
                  <c:v>0.9965779371331831</c:v>
                </c:pt>
                <c:pt idx="230">
                  <c:v>0.99667974586501362</c:v>
                </c:pt>
                <c:pt idx="231">
                  <c:v>0.99678005520462276</c:v>
                </c:pt>
                <c:pt idx="232">
                  <c:v>0.99687496673223508</c:v>
                </c:pt>
                <c:pt idx="233">
                  <c:v>0.99696942844218095</c:v>
                </c:pt>
                <c:pt idx="234">
                  <c:v>0.99706209088146114</c:v>
                </c:pt>
                <c:pt idx="235">
                  <c:v>0.99715400362463069</c:v>
                </c:pt>
                <c:pt idx="236">
                  <c:v>0.99724381721869038</c:v>
                </c:pt>
                <c:pt idx="237">
                  <c:v>0.99733198148130653</c:v>
                </c:pt>
                <c:pt idx="238">
                  <c:v>0.99741654720259143</c:v>
                </c:pt>
                <c:pt idx="239">
                  <c:v>0.99749706456487863</c:v>
                </c:pt>
                <c:pt idx="240">
                  <c:v>0.99757503296038952</c:v>
                </c:pt>
                <c:pt idx="241">
                  <c:v>0.99765225165978977</c:v>
                </c:pt>
                <c:pt idx="242">
                  <c:v>0.99772932041996787</c:v>
                </c:pt>
                <c:pt idx="243">
                  <c:v>0.99779919209748336</c:v>
                </c:pt>
                <c:pt idx="244">
                  <c:v>0.99786696462588897</c:v>
                </c:pt>
                <c:pt idx="245">
                  <c:v>0.99793293788362891</c:v>
                </c:pt>
                <c:pt idx="246">
                  <c:v>0.99799861126292466</c:v>
                </c:pt>
                <c:pt idx="247">
                  <c:v>0.99806308512844333</c:v>
                </c:pt>
                <c:pt idx="248">
                  <c:v>0.99812545984485201</c:v>
                </c:pt>
                <c:pt idx="249">
                  <c:v>0.9981875346828164</c:v>
                </c:pt>
                <c:pt idx="250">
                  <c:v>0.998248709885448</c:v>
                </c:pt>
                <c:pt idx="251">
                  <c:v>0.99830733612130329</c:v>
                </c:pt>
                <c:pt idx="252">
                  <c:v>0.99836581241793643</c:v>
                </c:pt>
                <c:pt idx="253">
                  <c:v>0.99842368895768108</c:v>
                </c:pt>
                <c:pt idx="254">
                  <c:v>0.99848141555820358</c:v>
                </c:pt>
                <c:pt idx="255">
                  <c:v>0.99853809258417114</c:v>
                </c:pt>
                <c:pt idx="256">
                  <c:v>0.99859461967091656</c:v>
                </c:pt>
                <c:pt idx="257">
                  <c:v>0.99864769815555277</c:v>
                </c:pt>
                <c:pt idx="258">
                  <c:v>0.99869792779496847</c:v>
                </c:pt>
                <c:pt idx="259">
                  <c:v>0.99874725779905127</c:v>
                </c:pt>
                <c:pt idx="260">
                  <c:v>0.9987944886540242</c:v>
                </c:pt>
                <c:pt idx="261">
                  <c:v>0.99884171950899714</c:v>
                </c:pt>
                <c:pt idx="262">
                  <c:v>0.99888700115408235</c:v>
                </c:pt>
                <c:pt idx="263">
                  <c:v>0.99893198292072327</c:v>
                </c:pt>
                <c:pt idx="264">
                  <c:v>0.99897471559903217</c:v>
                </c:pt>
                <c:pt idx="265">
                  <c:v>0.99901654864200817</c:v>
                </c:pt>
                <c:pt idx="266">
                  <c:v>0.99905823174576203</c:v>
                </c:pt>
                <c:pt idx="267">
                  <c:v>0.9990987153357388</c:v>
                </c:pt>
                <c:pt idx="268">
                  <c:v>0.99913829929038278</c:v>
                </c:pt>
                <c:pt idx="269">
                  <c:v>0.99917773330580462</c:v>
                </c:pt>
                <c:pt idx="270">
                  <c:v>0.99921596780744937</c:v>
                </c:pt>
                <c:pt idx="271">
                  <c:v>0.99925330267376133</c:v>
                </c:pt>
                <c:pt idx="272">
                  <c:v>0.999290337661629</c:v>
                </c:pt>
                <c:pt idx="273">
                  <c:v>0.99932587325727529</c:v>
                </c:pt>
                <c:pt idx="274">
                  <c:v>0.99936125891369942</c:v>
                </c:pt>
                <c:pt idx="275">
                  <c:v>0.99939649463090141</c:v>
                </c:pt>
                <c:pt idx="276">
                  <c:v>0.99942888150288289</c:v>
                </c:pt>
                <c:pt idx="277">
                  <c:v>0.99945826959042161</c:v>
                </c:pt>
                <c:pt idx="278">
                  <c:v>0.99948720786029388</c:v>
                </c:pt>
                <c:pt idx="279">
                  <c:v>0.99951554637327766</c:v>
                </c:pt>
                <c:pt idx="280">
                  <c:v>0.99954103604104083</c:v>
                </c:pt>
                <c:pt idx="281">
                  <c:v>0.99956562607347121</c:v>
                </c:pt>
                <c:pt idx="282">
                  <c:v>0.9995899162274573</c:v>
                </c:pt>
                <c:pt idx="283">
                  <c:v>0.99961390650299908</c:v>
                </c:pt>
                <c:pt idx="284">
                  <c:v>0.99963489799409821</c:v>
                </c:pt>
                <c:pt idx="285">
                  <c:v>0.99965528972830875</c:v>
                </c:pt>
                <c:pt idx="286">
                  <c:v>0.9996750817056308</c:v>
                </c:pt>
                <c:pt idx="287">
                  <c:v>0.99969457380450855</c:v>
                </c:pt>
                <c:pt idx="288">
                  <c:v>0.9997134661464977</c:v>
                </c:pt>
                <c:pt idx="289">
                  <c:v>0.99973175873159836</c:v>
                </c:pt>
                <c:pt idx="290">
                  <c:v>0.99974975143825473</c:v>
                </c:pt>
                <c:pt idx="291">
                  <c:v>0.99976624475268971</c:v>
                </c:pt>
                <c:pt idx="292">
                  <c:v>0.9997824381886804</c:v>
                </c:pt>
                <c:pt idx="293">
                  <c:v>0.99979818180700475</c:v>
                </c:pt>
                <c:pt idx="294">
                  <c:v>0.99981317572921835</c:v>
                </c:pt>
                <c:pt idx="295">
                  <c:v>0.9998280197122098</c:v>
                </c:pt>
                <c:pt idx="296">
                  <c:v>0.99984226393831277</c:v>
                </c:pt>
                <c:pt idx="297">
                  <c:v>0.99985590840752714</c:v>
                </c:pt>
                <c:pt idx="298">
                  <c:v>0.99986880318063087</c:v>
                </c:pt>
                <c:pt idx="299">
                  <c:v>0.99988079831840182</c:v>
                </c:pt>
                <c:pt idx="300">
                  <c:v>0.99989264351695062</c:v>
                </c:pt>
                <c:pt idx="301">
                  <c:v>0.99990433877627727</c:v>
                </c:pt>
                <c:pt idx="302">
                  <c:v>0.99991513440027113</c:v>
                </c:pt>
                <c:pt idx="303">
                  <c:v>0.99992548020659855</c:v>
                </c:pt>
                <c:pt idx="304">
                  <c:v>0.99993492637759318</c:v>
                </c:pt>
                <c:pt idx="305">
                  <c:v>0.99994392273092136</c:v>
                </c:pt>
                <c:pt idx="306">
                  <c:v>0.99995291908424955</c:v>
                </c:pt>
                <c:pt idx="307">
                  <c:v>0.99996131568068913</c:v>
                </c:pt>
                <c:pt idx="308">
                  <c:v>0.99996926245946238</c:v>
                </c:pt>
                <c:pt idx="309">
                  <c:v>0.9999761596636807</c:v>
                </c:pt>
                <c:pt idx="310">
                  <c:v>0.99998140753645548</c:v>
                </c:pt>
                <c:pt idx="311">
                  <c:v>0.99998605565234167</c:v>
                </c:pt>
                <c:pt idx="312">
                  <c:v>0.99998950425445077</c:v>
                </c:pt>
                <c:pt idx="313">
                  <c:v>0.99999220316044923</c:v>
                </c:pt>
                <c:pt idx="314">
                  <c:v>0.9999949020664477</c:v>
                </c:pt>
                <c:pt idx="315">
                  <c:v>0.99999640145866908</c:v>
                </c:pt>
                <c:pt idx="316">
                  <c:v>0.99999775091166831</c:v>
                </c:pt>
                <c:pt idx="317">
                  <c:v>0.99999910036466755</c:v>
                </c:pt>
                <c:pt idx="318">
                  <c:v>1.000000000000000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316</c:f>
              <c:strCache>
                <c:ptCount val="315"/>
                <c:pt idx="0">
                  <c:v>Ruinart</c:v>
                </c:pt>
                <c:pt idx="1">
                  <c:v>Deutz</c:v>
                </c:pt>
                <c:pt idx="2">
                  <c:v>Nicolas</c:v>
                </c:pt>
                <c:pt idx="3">
                  <c:v>Ruinart</c:v>
                </c:pt>
                <c:pt idx="4">
                  <c:v>Heidsieck &amp;</c:v>
                </c:pt>
                <c:pt idx="5">
                  <c:v>Malard</c:v>
                </c:pt>
                <c:pt idx="6">
                  <c:v>Ayala</c:v>
                </c:pt>
                <c:pt idx="7">
                  <c:v>De Bligny</c:v>
                </c:pt>
                <c:pt idx="8">
                  <c:v>Ruinart</c:v>
                </c:pt>
                <c:pt idx="9">
                  <c:v>Taittinger</c:v>
                </c:pt>
                <c:pt idx="10">
                  <c:v>Canard Duch</c:v>
                </c:pt>
                <c:pt idx="11">
                  <c:v>Ruinart</c:v>
                </c:pt>
                <c:pt idx="12">
                  <c:v>Laurent Per</c:v>
                </c:pt>
                <c:pt idx="13">
                  <c:v>Nicolas Feu</c:v>
                </c:pt>
                <c:pt idx="14">
                  <c:v>Bollinger</c:v>
                </c:pt>
                <c:pt idx="15">
                  <c:v>Deutz</c:v>
                </c:pt>
                <c:pt idx="16">
                  <c:v>Besserat De</c:v>
                </c:pt>
                <c:pt idx="17">
                  <c:v>Savian</c:v>
                </c:pt>
                <c:pt idx="18">
                  <c:v>All Others</c:v>
                </c:pt>
                <c:pt idx="19">
                  <c:v>Ruinart</c:v>
                </c:pt>
                <c:pt idx="20">
                  <c:v>Demoiselle</c:v>
                </c:pt>
                <c:pt idx="21">
                  <c:v>Laurent Per</c:v>
                </c:pt>
                <c:pt idx="22">
                  <c:v>Ruinart</c:v>
                </c:pt>
                <c:pt idx="23">
                  <c:v>Taittinger</c:v>
                </c:pt>
                <c:pt idx="24">
                  <c:v>All Others</c:v>
                </c:pt>
                <c:pt idx="25">
                  <c:v>Perrier Jou</c:v>
                </c:pt>
                <c:pt idx="26">
                  <c:v>Bottega</c:v>
                </c:pt>
                <c:pt idx="27">
                  <c:v>Ruinart</c:v>
                </c:pt>
                <c:pt idx="28">
                  <c:v>Deutz</c:v>
                </c:pt>
                <c:pt idx="29">
                  <c:v>Dom Perigno</c:v>
                </c:pt>
                <c:pt idx="30">
                  <c:v>Malard</c:v>
                </c:pt>
                <c:pt idx="31">
                  <c:v>Roederer</c:v>
                </c:pt>
                <c:pt idx="32">
                  <c:v>All Others</c:v>
                </c:pt>
                <c:pt idx="33">
                  <c:v>Dom Perigno</c:v>
                </c:pt>
                <c:pt idx="34">
                  <c:v>Ruinart</c:v>
                </c:pt>
                <c:pt idx="35">
                  <c:v>Patriarche</c:v>
                </c:pt>
                <c:pt idx="36">
                  <c:v>Moët &amp; Chan</c:v>
                </c:pt>
                <c:pt idx="37">
                  <c:v>Pommery</c:v>
                </c:pt>
                <c:pt idx="38">
                  <c:v>All Others</c:v>
                </c:pt>
                <c:pt idx="39">
                  <c:v>Vesselle</c:v>
                </c:pt>
                <c:pt idx="40">
                  <c:v>Savian</c:v>
                </c:pt>
                <c:pt idx="41">
                  <c:v>Campari: Al</c:v>
                </c:pt>
                <c:pt idx="42">
                  <c:v>Laurent Per</c:v>
                </c:pt>
                <c:pt idx="43">
                  <c:v>Henriot</c:v>
                </c:pt>
                <c:pt idx="44">
                  <c:v>Demoiselle</c:v>
                </c:pt>
                <c:pt idx="45">
                  <c:v>Roederer</c:v>
                </c:pt>
                <c:pt idx="46">
                  <c:v>De Chanceny</c:v>
                </c:pt>
                <c:pt idx="47">
                  <c:v>Nicolas</c:v>
                </c:pt>
                <c:pt idx="48">
                  <c:v>Veuve Clicq</c:v>
                </c:pt>
                <c:pt idx="49">
                  <c:v>Dom Perigno</c:v>
                </c:pt>
                <c:pt idx="50">
                  <c:v>Nicolas Feu</c:v>
                </c:pt>
                <c:pt idx="51">
                  <c:v>Nicolas</c:v>
                </c:pt>
                <c:pt idx="52">
                  <c:v>Veuve Clicq</c:v>
                </c:pt>
                <c:pt idx="53">
                  <c:v>Ruinart</c:v>
                </c:pt>
                <c:pt idx="54">
                  <c:v>Nicolas</c:v>
                </c:pt>
                <c:pt idx="55">
                  <c:v>Besserat De</c:v>
                </c:pt>
                <c:pt idx="56">
                  <c:v>Deutz</c:v>
                </c:pt>
                <c:pt idx="57">
                  <c:v>Nicolas Feu</c:v>
                </c:pt>
                <c:pt idx="58">
                  <c:v>De Venoge</c:v>
                </c:pt>
                <c:pt idx="59">
                  <c:v>Malard</c:v>
                </c:pt>
                <c:pt idx="60">
                  <c:v>Lanson</c:v>
                </c:pt>
                <c:pt idx="61">
                  <c:v>Moët &amp; Chan</c:v>
                </c:pt>
                <c:pt idx="62">
                  <c:v>Mure</c:v>
                </c:pt>
                <c:pt idx="63">
                  <c:v>Campari: Al</c:v>
                </c:pt>
                <c:pt idx="64">
                  <c:v>Ruinart</c:v>
                </c:pt>
                <c:pt idx="65">
                  <c:v>Veuve Clicq</c:v>
                </c:pt>
                <c:pt idx="66">
                  <c:v>Bollinger</c:v>
                </c:pt>
                <c:pt idx="67">
                  <c:v>Canard Duch</c:v>
                </c:pt>
                <c:pt idx="68">
                  <c:v>De Bligny</c:v>
                </c:pt>
                <c:pt idx="69">
                  <c:v>Canard Duch</c:v>
                </c:pt>
                <c:pt idx="70">
                  <c:v>Lyre's</c:v>
                </c:pt>
                <c:pt idx="71">
                  <c:v>Krug</c:v>
                </c:pt>
                <c:pt idx="72">
                  <c:v>French Bloo</c:v>
                </c:pt>
                <c:pt idx="73">
                  <c:v>All Others</c:v>
                </c:pt>
                <c:pt idx="74">
                  <c:v>Nicolas</c:v>
                </c:pt>
                <c:pt idx="75">
                  <c:v>Ayala</c:v>
                </c:pt>
                <c:pt idx="76">
                  <c:v>Malard</c:v>
                </c:pt>
                <c:pt idx="77">
                  <c:v>All Others</c:v>
                </c:pt>
                <c:pt idx="78">
                  <c:v>All Others</c:v>
                </c:pt>
                <c:pt idx="79">
                  <c:v>Piper Heids</c:v>
                </c:pt>
                <c:pt idx="80">
                  <c:v>Besserat De</c:v>
                </c:pt>
                <c:pt idx="81">
                  <c:v>Canard Duch</c:v>
                </c:pt>
                <c:pt idx="82">
                  <c:v>Laurent Per</c:v>
                </c:pt>
                <c:pt idx="83">
                  <c:v>Malard</c:v>
                </c:pt>
                <c:pt idx="84">
                  <c:v>Ruinart</c:v>
                </c:pt>
                <c:pt idx="85">
                  <c:v>Ruinart</c:v>
                </c:pt>
                <c:pt idx="86">
                  <c:v>Nicolas Feu</c:v>
                </c:pt>
                <c:pt idx="87">
                  <c:v>Pommery</c:v>
                </c:pt>
                <c:pt idx="88">
                  <c:v>Louis Marti</c:v>
                </c:pt>
                <c:pt idx="89">
                  <c:v>Malard</c:v>
                </c:pt>
                <c:pt idx="90">
                  <c:v>Delamotte</c:v>
                </c:pt>
                <c:pt idx="91">
                  <c:v>All Others</c:v>
                </c:pt>
                <c:pt idx="92">
                  <c:v>Henriot</c:v>
                </c:pt>
                <c:pt idx="93">
                  <c:v>Roederer</c:v>
                </c:pt>
                <c:pt idx="94">
                  <c:v>All Others</c:v>
                </c:pt>
                <c:pt idx="95">
                  <c:v>Henriot</c:v>
                </c:pt>
                <c:pt idx="96">
                  <c:v>Patriarche</c:v>
                </c:pt>
                <c:pt idx="97">
                  <c:v>Bottega</c:v>
                </c:pt>
                <c:pt idx="98">
                  <c:v>De Venoge</c:v>
                </c:pt>
                <c:pt idx="99">
                  <c:v>Roederer</c:v>
                </c:pt>
                <c:pt idx="100">
                  <c:v>Ruinart</c:v>
                </c:pt>
                <c:pt idx="101">
                  <c:v>Ruinart</c:v>
                </c:pt>
                <c:pt idx="102">
                  <c:v>De Chanceny</c:v>
                </c:pt>
                <c:pt idx="103">
                  <c:v>Roederer</c:v>
                </c:pt>
                <c:pt idx="104">
                  <c:v>Bouvet-Ladu</c:v>
                </c:pt>
                <c:pt idx="105">
                  <c:v>Vranken</c:v>
                </c:pt>
                <c:pt idx="106">
                  <c:v>Nicolas</c:v>
                </c:pt>
                <c:pt idx="107">
                  <c:v>Contarini</c:v>
                </c:pt>
                <c:pt idx="108">
                  <c:v>Roederer</c:v>
                </c:pt>
                <c:pt idx="109">
                  <c:v>Roederer</c:v>
                </c:pt>
                <c:pt idx="110">
                  <c:v>De Venoge</c:v>
                </c:pt>
                <c:pt idx="111">
                  <c:v>Perrier Jou</c:v>
                </c:pt>
                <c:pt idx="112">
                  <c:v>Vilaveroni</c:v>
                </c:pt>
                <c:pt idx="113">
                  <c:v>Henriot</c:v>
                </c:pt>
                <c:pt idx="114">
                  <c:v>Veuve Clicq</c:v>
                </c:pt>
                <c:pt idx="115">
                  <c:v>Moët &amp; Chan</c:v>
                </c:pt>
                <c:pt idx="116">
                  <c:v>Vranken</c:v>
                </c:pt>
                <c:pt idx="117">
                  <c:v>De Venoge</c:v>
                </c:pt>
                <c:pt idx="118">
                  <c:v>Laurent Per</c:v>
                </c:pt>
                <c:pt idx="119">
                  <c:v>Roederer</c:v>
                </c:pt>
                <c:pt idx="120">
                  <c:v>Deutz</c:v>
                </c:pt>
                <c:pt idx="121">
                  <c:v>All Others</c:v>
                </c:pt>
                <c:pt idx="122">
                  <c:v>Nicolas</c:v>
                </c:pt>
                <c:pt idx="123">
                  <c:v>Demoiselle</c:v>
                </c:pt>
                <c:pt idx="124">
                  <c:v>Nicolas Feu</c:v>
                </c:pt>
                <c:pt idx="125">
                  <c:v>All Others</c:v>
                </c:pt>
                <c:pt idx="126">
                  <c:v>All Others</c:v>
                </c:pt>
                <c:pt idx="127">
                  <c:v>Roederer</c:v>
                </c:pt>
                <c:pt idx="128">
                  <c:v>Nicolas</c:v>
                </c:pt>
                <c:pt idx="129">
                  <c:v>All Others</c:v>
                </c:pt>
                <c:pt idx="130">
                  <c:v>Canard Duch</c:v>
                </c:pt>
                <c:pt idx="131">
                  <c:v>Deutz</c:v>
                </c:pt>
                <c:pt idx="132">
                  <c:v>Deutz</c:v>
                </c:pt>
                <c:pt idx="133">
                  <c:v>Dom Perigno</c:v>
                </c:pt>
                <c:pt idx="134">
                  <c:v>All Others</c:v>
                </c:pt>
                <c:pt idx="135">
                  <c:v>Nicolas</c:v>
                </c:pt>
                <c:pt idx="136">
                  <c:v>Pommery</c:v>
                </c:pt>
                <c:pt idx="137">
                  <c:v>Deutz</c:v>
                </c:pt>
                <c:pt idx="138">
                  <c:v>Laurent Per</c:v>
                </c:pt>
                <c:pt idx="139">
                  <c:v>Bollinger</c:v>
                </c:pt>
                <c:pt idx="140">
                  <c:v>All Others</c:v>
                </c:pt>
                <c:pt idx="141">
                  <c:v>Lanson</c:v>
                </c:pt>
                <c:pt idx="142">
                  <c:v>Demoiselle</c:v>
                </c:pt>
                <c:pt idx="143">
                  <c:v>All Others</c:v>
                </c:pt>
                <c:pt idx="144">
                  <c:v>Nicolas</c:v>
                </c:pt>
                <c:pt idx="145">
                  <c:v>Ruinart</c:v>
                </c:pt>
                <c:pt idx="146">
                  <c:v>Nicolas</c:v>
                </c:pt>
                <c:pt idx="147">
                  <c:v>Nicolas</c:v>
                </c:pt>
                <c:pt idx="148">
                  <c:v>Nicolas</c:v>
                </c:pt>
                <c:pt idx="149">
                  <c:v>Nicolas</c:v>
                </c:pt>
                <c:pt idx="150">
                  <c:v>Contarini</c:v>
                </c:pt>
                <c:pt idx="151">
                  <c:v>Deutz</c:v>
                </c:pt>
                <c:pt idx="152">
                  <c:v>Pommery</c:v>
                </c:pt>
                <c:pt idx="153">
                  <c:v>Besserat De</c:v>
                </c:pt>
                <c:pt idx="154">
                  <c:v>Cru La Maqu</c:v>
                </c:pt>
                <c:pt idx="155">
                  <c:v>Delamotte</c:v>
                </c:pt>
                <c:pt idx="156">
                  <c:v>Ayala</c:v>
                </c:pt>
                <c:pt idx="157">
                  <c:v>Kriter</c:v>
                </c:pt>
                <c:pt idx="158">
                  <c:v>All Others</c:v>
                </c:pt>
                <c:pt idx="159">
                  <c:v>Canard Duch</c:v>
                </c:pt>
                <c:pt idx="160">
                  <c:v>Pommery</c:v>
                </c:pt>
                <c:pt idx="161">
                  <c:v>Taittinger</c:v>
                </c:pt>
                <c:pt idx="162">
                  <c:v>Besserat De</c:v>
                </c:pt>
                <c:pt idx="163">
                  <c:v>Roederer</c:v>
                </c:pt>
                <c:pt idx="164">
                  <c:v>Nicolas</c:v>
                </c:pt>
                <c:pt idx="165">
                  <c:v>Bollinger</c:v>
                </c:pt>
                <c:pt idx="166">
                  <c:v>Laurent Per</c:v>
                </c:pt>
                <c:pt idx="167">
                  <c:v>All Others</c:v>
                </c:pt>
                <c:pt idx="168">
                  <c:v>Ruinart</c:v>
                </c:pt>
                <c:pt idx="169">
                  <c:v>All Others</c:v>
                </c:pt>
                <c:pt idx="170">
                  <c:v>Dom Perigno</c:v>
                </c:pt>
                <c:pt idx="171">
                  <c:v>Malard</c:v>
                </c:pt>
                <c:pt idx="172">
                  <c:v>All Others</c:v>
                </c:pt>
                <c:pt idx="173">
                  <c:v>Roederer</c:v>
                </c:pt>
                <c:pt idx="174">
                  <c:v>Moët &amp; Chan</c:v>
                </c:pt>
                <c:pt idx="175">
                  <c:v>Canard Duch</c:v>
                </c:pt>
                <c:pt idx="176">
                  <c:v>Ruinart</c:v>
                </c:pt>
                <c:pt idx="177">
                  <c:v>Ruinart</c:v>
                </c:pt>
                <c:pt idx="178">
                  <c:v>Roederer</c:v>
                </c:pt>
                <c:pt idx="179">
                  <c:v>All Others</c:v>
                </c:pt>
                <c:pt idx="180">
                  <c:v>Perrier Jou</c:v>
                </c:pt>
                <c:pt idx="181">
                  <c:v>Piper Heids</c:v>
                </c:pt>
                <c:pt idx="182">
                  <c:v>Roederer</c:v>
                </c:pt>
                <c:pt idx="183">
                  <c:v>Taittinger</c:v>
                </c:pt>
                <c:pt idx="184">
                  <c:v>Laurent Per</c:v>
                </c:pt>
                <c:pt idx="185">
                  <c:v>All Others</c:v>
                </c:pt>
                <c:pt idx="186">
                  <c:v>Vesselle</c:v>
                </c:pt>
                <c:pt idx="187">
                  <c:v>Nicolas</c:v>
                </c:pt>
                <c:pt idx="188">
                  <c:v>Moët &amp; Chan</c:v>
                </c:pt>
                <c:pt idx="189">
                  <c:v>Roederer</c:v>
                </c:pt>
                <c:pt idx="190">
                  <c:v>Louis Marti</c:v>
                </c:pt>
                <c:pt idx="191">
                  <c:v>Taittinger</c:v>
                </c:pt>
                <c:pt idx="192">
                  <c:v>Ruinart</c:v>
                </c:pt>
                <c:pt idx="193">
                  <c:v>Vilaveroni</c:v>
                </c:pt>
                <c:pt idx="194">
                  <c:v>Deutz</c:v>
                </c:pt>
                <c:pt idx="195">
                  <c:v>Piper Heids</c:v>
                </c:pt>
                <c:pt idx="196">
                  <c:v>Vesselle</c:v>
                </c:pt>
                <c:pt idx="197">
                  <c:v>All Others</c:v>
                </c:pt>
                <c:pt idx="198">
                  <c:v>All Others</c:v>
                </c:pt>
                <c:pt idx="199">
                  <c:v>Roederer</c:v>
                </c:pt>
                <c:pt idx="200">
                  <c:v>Nicolas</c:v>
                </c:pt>
                <c:pt idx="201">
                  <c:v>Vranken</c:v>
                </c:pt>
                <c:pt idx="202">
                  <c:v>All Others</c:v>
                </c:pt>
                <c:pt idx="203">
                  <c:v>All Others</c:v>
                </c:pt>
                <c:pt idx="204">
                  <c:v>Henriot</c:v>
                </c:pt>
                <c:pt idx="205">
                  <c:v>Ruinart</c:v>
                </c:pt>
                <c:pt idx="206">
                  <c:v>Perrier Jou</c:v>
                </c:pt>
                <c:pt idx="207">
                  <c:v>All Others</c:v>
                </c:pt>
                <c:pt idx="208">
                  <c:v>Nicolas</c:v>
                </c:pt>
                <c:pt idx="209">
                  <c:v>Ruinart</c:v>
                </c:pt>
                <c:pt idx="210">
                  <c:v>Roederer</c:v>
                </c:pt>
                <c:pt idx="211">
                  <c:v>Ruinart</c:v>
                </c:pt>
                <c:pt idx="212">
                  <c:v>Dom Perigno</c:v>
                </c:pt>
                <c:pt idx="213">
                  <c:v>Roederer</c:v>
                </c:pt>
                <c:pt idx="214">
                  <c:v>Nicolas</c:v>
                </c:pt>
                <c:pt idx="215">
                  <c:v>Laurent Per</c:v>
                </c:pt>
                <c:pt idx="216">
                  <c:v>Besserat De</c:v>
                </c:pt>
                <c:pt idx="217">
                  <c:v>All Others</c:v>
                </c:pt>
                <c:pt idx="218">
                  <c:v>All Others</c:v>
                </c:pt>
                <c:pt idx="219">
                  <c:v>Pommery</c:v>
                </c:pt>
                <c:pt idx="220">
                  <c:v>Bollinger</c:v>
                </c:pt>
                <c:pt idx="221">
                  <c:v>Taittinger</c:v>
                </c:pt>
                <c:pt idx="222">
                  <c:v>Pommery</c:v>
                </c:pt>
                <c:pt idx="223">
                  <c:v>Vilaveroni</c:v>
                </c:pt>
                <c:pt idx="224">
                  <c:v>Nicolas Feu</c:v>
                </c:pt>
                <c:pt idx="225">
                  <c:v>Bollinger</c:v>
                </c:pt>
                <c:pt idx="226">
                  <c:v>Pommery</c:v>
                </c:pt>
                <c:pt idx="227">
                  <c:v>Bouvet-Ladu</c:v>
                </c:pt>
                <c:pt idx="228">
                  <c:v>Roederer</c:v>
                </c:pt>
                <c:pt idx="229">
                  <c:v>Moët &amp; Chan</c:v>
                </c:pt>
                <c:pt idx="230">
                  <c:v>Demoiselle</c:v>
                </c:pt>
                <c:pt idx="231">
                  <c:v>Dom Perigno</c:v>
                </c:pt>
                <c:pt idx="232">
                  <c:v>Piper Heids</c:v>
                </c:pt>
                <c:pt idx="233">
                  <c:v>Ruinart</c:v>
                </c:pt>
                <c:pt idx="234">
                  <c:v>Ruinart</c:v>
                </c:pt>
                <c:pt idx="235">
                  <c:v>All Others</c:v>
                </c:pt>
                <c:pt idx="236">
                  <c:v>Veuve Clicq</c:v>
                </c:pt>
                <c:pt idx="237">
                  <c:v>Canard Duch</c:v>
                </c:pt>
                <c:pt idx="238">
                  <c:v>Henriot</c:v>
                </c:pt>
                <c:pt idx="239">
                  <c:v>Perrier Jou</c:v>
                </c:pt>
                <c:pt idx="240">
                  <c:v>All Others</c:v>
                </c:pt>
                <c:pt idx="241">
                  <c:v>Pommery</c:v>
                </c:pt>
                <c:pt idx="242">
                  <c:v>Piper Heids</c:v>
                </c:pt>
                <c:pt idx="243">
                  <c:v>Laurent Per</c:v>
                </c:pt>
                <c:pt idx="244">
                  <c:v>De Venoge</c:v>
                </c:pt>
                <c:pt idx="245">
                  <c:v>Nicolas</c:v>
                </c:pt>
                <c:pt idx="246">
                  <c:v>Dom Perigno</c:v>
                </c:pt>
                <c:pt idx="247">
                  <c:v>Nicolas</c:v>
                </c:pt>
                <c:pt idx="248">
                  <c:v>Dom Perigno</c:v>
                </c:pt>
                <c:pt idx="249">
                  <c:v>Moët &amp; Chan</c:v>
                </c:pt>
                <c:pt idx="250">
                  <c:v>Vilaveroni</c:v>
                </c:pt>
                <c:pt idx="251">
                  <c:v>All Others</c:v>
                </c:pt>
                <c:pt idx="252">
                  <c:v>Laurent Per</c:v>
                </c:pt>
                <c:pt idx="253">
                  <c:v>Celene</c:v>
                </c:pt>
                <c:pt idx="254">
                  <c:v>Bouvet-Ladu</c:v>
                </c:pt>
                <c:pt idx="255">
                  <c:v>All Others</c:v>
                </c:pt>
                <c:pt idx="256">
                  <c:v>De Bligny</c:v>
                </c:pt>
                <c:pt idx="257">
                  <c:v>All Others</c:v>
                </c:pt>
                <c:pt idx="258">
                  <c:v>All Others</c:v>
                </c:pt>
                <c:pt idx="259">
                  <c:v>Ruinart</c:v>
                </c:pt>
                <c:pt idx="260">
                  <c:v>Nicolas Feu</c:v>
                </c:pt>
                <c:pt idx="261">
                  <c:v>Laurent Per</c:v>
                </c:pt>
                <c:pt idx="262">
                  <c:v>Canard Duch</c:v>
                </c:pt>
                <c:pt idx="263">
                  <c:v>Celene</c:v>
                </c:pt>
                <c:pt idx="264">
                  <c:v>Malard</c:v>
                </c:pt>
                <c:pt idx="265">
                  <c:v>All Others</c:v>
                </c:pt>
                <c:pt idx="266">
                  <c:v>De Venoge</c:v>
                </c:pt>
                <c:pt idx="267">
                  <c:v>All Others</c:v>
                </c:pt>
                <c:pt idx="268">
                  <c:v>Roederer</c:v>
                </c:pt>
                <c:pt idx="269">
                  <c:v>Malard</c:v>
                </c:pt>
                <c:pt idx="270">
                  <c:v>Laurent Per</c:v>
                </c:pt>
                <c:pt idx="271">
                  <c:v>Veuve Clicq</c:v>
                </c:pt>
                <c:pt idx="272">
                  <c:v>Bottega</c:v>
                </c:pt>
                <c:pt idx="273">
                  <c:v>Ruinart</c:v>
                </c:pt>
                <c:pt idx="274">
                  <c:v>Ruinart</c:v>
                </c:pt>
                <c:pt idx="275">
                  <c:v>Bouvet-Ladu</c:v>
                </c:pt>
                <c:pt idx="276">
                  <c:v>Bollinger</c:v>
                </c:pt>
                <c:pt idx="277">
                  <c:v>Roederer</c:v>
                </c:pt>
                <c:pt idx="278">
                  <c:v>De Venoge</c:v>
                </c:pt>
                <c:pt idx="279">
                  <c:v>Bollinger</c:v>
                </c:pt>
                <c:pt idx="280">
                  <c:v>Nicolas Feu</c:v>
                </c:pt>
                <c:pt idx="281">
                  <c:v>Besserat De</c:v>
                </c:pt>
                <c:pt idx="282">
                  <c:v>Bollinger</c:v>
                </c:pt>
                <c:pt idx="283">
                  <c:v>Demoiselle</c:v>
                </c:pt>
                <c:pt idx="284">
                  <c:v>All Others</c:v>
                </c:pt>
                <c:pt idx="285">
                  <c:v>Jaillance</c:v>
                </c:pt>
                <c:pt idx="286">
                  <c:v>All Others</c:v>
                </c:pt>
                <c:pt idx="287">
                  <c:v>De Venoge</c:v>
                </c:pt>
                <c:pt idx="288">
                  <c:v>All Others</c:v>
                </c:pt>
                <c:pt idx="289">
                  <c:v>All Others</c:v>
                </c:pt>
                <c:pt idx="290">
                  <c:v>All Others</c:v>
                </c:pt>
                <c:pt idx="291">
                  <c:v>Henriot</c:v>
                </c:pt>
                <c:pt idx="292">
                  <c:v>Piper Heids</c:v>
                </c:pt>
                <c:pt idx="293">
                  <c:v>All Others</c:v>
                </c:pt>
                <c:pt idx="294">
                  <c:v>Roederer</c:v>
                </c:pt>
                <c:pt idx="295">
                  <c:v>Delamotte</c:v>
                </c:pt>
                <c:pt idx="296">
                  <c:v>Besserat De</c:v>
                </c:pt>
                <c:pt idx="297">
                  <c:v>Bouvet-Ladu</c:v>
                </c:pt>
                <c:pt idx="298">
                  <c:v>All Others</c:v>
                </c:pt>
                <c:pt idx="299">
                  <c:v>Pommery</c:v>
                </c:pt>
                <c:pt idx="300">
                  <c:v>Pommery</c:v>
                </c:pt>
                <c:pt idx="301">
                  <c:v>Besserat De</c:v>
                </c:pt>
                <c:pt idx="302">
                  <c:v>Roederer</c:v>
                </c:pt>
                <c:pt idx="303">
                  <c:v>Roederer</c:v>
                </c:pt>
                <c:pt idx="304">
                  <c:v>Roederer</c:v>
                </c:pt>
                <c:pt idx="305">
                  <c:v>All Others</c:v>
                </c:pt>
                <c:pt idx="306">
                  <c:v>Martel</c:v>
                </c:pt>
                <c:pt idx="307">
                  <c:v>Nicolas</c:v>
                </c:pt>
                <c:pt idx="308">
                  <c:v>All Others</c:v>
                </c:pt>
                <c:pt idx="309">
                  <c:v>All Others</c:v>
                </c:pt>
                <c:pt idx="310">
                  <c:v>Demoiselle</c:v>
                </c:pt>
                <c:pt idx="311">
                  <c:v>Bottega</c:v>
                </c:pt>
                <c:pt idx="312">
                  <c:v>Bottega</c:v>
                </c:pt>
                <c:pt idx="313">
                  <c:v>All Others</c:v>
                </c:pt>
                <c:pt idx="314">
                  <c:v>All Others</c:v>
                </c:pt>
              </c:strCache>
            </c:strRef>
          </c:cat>
          <c:val>
            <c:numRef>
              <c:f>Sheet1!$B$2:$B$316</c:f>
              <c:numCache>
                <c:formatCode>General</c:formatCode>
                <c:ptCount val="315"/>
                <c:pt idx="0">
                  <c:v>1</c:v>
                </c:pt>
                <c:pt idx="1">
                  <c:v>1</c:v>
                </c:pt>
                <c:pt idx="2">
                  <c:v>1</c:v>
                </c:pt>
                <c:pt idx="3">
                  <c:v>0.93</c:v>
                </c:pt>
                <c:pt idx="4">
                  <c:v>0.95</c:v>
                </c:pt>
                <c:pt idx="5">
                  <c:v>1</c:v>
                </c:pt>
                <c:pt idx="6">
                  <c:v>0.95</c:v>
                </c:pt>
                <c:pt idx="7">
                  <c:v>0.95</c:v>
                </c:pt>
                <c:pt idx="8">
                  <c:v>0.72</c:v>
                </c:pt>
                <c:pt idx="9">
                  <c:v>0.91</c:v>
                </c:pt>
                <c:pt idx="10">
                  <c:v>0.99</c:v>
                </c:pt>
                <c:pt idx="11">
                  <c:v>0.75</c:v>
                </c:pt>
                <c:pt idx="12">
                  <c:v>0.99</c:v>
                </c:pt>
                <c:pt idx="13">
                  <c:v>0.95</c:v>
                </c:pt>
                <c:pt idx="14">
                  <c:v>0.93</c:v>
                </c:pt>
                <c:pt idx="15">
                  <c:v>0.85</c:v>
                </c:pt>
                <c:pt idx="16">
                  <c:v>0.88</c:v>
                </c:pt>
                <c:pt idx="17">
                  <c:v>0.95</c:v>
                </c:pt>
                <c:pt idx="18">
                  <c:v>0.93</c:v>
                </c:pt>
                <c:pt idx="19">
                  <c:v>0.68</c:v>
                </c:pt>
                <c:pt idx="20">
                  <c:v>0.87</c:v>
                </c:pt>
                <c:pt idx="21">
                  <c:v>0.93</c:v>
                </c:pt>
                <c:pt idx="22">
                  <c:v>0.38</c:v>
                </c:pt>
                <c:pt idx="23">
                  <c:v>0.6</c:v>
                </c:pt>
                <c:pt idx="24">
                  <c:v>0.84</c:v>
                </c:pt>
                <c:pt idx="25">
                  <c:v>0.77</c:v>
                </c:pt>
                <c:pt idx="26">
                  <c:v>0.82</c:v>
                </c:pt>
                <c:pt idx="27">
                  <c:v>0.65</c:v>
                </c:pt>
                <c:pt idx="28">
                  <c:v>0.7</c:v>
                </c:pt>
                <c:pt idx="29">
                  <c:v>0.36</c:v>
                </c:pt>
                <c:pt idx="30">
                  <c:v>0.72</c:v>
                </c:pt>
                <c:pt idx="31">
                  <c:v>0.62</c:v>
                </c:pt>
                <c:pt idx="32">
                  <c:v>0.79</c:v>
                </c:pt>
                <c:pt idx="33">
                  <c:v>0.36</c:v>
                </c:pt>
                <c:pt idx="34">
                  <c:v>0.61</c:v>
                </c:pt>
                <c:pt idx="35">
                  <c:v>0.9</c:v>
                </c:pt>
                <c:pt idx="36">
                  <c:v>0.68</c:v>
                </c:pt>
                <c:pt idx="37">
                  <c:v>0.77</c:v>
                </c:pt>
                <c:pt idx="38">
                  <c:v>0.5</c:v>
                </c:pt>
                <c:pt idx="39">
                  <c:v>0.56000000000000005</c:v>
                </c:pt>
                <c:pt idx="40">
                  <c:v>0.73</c:v>
                </c:pt>
                <c:pt idx="41">
                  <c:v>0.69</c:v>
                </c:pt>
                <c:pt idx="42">
                  <c:v>0.56000000000000005</c:v>
                </c:pt>
                <c:pt idx="43">
                  <c:v>0.63</c:v>
                </c:pt>
                <c:pt idx="44">
                  <c:v>0.72</c:v>
                </c:pt>
                <c:pt idx="45">
                  <c:v>0.62</c:v>
                </c:pt>
                <c:pt idx="46">
                  <c:v>0.82</c:v>
                </c:pt>
                <c:pt idx="47">
                  <c:v>0.72</c:v>
                </c:pt>
                <c:pt idx="48">
                  <c:v>0.43</c:v>
                </c:pt>
                <c:pt idx="49">
                  <c:v>0.37</c:v>
                </c:pt>
                <c:pt idx="50">
                  <c:v>0.48</c:v>
                </c:pt>
                <c:pt idx="51">
                  <c:v>0.63</c:v>
                </c:pt>
                <c:pt idx="52">
                  <c:v>0.66</c:v>
                </c:pt>
                <c:pt idx="53">
                  <c:v>0.71</c:v>
                </c:pt>
                <c:pt idx="54">
                  <c:v>0.72</c:v>
                </c:pt>
                <c:pt idx="55">
                  <c:v>0.56000000000000005</c:v>
                </c:pt>
                <c:pt idx="56">
                  <c:v>0.77</c:v>
                </c:pt>
                <c:pt idx="57">
                  <c:v>0.43</c:v>
                </c:pt>
                <c:pt idx="58">
                  <c:v>0.35</c:v>
                </c:pt>
                <c:pt idx="59">
                  <c:v>0.54</c:v>
                </c:pt>
                <c:pt idx="60">
                  <c:v>0.66</c:v>
                </c:pt>
                <c:pt idx="61">
                  <c:v>0.56000000000000005</c:v>
                </c:pt>
                <c:pt idx="62">
                  <c:v>0.68</c:v>
                </c:pt>
                <c:pt idx="63">
                  <c:v>0.49</c:v>
                </c:pt>
                <c:pt idx="64">
                  <c:v>0.62</c:v>
                </c:pt>
                <c:pt idx="65">
                  <c:v>0.41</c:v>
                </c:pt>
                <c:pt idx="66">
                  <c:v>0.28000000000000003</c:v>
                </c:pt>
                <c:pt idx="67">
                  <c:v>0.72</c:v>
                </c:pt>
                <c:pt idx="68">
                  <c:v>0.5</c:v>
                </c:pt>
                <c:pt idx="69">
                  <c:v>0.44</c:v>
                </c:pt>
                <c:pt idx="70">
                  <c:v>0.9</c:v>
                </c:pt>
                <c:pt idx="71">
                  <c:v>0.27</c:v>
                </c:pt>
                <c:pt idx="72">
                  <c:v>0.6</c:v>
                </c:pt>
                <c:pt idx="73">
                  <c:v>0.7</c:v>
                </c:pt>
                <c:pt idx="74">
                  <c:v>0.4</c:v>
                </c:pt>
                <c:pt idx="75">
                  <c:v>0.35</c:v>
                </c:pt>
                <c:pt idx="76">
                  <c:v>0.63</c:v>
                </c:pt>
                <c:pt idx="77">
                  <c:v>0.51</c:v>
                </c:pt>
                <c:pt idx="78">
                  <c:v>0.32</c:v>
                </c:pt>
                <c:pt idx="79">
                  <c:v>0.49</c:v>
                </c:pt>
                <c:pt idx="80">
                  <c:v>0.4</c:v>
                </c:pt>
                <c:pt idx="81">
                  <c:v>0.42</c:v>
                </c:pt>
                <c:pt idx="82">
                  <c:v>0.31</c:v>
                </c:pt>
                <c:pt idx="83">
                  <c:v>0.34</c:v>
                </c:pt>
                <c:pt idx="84">
                  <c:v>0.28000000000000003</c:v>
                </c:pt>
                <c:pt idx="85">
                  <c:v>0.27</c:v>
                </c:pt>
                <c:pt idx="86">
                  <c:v>0.44</c:v>
                </c:pt>
                <c:pt idx="87">
                  <c:v>0.45</c:v>
                </c:pt>
                <c:pt idx="88">
                  <c:v>0.27</c:v>
                </c:pt>
                <c:pt idx="89">
                  <c:v>0.47</c:v>
                </c:pt>
                <c:pt idx="90">
                  <c:v>0.34</c:v>
                </c:pt>
                <c:pt idx="91">
                  <c:v>0.52</c:v>
                </c:pt>
                <c:pt idx="92">
                  <c:v>0.56000000000000005</c:v>
                </c:pt>
                <c:pt idx="93">
                  <c:v>0.24</c:v>
                </c:pt>
                <c:pt idx="94">
                  <c:v>0.42</c:v>
                </c:pt>
                <c:pt idx="95">
                  <c:v>0.41</c:v>
                </c:pt>
                <c:pt idx="96">
                  <c:v>0.56000000000000005</c:v>
                </c:pt>
                <c:pt idx="97">
                  <c:v>0.39</c:v>
                </c:pt>
                <c:pt idx="98">
                  <c:v>0.39</c:v>
                </c:pt>
                <c:pt idx="99">
                  <c:v>0.48</c:v>
                </c:pt>
                <c:pt idx="100">
                  <c:v>0.43</c:v>
                </c:pt>
                <c:pt idx="101">
                  <c:v>0.21</c:v>
                </c:pt>
                <c:pt idx="102">
                  <c:v>0.38</c:v>
                </c:pt>
                <c:pt idx="103">
                  <c:v>0.18</c:v>
                </c:pt>
                <c:pt idx="104">
                  <c:v>0.54</c:v>
                </c:pt>
                <c:pt idx="105">
                  <c:v>0.31</c:v>
                </c:pt>
                <c:pt idx="106">
                  <c:v>0.56000000000000005</c:v>
                </c:pt>
                <c:pt idx="107">
                  <c:v>0.9</c:v>
                </c:pt>
                <c:pt idx="108">
                  <c:v>0.28000000000000003</c:v>
                </c:pt>
                <c:pt idx="109">
                  <c:v>0.27</c:v>
                </c:pt>
                <c:pt idx="110">
                  <c:v>0.27</c:v>
                </c:pt>
                <c:pt idx="111">
                  <c:v>0.28000000000000003</c:v>
                </c:pt>
                <c:pt idx="112">
                  <c:v>0.26</c:v>
                </c:pt>
                <c:pt idx="113">
                  <c:v>0.26</c:v>
                </c:pt>
                <c:pt idx="114">
                  <c:v>0.25</c:v>
                </c:pt>
                <c:pt idx="115">
                  <c:v>0.38</c:v>
                </c:pt>
                <c:pt idx="116">
                  <c:v>0.36</c:v>
                </c:pt>
                <c:pt idx="117">
                  <c:v>0.36</c:v>
                </c:pt>
                <c:pt idx="118">
                  <c:v>0.25</c:v>
                </c:pt>
                <c:pt idx="119">
                  <c:v>0.24</c:v>
                </c:pt>
                <c:pt idx="120">
                  <c:v>0.55000000000000004</c:v>
                </c:pt>
                <c:pt idx="121">
                  <c:v>0.36</c:v>
                </c:pt>
                <c:pt idx="122">
                  <c:v>0.27</c:v>
                </c:pt>
                <c:pt idx="123">
                  <c:v>0.27</c:v>
                </c:pt>
                <c:pt idx="124">
                  <c:v>0.4</c:v>
                </c:pt>
                <c:pt idx="125">
                  <c:v>0.39</c:v>
                </c:pt>
                <c:pt idx="126">
                  <c:v>0.19</c:v>
                </c:pt>
                <c:pt idx="127">
                  <c:v>0.33</c:v>
                </c:pt>
                <c:pt idx="128">
                  <c:v>0.5</c:v>
                </c:pt>
                <c:pt idx="129">
                  <c:v>0.49</c:v>
                </c:pt>
                <c:pt idx="130">
                  <c:v>0.18</c:v>
                </c:pt>
                <c:pt idx="131">
                  <c:v>0.19</c:v>
                </c:pt>
                <c:pt idx="132">
                  <c:v>0.17</c:v>
                </c:pt>
                <c:pt idx="133">
                  <c:v>0.09</c:v>
                </c:pt>
                <c:pt idx="134">
                  <c:v>0.3</c:v>
                </c:pt>
                <c:pt idx="135">
                  <c:v>0.26</c:v>
                </c:pt>
                <c:pt idx="136">
                  <c:v>0.25</c:v>
                </c:pt>
                <c:pt idx="137">
                  <c:v>0.14000000000000001</c:v>
                </c:pt>
                <c:pt idx="138">
                  <c:v>0.22</c:v>
                </c:pt>
                <c:pt idx="139">
                  <c:v>0.39</c:v>
                </c:pt>
                <c:pt idx="140">
                  <c:v>0.36</c:v>
                </c:pt>
                <c:pt idx="141">
                  <c:v>0.42</c:v>
                </c:pt>
                <c:pt idx="142">
                  <c:v>0.46</c:v>
                </c:pt>
                <c:pt idx="143">
                  <c:v>0.38</c:v>
                </c:pt>
                <c:pt idx="144">
                  <c:v>0.47</c:v>
                </c:pt>
                <c:pt idx="145">
                  <c:v>0.27</c:v>
                </c:pt>
                <c:pt idx="146">
                  <c:v>0.33</c:v>
                </c:pt>
                <c:pt idx="147">
                  <c:v>0.33</c:v>
                </c:pt>
                <c:pt idx="148">
                  <c:v>0.14000000000000001</c:v>
                </c:pt>
                <c:pt idx="149">
                  <c:v>0.33</c:v>
                </c:pt>
                <c:pt idx="150">
                  <c:v>0.33</c:v>
                </c:pt>
                <c:pt idx="151">
                  <c:v>0.19</c:v>
                </c:pt>
                <c:pt idx="152">
                  <c:v>0.24</c:v>
                </c:pt>
                <c:pt idx="153">
                  <c:v>0.26</c:v>
                </c:pt>
                <c:pt idx="154">
                  <c:v>0.3</c:v>
                </c:pt>
                <c:pt idx="155">
                  <c:v>0.14000000000000001</c:v>
                </c:pt>
                <c:pt idx="156">
                  <c:v>0.14000000000000001</c:v>
                </c:pt>
                <c:pt idx="157">
                  <c:v>0.28000000000000003</c:v>
                </c:pt>
                <c:pt idx="158">
                  <c:v>0.39</c:v>
                </c:pt>
                <c:pt idx="159">
                  <c:v>0.26</c:v>
                </c:pt>
                <c:pt idx="160">
                  <c:v>0.09</c:v>
                </c:pt>
                <c:pt idx="161">
                  <c:v>7.0000000000000007E-2</c:v>
                </c:pt>
                <c:pt idx="162">
                  <c:v>0.13</c:v>
                </c:pt>
                <c:pt idx="163">
                  <c:v>0.24</c:v>
                </c:pt>
                <c:pt idx="164">
                  <c:v>0.19</c:v>
                </c:pt>
                <c:pt idx="165">
                  <c:v>0.09</c:v>
                </c:pt>
                <c:pt idx="166">
                  <c:v>0.23</c:v>
                </c:pt>
                <c:pt idx="167">
                  <c:v>0.06</c:v>
                </c:pt>
                <c:pt idx="168">
                  <c:v>7.0000000000000007E-2</c:v>
                </c:pt>
                <c:pt idx="169">
                  <c:v>0.31</c:v>
                </c:pt>
                <c:pt idx="170">
                  <c:v>0.04</c:v>
                </c:pt>
                <c:pt idx="171">
                  <c:v>0.16</c:v>
                </c:pt>
                <c:pt idx="172">
                  <c:v>0.24</c:v>
                </c:pt>
                <c:pt idx="173">
                  <c:v>0.27</c:v>
                </c:pt>
                <c:pt idx="174">
                  <c:v>0.21</c:v>
                </c:pt>
                <c:pt idx="175">
                  <c:v>0.16</c:v>
                </c:pt>
                <c:pt idx="176">
                  <c:v>0.14000000000000001</c:v>
                </c:pt>
                <c:pt idx="177">
                  <c:v>0.24</c:v>
                </c:pt>
                <c:pt idx="178">
                  <c:v>7.0000000000000007E-2</c:v>
                </c:pt>
                <c:pt idx="179">
                  <c:v>0.28000000000000003</c:v>
                </c:pt>
                <c:pt idx="180">
                  <c:v>0.24</c:v>
                </c:pt>
                <c:pt idx="181">
                  <c:v>0.11</c:v>
                </c:pt>
                <c:pt idx="182">
                  <c:v>0.11</c:v>
                </c:pt>
                <c:pt idx="183">
                  <c:v>0.09</c:v>
                </c:pt>
                <c:pt idx="184">
                  <c:v>0.06</c:v>
                </c:pt>
                <c:pt idx="185">
                  <c:v>0.09</c:v>
                </c:pt>
                <c:pt idx="186">
                  <c:v>0.21</c:v>
                </c:pt>
                <c:pt idx="187">
                  <c:v>0.22</c:v>
                </c:pt>
                <c:pt idx="188">
                  <c:v>0.19</c:v>
                </c:pt>
                <c:pt idx="189">
                  <c:v>0.08</c:v>
                </c:pt>
                <c:pt idx="190">
                  <c:v>0.23</c:v>
                </c:pt>
                <c:pt idx="191">
                  <c:v>0.06</c:v>
                </c:pt>
                <c:pt idx="192">
                  <c:v>0.05</c:v>
                </c:pt>
                <c:pt idx="193">
                  <c:v>0.22</c:v>
                </c:pt>
                <c:pt idx="194">
                  <c:v>0.14000000000000001</c:v>
                </c:pt>
                <c:pt idx="195">
                  <c:v>7.0000000000000007E-2</c:v>
                </c:pt>
                <c:pt idx="196">
                  <c:v>0.18</c:v>
                </c:pt>
                <c:pt idx="197">
                  <c:v>0.16</c:v>
                </c:pt>
                <c:pt idx="198">
                  <c:v>0.2</c:v>
                </c:pt>
                <c:pt idx="199">
                  <c:v>0.08</c:v>
                </c:pt>
                <c:pt idx="200">
                  <c:v>0.12</c:v>
                </c:pt>
                <c:pt idx="201">
                  <c:v>7.0000000000000007E-2</c:v>
                </c:pt>
                <c:pt idx="202">
                  <c:v>0.18</c:v>
                </c:pt>
                <c:pt idx="203">
                  <c:v>0.15</c:v>
                </c:pt>
                <c:pt idx="204">
                  <c:v>0.11</c:v>
                </c:pt>
                <c:pt idx="205">
                  <c:v>0.1</c:v>
                </c:pt>
                <c:pt idx="206">
                  <c:v>0.16</c:v>
                </c:pt>
                <c:pt idx="207">
                  <c:v>0.19</c:v>
                </c:pt>
                <c:pt idx="208">
                  <c:v>0.13</c:v>
                </c:pt>
                <c:pt idx="209">
                  <c:v>7.0000000000000007E-2</c:v>
                </c:pt>
                <c:pt idx="210">
                  <c:v>0.11</c:v>
                </c:pt>
                <c:pt idx="211">
                  <c:v>0.14000000000000001</c:v>
                </c:pt>
                <c:pt idx="212">
                  <c:v>0.04</c:v>
                </c:pt>
                <c:pt idx="213">
                  <c:v>0.09</c:v>
                </c:pt>
                <c:pt idx="214">
                  <c:v>0.09</c:v>
                </c:pt>
                <c:pt idx="215">
                  <c:v>0.27</c:v>
                </c:pt>
                <c:pt idx="216">
                  <c:v>7.0000000000000007E-2</c:v>
                </c:pt>
                <c:pt idx="217">
                  <c:v>0.18</c:v>
                </c:pt>
                <c:pt idx="218">
                  <c:v>0.06</c:v>
                </c:pt>
                <c:pt idx="219">
                  <c:v>0.33</c:v>
                </c:pt>
                <c:pt idx="220">
                  <c:v>0.11</c:v>
                </c:pt>
                <c:pt idx="221">
                  <c:v>0.04</c:v>
                </c:pt>
                <c:pt idx="222">
                  <c:v>0.1</c:v>
                </c:pt>
                <c:pt idx="223">
                  <c:v>0.22</c:v>
                </c:pt>
                <c:pt idx="224">
                  <c:v>0.24</c:v>
                </c:pt>
                <c:pt idx="225">
                  <c:v>0.04</c:v>
                </c:pt>
                <c:pt idx="226">
                  <c:v>0.27</c:v>
                </c:pt>
                <c:pt idx="227">
                  <c:v>0.19</c:v>
                </c:pt>
                <c:pt idx="228">
                  <c:v>0.14000000000000001</c:v>
                </c:pt>
                <c:pt idx="229">
                  <c:v>0.04</c:v>
                </c:pt>
                <c:pt idx="230">
                  <c:v>7.0000000000000007E-2</c:v>
                </c:pt>
                <c:pt idx="231">
                  <c:v>0.08</c:v>
                </c:pt>
                <c:pt idx="232">
                  <c:v>0.13</c:v>
                </c:pt>
                <c:pt idx="233">
                  <c:v>0.06</c:v>
                </c:pt>
                <c:pt idx="234">
                  <c:v>0.06</c:v>
                </c:pt>
                <c:pt idx="235">
                  <c:v>0.08</c:v>
                </c:pt>
                <c:pt idx="236">
                  <c:v>0.11</c:v>
                </c:pt>
                <c:pt idx="237">
                  <c:v>0.14000000000000001</c:v>
                </c:pt>
                <c:pt idx="238">
                  <c:v>0.19</c:v>
                </c:pt>
                <c:pt idx="239">
                  <c:v>7.0000000000000007E-2</c:v>
                </c:pt>
                <c:pt idx="240">
                  <c:v>0.23</c:v>
                </c:pt>
                <c:pt idx="241">
                  <c:v>0.19</c:v>
                </c:pt>
                <c:pt idx="242">
                  <c:v>7.0000000000000007E-2</c:v>
                </c:pt>
                <c:pt idx="243">
                  <c:v>0.11</c:v>
                </c:pt>
                <c:pt idx="244">
                  <c:v>0.03</c:v>
                </c:pt>
                <c:pt idx="245">
                  <c:v>0.05</c:v>
                </c:pt>
                <c:pt idx="246">
                  <c:v>0.1</c:v>
                </c:pt>
                <c:pt idx="247">
                  <c:v>0.06</c:v>
                </c:pt>
                <c:pt idx="248">
                  <c:v>0.05</c:v>
                </c:pt>
                <c:pt idx="249">
                  <c:v>0.21</c:v>
                </c:pt>
                <c:pt idx="250">
                  <c:v>0.24</c:v>
                </c:pt>
                <c:pt idx="251">
                  <c:v>0.24</c:v>
                </c:pt>
                <c:pt idx="252">
                  <c:v>0.05</c:v>
                </c:pt>
                <c:pt idx="253">
                  <c:v>0.19</c:v>
                </c:pt>
                <c:pt idx="254">
                  <c:v>0.13</c:v>
                </c:pt>
                <c:pt idx="255">
                  <c:v>0.01</c:v>
                </c:pt>
                <c:pt idx="256">
                  <c:v>0.08</c:v>
                </c:pt>
                <c:pt idx="257">
                  <c:v>0.06</c:v>
                </c:pt>
                <c:pt idx="258">
                  <c:v>0.06</c:v>
                </c:pt>
                <c:pt idx="259">
                  <c:v>7.0000000000000007E-2</c:v>
                </c:pt>
                <c:pt idx="260">
                  <c:v>0.06</c:v>
                </c:pt>
                <c:pt idx="261">
                  <c:v>0.1</c:v>
                </c:pt>
                <c:pt idx="262">
                  <c:v>0.09</c:v>
                </c:pt>
                <c:pt idx="263">
                  <c:v>0.08</c:v>
                </c:pt>
                <c:pt idx="264">
                  <c:v>0.03</c:v>
                </c:pt>
                <c:pt idx="265">
                  <c:v>0.04</c:v>
                </c:pt>
                <c:pt idx="266">
                  <c:v>0.04</c:v>
                </c:pt>
                <c:pt idx="267">
                  <c:v>0.22</c:v>
                </c:pt>
                <c:pt idx="268">
                  <c:v>0.03</c:v>
                </c:pt>
                <c:pt idx="269">
                  <c:v>0.04</c:v>
                </c:pt>
                <c:pt idx="270">
                  <c:v>0.02</c:v>
                </c:pt>
                <c:pt idx="271">
                  <c:v>0.21</c:v>
                </c:pt>
                <c:pt idx="272">
                  <c:v>0.06</c:v>
                </c:pt>
                <c:pt idx="273">
                  <c:v>0.01</c:v>
                </c:pt>
                <c:pt idx="274">
                  <c:v>0.02</c:v>
                </c:pt>
                <c:pt idx="275">
                  <c:v>0.11</c:v>
                </c:pt>
                <c:pt idx="276">
                  <c:v>7.0000000000000007E-2</c:v>
                </c:pt>
                <c:pt idx="277">
                  <c:v>0.02</c:v>
                </c:pt>
                <c:pt idx="278">
                  <c:v>0.06</c:v>
                </c:pt>
                <c:pt idx="279">
                  <c:v>0.04</c:v>
                </c:pt>
                <c:pt idx="280">
                  <c:v>0.02</c:v>
                </c:pt>
                <c:pt idx="281">
                  <c:v>0.06</c:v>
                </c:pt>
                <c:pt idx="282">
                  <c:v>0.03</c:v>
                </c:pt>
                <c:pt idx="283">
                  <c:v>0.03</c:v>
                </c:pt>
                <c:pt idx="284">
                  <c:v>0.24</c:v>
                </c:pt>
                <c:pt idx="285">
                  <c:v>0.11</c:v>
                </c:pt>
                <c:pt idx="286">
                  <c:v>0.06</c:v>
                </c:pt>
                <c:pt idx="287">
                  <c:v>7.0000000000000007E-2</c:v>
                </c:pt>
                <c:pt idx="288">
                  <c:v>0.19</c:v>
                </c:pt>
                <c:pt idx="289">
                  <c:v>0.01</c:v>
                </c:pt>
                <c:pt idx="290">
                  <c:v>0.12</c:v>
                </c:pt>
                <c:pt idx="291">
                  <c:v>0.09</c:v>
                </c:pt>
                <c:pt idx="292">
                  <c:v>0.12</c:v>
                </c:pt>
                <c:pt idx="293">
                  <c:v>0.1</c:v>
                </c:pt>
                <c:pt idx="294">
                  <c:v>0.04</c:v>
                </c:pt>
                <c:pt idx="295">
                  <c:v>0.03</c:v>
                </c:pt>
                <c:pt idx="296">
                  <c:v>0.05</c:v>
                </c:pt>
                <c:pt idx="297">
                  <c:v>0.03</c:v>
                </c:pt>
                <c:pt idx="298">
                  <c:v>7.0000000000000007E-2</c:v>
                </c:pt>
                <c:pt idx="299">
                  <c:v>0.03</c:v>
                </c:pt>
                <c:pt idx="300">
                  <c:v>0.04</c:v>
                </c:pt>
                <c:pt idx="301">
                  <c:v>0.03</c:v>
                </c:pt>
                <c:pt idx="302">
                  <c:v>0.01</c:v>
                </c:pt>
                <c:pt idx="303">
                  <c:v>0.1</c:v>
                </c:pt>
                <c:pt idx="304">
                  <c:v>0.03</c:v>
                </c:pt>
                <c:pt idx="305">
                  <c:v>0.02</c:v>
                </c:pt>
                <c:pt idx="306">
                  <c:v>0.05</c:v>
                </c:pt>
                <c:pt idx="307">
                  <c:v>0.01</c:v>
                </c:pt>
                <c:pt idx="308">
                  <c:v>0.05</c:v>
                </c:pt>
                <c:pt idx="309">
                  <c:v>0.03</c:v>
                </c:pt>
                <c:pt idx="310">
                  <c:v>0.03</c:v>
                </c:pt>
                <c:pt idx="311">
                  <c:v>0.01</c:v>
                </c:pt>
                <c:pt idx="312">
                  <c:v>0.03</c:v>
                </c:pt>
                <c:pt idx="313">
                  <c:v>0.02</c:v>
                </c:pt>
                <c:pt idx="314">
                  <c:v>0.02</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7ECAC4"/>
              </a:solidFill>
            </c:spPr>
            <c:extLst>
              <c:ext xmlns:c16="http://schemas.microsoft.com/office/drawing/2014/chart" uri="{C3380CC4-5D6E-409C-BE32-E72D297353CC}">
                <c16:uniqueId val="{0000007A-C76F-4230-900D-40618C09729F}"/>
              </c:ext>
            </c:extLst>
          </c:dPt>
          <c:dPt>
            <c:idx val="59"/>
            <c:invertIfNegative val="0"/>
            <c:bubble3D val="0"/>
            <c:spPr>
              <a:solidFill>
                <a:srgbClr val="7ECAC4"/>
              </a:solidFill>
            </c:spPr>
            <c:extLst>
              <c:ext xmlns:c16="http://schemas.microsoft.com/office/drawing/2014/chart" uri="{C3380CC4-5D6E-409C-BE32-E72D297353CC}">
                <c16:uniqueId val="{0000007C-C76F-4230-900D-40618C09729F}"/>
              </c:ext>
            </c:extLst>
          </c:dPt>
          <c:dPt>
            <c:idx val="60"/>
            <c:invertIfNegative val="0"/>
            <c:bubble3D val="0"/>
            <c:spPr>
              <a:solidFill>
                <a:srgbClr val="7ECAC4"/>
              </a:solidFill>
            </c:spPr>
            <c:extLst>
              <c:ext xmlns:c16="http://schemas.microsoft.com/office/drawing/2014/chart" uri="{C3380CC4-5D6E-409C-BE32-E72D297353CC}">
                <c16:uniqueId val="{0000007E-C76F-4230-900D-40618C09729F}"/>
              </c:ext>
            </c:extLst>
          </c:dPt>
          <c:dPt>
            <c:idx val="61"/>
            <c:invertIfNegative val="0"/>
            <c:bubble3D val="0"/>
            <c:spPr>
              <a:solidFill>
                <a:srgbClr val="7ECAC4"/>
              </a:solidFill>
            </c:spPr>
            <c:extLst>
              <c:ext xmlns:c16="http://schemas.microsoft.com/office/drawing/2014/chart" uri="{C3380CC4-5D6E-409C-BE32-E72D297353CC}">
                <c16:uniqueId val="{00000080-C76F-4230-900D-40618C09729F}"/>
              </c:ext>
            </c:extLst>
          </c:dPt>
          <c:dPt>
            <c:idx val="62"/>
            <c:invertIfNegative val="0"/>
            <c:bubble3D val="0"/>
            <c:spPr>
              <a:solidFill>
                <a:srgbClr val="7ECAC4"/>
              </a:solidFill>
            </c:spPr>
            <c:extLst>
              <c:ext xmlns:c16="http://schemas.microsoft.com/office/drawing/2014/chart" uri="{C3380CC4-5D6E-409C-BE32-E72D297353CC}">
                <c16:uniqueId val="{00000082-C76F-4230-900D-40618C09729F}"/>
              </c:ext>
            </c:extLst>
          </c:dPt>
          <c:dPt>
            <c:idx val="63"/>
            <c:invertIfNegative val="0"/>
            <c:bubble3D val="0"/>
            <c:spPr>
              <a:solidFill>
                <a:srgbClr val="7ECAC4"/>
              </a:solidFill>
            </c:spPr>
            <c:extLst>
              <c:ext xmlns:c16="http://schemas.microsoft.com/office/drawing/2014/chart" uri="{C3380CC4-5D6E-409C-BE32-E72D297353CC}">
                <c16:uniqueId val="{00000084-C76F-4230-900D-40618C09729F}"/>
              </c:ext>
            </c:extLst>
          </c:dPt>
          <c:dPt>
            <c:idx val="64"/>
            <c:invertIfNegative val="0"/>
            <c:bubble3D val="0"/>
            <c:spPr>
              <a:solidFill>
                <a:srgbClr val="7ECAC4"/>
              </a:solidFill>
            </c:spPr>
            <c:extLst>
              <c:ext xmlns:c16="http://schemas.microsoft.com/office/drawing/2014/chart" uri="{C3380CC4-5D6E-409C-BE32-E72D297353CC}">
                <c16:uniqueId val="{00000086-C76F-4230-900D-40618C09729F}"/>
              </c:ext>
            </c:extLst>
          </c:dPt>
          <c:dPt>
            <c:idx val="65"/>
            <c:invertIfNegative val="0"/>
            <c:bubble3D val="0"/>
            <c:spPr>
              <a:solidFill>
                <a:srgbClr val="7ECAC4"/>
              </a:solidFill>
            </c:spPr>
            <c:extLst>
              <c:ext xmlns:c16="http://schemas.microsoft.com/office/drawing/2014/chart" uri="{C3380CC4-5D6E-409C-BE32-E72D297353CC}">
                <c16:uniqueId val="{00000088-C76F-4230-900D-40618C09729F}"/>
              </c:ext>
            </c:extLst>
          </c:dPt>
          <c:dPt>
            <c:idx val="66"/>
            <c:invertIfNegative val="0"/>
            <c:bubble3D val="0"/>
            <c:spPr>
              <a:solidFill>
                <a:srgbClr val="7ECAC4"/>
              </a:solidFill>
            </c:spPr>
            <c:extLst>
              <c:ext xmlns:c16="http://schemas.microsoft.com/office/drawing/2014/chart" uri="{C3380CC4-5D6E-409C-BE32-E72D297353CC}">
                <c16:uniqueId val="{0000008A-C76F-4230-900D-40618C09729F}"/>
              </c:ext>
            </c:extLst>
          </c:dPt>
          <c:dPt>
            <c:idx val="67"/>
            <c:invertIfNegative val="0"/>
            <c:bubble3D val="0"/>
            <c:spPr>
              <a:solidFill>
                <a:srgbClr val="7ECAC4"/>
              </a:solidFill>
            </c:spPr>
            <c:extLst>
              <c:ext xmlns:c16="http://schemas.microsoft.com/office/drawing/2014/chart" uri="{C3380CC4-5D6E-409C-BE32-E72D297353CC}">
                <c16:uniqueId val="{0000008C-C76F-4230-900D-40618C09729F}"/>
              </c:ext>
            </c:extLst>
          </c:dPt>
          <c:dPt>
            <c:idx val="68"/>
            <c:invertIfNegative val="0"/>
            <c:bubble3D val="0"/>
            <c:spPr>
              <a:solidFill>
                <a:srgbClr val="7ECAC4"/>
              </a:solidFill>
            </c:spPr>
            <c:extLst>
              <c:ext xmlns:c16="http://schemas.microsoft.com/office/drawing/2014/chart" uri="{C3380CC4-5D6E-409C-BE32-E72D297353CC}">
                <c16:uniqueId val="{0000008E-C76F-4230-900D-40618C09729F}"/>
              </c:ext>
            </c:extLst>
          </c:dPt>
          <c:dPt>
            <c:idx val="69"/>
            <c:invertIfNegative val="0"/>
            <c:bubble3D val="0"/>
            <c:spPr>
              <a:solidFill>
                <a:srgbClr val="7ECAC4"/>
              </a:solidFill>
            </c:spPr>
            <c:extLst>
              <c:ext xmlns:c16="http://schemas.microsoft.com/office/drawing/2014/chart" uri="{C3380CC4-5D6E-409C-BE32-E72D297353CC}">
                <c16:uniqueId val="{00000090-C76F-4230-900D-40618C09729F}"/>
              </c:ext>
            </c:extLst>
          </c:dPt>
          <c:dPt>
            <c:idx val="70"/>
            <c:invertIfNegative val="0"/>
            <c:bubble3D val="0"/>
            <c:spPr>
              <a:solidFill>
                <a:srgbClr val="7ECAC4"/>
              </a:solidFill>
            </c:spPr>
            <c:extLst>
              <c:ext xmlns:c16="http://schemas.microsoft.com/office/drawing/2014/chart" uri="{C3380CC4-5D6E-409C-BE32-E72D297353CC}">
                <c16:uniqueId val="{00000092-C76F-4230-900D-40618C09729F}"/>
              </c:ext>
            </c:extLst>
          </c:dPt>
          <c:dPt>
            <c:idx val="71"/>
            <c:invertIfNegative val="0"/>
            <c:bubble3D val="0"/>
            <c:spPr>
              <a:solidFill>
                <a:srgbClr val="7ECAC4"/>
              </a:solidFill>
            </c:spPr>
            <c:extLst>
              <c:ext xmlns:c16="http://schemas.microsoft.com/office/drawing/2014/chart" uri="{C3380CC4-5D6E-409C-BE32-E72D297353CC}">
                <c16:uniqueId val="{00000094-C76F-4230-900D-40618C09729F}"/>
              </c:ext>
            </c:extLst>
          </c:dPt>
          <c:dPt>
            <c:idx val="72"/>
            <c:invertIfNegative val="0"/>
            <c:bubble3D val="0"/>
            <c:spPr>
              <a:solidFill>
                <a:srgbClr val="7ECAC4"/>
              </a:solidFill>
            </c:spPr>
            <c:extLst>
              <c:ext xmlns:c16="http://schemas.microsoft.com/office/drawing/2014/chart" uri="{C3380CC4-5D6E-409C-BE32-E72D297353CC}">
                <c16:uniqueId val="{00000096-C76F-4230-900D-40618C09729F}"/>
              </c:ext>
            </c:extLst>
          </c:dPt>
          <c:dPt>
            <c:idx val="73"/>
            <c:invertIfNegative val="0"/>
            <c:bubble3D val="0"/>
            <c:spPr>
              <a:solidFill>
                <a:srgbClr val="7ECAC4"/>
              </a:solidFill>
            </c:spPr>
            <c:extLst>
              <c:ext xmlns:c16="http://schemas.microsoft.com/office/drawing/2014/chart" uri="{C3380CC4-5D6E-409C-BE32-E72D297353CC}">
                <c16:uniqueId val="{00000098-C76F-4230-900D-40618C09729F}"/>
              </c:ext>
            </c:extLst>
          </c:dPt>
          <c:dPt>
            <c:idx val="74"/>
            <c:invertIfNegative val="0"/>
            <c:bubble3D val="0"/>
            <c:spPr>
              <a:solidFill>
                <a:srgbClr val="7ECAC4"/>
              </a:solidFill>
            </c:spPr>
            <c:extLst>
              <c:ext xmlns:c16="http://schemas.microsoft.com/office/drawing/2014/chart" uri="{C3380CC4-5D6E-409C-BE32-E72D297353CC}">
                <c16:uniqueId val="{0000009A-C76F-4230-900D-40618C09729F}"/>
              </c:ext>
            </c:extLst>
          </c:dPt>
          <c:dPt>
            <c:idx val="75"/>
            <c:invertIfNegative val="0"/>
            <c:bubble3D val="0"/>
            <c:spPr>
              <a:solidFill>
                <a:srgbClr val="7ECAC4"/>
              </a:solidFill>
            </c:spPr>
            <c:extLst>
              <c:ext xmlns:c16="http://schemas.microsoft.com/office/drawing/2014/chart" uri="{C3380CC4-5D6E-409C-BE32-E72D297353CC}">
                <c16:uniqueId val="{0000009C-C76F-4230-900D-40618C09729F}"/>
              </c:ext>
            </c:extLst>
          </c:dPt>
          <c:dPt>
            <c:idx val="76"/>
            <c:invertIfNegative val="0"/>
            <c:bubble3D val="0"/>
            <c:spPr>
              <a:solidFill>
                <a:srgbClr val="7ECAC4"/>
              </a:solidFill>
            </c:spPr>
            <c:extLst>
              <c:ext xmlns:c16="http://schemas.microsoft.com/office/drawing/2014/chart" uri="{C3380CC4-5D6E-409C-BE32-E72D297353CC}">
                <c16:uniqueId val="{0000009E-C76F-4230-900D-40618C09729F}"/>
              </c:ext>
            </c:extLst>
          </c:dPt>
          <c:dPt>
            <c:idx val="77"/>
            <c:invertIfNegative val="0"/>
            <c:bubble3D val="0"/>
            <c:spPr>
              <a:solidFill>
                <a:srgbClr val="7ECAC4"/>
              </a:solidFill>
            </c:spPr>
            <c:extLst>
              <c:ext xmlns:c16="http://schemas.microsoft.com/office/drawing/2014/chart" uri="{C3380CC4-5D6E-409C-BE32-E72D297353CC}">
                <c16:uniqueId val="{000000A0-C76F-4230-900D-40618C09729F}"/>
              </c:ext>
            </c:extLst>
          </c:dPt>
          <c:dPt>
            <c:idx val="78"/>
            <c:invertIfNegative val="0"/>
            <c:bubble3D val="0"/>
            <c:spPr>
              <a:solidFill>
                <a:srgbClr val="7ECAC4"/>
              </a:solidFill>
            </c:spPr>
            <c:extLst>
              <c:ext xmlns:c16="http://schemas.microsoft.com/office/drawing/2014/chart" uri="{C3380CC4-5D6E-409C-BE32-E72D297353CC}">
                <c16:uniqueId val="{000000A2-C76F-4230-900D-40618C09729F}"/>
              </c:ext>
            </c:extLst>
          </c:dPt>
          <c:dPt>
            <c:idx val="79"/>
            <c:invertIfNegative val="0"/>
            <c:bubble3D val="0"/>
            <c:spPr>
              <a:solidFill>
                <a:srgbClr val="7ECAC4"/>
              </a:solidFill>
            </c:spPr>
            <c:extLst>
              <c:ext xmlns:c16="http://schemas.microsoft.com/office/drawing/2014/chart" uri="{C3380CC4-5D6E-409C-BE32-E72D297353CC}">
                <c16:uniqueId val="{000000A4-C76F-4230-900D-40618C09729F}"/>
              </c:ext>
            </c:extLst>
          </c:dPt>
          <c:dPt>
            <c:idx val="80"/>
            <c:invertIfNegative val="0"/>
            <c:bubble3D val="0"/>
            <c:spPr>
              <a:solidFill>
                <a:srgbClr val="7ECAC4"/>
              </a:solidFill>
            </c:spPr>
            <c:extLst>
              <c:ext xmlns:c16="http://schemas.microsoft.com/office/drawing/2014/chart" uri="{C3380CC4-5D6E-409C-BE32-E72D297353CC}">
                <c16:uniqueId val="{000000A6-C76F-4230-900D-40618C09729F}"/>
              </c:ext>
            </c:extLst>
          </c:dPt>
          <c:dPt>
            <c:idx val="81"/>
            <c:invertIfNegative val="1"/>
            <c:bubble3D val="0"/>
            <c:spPr>
              <a:solidFill>
                <a:srgbClr val="7ECAC4"/>
              </a:solidFill>
            </c:spPr>
            <c:extLst>
              <c:ext xmlns:c16="http://schemas.microsoft.com/office/drawing/2014/chart" uri="{C3380CC4-5D6E-409C-BE32-E72D297353CC}">
                <c16:uniqueId val="{000000A5-2993-41DE-A2CB-63102DE87051}"/>
              </c:ext>
            </c:extLst>
          </c:dPt>
          <c:dPt>
            <c:idx val="82"/>
            <c:invertIfNegative val="1"/>
            <c:bubble3D val="0"/>
            <c:spPr>
              <a:solidFill>
                <a:srgbClr val="7ECAC4"/>
              </a:solidFill>
            </c:spPr>
            <c:extLst>
              <c:ext xmlns:c16="http://schemas.microsoft.com/office/drawing/2014/chart" uri="{C3380CC4-5D6E-409C-BE32-E72D297353CC}">
                <c16:uniqueId val="{000000A7-2993-41DE-A2CB-63102DE87051}"/>
              </c:ext>
            </c:extLst>
          </c:dPt>
          <c:dPt>
            <c:idx val="83"/>
            <c:invertIfNegative val="1"/>
            <c:bubble3D val="0"/>
            <c:spPr>
              <a:solidFill>
                <a:srgbClr val="7ECAC4"/>
              </a:solidFill>
            </c:spPr>
            <c:extLst>
              <c:ext xmlns:c16="http://schemas.microsoft.com/office/drawing/2014/chart" uri="{C3380CC4-5D6E-409C-BE32-E72D297353CC}">
                <c16:uniqueId val="{000000A9-2993-41DE-A2CB-63102DE87051}"/>
              </c:ext>
            </c:extLst>
          </c:dPt>
          <c:dPt>
            <c:idx val="84"/>
            <c:invertIfNegative val="1"/>
            <c:bubble3D val="0"/>
            <c:spPr>
              <a:solidFill>
                <a:srgbClr val="7ECAC4"/>
              </a:solidFill>
            </c:spPr>
            <c:extLst>
              <c:ext xmlns:c16="http://schemas.microsoft.com/office/drawing/2014/chart" uri="{C3380CC4-5D6E-409C-BE32-E72D297353CC}">
                <c16:uniqueId val="{000000AB-2993-41DE-A2CB-63102DE87051}"/>
              </c:ext>
            </c:extLst>
          </c:dPt>
          <c:dPt>
            <c:idx val="85"/>
            <c:invertIfNegative val="1"/>
            <c:bubble3D val="0"/>
            <c:spPr>
              <a:solidFill>
                <a:srgbClr val="7ECAC4"/>
              </a:solidFill>
            </c:spPr>
            <c:extLst>
              <c:ext xmlns:c16="http://schemas.microsoft.com/office/drawing/2014/chart" uri="{C3380CC4-5D6E-409C-BE32-E72D297353CC}">
                <c16:uniqueId val="{000000AD-2993-41DE-A2CB-63102DE87051}"/>
              </c:ext>
            </c:extLst>
          </c:dPt>
          <c:dPt>
            <c:idx val="86"/>
            <c:invertIfNegative val="1"/>
            <c:bubble3D val="0"/>
            <c:spPr>
              <a:solidFill>
                <a:srgbClr val="7ECAC4"/>
              </a:solidFill>
            </c:spPr>
            <c:extLst>
              <c:ext xmlns:c16="http://schemas.microsoft.com/office/drawing/2014/chart" uri="{C3380CC4-5D6E-409C-BE32-E72D297353CC}">
                <c16:uniqueId val="{000000AF-2993-41DE-A2CB-63102DE87051}"/>
              </c:ext>
            </c:extLst>
          </c:dPt>
          <c:dPt>
            <c:idx val="87"/>
            <c:invertIfNegative val="1"/>
            <c:bubble3D val="0"/>
            <c:spPr>
              <a:solidFill>
                <a:srgbClr val="7ECAC4"/>
              </a:solidFill>
            </c:spPr>
            <c:extLst>
              <c:ext xmlns:c16="http://schemas.microsoft.com/office/drawing/2014/chart" uri="{C3380CC4-5D6E-409C-BE32-E72D297353CC}">
                <c16:uniqueId val="{000000B1-2993-41DE-A2CB-63102DE87051}"/>
              </c:ext>
            </c:extLst>
          </c:dPt>
          <c:dPt>
            <c:idx val="88"/>
            <c:invertIfNegative val="1"/>
            <c:bubble3D val="0"/>
            <c:spPr>
              <a:solidFill>
                <a:srgbClr val="7ECAC4"/>
              </a:solidFill>
            </c:spPr>
            <c:extLst>
              <c:ext xmlns:c16="http://schemas.microsoft.com/office/drawing/2014/chart" uri="{C3380CC4-5D6E-409C-BE32-E72D297353CC}">
                <c16:uniqueId val="{000000B3-2993-41DE-A2CB-63102DE87051}"/>
              </c:ext>
            </c:extLst>
          </c:dPt>
          <c:dPt>
            <c:idx val="89"/>
            <c:invertIfNegative val="1"/>
            <c:bubble3D val="0"/>
            <c:spPr>
              <a:solidFill>
                <a:srgbClr val="7ECAC4"/>
              </a:solidFill>
            </c:spPr>
            <c:extLst>
              <c:ext xmlns:c16="http://schemas.microsoft.com/office/drawing/2014/chart" uri="{C3380CC4-5D6E-409C-BE32-E72D297353CC}">
                <c16:uniqueId val="{000000B5-2993-41DE-A2CB-63102DE87051}"/>
              </c:ext>
            </c:extLst>
          </c:dPt>
          <c:dPt>
            <c:idx val="90"/>
            <c:invertIfNegative val="1"/>
            <c:bubble3D val="0"/>
            <c:spPr>
              <a:solidFill>
                <a:srgbClr val="7ECAC4"/>
              </a:solidFill>
            </c:spPr>
            <c:extLst>
              <c:ext xmlns:c16="http://schemas.microsoft.com/office/drawing/2014/chart" uri="{C3380CC4-5D6E-409C-BE32-E72D297353CC}">
                <c16:uniqueId val="{000000B7-2993-41DE-A2CB-63102DE87051}"/>
              </c:ext>
            </c:extLst>
          </c:dPt>
          <c:dPt>
            <c:idx val="91"/>
            <c:invertIfNegative val="1"/>
            <c:bubble3D val="0"/>
            <c:spPr>
              <a:solidFill>
                <a:srgbClr val="7ECAC4"/>
              </a:solidFill>
            </c:spPr>
            <c:extLst>
              <c:ext xmlns:c16="http://schemas.microsoft.com/office/drawing/2014/chart" uri="{C3380CC4-5D6E-409C-BE32-E72D297353CC}">
                <c16:uniqueId val="{000000B9-2993-41DE-A2CB-63102DE87051}"/>
              </c:ext>
            </c:extLst>
          </c:dPt>
          <c:dPt>
            <c:idx val="92"/>
            <c:invertIfNegative val="1"/>
            <c:bubble3D val="0"/>
            <c:spPr>
              <a:solidFill>
                <a:srgbClr val="7ECAC4"/>
              </a:solidFill>
            </c:spPr>
            <c:extLst>
              <c:ext xmlns:c16="http://schemas.microsoft.com/office/drawing/2014/chart" uri="{C3380CC4-5D6E-409C-BE32-E72D297353CC}">
                <c16:uniqueId val="{000000BB-2993-41DE-A2CB-63102DE87051}"/>
              </c:ext>
            </c:extLst>
          </c:dPt>
          <c:dPt>
            <c:idx val="93"/>
            <c:invertIfNegative val="1"/>
            <c:bubble3D val="0"/>
            <c:spPr>
              <a:solidFill>
                <a:srgbClr val="7ECAC4"/>
              </a:solidFill>
            </c:spPr>
            <c:extLst>
              <c:ext xmlns:c16="http://schemas.microsoft.com/office/drawing/2014/chart" uri="{C3380CC4-5D6E-409C-BE32-E72D297353CC}">
                <c16:uniqueId val="{000000BD-2993-41DE-A2CB-63102DE87051}"/>
              </c:ext>
            </c:extLst>
          </c:dPt>
          <c:dPt>
            <c:idx val="94"/>
            <c:invertIfNegative val="1"/>
            <c:bubble3D val="0"/>
            <c:spPr>
              <a:solidFill>
                <a:srgbClr val="7ECAC4"/>
              </a:solidFill>
            </c:spPr>
            <c:extLst>
              <c:ext xmlns:c16="http://schemas.microsoft.com/office/drawing/2014/chart" uri="{C3380CC4-5D6E-409C-BE32-E72D297353CC}">
                <c16:uniqueId val="{000000BF-2993-41DE-A2CB-63102DE87051}"/>
              </c:ext>
            </c:extLst>
          </c:dPt>
          <c:dPt>
            <c:idx val="95"/>
            <c:invertIfNegative val="1"/>
            <c:bubble3D val="0"/>
            <c:spPr>
              <a:solidFill>
                <a:srgbClr val="7ECAC4"/>
              </a:solidFill>
            </c:spPr>
            <c:extLst>
              <c:ext xmlns:c16="http://schemas.microsoft.com/office/drawing/2014/chart" uri="{C3380CC4-5D6E-409C-BE32-E72D297353CC}">
                <c16:uniqueId val="{000000C1-2993-41DE-A2CB-63102DE87051}"/>
              </c:ext>
            </c:extLst>
          </c:dPt>
          <c:dPt>
            <c:idx val="96"/>
            <c:invertIfNegative val="1"/>
            <c:bubble3D val="0"/>
            <c:spPr>
              <a:solidFill>
                <a:srgbClr val="7ECAC4"/>
              </a:solidFill>
            </c:spPr>
            <c:extLst>
              <c:ext xmlns:c16="http://schemas.microsoft.com/office/drawing/2014/chart" uri="{C3380CC4-5D6E-409C-BE32-E72D297353CC}">
                <c16:uniqueId val="{000000C3-2993-41DE-A2CB-63102DE87051}"/>
              </c:ext>
            </c:extLst>
          </c:dPt>
          <c:dPt>
            <c:idx val="97"/>
            <c:invertIfNegative val="1"/>
            <c:bubble3D val="0"/>
            <c:spPr>
              <a:solidFill>
                <a:srgbClr val="7ECAC4"/>
              </a:solidFill>
            </c:spPr>
            <c:extLst>
              <c:ext xmlns:c16="http://schemas.microsoft.com/office/drawing/2014/chart" uri="{C3380CC4-5D6E-409C-BE32-E72D297353CC}">
                <c16:uniqueId val="{000000C5-2993-41DE-A2CB-63102DE87051}"/>
              </c:ext>
            </c:extLst>
          </c:dPt>
          <c:dPt>
            <c:idx val="98"/>
            <c:invertIfNegative val="1"/>
            <c:bubble3D val="0"/>
            <c:spPr>
              <a:solidFill>
                <a:srgbClr val="7ECAC4"/>
              </a:solidFill>
            </c:spPr>
            <c:extLst>
              <c:ext xmlns:c16="http://schemas.microsoft.com/office/drawing/2014/chart" uri="{C3380CC4-5D6E-409C-BE32-E72D297353CC}">
                <c16:uniqueId val="{000000C7-2993-41DE-A2CB-63102DE87051}"/>
              </c:ext>
            </c:extLst>
          </c:dPt>
          <c:dPt>
            <c:idx val="99"/>
            <c:invertIfNegative val="1"/>
            <c:bubble3D val="0"/>
            <c:spPr>
              <a:solidFill>
                <a:srgbClr val="7ECAC4"/>
              </a:solidFill>
            </c:spPr>
            <c:extLst>
              <c:ext xmlns:c16="http://schemas.microsoft.com/office/drawing/2014/chart" uri="{C3380CC4-5D6E-409C-BE32-E72D297353CC}">
                <c16:uniqueId val="{000000C9-2993-41DE-A2CB-63102DE87051}"/>
              </c:ext>
            </c:extLst>
          </c:dPt>
          <c:dPt>
            <c:idx val="100"/>
            <c:invertIfNegative val="1"/>
            <c:bubble3D val="0"/>
            <c:spPr>
              <a:solidFill>
                <a:srgbClr val="7ECAC4"/>
              </a:solidFill>
            </c:spPr>
            <c:extLst>
              <c:ext xmlns:c16="http://schemas.microsoft.com/office/drawing/2014/chart" uri="{C3380CC4-5D6E-409C-BE32-E72D297353CC}">
                <c16:uniqueId val="{000000CB-2993-41DE-A2CB-63102DE87051}"/>
              </c:ext>
            </c:extLst>
          </c:dPt>
          <c:dPt>
            <c:idx val="101"/>
            <c:invertIfNegative val="1"/>
            <c:bubble3D val="0"/>
            <c:spPr>
              <a:solidFill>
                <a:srgbClr val="7ECAC4"/>
              </a:solidFill>
            </c:spPr>
            <c:extLst>
              <c:ext xmlns:c16="http://schemas.microsoft.com/office/drawing/2014/chart" uri="{C3380CC4-5D6E-409C-BE32-E72D297353CC}">
                <c16:uniqueId val="{000000CD-2993-41DE-A2CB-63102DE87051}"/>
              </c:ext>
            </c:extLst>
          </c:dPt>
          <c:dPt>
            <c:idx val="102"/>
            <c:invertIfNegative val="1"/>
            <c:bubble3D val="0"/>
            <c:spPr>
              <a:solidFill>
                <a:srgbClr val="7ECAC4"/>
              </a:solidFill>
            </c:spPr>
            <c:extLst>
              <c:ext xmlns:c16="http://schemas.microsoft.com/office/drawing/2014/chart" uri="{C3380CC4-5D6E-409C-BE32-E72D297353CC}">
                <c16:uniqueId val="{000000CF-2993-41DE-A2CB-63102DE87051}"/>
              </c:ext>
            </c:extLst>
          </c:dPt>
          <c:dPt>
            <c:idx val="103"/>
            <c:invertIfNegative val="1"/>
            <c:bubble3D val="0"/>
            <c:spPr>
              <a:solidFill>
                <a:srgbClr val="7ECAC4"/>
              </a:solidFill>
            </c:spPr>
            <c:extLst>
              <c:ext xmlns:c16="http://schemas.microsoft.com/office/drawing/2014/chart" uri="{C3380CC4-5D6E-409C-BE32-E72D297353CC}">
                <c16:uniqueId val="{000000D1-2993-41DE-A2CB-63102DE87051}"/>
              </c:ext>
            </c:extLst>
          </c:dPt>
          <c:dPt>
            <c:idx val="104"/>
            <c:invertIfNegative val="1"/>
            <c:bubble3D val="0"/>
            <c:spPr>
              <a:solidFill>
                <a:srgbClr val="7ECAC4"/>
              </a:solidFill>
            </c:spPr>
            <c:extLst>
              <c:ext xmlns:c16="http://schemas.microsoft.com/office/drawing/2014/chart" uri="{C3380CC4-5D6E-409C-BE32-E72D297353CC}">
                <c16:uniqueId val="{000000D3-2993-41DE-A2CB-63102DE87051}"/>
              </c:ext>
            </c:extLst>
          </c:dPt>
          <c:dPt>
            <c:idx val="105"/>
            <c:invertIfNegative val="1"/>
            <c:bubble3D val="0"/>
            <c:spPr>
              <a:solidFill>
                <a:srgbClr val="7ECAC4"/>
              </a:solidFill>
            </c:spPr>
            <c:extLst>
              <c:ext xmlns:c16="http://schemas.microsoft.com/office/drawing/2014/chart" uri="{C3380CC4-5D6E-409C-BE32-E72D297353CC}">
                <c16:uniqueId val="{000000D5-2993-41DE-A2CB-63102DE87051}"/>
              </c:ext>
            </c:extLst>
          </c:dPt>
          <c:dPt>
            <c:idx val="106"/>
            <c:invertIfNegative val="1"/>
            <c:bubble3D val="0"/>
            <c:spPr>
              <a:solidFill>
                <a:srgbClr val="7ECAC4"/>
              </a:solidFill>
            </c:spPr>
            <c:extLst>
              <c:ext xmlns:c16="http://schemas.microsoft.com/office/drawing/2014/chart" uri="{C3380CC4-5D6E-409C-BE32-E72D297353CC}">
                <c16:uniqueId val="{000000D7-2993-41DE-A2CB-63102DE87051}"/>
              </c:ext>
            </c:extLst>
          </c:dPt>
          <c:dPt>
            <c:idx val="107"/>
            <c:invertIfNegative val="1"/>
            <c:bubble3D val="0"/>
            <c:spPr>
              <a:solidFill>
                <a:srgbClr val="7ECAC4"/>
              </a:solidFill>
            </c:spPr>
            <c:extLst>
              <c:ext xmlns:c16="http://schemas.microsoft.com/office/drawing/2014/chart" uri="{C3380CC4-5D6E-409C-BE32-E72D297353CC}">
                <c16:uniqueId val="{000000D9-2993-41DE-A2CB-63102DE87051}"/>
              </c:ext>
            </c:extLst>
          </c:dPt>
          <c:dPt>
            <c:idx val="108"/>
            <c:invertIfNegative val="1"/>
            <c:bubble3D val="0"/>
            <c:spPr>
              <a:solidFill>
                <a:srgbClr val="7ECAC4"/>
              </a:solidFill>
            </c:spPr>
            <c:extLst>
              <c:ext xmlns:c16="http://schemas.microsoft.com/office/drawing/2014/chart" uri="{C3380CC4-5D6E-409C-BE32-E72D297353CC}">
                <c16:uniqueId val="{000000DB-2993-41DE-A2CB-63102DE87051}"/>
              </c:ext>
            </c:extLst>
          </c:dPt>
          <c:dPt>
            <c:idx val="109"/>
            <c:invertIfNegative val="1"/>
            <c:bubble3D val="0"/>
            <c:spPr>
              <a:solidFill>
                <a:srgbClr val="7ECAC4"/>
              </a:solidFill>
            </c:spPr>
            <c:extLst>
              <c:ext xmlns:c16="http://schemas.microsoft.com/office/drawing/2014/chart" uri="{C3380CC4-5D6E-409C-BE32-E72D297353CC}">
                <c16:uniqueId val="{000000DD-2993-41DE-A2CB-63102DE87051}"/>
              </c:ext>
            </c:extLst>
          </c:dPt>
          <c:dPt>
            <c:idx val="110"/>
            <c:invertIfNegative val="1"/>
            <c:bubble3D val="0"/>
            <c:spPr>
              <a:solidFill>
                <a:srgbClr val="7ECAC4"/>
              </a:solidFill>
            </c:spPr>
            <c:extLst>
              <c:ext xmlns:c16="http://schemas.microsoft.com/office/drawing/2014/chart" uri="{C3380CC4-5D6E-409C-BE32-E72D297353CC}">
                <c16:uniqueId val="{000000DF-2993-41DE-A2CB-63102DE87051}"/>
              </c:ext>
            </c:extLst>
          </c:dPt>
          <c:dPt>
            <c:idx val="111"/>
            <c:invertIfNegative val="1"/>
            <c:bubble3D val="0"/>
            <c:spPr>
              <a:solidFill>
                <a:srgbClr val="7ECAC4"/>
              </a:solidFill>
            </c:spPr>
            <c:extLst>
              <c:ext xmlns:c16="http://schemas.microsoft.com/office/drawing/2014/chart" uri="{C3380CC4-5D6E-409C-BE32-E72D297353CC}">
                <c16:uniqueId val="{000000E1-2993-41DE-A2CB-63102DE87051}"/>
              </c:ext>
            </c:extLst>
          </c:dPt>
          <c:dPt>
            <c:idx val="112"/>
            <c:invertIfNegative val="1"/>
            <c:bubble3D val="0"/>
            <c:spPr>
              <a:solidFill>
                <a:srgbClr val="7ECAC4"/>
              </a:solidFill>
            </c:spPr>
            <c:extLst>
              <c:ext xmlns:c16="http://schemas.microsoft.com/office/drawing/2014/chart" uri="{C3380CC4-5D6E-409C-BE32-E72D297353CC}">
                <c16:uniqueId val="{000000E3-2993-41DE-A2CB-63102DE87051}"/>
              </c:ext>
            </c:extLst>
          </c:dPt>
          <c:dPt>
            <c:idx val="113"/>
            <c:invertIfNegative val="1"/>
            <c:bubble3D val="0"/>
            <c:spPr>
              <a:solidFill>
                <a:srgbClr val="7ECAC4"/>
              </a:solidFill>
            </c:spPr>
            <c:extLst>
              <c:ext xmlns:c16="http://schemas.microsoft.com/office/drawing/2014/chart" uri="{C3380CC4-5D6E-409C-BE32-E72D297353CC}">
                <c16:uniqueId val="{000000E5-2993-41DE-A2CB-63102DE87051}"/>
              </c:ext>
            </c:extLst>
          </c:dPt>
          <c:dPt>
            <c:idx val="114"/>
            <c:invertIfNegative val="1"/>
            <c:bubble3D val="0"/>
            <c:spPr>
              <a:solidFill>
                <a:srgbClr val="7ECAC4"/>
              </a:solidFill>
            </c:spPr>
            <c:extLst>
              <c:ext xmlns:c16="http://schemas.microsoft.com/office/drawing/2014/chart" uri="{C3380CC4-5D6E-409C-BE32-E72D297353CC}">
                <c16:uniqueId val="{000000E7-2993-41DE-A2CB-63102DE87051}"/>
              </c:ext>
            </c:extLst>
          </c:dPt>
          <c:dPt>
            <c:idx val="115"/>
            <c:invertIfNegative val="1"/>
            <c:bubble3D val="0"/>
            <c:spPr>
              <a:solidFill>
                <a:srgbClr val="7ECAC4"/>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AEABAB"/>
              </a:solidFill>
            </c:spPr>
            <c:extLst>
              <c:ext xmlns:c16="http://schemas.microsoft.com/office/drawing/2014/chart" uri="{C3380CC4-5D6E-409C-BE32-E72D297353CC}">
                <c16:uniqueId val="{00000107-2993-41DE-A2CB-63102DE87051}"/>
              </c:ext>
            </c:extLst>
          </c:dPt>
          <c:dPt>
            <c:idx val="131"/>
            <c:invertIfNegative val="1"/>
            <c:bubble3D val="0"/>
            <c:spPr>
              <a:solidFill>
                <a:srgbClr val="AEABAB"/>
              </a:solidFill>
            </c:spPr>
            <c:extLst>
              <c:ext xmlns:c16="http://schemas.microsoft.com/office/drawing/2014/chart" uri="{C3380CC4-5D6E-409C-BE32-E72D297353CC}">
                <c16:uniqueId val="{00000109-2993-41DE-A2CB-63102DE87051}"/>
              </c:ext>
            </c:extLst>
          </c:dPt>
          <c:dPt>
            <c:idx val="132"/>
            <c:invertIfNegative val="1"/>
            <c:bubble3D val="0"/>
            <c:spPr>
              <a:solidFill>
                <a:srgbClr val="AEABAB"/>
              </a:solidFill>
            </c:spPr>
            <c:extLst>
              <c:ext xmlns:c16="http://schemas.microsoft.com/office/drawing/2014/chart" uri="{C3380CC4-5D6E-409C-BE32-E72D297353CC}">
                <c16:uniqueId val="{0000010B-2993-41DE-A2CB-63102DE87051}"/>
              </c:ext>
            </c:extLst>
          </c:dPt>
          <c:dPt>
            <c:idx val="133"/>
            <c:invertIfNegative val="1"/>
            <c:bubble3D val="0"/>
            <c:spPr>
              <a:solidFill>
                <a:srgbClr val="AEABAB"/>
              </a:solidFill>
            </c:spPr>
            <c:extLst>
              <c:ext xmlns:c16="http://schemas.microsoft.com/office/drawing/2014/chart" uri="{C3380CC4-5D6E-409C-BE32-E72D297353CC}">
                <c16:uniqueId val="{0000010D-2993-41DE-A2CB-63102DE87051}"/>
              </c:ext>
            </c:extLst>
          </c:dPt>
          <c:dPt>
            <c:idx val="134"/>
            <c:invertIfNegative val="1"/>
            <c:bubble3D val="0"/>
            <c:spPr>
              <a:solidFill>
                <a:srgbClr val="AEABAB"/>
              </a:solidFill>
            </c:spPr>
            <c:extLst>
              <c:ext xmlns:c16="http://schemas.microsoft.com/office/drawing/2014/chart" uri="{C3380CC4-5D6E-409C-BE32-E72D297353CC}">
                <c16:uniqueId val="{0000010F-2993-41DE-A2CB-63102DE87051}"/>
              </c:ext>
            </c:extLst>
          </c:dPt>
          <c:dPt>
            <c:idx val="135"/>
            <c:invertIfNegative val="1"/>
            <c:bubble3D val="0"/>
            <c:spPr>
              <a:solidFill>
                <a:srgbClr val="AEABAB"/>
              </a:solidFill>
            </c:spPr>
            <c:extLst>
              <c:ext xmlns:c16="http://schemas.microsoft.com/office/drawing/2014/chart" uri="{C3380CC4-5D6E-409C-BE32-E72D297353CC}">
                <c16:uniqueId val="{00000111-2993-41DE-A2CB-63102DE87051}"/>
              </c:ext>
            </c:extLst>
          </c:dPt>
          <c:dPt>
            <c:idx val="136"/>
            <c:invertIfNegative val="1"/>
            <c:bubble3D val="0"/>
            <c:spPr>
              <a:solidFill>
                <a:srgbClr val="AEABAB"/>
              </a:solidFill>
            </c:spPr>
            <c:extLst>
              <c:ext xmlns:c16="http://schemas.microsoft.com/office/drawing/2014/chart" uri="{C3380CC4-5D6E-409C-BE32-E72D297353CC}">
                <c16:uniqueId val="{00000113-2993-41DE-A2CB-63102DE87051}"/>
              </c:ext>
            </c:extLst>
          </c:dPt>
          <c:dPt>
            <c:idx val="137"/>
            <c:invertIfNegative val="1"/>
            <c:bubble3D val="0"/>
            <c:spPr>
              <a:solidFill>
                <a:srgbClr val="AEABAB"/>
              </a:solidFill>
            </c:spPr>
            <c:extLst>
              <c:ext xmlns:c16="http://schemas.microsoft.com/office/drawing/2014/chart" uri="{C3380CC4-5D6E-409C-BE32-E72D297353CC}">
                <c16:uniqueId val="{00000115-2993-41DE-A2CB-63102DE87051}"/>
              </c:ext>
            </c:extLst>
          </c:dPt>
          <c:dPt>
            <c:idx val="138"/>
            <c:invertIfNegative val="1"/>
            <c:bubble3D val="0"/>
            <c:spPr>
              <a:solidFill>
                <a:srgbClr val="AEABAB"/>
              </a:solidFill>
            </c:spPr>
            <c:extLst>
              <c:ext xmlns:c16="http://schemas.microsoft.com/office/drawing/2014/chart" uri="{C3380CC4-5D6E-409C-BE32-E72D297353CC}">
                <c16:uniqueId val="{00000117-2993-41DE-A2CB-63102DE87051}"/>
              </c:ext>
            </c:extLst>
          </c:dPt>
          <c:dPt>
            <c:idx val="139"/>
            <c:invertIfNegative val="1"/>
            <c:bubble3D val="0"/>
            <c:spPr>
              <a:solidFill>
                <a:srgbClr val="AEABAB"/>
              </a:solidFill>
            </c:spPr>
            <c:extLst>
              <c:ext xmlns:c16="http://schemas.microsoft.com/office/drawing/2014/chart" uri="{C3380CC4-5D6E-409C-BE32-E72D297353CC}">
                <c16:uniqueId val="{00000119-2993-41DE-A2CB-63102DE87051}"/>
              </c:ext>
            </c:extLst>
          </c:dPt>
          <c:dPt>
            <c:idx val="140"/>
            <c:invertIfNegative val="1"/>
            <c:bubble3D val="0"/>
            <c:spPr>
              <a:solidFill>
                <a:srgbClr val="AEABAB"/>
              </a:solidFill>
            </c:spPr>
            <c:extLst>
              <c:ext xmlns:c16="http://schemas.microsoft.com/office/drawing/2014/chart" uri="{C3380CC4-5D6E-409C-BE32-E72D297353CC}">
                <c16:uniqueId val="{0000011B-2993-41DE-A2CB-63102DE87051}"/>
              </c:ext>
            </c:extLst>
          </c:dPt>
          <c:dPt>
            <c:idx val="141"/>
            <c:invertIfNegative val="1"/>
            <c:bubble3D val="0"/>
            <c:spPr>
              <a:solidFill>
                <a:srgbClr val="AEABAB"/>
              </a:solidFill>
            </c:spPr>
            <c:extLst>
              <c:ext xmlns:c16="http://schemas.microsoft.com/office/drawing/2014/chart" uri="{C3380CC4-5D6E-409C-BE32-E72D297353CC}">
                <c16:uniqueId val="{0000011D-2993-41DE-A2CB-63102DE87051}"/>
              </c:ext>
            </c:extLst>
          </c:dPt>
          <c:dPt>
            <c:idx val="142"/>
            <c:invertIfNegative val="1"/>
            <c:bubble3D val="0"/>
            <c:spPr>
              <a:solidFill>
                <a:srgbClr val="AEABAB"/>
              </a:solidFill>
            </c:spPr>
            <c:extLst>
              <c:ext xmlns:c16="http://schemas.microsoft.com/office/drawing/2014/chart" uri="{C3380CC4-5D6E-409C-BE32-E72D297353CC}">
                <c16:uniqueId val="{0000011F-2993-41DE-A2CB-63102DE87051}"/>
              </c:ext>
            </c:extLst>
          </c:dPt>
          <c:dPt>
            <c:idx val="143"/>
            <c:invertIfNegative val="1"/>
            <c:bubble3D val="0"/>
            <c:spPr>
              <a:solidFill>
                <a:srgbClr val="AEABAB"/>
              </a:solidFill>
            </c:spPr>
            <c:extLst>
              <c:ext xmlns:c16="http://schemas.microsoft.com/office/drawing/2014/chart" uri="{C3380CC4-5D6E-409C-BE32-E72D297353CC}">
                <c16:uniqueId val="{00000121-2993-41DE-A2CB-63102DE87051}"/>
              </c:ext>
            </c:extLst>
          </c:dPt>
          <c:dPt>
            <c:idx val="144"/>
            <c:invertIfNegative val="1"/>
            <c:bubble3D val="0"/>
            <c:spPr>
              <a:solidFill>
                <a:srgbClr val="AEABAB"/>
              </a:solidFill>
            </c:spPr>
            <c:extLst>
              <c:ext xmlns:c16="http://schemas.microsoft.com/office/drawing/2014/chart" uri="{C3380CC4-5D6E-409C-BE32-E72D297353CC}">
                <c16:uniqueId val="{00000123-2993-41DE-A2CB-63102DE87051}"/>
              </c:ext>
            </c:extLst>
          </c:dPt>
          <c:dPt>
            <c:idx val="145"/>
            <c:invertIfNegative val="1"/>
            <c:bubble3D val="0"/>
            <c:spPr>
              <a:solidFill>
                <a:srgbClr val="AEABAB"/>
              </a:solidFill>
            </c:spPr>
            <c:extLst>
              <c:ext xmlns:c16="http://schemas.microsoft.com/office/drawing/2014/chart" uri="{C3380CC4-5D6E-409C-BE32-E72D297353CC}">
                <c16:uniqueId val="{00000125-2993-41DE-A2CB-63102DE87051}"/>
              </c:ext>
            </c:extLst>
          </c:dPt>
          <c:dPt>
            <c:idx val="146"/>
            <c:invertIfNegative val="1"/>
            <c:bubble3D val="0"/>
            <c:spPr>
              <a:solidFill>
                <a:srgbClr val="AEABAB"/>
              </a:solidFill>
            </c:spPr>
            <c:extLst>
              <c:ext xmlns:c16="http://schemas.microsoft.com/office/drawing/2014/chart" uri="{C3380CC4-5D6E-409C-BE32-E72D297353CC}">
                <c16:uniqueId val="{00000127-2993-41DE-A2CB-63102DE87051}"/>
              </c:ext>
            </c:extLst>
          </c:dPt>
          <c:dPt>
            <c:idx val="147"/>
            <c:invertIfNegative val="1"/>
            <c:bubble3D val="0"/>
            <c:spPr>
              <a:solidFill>
                <a:srgbClr val="AEABAB"/>
              </a:solidFill>
            </c:spPr>
            <c:extLst>
              <c:ext xmlns:c16="http://schemas.microsoft.com/office/drawing/2014/chart" uri="{C3380CC4-5D6E-409C-BE32-E72D297353CC}">
                <c16:uniqueId val="{00000129-2993-41DE-A2CB-63102DE87051}"/>
              </c:ext>
            </c:extLst>
          </c:dPt>
          <c:dPt>
            <c:idx val="148"/>
            <c:invertIfNegative val="1"/>
            <c:bubble3D val="0"/>
            <c:spPr>
              <a:solidFill>
                <a:srgbClr val="AEABAB"/>
              </a:solidFill>
            </c:spPr>
            <c:extLst>
              <c:ext xmlns:c16="http://schemas.microsoft.com/office/drawing/2014/chart" uri="{C3380CC4-5D6E-409C-BE32-E72D297353CC}">
                <c16:uniqueId val="{0000012B-2993-41DE-A2CB-63102DE87051}"/>
              </c:ext>
            </c:extLst>
          </c:dPt>
          <c:dPt>
            <c:idx val="149"/>
            <c:invertIfNegative val="1"/>
            <c:bubble3D val="0"/>
            <c:spPr>
              <a:solidFill>
                <a:srgbClr val="AEABAB"/>
              </a:solidFill>
            </c:spPr>
            <c:extLst>
              <c:ext xmlns:c16="http://schemas.microsoft.com/office/drawing/2014/chart" uri="{C3380CC4-5D6E-409C-BE32-E72D297353CC}">
                <c16:uniqueId val="{0000012D-2993-41DE-A2CB-63102DE87051}"/>
              </c:ext>
            </c:extLst>
          </c:dPt>
          <c:dPt>
            <c:idx val="150"/>
            <c:invertIfNegative val="1"/>
            <c:bubble3D val="0"/>
            <c:spPr>
              <a:solidFill>
                <a:srgbClr val="AEABAB"/>
              </a:solidFill>
            </c:spPr>
            <c:extLst>
              <c:ext xmlns:c16="http://schemas.microsoft.com/office/drawing/2014/chart" uri="{C3380CC4-5D6E-409C-BE32-E72D297353CC}">
                <c16:uniqueId val="{0000012F-2993-41DE-A2CB-63102DE87051}"/>
              </c:ext>
            </c:extLst>
          </c:dPt>
          <c:dPt>
            <c:idx val="151"/>
            <c:invertIfNegative val="1"/>
            <c:bubble3D val="0"/>
            <c:spPr>
              <a:solidFill>
                <a:srgbClr val="AEABAB"/>
              </a:solidFill>
            </c:spPr>
            <c:extLst>
              <c:ext xmlns:c16="http://schemas.microsoft.com/office/drawing/2014/chart" uri="{C3380CC4-5D6E-409C-BE32-E72D297353CC}">
                <c16:uniqueId val="{00000131-2993-41DE-A2CB-63102DE87051}"/>
              </c:ext>
            </c:extLst>
          </c:dPt>
          <c:dPt>
            <c:idx val="152"/>
            <c:invertIfNegative val="1"/>
            <c:bubble3D val="0"/>
            <c:spPr>
              <a:solidFill>
                <a:srgbClr val="AEABAB"/>
              </a:solidFill>
            </c:spPr>
            <c:extLst>
              <c:ext xmlns:c16="http://schemas.microsoft.com/office/drawing/2014/chart" uri="{C3380CC4-5D6E-409C-BE32-E72D297353CC}">
                <c16:uniqueId val="{00000133-2993-41DE-A2CB-63102DE87051}"/>
              </c:ext>
            </c:extLst>
          </c:dPt>
          <c:dPt>
            <c:idx val="153"/>
            <c:invertIfNegative val="1"/>
            <c:bubble3D val="0"/>
            <c:spPr>
              <a:solidFill>
                <a:srgbClr val="AEABAB"/>
              </a:solidFill>
            </c:spPr>
            <c:extLst>
              <c:ext xmlns:c16="http://schemas.microsoft.com/office/drawing/2014/chart" uri="{C3380CC4-5D6E-409C-BE32-E72D297353CC}">
                <c16:uniqueId val="{00000135-2993-41DE-A2CB-63102DE87051}"/>
              </c:ext>
            </c:extLst>
          </c:dPt>
          <c:dPt>
            <c:idx val="154"/>
            <c:invertIfNegative val="1"/>
            <c:bubble3D val="0"/>
            <c:spPr>
              <a:solidFill>
                <a:srgbClr val="AEABAB"/>
              </a:solidFill>
            </c:spPr>
            <c:extLst>
              <c:ext xmlns:c16="http://schemas.microsoft.com/office/drawing/2014/chart" uri="{C3380CC4-5D6E-409C-BE32-E72D297353CC}">
                <c16:uniqueId val="{00000137-2993-41DE-A2CB-63102DE87051}"/>
              </c:ext>
            </c:extLst>
          </c:dPt>
          <c:dPt>
            <c:idx val="155"/>
            <c:invertIfNegative val="1"/>
            <c:bubble3D val="0"/>
            <c:spPr>
              <a:solidFill>
                <a:srgbClr val="AEABAB"/>
              </a:solidFill>
            </c:spPr>
            <c:extLst>
              <c:ext xmlns:c16="http://schemas.microsoft.com/office/drawing/2014/chart" uri="{C3380CC4-5D6E-409C-BE32-E72D297353CC}">
                <c16:uniqueId val="{00000139-2993-41DE-A2CB-63102DE87051}"/>
              </c:ext>
            </c:extLst>
          </c:dPt>
          <c:dPt>
            <c:idx val="156"/>
            <c:invertIfNegative val="1"/>
            <c:bubble3D val="0"/>
            <c:spPr>
              <a:solidFill>
                <a:srgbClr val="AEABAB"/>
              </a:solidFill>
            </c:spPr>
            <c:extLst>
              <c:ext xmlns:c16="http://schemas.microsoft.com/office/drawing/2014/chart" uri="{C3380CC4-5D6E-409C-BE32-E72D297353CC}">
                <c16:uniqueId val="{0000013B-2993-41DE-A2CB-63102DE87051}"/>
              </c:ext>
            </c:extLst>
          </c:dPt>
          <c:dPt>
            <c:idx val="157"/>
            <c:invertIfNegative val="1"/>
            <c:bubble3D val="0"/>
            <c:spPr>
              <a:solidFill>
                <a:srgbClr val="AEABAB"/>
              </a:solidFill>
            </c:spPr>
            <c:extLst>
              <c:ext xmlns:c16="http://schemas.microsoft.com/office/drawing/2014/chart" uri="{C3380CC4-5D6E-409C-BE32-E72D297353CC}">
                <c16:uniqueId val="{0000013D-2993-41DE-A2CB-63102DE87051}"/>
              </c:ext>
            </c:extLst>
          </c:dPt>
          <c:dPt>
            <c:idx val="158"/>
            <c:invertIfNegative val="1"/>
            <c:bubble3D val="0"/>
            <c:spPr>
              <a:solidFill>
                <a:srgbClr val="AEABAB"/>
              </a:solidFill>
            </c:spPr>
            <c:extLst>
              <c:ext xmlns:c16="http://schemas.microsoft.com/office/drawing/2014/chart" uri="{C3380CC4-5D6E-409C-BE32-E72D297353CC}">
                <c16:uniqueId val="{0000013F-2993-41DE-A2CB-63102DE87051}"/>
              </c:ext>
            </c:extLst>
          </c:dPt>
          <c:dPt>
            <c:idx val="159"/>
            <c:invertIfNegative val="1"/>
            <c:bubble3D val="0"/>
            <c:spPr>
              <a:solidFill>
                <a:srgbClr val="AEABAB"/>
              </a:solidFill>
            </c:spPr>
            <c:extLst>
              <c:ext xmlns:c16="http://schemas.microsoft.com/office/drawing/2014/chart" uri="{C3380CC4-5D6E-409C-BE32-E72D297353CC}">
                <c16:uniqueId val="{00000141-2993-41DE-A2CB-63102DE87051}"/>
              </c:ext>
            </c:extLst>
          </c:dPt>
          <c:dPt>
            <c:idx val="160"/>
            <c:invertIfNegative val="1"/>
            <c:bubble3D val="0"/>
            <c:spPr>
              <a:solidFill>
                <a:srgbClr val="AEABAB"/>
              </a:solidFill>
            </c:spPr>
            <c:extLst>
              <c:ext xmlns:c16="http://schemas.microsoft.com/office/drawing/2014/chart" uri="{C3380CC4-5D6E-409C-BE32-E72D297353CC}">
                <c16:uniqueId val="{00000143-2993-41DE-A2CB-63102DE87051}"/>
              </c:ext>
            </c:extLst>
          </c:dPt>
          <c:dPt>
            <c:idx val="161"/>
            <c:invertIfNegative val="1"/>
            <c:bubble3D val="0"/>
            <c:spPr>
              <a:solidFill>
                <a:srgbClr val="AEABAB"/>
              </a:solidFill>
            </c:spPr>
            <c:extLst>
              <c:ext xmlns:c16="http://schemas.microsoft.com/office/drawing/2014/chart" uri="{C3380CC4-5D6E-409C-BE32-E72D297353CC}">
                <c16:uniqueId val="{00000145-2993-41DE-A2CB-63102DE87051}"/>
              </c:ext>
            </c:extLst>
          </c:dPt>
          <c:dPt>
            <c:idx val="162"/>
            <c:invertIfNegative val="1"/>
            <c:bubble3D val="0"/>
            <c:spPr>
              <a:solidFill>
                <a:srgbClr val="AEABAB"/>
              </a:solidFill>
            </c:spPr>
            <c:extLst>
              <c:ext xmlns:c16="http://schemas.microsoft.com/office/drawing/2014/chart" uri="{C3380CC4-5D6E-409C-BE32-E72D297353CC}">
                <c16:uniqueId val="{00000147-2993-41DE-A2CB-63102DE87051}"/>
              </c:ext>
            </c:extLst>
          </c:dPt>
          <c:dPt>
            <c:idx val="163"/>
            <c:invertIfNegative val="1"/>
            <c:bubble3D val="0"/>
            <c:spPr>
              <a:solidFill>
                <a:srgbClr val="AEABAB"/>
              </a:solidFill>
            </c:spPr>
            <c:extLst>
              <c:ext xmlns:c16="http://schemas.microsoft.com/office/drawing/2014/chart" uri="{C3380CC4-5D6E-409C-BE32-E72D297353CC}">
                <c16:uniqueId val="{00000149-2993-41DE-A2CB-63102DE87051}"/>
              </c:ext>
            </c:extLst>
          </c:dPt>
          <c:dPt>
            <c:idx val="164"/>
            <c:invertIfNegative val="1"/>
            <c:bubble3D val="0"/>
            <c:spPr>
              <a:solidFill>
                <a:srgbClr val="AEABAB"/>
              </a:solidFill>
            </c:spPr>
            <c:extLst>
              <c:ext xmlns:c16="http://schemas.microsoft.com/office/drawing/2014/chart" uri="{C3380CC4-5D6E-409C-BE32-E72D297353CC}">
                <c16:uniqueId val="{0000014B-2993-41DE-A2CB-63102DE87051}"/>
              </c:ext>
            </c:extLst>
          </c:dPt>
          <c:dPt>
            <c:idx val="165"/>
            <c:invertIfNegative val="1"/>
            <c:bubble3D val="0"/>
            <c:spPr>
              <a:solidFill>
                <a:srgbClr val="AEABAB"/>
              </a:solidFill>
            </c:spPr>
            <c:extLst>
              <c:ext xmlns:c16="http://schemas.microsoft.com/office/drawing/2014/chart" uri="{C3380CC4-5D6E-409C-BE32-E72D297353CC}">
                <c16:uniqueId val="{0000014D-2993-41DE-A2CB-63102DE87051}"/>
              </c:ext>
            </c:extLst>
          </c:dPt>
          <c:dPt>
            <c:idx val="166"/>
            <c:invertIfNegative val="1"/>
            <c:bubble3D val="0"/>
            <c:spPr>
              <a:solidFill>
                <a:srgbClr val="AEABAB"/>
              </a:solidFill>
            </c:spPr>
            <c:extLst>
              <c:ext xmlns:c16="http://schemas.microsoft.com/office/drawing/2014/chart" uri="{C3380CC4-5D6E-409C-BE32-E72D297353CC}">
                <c16:uniqueId val="{0000014F-2993-41DE-A2CB-63102DE87051}"/>
              </c:ext>
            </c:extLst>
          </c:dPt>
          <c:dPt>
            <c:idx val="167"/>
            <c:invertIfNegative val="1"/>
            <c:bubble3D val="0"/>
            <c:spPr>
              <a:solidFill>
                <a:srgbClr val="AEABAB"/>
              </a:solidFill>
            </c:spPr>
            <c:extLst>
              <c:ext xmlns:c16="http://schemas.microsoft.com/office/drawing/2014/chart" uri="{C3380CC4-5D6E-409C-BE32-E72D297353CC}">
                <c16:uniqueId val="{00000151-2993-41DE-A2CB-63102DE87051}"/>
              </c:ext>
            </c:extLst>
          </c:dPt>
          <c:dPt>
            <c:idx val="168"/>
            <c:invertIfNegative val="1"/>
            <c:bubble3D val="0"/>
            <c:spPr>
              <a:solidFill>
                <a:srgbClr val="AEABAB"/>
              </a:solidFill>
            </c:spPr>
            <c:extLst>
              <c:ext xmlns:c16="http://schemas.microsoft.com/office/drawing/2014/chart" uri="{C3380CC4-5D6E-409C-BE32-E72D297353CC}">
                <c16:uniqueId val="{00000153-2993-41DE-A2CB-63102DE87051}"/>
              </c:ext>
            </c:extLst>
          </c:dPt>
          <c:dPt>
            <c:idx val="169"/>
            <c:invertIfNegative val="1"/>
            <c:bubble3D val="0"/>
            <c:spPr>
              <a:solidFill>
                <a:srgbClr val="AEABAB"/>
              </a:solidFill>
            </c:spPr>
            <c:extLst>
              <c:ext xmlns:c16="http://schemas.microsoft.com/office/drawing/2014/chart" uri="{C3380CC4-5D6E-409C-BE32-E72D297353CC}">
                <c16:uniqueId val="{00000155-2993-41DE-A2CB-63102DE87051}"/>
              </c:ext>
            </c:extLst>
          </c:dPt>
          <c:dPt>
            <c:idx val="170"/>
            <c:invertIfNegative val="1"/>
            <c:bubble3D val="0"/>
            <c:spPr>
              <a:solidFill>
                <a:srgbClr val="AEABAB"/>
              </a:solidFill>
            </c:spPr>
            <c:extLst>
              <c:ext xmlns:c16="http://schemas.microsoft.com/office/drawing/2014/chart" uri="{C3380CC4-5D6E-409C-BE32-E72D297353CC}">
                <c16:uniqueId val="{00000157-2993-41DE-A2CB-63102DE87051}"/>
              </c:ext>
            </c:extLst>
          </c:dPt>
          <c:dPt>
            <c:idx val="171"/>
            <c:invertIfNegative val="1"/>
            <c:bubble3D val="0"/>
            <c:spPr>
              <a:solidFill>
                <a:srgbClr val="AEABAB"/>
              </a:solidFill>
            </c:spPr>
            <c:extLst>
              <c:ext xmlns:c16="http://schemas.microsoft.com/office/drawing/2014/chart" uri="{C3380CC4-5D6E-409C-BE32-E72D297353CC}">
                <c16:uniqueId val="{00000159-2993-41DE-A2CB-63102DE87051}"/>
              </c:ext>
            </c:extLst>
          </c:dPt>
          <c:dPt>
            <c:idx val="172"/>
            <c:invertIfNegative val="1"/>
            <c:bubble3D val="0"/>
            <c:spPr>
              <a:solidFill>
                <a:srgbClr val="AEABAB"/>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dPt>
            <c:idx val="210"/>
            <c:invertIfNegative val="1"/>
            <c:bubble3D val="0"/>
            <c:spPr>
              <a:solidFill>
                <a:srgbClr val="AEABAB"/>
              </a:solidFill>
            </c:spPr>
            <c:extLst>
              <c:ext xmlns:c16="http://schemas.microsoft.com/office/drawing/2014/chart" uri="{C3380CC4-5D6E-409C-BE32-E72D297353CC}">
                <c16:uniqueId val="{000001A7-7CC7-4E45-A597-ADCA0317F660}"/>
              </c:ext>
            </c:extLst>
          </c:dPt>
          <c:dPt>
            <c:idx val="211"/>
            <c:invertIfNegative val="1"/>
            <c:bubble3D val="0"/>
            <c:spPr>
              <a:solidFill>
                <a:srgbClr val="AEABAB"/>
              </a:solidFill>
            </c:spPr>
            <c:extLst>
              <c:ext xmlns:c16="http://schemas.microsoft.com/office/drawing/2014/chart" uri="{C3380CC4-5D6E-409C-BE32-E72D297353CC}">
                <c16:uniqueId val="{000001A9-7CC7-4E45-A597-ADCA0317F660}"/>
              </c:ext>
            </c:extLst>
          </c:dPt>
          <c:dPt>
            <c:idx val="212"/>
            <c:invertIfNegative val="1"/>
            <c:bubble3D val="0"/>
            <c:spPr>
              <a:solidFill>
                <a:srgbClr val="AEABAB"/>
              </a:solidFill>
            </c:spPr>
            <c:extLst>
              <c:ext xmlns:c16="http://schemas.microsoft.com/office/drawing/2014/chart" uri="{C3380CC4-5D6E-409C-BE32-E72D297353CC}">
                <c16:uniqueId val="{000001AB-7CC7-4E45-A597-ADCA0317F660}"/>
              </c:ext>
            </c:extLst>
          </c:dPt>
          <c:dPt>
            <c:idx val="213"/>
            <c:invertIfNegative val="1"/>
            <c:bubble3D val="0"/>
            <c:spPr>
              <a:solidFill>
                <a:srgbClr val="AEABAB"/>
              </a:solidFill>
            </c:spPr>
            <c:extLst>
              <c:ext xmlns:c16="http://schemas.microsoft.com/office/drawing/2014/chart" uri="{C3380CC4-5D6E-409C-BE32-E72D297353CC}">
                <c16:uniqueId val="{000001AD-7CC7-4E45-A597-ADCA0317F660}"/>
              </c:ext>
            </c:extLst>
          </c:dPt>
          <c:dPt>
            <c:idx val="214"/>
            <c:invertIfNegative val="1"/>
            <c:bubble3D val="0"/>
            <c:spPr>
              <a:solidFill>
                <a:srgbClr val="AEABAB"/>
              </a:solidFill>
            </c:spPr>
            <c:extLst>
              <c:ext xmlns:c16="http://schemas.microsoft.com/office/drawing/2014/chart" uri="{C3380CC4-5D6E-409C-BE32-E72D297353CC}">
                <c16:uniqueId val="{000001AF-7CC7-4E45-A597-ADCA0317F660}"/>
              </c:ext>
            </c:extLst>
          </c:dPt>
          <c:dPt>
            <c:idx val="215"/>
            <c:invertIfNegative val="1"/>
            <c:bubble3D val="0"/>
            <c:spPr>
              <a:solidFill>
                <a:srgbClr val="AEABAB"/>
              </a:solidFill>
            </c:spPr>
            <c:extLst>
              <c:ext xmlns:c16="http://schemas.microsoft.com/office/drawing/2014/chart" uri="{C3380CC4-5D6E-409C-BE32-E72D297353CC}">
                <c16:uniqueId val="{000001B1-7CC7-4E45-A597-ADCA0317F660}"/>
              </c:ext>
            </c:extLst>
          </c:dPt>
          <c:dPt>
            <c:idx val="216"/>
            <c:invertIfNegative val="1"/>
            <c:bubble3D val="0"/>
            <c:spPr>
              <a:solidFill>
                <a:srgbClr val="AEABAB"/>
              </a:solidFill>
            </c:spPr>
            <c:extLst>
              <c:ext xmlns:c16="http://schemas.microsoft.com/office/drawing/2014/chart" uri="{C3380CC4-5D6E-409C-BE32-E72D297353CC}">
                <c16:uniqueId val="{000001B3-7CC7-4E45-A597-ADCA0317F660}"/>
              </c:ext>
            </c:extLst>
          </c:dPt>
          <c:dPt>
            <c:idx val="217"/>
            <c:invertIfNegative val="1"/>
            <c:bubble3D val="0"/>
            <c:spPr>
              <a:solidFill>
                <a:srgbClr val="AEABAB"/>
              </a:solidFill>
            </c:spPr>
            <c:extLst>
              <c:ext xmlns:c16="http://schemas.microsoft.com/office/drawing/2014/chart" uri="{C3380CC4-5D6E-409C-BE32-E72D297353CC}">
                <c16:uniqueId val="{000001B5-7CC7-4E45-A597-ADCA0317F660}"/>
              </c:ext>
            </c:extLst>
          </c:dPt>
          <c:dPt>
            <c:idx val="218"/>
            <c:invertIfNegative val="1"/>
            <c:bubble3D val="0"/>
            <c:spPr>
              <a:solidFill>
                <a:srgbClr val="AEABAB"/>
              </a:solidFill>
            </c:spPr>
            <c:extLst>
              <c:ext xmlns:c16="http://schemas.microsoft.com/office/drawing/2014/chart" uri="{C3380CC4-5D6E-409C-BE32-E72D297353CC}">
                <c16:uniqueId val="{000001B7-7CC7-4E45-A597-ADCA0317F660}"/>
              </c:ext>
            </c:extLst>
          </c:dPt>
          <c:dPt>
            <c:idx val="219"/>
            <c:invertIfNegative val="1"/>
            <c:bubble3D val="0"/>
            <c:spPr>
              <a:solidFill>
                <a:srgbClr val="AEABAB"/>
              </a:solidFill>
            </c:spPr>
            <c:extLst>
              <c:ext xmlns:c16="http://schemas.microsoft.com/office/drawing/2014/chart" uri="{C3380CC4-5D6E-409C-BE32-E72D297353CC}">
                <c16:uniqueId val="{000001B9-7CC7-4E45-A597-ADCA0317F660}"/>
              </c:ext>
            </c:extLst>
          </c:dPt>
          <c:dPt>
            <c:idx val="220"/>
            <c:invertIfNegative val="1"/>
            <c:bubble3D val="0"/>
            <c:spPr>
              <a:solidFill>
                <a:srgbClr val="AEABAB"/>
              </a:solidFill>
            </c:spPr>
            <c:extLst>
              <c:ext xmlns:c16="http://schemas.microsoft.com/office/drawing/2014/chart" uri="{C3380CC4-5D6E-409C-BE32-E72D297353CC}">
                <c16:uniqueId val="{000001BB-7CC7-4E45-A597-ADCA0317F660}"/>
              </c:ext>
            </c:extLst>
          </c:dPt>
          <c:dPt>
            <c:idx val="221"/>
            <c:invertIfNegative val="1"/>
            <c:bubble3D val="0"/>
            <c:spPr>
              <a:solidFill>
                <a:srgbClr val="AEABAB"/>
              </a:solidFill>
            </c:spPr>
            <c:extLst>
              <c:ext xmlns:c16="http://schemas.microsoft.com/office/drawing/2014/chart" uri="{C3380CC4-5D6E-409C-BE32-E72D297353CC}">
                <c16:uniqueId val="{000001BD-7CC7-4E45-A597-ADCA0317F660}"/>
              </c:ext>
            </c:extLst>
          </c:dPt>
          <c:dPt>
            <c:idx val="222"/>
            <c:invertIfNegative val="1"/>
            <c:bubble3D val="0"/>
            <c:spPr>
              <a:solidFill>
                <a:srgbClr val="AEABAB"/>
              </a:solidFill>
            </c:spPr>
            <c:extLst>
              <c:ext xmlns:c16="http://schemas.microsoft.com/office/drawing/2014/chart" uri="{C3380CC4-5D6E-409C-BE32-E72D297353CC}">
                <c16:uniqueId val="{000001BF-7CC7-4E45-A597-ADCA0317F660}"/>
              </c:ext>
            </c:extLst>
          </c:dPt>
          <c:dPt>
            <c:idx val="223"/>
            <c:invertIfNegative val="1"/>
            <c:bubble3D val="0"/>
            <c:spPr>
              <a:solidFill>
                <a:srgbClr val="AEABAB"/>
              </a:solidFill>
            </c:spPr>
            <c:extLst>
              <c:ext xmlns:c16="http://schemas.microsoft.com/office/drawing/2014/chart" uri="{C3380CC4-5D6E-409C-BE32-E72D297353CC}">
                <c16:uniqueId val="{000001C1-7CC7-4E45-A597-ADCA0317F660}"/>
              </c:ext>
            </c:extLst>
          </c:dPt>
          <c:dPt>
            <c:idx val="224"/>
            <c:invertIfNegative val="1"/>
            <c:bubble3D val="0"/>
            <c:spPr>
              <a:solidFill>
                <a:srgbClr val="AEABAB"/>
              </a:solidFill>
            </c:spPr>
            <c:extLst>
              <c:ext xmlns:c16="http://schemas.microsoft.com/office/drawing/2014/chart" uri="{C3380CC4-5D6E-409C-BE32-E72D297353CC}">
                <c16:uniqueId val="{000001C3-7CC7-4E45-A597-ADCA0317F660}"/>
              </c:ext>
            </c:extLst>
          </c:dPt>
          <c:dPt>
            <c:idx val="225"/>
            <c:invertIfNegative val="1"/>
            <c:bubble3D val="0"/>
            <c:spPr>
              <a:solidFill>
                <a:srgbClr val="AEABAB"/>
              </a:solidFill>
            </c:spPr>
            <c:extLst>
              <c:ext xmlns:c16="http://schemas.microsoft.com/office/drawing/2014/chart" uri="{C3380CC4-5D6E-409C-BE32-E72D297353CC}">
                <c16:uniqueId val="{000001C5-7CC7-4E45-A597-ADCA0317F660}"/>
              </c:ext>
            </c:extLst>
          </c:dPt>
          <c:dPt>
            <c:idx val="226"/>
            <c:invertIfNegative val="1"/>
            <c:bubble3D val="0"/>
            <c:spPr>
              <a:solidFill>
                <a:srgbClr val="AEABAB"/>
              </a:solidFill>
            </c:spPr>
            <c:extLst>
              <c:ext xmlns:c16="http://schemas.microsoft.com/office/drawing/2014/chart" uri="{C3380CC4-5D6E-409C-BE32-E72D297353CC}">
                <c16:uniqueId val="{000001C7-7CC7-4E45-A597-ADCA0317F660}"/>
              </c:ext>
            </c:extLst>
          </c:dPt>
          <c:dPt>
            <c:idx val="227"/>
            <c:invertIfNegative val="1"/>
            <c:bubble3D val="0"/>
            <c:spPr>
              <a:solidFill>
                <a:srgbClr val="AEABAB"/>
              </a:solidFill>
            </c:spPr>
            <c:extLst>
              <c:ext xmlns:c16="http://schemas.microsoft.com/office/drawing/2014/chart" uri="{C3380CC4-5D6E-409C-BE32-E72D297353CC}">
                <c16:uniqueId val="{000001C9-7CC7-4E45-A597-ADCA0317F660}"/>
              </c:ext>
            </c:extLst>
          </c:dPt>
          <c:dPt>
            <c:idx val="228"/>
            <c:invertIfNegative val="1"/>
            <c:bubble3D val="0"/>
            <c:spPr>
              <a:solidFill>
                <a:srgbClr val="AEABAB"/>
              </a:solidFill>
            </c:spPr>
            <c:extLst>
              <c:ext xmlns:c16="http://schemas.microsoft.com/office/drawing/2014/chart" uri="{C3380CC4-5D6E-409C-BE32-E72D297353CC}">
                <c16:uniqueId val="{000001CB-7CC7-4E45-A597-ADCA0317F660}"/>
              </c:ext>
            </c:extLst>
          </c:dPt>
          <c:dPt>
            <c:idx val="229"/>
            <c:invertIfNegative val="1"/>
            <c:bubble3D val="0"/>
            <c:spPr>
              <a:solidFill>
                <a:srgbClr val="AEABAB"/>
              </a:solidFill>
            </c:spPr>
            <c:extLst>
              <c:ext xmlns:c16="http://schemas.microsoft.com/office/drawing/2014/chart" uri="{C3380CC4-5D6E-409C-BE32-E72D297353CC}">
                <c16:uniqueId val="{000001CD-7CC7-4E45-A597-ADCA0317F660}"/>
              </c:ext>
            </c:extLst>
          </c:dPt>
          <c:dPt>
            <c:idx val="230"/>
            <c:invertIfNegative val="1"/>
            <c:bubble3D val="0"/>
            <c:spPr>
              <a:solidFill>
                <a:srgbClr val="AEABAB"/>
              </a:solidFill>
            </c:spPr>
            <c:extLst>
              <c:ext xmlns:c16="http://schemas.microsoft.com/office/drawing/2014/chart" uri="{C3380CC4-5D6E-409C-BE32-E72D297353CC}">
                <c16:uniqueId val="{000001CF-7CC7-4E45-A597-ADCA0317F660}"/>
              </c:ext>
            </c:extLst>
          </c:dPt>
          <c:dPt>
            <c:idx val="231"/>
            <c:invertIfNegative val="1"/>
            <c:bubble3D val="0"/>
            <c:spPr>
              <a:solidFill>
                <a:srgbClr val="AEABAB"/>
              </a:solidFill>
            </c:spPr>
            <c:extLst>
              <c:ext xmlns:c16="http://schemas.microsoft.com/office/drawing/2014/chart" uri="{C3380CC4-5D6E-409C-BE32-E72D297353CC}">
                <c16:uniqueId val="{000001D1-7CC7-4E45-A597-ADCA0317F660}"/>
              </c:ext>
            </c:extLst>
          </c:dPt>
          <c:dPt>
            <c:idx val="232"/>
            <c:invertIfNegative val="1"/>
            <c:bubble3D val="0"/>
            <c:spPr>
              <a:solidFill>
                <a:srgbClr val="AEABAB"/>
              </a:solidFill>
            </c:spPr>
            <c:extLst>
              <c:ext xmlns:c16="http://schemas.microsoft.com/office/drawing/2014/chart" uri="{C3380CC4-5D6E-409C-BE32-E72D297353CC}">
                <c16:uniqueId val="{000001D3-7CC7-4E45-A597-ADCA0317F660}"/>
              </c:ext>
            </c:extLst>
          </c:dPt>
          <c:dPt>
            <c:idx val="233"/>
            <c:invertIfNegative val="1"/>
            <c:bubble3D val="0"/>
            <c:spPr>
              <a:solidFill>
                <a:srgbClr val="AEABAB"/>
              </a:solidFill>
            </c:spPr>
            <c:extLst>
              <c:ext xmlns:c16="http://schemas.microsoft.com/office/drawing/2014/chart" uri="{C3380CC4-5D6E-409C-BE32-E72D297353CC}">
                <c16:uniqueId val="{000001D5-7CC7-4E45-A597-ADCA0317F660}"/>
              </c:ext>
            </c:extLst>
          </c:dPt>
          <c:dPt>
            <c:idx val="234"/>
            <c:invertIfNegative val="1"/>
            <c:bubble3D val="0"/>
            <c:spPr>
              <a:solidFill>
                <a:srgbClr val="AEABAB"/>
              </a:solidFill>
            </c:spPr>
            <c:extLst>
              <c:ext xmlns:c16="http://schemas.microsoft.com/office/drawing/2014/chart" uri="{C3380CC4-5D6E-409C-BE32-E72D297353CC}">
                <c16:uniqueId val="{000001D7-7CC7-4E45-A597-ADCA0317F660}"/>
              </c:ext>
            </c:extLst>
          </c:dPt>
          <c:dPt>
            <c:idx val="235"/>
            <c:invertIfNegative val="1"/>
            <c:bubble3D val="0"/>
            <c:spPr>
              <a:solidFill>
                <a:srgbClr val="AEABAB"/>
              </a:solidFill>
            </c:spPr>
            <c:extLst>
              <c:ext xmlns:c16="http://schemas.microsoft.com/office/drawing/2014/chart" uri="{C3380CC4-5D6E-409C-BE32-E72D297353CC}">
                <c16:uniqueId val="{000001D9-7CC7-4E45-A597-ADCA0317F660}"/>
              </c:ext>
            </c:extLst>
          </c:dPt>
          <c:dPt>
            <c:idx val="236"/>
            <c:invertIfNegative val="1"/>
            <c:bubble3D val="0"/>
            <c:spPr>
              <a:solidFill>
                <a:srgbClr val="AEABAB"/>
              </a:solidFill>
            </c:spPr>
            <c:extLst>
              <c:ext xmlns:c16="http://schemas.microsoft.com/office/drawing/2014/chart" uri="{C3380CC4-5D6E-409C-BE32-E72D297353CC}">
                <c16:uniqueId val="{000001DB-7CC7-4E45-A597-ADCA0317F660}"/>
              </c:ext>
            </c:extLst>
          </c:dPt>
          <c:dPt>
            <c:idx val="237"/>
            <c:invertIfNegative val="1"/>
            <c:bubble3D val="0"/>
            <c:spPr>
              <a:solidFill>
                <a:srgbClr val="AEABAB"/>
              </a:solidFill>
            </c:spPr>
            <c:extLst>
              <c:ext xmlns:c16="http://schemas.microsoft.com/office/drawing/2014/chart" uri="{C3380CC4-5D6E-409C-BE32-E72D297353CC}">
                <c16:uniqueId val="{000001DD-7CC7-4E45-A597-ADCA0317F660}"/>
              </c:ext>
            </c:extLst>
          </c:dPt>
          <c:dPt>
            <c:idx val="238"/>
            <c:invertIfNegative val="1"/>
            <c:bubble3D val="0"/>
            <c:spPr>
              <a:solidFill>
                <a:srgbClr val="AEABAB"/>
              </a:solidFill>
            </c:spPr>
            <c:extLst>
              <c:ext xmlns:c16="http://schemas.microsoft.com/office/drawing/2014/chart" uri="{C3380CC4-5D6E-409C-BE32-E72D297353CC}">
                <c16:uniqueId val="{000001DF-7CC7-4E45-A597-ADCA0317F660}"/>
              </c:ext>
            </c:extLst>
          </c:dPt>
          <c:dPt>
            <c:idx val="239"/>
            <c:invertIfNegative val="1"/>
            <c:bubble3D val="0"/>
            <c:spPr>
              <a:solidFill>
                <a:srgbClr val="AEABAB"/>
              </a:solidFill>
            </c:spPr>
            <c:extLst>
              <c:ext xmlns:c16="http://schemas.microsoft.com/office/drawing/2014/chart" uri="{C3380CC4-5D6E-409C-BE32-E72D297353CC}">
                <c16:uniqueId val="{000001E1-7CC7-4E45-A597-ADCA0317F660}"/>
              </c:ext>
            </c:extLst>
          </c:dPt>
          <c:dPt>
            <c:idx val="240"/>
            <c:invertIfNegative val="1"/>
            <c:bubble3D val="0"/>
            <c:spPr>
              <a:solidFill>
                <a:srgbClr val="AEABAB"/>
              </a:solidFill>
            </c:spPr>
            <c:extLst>
              <c:ext xmlns:c16="http://schemas.microsoft.com/office/drawing/2014/chart" uri="{C3380CC4-5D6E-409C-BE32-E72D297353CC}">
                <c16:uniqueId val="{000001E3-7CC7-4E45-A597-ADCA0317F660}"/>
              </c:ext>
            </c:extLst>
          </c:dPt>
          <c:dPt>
            <c:idx val="241"/>
            <c:invertIfNegative val="1"/>
            <c:bubble3D val="0"/>
            <c:spPr>
              <a:solidFill>
                <a:srgbClr val="AEABAB"/>
              </a:solidFill>
            </c:spPr>
            <c:extLst>
              <c:ext xmlns:c16="http://schemas.microsoft.com/office/drawing/2014/chart" uri="{C3380CC4-5D6E-409C-BE32-E72D297353CC}">
                <c16:uniqueId val="{000001E5-7CC7-4E45-A597-ADCA0317F660}"/>
              </c:ext>
            </c:extLst>
          </c:dPt>
          <c:dPt>
            <c:idx val="242"/>
            <c:invertIfNegative val="1"/>
            <c:bubble3D val="0"/>
            <c:spPr>
              <a:solidFill>
                <a:srgbClr val="AEABAB"/>
              </a:solidFill>
            </c:spPr>
            <c:extLst>
              <c:ext xmlns:c16="http://schemas.microsoft.com/office/drawing/2014/chart" uri="{C3380CC4-5D6E-409C-BE32-E72D297353CC}">
                <c16:uniqueId val="{000001E7-7CC7-4E45-A597-ADCA0317F660}"/>
              </c:ext>
            </c:extLst>
          </c:dPt>
          <c:dPt>
            <c:idx val="243"/>
            <c:invertIfNegative val="1"/>
            <c:bubble3D val="0"/>
            <c:spPr>
              <a:solidFill>
                <a:srgbClr val="AEABAB"/>
              </a:solidFill>
            </c:spPr>
            <c:extLst>
              <c:ext xmlns:c16="http://schemas.microsoft.com/office/drawing/2014/chart" uri="{C3380CC4-5D6E-409C-BE32-E72D297353CC}">
                <c16:uniqueId val="{000001E9-7CC7-4E45-A597-ADCA0317F660}"/>
              </c:ext>
            </c:extLst>
          </c:dPt>
          <c:dPt>
            <c:idx val="244"/>
            <c:invertIfNegative val="1"/>
            <c:bubble3D val="0"/>
            <c:spPr>
              <a:solidFill>
                <a:srgbClr val="AEABAB"/>
              </a:solidFill>
            </c:spPr>
            <c:extLst>
              <c:ext xmlns:c16="http://schemas.microsoft.com/office/drawing/2014/chart" uri="{C3380CC4-5D6E-409C-BE32-E72D297353CC}">
                <c16:uniqueId val="{000001EB-7CC7-4E45-A597-ADCA0317F660}"/>
              </c:ext>
            </c:extLst>
          </c:dPt>
          <c:dPt>
            <c:idx val="245"/>
            <c:invertIfNegative val="1"/>
            <c:bubble3D val="0"/>
            <c:spPr>
              <a:solidFill>
                <a:srgbClr val="AEABAB"/>
              </a:solidFill>
            </c:spPr>
            <c:extLst>
              <c:ext xmlns:c16="http://schemas.microsoft.com/office/drawing/2014/chart" uri="{C3380CC4-5D6E-409C-BE32-E72D297353CC}">
                <c16:uniqueId val="{000001ED-7CC7-4E45-A597-ADCA0317F660}"/>
              </c:ext>
            </c:extLst>
          </c:dPt>
          <c:dPt>
            <c:idx val="246"/>
            <c:invertIfNegative val="1"/>
            <c:bubble3D val="0"/>
            <c:spPr>
              <a:solidFill>
                <a:srgbClr val="AEABAB"/>
              </a:solidFill>
            </c:spPr>
            <c:extLst>
              <c:ext xmlns:c16="http://schemas.microsoft.com/office/drawing/2014/chart" uri="{C3380CC4-5D6E-409C-BE32-E72D297353CC}">
                <c16:uniqueId val="{000001EF-7CC7-4E45-A597-ADCA0317F660}"/>
              </c:ext>
            </c:extLst>
          </c:dPt>
          <c:dPt>
            <c:idx val="247"/>
            <c:invertIfNegative val="1"/>
            <c:bubble3D val="0"/>
            <c:spPr>
              <a:solidFill>
                <a:srgbClr val="AEABAB"/>
              </a:solidFill>
            </c:spPr>
            <c:extLst>
              <c:ext xmlns:c16="http://schemas.microsoft.com/office/drawing/2014/chart" uri="{C3380CC4-5D6E-409C-BE32-E72D297353CC}">
                <c16:uniqueId val="{000001F1-7CC7-4E45-A597-ADCA0317F660}"/>
              </c:ext>
            </c:extLst>
          </c:dPt>
          <c:dPt>
            <c:idx val="248"/>
            <c:invertIfNegative val="1"/>
            <c:bubble3D val="0"/>
            <c:spPr>
              <a:solidFill>
                <a:srgbClr val="AEABAB"/>
              </a:solidFill>
            </c:spPr>
            <c:extLst>
              <c:ext xmlns:c16="http://schemas.microsoft.com/office/drawing/2014/chart" uri="{C3380CC4-5D6E-409C-BE32-E72D297353CC}">
                <c16:uniqueId val="{000001F3-7CC7-4E45-A597-ADCA0317F660}"/>
              </c:ext>
            </c:extLst>
          </c:dPt>
          <c:dPt>
            <c:idx val="249"/>
            <c:invertIfNegative val="1"/>
            <c:bubble3D val="0"/>
            <c:spPr>
              <a:solidFill>
                <a:srgbClr val="AEABAB"/>
              </a:solidFill>
            </c:spPr>
            <c:extLst>
              <c:ext xmlns:c16="http://schemas.microsoft.com/office/drawing/2014/chart" uri="{C3380CC4-5D6E-409C-BE32-E72D297353CC}">
                <c16:uniqueId val="{000001F5-7CC7-4E45-A597-ADCA0317F660}"/>
              </c:ext>
            </c:extLst>
          </c:dPt>
          <c:dPt>
            <c:idx val="250"/>
            <c:invertIfNegative val="1"/>
            <c:bubble3D val="0"/>
            <c:spPr>
              <a:solidFill>
                <a:srgbClr val="AEABAB"/>
              </a:solidFill>
            </c:spPr>
            <c:extLst>
              <c:ext xmlns:c16="http://schemas.microsoft.com/office/drawing/2014/chart" uri="{C3380CC4-5D6E-409C-BE32-E72D297353CC}">
                <c16:uniqueId val="{000001F7-7CC7-4E45-A597-ADCA0317F660}"/>
              </c:ext>
            </c:extLst>
          </c:dPt>
          <c:dPt>
            <c:idx val="251"/>
            <c:invertIfNegative val="1"/>
            <c:bubble3D val="0"/>
            <c:spPr>
              <a:solidFill>
                <a:srgbClr val="AEABAB"/>
              </a:solidFill>
            </c:spPr>
            <c:extLst>
              <c:ext xmlns:c16="http://schemas.microsoft.com/office/drawing/2014/chart" uri="{C3380CC4-5D6E-409C-BE32-E72D297353CC}">
                <c16:uniqueId val="{000001F9-7CC7-4E45-A597-ADCA0317F660}"/>
              </c:ext>
            </c:extLst>
          </c:dPt>
          <c:dPt>
            <c:idx val="252"/>
            <c:invertIfNegative val="1"/>
            <c:bubble3D val="0"/>
            <c:spPr>
              <a:solidFill>
                <a:srgbClr val="AEABAB"/>
              </a:solidFill>
            </c:spPr>
            <c:extLst>
              <c:ext xmlns:c16="http://schemas.microsoft.com/office/drawing/2014/chart" uri="{C3380CC4-5D6E-409C-BE32-E72D297353CC}">
                <c16:uniqueId val="{000001FB-7CC7-4E45-A597-ADCA0317F660}"/>
              </c:ext>
            </c:extLst>
          </c:dPt>
          <c:dPt>
            <c:idx val="253"/>
            <c:invertIfNegative val="1"/>
            <c:bubble3D val="0"/>
            <c:spPr>
              <a:solidFill>
                <a:srgbClr val="AEABAB"/>
              </a:solidFill>
            </c:spPr>
            <c:extLst>
              <c:ext xmlns:c16="http://schemas.microsoft.com/office/drawing/2014/chart" uri="{C3380CC4-5D6E-409C-BE32-E72D297353CC}">
                <c16:uniqueId val="{000001FD-7CC7-4E45-A597-ADCA0317F660}"/>
              </c:ext>
            </c:extLst>
          </c:dPt>
          <c:dPt>
            <c:idx val="254"/>
            <c:invertIfNegative val="1"/>
            <c:bubble3D val="0"/>
            <c:spPr>
              <a:solidFill>
                <a:srgbClr val="AEABAB"/>
              </a:solidFill>
            </c:spPr>
            <c:extLst>
              <c:ext xmlns:c16="http://schemas.microsoft.com/office/drawing/2014/chart" uri="{C3380CC4-5D6E-409C-BE32-E72D297353CC}">
                <c16:uniqueId val="{000001FF-7CC7-4E45-A597-ADCA0317F660}"/>
              </c:ext>
            </c:extLst>
          </c:dPt>
          <c:dPt>
            <c:idx val="255"/>
            <c:invertIfNegative val="1"/>
            <c:bubble3D val="0"/>
            <c:spPr>
              <a:solidFill>
                <a:srgbClr val="AEABAB"/>
              </a:solidFill>
            </c:spPr>
            <c:extLst>
              <c:ext xmlns:c16="http://schemas.microsoft.com/office/drawing/2014/chart" uri="{C3380CC4-5D6E-409C-BE32-E72D297353CC}">
                <c16:uniqueId val="{00000201-7CC7-4E45-A597-ADCA0317F660}"/>
              </c:ext>
            </c:extLst>
          </c:dPt>
          <c:dPt>
            <c:idx val="256"/>
            <c:invertIfNegative val="1"/>
            <c:bubble3D val="0"/>
            <c:spPr>
              <a:solidFill>
                <a:srgbClr val="AEABAB"/>
              </a:solidFill>
            </c:spPr>
            <c:extLst>
              <c:ext xmlns:c16="http://schemas.microsoft.com/office/drawing/2014/chart" uri="{C3380CC4-5D6E-409C-BE32-E72D297353CC}">
                <c16:uniqueId val="{00000203-7CC7-4E45-A597-ADCA0317F660}"/>
              </c:ext>
            </c:extLst>
          </c:dPt>
          <c:dPt>
            <c:idx val="257"/>
            <c:invertIfNegative val="1"/>
            <c:bubble3D val="0"/>
            <c:spPr>
              <a:solidFill>
                <a:srgbClr val="AEABAB"/>
              </a:solidFill>
            </c:spPr>
            <c:extLst>
              <c:ext xmlns:c16="http://schemas.microsoft.com/office/drawing/2014/chart" uri="{C3380CC4-5D6E-409C-BE32-E72D297353CC}">
                <c16:uniqueId val="{00000205-7CC7-4E45-A597-ADCA0317F660}"/>
              </c:ext>
            </c:extLst>
          </c:dPt>
          <c:dPt>
            <c:idx val="258"/>
            <c:invertIfNegative val="1"/>
            <c:bubble3D val="0"/>
            <c:spPr>
              <a:solidFill>
                <a:srgbClr val="AEABAB"/>
              </a:solidFill>
            </c:spPr>
            <c:extLst>
              <c:ext xmlns:c16="http://schemas.microsoft.com/office/drawing/2014/chart" uri="{C3380CC4-5D6E-409C-BE32-E72D297353CC}">
                <c16:uniqueId val="{00000207-7CC7-4E45-A597-ADCA0317F660}"/>
              </c:ext>
            </c:extLst>
          </c:dPt>
          <c:dPt>
            <c:idx val="259"/>
            <c:invertIfNegative val="1"/>
            <c:bubble3D val="0"/>
            <c:spPr>
              <a:solidFill>
                <a:srgbClr val="AEABAB"/>
              </a:solidFill>
            </c:spPr>
            <c:extLst>
              <c:ext xmlns:c16="http://schemas.microsoft.com/office/drawing/2014/chart" uri="{C3380CC4-5D6E-409C-BE32-E72D297353CC}">
                <c16:uniqueId val="{00000209-7CC7-4E45-A597-ADCA0317F660}"/>
              </c:ext>
            </c:extLst>
          </c:dPt>
          <c:dPt>
            <c:idx val="260"/>
            <c:invertIfNegative val="1"/>
            <c:bubble3D val="0"/>
            <c:spPr>
              <a:solidFill>
                <a:srgbClr val="AEABAB"/>
              </a:solidFill>
            </c:spPr>
            <c:extLst>
              <c:ext xmlns:c16="http://schemas.microsoft.com/office/drawing/2014/chart" uri="{C3380CC4-5D6E-409C-BE32-E72D297353CC}">
                <c16:uniqueId val="{0000020B-7CC7-4E45-A597-ADCA0317F660}"/>
              </c:ext>
            </c:extLst>
          </c:dPt>
          <c:dPt>
            <c:idx val="261"/>
            <c:invertIfNegative val="1"/>
            <c:bubble3D val="0"/>
            <c:spPr>
              <a:solidFill>
                <a:srgbClr val="AEABAB"/>
              </a:solidFill>
            </c:spPr>
            <c:extLst>
              <c:ext xmlns:c16="http://schemas.microsoft.com/office/drawing/2014/chart" uri="{C3380CC4-5D6E-409C-BE32-E72D297353CC}">
                <c16:uniqueId val="{0000020D-7CC7-4E45-A597-ADCA0317F660}"/>
              </c:ext>
            </c:extLst>
          </c:dPt>
          <c:dPt>
            <c:idx val="262"/>
            <c:invertIfNegative val="1"/>
            <c:bubble3D val="0"/>
            <c:spPr>
              <a:solidFill>
                <a:srgbClr val="AEABAB"/>
              </a:solidFill>
            </c:spPr>
            <c:extLst>
              <c:ext xmlns:c16="http://schemas.microsoft.com/office/drawing/2014/chart" uri="{C3380CC4-5D6E-409C-BE32-E72D297353CC}">
                <c16:uniqueId val="{0000020F-7CC7-4E45-A597-ADCA0317F660}"/>
              </c:ext>
            </c:extLst>
          </c:dPt>
          <c:dPt>
            <c:idx val="263"/>
            <c:invertIfNegative val="1"/>
            <c:bubble3D val="0"/>
            <c:spPr>
              <a:solidFill>
                <a:srgbClr val="AEABAB"/>
              </a:solidFill>
            </c:spPr>
            <c:extLst>
              <c:ext xmlns:c16="http://schemas.microsoft.com/office/drawing/2014/chart" uri="{C3380CC4-5D6E-409C-BE32-E72D297353CC}">
                <c16:uniqueId val="{00000211-7CC7-4E45-A597-ADCA0317F660}"/>
              </c:ext>
            </c:extLst>
          </c:dPt>
          <c:dPt>
            <c:idx val="264"/>
            <c:invertIfNegative val="1"/>
            <c:bubble3D val="0"/>
            <c:spPr>
              <a:solidFill>
                <a:srgbClr val="AEABAB"/>
              </a:solidFill>
            </c:spPr>
            <c:extLst>
              <c:ext xmlns:c16="http://schemas.microsoft.com/office/drawing/2014/chart" uri="{C3380CC4-5D6E-409C-BE32-E72D297353CC}">
                <c16:uniqueId val="{00000213-7CC7-4E45-A597-ADCA0317F660}"/>
              </c:ext>
            </c:extLst>
          </c:dPt>
          <c:dPt>
            <c:idx val="265"/>
            <c:invertIfNegative val="1"/>
            <c:bubble3D val="0"/>
            <c:spPr>
              <a:solidFill>
                <a:srgbClr val="AEABAB"/>
              </a:solidFill>
            </c:spPr>
            <c:extLst>
              <c:ext xmlns:c16="http://schemas.microsoft.com/office/drawing/2014/chart" uri="{C3380CC4-5D6E-409C-BE32-E72D297353CC}">
                <c16:uniqueId val="{00000215-7CC7-4E45-A597-ADCA0317F660}"/>
              </c:ext>
            </c:extLst>
          </c:dPt>
          <c:dPt>
            <c:idx val="266"/>
            <c:invertIfNegative val="1"/>
            <c:bubble3D val="0"/>
            <c:spPr>
              <a:solidFill>
                <a:srgbClr val="AEABAB"/>
              </a:solidFill>
            </c:spPr>
            <c:extLst>
              <c:ext xmlns:c16="http://schemas.microsoft.com/office/drawing/2014/chart" uri="{C3380CC4-5D6E-409C-BE32-E72D297353CC}">
                <c16:uniqueId val="{00000217-7CC7-4E45-A597-ADCA0317F660}"/>
              </c:ext>
            </c:extLst>
          </c:dPt>
          <c:dPt>
            <c:idx val="267"/>
            <c:invertIfNegative val="1"/>
            <c:bubble3D val="0"/>
            <c:spPr>
              <a:solidFill>
                <a:srgbClr val="AEABAB"/>
              </a:solidFill>
            </c:spPr>
            <c:extLst>
              <c:ext xmlns:c16="http://schemas.microsoft.com/office/drawing/2014/chart" uri="{C3380CC4-5D6E-409C-BE32-E72D297353CC}">
                <c16:uniqueId val="{00000219-7CC7-4E45-A597-ADCA0317F660}"/>
              </c:ext>
            </c:extLst>
          </c:dPt>
          <c:dPt>
            <c:idx val="268"/>
            <c:invertIfNegative val="1"/>
            <c:bubble3D val="0"/>
            <c:spPr>
              <a:solidFill>
                <a:srgbClr val="AEABAB"/>
              </a:solidFill>
            </c:spPr>
            <c:extLst>
              <c:ext xmlns:c16="http://schemas.microsoft.com/office/drawing/2014/chart" uri="{C3380CC4-5D6E-409C-BE32-E72D297353CC}">
                <c16:uniqueId val="{0000021B-7CC7-4E45-A597-ADCA0317F660}"/>
              </c:ext>
            </c:extLst>
          </c:dPt>
          <c:dPt>
            <c:idx val="269"/>
            <c:invertIfNegative val="1"/>
            <c:bubble3D val="0"/>
            <c:spPr>
              <a:solidFill>
                <a:srgbClr val="AEABAB"/>
              </a:solidFill>
            </c:spPr>
            <c:extLst>
              <c:ext xmlns:c16="http://schemas.microsoft.com/office/drawing/2014/chart" uri="{C3380CC4-5D6E-409C-BE32-E72D297353CC}">
                <c16:uniqueId val="{0000021D-7CC7-4E45-A597-ADCA0317F660}"/>
              </c:ext>
            </c:extLst>
          </c:dPt>
          <c:dPt>
            <c:idx val="270"/>
            <c:invertIfNegative val="1"/>
            <c:bubble3D val="0"/>
            <c:spPr>
              <a:solidFill>
                <a:srgbClr val="AEABAB"/>
              </a:solidFill>
            </c:spPr>
            <c:extLst>
              <c:ext xmlns:c16="http://schemas.microsoft.com/office/drawing/2014/chart" uri="{C3380CC4-5D6E-409C-BE32-E72D297353CC}">
                <c16:uniqueId val="{0000021F-7CC7-4E45-A597-ADCA0317F660}"/>
              </c:ext>
            </c:extLst>
          </c:dPt>
          <c:dPt>
            <c:idx val="271"/>
            <c:invertIfNegative val="1"/>
            <c:bubble3D val="0"/>
            <c:spPr>
              <a:solidFill>
                <a:srgbClr val="AEABAB"/>
              </a:solidFill>
            </c:spPr>
            <c:extLst>
              <c:ext xmlns:c16="http://schemas.microsoft.com/office/drawing/2014/chart" uri="{C3380CC4-5D6E-409C-BE32-E72D297353CC}">
                <c16:uniqueId val="{00000221-7CC7-4E45-A597-ADCA0317F660}"/>
              </c:ext>
            </c:extLst>
          </c:dPt>
          <c:dPt>
            <c:idx val="272"/>
            <c:invertIfNegative val="1"/>
            <c:bubble3D val="0"/>
            <c:spPr>
              <a:solidFill>
                <a:srgbClr val="AEABAB"/>
              </a:solidFill>
            </c:spPr>
            <c:extLst>
              <c:ext xmlns:c16="http://schemas.microsoft.com/office/drawing/2014/chart" uri="{C3380CC4-5D6E-409C-BE32-E72D297353CC}">
                <c16:uniqueId val="{00000223-7CC7-4E45-A597-ADCA0317F660}"/>
              </c:ext>
            </c:extLst>
          </c:dPt>
          <c:dPt>
            <c:idx val="273"/>
            <c:invertIfNegative val="1"/>
            <c:bubble3D val="0"/>
            <c:spPr>
              <a:solidFill>
                <a:srgbClr val="AEABAB"/>
              </a:solidFill>
            </c:spPr>
            <c:extLst>
              <c:ext xmlns:c16="http://schemas.microsoft.com/office/drawing/2014/chart" uri="{C3380CC4-5D6E-409C-BE32-E72D297353CC}">
                <c16:uniqueId val="{00000225-7CC7-4E45-A597-ADCA0317F660}"/>
              </c:ext>
            </c:extLst>
          </c:dPt>
          <c:dPt>
            <c:idx val="274"/>
            <c:invertIfNegative val="1"/>
            <c:bubble3D val="0"/>
            <c:spPr>
              <a:solidFill>
                <a:srgbClr val="AEABAB"/>
              </a:solidFill>
            </c:spPr>
            <c:extLst>
              <c:ext xmlns:c16="http://schemas.microsoft.com/office/drawing/2014/chart" uri="{C3380CC4-5D6E-409C-BE32-E72D297353CC}">
                <c16:uniqueId val="{00000227-7CC7-4E45-A597-ADCA0317F660}"/>
              </c:ext>
            </c:extLst>
          </c:dPt>
          <c:dPt>
            <c:idx val="275"/>
            <c:invertIfNegative val="1"/>
            <c:bubble3D val="0"/>
            <c:spPr>
              <a:solidFill>
                <a:srgbClr val="AEABAB"/>
              </a:solidFill>
            </c:spPr>
            <c:extLst>
              <c:ext xmlns:c16="http://schemas.microsoft.com/office/drawing/2014/chart" uri="{C3380CC4-5D6E-409C-BE32-E72D297353CC}">
                <c16:uniqueId val="{00000229-7CC7-4E45-A597-ADCA0317F660}"/>
              </c:ext>
            </c:extLst>
          </c:dPt>
          <c:dPt>
            <c:idx val="276"/>
            <c:invertIfNegative val="1"/>
            <c:bubble3D val="0"/>
            <c:spPr>
              <a:solidFill>
                <a:srgbClr val="AEABAB"/>
              </a:solidFill>
            </c:spPr>
            <c:extLst>
              <c:ext xmlns:c16="http://schemas.microsoft.com/office/drawing/2014/chart" uri="{C3380CC4-5D6E-409C-BE32-E72D297353CC}">
                <c16:uniqueId val="{0000022B-7CC7-4E45-A597-ADCA0317F660}"/>
              </c:ext>
            </c:extLst>
          </c:dPt>
          <c:dPt>
            <c:idx val="277"/>
            <c:invertIfNegative val="1"/>
            <c:bubble3D val="0"/>
            <c:spPr>
              <a:solidFill>
                <a:srgbClr val="AEABAB"/>
              </a:solidFill>
            </c:spPr>
            <c:extLst>
              <c:ext xmlns:c16="http://schemas.microsoft.com/office/drawing/2014/chart" uri="{C3380CC4-5D6E-409C-BE32-E72D297353CC}">
                <c16:uniqueId val="{0000022D-7CC7-4E45-A597-ADCA0317F660}"/>
              </c:ext>
            </c:extLst>
          </c:dPt>
          <c:dPt>
            <c:idx val="278"/>
            <c:invertIfNegative val="1"/>
            <c:bubble3D val="0"/>
            <c:spPr>
              <a:solidFill>
                <a:srgbClr val="AEABAB"/>
              </a:solidFill>
            </c:spPr>
            <c:extLst>
              <c:ext xmlns:c16="http://schemas.microsoft.com/office/drawing/2014/chart" uri="{C3380CC4-5D6E-409C-BE32-E72D297353CC}">
                <c16:uniqueId val="{0000022F-7CC7-4E45-A597-ADCA0317F660}"/>
              </c:ext>
            </c:extLst>
          </c:dPt>
          <c:dPt>
            <c:idx val="279"/>
            <c:invertIfNegative val="1"/>
            <c:bubble3D val="0"/>
            <c:spPr>
              <a:solidFill>
                <a:srgbClr val="AEABAB"/>
              </a:solidFill>
            </c:spPr>
            <c:extLst>
              <c:ext xmlns:c16="http://schemas.microsoft.com/office/drawing/2014/chart" uri="{C3380CC4-5D6E-409C-BE32-E72D297353CC}">
                <c16:uniqueId val="{00000231-7CC7-4E45-A597-ADCA0317F660}"/>
              </c:ext>
            </c:extLst>
          </c:dPt>
          <c:dPt>
            <c:idx val="280"/>
            <c:invertIfNegative val="1"/>
            <c:bubble3D val="0"/>
            <c:spPr>
              <a:solidFill>
                <a:srgbClr val="AEABAB"/>
              </a:solidFill>
            </c:spPr>
            <c:extLst>
              <c:ext xmlns:c16="http://schemas.microsoft.com/office/drawing/2014/chart" uri="{C3380CC4-5D6E-409C-BE32-E72D297353CC}">
                <c16:uniqueId val="{00000233-7CC7-4E45-A597-ADCA0317F660}"/>
              </c:ext>
            </c:extLst>
          </c:dPt>
          <c:dPt>
            <c:idx val="281"/>
            <c:invertIfNegative val="1"/>
            <c:bubble3D val="0"/>
            <c:spPr>
              <a:solidFill>
                <a:srgbClr val="AEABAB"/>
              </a:solidFill>
            </c:spPr>
            <c:extLst>
              <c:ext xmlns:c16="http://schemas.microsoft.com/office/drawing/2014/chart" uri="{C3380CC4-5D6E-409C-BE32-E72D297353CC}">
                <c16:uniqueId val="{00000235-7CC7-4E45-A597-ADCA0317F660}"/>
              </c:ext>
            </c:extLst>
          </c:dPt>
          <c:dPt>
            <c:idx val="282"/>
            <c:invertIfNegative val="1"/>
            <c:bubble3D val="0"/>
            <c:spPr>
              <a:solidFill>
                <a:srgbClr val="AEABAB"/>
              </a:solidFill>
            </c:spPr>
            <c:extLst>
              <c:ext xmlns:c16="http://schemas.microsoft.com/office/drawing/2014/chart" uri="{C3380CC4-5D6E-409C-BE32-E72D297353CC}">
                <c16:uniqueId val="{00000237-7CC7-4E45-A597-ADCA0317F660}"/>
              </c:ext>
            </c:extLst>
          </c:dPt>
          <c:dPt>
            <c:idx val="283"/>
            <c:invertIfNegative val="1"/>
            <c:bubble3D val="0"/>
            <c:spPr>
              <a:solidFill>
                <a:srgbClr val="AEABAB"/>
              </a:solidFill>
            </c:spPr>
            <c:extLst>
              <c:ext xmlns:c16="http://schemas.microsoft.com/office/drawing/2014/chart" uri="{C3380CC4-5D6E-409C-BE32-E72D297353CC}">
                <c16:uniqueId val="{00000239-7CC7-4E45-A597-ADCA0317F660}"/>
              </c:ext>
            </c:extLst>
          </c:dPt>
          <c:dPt>
            <c:idx val="284"/>
            <c:invertIfNegative val="1"/>
            <c:bubble3D val="0"/>
            <c:spPr>
              <a:solidFill>
                <a:srgbClr val="AEABAB"/>
              </a:solidFill>
            </c:spPr>
            <c:extLst>
              <c:ext xmlns:c16="http://schemas.microsoft.com/office/drawing/2014/chart" uri="{C3380CC4-5D6E-409C-BE32-E72D297353CC}">
                <c16:uniqueId val="{0000023B-7CC7-4E45-A597-ADCA0317F660}"/>
              </c:ext>
            </c:extLst>
          </c:dPt>
          <c:dPt>
            <c:idx val="285"/>
            <c:invertIfNegative val="1"/>
            <c:bubble3D val="0"/>
            <c:spPr>
              <a:solidFill>
                <a:srgbClr val="AEABAB"/>
              </a:solidFill>
            </c:spPr>
            <c:extLst>
              <c:ext xmlns:c16="http://schemas.microsoft.com/office/drawing/2014/chart" uri="{C3380CC4-5D6E-409C-BE32-E72D297353CC}">
                <c16:uniqueId val="{0000023D-7CC7-4E45-A597-ADCA0317F660}"/>
              </c:ext>
            </c:extLst>
          </c:dPt>
          <c:dPt>
            <c:idx val="286"/>
            <c:invertIfNegative val="1"/>
            <c:bubble3D val="0"/>
            <c:spPr>
              <a:solidFill>
                <a:srgbClr val="AEABAB"/>
              </a:solidFill>
            </c:spPr>
            <c:extLst>
              <c:ext xmlns:c16="http://schemas.microsoft.com/office/drawing/2014/chart" uri="{C3380CC4-5D6E-409C-BE32-E72D297353CC}">
                <c16:uniqueId val="{0000023F-7CC7-4E45-A597-ADCA0317F660}"/>
              </c:ext>
            </c:extLst>
          </c:dPt>
          <c:dPt>
            <c:idx val="287"/>
            <c:invertIfNegative val="1"/>
            <c:bubble3D val="0"/>
            <c:spPr>
              <a:solidFill>
                <a:srgbClr val="AEABAB"/>
              </a:solidFill>
            </c:spPr>
            <c:extLst>
              <c:ext xmlns:c16="http://schemas.microsoft.com/office/drawing/2014/chart" uri="{C3380CC4-5D6E-409C-BE32-E72D297353CC}">
                <c16:uniqueId val="{00000241-7CC7-4E45-A597-ADCA0317F660}"/>
              </c:ext>
            </c:extLst>
          </c:dPt>
          <c:dPt>
            <c:idx val="288"/>
            <c:invertIfNegative val="1"/>
            <c:bubble3D val="0"/>
            <c:spPr>
              <a:solidFill>
                <a:srgbClr val="AEABAB"/>
              </a:solidFill>
            </c:spPr>
            <c:extLst>
              <c:ext xmlns:c16="http://schemas.microsoft.com/office/drawing/2014/chart" uri="{C3380CC4-5D6E-409C-BE32-E72D297353CC}">
                <c16:uniqueId val="{00000243-7CC7-4E45-A597-ADCA0317F660}"/>
              </c:ext>
            </c:extLst>
          </c:dPt>
          <c:dPt>
            <c:idx val="289"/>
            <c:invertIfNegative val="1"/>
            <c:bubble3D val="0"/>
            <c:spPr>
              <a:solidFill>
                <a:srgbClr val="AEABAB"/>
              </a:solidFill>
            </c:spPr>
            <c:extLst>
              <c:ext xmlns:c16="http://schemas.microsoft.com/office/drawing/2014/chart" uri="{C3380CC4-5D6E-409C-BE32-E72D297353CC}">
                <c16:uniqueId val="{00000245-7CC7-4E45-A597-ADCA0317F660}"/>
              </c:ext>
            </c:extLst>
          </c:dPt>
          <c:dPt>
            <c:idx val="290"/>
            <c:invertIfNegative val="1"/>
            <c:bubble3D val="0"/>
            <c:spPr>
              <a:solidFill>
                <a:srgbClr val="AEABAB"/>
              </a:solidFill>
            </c:spPr>
            <c:extLst>
              <c:ext xmlns:c16="http://schemas.microsoft.com/office/drawing/2014/chart" uri="{C3380CC4-5D6E-409C-BE32-E72D297353CC}">
                <c16:uniqueId val="{00000247-7CC7-4E45-A597-ADCA0317F660}"/>
              </c:ext>
            </c:extLst>
          </c:dPt>
          <c:dPt>
            <c:idx val="291"/>
            <c:invertIfNegative val="1"/>
            <c:bubble3D val="0"/>
            <c:spPr>
              <a:solidFill>
                <a:srgbClr val="AEABAB"/>
              </a:solidFill>
            </c:spPr>
            <c:extLst>
              <c:ext xmlns:c16="http://schemas.microsoft.com/office/drawing/2014/chart" uri="{C3380CC4-5D6E-409C-BE32-E72D297353CC}">
                <c16:uniqueId val="{00000249-7CC7-4E45-A597-ADCA0317F660}"/>
              </c:ext>
            </c:extLst>
          </c:dPt>
          <c:dPt>
            <c:idx val="292"/>
            <c:invertIfNegative val="1"/>
            <c:bubble3D val="0"/>
            <c:spPr>
              <a:solidFill>
                <a:srgbClr val="AEABAB"/>
              </a:solidFill>
            </c:spPr>
            <c:extLst>
              <c:ext xmlns:c16="http://schemas.microsoft.com/office/drawing/2014/chart" uri="{C3380CC4-5D6E-409C-BE32-E72D297353CC}">
                <c16:uniqueId val="{0000024B-7CC7-4E45-A597-ADCA0317F660}"/>
              </c:ext>
            </c:extLst>
          </c:dPt>
          <c:dPt>
            <c:idx val="293"/>
            <c:invertIfNegative val="1"/>
            <c:bubble3D val="0"/>
            <c:spPr>
              <a:solidFill>
                <a:srgbClr val="AEABAB"/>
              </a:solidFill>
            </c:spPr>
            <c:extLst>
              <c:ext xmlns:c16="http://schemas.microsoft.com/office/drawing/2014/chart" uri="{C3380CC4-5D6E-409C-BE32-E72D297353CC}">
                <c16:uniqueId val="{0000024D-7CC7-4E45-A597-ADCA0317F660}"/>
              </c:ext>
            </c:extLst>
          </c:dPt>
          <c:dPt>
            <c:idx val="294"/>
            <c:invertIfNegative val="1"/>
            <c:bubble3D val="0"/>
            <c:spPr>
              <a:solidFill>
                <a:srgbClr val="AEABAB"/>
              </a:solidFill>
            </c:spPr>
            <c:extLst>
              <c:ext xmlns:c16="http://schemas.microsoft.com/office/drawing/2014/chart" uri="{C3380CC4-5D6E-409C-BE32-E72D297353CC}">
                <c16:uniqueId val="{0000024F-7CC7-4E45-A597-ADCA0317F660}"/>
              </c:ext>
            </c:extLst>
          </c:dPt>
          <c:dPt>
            <c:idx val="295"/>
            <c:invertIfNegative val="1"/>
            <c:bubble3D val="0"/>
            <c:spPr>
              <a:solidFill>
                <a:srgbClr val="AEABAB"/>
              </a:solidFill>
            </c:spPr>
            <c:extLst>
              <c:ext xmlns:c16="http://schemas.microsoft.com/office/drawing/2014/chart" uri="{C3380CC4-5D6E-409C-BE32-E72D297353CC}">
                <c16:uniqueId val="{00000251-7CC7-4E45-A597-ADCA0317F660}"/>
              </c:ext>
            </c:extLst>
          </c:dPt>
          <c:dPt>
            <c:idx val="296"/>
            <c:invertIfNegative val="1"/>
            <c:bubble3D val="0"/>
            <c:spPr>
              <a:solidFill>
                <a:srgbClr val="AEABAB"/>
              </a:solidFill>
            </c:spPr>
            <c:extLst>
              <c:ext xmlns:c16="http://schemas.microsoft.com/office/drawing/2014/chart" uri="{C3380CC4-5D6E-409C-BE32-E72D297353CC}">
                <c16:uniqueId val="{00000253-7CC7-4E45-A597-ADCA0317F660}"/>
              </c:ext>
            </c:extLst>
          </c:dPt>
          <c:dPt>
            <c:idx val="297"/>
            <c:invertIfNegative val="1"/>
            <c:bubble3D val="0"/>
            <c:spPr>
              <a:solidFill>
                <a:srgbClr val="AEABAB"/>
              </a:solidFill>
            </c:spPr>
            <c:extLst>
              <c:ext xmlns:c16="http://schemas.microsoft.com/office/drawing/2014/chart" uri="{C3380CC4-5D6E-409C-BE32-E72D297353CC}">
                <c16:uniqueId val="{00000255-7CC7-4E45-A597-ADCA0317F660}"/>
              </c:ext>
            </c:extLst>
          </c:dPt>
          <c:dPt>
            <c:idx val="298"/>
            <c:invertIfNegative val="1"/>
            <c:bubble3D val="0"/>
            <c:spPr>
              <a:solidFill>
                <a:srgbClr val="AEABAB"/>
              </a:solidFill>
            </c:spPr>
            <c:extLst>
              <c:ext xmlns:c16="http://schemas.microsoft.com/office/drawing/2014/chart" uri="{C3380CC4-5D6E-409C-BE32-E72D297353CC}">
                <c16:uniqueId val="{00000257-7CC7-4E45-A597-ADCA0317F660}"/>
              </c:ext>
            </c:extLst>
          </c:dPt>
          <c:dPt>
            <c:idx val="299"/>
            <c:invertIfNegative val="1"/>
            <c:bubble3D val="0"/>
            <c:spPr>
              <a:solidFill>
                <a:srgbClr val="AEABAB"/>
              </a:solidFill>
            </c:spPr>
            <c:extLst>
              <c:ext xmlns:c16="http://schemas.microsoft.com/office/drawing/2014/chart" uri="{C3380CC4-5D6E-409C-BE32-E72D297353CC}">
                <c16:uniqueId val="{00000259-7CC7-4E45-A597-ADCA0317F660}"/>
              </c:ext>
            </c:extLst>
          </c:dPt>
          <c:dPt>
            <c:idx val="300"/>
            <c:invertIfNegative val="1"/>
            <c:bubble3D val="0"/>
            <c:spPr>
              <a:solidFill>
                <a:srgbClr val="AEABAB"/>
              </a:solidFill>
            </c:spPr>
            <c:extLst>
              <c:ext xmlns:c16="http://schemas.microsoft.com/office/drawing/2014/chart" uri="{C3380CC4-5D6E-409C-BE32-E72D297353CC}">
                <c16:uniqueId val="{0000025B-7CC7-4E45-A597-ADCA0317F660}"/>
              </c:ext>
            </c:extLst>
          </c:dPt>
          <c:dPt>
            <c:idx val="301"/>
            <c:invertIfNegative val="1"/>
            <c:bubble3D val="0"/>
            <c:spPr>
              <a:solidFill>
                <a:srgbClr val="AEABAB"/>
              </a:solidFill>
            </c:spPr>
            <c:extLst>
              <c:ext xmlns:c16="http://schemas.microsoft.com/office/drawing/2014/chart" uri="{C3380CC4-5D6E-409C-BE32-E72D297353CC}">
                <c16:uniqueId val="{0000025D-7CC7-4E45-A597-ADCA0317F660}"/>
              </c:ext>
            </c:extLst>
          </c:dPt>
          <c:dPt>
            <c:idx val="302"/>
            <c:invertIfNegative val="1"/>
            <c:bubble3D val="0"/>
            <c:spPr>
              <a:solidFill>
                <a:srgbClr val="AEABAB"/>
              </a:solidFill>
            </c:spPr>
            <c:extLst>
              <c:ext xmlns:c16="http://schemas.microsoft.com/office/drawing/2014/chart" uri="{C3380CC4-5D6E-409C-BE32-E72D297353CC}">
                <c16:uniqueId val="{0000025F-7CC7-4E45-A597-ADCA0317F660}"/>
              </c:ext>
            </c:extLst>
          </c:dPt>
          <c:dPt>
            <c:idx val="303"/>
            <c:invertIfNegative val="1"/>
            <c:bubble3D val="0"/>
            <c:spPr>
              <a:solidFill>
                <a:srgbClr val="AEABAB"/>
              </a:solidFill>
            </c:spPr>
            <c:extLst>
              <c:ext xmlns:c16="http://schemas.microsoft.com/office/drawing/2014/chart" uri="{C3380CC4-5D6E-409C-BE32-E72D297353CC}">
                <c16:uniqueId val="{00000261-7CC7-4E45-A597-ADCA0317F660}"/>
              </c:ext>
            </c:extLst>
          </c:dPt>
          <c:dPt>
            <c:idx val="304"/>
            <c:invertIfNegative val="1"/>
            <c:bubble3D val="0"/>
            <c:spPr>
              <a:solidFill>
                <a:srgbClr val="AEABAB"/>
              </a:solidFill>
            </c:spPr>
            <c:extLst>
              <c:ext xmlns:c16="http://schemas.microsoft.com/office/drawing/2014/chart" uri="{C3380CC4-5D6E-409C-BE32-E72D297353CC}">
                <c16:uniqueId val="{00000263-7CC7-4E45-A597-ADCA0317F660}"/>
              </c:ext>
            </c:extLst>
          </c:dPt>
          <c:dPt>
            <c:idx val="305"/>
            <c:invertIfNegative val="1"/>
            <c:bubble3D val="0"/>
            <c:spPr>
              <a:solidFill>
                <a:srgbClr val="AEABAB"/>
              </a:solidFill>
            </c:spPr>
            <c:extLst>
              <c:ext xmlns:c16="http://schemas.microsoft.com/office/drawing/2014/chart" uri="{C3380CC4-5D6E-409C-BE32-E72D297353CC}">
                <c16:uniqueId val="{00000265-7CC7-4E45-A597-ADCA0317F660}"/>
              </c:ext>
            </c:extLst>
          </c:dPt>
          <c:dPt>
            <c:idx val="306"/>
            <c:invertIfNegative val="1"/>
            <c:bubble3D val="0"/>
            <c:spPr>
              <a:solidFill>
                <a:srgbClr val="AEABAB"/>
              </a:solidFill>
            </c:spPr>
            <c:extLst>
              <c:ext xmlns:c16="http://schemas.microsoft.com/office/drawing/2014/chart" uri="{C3380CC4-5D6E-409C-BE32-E72D297353CC}">
                <c16:uniqueId val="{00000267-7CC7-4E45-A597-ADCA0317F660}"/>
              </c:ext>
            </c:extLst>
          </c:dPt>
          <c:dPt>
            <c:idx val="307"/>
            <c:invertIfNegative val="1"/>
            <c:bubble3D val="0"/>
            <c:spPr>
              <a:solidFill>
                <a:srgbClr val="AEABAB"/>
              </a:solidFill>
            </c:spPr>
            <c:extLst>
              <c:ext xmlns:c16="http://schemas.microsoft.com/office/drawing/2014/chart" uri="{C3380CC4-5D6E-409C-BE32-E72D297353CC}">
                <c16:uniqueId val="{00000269-7CC7-4E45-A597-ADCA0317F660}"/>
              </c:ext>
            </c:extLst>
          </c:dPt>
          <c:dPt>
            <c:idx val="308"/>
            <c:invertIfNegative val="1"/>
            <c:bubble3D val="0"/>
            <c:spPr>
              <a:solidFill>
                <a:srgbClr val="AEABAB"/>
              </a:solidFill>
            </c:spPr>
            <c:extLst>
              <c:ext xmlns:c16="http://schemas.microsoft.com/office/drawing/2014/chart" uri="{C3380CC4-5D6E-409C-BE32-E72D297353CC}">
                <c16:uniqueId val="{0000026B-7CC7-4E45-A597-ADCA0317F660}"/>
              </c:ext>
            </c:extLst>
          </c:dPt>
          <c:dPt>
            <c:idx val="309"/>
            <c:invertIfNegative val="1"/>
            <c:bubble3D val="0"/>
            <c:spPr>
              <a:solidFill>
                <a:srgbClr val="AEABAB"/>
              </a:solidFill>
            </c:spPr>
            <c:extLst>
              <c:ext xmlns:c16="http://schemas.microsoft.com/office/drawing/2014/chart" uri="{C3380CC4-5D6E-409C-BE32-E72D297353CC}">
                <c16:uniqueId val="{0000026D-7CC7-4E45-A597-ADCA0317F660}"/>
              </c:ext>
            </c:extLst>
          </c:dPt>
          <c:dPt>
            <c:idx val="310"/>
            <c:invertIfNegative val="1"/>
            <c:bubble3D val="0"/>
            <c:spPr>
              <a:solidFill>
                <a:srgbClr val="AEABAB"/>
              </a:solidFill>
            </c:spPr>
            <c:extLst>
              <c:ext xmlns:c16="http://schemas.microsoft.com/office/drawing/2014/chart" uri="{C3380CC4-5D6E-409C-BE32-E72D297353CC}">
                <c16:uniqueId val="{0000026F-7CC7-4E45-A597-ADCA0317F660}"/>
              </c:ext>
            </c:extLst>
          </c:dPt>
          <c:dPt>
            <c:idx val="311"/>
            <c:invertIfNegative val="1"/>
            <c:bubble3D val="0"/>
            <c:spPr>
              <a:solidFill>
                <a:srgbClr val="AEABAB"/>
              </a:solidFill>
            </c:spPr>
            <c:extLst>
              <c:ext xmlns:c16="http://schemas.microsoft.com/office/drawing/2014/chart" uri="{C3380CC4-5D6E-409C-BE32-E72D297353CC}">
                <c16:uniqueId val="{00000271-7CC7-4E45-A597-ADCA0317F660}"/>
              </c:ext>
            </c:extLst>
          </c:dPt>
          <c:dPt>
            <c:idx val="312"/>
            <c:invertIfNegative val="1"/>
            <c:bubble3D val="0"/>
            <c:spPr>
              <a:solidFill>
                <a:srgbClr val="AEABAB"/>
              </a:solidFill>
            </c:spPr>
            <c:extLst>
              <c:ext xmlns:c16="http://schemas.microsoft.com/office/drawing/2014/chart" uri="{C3380CC4-5D6E-409C-BE32-E72D297353CC}">
                <c16:uniqueId val="{00000273-7CC7-4E45-A597-ADCA0317F660}"/>
              </c:ext>
            </c:extLst>
          </c:dPt>
          <c:dPt>
            <c:idx val="313"/>
            <c:invertIfNegative val="1"/>
            <c:bubble3D val="0"/>
            <c:spPr>
              <a:solidFill>
                <a:srgbClr val="AEABAB"/>
              </a:solidFill>
            </c:spPr>
            <c:extLst>
              <c:ext xmlns:c16="http://schemas.microsoft.com/office/drawing/2014/chart" uri="{C3380CC4-5D6E-409C-BE32-E72D297353CC}">
                <c16:uniqueId val="{00000275-7CC7-4E45-A597-ADCA0317F660}"/>
              </c:ext>
            </c:extLst>
          </c:dPt>
          <c:dPt>
            <c:idx val="314"/>
            <c:invertIfNegative val="1"/>
            <c:bubble3D val="0"/>
            <c:spPr>
              <a:solidFill>
                <a:srgbClr val="AEABAB"/>
              </a:solidFill>
            </c:spPr>
            <c:extLst>
              <c:ext xmlns:c16="http://schemas.microsoft.com/office/drawing/2014/chart" uri="{C3380CC4-5D6E-409C-BE32-E72D297353CC}">
                <c16:uniqueId val="{00000277-7CC7-4E45-A597-ADCA0317F660}"/>
              </c:ext>
            </c:extLst>
          </c:dPt>
          <c:cat>
            <c:strRef>
              <c:f>Sheet1!$A$2:$A$316</c:f>
              <c:strCache>
                <c:ptCount val="315"/>
                <c:pt idx="0">
                  <c:v>Ruinart</c:v>
                </c:pt>
                <c:pt idx="1">
                  <c:v>Deutz</c:v>
                </c:pt>
                <c:pt idx="2">
                  <c:v>Nicolas</c:v>
                </c:pt>
                <c:pt idx="3">
                  <c:v>Ruinart</c:v>
                </c:pt>
                <c:pt idx="4">
                  <c:v>Heidsieck &amp;</c:v>
                </c:pt>
                <c:pt idx="5">
                  <c:v>Malard</c:v>
                </c:pt>
                <c:pt idx="6">
                  <c:v>Ayala</c:v>
                </c:pt>
                <c:pt idx="7">
                  <c:v>De Bligny</c:v>
                </c:pt>
                <c:pt idx="8">
                  <c:v>Ruinart</c:v>
                </c:pt>
                <c:pt idx="9">
                  <c:v>Taittinger</c:v>
                </c:pt>
                <c:pt idx="10">
                  <c:v>Canard Duch</c:v>
                </c:pt>
                <c:pt idx="11">
                  <c:v>Ruinart</c:v>
                </c:pt>
                <c:pt idx="12">
                  <c:v>Laurent Per</c:v>
                </c:pt>
                <c:pt idx="13">
                  <c:v>Nicolas Feu</c:v>
                </c:pt>
                <c:pt idx="14">
                  <c:v>Bollinger</c:v>
                </c:pt>
                <c:pt idx="15">
                  <c:v>Deutz</c:v>
                </c:pt>
                <c:pt idx="16">
                  <c:v>Besserat De</c:v>
                </c:pt>
                <c:pt idx="17">
                  <c:v>Savian</c:v>
                </c:pt>
                <c:pt idx="18">
                  <c:v>All Others</c:v>
                </c:pt>
                <c:pt idx="19">
                  <c:v>Ruinart</c:v>
                </c:pt>
                <c:pt idx="20">
                  <c:v>Demoiselle</c:v>
                </c:pt>
                <c:pt idx="21">
                  <c:v>Laurent Per</c:v>
                </c:pt>
                <c:pt idx="22">
                  <c:v>Ruinart</c:v>
                </c:pt>
                <c:pt idx="23">
                  <c:v>Taittinger</c:v>
                </c:pt>
                <c:pt idx="24">
                  <c:v>All Others</c:v>
                </c:pt>
                <c:pt idx="25">
                  <c:v>Perrier Jou</c:v>
                </c:pt>
                <c:pt idx="26">
                  <c:v>Bottega</c:v>
                </c:pt>
                <c:pt idx="27">
                  <c:v>Ruinart</c:v>
                </c:pt>
                <c:pt idx="28">
                  <c:v>Deutz</c:v>
                </c:pt>
                <c:pt idx="29">
                  <c:v>Dom Perigno</c:v>
                </c:pt>
                <c:pt idx="30">
                  <c:v>Malard</c:v>
                </c:pt>
                <c:pt idx="31">
                  <c:v>Roederer</c:v>
                </c:pt>
                <c:pt idx="32">
                  <c:v>All Others</c:v>
                </c:pt>
                <c:pt idx="33">
                  <c:v>Dom Perigno</c:v>
                </c:pt>
                <c:pt idx="34">
                  <c:v>Ruinart</c:v>
                </c:pt>
                <c:pt idx="35">
                  <c:v>Patriarche</c:v>
                </c:pt>
                <c:pt idx="36">
                  <c:v>Moët &amp; Chan</c:v>
                </c:pt>
                <c:pt idx="37">
                  <c:v>Pommery</c:v>
                </c:pt>
                <c:pt idx="38">
                  <c:v>All Others</c:v>
                </c:pt>
                <c:pt idx="39">
                  <c:v>Vesselle</c:v>
                </c:pt>
                <c:pt idx="40">
                  <c:v>Savian</c:v>
                </c:pt>
                <c:pt idx="41">
                  <c:v>Campari: Al</c:v>
                </c:pt>
                <c:pt idx="42">
                  <c:v>Laurent Per</c:v>
                </c:pt>
                <c:pt idx="43">
                  <c:v>Henriot</c:v>
                </c:pt>
                <c:pt idx="44">
                  <c:v>Demoiselle</c:v>
                </c:pt>
                <c:pt idx="45">
                  <c:v>Roederer</c:v>
                </c:pt>
                <c:pt idx="46">
                  <c:v>De Chanceny</c:v>
                </c:pt>
                <c:pt idx="47">
                  <c:v>Nicolas</c:v>
                </c:pt>
                <c:pt idx="48">
                  <c:v>Veuve Clicq</c:v>
                </c:pt>
                <c:pt idx="49">
                  <c:v>Dom Perigno</c:v>
                </c:pt>
                <c:pt idx="50">
                  <c:v>Nicolas Feu</c:v>
                </c:pt>
                <c:pt idx="51">
                  <c:v>Nicolas</c:v>
                </c:pt>
                <c:pt idx="52">
                  <c:v>Veuve Clicq</c:v>
                </c:pt>
                <c:pt idx="53">
                  <c:v>Ruinart</c:v>
                </c:pt>
                <c:pt idx="54">
                  <c:v>Nicolas</c:v>
                </c:pt>
                <c:pt idx="55">
                  <c:v>Besserat De</c:v>
                </c:pt>
                <c:pt idx="56">
                  <c:v>Deutz</c:v>
                </c:pt>
                <c:pt idx="57">
                  <c:v>Nicolas Feu</c:v>
                </c:pt>
                <c:pt idx="58">
                  <c:v>De Venoge</c:v>
                </c:pt>
                <c:pt idx="59">
                  <c:v>Malard</c:v>
                </c:pt>
                <c:pt idx="60">
                  <c:v>Lanson</c:v>
                </c:pt>
                <c:pt idx="61">
                  <c:v>Moët &amp; Chan</c:v>
                </c:pt>
                <c:pt idx="62">
                  <c:v>Mure</c:v>
                </c:pt>
                <c:pt idx="63">
                  <c:v>Campari: Al</c:v>
                </c:pt>
                <c:pt idx="64">
                  <c:v>Ruinart</c:v>
                </c:pt>
                <c:pt idx="65">
                  <c:v>Veuve Clicq</c:v>
                </c:pt>
                <c:pt idx="66">
                  <c:v>Bollinger</c:v>
                </c:pt>
                <c:pt idx="67">
                  <c:v>Canard Duch</c:v>
                </c:pt>
                <c:pt idx="68">
                  <c:v>De Bligny</c:v>
                </c:pt>
                <c:pt idx="69">
                  <c:v>Canard Duch</c:v>
                </c:pt>
                <c:pt idx="70">
                  <c:v>Lyre's</c:v>
                </c:pt>
                <c:pt idx="71">
                  <c:v>Krug</c:v>
                </c:pt>
                <c:pt idx="72">
                  <c:v>French Bloo</c:v>
                </c:pt>
                <c:pt idx="73">
                  <c:v>All Others</c:v>
                </c:pt>
                <c:pt idx="74">
                  <c:v>Nicolas</c:v>
                </c:pt>
                <c:pt idx="75">
                  <c:v>Ayala</c:v>
                </c:pt>
                <c:pt idx="76">
                  <c:v>Malard</c:v>
                </c:pt>
                <c:pt idx="77">
                  <c:v>All Others</c:v>
                </c:pt>
                <c:pt idx="78">
                  <c:v>All Others</c:v>
                </c:pt>
                <c:pt idx="79">
                  <c:v>Piper Heids</c:v>
                </c:pt>
                <c:pt idx="80">
                  <c:v>Besserat De</c:v>
                </c:pt>
                <c:pt idx="81">
                  <c:v>Canard Duch</c:v>
                </c:pt>
                <c:pt idx="82">
                  <c:v>Laurent Per</c:v>
                </c:pt>
                <c:pt idx="83">
                  <c:v>Malard</c:v>
                </c:pt>
                <c:pt idx="84">
                  <c:v>Ruinart</c:v>
                </c:pt>
                <c:pt idx="85">
                  <c:v>Ruinart</c:v>
                </c:pt>
                <c:pt idx="86">
                  <c:v>Nicolas Feu</c:v>
                </c:pt>
                <c:pt idx="87">
                  <c:v>Pommery</c:v>
                </c:pt>
                <c:pt idx="88">
                  <c:v>Louis Marti</c:v>
                </c:pt>
                <c:pt idx="89">
                  <c:v>Malard</c:v>
                </c:pt>
                <c:pt idx="90">
                  <c:v>Delamotte</c:v>
                </c:pt>
                <c:pt idx="91">
                  <c:v>All Others</c:v>
                </c:pt>
                <c:pt idx="92">
                  <c:v>Henriot</c:v>
                </c:pt>
                <c:pt idx="93">
                  <c:v>Roederer</c:v>
                </c:pt>
                <c:pt idx="94">
                  <c:v>All Others</c:v>
                </c:pt>
                <c:pt idx="95">
                  <c:v>Henriot</c:v>
                </c:pt>
                <c:pt idx="96">
                  <c:v>Patriarche</c:v>
                </c:pt>
                <c:pt idx="97">
                  <c:v>Bottega</c:v>
                </c:pt>
                <c:pt idx="98">
                  <c:v>De Venoge</c:v>
                </c:pt>
                <c:pt idx="99">
                  <c:v>Roederer</c:v>
                </c:pt>
                <c:pt idx="100">
                  <c:v>Ruinart</c:v>
                </c:pt>
                <c:pt idx="101">
                  <c:v>Ruinart</c:v>
                </c:pt>
                <c:pt idx="102">
                  <c:v>De Chanceny</c:v>
                </c:pt>
                <c:pt idx="103">
                  <c:v>Roederer</c:v>
                </c:pt>
                <c:pt idx="104">
                  <c:v>Bouvet-Ladu</c:v>
                </c:pt>
                <c:pt idx="105">
                  <c:v>Vranken</c:v>
                </c:pt>
                <c:pt idx="106">
                  <c:v>Nicolas</c:v>
                </c:pt>
                <c:pt idx="107">
                  <c:v>Contarini</c:v>
                </c:pt>
                <c:pt idx="108">
                  <c:v>Roederer</c:v>
                </c:pt>
                <c:pt idx="109">
                  <c:v>Roederer</c:v>
                </c:pt>
                <c:pt idx="110">
                  <c:v>De Venoge</c:v>
                </c:pt>
                <c:pt idx="111">
                  <c:v>Perrier Jou</c:v>
                </c:pt>
                <c:pt idx="112">
                  <c:v>Vilaveroni</c:v>
                </c:pt>
                <c:pt idx="113">
                  <c:v>Henriot</c:v>
                </c:pt>
                <c:pt idx="114">
                  <c:v>Veuve Clicq</c:v>
                </c:pt>
                <c:pt idx="115">
                  <c:v>Moët &amp; Chan</c:v>
                </c:pt>
                <c:pt idx="116">
                  <c:v>Vranken</c:v>
                </c:pt>
                <c:pt idx="117">
                  <c:v>De Venoge</c:v>
                </c:pt>
                <c:pt idx="118">
                  <c:v>Laurent Per</c:v>
                </c:pt>
                <c:pt idx="119">
                  <c:v>Roederer</c:v>
                </c:pt>
                <c:pt idx="120">
                  <c:v>Deutz</c:v>
                </c:pt>
                <c:pt idx="121">
                  <c:v>All Others</c:v>
                </c:pt>
                <c:pt idx="122">
                  <c:v>Nicolas</c:v>
                </c:pt>
                <c:pt idx="123">
                  <c:v>Demoiselle</c:v>
                </c:pt>
                <c:pt idx="124">
                  <c:v>Nicolas Feu</c:v>
                </c:pt>
                <c:pt idx="125">
                  <c:v>All Others</c:v>
                </c:pt>
                <c:pt idx="126">
                  <c:v>All Others</c:v>
                </c:pt>
                <c:pt idx="127">
                  <c:v>Roederer</c:v>
                </c:pt>
                <c:pt idx="128">
                  <c:v>Nicolas</c:v>
                </c:pt>
                <c:pt idx="129">
                  <c:v>All Others</c:v>
                </c:pt>
                <c:pt idx="130">
                  <c:v>Canard Duch</c:v>
                </c:pt>
                <c:pt idx="131">
                  <c:v>Deutz</c:v>
                </c:pt>
                <c:pt idx="132">
                  <c:v>Deutz</c:v>
                </c:pt>
                <c:pt idx="133">
                  <c:v>Dom Perigno</c:v>
                </c:pt>
                <c:pt idx="134">
                  <c:v>All Others</c:v>
                </c:pt>
                <c:pt idx="135">
                  <c:v>Nicolas</c:v>
                </c:pt>
                <c:pt idx="136">
                  <c:v>Pommery</c:v>
                </c:pt>
                <c:pt idx="137">
                  <c:v>Deutz</c:v>
                </c:pt>
                <c:pt idx="138">
                  <c:v>Laurent Per</c:v>
                </c:pt>
                <c:pt idx="139">
                  <c:v>Bollinger</c:v>
                </c:pt>
                <c:pt idx="140">
                  <c:v>All Others</c:v>
                </c:pt>
                <c:pt idx="141">
                  <c:v>Lanson</c:v>
                </c:pt>
                <c:pt idx="142">
                  <c:v>Demoiselle</c:v>
                </c:pt>
                <c:pt idx="143">
                  <c:v>All Others</c:v>
                </c:pt>
                <c:pt idx="144">
                  <c:v>Nicolas</c:v>
                </c:pt>
                <c:pt idx="145">
                  <c:v>Ruinart</c:v>
                </c:pt>
                <c:pt idx="146">
                  <c:v>Nicolas</c:v>
                </c:pt>
                <c:pt idx="147">
                  <c:v>Nicolas</c:v>
                </c:pt>
                <c:pt idx="148">
                  <c:v>Nicolas</c:v>
                </c:pt>
                <c:pt idx="149">
                  <c:v>Nicolas</c:v>
                </c:pt>
                <c:pt idx="150">
                  <c:v>Contarini</c:v>
                </c:pt>
                <c:pt idx="151">
                  <c:v>Deutz</c:v>
                </c:pt>
                <c:pt idx="152">
                  <c:v>Pommery</c:v>
                </c:pt>
                <c:pt idx="153">
                  <c:v>Besserat De</c:v>
                </c:pt>
                <c:pt idx="154">
                  <c:v>Cru La Maqu</c:v>
                </c:pt>
                <c:pt idx="155">
                  <c:v>Delamotte</c:v>
                </c:pt>
                <c:pt idx="156">
                  <c:v>Ayala</c:v>
                </c:pt>
                <c:pt idx="157">
                  <c:v>Kriter</c:v>
                </c:pt>
                <c:pt idx="158">
                  <c:v>All Others</c:v>
                </c:pt>
                <c:pt idx="159">
                  <c:v>Canard Duch</c:v>
                </c:pt>
                <c:pt idx="160">
                  <c:v>Pommery</c:v>
                </c:pt>
                <c:pt idx="161">
                  <c:v>Taittinger</c:v>
                </c:pt>
                <c:pt idx="162">
                  <c:v>Besserat De</c:v>
                </c:pt>
                <c:pt idx="163">
                  <c:v>Roederer</c:v>
                </c:pt>
                <c:pt idx="164">
                  <c:v>Nicolas</c:v>
                </c:pt>
                <c:pt idx="165">
                  <c:v>Bollinger</c:v>
                </c:pt>
                <c:pt idx="166">
                  <c:v>Laurent Per</c:v>
                </c:pt>
                <c:pt idx="167">
                  <c:v>All Others</c:v>
                </c:pt>
                <c:pt idx="168">
                  <c:v>Ruinart</c:v>
                </c:pt>
                <c:pt idx="169">
                  <c:v>All Others</c:v>
                </c:pt>
                <c:pt idx="170">
                  <c:v>Dom Perigno</c:v>
                </c:pt>
                <c:pt idx="171">
                  <c:v>Malard</c:v>
                </c:pt>
                <c:pt idx="172">
                  <c:v>All Others</c:v>
                </c:pt>
                <c:pt idx="173">
                  <c:v>Roederer</c:v>
                </c:pt>
                <c:pt idx="174">
                  <c:v>Moët &amp; Chan</c:v>
                </c:pt>
                <c:pt idx="175">
                  <c:v>Canard Duch</c:v>
                </c:pt>
                <c:pt idx="176">
                  <c:v>Ruinart</c:v>
                </c:pt>
                <c:pt idx="177">
                  <c:v>Ruinart</c:v>
                </c:pt>
                <c:pt idx="178">
                  <c:v>Roederer</c:v>
                </c:pt>
                <c:pt idx="179">
                  <c:v>All Others</c:v>
                </c:pt>
                <c:pt idx="180">
                  <c:v>Perrier Jou</c:v>
                </c:pt>
                <c:pt idx="181">
                  <c:v>Piper Heids</c:v>
                </c:pt>
                <c:pt idx="182">
                  <c:v>Roederer</c:v>
                </c:pt>
                <c:pt idx="183">
                  <c:v>Taittinger</c:v>
                </c:pt>
                <c:pt idx="184">
                  <c:v>Laurent Per</c:v>
                </c:pt>
                <c:pt idx="185">
                  <c:v>All Others</c:v>
                </c:pt>
                <c:pt idx="186">
                  <c:v>Vesselle</c:v>
                </c:pt>
                <c:pt idx="187">
                  <c:v>Nicolas</c:v>
                </c:pt>
                <c:pt idx="188">
                  <c:v>Moët &amp; Chan</c:v>
                </c:pt>
                <c:pt idx="189">
                  <c:v>Roederer</c:v>
                </c:pt>
                <c:pt idx="190">
                  <c:v>Louis Marti</c:v>
                </c:pt>
                <c:pt idx="191">
                  <c:v>Taittinger</c:v>
                </c:pt>
                <c:pt idx="192">
                  <c:v>Ruinart</c:v>
                </c:pt>
                <c:pt idx="193">
                  <c:v>Vilaveroni</c:v>
                </c:pt>
                <c:pt idx="194">
                  <c:v>Deutz</c:v>
                </c:pt>
                <c:pt idx="195">
                  <c:v>Piper Heids</c:v>
                </c:pt>
                <c:pt idx="196">
                  <c:v>Vesselle</c:v>
                </c:pt>
                <c:pt idx="197">
                  <c:v>All Others</c:v>
                </c:pt>
                <c:pt idx="198">
                  <c:v>All Others</c:v>
                </c:pt>
                <c:pt idx="199">
                  <c:v>Roederer</c:v>
                </c:pt>
                <c:pt idx="200">
                  <c:v>Nicolas</c:v>
                </c:pt>
                <c:pt idx="201">
                  <c:v>Vranken</c:v>
                </c:pt>
                <c:pt idx="202">
                  <c:v>All Others</c:v>
                </c:pt>
                <c:pt idx="203">
                  <c:v>All Others</c:v>
                </c:pt>
                <c:pt idx="204">
                  <c:v>Henriot</c:v>
                </c:pt>
                <c:pt idx="205">
                  <c:v>Ruinart</c:v>
                </c:pt>
                <c:pt idx="206">
                  <c:v>Perrier Jou</c:v>
                </c:pt>
                <c:pt idx="207">
                  <c:v>All Others</c:v>
                </c:pt>
                <c:pt idx="208">
                  <c:v>Nicolas</c:v>
                </c:pt>
                <c:pt idx="209">
                  <c:v>Ruinart</c:v>
                </c:pt>
                <c:pt idx="210">
                  <c:v>Roederer</c:v>
                </c:pt>
                <c:pt idx="211">
                  <c:v>Ruinart</c:v>
                </c:pt>
                <c:pt idx="212">
                  <c:v>Dom Perigno</c:v>
                </c:pt>
                <c:pt idx="213">
                  <c:v>Roederer</c:v>
                </c:pt>
                <c:pt idx="214">
                  <c:v>Nicolas</c:v>
                </c:pt>
                <c:pt idx="215">
                  <c:v>Laurent Per</c:v>
                </c:pt>
                <c:pt idx="216">
                  <c:v>Besserat De</c:v>
                </c:pt>
                <c:pt idx="217">
                  <c:v>All Others</c:v>
                </c:pt>
                <c:pt idx="218">
                  <c:v>All Others</c:v>
                </c:pt>
                <c:pt idx="219">
                  <c:v>Pommery</c:v>
                </c:pt>
                <c:pt idx="220">
                  <c:v>Bollinger</c:v>
                </c:pt>
                <c:pt idx="221">
                  <c:v>Taittinger</c:v>
                </c:pt>
                <c:pt idx="222">
                  <c:v>Pommery</c:v>
                </c:pt>
                <c:pt idx="223">
                  <c:v>Vilaveroni</c:v>
                </c:pt>
                <c:pt idx="224">
                  <c:v>Nicolas Feu</c:v>
                </c:pt>
                <c:pt idx="225">
                  <c:v>Bollinger</c:v>
                </c:pt>
                <c:pt idx="226">
                  <c:v>Pommery</c:v>
                </c:pt>
                <c:pt idx="227">
                  <c:v>Bouvet-Ladu</c:v>
                </c:pt>
                <c:pt idx="228">
                  <c:v>Roederer</c:v>
                </c:pt>
                <c:pt idx="229">
                  <c:v>Moët &amp; Chan</c:v>
                </c:pt>
                <c:pt idx="230">
                  <c:v>Demoiselle</c:v>
                </c:pt>
                <c:pt idx="231">
                  <c:v>Dom Perigno</c:v>
                </c:pt>
                <c:pt idx="232">
                  <c:v>Piper Heids</c:v>
                </c:pt>
                <c:pt idx="233">
                  <c:v>Ruinart</c:v>
                </c:pt>
                <c:pt idx="234">
                  <c:v>Ruinart</c:v>
                </c:pt>
                <c:pt idx="235">
                  <c:v>All Others</c:v>
                </c:pt>
                <c:pt idx="236">
                  <c:v>Veuve Clicq</c:v>
                </c:pt>
                <c:pt idx="237">
                  <c:v>Canard Duch</c:v>
                </c:pt>
                <c:pt idx="238">
                  <c:v>Henriot</c:v>
                </c:pt>
                <c:pt idx="239">
                  <c:v>Perrier Jou</c:v>
                </c:pt>
                <c:pt idx="240">
                  <c:v>All Others</c:v>
                </c:pt>
                <c:pt idx="241">
                  <c:v>Pommery</c:v>
                </c:pt>
                <c:pt idx="242">
                  <c:v>Piper Heids</c:v>
                </c:pt>
                <c:pt idx="243">
                  <c:v>Laurent Per</c:v>
                </c:pt>
                <c:pt idx="244">
                  <c:v>De Venoge</c:v>
                </c:pt>
                <c:pt idx="245">
                  <c:v>Nicolas</c:v>
                </c:pt>
                <c:pt idx="246">
                  <c:v>Dom Perigno</c:v>
                </c:pt>
                <c:pt idx="247">
                  <c:v>Nicolas</c:v>
                </c:pt>
                <c:pt idx="248">
                  <c:v>Dom Perigno</c:v>
                </c:pt>
                <c:pt idx="249">
                  <c:v>Moët &amp; Chan</c:v>
                </c:pt>
                <c:pt idx="250">
                  <c:v>Vilaveroni</c:v>
                </c:pt>
                <c:pt idx="251">
                  <c:v>All Others</c:v>
                </c:pt>
                <c:pt idx="252">
                  <c:v>Laurent Per</c:v>
                </c:pt>
                <c:pt idx="253">
                  <c:v>Celene</c:v>
                </c:pt>
                <c:pt idx="254">
                  <c:v>Bouvet-Ladu</c:v>
                </c:pt>
                <c:pt idx="255">
                  <c:v>All Others</c:v>
                </c:pt>
                <c:pt idx="256">
                  <c:v>De Bligny</c:v>
                </c:pt>
                <c:pt idx="257">
                  <c:v>All Others</c:v>
                </c:pt>
                <c:pt idx="258">
                  <c:v>All Others</c:v>
                </c:pt>
                <c:pt idx="259">
                  <c:v>Ruinart</c:v>
                </c:pt>
                <c:pt idx="260">
                  <c:v>Nicolas Feu</c:v>
                </c:pt>
                <c:pt idx="261">
                  <c:v>Laurent Per</c:v>
                </c:pt>
                <c:pt idx="262">
                  <c:v>Canard Duch</c:v>
                </c:pt>
                <c:pt idx="263">
                  <c:v>Celene</c:v>
                </c:pt>
                <c:pt idx="264">
                  <c:v>Malard</c:v>
                </c:pt>
                <c:pt idx="265">
                  <c:v>All Others</c:v>
                </c:pt>
                <c:pt idx="266">
                  <c:v>De Venoge</c:v>
                </c:pt>
                <c:pt idx="267">
                  <c:v>All Others</c:v>
                </c:pt>
                <c:pt idx="268">
                  <c:v>Roederer</c:v>
                </c:pt>
                <c:pt idx="269">
                  <c:v>Malard</c:v>
                </c:pt>
                <c:pt idx="270">
                  <c:v>Laurent Per</c:v>
                </c:pt>
                <c:pt idx="271">
                  <c:v>Veuve Clicq</c:v>
                </c:pt>
                <c:pt idx="272">
                  <c:v>Bottega</c:v>
                </c:pt>
                <c:pt idx="273">
                  <c:v>Ruinart</c:v>
                </c:pt>
                <c:pt idx="274">
                  <c:v>Ruinart</c:v>
                </c:pt>
                <c:pt idx="275">
                  <c:v>Bouvet-Ladu</c:v>
                </c:pt>
                <c:pt idx="276">
                  <c:v>Bollinger</c:v>
                </c:pt>
                <c:pt idx="277">
                  <c:v>Roederer</c:v>
                </c:pt>
                <c:pt idx="278">
                  <c:v>De Venoge</c:v>
                </c:pt>
                <c:pt idx="279">
                  <c:v>Bollinger</c:v>
                </c:pt>
                <c:pt idx="280">
                  <c:v>Nicolas Feu</c:v>
                </c:pt>
                <c:pt idx="281">
                  <c:v>Besserat De</c:v>
                </c:pt>
                <c:pt idx="282">
                  <c:v>Bollinger</c:v>
                </c:pt>
                <c:pt idx="283">
                  <c:v>Demoiselle</c:v>
                </c:pt>
                <c:pt idx="284">
                  <c:v>All Others</c:v>
                </c:pt>
                <c:pt idx="285">
                  <c:v>Jaillance</c:v>
                </c:pt>
                <c:pt idx="286">
                  <c:v>All Others</c:v>
                </c:pt>
                <c:pt idx="287">
                  <c:v>De Venoge</c:v>
                </c:pt>
                <c:pt idx="288">
                  <c:v>All Others</c:v>
                </c:pt>
                <c:pt idx="289">
                  <c:v>All Others</c:v>
                </c:pt>
                <c:pt idx="290">
                  <c:v>All Others</c:v>
                </c:pt>
                <c:pt idx="291">
                  <c:v>Henriot</c:v>
                </c:pt>
                <c:pt idx="292">
                  <c:v>Piper Heids</c:v>
                </c:pt>
                <c:pt idx="293">
                  <c:v>All Others</c:v>
                </c:pt>
                <c:pt idx="294">
                  <c:v>Roederer</c:v>
                </c:pt>
                <c:pt idx="295">
                  <c:v>Delamotte</c:v>
                </c:pt>
                <c:pt idx="296">
                  <c:v>Besserat De</c:v>
                </c:pt>
                <c:pt idx="297">
                  <c:v>Bouvet-Ladu</c:v>
                </c:pt>
                <c:pt idx="298">
                  <c:v>All Others</c:v>
                </c:pt>
                <c:pt idx="299">
                  <c:v>Pommery</c:v>
                </c:pt>
                <c:pt idx="300">
                  <c:v>Pommery</c:v>
                </c:pt>
                <c:pt idx="301">
                  <c:v>Besserat De</c:v>
                </c:pt>
                <c:pt idx="302">
                  <c:v>Roederer</c:v>
                </c:pt>
                <c:pt idx="303">
                  <c:v>Roederer</c:v>
                </c:pt>
                <c:pt idx="304">
                  <c:v>Roederer</c:v>
                </c:pt>
                <c:pt idx="305">
                  <c:v>All Others</c:v>
                </c:pt>
                <c:pt idx="306">
                  <c:v>Martel</c:v>
                </c:pt>
                <c:pt idx="307">
                  <c:v>Nicolas</c:v>
                </c:pt>
                <c:pt idx="308">
                  <c:v>All Others</c:v>
                </c:pt>
                <c:pt idx="309">
                  <c:v>All Others</c:v>
                </c:pt>
                <c:pt idx="310">
                  <c:v>Demoiselle</c:v>
                </c:pt>
                <c:pt idx="311">
                  <c:v>Bottega</c:v>
                </c:pt>
                <c:pt idx="312">
                  <c:v>Bottega</c:v>
                </c:pt>
                <c:pt idx="313">
                  <c:v>All Others</c:v>
                </c:pt>
                <c:pt idx="314">
                  <c:v>All Others</c:v>
                </c:pt>
              </c:strCache>
            </c:strRef>
          </c:cat>
          <c:val>
            <c:numRef>
              <c:f>Sheet1!$C$2:$C$316</c:f>
              <c:numCache>
                <c:formatCode>General</c:formatCode>
                <c:ptCount val="315"/>
                <c:pt idx="0">
                  <c:v>9.1057003978175524E-2</c:v>
                </c:pt>
                <c:pt idx="1">
                  <c:v>0.14288870117204075</c:v>
                </c:pt>
                <c:pt idx="2">
                  <c:v>0.18975492506485589</c:v>
                </c:pt>
                <c:pt idx="3">
                  <c:v>0.22765661046911659</c:v>
                </c:pt>
                <c:pt idx="4">
                  <c:v>0.26052858685335062</c:v>
                </c:pt>
                <c:pt idx="5">
                  <c:v>0.2881517738589347</c:v>
                </c:pt>
                <c:pt idx="6">
                  <c:v>0.31573631498480931</c:v>
                </c:pt>
                <c:pt idx="7">
                  <c:v>0.33870424021025447</c:v>
                </c:pt>
                <c:pt idx="8">
                  <c:v>0.36099246797026879</c:v>
                </c:pt>
                <c:pt idx="9">
                  <c:v>0.38186124301338636</c:v>
                </c:pt>
                <c:pt idx="10">
                  <c:v>0.40272766796922432</c:v>
                </c:pt>
                <c:pt idx="11">
                  <c:v>0.42309509105935411</c:v>
                </c:pt>
                <c:pt idx="12">
                  <c:v>0.44345911957896883</c:v>
                </c:pt>
                <c:pt idx="13">
                  <c:v>0.46309906009564855</c:v>
                </c:pt>
                <c:pt idx="14">
                  <c:v>0.48262045176511137</c:v>
                </c:pt>
                <c:pt idx="15">
                  <c:v>0.49799393938602665</c:v>
                </c:pt>
                <c:pt idx="16">
                  <c:v>0.5117999187914285</c:v>
                </c:pt>
                <c:pt idx="17">
                  <c:v>0.52527270804474047</c:v>
                </c:pt>
                <c:pt idx="18">
                  <c:v>0.53817155376020498</c:v>
                </c:pt>
                <c:pt idx="19">
                  <c:v>0.55093409441345087</c:v>
                </c:pt>
                <c:pt idx="20">
                  <c:v>0.56293181221758148</c:v>
                </c:pt>
                <c:pt idx="21">
                  <c:v>0.57314189696434004</c:v>
                </c:pt>
                <c:pt idx="22">
                  <c:v>0.58311175056695852</c:v>
                </c:pt>
                <c:pt idx="23">
                  <c:v>0.59290351977794287</c:v>
                </c:pt>
                <c:pt idx="24">
                  <c:v>0.60231118027911201</c:v>
                </c:pt>
                <c:pt idx="25">
                  <c:v>0.61156321277820791</c:v>
                </c:pt>
                <c:pt idx="26">
                  <c:v>0.62053793497830745</c:v>
                </c:pt>
                <c:pt idx="27">
                  <c:v>0.6294586051709754</c:v>
                </c:pt>
                <c:pt idx="28">
                  <c:v>0.63804451848670052</c:v>
                </c:pt>
                <c:pt idx="29">
                  <c:v>0.64648812096160357</c:v>
                </c:pt>
                <c:pt idx="30">
                  <c:v>0.65435281860329098</c:v>
                </c:pt>
                <c:pt idx="31">
                  <c:v>0.66221359943284563</c:v>
                </c:pt>
                <c:pt idx="32">
                  <c:v>0.66994904227415342</c:v>
                </c:pt>
                <c:pt idx="33">
                  <c:v>0.67735808410440135</c:v>
                </c:pt>
                <c:pt idx="34">
                  <c:v>0.68444777518542843</c:v>
                </c:pt>
                <c:pt idx="35">
                  <c:v>0.69147531951394969</c:v>
                </c:pt>
                <c:pt idx="36">
                  <c:v>0.69774404677195923</c:v>
                </c:pt>
                <c:pt idx="37">
                  <c:v>0.70395924426415502</c:v>
                </c:pt>
                <c:pt idx="38">
                  <c:v>0.71017156942745341</c:v>
                </c:pt>
                <c:pt idx="39">
                  <c:v>0.71635047112721928</c:v>
                </c:pt>
                <c:pt idx="40">
                  <c:v>0.72230089211924331</c:v>
                </c:pt>
                <c:pt idx="41">
                  <c:v>0.7279703471209471</c:v>
                </c:pt>
                <c:pt idx="42">
                  <c:v>0.73360402857183882</c:v>
                </c:pt>
                <c:pt idx="43">
                  <c:v>0.73877030377489283</c:v>
                </c:pt>
                <c:pt idx="44">
                  <c:v>0.74393318440743184</c:v>
                </c:pt>
                <c:pt idx="45">
                  <c:v>0.748745902035306</c:v>
                </c:pt>
                <c:pt idx="46">
                  <c:v>0.75355130828053241</c:v>
                </c:pt>
                <c:pt idx="47">
                  <c:v>0.75803396920602284</c:v>
                </c:pt>
                <c:pt idx="48">
                  <c:v>0.76247458968128878</c:v>
                </c:pt>
                <c:pt idx="49">
                  <c:v>0.76685959142427018</c:v>
                </c:pt>
                <c:pt idx="50">
                  <c:v>0.7712346705765154</c:v>
                </c:pt>
                <c:pt idx="51">
                  <c:v>0.77560504955420129</c:v>
                </c:pt>
                <c:pt idx="52">
                  <c:v>0.77986288546327376</c:v>
                </c:pt>
                <c:pt idx="53">
                  <c:v>0.78410505412381537</c:v>
                </c:pt>
                <c:pt idx="54">
                  <c:v>0.78826235852148152</c:v>
                </c:pt>
                <c:pt idx="55">
                  <c:v>0.79232983736090401</c:v>
                </c:pt>
                <c:pt idx="56">
                  <c:v>0.79622549870810455</c:v>
                </c:pt>
                <c:pt idx="57">
                  <c:v>0.80010914849809811</c:v>
                </c:pt>
                <c:pt idx="58">
                  <c:v>0.80395101895867604</c:v>
                </c:pt>
                <c:pt idx="59">
                  <c:v>0.80773883741182251</c:v>
                </c:pt>
                <c:pt idx="60">
                  <c:v>0.81143813591076952</c:v>
                </c:pt>
                <c:pt idx="61">
                  <c:v>0.81511785034905293</c:v>
                </c:pt>
                <c:pt idx="62">
                  <c:v>0.81877275831049579</c:v>
                </c:pt>
                <c:pt idx="63">
                  <c:v>0.82226394352479115</c:v>
                </c:pt>
                <c:pt idx="64">
                  <c:v>0.82572222751717161</c:v>
                </c:pt>
                <c:pt idx="65">
                  <c:v>0.82909669172991196</c:v>
                </c:pt>
                <c:pt idx="66">
                  <c:v>0.83239464754565995</c:v>
                </c:pt>
                <c:pt idx="67">
                  <c:v>0.83552183035242145</c:v>
                </c:pt>
                <c:pt idx="68">
                  <c:v>0.83845291143173817</c:v>
                </c:pt>
                <c:pt idx="69">
                  <c:v>0.8413706753498037</c:v>
                </c:pt>
                <c:pt idx="70">
                  <c:v>0.8442641550326464</c:v>
                </c:pt>
                <c:pt idx="71">
                  <c:v>0.84713961737967858</c:v>
                </c:pt>
                <c:pt idx="72">
                  <c:v>0.84993543788001213</c:v>
                </c:pt>
                <c:pt idx="73">
                  <c:v>0.85253776786098945</c:v>
                </c:pt>
                <c:pt idx="74">
                  <c:v>0.85503956633056044</c:v>
                </c:pt>
                <c:pt idx="75">
                  <c:v>0.85753222557182174</c:v>
                </c:pt>
                <c:pt idx="76">
                  <c:v>0.8600047785108017</c:v>
                </c:pt>
                <c:pt idx="77">
                  <c:v>0.86241675142212904</c:v>
                </c:pt>
                <c:pt idx="78">
                  <c:v>0.86482036846757315</c:v>
                </c:pt>
                <c:pt idx="79">
                  <c:v>0.86715113280734879</c:v>
                </c:pt>
                <c:pt idx="80">
                  <c:v>0.86944351238822382</c:v>
                </c:pt>
                <c:pt idx="81">
                  <c:v>0.87167139512931335</c:v>
                </c:pt>
                <c:pt idx="82">
                  <c:v>0.87388935527966671</c:v>
                </c:pt>
                <c:pt idx="83">
                  <c:v>0.87609895956413697</c:v>
                </c:pt>
                <c:pt idx="84">
                  <c:v>0.87829864125787094</c:v>
                </c:pt>
                <c:pt idx="85">
                  <c:v>0.88048631139439792</c:v>
                </c:pt>
                <c:pt idx="86">
                  <c:v>0.88266510342342408</c:v>
                </c:pt>
                <c:pt idx="87">
                  <c:v>0.88477835412942951</c:v>
                </c:pt>
                <c:pt idx="88">
                  <c:v>0.88688586017764026</c:v>
                </c:pt>
                <c:pt idx="89">
                  <c:v>0.88896255397040691</c:v>
                </c:pt>
                <c:pt idx="90">
                  <c:v>0.89103350310537899</c:v>
                </c:pt>
                <c:pt idx="91">
                  <c:v>0.89309009059586442</c:v>
                </c:pt>
                <c:pt idx="92">
                  <c:v>0.89510750996502264</c:v>
                </c:pt>
                <c:pt idx="93">
                  <c:v>0.89712231812609244</c:v>
                </c:pt>
                <c:pt idx="94">
                  <c:v>0.89904938969538939</c:v>
                </c:pt>
                <c:pt idx="95">
                  <c:v>0.90092998176071137</c:v>
                </c:pt>
                <c:pt idx="96">
                  <c:v>0.90271030343543579</c:v>
                </c:pt>
                <c:pt idx="97">
                  <c:v>0.90444153439809682</c:v>
                </c:pt>
                <c:pt idx="98">
                  <c:v>0.90616153716597736</c:v>
                </c:pt>
                <c:pt idx="99">
                  <c:v>0.90787892872576947</c:v>
                </c:pt>
                <c:pt idx="100">
                  <c:v>0.90959005338614918</c:v>
                </c:pt>
                <c:pt idx="101">
                  <c:v>0.91121318033394716</c:v>
                </c:pt>
                <c:pt idx="102">
                  <c:v>0.91281463425461085</c:v>
                </c:pt>
                <c:pt idx="103">
                  <c:v>0.91441243248395065</c:v>
                </c:pt>
                <c:pt idx="104">
                  <c:v>0.9160078806260108</c:v>
                </c:pt>
                <c:pt idx="105">
                  <c:v>0.91756677185483226</c:v>
                </c:pt>
                <c:pt idx="106">
                  <c:v>0.91911130143916708</c:v>
                </c:pt>
                <c:pt idx="107">
                  <c:v>0.92061065712357126</c:v>
                </c:pt>
                <c:pt idx="108">
                  <c:v>0.92210244030451882</c:v>
                </c:pt>
                <c:pt idx="109">
                  <c:v>0.92359030667333364</c:v>
                </c:pt>
                <c:pt idx="110">
                  <c:v>0.92506120018957338</c:v>
                </c:pt>
                <c:pt idx="111">
                  <c:v>0.92651877654456194</c:v>
                </c:pt>
                <c:pt idx="112">
                  <c:v>0.92794345167763559</c:v>
                </c:pt>
                <c:pt idx="113">
                  <c:v>0.92935872646159079</c:v>
                </c:pt>
                <c:pt idx="114">
                  <c:v>0.93075232821841158</c:v>
                </c:pt>
                <c:pt idx="115">
                  <c:v>0.93213104608912811</c:v>
                </c:pt>
                <c:pt idx="116">
                  <c:v>0.93347007359689971</c:v>
                </c:pt>
                <c:pt idx="117">
                  <c:v>0.93480675101739164</c:v>
                </c:pt>
                <c:pt idx="118">
                  <c:v>0.93613716153847126</c:v>
                </c:pt>
                <c:pt idx="119">
                  <c:v>0.93746391636822701</c:v>
                </c:pt>
                <c:pt idx="120">
                  <c:v>0.93877735403673157</c:v>
                </c:pt>
                <c:pt idx="121">
                  <c:v>0.94007094652376366</c:v>
                </c:pt>
                <c:pt idx="122">
                  <c:v>0.9413501773663091</c:v>
                </c:pt>
                <c:pt idx="123">
                  <c:v>0.94258971784590972</c:v>
                </c:pt>
                <c:pt idx="124">
                  <c:v>0.94380105727815478</c:v>
                </c:pt>
                <c:pt idx="125">
                  <c:v>0.94501109110635562</c:v>
                </c:pt>
                <c:pt idx="126">
                  <c:v>0.94615741145719756</c:v>
                </c:pt>
                <c:pt idx="127">
                  <c:v>0.94728310326414045</c:v>
                </c:pt>
                <c:pt idx="128">
                  <c:v>0.94840226705086217</c:v>
                </c:pt>
                <c:pt idx="129">
                  <c:v>0.94948174047463907</c:v>
                </c:pt>
                <c:pt idx="130">
                  <c:v>0.95053353509267813</c:v>
                </c:pt>
                <c:pt idx="131">
                  <c:v>0.95152501080387331</c:v>
                </c:pt>
                <c:pt idx="132">
                  <c:v>0.95246765692381397</c:v>
                </c:pt>
                <c:pt idx="133">
                  <c:v>0.95338863001662022</c:v>
                </c:pt>
                <c:pt idx="134">
                  <c:v>0.95429602482736642</c:v>
                </c:pt>
                <c:pt idx="135">
                  <c:v>0.95519976394678874</c:v>
                </c:pt>
                <c:pt idx="136">
                  <c:v>0.95609044702576862</c:v>
                </c:pt>
                <c:pt idx="137">
                  <c:v>0.95698060786313088</c:v>
                </c:pt>
                <c:pt idx="138">
                  <c:v>0.95786502404269847</c:v>
                </c:pt>
                <c:pt idx="139">
                  <c:v>0.95874735125579524</c:v>
                </c:pt>
                <c:pt idx="140">
                  <c:v>0.95960617759609568</c:v>
                </c:pt>
                <c:pt idx="141">
                  <c:v>0.96044959780867412</c:v>
                </c:pt>
                <c:pt idx="142">
                  <c:v>0.96128361767213399</c:v>
                </c:pt>
                <c:pt idx="143">
                  <c:v>0.96209570338765071</c:v>
                </c:pt>
                <c:pt idx="144">
                  <c:v>0.96290622237831436</c:v>
                </c:pt>
                <c:pt idx="145">
                  <c:v>0.96371151895280105</c:v>
                </c:pt>
                <c:pt idx="146">
                  <c:v>0.96451315983596386</c:v>
                </c:pt>
                <c:pt idx="147">
                  <c:v>0.96531140614861166</c:v>
                </c:pt>
                <c:pt idx="148">
                  <c:v>0.96610390780346478</c:v>
                </c:pt>
                <c:pt idx="149">
                  <c:v>0.96681076183301584</c:v>
                </c:pt>
                <c:pt idx="150">
                  <c:v>0.96746800290888579</c:v>
                </c:pt>
                <c:pt idx="151">
                  <c:v>0.96811767148129912</c:v>
                </c:pt>
                <c:pt idx="152">
                  <c:v>0.96874775599304885</c:v>
                </c:pt>
                <c:pt idx="153">
                  <c:v>0.96936400110192966</c:v>
                </c:pt>
                <c:pt idx="154">
                  <c:v>0.9699716292241185</c:v>
                </c:pt>
                <c:pt idx="155">
                  <c:v>0.97057351268851277</c:v>
                </c:pt>
                <c:pt idx="156">
                  <c:v>0.97117409054886272</c:v>
                </c:pt>
                <c:pt idx="157">
                  <c:v>0.97175012305318098</c:v>
                </c:pt>
                <c:pt idx="158">
                  <c:v>0.97230500477198256</c:v>
                </c:pt>
                <c:pt idx="159">
                  <c:v>0.97285492519541605</c:v>
                </c:pt>
                <c:pt idx="160">
                  <c:v>0.97340040656509919</c:v>
                </c:pt>
                <c:pt idx="161">
                  <c:v>0.97394327672669379</c:v>
                </c:pt>
                <c:pt idx="162">
                  <c:v>0.97448431904262645</c:v>
                </c:pt>
                <c:pt idx="163">
                  <c:v>0.97501622213024941</c:v>
                </c:pt>
                <c:pt idx="164">
                  <c:v>0.97554316392250429</c:v>
                </c:pt>
                <c:pt idx="165">
                  <c:v>0.97604947717086021</c:v>
                </c:pt>
                <c:pt idx="166">
                  <c:v>0.9765539625735542</c:v>
                </c:pt>
                <c:pt idx="167">
                  <c:v>0.97704278072771733</c:v>
                </c:pt>
                <c:pt idx="168">
                  <c:v>0.97752820431136545</c:v>
                </c:pt>
                <c:pt idx="169">
                  <c:v>0.97800579427074807</c:v>
                </c:pt>
                <c:pt idx="170">
                  <c:v>0.97847581172667419</c:v>
                </c:pt>
                <c:pt idx="171">
                  <c:v>0.978929117450834</c:v>
                </c:pt>
                <c:pt idx="172">
                  <c:v>0.97936858377212488</c:v>
                </c:pt>
                <c:pt idx="173">
                  <c:v>0.97980230543562108</c:v>
                </c:pt>
                <c:pt idx="174">
                  <c:v>0.98023315477021999</c:v>
                </c:pt>
                <c:pt idx="175">
                  <c:v>0.98065878168864196</c:v>
                </c:pt>
                <c:pt idx="176">
                  <c:v>0.98107996955331345</c:v>
                </c:pt>
                <c:pt idx="177">
                  <c:v>0.98149985181394073</c:v>
                </c:pt>
                <c:pt idx="178">
                  <c:v>0.98191868959133266</c:v>
                </c:pt>
                <c:pt idx="179">
                  <c:v>0.9823304771068857</c:v>
                </c:pt>
                <c:pt idx="180">
                  <c:v>0.98272320280339287</c:v>
                </c:pt>
                <c:pt idx="181">
                  <c:v>0.98311488401666458</c:v>
                </c:pt>
                <c:pt idx="182">
                  <c:v>0.9834995149680974</c:v>
                </c:pt>
                <c:pt idx="183">
                  <c:v>0.98388336255710374</c:v>
                </c:pt>
                <c:pt idx="184">
                  <c:v>0.98425676531375617</c:v>
                </c:pt>
                <c:pt idx="185">
                  <c:v>0.98462651237908472</c:v>
                </c:pt>
                <c:pt idx="186">
                  <c:v>0.98499469271956019</c:v>
                </c:pt>
                <c:pt idx="187">
                  <c:v>0.98534798917393129</c:v>
                </c:pt>
                <c:pt idx="188">
                  <c:v>0.98570024114506705</c:v>
                </c:pt>
                <c:pt idx="189">
                  <c:v>0.9860475318208346</c:v>
                </c:pt>
                <c:pt idx="190">
                  <c:v>0.98638881671799872</c:v>
                </c:pt>
                <c:pt idx="191">
                  <c:v>0.9867282737695009</c:v>
                </c:pt>
                <c:pt idx="192">
                  <c:v>0.98706590297534114</c:v>
                </c:pt>
                <c:pt idx="193">
                  <c:v>0.98739204286559201</c:v>
                </c:pt>
                <c:pt idx="194">
                  <c:v>0.98771583266856333</c:v>
                </c:pt>
                <c:pt idx="195">
                  <c:v>0.98803544453859304</c:v>
                </c:pt>
                <c:pt idx="196">
                  <c:v>0.98834121700575384</c:v>
                </c:pt>
                <c:pt idx="197">
                  <c:v>0.98863210558681025</c:v>
                </c:pt>
                <c:pt idx="198">
                  <c:v>0.9889185551141163</c:v>
                </c:pt>
                <c:pt idx="199">
                  <c:v>0.98919821550039233</c:v>
                </c:pt>
                <c:pt idx="200">
                  <c:v>0.98947578692019755</c:v>
                </c:pt>
                <c:pt idx="201">
                  <c:v>0.98975257497757629</c:v>
                </c:pt>
                <c:pt idx="202">
                  <c:v>0.99002727406848423</c:v>
                </c:pt>
                <c:pt idx="203">
                  <c:v>0.99029361729350895</c:v>
                </c:pt>
                <c:pt idx="204">
                  <c:v>0.99055682706882753</c:v>
                </c:pt>
                <c:pt idx="205">
                  <c:v>0.99081690339443995</c:v>
                </c:pt>
                <c:pt idx="206">
                  <c:v>0.99105478445130035</c:v>
                </c:pt>
                <c:pt idx="207">
                  <c:v>0.99128953205845449</c:v>
                </c:pt>
                <c:pt idx="208">
                  <c:v>0.99152114621590248</c:v>
                </c:pt>
                <c:pt idx="209">
                  <c:v>0.99175276037335047</c:v>
                </c:pt>
                <c:pt idx="210">
                  <c:v>0.99198097996028345</c:v>
                </c:pt>
                <c:pt idx="211">
                  <c:v>0.99219509902353864</c:v>
                </c:pt>
                <c:pt idx="212">
                  <c:v>0.99240399567061688</c:v>
                </c:pt>
                <c:pt idx="213">
                  <c:v>0.99261263119688625</c:v>
                </c:pt>
                <c:pt idx="214">
                  <c:v>0.99281395534050787</c:v>
                </c:pt>
                <c:pt idx="215">
                  <c:v>0.99301449612170301</c:v>
                </c:pt>
                <c:pt idx="216">
                  <c:v>0.99321033672833892</c:v>
                </c:pt>
                <c:pt idx="217">
                  <c:v>0.99340278276445981</c:v>
                </c:pt>
                <c:pt idx="218">
                  <c:v>0.99359261759249218</c:v>
                </c:pt>
                <c:pt idx="219">
                  <c:v>0.9937814079372892</c:v>
                </c:pt>
                <c:pt idx="220">
                  <c:v>0.99396367026186494</c:v>
                </c:pt>
                <c:pt idx="221">
                  <c:v>0.99414462698239647</c:v>
                </c:pt>
                <c:pt idx="222">
                  <c:v>0.99432166689079526</c:v>
                </c:pt>
                <c:pt idx="223">
                  <c:v>0.99449792343676757</c:v>
                </c:pt>
                <c:pt idx="224">
                  <c:v>0.99466921868737179</c:v>
                </c:pt>
                <c:pt idx="225">
                  <c:v>0.99483920833393169</c:v>
                </c:pt>
                <c:pt idx="226">
                  <c:v>0.99500371444350577</c:v>
                </c:pt>
                <c:pt idx="227">
                  <c:v>0.99516769831146223</c:v>
                </c:pt>
                <c:pt idx="228">
                  <c:v>0.99532384855515321</c:v>
                </c:pt>
                <c:pt idx="229">
                  <c:v>0.99547347077862303</c:v>
                </c:pt>
                <c:pt idx="230">
                  <c:v>0.99561734834429816</c:v>
                </c:pt>
                <c:pt idx="231">
                  <c:v>0.99576096478916443</c:v>
                </c:pt>
                <c:pt idx="232">
                  <c:v>0.99590405899241308</c:v>
                </c:pt>
                <c:pt idx="233">
                  <c:v>0.99604506422919092</c:v>
                </c:pt>
                <c:pt idx="234">
                  <c:v>0.99618606946596877</c:v>
                </c:pt>
                <c:pt idx="235">
                  <c:v>0.99632550797789354</c:v>
                </c:pt>
                <c:pt idx="236">
                  <c:v>0.99646259640253865</c:v>
                </c:pt>
                <c:pt idx="237">
                  <c:v>0.99658271197460868</c:v>
                </c:pt>
                <c:pt idx="238">
                  <c:v>0.99670152194263439</c:v>
                </c:pt>
                <c:pt idx="239">
                  <c:v>0.9968148483736744</c:v>
                </c:pt>
                <c:pt idx="240">
                  <c:v>0.99692791368390554</c:v>
                </c:pt>
                <c:pt idx="241">
                  <c:v>0.99703653994038621</c:v>
                </c:pt>
                <c:pt idx="242">
                  <c:v>0.99714098826392539</c:v>
                </c:pt>
                <c:pt idx="243">
                  <c:v>0.99724491434584683</c:v>
                </c:pt>
                <c:pt idx="244">
                  <c:v>0.99734675146129748</c:v>
                </c:pt>
                <c:pt idx="245">
                  <c:v>0.99744806633513039</c:v>
                </c:pt>
                <c:pt idx="246">
                  <c:v>0.99754729224249261</c:v>
                </c:pt>
                <c:pt idx="247">
                  <c:v>0.99764651814985483</c:v>
                </c:pt>
                <c:pt idx="248">
                  <c:v>0.99774574405721705</c:v>
                </c:pt>
                <c:pt idx="249">
                  <c:v>0.99783739746112265</c:v>
                </c:pt>
                <c:pt idx="250">
                  <c:v>0.99792774526098404</c:v>
                </c:pt>
                <c:pt idx="251">
                  <c:v>0.99800895383253574</c:v>
                </c:pt>
                <c:pt idx="252">
                  <c:v>0.99808702895438128</c:v>
                </c:pt>
                <c:pt idx="253">
                  <c:v>0.99816484295541796</c:v>
                </c:pt>
                <c:pt idx="254">
                  <c:v>0.99824213471483692</c:v>
                </c:pt>
                <c:pt idx="255">
                  <c:v>0.99831629302454972</c:v>
                </c:pt>
                <c:pt idx="256">
                  <c:v>0.99838940685102706</c:v>
                </c:pt>
                <c:pt idx="257">
                  <c:v>0.99845860386537177</c:v>
                </c:pt>
                <c:pt idx="258">
                  <c:v>0.99852571191324568</c:v>
                </c:pt>
                <c:pt idx="259">
                  <c:v>0.99859073099464879</c:v>
                </c:pt>
                <c:pt idx="260">
                  <c:v>0.99865470559281655</c:v>
                </c:pt>
                <c:pt idx="261">
                  <c:v>0.99871633010370464</c:v>
                </c:pt>
                <c:pt idx="262">
                  <c:v>0.99877769349378387</c:v>
                </c:pt>
                <c:pt idx="263">
                  <c:v>0.99883827352143661</c:v>
                </c:pt>
                <c:pt idx="264">
                  <c:v>0.99889545897857424</c:v>
                </c:pt>
                <c:pt idx="265">
                  <c:v>0.9989482053819615</c:v>
                </c:pt>
                <c:pt idx="266">
                  <c:v>0.99899912393968682</c:v>
                </c:pt>
                <c:pt idx="267">
                  <c:v>0.99904847577255906</c:v>
                </c:pt>
                <c:pt idx="268">
                  <c:v>0.9990936496724897</c:v>
                </c:pt>
                <c:pt idx="269">
                  <c:v>0.9991369957267584</c:v>
                </c:pt>
                <c:pt idx="270">
                  <c:v>0.99917903617698289</c:v>
                </c:pt>
                <c:pt idx="271">
                  <c:v>0.99922081550639852</c:v>
                </c:pt>
                <c:pt idx="272">
                  <c:v>0.99925972250691686</c:v>
                </c:pt>
                <c:pt idx="273">
                  <c:v>0.99929784614500861</c:v>
                </c:pt>
                <c:pt idx="274">
                  <c:v>0.99933570866229149</c:v>
                </c:pt>
                <c:pt idx="275">
                  <c:v>0.99937331005876562</c:v>
                </c:pt>
                <c:pt idx="276">
                  <c:v>0.99940856136796008</c:v>
                </c:pt>
                <c:pt idx="277">
                  <c:v>0.99944302931472795</c:v>
                </c:pt>
                <c:pt idx="278">
                  <c:v>0.99947671389906934</c:v>
                </c:pt>
                <c:pt idx="279">
                  <c:v>0.99950961512098413</c:v>
                </c:pt>
                <c:pt idx="280">
                  <c:v>0.99954173298047244</c:v>
                </c:pt>
                <c:pt idx="281">
                  <c:v>0.9995728063567253</c:v>
                </c:pt>
                <c:pt idx="282">
                  <c:v>0.9996028352497428</c:v>
                </c:pt>
                <c:pt idx="283">
                  <c:v>0.99963103629709837</c:v>
                </c:pt>
                <c:pt idx="284">
                  <c:v>0.99965793174040973</c:v>
                </c:pt>
                <c:pt idx="285">
                  <c:v>0.99968430494210336</c:v>
                </c:pt>
                <c:pt idx="286">
                  <c:v>0.99970963366056165</c:v>
                </c:pt>
                <c:pt idx="287">
                  <c:v>0.99973313453335799</c:v>
                </c:pt>
                <c:pt idx="288">
                  <c:v>0.99975532980211002</c:v>
                </c:pt>
                <c:pt idx="289">
                  <c:v>0.99977752507086204</c:v>
                </c:pt>
                <c:pt idx="290">
                  <c:v>0.99979789249395212</c:v>
                </c:pt>
                <c:pt idx="291">
                  <c:v>0.99981669319218913</c:v>
                </c:pt>
                <c:pt idx="292">
                  <c:v>0.99983236044071999</c:v>
                </c:pt>
                <c:pt idx="293">
                  <c:v>0.99984593872278005</c:v>
                </c:pt>
                <c:pt idx="294">
                  <c:v>0.99985795027998703</c:v>
                </c:pt>
                <c:pt idx="295">
                  <c:v>0.99986970071638515</c:v>
                </c:pt>
                <c:pt idx="296">
                  <c:v>0.9998811900319744</c:v>
                </c:pt>
                <c:pt idx="297">
                  <c:v>0.99989215710594603</c:v>
                </c:pt>
                <c:pt idx="298">
                  <c:v>0.99990260193829994</c:v>
                </c:pt>
                <c:pt idx="299">
                  <c:v>0.99991278564984498</c:v>
                </c:pt>
                <c:pt idx="300">
                  <c:v>0.99992244711977241</c:v>
                </c:pt>
                <c:pt idx="301">
                  <c:v>0.9999315863480821</c:v>
                </c:pt>
                <c:pt idx="302">
                  <c:v>0.99994046445558293</c:v>
                </c:pt>
                <c:pt idx="303">
                  <c:v>0.99994803695903955</c:v>
                </c:pt>
                <c:pt idx="304">
                  <c:v>0.99995534834168731</c:v>
                </c:pt>
                <c:pt idx="305">
                  <c:v>0.99996213748271734</c:v>
                </c:pt>
                <c:pt idx="306">
                  <c:v>0.99996840438212964</c:v>
                </c:pt>
                <c:pt idx="307">
                  <c:v>0.99997414903992432</c:v>
                </c:pt>
                <c:pt idx="308">
                  <c:v>0.99997884921448355</c:v>
                </c:pt>
                <c:pt idx="309">
                  <c:v>0.99998354938904277</c:v>
                </c:pt>
                <c:pt idx="310">
                  <c:v>0.99998798844279313</c:v>
                </c:pt>
                <c:pt idx="311">
                  <c:v>0.99999164413411701</c:v>
                </c:pt>
                <c:pt idx="312">
                  <c:v>0.99999477758382316</c:v>
                </c:pt>
                <c:pt idx="313">
                  <c:v>0.99999764991272044</c:v>
                </c:pt>
                <c:pt idx="314">
                  <c:v>1</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77</c:f>
              <c:strCache>
                <c:ptCount val="276"/>
                <c:pt idx="0">
                  <c:v>Ruinart</c:v>
                </c:pt>
                <c:pt idx="1">
                  <c:v>Nicolas</c:v>
                </c:pt>
                <c:pt idx="2">
                  <c:v>Deutz</c:v>
                </c:pt>
                <c:pt idx="3">
                  <c:v>Heidsieck &amp;</c:v>
                </c:pt>
                <c:pt idx="4">
                  <c:v>Ruinart</c:v>
                </c:pt>
                <c:pt idx="5">
                  <c:v>Ayala</c:v>
                </c:pt>
                <c:pt idx="6">
                  <c:v>De Bligny</c:v>
                </c:pt>
                <c:pt idx="7">
                  <c:v>Malard</c:v>
                </c:pt>
                <c:pt idx="8">
                  <c:v>Canard Duch</c:v>
                </c:pt>
                <c:pt idx="9">
                  <c:v>Besserat De</c:v>
                </c:pt>
                <c:pt idx="10">
                  <c:v>Laurent Per</c:v>
                </c:pt>
                <c:pt idx="11">
                  <c:v>Campari: Al</c:v>
                </c:pt>
                <c:pt idx="12">
                  <c:v>Bollinger</c:v>
                </c:pt>
                <c:pt idx="13">
                  <c:v>Deutz</c:v>
                </c:pt>
                <c:pt idx="14">
                  <c:v>Taittinger</c:v>
                </c:pt>
                <c:pt idx="15">
                  <c:v>Ruinart</c:v>
                </c:pt>
                <c:pt idx="16">
                  <c:v>Ruinart</c:v>
                </c:pt>
                <c:pt idx="17">
                  <c:v>Nicolas Feu</c:v>
                </c:pt>
                <c:pt idx="18">
                  <c:v>Ruinart</c:v>
                </c:pt>
                <c:pt idx="19">
                  <c:v>Ruinart</c:v>
                </c:pt>
                <c:pt idx="20">
                  <c:v>Demoiselle</c:v>
                </c:pt>
                <c:pt idx="21">
                  <c:v>All Others</c:v>
                </c:pt>
                <c:pt idx="22">
                  <c:v>Savian</c:v>
                </c:pt>
                <c:pt idx="23">
                  <c:v>Deutz</c:v>
                </c:pt>
                <c:pt idx="24">
                  <c:v>Louis Marti</c:v>
                </c:pt>
                <c:pt idx="25">
                  <c:v>All Others</c:v>
                </c:pt>
                <c:pt idx="26">
                  <c:v>Perrier Jou</c:v>
                </c:pt>
                <c:pt idx="27">
                  <c:v>Laurent Per</c:v>
                </c:pt>
                <c:pt idx="28">
                  <c:v>Dom Perigno</c:v>
                </c:pt>
                <c:pt idx="29">
                  <c:v>Henriot</c:v>
                </c:pt>
                <c:pt idx="30">
                  <c:v>Roederer</c:v>
                </c:pt>
                <c:pt idx="31">
                  <c:v>Malard</c:v>
                </c:pt>
                <c:pt idx="32">
                  <c:v>Pommery</c:v>
                </c:pt>
                <c:pt idx="33">
                  <c:v>Besserat De</c:v>
                </c:pt>
                <c:pt idx="34">
                  <c:v>Vesselle</c:v>
                </c:pt>
                <c:pt idx="35">
                  <c:v>Roederer</c:v>
                </c:pt>
                <c:pt idx="36">
                  <c:v>Campari: Al</c:v>
                </c:pt>
                <c:pt idx="37">
                  <c:v>Demoiselle</c:v>
                </c:pt>
                <c:pt idx="38">
                  <c:v>Ruinart</c:v>
                </c:pt>
                <c:pt idx="39">
                  <c:v>Dom Perigno</c:v>
                </c:pt>
                <c:pt idx="40">
                  <c:v>Laurent Per</c:v>
                </c:pt>
                <c:pt idx="41">
                  <c:v>All Others</c:v>
                </c:pt>
                <c:pt idx="42">
                  <c:v>Nicolas</c:v>
                </c:pt>
                <c:pt idx="43">
                  <c:v>Bottega</c:v>
                </c:pt>
                <c:pt idx="44">
                  <c:v>Nicolas</c:v>
                </c:pt>
                <c:pt idx="45">
                  <c:v>Bouvet-Ladu</c:v>
                </c:pt>
                <c:pt idx="46">
                  <c:v>Moët &amp; Chan</c:v>
                </c:pt>
                <c:pt idx="47">
                  <c:v>Taittinger</c:v>
                </c:pt>
                <c:pt idx="48">
                  <c:v>Mure</c:v>
                </c:pt>
                <c:pt idx="49">
                  <c:v>De Chanceny</c:v>
                </c:pt>
                <c:pt idx="50">
                  <c:v>Malard</c:v>
                </c:pt>
                <c:pt idx="51">
                  <c:v>Patriarche</c:v>
                </c:pt>
                <c:pt idx="52">
                  <c:v>Nicolas</c:v>
                </c:pt>
                <c:pt idx="53">
                  <c:v>Deutz</c:v>
                </c:pt>
                <c:pt idx="54">
                  <c:v>Ruinart</c:v>
                </c:pt>
                <c:pt idx="55">
                  <c:v>Kriter</c:v>
                </c:pt>
                <c:pt idx="56">
                  <c:v>Lyre's</c:v>
                </c:pt>
                <c:pt idx="57">
                  <c:v>All Others</c:v>
                </c:pt>
                <c:pt idx="58">
                  <c:v>Delamotte</c:v>
                </c:pt>
                <c:pt idx="59">
                  <c:v>All Others</c:v>
                </c:pt>
                <c:pt idx="60">
                  <c:v>Ruinart</c:v>
                </c:pt>
                <c:pt idx="61">
                  <c:v>Besserat De</c:v>
                </c:pt>
                <c:pt idx="62">
                  <c:v>Malard</c:v>
                </c:pt>
                <c:pt idx="63">
                  <c:v>Henriot</c:v>
                </c:pt>
                <c:pt idx="64">
                  <c:v>Veuve Clicq</c:v>
                </c:pt>
                <c:pt idx="65">
                  <c:v>Veuve Clicq</c:v>
                </c:pt>
                <c:pt idx="66">
                  <c:v>Pommery</c:v>
                </c:pt>
                <c:pt idx="67">
                  <c:v>Lanson</c:v>
                </c:pt>
                <c:pt idx="68">
                  <c:v>Nicolas Feu</c:v>
                </c:pt>
                <c:pt idx="69">
                  <c:v>Veuve Clicq</c:v>
                </c:pt>
                <c:pt idx="70">
                  <c:v>Piper Heids</c:v>
                </c:pt>
                <c:pt idx="71">
                  <c:v>Nicolas Feu</c:v>
                </c:pt>
                <c:pt idx="72">
                  <c:v>De Bligny</c:v>
                </c:pt>
                <c:pt idx="73">
                  <c:v>Ayala</c:v>
                </c:pt>
                <c:pt idx="74">
                  <c:v>French Bloo</c:v>
                </c:pt>
                <c:pt idx="75">
                  <c:v>Patriarche</c:v>
                </c:pt>
                <c:pt idx="76">
                  <c:v>Canard Duch</c:v>
                </c:pt>
                <c:pt idx="77">
                  <c:v>Savian</c:v>
                </c:pt>
                <c:pt idx="78">
                  <c:v>Ruinart</c:v>
                </c:pt>
                <c:pt idx="79">
                  <c:v>De Venoge</c:v>
                </c:pt>
                <c:pt idx="80">
                  <c:v>Nicolas Feu</c:v>
                </c:pt>
                <c:pt idx="81">
                  <c:v>Roederer</c:v>
                </c:pt>
                <c:pt idx="82">
                  <c:v>Krug</c:v>
                </c:pt>
                <c:pt idx="83">
                  <c:v>Henriot</c:v>
                </c:pt>
                <c:pt idx="84">
                  <c:v>Canard Duch</c:v>
                </c:pt>
                <c:pt idx="85">
                  <c:v>Laurent Per</c:v>
                </c:pt>
                <c:pt idx="86">
                  <c:v>Roederer</c:v>
                </c:pt>
                <c:pt idx="87">
                  <c:v>Bollinger</c:v>
                </c:pt>
                <c:pt idx="88">
                  <c:v>Roederer</c:v>
                </c:pt>
                <c:pt idx="89">
                  <c:v>All Others</c:v>
                </c:pt>
                <c:pt idx="90">
                  <c:v>Roederer</c:v>
                </c:pt>
                <c:pt idx="91">
                  <c:v>Henriot</c:v>
                </c:pt>
                <c:pt idx="92">
                  <c:v>Nicolas</c:v>
                </c:pt>
                <c:pt idx="93">
                  <c:v>Malard</c:v>
                </c:pt>
                <c:pt idx="94">
                  <c:v>De Venoge</c:v>
                </c:pt>
                <c:pt idx="95">
                  <c:v>Nicolas</c:v>
                </c:pt>
                <c:pt idx="96">
                  <c:v>Ruinart</c:v>
                </c:pt>
                <c:pt idx="97">
                  <c:v>Perrier Jou</c:v>
                </c:pt>
                <c:pt idx="98">
                  <c:v>Canard Duch</c:v>
                </c:pt>
                <c:pt idx="99">
                  <c:v>Roederer</c:v>
                </c:pt>
                <c:pt idx="100">
                  <c:v>Ruinart</c:v>
                </c:pt>
                <c:pt idx="101">
                  <c:v>All Others</c:v>
                </c:pt>
                <c:pt idx="102">
                  <c:v>Moët &amp; Chan</c:v>
                </c:pt>
                <c:pt idx="103">
                  <c:v>All Others</c:v>
                </c:pt>
                <c:pt idx="104">
                  <c:v>Deutz</c:v>
                </c:pt>
                <c:pt idx="105">
                  <c:v>Moët &amp; Chan</c:v>
                </c:pt>
                <c:pt idx="106">
                  <c:v>Bottega</c:v>
                </c:pt>
                <c:pt idx="107">
                  <c:v>De Venoge</c:v>
                </c:pt>
                <c:pt idx="108">
                  <c:v>Cru La Maqu</c:v>
                </c:pt>
                <c:pt idx="109">
                  <c:v>Malard</c:v>
                </c:pt>
                <c:pt idx="110">
                  <c:v>De Chanceny</c:v>
                </c:pt>
                <c:pt idx="111">
                  <c:v>Veuve Clicq</c:v>
                </c:pt>
                <c:pt idx="112">
                  <c:v>De Venoge</c:v>
                </c:pt>
                <c:pt idx="113">
                  <c:v>Vranken</c:v>
                </c:pt>
                <c:pt idx="114">
                  <c:v>Contarini</c:v>
                </c:pt>
                <c:pt idx="115">
                  <c:v>All Others</c:v>
                </c:pt>
                <c:pt idx="116">
                  <c:v>Roederer</c:v>
                </c:pt>
                <c:pt idx="117">
                  <c:v>All Others</c:v>
                </c:pt>
                <c:pt idx="118">
                  <c:v>Dom Perigno</c:v>
                </c:pt>
                <c:pt idx="119">
                  <c:v>Vranken</c:v>
                </c:pt>
                <c:pt idx="120">
                  <c:v>Bollinger</c:v>
                </c:pt>
                <c:pt idx="121">
                  <c:v>Nicolas</c:v>
                </c:pt>
                <c:pt idx="122">
                  <c:v>Roederer</c:v>
                </c:pt>
                <c:pt idx="123">
                  <c:v>All Others</c:v>
                </c:pt>
                <c:pt idx="124">
                  <c:v>All Others</c:v>
                </c:pt>
                <c:pt idx="125">
                  <c:v>Nicolas</c:v>
                </c:pt>
                <c:pt idx="126">
                  <c:v>Deutz</c:v>
                </c:pt>
                <c:pt idx="127">
                  <c:v>Ruinart</c:v>
                </c:pt>
                <c:pt idx="128">
                  <c:v>Laurent Per</c:v>
                </c:pt>
                <c:pt idx="129">
                  <c:v>Nicolas</c:v>
                </c:pt>
                <c:pt idx="130">
                  <c:v>Nicolas Feu</c:v>
                </c:pt>
                <c:pt idx="131">
                  <c:v>Roederer</c:v>
                </c:pt>
                <c:pt idx="132">
                  <c:v>Roederer</c:v>
                </c:pt>
                <c:pt idx="133">
                  <c:v>All Others</c:v>
                </c:pt>
                <c:pt idx="134">
                  <c:v>Canard Duch</c:v>
                </c:pt>
                <c:pt idx="135">
                  <c:v>All Others</c:v>
                </c:pt>
                <c:pt idx="136">
                  <c:v>Nicolas</c:v>
                </c:pt>
                <c:pt idx="137">
                  <c:v>Deutz</c:v>
                </c:pt>
                <c:pt idx="138">
                  <c:v>Louis Marti</c:v>
                </c:pt>
                <c:pt idx="139">
                  <c:v>Nicolas</c:v>
                </c:pt>
                <c:pt idx="140">
                  <c:v>All Others</c:v>
                </c:pt>
                <c:pt idx="141">
                  <c:v>Nicolas</c:v>
                </c:pt>
                <c:pt idx="142">
                  <c:v>All Others</c:v>
                </c:pt>
                <c:pt idx="143">
                  <c:v>All Others</c:v>
                </c:pt>
                <c:pt idx="144">
                  <c:v>Pommery</c:v>
                </c:pt>
                <c:pt idx="145">
                  <c:v>Laurent Per</c:v>
                </c:pt>
                <c:pt idx="146">
                  <c:v>Nicolas</c:v>
                </c:pt>
                <c:pt idx="147">
                  <c:v>Demoiselle</c:v>
                </c:pt>
                <c:pt idx="148">
                  <c:v>Taittinger</c:v>
                </c:pt>
                <c:pt idx="149">
                  <c:v>Bollinger</c:v>
                </c:pt>
                <c:pt idx="150">
                  <c:v>Ruinart</c:v>
                </c:pt>
                <c:pt idx="151">
                  <c:v>Dom Perigno</c:v>
                </c:pt>
                <c:pt idx="152">
                  <c:v>Ayala</c:v>
                </c:pt>
                <c:pt idx="153">
                  <c:v>Ruinart</c:v>
                </c:pt>
                <c:pt idx="154">
                  <c:v>Besserat De</c:v>
                </c:pt>
                <c:pt idx="155">
                  <c:v>All Others</c:v>
                </c:pt>
                <c:pt idx="156">
                  <c:v>All Others</c:v>
                </c:pt>
                <c:pt idx="157">
                  <c:v>Nicolas</c:v>
                </c:pt>
                <c:pt idx="158">
                  <c:v>Laurent Per</c:v>
                </c:pt>
                <c:pt idx="159">
                  <c:v>Ruinart</c:v>
                </c:pt>
                <c:pt idx="160">
                  <c:v>All Others</c:v>
                </c:pt>
                <c:pt idx="161">
                  <c:v>Roederer</c:v>
                </c:pt>
                <c:pt idx="162">
                  <c:v>Nicolas</c:v>
                </c:pt>
                <c:pt idx="163">
                  <c:v>Perrier Jou</c:v>
                </c:pt>
                <c:pt idx="164">
                  <c:v>Roederer</c:v>
                </c:pt>
                <c:pt idx="165">
                  <c:v>Piper Heids</c:v>
                </c:pt>
                <c:pt idx="166">
                  <c:v>All Others</c:v>
                </c:pt>
                <c:pt idx="167">
                  <c:v>Pommery</c:v>
                </c:pt>
                <c:pt idx="168">
                  <c:v>All Others</c:v>
                </c:pt>
                <c:pt idx="169">
                  <c:v>All Others</c:v>
                </c:pt>
                <c:pt idx="170">
                  <c:v>Nicolas</c:v>
                </c:pt>
                <c:pt idx="171">
                  <c:v>All Others</c:v>
                </c:pt>
                <c:pt idx="172">
                  <c:v>Lanson</c:v>
                </c:pt>
                <c:pt idx="173">
                  <c:v>Vesselle</c:v>
                </c:pt>
                <c:pt idx="174">
                  <c:v>All Others</c:v>
                </c:pt>
                <c:pt idx="175">
                  <c:v>All Others</c:v>
                </c:pt>
                <c:pt idx="176">
                  <c:v>Deutz</c:v>
                </c:pt>
                <c:pt idx="177">
                  <c:v>Vranken</c:v>
                </c:pt>
                <c:pt idx="178">
                  <c:v>Besserat De</c:v>
                </c:pt>
                <c:pt idx="179">
                  <c:v>Ruinart</c:v>
                </c:pt>
                <c:pt idx="180">
                  <c:v>Moët &amp; Chan</c:v>
                </c:pt>
                <c:pt idx="181">
                  <c:v>Pommery</c:v>
                </c:pt>
                <c:pt idx="182">
                  <c:v>Nicolas</c:v>
                </c:pt>
                <c:pt idx="183">
                  <c:v>Delamotte</c:v>
                </c:pt>
                <c:pt idx="184">
                  <c:v>All Others</c:v>
                </c:pt>
                <c:pt idx="185">
                  <c:v>Ruinart</c:v>
                </c:pt>
                <c:pt idx="186">
                  <c:v>Taittinger</c:v>
                </c:pt>
                <c:pt idx="187">
                  <c:v>Ruinart</c:v>
                </c:pt>
                <c:pt idx="188">
                  <c:v>Roederer</c:v>
                </c:pt>
                <c:pt idx="189">
                  <c:v>All Others</c:v>
                </c:pt>
                <c:pt idx="190">
                  <c:v>Ruinart</c:v>
                </c:pt>
                <c:pt idx="191">
                  <c:v>Canard Duch</c:v>
                </c:pt>
                <c:pt idx="192">
                  <c:v>Nicolas</c:v>
                </c:pt>
                <c:pt idx="193">
                  <c:v>Bollinger</c:v>
                </c:pt>
                <c:pt idx="194">
                  <c:v>Demoiselle</c:v>
                </c:pt>
                <c:pt idx="195">
                  <c:v>All Others</c:v>
                </c:pt>
                <c:pt idx="196">
                  <c:v>Piper Heids</c:v>
                </c:pt>
                <c:pt idx="197">
                  <c:v>Roederer</c:v>
                </c:pt>
                <c:pt idx="198">
                  <c:v>Laurent Per</c:v>
                </c:pt>
                <c:pt idx="199">
                  <c:v>Henriot</c:v>
                </c:pt>
                <c:pt idx="200">
                  <c:v>All Others</c:v>
                </c:pt>
                <c:pt idx="201">
                  <c:v>All Others</c:v>
                </c:pt>
                <c:pt idx="202">
                  <c:v>All Others</c:v>
                </c:pt>
                <c:pt idx="203">
                  <c:v>All Others</c:v>
                </c:pt>
                <c:pt idx="204">
                  <c:v>All Others</c:v>
                </c:pt>
                <c:pt idx="205">
                  <c:v>All Others</c:v>
                </c:pt>
                <c:pt idx="206">
                  <c:v>Nicolas</c:v>
                </c:pt>
                <c:pt idx="207">
                  <c:v>Piper Heids</c:v>
                </c:pt>
                <c:pt idx="208">
                  <c:v>Bouvet-Ladu</c:v>
                </c:pt>
                <c:pt idx="209">
                  <c:v>Canard Duch</c:v>
                </c:pt>
                <c:pt idx="210">
                  <c:v>Malard</c:v>
                </c:pt>
                <c:pt idx="211">
                  <c:v>Roederer</c:v>
                </c:pt>
                <c:pt idx="212">
                  <c:v>Pommery</c:v>
                </c:pt>
                <c:pt idx="213">
                  <c:v>Pommery</c:v>
                </c:pt>
                <c:pt idx="214">
                  <c:v>Bollinger</c:v>
                </c:pt>
                <c:pt idx="215">
                  <c:v>De Venoge</c:v>
                </c:pt>
                <c:pt idx="216">
                  <c:v>All Others</c:v>
                </c:pt>
                <c:pt idx="217">
                  <c:v>All Others</c:v>
                </c:pt>
                <c:pt idx="218">
                  <c:v>Piper Heids</c:v>
                </c:pt>
                <c:pt idx="219">
                  <c:v>Moët &amp; Chan</c:v>
                </c:pt>
                <c:pt idx="220">
                  <c:v>Ruinart</c:v>
                </c:pt>
                <c:pt idx="221">
                  <c:v>Ruinart</c:v>
                </c:pt>
                <c:pt idx="222">
                  <c:v>Laurent Per</c:v>
                </c:pt>
                <c:pt idx="223">
                  <c:v>Contarini</c:v>
                </c:pt>
                <c:pt idx="224">
                  <c:v>Martel</c:v>
                </c:pt>
                <c:pt idx="225">
                  <c:v>Nicolas Feu</c:v>
                </c:pt>
                <c:pt idx="226">
                  <c:v>Vesselle</c:v>
                </c:pt>
                <c:pt idx="227">
                  <c:v>All Others</c:v>
                </c:pt>
                <c:pt idx="228">
                  <c:v>Ruinart</c:v>
                </c:pt>
                <c:pt idx="229">
                  <c:v>Celene</c:v>
                </c:pt>
                <c:pt idx="230">
                  <c:v>De Bligny</c:v>
                </c:pt>
                <c:pt idx="231">
                  <c:v>Roederer</c:v>
                </c:pt>
                <c:pt idx="232">
                  <c:v>Lanson</c:v>
                </c:pt>
                <c:pt idx="233">
                  <c:v>Bollinger</c:v>
                </c:pt>
                <c:pt idx="234">
                  <c:v>All Others</c:v>
                </c:pt>
                <c:pt idx="235">
                  <c:v>Celene</c:v>
                </c:pt>
                <c:pt idx="236">
                  <c:v>De Venoge</c:v>
                </c:pt>
                <c:pt idx="237">
                  <c:v>All Others</c:v>
                </c:pt>
                <c:pt idx="238">
                  <c:v>Veuve Clicq</c:v>
                </c:pt>
                <c:pt idx="239">
                  <c:v>Ayala</c:v>
                </c:pt>
                <c:pt idx="240">
                  <c:v>Pommery</c:v>
                </c:pt>
                <c:pt idx="241">
                  <c:v>Henriot</c:v>
                </c:pt>
                <c:pt idx="242">
                  <c:v>Demoiselle</c:v>
                </c:pt>
                <c:pt idx="243">
                  <c:v>Roederer</c:v>
                </c:pt>
                <c:pt idx="244">
                  <c:v>Roederer</c:v>
                </c:pt>
                <c:pt idx="245">
                  <c:v>Bouvet-Ladu</c:v>
                </c:pt>
                <c:pt idx="246">
                  <c:v>Bollinger</c:v>
                </c:pt>
                <c:pt idx="247">
                  <c:v>Bollinger</c:v>
                </c:pt>
                <c:pt idx="248">
                  <c:v>Nicolas</c:v>
                </c:pt>
                <c:pt idx="249">
                  <c:v>All Others</c:v>
                </c:pt>
                <c:pt idx="250">
                  <c:v>Bottega</c:v>
                </c:pt>
                <c:pt idx="251">
                  <c:v>Malard</c:v>
                </c:pt>
                <c:pt idx="252">
                  <c:v>Jaillance</c:v>
                </c:pt>
                <c:pt idx="253">
                  <c:v>All Others</c:v>
                </c:pt>
                <c:pt idx="254">
                  <c:v>Lanson</c:v>
                </c:pt>
                <c:pt idx="255">
                  <c:v>Bouvet-Ladu</c:v>
                </c:pt>
                <c:pt idx="256">
                  <c:v>All Others</c:v>
                </c:pt>
                <c:pt idx="257">
                  <c:v>Roederer</c:v>
                </c:pt>
                <c:pt idx="258">
                  <c:v>Ruinart</c:v>
                </c:pt>
                <c:pt idx="259">
                  <c:v>Malard</c:v>
                </c:pt>
                <c:pt idx="260">
                  <c:v>Bouvet-Ladu</c:v>
                </c:pt>
                <c:pt idx="261">
                  <c:v>All Others</c:v>
                </c:pt>
                <c:pt idx="262">
                  <c:v>Nicolas</c:v>
                </c:pt>
                <c:pt idx="263">
                  <c:v>Bottega</c:v>
                </c:pt>
                <c:pt idx="264">
                  <c:v>Ayala</c:v>
                </c:pt>
                <c:pt idx="265">
                  <c:v>Demoiselle</c:v>
                </c:pt>
                <c:pt idx="266">
                  <c:v>Canard Duch</c:v>
                </c:pt>
                <c:pt idx="267">
                  <c:v>Ayala</c:v>
                </c:pt>
                <c:pt idx="268">
                  <c:v>Nicolas</c:v>
                </c:pt>
                <c:pt idx="269">
                  <c:v>Vesselle</c:v>
                </c:pt>
                <c:pt idx="270">
                  <c:v>All Others</c:v>
                </c:pt>
                <c:pt idx="271">
                  <c:v>All Others</c:v>
                </c:pt>
                <c:pt idx="272">
                  <c:v>Contarini</c:v>
                </c:pt>
                <c:pt idx="273">
                  <c:v>Mure</c:v>
                </c:pt>
                <c:pt idx="274">
                  <c:v>All Others</c:v>
                </c:pt>
                <c:pt idx="275">
                  <c:v>All Others</c:v>
                </c:pt>
              </c:strCache>
            </c:strRef>
          </c:cat>
          <c:val>
            <c:numRef>
              <c:f>Sheet1!$B$2:$B$277</c:f>
              <c:numCache>
                <c:formatCode>General</c:formatCode>
                <c:ptCount val="276"/>
                <c:pt idx="0">
                  <c:v>1</c:v>
                </c:pt>
                <c:pt idx="1">
                  <c:v>1</c:v>
                </c:pt>
                <c:pt idx="2">
                  <c:v>1</c:v>
                </c:pt>
                <c:pt idx="3">
                  <c:v>0.98</c:v>
                </c:pt>
                <c:pt idx="4">
                  <c:v>0.84</c:v>
                </c:pt>
                <c:pt idx="5">
                  <c:v>1</c:v>
                </c:pt>
                <c:pt idx="6">
                  <c:v>0.99</c:v>
                </c:pt>
                <c:pt idx="7">
                  <c:v>1</c:v>
                </c:pt>
                <c:pt idx="8">
                  <c:v>0.99</c:v>
                </c:pt>
                <c:pt idx="9">
                  <c:v>0.92</c:v>
                </c:pt>
                <c:pt idx="10">
                  <c:v>0.97</c:v>
                </c:pt>
                <c:pt idx="11">
                  <c:v>0.75</c:v>
                </c:pt>
                <c:pt idx="12">
                  <c:v>0.93</c:v>
                </c:pt>
                <c:pt idx="13">
                  <c:v>0.77</c:v>
                </c:pt>
                <c:pt idx="14">
                  <c:v>0.98</c:v>
                </c:pt>
                <c:pt idx="15">
                  <c:v>0.76</c:v>
                </c:pt>
                <c:pt idx="16">
                  <c:v>0.73</c:v>
                </c:pt>
                <c:pt idx="17">
                  <c:v>1</c:v>
                </c:pt>
                <c:pt idx="18">
                  <c:v>0.86</c:v>
                </c:pt>
                <c:pt idx="19">
                  <c:v>0.73</c:v>
                </c:pt>
                <c:pt idx="20">
                  <c:v>0.87</c:v>
                </c:pt>
                <c:pt idx="21">
                  <c:v>0.99</c:v>
                </c:pt>
                <c:pt idx="22">
                  <c:v>0.84</c:v>
                </c:pt>
                <c:pt idx="23">
                  <c:v>0.92</c:v>
                </c:pt>
                <c:pt idx="24">
                  <c:v>0.7</c:v>
                </c:pt>
                <c:pt idx="25">
                  <c:v>0.84</c:v>
                </c:pt>
                <c:pt idx="26">
                  <c:v>0.82</c:v>
                </c:pt>
                <c:pt idx="27">
                  <c:v>0.81</c:v>
                </c:pt>
                <c:pt idx="28">
                  <c:v>0.47</c:v>
                </c:pt>
                <c:pt idx="29">
                  <c:v>0.68</c:v>
                </c:pt>
                <c:pt idx="30">
                  <c:v>0.67</c:v>
                </c:pt>
                <c:pt idx="31">
                  <c:v>0.84</c:v>
                </c:pt>
                <c:pt idx="32">
                  <c:v>0.76</c:v>
                </c:pt>
                <c:pt idx="33">
                  <c:v>0.52</c:v>
                </c:pt>
                <c:pt idx="34">
                  <c:v>0.68</c:v>
                </c:pt>
                <c:pt idx="35">
                  <c:v>0.68</c:v>
                </c:pt>
                <c:pt idx="36">
                  <c:v>0.76</c:v>
                </c:pt>
                <c:pt idx="37">
                  <c:v>0.79</c:v>
                </c:pt>
                <c:pt idx="38">
                  <c:v>0.67</c:v>
                </c:pt>
                <c:pt idx="39">
                  <c:v>0.34</c:v>
                </c:pt>
                <c:pt idx="40">
                  <c:v>0.56000000000000005</c:v>
                </c:pt>
                <c:pt idx="41">
                  <c:v>0.69</c:v>
                </c:pt>
                <c:pt idx="42">
                  <c:v>0.68</c:v>
                </c:pt>
                <c:pt idx="43">
                  <c:v>0.85</c:v>
                </c:pt>
                <c:pt idx="44">
                  <c:v>0.83</c:v>
                </c:pt>
                <c:pt idx="45">
                  <c:v>0.62</c:v>
                </c:pt>
                <c:pt idx="46">
                  <c:v>0.71</c:v>
                </c:pt>
                <c:pt idx="47">
                  <c:v>0.49</c:v>
                </c:pt>
                <c:pt idx="48">
                  <c:v>0.83</c:v>
                </c:pt>
                <c:pt idx="49">
                  <c:v>0.75</c:v>
                </c:pt>
                <c:pt idx="50">
                  <c:v>0.56999999999999995</c:v>
                </c:pt>
                <c:pt idx="51">
                  <c:v>0.93</c:v>
                </c:pt>
                <c:pt idx="52">
                  <c:v>0.56000000000000005</c:v>
                </c:pt>
                <c:pt idx="53">
                  <c:v>0.77</c:v>
                </c:pt>
                <c:pt idx="54">
                  <c:v>0.33</c:v>
                </c:pt>
                <c:pt idx="55">
                  <c:v>0.72</c:v>
                </c:pt>
                <c:pt idx="56">
                  <c:v>0.92</c:v>
                </c:pt>
                <c:pt idx="57">
                  <c:v>0.65</c:v>
                </c:pt>
                <c:pt idx="58">
                  <c:v>0.51</c:v>
                </c:pt>
                <c:pt idx="59">
                  <c:v>0.28000000000000003</c:v>
                </c:pt>
                <c:pt idx="60">
                  <c:v>0.6</c:v>
                </c:pt>
                <c:pt idx="61">
                  <c:v>0.63</c:v>
                </c:pt>
                <c:pt idx="62">
                  <c:v>0.66</c:v>
                </c:pt>
                <c:pt idx="63">
                  <c:v>0.65</c:v>
                </c:pt>
                <c:pt idx="64">
                  <c:v>0.56000000000000005</c:v>
                </c:pt>
                <c:pt idx="65">
                  <c:v>0.56999999999999995</c:v>
                </c:pt>
                <c:pt idx="66">
                  <c:v>0.75</c:v>
                </c:pt>
                <c:pt idx="67">
                  <c:v>0.61</c:v>
                </c:pt>
                <c:pt idx="68">
                  <c:v>0.63</c:v>
                </c:pt>
                <c:pt idx="69">
                  <c:v>0.52</c:v>
                </c:pt>
                <c:pt idx="70">
                  <c:v>0.59</c:v>
                </c:pt>
                <c:pt idx="71">
                  <c:v>0.53</c:v>
                </c:pt>
                <c:pt idx="72">
                  <c:v>0.67</c:v>
                </c:pt>
                <c:pt idx="73">
                  <c:v>0.43</c:v>
                </c:pt>
                <c:pt idx="74">
                  <c:v>0.81</c:v>
                </c:pt>
                <c:pt idx="75">
                  <c:v>0.86</c:v>
                </c:pt>
                <c:pt idx="76">
                  <c:v>0.47</c:v>
                </c:pt>
                <c:pt idx="77">
                  <c:v>0.7</c:v>
                </c:pt>
                <c:pt idx="78">
                  <c:v>0.39</c:v>
                </c:pt>
                <c:pt idx="79">
                  <c:v>0.45</c:v>
                </c:pt>
                <c:pt idx="80">
                  <c:v>0.51</c:v>
                </c:pt>
                <c:pt idx="81">
                  <c:v>0.26</c:v>
                </c:pt>
                <c:pt idx="82">
                  <c:v>0.56000000000000005</c:v>
                </c:pt>
                <c:pt idx="83">
                  <c:v>0.43</c:v>
                </c:pt>
                <c:pt idx="84">
                  <c:v>0.72</c:v>
                </c:pt>
                <c:pt idx="85">
                  <c:v>0.32</c:v>
                </c:pt>
                <c:pt idx="86">
                  <c:v>0.53</c:v>
                </c:pt>
                <c:pt idx="87">
                  <c:v>0.39</c:v>
                </c:pt>
                <c:pt idx="88">
                  <c:v>0.27</c:v>
                </c:pt>
                <c:pt idx="89">
                  <c:v>0.6</c:v>
                </c:pt>
                <c:pt idx="90">
                  <c:v>0.34</c:v>
                </c:pt>
                <c:pt idx="91">
                  <c:v>0.47</c:v>
                </c:pt>
                <c:pt idx="92">
                  <c:v>0.51</c:v>
                </c:pt>
                <c:pt idx="93">
                  <c:v>0.4</c:v>
                </c:pt>
                <c:pt idx="94">
                  <c:v>0.48</c:v>
                </c:pt>
                <c:pt idx="95">
                  <c:v>0.36</c:v>
                </c:pt>
                <c:pt idx="96">
                  <c:v>0.18</c:v>
                </c:pt>
                <c:pt idx="97">
                  <c:v>0.4</c:v>
                </c:pt>
                <c:pt idx="98">
                  <c:v>0.44</c:v>
                </c:pt>
                <c:pt idx="99">
                  <c:v>0.19</c:v>
                </c:pt>
                <c:pt idx="100">
                  <c:v>0.36</c:v>
                </c:pt>
                <c:pt idx="101">
                  <c:v>0.26</c:v>
                </c:pt>
                <c:pt idx="102">
                  <c:v>0.46</c:v>
                </c:pt>
                <c:pt idx="103">
                  <c:v>0.39</c:v>
                </c:pt>
                <c:pt idx="104">
                  <c:v>0.56000000000000005</c:v>
                </c:pt>
                <c:pt idx="105">
                  <c:v>0.28000000000000003</c:v>
                </c:pt>
                <c:pt idx="106">
                  <c:v>0.56000000000000005</c:v>
                </c:pt>
                <c:pt idx="107">
                  <c:v>0.42</c:v>
                </c:pt>
                <c:pt idx="108">
                  <c:v>0.52</c:v>
                </c:pt>
                <c:pt idx="109">
                  <c:v>0.4</c:v>
                </c:pt>
                <c:pt idx="110">
                  <c:v>0.46</c:v>
                </c:pt>
                <c:pt idx="111">
                  <c:v>0.24</c:v>
                </c:pt>
                <c:pt idx="112">
                  <c:v>0.41</c:v>
                </c:pt>
                <c:pt idx="113">
                  <c:v>0.32</c:v>
                </c:pt>
                <c:pt idx="114">
                  <c:v>0.78</c:v>
                </c:pt>
                <c:pt idx="115">
                  <c:v>0.14000000000000001</c:v>
                </c:pt>
                <c:pt idx="116">
                  <c:v>0.24</c:v>
                </c:pt>
                <c:pt idx="117">
                  <c:v>0.55000000000000004</c:v>
                </c:pt>
                <c:pt idx="118">
                  <c:v>0.18</c:v>
                </c:pt>
                <c:pt idx="119">
                  <c:v>0.3</c:v>
                </c:pt>
                <c:pt idx="120">
                  <c:v>0.47</c:v>
                </c:pt>
                <c:pt idx="121">
                  <c:v>0.47</c:v>
                </c:pt>
                <c:pt idx="122">
                  <c:v>0.46</c:v>
                </c:pt>
                <c:pt idx="123">
                  <c:v>0.37</c:v>
                </c:pt>
                <c:pt idx="124">
                  <c:v>0.36</c:v>
                </c:pt>
                <c:pt idx="125">
                  <c:v>0.38</c:v>
                </c:pt>
                <c:pt idx="126">
                  <c:v>0.13</c:v>
                </c:pt>
                <c:pt idx="127">
                  <c:v>0.11</c:v>
                </c:pt>
                <c:pt idx="128">
                  <c:v>0.36</c:v>
                </c:pt>
                <c:pt idx="129">
                  <c:v>0.28000000000000003</c:v>
                </c:pt>
                <c:pt idx="130">
                  <c:v>0.4</c:v>
                </c:pt>
                <c:pt idx="131">
                  <c:v>0.27</c:v>
                </c:pt>
                <c:pt idx="132">
                  <c:v>0.27</c:v>
                </c:pt>
                <c:pt idx="133">
                  <c:v>0.16</c:v>
                </c:pt>
                <c:pt idx="134">
                  <c:v>0.11</c:v>
                </c:pt>
                <c:pt idx="135">
                  <c:v>0.34</c:v>
                </c:pt>
                <c:pt idx="136">
                  <c:v>0.16</c:v>
                </c:pt>
                <c:pt idx="137">
                  <c:v>0.23</c:v>
                </c:pt>
                <c:pt idx="138">
                  <c:v>0.26</c:v>
                </c:pt>
                <c:pt idx="139">
                  <c:v>0.18</c:v>
                </c:pt>
                <c:pt idx="140">
                  <c:v>0.78</c:v>
                </c:pt>
                <c:pt idx="141">
                  <c:v>0.32</c:v>
                </c:pt>
                <c:pt idx="142">
                  <c:v>0.16</c:v>
                </c:pt>
                <c:pt idx="143">
                  <c:v>0.39</c:v>
                </c:pt>
                <c:pt idx="144">
                  <c:v>0.11</c:v>
                </c:pt>
                <c:pt idx="145">
                  <c:v>0.26</c:v>
                </c:pt>
                <c:pt idx="146">
                  <c:v>0.46</c:v>
                </c:pt>
                <c:pt idx="147">
                  <c:v>0.31</c:v>
                </c:pt>
                <c:pt idx="148">
                  <c:v>0.27</c:v>
                </c:pt>
                <c:pt idx="149">
                  <c:v>0.1</c:v>
                </c:pt>
                <c:pt idx="150">
                  <c:v>0.21</c:v>
                </c:pt>
                <c:pt idx="151">
                  <c:v>0.22</c:v>
                </c:pt>
                <c:pt idx="152">
                  <c:v>0.31</c:v>
                </c:pt>
                <c:pt idx="153">
                  <c:v>0.19</c:v>
                </c:pt>
                <c:pt idx="154">
                  <c:v>0.26</c:v>
                </c:pt>
                <c:pt idx="155">
                  <c:v>0.45</c:v>
                </c:pt>
                <c:pt idx="156">
                  <c:v>0.26</c:v>
                </c:pt>
                <c:pt idx="157">
                  <c:v>0.18</c:v>
                </c:pt>
                <c:pt idx="158">
                  <c:v>0.14000000000000001</c:v>
                </c:pt>
                <c:pt idx="159">
                  <c:v>0.14000000000000001</c:v>
                </c:pt>
                <c:pt idx="160">
                  <c:v>0.28000000000000003</c:v>
                </c:pt>
                <c:pt idx="161">
                  <c:v>0.05</c:v>
                </c:pt>
                <c:pt idx="162">
                  <c:v>0.13</c:v>
                </c:pt>
                <c:pt idx="163">
                  <c:v>0.17</c:v>
                </c:pt>
                <c:pt idx="164">
                  <c:v>0.09</c:v>
                </c:pt>
                <c:pt idx="165">
                  <c:v>0.1</c:v>
                </c:pt>
                <c:pt idx="166">
                  <c:v>0.16</c:v>
                </c:pt>
                <c:pt idx="167">
                  <c:v>0.28000000000000003</c:v>
                </c:pt>
                <c:pt idx="168">
                  <c:v>0.25</c:v>
                </c:pt>
                <c:pt idx="169">
                  <c:v>0.16</c:v>
                </c:pt>
                <c:pt idx="170">
                  <c:v>0.13</c:v>
                </c:pt>
                <c:pt idx="171">
                  <c:v>0.25</c:v>
                </c:pt>
                <c:pt idx="172">
                  <c:v>0.25</c:v>
                </c:pt>
                <c:pt idx="173">
                  <c:v>0.19</c:v>
                </c:pt>
                <c:pt idx="174">
                  <c:v>0.28000000000000003</c:v>
                </c:pt>
                <c:pt idx="175">
                  <c:v>0.27</c:v>
                </c:pt>
                <c:pt idx="176">
                  <c:v>0.02</c:v>
                </c:pt>
                <c:pt idx="177">
                  <c:v>0.12</c:v>
                </c:pt>
                <c:pt idx="178">
                  <c:v>0.3</c:v>
                </c:pt>
                <c:pt idx="179">
                  <c:v>0.06</c:v>
                </c:pt>
                <c:pt idx="180">
                  <c:v>0.25</c:v>
                </c:pt>
                <c:pt idx="181">
                  <c:v>0.26</c:v>
                </c:pt>
                <c:pt idx="182">
                  <c:v>0.13</c:v>
                </c:pt>
                <c:pt idx="183">
                  <c:v>0.52</c:v>
                </c:pt>
                <c:pt idx="184">
                  <c:v>0.18</c:v>
                </c:pt>
                <c:pt idx="185">
                  <c:v>0.1</c:v>
                </c:pt>
                <c:pt idx="186">
                  <c:v>0.1</c:v>
                </c:pt>
                <c:pt idx="187">
                  <c:v>0.14000000000000001</c:v>
                </c:pt>
                <c:pt idx="188">
                  <c:v>0.11</c:v>
                </c:pt>
                <c:pt idx="189">
                  <c:v>0.1</c:v>
                </c:pt>
                <c:pt idx="190">
                  <c:v>7.0000000000000007E-2</c:v>
                </c:pt>
                <c:pt idx="191">
                  <c:v>0.14000000000000001</c:v>
                </c:pt>
                <c:pt idx="192">
                  <c:v>0.05</c:v>
                </c:pt>
                <c:pt idx="193">
                  <c:v>0.09</c:v>
                </c:pt>
                <c:pt idx="194">
                  <c:v>0.09</c:v>
                </c:pt>
                <c:pt idx="195">
                  <c:v>0.27</c:v>
                </c:pt>
                <c:pt idx="196">
                  <c:v>0.18</c:v>
                </c:pt>
                <c:pt idx="197">
                  <c:v>0.09</c:v>
                </c:pt>
                <c:pt idx="198">
                  <c:v>0.22</c:v>
                </c:pt>
                <c:pt idx="199">
                  <c:v>0.1</c:v>
                </c:pt>
                <c:pt idx="200">
                  <c:v>0.18</c:v>
                </c:pt>
                <c:pt idx="201">
                  <c:v>0.05</c:v>
                </c:pt>
                <c:pt idx="202">
                  <c:v>0.2</c:v>
                </c:pt>
                <c:pt idx="203">
                  <c:v>0.15</c:v>
                </c:pt>
                <c:pt idx="204">
                  <c:v>0.2</c:v>
                </c:pt>
                <c:pt idx="205">
                  <c:v>0.09</c:v>
                </c:pt>
                <c:pt idx="206">
                  <c:v>0.22</c:v>
                </c:pt>
                <c:pt idx="207">
                  <c:v>0.06</c:v>
                </c:pt>
                <c:pt idx="208">
                  <c:v>0.23</c:v>
                </c:pt>
                <c:pt idx="209">
                  <c:v>7.0000000000000007E-2</c:v>
                </c:pt>
                <c:pt idx="210">
                  <c:v>0.08</c:v>
                </c:pt>
                <c:pt idx="211">
                  <c:v>0.1</c:v>
                </c:pt>
                <c:pt idx="212">
                  <c:v>0.11</c:v>
                </c:pt>
                <c:pt idx="213">
                  <c:v>0.11</c:v>
                </c:pt>
                <c:pt idx="214">
                  <c:v>0.1</c:v>
                </c:pt>
                <c:pt idx="215">
                  <c:v>0.27</c:v>
                </c:pt>
                <c:pt idx="216">
                  <c:v>0.13</c:v>
                </c:pt>
                <c:pt idx="217">
                  <c:v>0.11</c:v>
                </c:pt>
                <c:pt idx="218">
                  <c:v>0.08</c:v>
                </c:pt>
                <c:pt idx="219">
                  <c:v>0.08</c:v>
                </c:pt>
                <c:pt idx="220">
                  <c:v>0.05</c:v>
                </c:pt>
                <c:pt idx="221">
                  <c:v>0.03</c:v>
                </c:pt>
                <c:pt idx="222">
                  <c:v>0.11</c:v>
                </c:pt>
                <c:pt idx="223">
                  <c:v>0.25</c:v>
                </c:pt>
                <c:pt idx="224">
                  <c:v>0.04</c:v>
                </c:pt>
                <c:pt idx="225">
                  <c:v>7.0000000000000007E-2</c:v>
                </c:pt>
                <c:pt idx="226">
                  <c:v>0.06</c:v>
                </c:pt>
                <c:pt idx="227">
                  <c:v>0.25</c:v>
                </c:pt>
                <c:pt idx="228">
                  <c:v>0.09</c:v>
                </c:pt>
                <c:pt idx="229">
                  <c:v>0.24</c:v>
                </c:pt>
                <c:pt idx="230">
                  <c:v>0.08</c:v>
                </c:pt>
                <c:pt idx="231">
                  <c:v>0.06</c:v>
                </c:pt>
                <c:pt idx="232">
                  <c:v>0.04</c:v>
                </c:pt>
                <c:pt idx="233">
                  <c:v>0.06</c:v>
                </c:pt>
                <c:pt idx="234">
                  <c:v>0.12</c:v>
                </c:pt>
                <c:pt idx="235">
                  <c:v>0.1</c:v>
                </c:pt>
                <c:pt idx="236">
                  <c:v>0.05</c:v>
                </c:pt>
                <c:pt idx="237">
                  <c:v>7.0000000000000007E-2</c:v>
                </c:pt>
                <c:pt idx="238">
                  <c:v>0.05</c:v>
                </c:pt>
                <c:pt idx="239">
                  <c:v>0.22</c:v>
                </c:pt>
                <c:pt idx="240">
                  <c:v>0.08</c:v>
                </c:pt>
                <c:pt idx="241">
                  <c:v>0.09</c:v>
                </c:pt>
                <c:pt idx="242">
                  <c:v>0.1</c:v>
                </c:pt>
                <c:pt idx="243">
                  <c:v>0.04</c:v>
                </c:pt>
                <c:pt idx="244">
                  <c:v>0.02</c:v>
                </c:pt>
                <c:pt idx="245">
                  <c:v>0.23</c:v>
                </c:pt>
                <c:pt idx="246">
                  <c:v>0.03</c:v>
                </c:pt>
                <c:pt idx="247">
                  <c:v>0.04</c:v>
                </c:pt>
                <c:pt idx="248">
                  <c:v>0.1</c:v>
                </c:pt>
                <c:pt idx="249">
                  <c:v>0.11</c:v>
                </c:pt>
                <c:pt idx="250">
                  <c:v>0.03</c:v>
                </c:pt>
                <c:pt idx="251">
                  <c:v>0.02</c:v>
                </c:pt>
                <c:pt idx="252">
                  <c:v>0.09</c:v>
                </c:pt>
                <c:pt idx="253">
                  <c:v>0.09</c:v>
                </c:pt>
                <c:pt idx="254">
                  <c:v>0.08</c:v>
                </c:pt>
                <c:pt idx="255">
                  <c:v>0.03</c:v>
                </c:pt>
                <c:pt idx="256">
                  <c:v>7.0000000000000007E-2</c:v>
                </c:pt>
                <c:pt idx="257">
                  <c:v>0.08</c:v>
                </c:pt>
                <c:pt idx="258">
                  <c:v>0.1</c:v>
                </c:pt>
                <c:pt idx="259">
                  <c:v>0.05</c:v>
                </c:pt>
                <c:pt idx="260">
                  <c:v>0.06</c:v>
                </c:pt>
                <c:pt idx="261">
                  <c:v>7.0000000000000007E-2</c:v>
                </c:pt>
                <c:pt idx="262">
                  <c:v>0.08</c:v>
                </c:pt>
                <c:pt idx="263">
                  <c:v>0.04</c:v>
                </c:pt>
                <c:pt idx="264">
                  <c:v>0.06</c:v>
                </c:pt>
                <c:pt idx="265">
                  <c:v>0.09</c:v>
                </c:pt>
                <c:pt idx="266">
                  <c:v>0.06</c:v>
                </c:pt>
                <c:pt idx="267">
                  <c:v>0.08</c:v>
                </c:pt>
                <c:pt idx="268">
                  <c:v>0.03</c:v>
                </c:pt>
                <c:pt idx="269">
                  <c:v>0.03</c:v>
                </c:pt>
                <c:pt idx="270">
                  <c:v>0.26</c:v>
                </c:pt>
                <c:pt idx="271">
                  <c:v>0.05</c:v>
                </c:pt>
                <c:pt idx="272">
                  <c:v>0.02</c:v>
                </c:pt>
                <c:pt idx="273">
                  <c:v>0.05</c:v>
                </c:pt>
                <c:pt idx="274">
                  <c:v>0.03</c:v>
                </c:pt>
                <c:pt idx="275">
                  <c:v>0.02</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7ECAC4"/>
              </a:solidFill>
            </c:spPr>
            <c:extLst>
              <c:ext xmlns:c16="http://schemas.microsoft.com/office/drawing/2014/chart" uri="{C3380CC4-5D6E-409C-BE32-E72D297353CC}">
                <c16:uniqueId val="{000000A3-2993-41DE-A2CB-63102DE87051}"/>
              </c:ext>
            </c:extLst>
          </c:dPt>
          <c:dPt>
            <c:idx val="54"/>
            <c:invertIfNegative val="0"/>
            <c:bubble3D val="0"/>
            <c:spPr>
              <a:solidFill>
                <a:srgbClr val="7ECAC4"/>
              </a:solidFill>
            </c:spPr>
            <c:extLst>
              <c:ext xmlns:c16="http://schemas.microsoft.com/office/drawing/2014/chart" uri="{C3380CC4-5D6E-409C-BE32-E72D297353CC}">
                <c16:uniqueId val="{00000072-C76F-4230-900D-40618C09729F}"/>
              </c:ext>
            </c:extLst>
          </c:dPt>
          <c:dPt>
            <c:idx val="55"/>
            <c:invertIfNegative val="0"/>
            <c:bubble3D val="0"/>
            <c:spPr>
              <a:solidFill>
                <a:srgbClr val="7ECAC4"/>
              </a:solidFill>
            </c:spPr>
            <c:extLst>
              <c:ext xmlns:c16="http://schemas.microsoft.com/office/drawing/2014/chart" uri="{C3380CC4-5D6E-409C-BE32-E72D297353CC}">
                <c16:uniqueId val="{00000074-C76F-4230-900D-40618C09729F}"/>
              </c:ext>
            </c:extLst>
          </c:dPt>
          <c:dPt>
            <c:idx val="56"/>
            <c:invertIfNegative val="0"/>
            <c:bubble3D val="0"/>
            <c:spPr>
              <a:solidFill>
                <a:srgbClr val="7ECAC4"/>
              </a:solidFill>
            </c:spPr>
            <c:extLst>
              <c:ext xmlns:c16="http://schemas.microsoft.com/office/drawing/2014/chart" uri="{C3380CC4-5D6E-409C-BE32-E72D297353CC}">
                <c16:uniqueId val="{00000076-C76F-4230-900D-40618C09729F}"/>
              </c:ext>
            </c:extLst>
          </c:dPt>
          <c:dPt>
            <c:idx val="57"/>
            <c:invertIfNegative val="0"/>
            <c:bubble3D val="0"/>
            <c:spPr>
              <a:solidFill>
                <a:srgbClr val="7ECAC4"/>
              </a:solidFill>
            </c:spPr>
            <c:extLst>
              <c:ext xmlns:c16="http://schemas.microsoft.com/office/drawing/2014/chart" uri="{C3380CC4-5D6E-409C-BE32-E72D297353CC}">
                <c16:uniqueId val="{00000078-C76F-4230-900D-40618C09729F}"/>
              </c:ext>
            </c:extLst>
          </c:dPt>
          <c:dPt>
            <c:idx val="58"/>
            <c:invertIfNegative val="0"/>
            <c:bubble3D val="0"/>
            <c:spPr>
              <a:solidFill>
                <a:srgbClr val="7ECAC4"/>
              </a:solidFill>
            </c:spPr>
            <c:extLst>
              <c:ext xmlns:c16="http://schemas.microsoft.com/office/drawing/2014/chart" uri="{C3380CC4-5D6E-409C-BE32-E72D297353CC}">
                <c16:uniqueId val="{0000007A-C76F-4230-900D-40618C09729F}"/>
              </c:ext>
            </c:extLst>
          </c:dPt>
          <c:dPt>
            <c:idx val="59"/>
            <c:invertIfNegative val="0"/>
            <c:bubble3D val="0"/>
            <c:spPr>
              <a:solidFill>
                <a:srgbClr val="7ECAC4"/>
              </a:solidFill>
            </c:spPr>
            <c:extLst>
              <c:ext xmlns:c16="http://schemas.microsoft.com/office/drawing/2014/chart" uri="{C3380CC4-5D6E-409C-BE32-E72D297353CC}">
                <c16:uniqueId val="{0000007C-C76F-4230-900D-40618C09729F}"/>
              </c:ext>
            </c:extLst>
          </c:dPt>
          <c:dPt>
            <c:idx val="60"/>
            <c:invertIfNegative val="0"/>
            <c:bubble3D val="0"/>
            <c:spPr>
              <a:solidFill>
                <a:srgbClr val="7ECAC4"/>
              </a:solidFill>
            </c:spPr>
            <c:extLst>
              <c:ext xmlns:c16="http://schemas.microsoft.com/office/drawing/2014/chart" uri="{C3380CC4-5D6E-409C-BE32-E72D297353CC}">
                <c16:uniqueId val="{0000007E-C76F-4230-900D-40618C09729F}"/>
              </c:ext>
            </c:extLst>
          </c:dPt>
          <c:dPt>
            <c:idx val="61"/>
            <c:invertIfNegative val="0"/>
            <c:bubble3D val="0"/>
            <c:spPr>
              <a:solidFill>
                <a:srgbClr val="7ECAC4"/>
              </a:solidFill>
            </c:spPr>
            <c:extLst>
              <c:ext xmlns:c16="http://schemas.microsoft.com/office/drawing/2014/chart" uri="{C3380CC4-5D6E-409C-BE32-E72D297353CC}">
                <c16:uniqueId val="{00000080-C76F-4230-900D-40618C09729F}"/>
              </c:ext>
            </c:extLst>
          </c:dPt>
          <c:dPt>
            <c:idx val="62"/>
            <c:invertIfNegative val="0"/>
            <c:bubble3D val="0"/>
            <c:spPr>
              <a:solidFill>
                <a:srgbClr val="7ECAC4"/>
              </a:solidFill>
            </c:spPr>
            <c:extLst>
              <c:ext xmlns:c16="http://schemas.microsoft.com/office/drawing/2014/chart" uri="{C3380CC4-5D6E-409C-BE32-E72D297353CC}">
                <c16:uniqueId val="{00000082-C76F-4230-900D-40618C09729F}"/>
              </c:ext>
            </c:extLst>
          </c:dPt>
          <c:dPt>
            <c:idx val="63"/>
            <c:invertIfNegative val="0"/>
            <c:bubble3D val="0"/>
            <c:spPr>
              <a:solidFill>
                <a:srgbClr val="7ECAC4"/>
              </a:solidFill>
            </c:spPr>
            <c:extLst>
              <c:ext xmlns:c16="http://schemas.microsoft.com/office/drawing/2014/chart" uri="{C3380CC4-5D6E-409C-BE32-E72D297353CC}">
                <c16:uniqueId val="{00000084-C76F-4230-900D-40618C09729F}"/>
              </c:ext>
            </c:extLst>
          </c:dPt>
          <c:dPt>
            <c:idx val="64"/>
            <c:invertIfNegative val="0"/>
            <c:bubble3D val="0"/>
            <c:spPr>
              <a:solidFill>
                <a:srgbClr val="7ECAC4"/>
              </a:solidFill>
            </c:spPr>
            <c:extLst>
              <c:ext xmlns:c16="http://schemas.microsoft.com/office/drawing/2014/chart" uri="{C3380CC4-5D6E-409C-BE32-E72D297353CC}">
                <c16:uniqueId val="{00000086-C76F-4230-900D-40618C09729F}"/>
              </c:ext>
            </c:extLst>
          </c:dPt>
          <c:dPt>
            <c:idx val="65"/>
            <c:invertIfNegative val="0"/>
            <c:bubble3D val="0"/>
            <c:spPr>
              <a:solidFill>
                <a:srgbClr val="7ECAC4"/>
              </a:solidFill>
            </c:spPr>
            <c:extLst>
              <c:ext xmlns:c16="http://schemas.microsoft.com/office/drawing/2014/chart" uri="{C3380CC4-5D6E-409C-BE32-E72D297353CC}">
                <c16:uniqueId val="{00000088-C76F-4230-900D-40618C09729F}"/>
              </c:ext>
            </c:extLst>
          </c:dPt>
          <c:dPt>
            <c:idx val="66"/>
            <c:invertIfNegative val="0"/>
            <c:bubble3D val="0"/>
            <c:spPr>
              <a:solidFill>
                <a:srgbClr val="7ECAC4"/>
              </a:solidFill>
            </c:spPr>
            <c:extLst>
              <c:ext xmlns:c16="http://schemas.microsoft.com/office/drawing/2014/chart" uri="{C3380CC4-5D6E-409C-BE32-E72D297353CC}">
                <c16:uniqueId val="{0000008A-C76F-4230-900D-40618C09729F}"/>
              </c:ext>
            </c:extLst>
          </c:dPt>
          <c:dPt>
            <c:idx val="67"/>
            <c:invertIfNegative val="0"/>
            <c:bubble3D val="0"/>
            <c:spPr>
              <a:solidFill>
                <a:srgbClr val="7ECAC4"/>
              </a:solidFill>
            </c:spPr>
            <c:extLst>
              <c:ext xmlns:c16="http://schemas.microsoft.com/office/drawing/2014/chart" uri="{C3380CC4-5D6E-409C-BE32-E72D297353CC}">
                <c16:uniqueId val="{0000008C-C76F-4230-900D-40618C09729F}"/>
              </c:ext>
            </c:extLst>
          </c:dPt>
          <c:dPt>
            <c:idx val="68"/>
            <c:invertIfNegative val="0"/>
            <c:bubble3D val="0"/>
            <c:spPr>
              <a:solidFill>
                <a:srgbClr val="7ECAC4"/>
              </a:solidFill>
            </c:spPr>
            <c:extLst>
              <c:ext xmlns:c16="http://schemas.microsoft.com/office/drawing/2014/chart" uri="{C3380CC4-5D6E-409C-BE32-E72D297353CC}">
                <c16:uniqueId val="{0000008E-C76F-4230-900D-40618C09729F}"/>
              </c:ext>
            </c:extLst>
          </c:dPt>
          <c:dPt>
            <c:idx val="69"/>
            <c:invertIfNegative val="0"/>
            <c:bubble3D val="0"/>
            <c:spPr>
              <a:solidFill>
                <a:srgbClr val="7ECAC4"/>
              </a:solidFill>
            </c:spPr>
            <c:extLst>
              <c:ext xmlns:c16="http://schemas.microsoft.com/office/drawing/2014/chart" uri="{C3380CC4-5D6E-409C-BE32-E72D297353CC}">
                <c16:uniqueId val="{00000090-C76F-4230-900D-40618C09729F}"/>
              </c:ext>
            </c:extLst>
          </c:dPt>
          <c:dPt>
            <c:idx val="70"/>
            <c:invertIfNegative val="0"/>
            <c:bubble3D val="0"/>
            <c:spPr>
              <a:solidFill>
                <a:srgbClr val="7ECAC4"/>
              </a:solidFill>
            </c:spPr>
            <c:extLst>
              <c:ext xmlns:c16="http://schemas.microsoft.com/office/drawing/2014/chart" uri="{C3380CC4-5D6E-409C-BE32-E72D297353CC}">
                <c16:uniqueId val="{00000092-C76F-4230-900D-40618C09729F}"/>
              </c:ext>
            </c:extLst>
          </c:dPt>
          <c:dPt>
            <c:idx val="71"/>
            <c:invertIfNegative val="0"/>
            <c:bubble3D val="0"/>
            <c:spPr>
              <a:solidFill>
                <a:srgbClr val="7ECAC4"/>
              </a:solidFill>
            </c:spPr>
            <c:extLst>
              <c:ext xmlns:c16="http://schemas.microsoft.com/office/drawing/2014/chart" uri="{C3380CC4-5D6E-409C-BE32-E72D297353CC}">
                <c16:uniqueId val="{00000094-C76F-4230-900D-40618C09729F}"/>
              </c:ext>
            </c:extLst>
          </c:dPt>
          <c:dPt>
            <c:idx val="72"/>
            <c:invertIfNegative val="0"/>
            <c:bubble3D val="0"/>
            <c:spPr>
              <a:solidFill>
                <a:srgbClr val="7ECAC4"/>
              </a:solidFill>
            </c:spPr>
            <c:extLst>
              <c:ext xmlns:c16="http://schemas.microsoft.com/office/drawing/2014/chart" uri="{C3380CC4-5D6E-409C-BE32-E72D297353CC}">
                <c16:uniqueId val="{00000096-C76F-4230-900D-40618C09729F}"/>
              </c:ext>
            </c:extLst>
          </c:dPt>
          <c:dPt>
            <c:idx val="73"/>
            <c:invertIfNegative val="0"/>
            <c:bubble3D val="0"/>
            <c:spPr>
              <a:solidFill>
                <a:srgbClr val="7ECAC4"/>
              </a:solidFill>
            </c:spPr>
            <c:extLst>
              <c:ext xmlns:c16="http://schemas.microsoft.com/office/drawing/2014/chart" uri="{C3380CC4-5D6E-409C-BE32-E72D297353CC}">
                <c16:uniqueId val="{00000098-C76F-4230-900D-40618C09729F}"/>
              </c:ext>
            </c:extLst>
          </c:dPt>
          <c:dPt>
            <c:idx val="74"/>
            <c:invertIfNegative val="0"/>
            <c:bubble3D val="0"/>
            <c:spPr>
              <a:solidFill>
                <a:srgbClr val="7ECAC4"/>
              </a:solidFill>
            </c:spPr>
            <c:extLst>
              <c:ext xmlns:c16="http://schemas.microsoft.com/office/drawing/2014/chart" uri="{C3380CC4-5D6E-409C-BE32-E72D297353CC}">
                <c16:uniqueId val="{0000009A-C76F-4230-900D-40618C09729F}"/>
              </c:ext>
            </c:extLst>
          </c:dPt>
          <c:dPt>
            <c:idx val="75"/>
            <c:invertIfNegative val="0"/>
            <c:bubble3D val="0"/>
            <c:spPr>
              <a:solidFill>
                <a:srgbClr val="7ECAC4"/>
              </a:solidFill>
            </c:spPr>
            <c:extLst>
              <c:ext xmlns:c16="http://schemas.microsoft.com/office/drawing/2014/chart" uri="{C3380CC4-5D6E-409C-BE32-E72D297353CC}">
                <c16:uniqueId val="{0000009C-C76F-4230-900D-40618C09729F}"/>
              </c:ext>
            </c:extLst>
          </c:dPt>
          <c:dPt>
            <c:idx val="76"/>
            <c:invertIfNegative val="0"/>
            <c:bubble3D val="0"/>
            <c:spPr>
              <a:solidFill>
                <a:srgbClr val="7ECAC4"/>
              </a:solidFill>
            </c:spPr>
            <c:extLst>
              <c:ext xmlns:c16="http://schemas.microsoft.com/office/drawing/2014/chart" uri="{C3380CC4-5D6E-409C-BE32-E72D297353CC}">
                <c16:uniqueId val="{0000009E-C76F-4230-900D-40618C09729F}"/>
              </c:ext>
            </c:extLst>
          </c:dPt>
          <c:dPt>
            <c:idx val="77"/>
            <c:invertIfNegative val="0"/>
            <c:bubble3D val="0"/>
            <c:spPr>
              <a:solidFill>
                <a:srgbClr val="7ECAC4"/>
              </a:solidFill>
            </c:spPr>
            <c:extLst>
              <c:ext xmlns:c16="http://schemas.microsoft.com/office/drawing/2014/chart" uri="{C3380CC4-5D6E-409C-BE32-E72D297353CC}">
                <c16:uniqueId val="{000000A0-C76F-4230-900D-40618C09729F}"/>
              </c:ext>
            </c:extLst>
          </c:dPt>
          <c:dPt>
            <c:idx val="78"/>
            <c:invertIfNegative val="0"/>
            <c:bubble3D val="0"/>
            <c:spPr>
              <a:solidFill>
                <a:srgbClr val="7ECAC4"/>
              </a:solidFill>
            </c:spPr>
            <c:extLst>
              <c:ext xmlns:c16="http://schemas.microsoft.com/office/drawing/2014/chart" uri="{C3380CC4-5D6E-409C-BE32-E72D297353CC}">
                <c16:uniqueId val="{000000A2-C76F-4230-900D-40618C09729F}"/>
              </c:ext>
            </c:extLst>
          </c:dPt>
          <c:dPt>
            <c:idx val="79"/>
            <c:invertIfNegative val="0"/>
            <c:bubble3D val="0"/>
            <c:spPr>
              <a:solidFill>
                <a:srgbClr val="7ECAC4"/>
              </a:solidFill>
            </c:spPr>
            <c:extLst>
              <c:ext xmlns:c16="http://schemas.microsoft.com/office/drawing/2014/chart" uri="{C3380CC4-5D6E-409C-BE32-E72D297353CC}">
                <c16:uniqueId val="{000000A4-C76F-4230-900D-40618C09729F}"/>
              </c:ext>
            </c:extLst>
          </c:dPt>
          <c:dPt>
            <c:idx val="80"/>
            <c:invertIfNegative val="0"/>
            <c:bubble3D val="0"/>
            <c:spPr>
              <a:solidFill>
                <a:srgbClr val="7ECAC4"/>
              </a:solidFill>
            </c:spPr>
            <c:extLst>
              <c:ext xmlns:c16="http://schemas.microsoft.com/office/drawing/2014/chart" uri="{C3380CC4-5D6E-409C-BE32-E72D297353CC}">
                <c16:uniqueId val="{000000A6-C76F-4230-900D-40618C09729F}"/>
              </c:ext>
            </c:extLst>
          </c:dPt>
          <c:dPt>
            <c:idx val="81"/>
            <c:invertIfNegative val="1"/>
            <c:bubble3D val="0"/>
            <c:spPr>
              <a:solidFill>
                <a:srgbClr val="7ECAC4"/>
              </a:solidFill>
            </c:spPr>
            <c:extLst>
              <c:ext xmlns:c16="http://schemas.microsoft.com/office/drawing/2014/chart" uri="{C3380CC4-5D6E-409C-BE32-E72D297353CC}">
                <c16:uniqueId val="{000000A5-2993-41DE-A2CB-63102DE87051}"/>
              </c:ext>
            </c:extLst>
          </c:dPt>
          <c:dPt>
            <c:idx val="82"/>
            <c:invertIfNegative val="1"/>
            <c:bubble3D val="0"/>
            <c:spPr>
              <a:solidFill>
                <a:srgbClr val="7ECAC4"/>
              </a:solidFill>
            </c:spPr>
            <c:extLst>
              <c:ext xmlns:c16="http://schemas.microsoft.com/office/drawing/2014/chart" uri="{C3380CC4-5D6E-409C-BE32-E72D297353CC}">
                <c16:uniqueId val="{000000A7-2993-41DE-A2CB-63102DE87051}"/>
              </c:ext>
            </c:extLst>
          </c:dPt>
          <c:dPt>
            <c:idx val="83"/>
            <c:invertIfNegative val="1"/>
            <c:bubble3D val="0"/>
            <c:spPr>
              <a:solidFill>
                <a:srgbClr val="7ECAC4"/>
              </a:solidFill>
            </c:spPr>
            <c:extLst>
              <c:ext xmlns:c16="http://schemas.microsoft.com/office/drawing/2014/chart" uri="{C3380CC4-5D6E-409C-BE32-E72D297353CC}">
                <c16:uniqueId val="{000000A9-2993-41DE-A2CB-63102DE87051}"/>
              </c:ext>
            </c:extLst>
          </c:dPt>
          <c:dPt>
            <c:idx val="84"/>
            <c:invertIfNegative val="1"/>
            <c:bubble3D val="0"/>
            <c:spPr>
              <a:solidFill>
                <a:srgbClr val="7ECAC4"/>
              </a:solidFill>
            </c:spPr>
            <c:extLst>
              <c:ext xmlns:c16="http://schemas.microsoft.com/office/drawing/2014/chart" uri="{C3380CC4-5D6E-409C-BE32-E72D297353CC}">
                <c16:uniqueId val="{000000AB-2993-41DE-A2CB-63102DE87051}"/>
              </c:ext>
            </c:extLst>
          </c:dPt>
          <c:dPt>
            <c:idx val="85"/>
            <c:invertIfNegative val="1"/>
            <c:bubble3D val="0"/>
            <c:spPr>
              <a:solidFill>
                <a:srgbClr val="7ECAC4"/>
              </a:solidFill>
            </c:spPr>
            <c:extLst>
              <c:ext xmlns:c16="http://schemas.microsoft.com/office/drawing/2014/chart" uri="{C3380CC4-5D6E-409C-BE32-E72D297353CC}">
                <c16:uniqueId val="{000000AD-2993-41DE-A2CB-63102DE87051}"/>
              </c:ext>
            </c:extLst>
          </c:dPt>
          <c:dPt>
            <c:idx val="86"/>
            <c:invertIfNegative val="1"/>
            <c:bubble3D val="0"/>
            <c:spPr>
              <a:solidFill>
                <a:srgbClr val="7ECAC4"/>
              </a:solidFill>
            </c:spPr>
            <c:extLst>
              <c:ext xmlns:c16="http://schemas.microsoft.com/office/drawing/2014/chart" uri="{C3380CC4-5D6E-409C-BE32-E72D297353CC}">
                <c16:uniqueId val="{000000AF-2993-41DE-A2CB-63102DE87051}"/>
              </c:ext>
            </c:extLst>
          </c:dPt>
          <c:dPt>
            <c:idx val="87"/>
            <c:invertIfNegative val="1"/>
            <c:bubble3D val="0"/>
            <c:spPr>
              <a:solidFill>
                <a:srgbClr val="7ECAC4"/>
              </a:solidFill>
            </c:spPr>
            <c:extLst>
              <c:ext xmlns:c16="http://schemas.microsoft.com/office/drawing/2014/chart" uri="{C3380CC4-5D6E-409C-BE32-E72D297353CC}">
                <c16:uniqueId val="{000000B1-2993-41DE-A2CB-63102DE87051}"/>
              </c:ext>
            </c:extLst>
          </c:dPt>
          <c:dPt>
            <c:idx val="88"/>
            <c:invertIfNegative val="1"/>
            <c:bubble3D val="0"/>
            <c:spPr>
              <a:solidFill>
                <a:srgbClr val="7ECAC4"/>
              </a:solidFill>
            </c:spPr>
            <c:extLst>
              <c:ext xmlns:c16="http://schemas.microsoft.com/office/drawing/2014/chart" uri="{C3380CC4-5D6E-409C-BE32-E72D297353CC}">
                <c16:uniqueId val="{000000B3-2993-41DE-A2CB-63102DE87051}"/>
              </c:ext>
            </c:extLst>
          </c:dPt>
          <c:dPt>
            <c:idx val="89"/>
            <c:invertIfNegative val="1"/>
            <c:bubble3D val="0"/>
            <c:spPr>
              <a:solidFill>
                <a:srgbClr val="7ECAC4"/>
              </a:solidFill>
            </c:spPr>
            <c:extLst>
              <c:ext xmlns:c16="http://schemas.microsoft.com/office/drawing/2014/chart" uri="{C3380CC4-5D6E-409C-BE32-E72D297353CC}">
                <c16:uniqueId val="{000000B5-2993-41DE-A2CB-63102DE87051}"/>
              </c:ext>
            </c:extLst>
          </c:dPt>
          <c:dPt>
            <c:idx val="90"/>
            <c:invertIfNegative val="1"/>
            <c:bubble3D val="0"/>
            <c:spPr>
              <a:solidFill>
                <a:srgbClr val="7ECAC4"/>
              </a:solidFill>
            </c:spPr>
            <c:extLst>
              <c:ext xmlns:c16="http://schemas.microsoft.com/office/drawing/2014/chart" uri="{C3380CC4-5D6E-409C-BE32-E72D297353CC}">
                <c16:uniqueId val="{000000B7-2993-41DE-A2CB-63102DE87051}"/>
              </c:ext>
            </c:extLst>
          </c:dPt>
          <c:dPt>
            <c:idx val="91"/>
            <c:invertIfNegative val="1"/>
            <c:bubble3D val="0"/>
            <c:spPr>
              <a:solidFill>
                <a:srgbClr val="7ECAC4"/>
              </a:solidFill>
            </c:spPr>
            <c:extLst>
              <c:ext xmlns:c16="http://schemas.microsoft.com/office/drawing/2014/chart" uri="{C3380CC4-5D6E-409C-BE32-E72D297353CC}">
                <c16:uniqueId val="{000000B9-2993-41DE-A2CB-63102DE87051}"/>
              </c:ext>
            </c:extLst>
          </c:dPt>
          <c:dPt>
            <c:idx val="92"/>
            <c:invertIfNegative val="1"/>
            <c:bubble3D val="0"/>
            <c:spPr>
              <a:solidFill>
                <a:srgbClr val="7ECAC4"/>
              </a:solidFill>
            </c:spPr>
            <c:extLst>
              <c:ext xmlns:c16="http://schemas.microsoft.com/office/drawing/2014/chart" uri="{C3380CC4-5D6E-409C-BE32-E72D297353CC}">
                <c16:uniqueId val="{000000BB-2993-41DE-A2CB-63102DE87051}"/>
              </c:ext>
            </c:extLst>
          </c:dPt>
          <c:dPt>
            <c:idx val="93"/>
            <c:invertIfNegative val="1"/>
            <c:bubble3D val="0"/>
            <c:spPr>
              <a:solidFill>
                <a:srgbClr val="7ECAC4"/>
              </a:solidFill>
            </c:spPr>
            <c:extLst>
              <c:ext xmlns:c16="http://schemas.microsoft.com/office/drawing/2014/chart" uri="{C3380CC4-5D6E-409C-BE32-E72D297353CC}">
                <c16:uniqueId val="{000000BD-2993-41DE-A2CB-63102DE87051}"/>
              </c:ext>
            </c:extLst>
          </c:dPt>
          <c:dPt>
            <c:idx val="94"/>
            <c:invertIfNegative val="1"/>
            <c:bubble3D val="0"/>
            <c:spPr>
              <a:solidFill>
                <a:srgbClr val="7ECAC4"/>
              </a:solidFill>
            </c:spPr>
            <c:extLst>
              <c:ext xmlns:c16="http://schemas.microsoft.com/office/drawing/2014/chart" uri="{C3380CC4-5D6E-409C-BE32-E72D297353CC}">
                <c16:uniqueId val="{000000BF-2993-41DE-A2CB-63102DE87051}"/>
              </c:ext>
            </c:extLst>
          </c:dPt>
          <c:dPt>
            <c:idx val="95"/>
            <c:invertIfNegative val="1"/>
            <c:bubble3D val="0"/>
            <c:spPr>
              <a:solidFill>
                <a:srgbClr val="7ECAC4"/>
              </a:solidFill>
            </c:spPr>
            <c:extLst>
              <c:ext xmlns:c16="http://schemas.microsoft.com/office/drawing/2014/chart" uri="{C3380CC4-5D6E-409C-BE32-E72D297353CC}">
                <c16:uniqueId val="{000000C1-2993-41DE-A2CB-63102DE87051}"/>
              </c:ext>
            </c:extLst>
          </c:dPt>
          <c:dPt>
            <c:idx val="96"/>
            <c:invertIfNegative val="1"/>
            <c:bubble3D val="0"/>
            <c:spPr>
              <a:solidFill>
                <a:srgbClr val="7ECAC4"/>
              </a:solidFill>
            </c:spPr>
            <c:extLst>
              <c:ext xmlns:c16="http://schemas.microsoft.com/office/drawing/2014/chart" uri="{C3380CC4-5D6E-409C-BE32-E72D297353CC}">
                <c16:uniqueId val="{000000C3-2993-41DE-A2CB-63102DE87051}"/>
              </c:ext>
            </c:extLst>
          </c:dPt>
          <c:dPt>
            <c:idx val="97"/>
            <c:invertIfNegative val="1"/>
            <c:bubble3D val="0"/>
            <c:spPr>
              <a:solidFill>
                <a:srgbClr val="7ECAC4"/>
              </a:solidFill>
            </c:spPr>
            <c:extLst>
              <c:ext xmlns:c16="http://schemas.microsoft.com/office/drawing/2014/chart" uri="{C3380CC4-5D6E-409C-BE32-E72D297353CC}">
                <c16:uniqueId val="{000000C5-2993-41DE-A2CB-63102DE87051}"/>
              </c:ext>
            </c:extLst>
          </c:dPt>
          <c:dPt>
            <c:idx val="98"/>
            <c:invertIfNegative val="1"/>
            <c:bubble3D val="0"/>
            <c:spPr>
              <a:solidFill>
                <a:srgbClr val="7ECAC4"/>
              </a:solidFill>
            </c:spPr>
            <c:extLst>
              <c:ext xmlns:c16="http://schemas.microsoft.com/office/drawing/2014/chart" uri="{C3380CC4-5D6E-409C-BE32-E72D297353CC}">
                <c16:uniqueId val="{000000C7-2993-41DE-A2CB-63102DE87051}"/>
              </c:ext>
            </c:extLst>
          </c:dPt>
          <c:dPt>
            <c:idx val="99"/>
            <c:invertIfNegative val="1"/>
            <c:bubble3D val="0"/>
            <c:spPr>
              <a:solidFill>
                <a:srgbClr val="7ECAC4"/>
              </a:solidFill>
            </c:spPr>
            <c:extLst>
              <c:ext xmlns:c16="http://schemas.microsoft.com/office/drawing/2014/chart" uri="{C3380CC4-5D6E-409C-BE32-E72D297353CC}">
                <c16:uniqueId val="{000000C9-2993-41DE-A2CB-63102DE87051}"/>
              </c:ext>
            </c:extLst>
          </c:dPt>
          <c:dPt>
            <c:idx val="100"/>
            <c:invertIfNegative val="1"/>
            <c:bubble3D val="0"/>
            <c:spPr>
              <a:solidFill>
                <a:srgbClr val="7ECAC4"/>
              </a:solidFill>
            </c:spPr>
            <c:extLst>
              <c:ext xmlns:c16="http://schemas.microsoft.com/office/drawing/2014/chart" uri="{C3380CC4-5D6E-409C-BE32-E72D297353CC}">
                <c16:uniqueId val="{000000CB-2993-41DE-A2CB-63102DE87051}"/>
              </c:ext>
            </c:extLst>
          </c:dPt>
          <c:dPt>
            <c:idx val="101"/>
            <c:invertIfNegative val="1"/>
            <c:bubble3D val="0"/>
            <c:spPr>
              <a:solidFill>
                <a:srgbClr val="7ECAC4"/>
              </a:solidFill>
            </c:spPr>
            <c:extLst>
              <c:ext xmlns:c16="http://schemas.microsoft.com/office/drawing/2014/chart" uri="{C3380CC4-5D6E-409C-BE32-E72D297353CC}">
                <c16:uniqueId val="{000000CD-2993-41DE-A2CB-63102DE87051}"/>
              </c:ext>
            </c:extLst>
          </c:dPt>
          <c:dPt>
            <c:idx val="102"/>
            <c:invertIfNegative val="1"/>
            <c:bubble3D val="0"/>
            <c:spPr>
              <a:solidFill>
                <a:srgbClr val="7ECAC4"/>
              </a:solidFill>
            </c:spPr>
            <c:extLst>
              <c:ext xmlns:c16="http://schemas.microsoft.com/office/drawing/2014/chart" uri="{C3380CC4-5D6E-409C-BE32-E72D297353CC}">
                <c16:uniqueId val="{000000CF-2993-41DE-A2CB-63102DE87051}"/>
              </c:ext>
            </c:extLst>
          </c:dPt>
          <c:dPt>
            <c:idx val="103"/>
            <c:invertIfNegative val="1"/>
            <c:bubble3D val="0"/>
            <c:spPr>
              <a:solidFill>
                <a:srgbClr val="7ECAC4"/>
              </a:solidFill>
            </c:spPr>
            <c:extLst>
              <c:ext xmlns:c16="http://schemas.microsoft.com/office/drawing/2014/chart" uri="{C3380CC4-5D6E-409C-BE32-E72D297353CC}">
                <c16:uniqueId val="{000000D1-2993-41DE-A2CB-63102DE87051}"/>
              </c:ext>
            </c:extLst>
          </c:dPt>
          <c:dPt>
            <c:idx val="104"/>
            <c:invertIfNegative val="1"/>
            <c:bubble3D val="0"/>
            <c:spPr>
              <a:solidFill>
                <a:srgbClr val="7ECAC4"/>
              </a:solidFill>
            </c:spPr>
            <c:extLst>
              <c:ext xmlns:c16="http://schemas.microsoft.com/office/drawing/2014/chart" uri="{C3380CC4-5D6E-409C-BE32-E72D297353CC}">
                <c16:uniqueId val="{000000D3-2993-41DE-A2CB-63102DE87051}"/>
              </c:ext>
            </c:extLst>
          </c:dPt>
          <c:dPt>
            <c:idx val="105"/>
            <c:invertIfNegative val="1"/>
            <c:bubble3D val="0"/>
            <c:spPr>
              <a:solidFill>
                <a:srgbClr val="7ECAC4"/>
              </a:solidFill>
            </c:spPr>
            <c:extLst>
              <c:ext xmlns:c16="http://schemas.microsoft.com/office/drawing/2014/chart" uri="{C3380CC4-5D6E-409C-BE32-E72D297353CC}">
                <c16:uniqueId val="{000000D5-2993-41DE-A2CB-63102DE87051}"/>
              </c:ext>
            </c:extLst>
          </c:dPt>
          <c:dPt>
            <c:idx val="106"/>
            <c:invertIfNegative val="1"/>
            <c:bubble3D val="0"/>
            <c:spPr>
              <a:solidFill>
                <a:srgbClr val="7ECAC4"/>
              </a:solidFill>
            </c:spPr>
            <c:extLst>
              <c:ext xmlns:c16="http://schemas.microsoft.com/office/drawing/2014/chart" uri="{C3380CC4-5D6E-409C-BE32-E72D297353CC}">
                <c16:uniqueId val="{000000D7-2993-41DE-A2CB-63102DE87051}"/>
              </c:ext>
            </c:extLst>
          </c:dPt>
          <c:dPt>
            <c:idx val="107"/>
            <c:invertIfNegative val="1"/>
            <c:bubble3D val="0"/>
            <c:spPr>
              <a:solidFill>
                <a:srgbClr val="7ECAC4"/>
              </a:solidFill>
            </c:spPr>
            <c:extLst>
              <c:ext xmlns:c16="http://schemas.microsoft.com/office/drawing/2014/chart" uri="{C3380CC4-5D6E-409C-BE32-E72D297353CC}">
                <c16:uniqueId val="{000000D9-2993-41DE-A2CB-63102DE87051}"/>
              </c:ext>
            </c:extLst>
          </c:dPt>
          <c:dPt>
            <c:idx val="108"/>
            <c:invertIfNegative val="1"/>
            <c:bubble3D val="0"/>
            <c:spPr>
              <a:solidFill>
                <a:srgbClr val="7ECAC4"/>
              </a:solidFill>
            </c:spPr>
            <c:extLst>
              <c:ext xmlns:c16="http://schemas.microsoft.com/office/drawing/2014/chart" uri="{C3380CC4-5D6E-409C-BE32-E72D297353CC}">
                <c16:uniqueId val="{000000DB-2993-41DE-A2CB-63102DE87051}"/>
              </c:ext>
            </c:extLst>
          </c:dPt>
          <c:dPt>
            <c:idx val="109"/>
            <c:invertIfNegative val="1"/>
            <c:bubble3D val="0"/>
            <c:spPr>
              <a:solidFill>
                <a:srgbClr val="7ECAC4"/>
              </a:solidFill>
            </c:spPr>
            <c:extLst>
              <c:ext xmlns:c16="http://schemas.microsoft.com/office/drawing/2014/chart" uri="{C3380CC4-5D6E-409C-BE32-E72D297353CC}">
                <c16:uniqueId val="{000000DD-2993-41DE-A2CB-63102DE87051}"/>
              </c:ext>
            </c:extLst>
          </c:dPt>
          <c:dPt>
            <c:idx val="110"/>
            <c:invertIfNegative val="1"/>
            <c:bubble3D val="0"/>
            <c:spPr>
              <a:solidFill>
                <a:srgbClr val="7ECAC4"/>
              </a:solidFill>
            </c:spPr>
            <c:extLst>
              <c:ext xmlns:c16="http://schemas.microsoft.com/office/drawing/2014/chart" uri="{C3380CC4-5D6E-409C-BE32-E72D297353CC}">
                <c16:uniqueId val="{000000DF-2993-41DE-A2CB-63102DE87051}"/>
              </c:ext>
            </c:extLst>
          </c:dPt>
          <c:dPt>
            <c:idx val="111"/>
            <c:invertIfNegative val="1"/>
            <c:bubble3D val="0"/>
            <c:spPr>
              <a:solidFill>
                <a:srgbClr val="7ECAC4"/>
              </a:solidFill>
            </c:spPr>
            <c:extLst>
              <c:ext xmlns:c16="http://schemas.microsoft.com/office/drawing/2014/chart" uri="{C3380CC4-5D6E-409C-BE32-E72D297353CC}">
                <c16:uniqueId val="{000000E1-2993-41DE-A2CB-63102DE87051}"/>
              </c:ext>
            </c:extLst>
          </c:dPt>
          <c:dPt>
            <c:idx val="112"/>
            <c:invertIfNegative val="1"/>
            <c:bubble3D val="0"/>
            <c:spPr>
              <a:solidFill>
                <a:srgbClr val="7ECAC4"/>
              </a:solidFill>
            </c:spPr>
            <c:extLst>
              <c:ext xmlns:c16="http://schemas.microsoft.com/office/drawing/2014/chart" uri="{C3380CC4-5D6E-409C-BE32-E72D297353CC}">
                <c16:uniqueId val="{000000E3-2993-41DE-A2CB-63102DE87051}"/>
              </c:ext>
            </c:extLst>
          </c:dPt>
          <c:dPt>
            <c:idx val="113"/>
            <c:invertIfNegative val="1"/>
            <c:bubble3D val="0"/>
            <c:spPr>
              <a:solidFill>
                <a:srgbClr val="7ECAC4"/>
              </a:solidFill>
            </c:spPr>
            <c:extLst>
              <c:ext xmlns:c16="http://schemas.microsoft.com/office/drawing/2014/chart" uri="{C3380CC4-5D6E-409C-BE32-E72D297353CC}">
                <c16:uniqueId val="{000000E5-2993-41DE-A2CB-63102DE87051}"/>
              </c:ext>
            </c:extLst>
          </c:dPt>
          <c:dPt>
            <c:idx val="114"/>
            <c:invertIfNegative val="1"/>
            <c:bubble3D val="0"/>
            <c:spPr>
              <a:solidFill>
                <a:srgbClr val="AEABAB"/>
              </a:solidFill>
            </c:spPr>
            <c:extLst>
              <c:ext xmlns:c16="http://schemas.microsoft.com/office/drawing/2014/chart" uri="{C3380CC4-5D6E-409C-BE32-E72D297353CC}">
                <c16:uniqueId val="{000000E7-2993-41DE-A2CB-63102DE87051}"/>
              </c:ext>
            </c:extLst>
          </c:dPt>
          <c:dPt>
            <c:idx val="115"/>
            <c:invertIfNegative val="1"/>
            <c:bubble3D val="0"/>
            <c:spPr>
              <a:solidFill>
                <a:srgbClr val="AEABAB"/>
              </a:solidFill>
            </c:spPr>
            <c:extLst>
              <c:ext xmlns:c16="http://schemas.microsoft.com/office/drawing/2014/chart" uri="{C3380CC4-5D6E-409C-BE32-E72D297353CC}">
                <c16:uniqueId val="{000000E9-2993-41DE-A2CB-63102DE87051}"/>
              </c:ext>
            </c:extLst>
          </c:dPt>
          <c:dPt>
            <c:idx val="116"/>
            <c:invertIfNegative val="1"/>
            <c:bubble3D val="0"/>
            <c:spPr>
              <a:solidFill>
                <a:srgbClr val="AEABAB"/>
              </a:solidFill>
            </c:spPr>
            <c:extLst>
              <c:ext xmlns:c16="http://schemas.microsoft.com/office/drawing/2014/chart" uri="{C3380CC4-5D6E-409C-BE32-E72D297353CC}">
                <c16:uniqueId val="{000000EB-2993-41DE-A2CB-63102DE87051}"/>
              </c:ext>
            </c:extLst>
          </c:dPt>
          <c:dPt>
            <c:idx val="117"/>
            <c:invertIfNegative val="1"/>
            <c:bubble3D val="0"/>
            <c:spPr>
              <a:solidFill>
                <a:srgbClr val="AEABAB"/>
              </a:solidFill>
            </c:spPr>
            <c:extLst>
              <c:ext xmlns:c16="http://schemas.microsoft.com/office/drawing/2014/chart" uri="{C3380CC4-5D6E-409C-BE32-E72D297353CC}">
                <c16:uniqueId val="{000000ED-2993-41DE-A2CB-63102DE87051}"/>
              </c:ext>
            </c:extLst>
          </c:dPt>
          <c:dPt>
            <c:idx val="118"/>
            <c:invertIfNegative val="1"/>
            <c:bubble3D val="0"/>
            <c:spPr>
              <a:solidFill>
                <a:srgbClr val="AEABAB"/>
              </a:solidFill>
            </c:spPr>
            <c:extLst>
              <c:ext xmlns:c16="http://schemas.microsoft.com/office/drawing/2014/chart" uri="{C3380CC4-5D6E-409C-BE32-E72D297353CC}">
                <c16:uniqueId val="{000000EF-2993-41DE-A2CB-63102DE87051}"/>
              </c:ext>
            </c:extLst>
          </c:dPt>
          <c:dPt>
            <c:idx val="119"/>
            <c:invertIfNegative val="1"/>
            <c:bubble3D val="0"/>
            <c:spPr>
              <a:solidFill>
                <a:srgbClr val="AEABAB"/>
              </a:solidFill>
            </c:spPr>
            <c:extLst>
              <c:ext xmlns:c16="http://schemas.microsoft.com/office/drawing/2014/chart" uri="{C3380CC4-5D6E-409C-BE32-E72D297353CC}">
                <c16:uniqueId val="{000000F1-2993-41DE-A2CB-63102DE87051}"/>
              </c:ext>
            </c:extLst>
          </c:dPt>
          <c:dPt>
            <c:idx val="120"/>
            <c:invertIfNegative val="1"/>
            <c:bubble3D val="0"/>
            <c:spPr>
              <a:solidFill>
                <a:srgbClr val="AEABAB"/>
              </a:solidFill>
            </c:spPr>
            <c:extLst>
              <c:ext xmlns:c16="http://schemas.microsoft.com/office/drawing/2014/chart" uri="{C3380CC4-5D6E-409C-BE32-E72D297353CC}">
                <c16:uniqueId val="{000000F3-2993-41DE-A2CB-63102DE87051}"/>
              </c:ext>
            </c:extLst>
          </c:dPt>
          <c:dPt>
            <c:idx val="121"/>
            <c:invertIfNegative val="1"/>
            <c:bubble3D val="0"/>
            <c:spPr>
              <a:solidFill>
                <a:srgbClr val="AEABAB"/>
              </a:solidFill>
            </c:spPr>
            <c:extLst>
              <c:ext xmlns:c16="http://schemas.microsoft.com/office/drawing/2014/chart" uri="{C3380CC4-5D6E-409C-BE32-E72D297353CC}">
                <c16:uniqueId val="{000000F5-2993-41DE-A2CB-63102DE87051}"/>
              </c:ext>
            </c:extLst>
          </c:dPt>
          <c:dPt>
            <c:idx val="122"/>
            <c:invertIfNegative val="1"/>
            <c:bubble3D val="0"/>
            <c:spPr>
              <a:solidFill>
                <a:srgbClr val="AEABAB"/>
              </a:solidFill>
            </c:spPr>
            <c:extLst>
              <c:ext xmlns:c16="http://schemas.microsoft.com/office/drawing/2014/chart" uri="{C3380CC4-5D6E-409C-BE32-E72D297353CC}">
                <c16:uniqueId val="{000000F7-2993-41DE-A2CB-63102DE87051}"/>
              </c:ext>
            </c:extLst>
          </c:dPt>
          <c:dPt>
            <c:idx val="123"/>
            <c:invertIfNegative val="1"/>
            <c:bubble3D val="0"/>
            <c:spPr>
              <a:solidFill>
                <a:srgbClr val="AEABAB"/>
              </a:solidFill>
            </c:spPr>
            <c:extLst>
              <c:ext xmlns:c16="http://schemas.microsoft.com/office/drawing/2014/chart" uri="{C3380CC4-5D6E-409C-BE32-E72D297353CC}">
                <c16:uniqueId val="{000000F9-2993-41DE-A2CB-63102DE87051}"/>
              </c:ext>
            </c:extLst>
          </c:dPt>
          <c:dPt>
            <c:idx val="124"/>
            <c:invertIfNegative val="1"/>
            <c:bubble3D val="0"/>
            <c:spPr>
              <a:solidFill>
                <a:srgbClr val="AEABAB"/>
              </a:solidFill>
            </c:spPr>
            <c:extLst>
              <c:ext xmlns:c16="http://schemas.microsoft.com/office/drawing/2014/chart" uri="{C3380CC4-5D6E-409C-BE32-E72D297353CC}">
                <c16:uniqueId val="{000000FB-2993-41DE-A2CB-63102DE87051}"/>
              </c:ext>
            </c:extLst>
          </c:dPt>
          <c:dPt>
            <c:idx val="125"/>
            <c:invertIfNegative val="1"/>
            <c:bubble3D val="0"/>
            <c:spPr>
              <a:solidFill>
                <a:srgbClr val="AEABAB"/>
              </a:solidFill>
            </c:spPr>
            <c:extLst>
              <c:ext xmlns:c16="http://schemas.microsoft.com/office/drawing/2014/chart" uri="{C3380CC4-5D6E-409C-BE32-E72D297353CC}">
                <c16:uniqueId val="{000000FD-2993-41DE-A2CB-63102DE87051}"/>
              </c:ext>
            </c:extLst>
          </c:dPt>
          <c:dPt>
            <c:idx val="126"/>
            <c:invertIfNegative val="1"/>
            <c:bubble3D val="0"/>
            <c:spPr>
              <a:solidFill>
                <a:srgbClr val="AEABAB"/>
              </a:solidFill>
            </c:spPr>
            <c:extLst>
              <c:ext xmlns:c16="http://schemas.microsoft.com/office/drawing/2014/chart" uri="{C3380CC4-5D6E-409C-BE32-E72D297353CC}">
                <c16:uniqueId val="{000000FF-2993-41DE-A2CB-63102DE87051}"/>
              </c:ext>
            </c:extLst>
          </c:dPt>
          <c:dPt>
            <c:idx val="127"/>
            <c:invertIfNegative val="1"/>
            <c:bubble3D val="0"/>
            <c:spPr>
              <a:solidFill>
                <a:srgbClr val="AEABAB"/>
              </a:solidFill>
            </c:spPr>
            <c:extLst>
              <c:ext xmlns:c16="http://schemas.microsoft.com/office/drawing/2014/chart" uri="{C3380CC4-5D6E-409C-BE32-E72D297353CC}">
                <c16:uniqueId val="{00000101-2993-41DE-A2CB-63102DE87051}"/>
              </c:ext>
            </c:extLst>
          </c:dPt>
          <c:dPt>
            <c:idx val="128"/>
            <c:invertIfNegative val="1"/>
            <c:bubble3D val="0"/>
            <c:spPr>
              <a:solidFill>
                <a:srgbClr val="AEABAB"/>
              </a:solidFill>
            </c:spPr>
            <c:extLst>
              <c:ext xmlns:c16="http://schemas.microsoft.com/office/drawing/2014/chart" uri="{C3380CC4-5D6E-409C-BE32-E72D297353CC}">
                <c16:uniqueId val="{00000103-2993-41DE-A2CB-63102DE87051}"/>
              </c:ext>
            </c:extLst>
          </c:dPt>
          <c:dPt>
            <c:idx val="129"/>
            <c:invertIfNegative val="1"/>
            <c:bubble3D val="0"/>
            <c:spPr>
              <a:solidFill>
                <a:srgbClr val="AEABAB"/>
              </a:solidFill>
            </c:spPr>
            <c:extLst>
              <c:ext xmlns:c16="http://schemas.microsoft.com/office/drawing/2014/chart" uri="{C3380CC4-5D6E-409C-BE32-E72D297353CC}">
                <c16:uniqueId val="{00000105-2993-41DE-A2CB-63102DE87051}"/>
              </c:ext>
            </c:extLst>
          </c:dPt>
          <c:dPt>
            <c:idx val="130"/>
            <c:invertIfNegative val="1"/>
            <c:bubble3D val="0"/>
            <c:spPr>
              <a:solidFill>
                <a:srgbClr val="AEABAB"/>
              </a:solidFill>
            </c:spPr>
            <c:extLst>
              <c:ext xmlns:c16="http://schemas.microsoft.com/office/drawing/2014/chart" uri="{C3380CC4-5D6E-409C-BE32-E72D297353CC}">
                <c16:uniqueId val="{00000107-2993-41DE-A2CB-63102DE87051}"/>
              </c:ext>
            </c:extLst>
          </c:dPt>
          <c:dPt>
            <c:idx val="131"/>
            <c:invertIfNegative val="1"/>
            <c:bubble3D val="0"/>
            <c:spPr>
              <a:solidFill>
                <a:srgbClr val="AEABAB"/>
              </a:solidFill>
            </c:spPr>
            <c:extLst>
              <c:ext xmlns:c16="http://schemas.microsoft.com/office/drawing/2014/chart" uri="{C3380CC4-5D6E-409C-BE32-E72D297353CC}">
                <c16:uniqueId val="{00000109-2993-41DE-A2CB-63102DE87051}"/>
              </c:ext>
            </c:extLst>
          </c:dPt>
          <c:dPt>
            <c:idx val="132"/>
            <c:invertIfNegative val="1"/>
            <c:bubble3D val="0"/>
            <c:spPr>
              <a:solidFill>
                <a:srgbClr val="AEABAB"/>
              </a:solidFill>
            </c:spPr>
            <c:extLst>
              <c:ext xmlns:c16="http://schemas.microsoft.com/office/drawing/2014/chart" uri="{C3380CC4-5D6E-409C-BE32-E72D297353CC}">
                <c16:uniqueId val="{0000010B-2993-41DE-A2CB-63102DE87051}"/>
              </c:ext>
            </c:extLst>
          </c:dPt>
          <c:dPt>
            <c:idx val="133"/>
            <c:invertIfNegative val="1"/>
            <c:bubble3D val="0"/>
            <c:spPr>
              <a:solidFill>
                <a:srgbClr val="AEABAB"/>
              </a:solidFill>
            </c:spPr>
            <c:extLst>
              <c:ext xmlns:c16="http://schemas.microsoft.com/office/drawing/2014/chart" uri="{C3380CC4-5D6E-409C-BE32-E72D297353CC}">
                <c16:uniqueId val="{0000010D-2993-41DE-A2CB-63102DE87051}"/>
              </c:ext>
            </c:extLst>
          </c:dPt>
          <c:dPt>
            <c:idx val="134"/>
            <c:invertIfNegative val="1"/>
            <c:bubble3D val="0"/>
            <c:spPr>
              <a:solidFill>
                <a:srgbClr val="AEABAB"/>
              </a:solidFill>
            </c:spPr>
            <c:extLst>
              <c:ext xmlns:c16="http://schemas.microsoft.com/office/drawing/2014/chart" uri="{C3380CC4-5D6E-409C-BE32-E72D297353CC}">
                <c16:uniqueId val="{0000010F-2993-41DE-A2CB-63102DE87051}"/>
              </c:ext>
            </c:extLst>
          </c:dPt>
          <c:dPt>
            <c:idx val="135"/>
            <c:invertIfNegative val="1"/>
            <c:bubble3D val="0"/>
            <c:spPr>
              <a:solidFill>
                <a:srgbClr val="AEABAB"/>
              </a:solidFill>
            </c:spPr>
            <c:extLst>
              <c:ext xmlns:c16="http://schemas.microsoft.com/office/drawing/2014/chart" uri="{C3380CC4-5D6E-409C-BE32-E72D297353CC}">
                <c16:uniqueId val="{00000111-2993-41DE-A2CB-63102DE87051}"/>
              </c:ext>
            </c:extLst>
          </c:dPt>
          <c:dPt>
            <c:idx val="136"/>
            <c:invertIfNegative val="1"/>
            <c:bubble3D val="0"/>
            <c:spPr>
              <a:solidFill>
                <a:srgbClr val="AEABAB"/>
              </a:solidFill>
            </c:spPr>
            <c:extLst>
              <c:ext xmlns:c16="http://schemas.microsoft.com/office/drawing/2014/chart" uri="{C3380CC4-5D6E-409C-BE32-E72D297353CC}">
                <c16:uniqueId val="{00000113-2993-41DE-A2CB-63102DE87051}"/>
              </c:ext>
            </c:extLst>
          </c:dPt>
          <c:dPt>
            <c:idx val="137"/>
            <c:invertIfNegative val="1"/>
            <c:bubble3D val="0"/>
            <c:spPr>
              <a:solidFill>
                <a:srgbClr val="AEABAB"/>
              </a:solidFill>
            </c:spPr>
            <c:extLst>
              <c:ext xmlns:c16="http://schemas.microsoft.com/office/drawing/2014/chart" uri="{C3380CC4-5D6E-409C-BE32-E72D297353CC}">
                <c16:uniqueId val="{00000115-2993-41DE-A2CB-63102DE87051}"/>
              </c:ext>
            </c:extLst>
          </c:dPt>
          <c:dPt>
            <c:idx val="138"/>
            <c:invertIfNegative val="1"/>
            <c:bubble3D val="0"/>
            <c:spPr>
              <a:solidFill>
                <a:srgbClr val="AEABAB"/>
              </a:solidFill>
            </c:spPr>
            <c:extLst>
              <c:ext xmlns:c16="http://schemas.microsoft.com/office/drawing/2014/chart" uri="{C3380CC4-5D6E-409C-BE32-E72D297353CC}">
                <c16:uniqueId val="{00000117-2993-41DE-A2CB-63102DE87051}"/>
              </c:ext>
            </c:extLst>
          </c:dPt>
          <c:dPt>
            <c:idx val="139"/>
            <c:invertIfNegative val="1"/>
            <c:bubble3D val="0"/>
            <c:spPr>
              <a:solidFill>
                <a:srgbClr val="AEABAB"/>
              </a:solidFill>
            </c:spPr>
            <c:extLst>
              <c:ext xmlns:c16="http://schemas.microsoft.com/office/drawing/2014/chart" uri="{C3380CC4-5D6E-409C-BE32-E72D297353CC}">
                <c16:uniqueId val="{00000119-2993-41DE-A2CB-63102DE87051}"/>
              </c:ext>
            </c:extLst>
          </c:dPt>
          <c:dPt>
            <c:idx val="140"/>
            <c:invertIfNegative val="1"/>
            <c:bubble3D val="0"/>
            <c:spPr>
              <a:solidFill>
                <a:srgbClr val="AEABAB"/>
              </a:solidFill>
            </c:spPr>
            <c:extLst>
              <c:ext xmlns:c16="http://schemas.microsoft.com/office/drawing/2014/chart" uri="{C3380CC4-5D6E-409C-BE32-E72D297353CC}">
                <c16:uniqueId val="{0000011B-2993-41DE-A2CB-63102DE87051}"/>
              </c:ext>
            </c:extLst>
          </c:dPt>
          <c:dPt>
            <c:idx val="141"/>
            <c:invertIfNegative val="1"/>
            <c:bubble3D val="0"/>
            <c:spPr>
              <a:solidFill>
                <a:srgbClr val="AEABAB"/>
              </a:solidFill>
            </c:spPr>
            <c:extLst>
              <c:ext xmlns:c16="http://schemas.microsoft.com/office/drawing/2014/chart" uri="{C3380CC4-5D6E-409C-BE32-E72D297353CC}">
                <c16:uniqueId val="{0000011D-2993-41DE-A2CB-63102DE87051}"/>
              </c:ext>
            </c:extLst>
          </c:dPt>
          <c:dPt>
            <c:idx val="142"/>
            <c:invertIfNegative val="1"/>
            <c:bubble3D val="0"/>
            <c:spPr>
              <a:solidFill>
                <a:srgbClr val="AEABAB"/>
              </a:solidFill>
            </c:spPr>
            <c:extLst>
              <c:ext xmlns:c16="http://schemas.microsoft.com/office/drawing/2014/chart" uri="{C3380CC4-5D6E-409C-BE32-E72D297353CC}">
                <c16:uniqueId val="{0000011F-2993-41DE-A2CB-63102DE87051}"/>
              </c:ext>
            </c:extLst>
          </c:dPt>
          <c:dPt>
            <c:idx val="143"/>
            <c:invertIfNegative val="1"/>
            <c:bubble3D val="0"/>
            <c:spPr>
              <a:solidFill>
                <a:srgbClr val="AEABAB"/>
              </a:solidFill>
            </c:spPr>
            <c:extLst>
              <c:ext xmlns:c16="http://schemas.microsoft.com/office/drawing/2014/chart" uri="{C3380CC4-5D6E-409C-BE32-E72D297353CC}">
                <c16:uniqueId val="{00000121-2993-41DE-A2CB-63102DE87051}"/>
              </c:ext>
            </c:extLst>
          </c:dPt>
          <c:dPt>
            <c:idx val="144"/>
            <c:invertIfNegative val="1"/>
            <c:bubble3D val="0"/>
            <c:spPr>
              <a:solidFill>
                <a:srgbClr val="AEABAB"/>
              </a:solidFill>
            </c:spPr>
            <c:extLst>
              <c:ext xmlns:c16="http://schemas.microsoft.com/office/drawing/2014/chart" uri="{C3380CC4-5D6E-409C-BE32-E72D297353CC}">
                <c16:uniqueId val="{00000123-2993-41DE-A2CB-63102DE87051}"/>
              </c:ext>
            </c:extLst>
          </c:dPt>
          <c:dPt>
            <c:idx val="145"/>
            <c:invertIfNegative val="1"/>
            <c:bubble3D val="0"/>
            <c:spPr>
              <a:solidFill>
                <a:srgbClr val="AEABAB"/>
              </a:solidFill>
            </c:spPr>
            <c:extLst>
              <c:ext xmlns:c16="http://schemas.microsoft.com/office/drawing/2014/chart" uri="{C3380CC4-5D6E-409C-BE32-E72D297353CC}">
                <c16:uniqueId val="{00000125-2993-41DE-A2CB-63102DE87051}"/>
              </c:ext>
            </c:extLst>
          </c:dPt>
          <c:dPt>
            <c:idx val="146"/>
            <c:invertIfNegative val="1"/>
            <c:bubble3D val="0"/>
            <c:spPr>
              <a:solidFill>
                <a:srgbClr val="AEABAB"/>
              </a:solidFill>
            </c:spPr>
            <c:extLst>
              <c:ext xmlns:c16="http://schemas.microsoft.com/office/drawing/2014/chart" uri="{C3380CC4-5D6E-409C-BE32-E72D297353CC}">
                <c16:uniqueId val="{00000127-2993-41DE-A2CB-63102DE87051}"/>
              </c:ext>
            </c:extLst>
          </c:dPt>
          <c:dPt>
            <c:idx val="147"/>
            <c:invertIfNegative val="1"/>
            <c:bubble3D val="0"/>
            <c:spPr>
              <a:solidFill>
                <a:srgbClr val="AEABAB"/>
              </a:solidFill>
            </c:spPr>
            <c:extLst>
              <c:ext xmlns:c16="http://schemas.microsoft.com/office/drawing/2014/chart" uri="{C3380CC4-5D6E-409C-BE32-E72D297353CC}">
                <c16:uniqueId val="{00000129-2993-41DE-A2CB-63102DE87051}"/>
              </c:ext>
            </c:extLst>
          </c:dPt>
          <c:dPt>
            <c:idx val="148"/>
            <c:invertIfNegative val="1"/>
            <c:bubble3D val="0"/>
            <c:spPr>
              <a:solidFill>
                <a:srgbClr val="AEABAB"/>
              </a:solidFill>
            </c:spPr>
            <c:extLst>
              <c:ext xmlns:c16="http://schemas.microsoft.com/office/drawing/2014/chart" uri="{C3380CC4-5D6E-409C-BE32-E72D297353CC}">
                <c16:uniqueId val="{0000012B-2993-41DE-A2CB-63102DE87051}"/>
              </c:ext>
            </c:extLst>
          </c:dPt>
          <c:dPt>
            <c:idx val="149"/>
            <c:invertIfNegative val="1"/>
            <c:bubble3D val="0"/>
            <c:spPr>
              <a:solidFill>
                <a:srgbClr val="AEABAB"/>
              </a:solidFill>
            </c:spPr>
            <c:extLst>
              <c:ext xmlns:c16="http://schemas.microsoft.com/office/drawing/2014/chart" uri="{C3380CC4-5D6E-409C-BE32-E72D297353CC}">
                <c16:uniqueId val="{0000012D-2993-41DE-A2CB-63102DE87051}"/>
              </c:ext>
            </c:extLst>
          </c:dPt>
          <c:dPt>
            <c:idx val="150"/>
            <c:invertIfNegative val="1"/>
            <c:bubble3D val="0"/>
            <c:spPr>
              <a:solidFill>
                <a:srgbClr val="AEABAB"/>
              </a:solidFill>
            </c:spPr>
            <c:extLst>
              <c:ext xmlns:c16="http://schemas.microsoft.com/office/drawing/2014/chart" uri="{C3380CC4-5D6E-409C-BE32-E72D297353CC}">
                <c16:uniqueId val="{0000012F-2993-41DE-A2CB-63102DE87051}"/>
              </c:ext>
            </c:extLst>
          </c:dPt>
          <c:dPt>
            <c:idx val="151"/>
            <c:invertIfNegative val="1"/>
            <c:bubble3D val="0"/>
            <c:spPr>
              <a:solidFill>
                <a:srgbClr val="AEABAB"/>
              </a:solidFill>
            </c:spPr>
            <c:extLst>
              <c:ext xmlns:c16="http://schemas.microsoft.com/office/drawing/2014/chart" uri="{C3380CC4-5D6E-409C-BE32-E72D297353CC}">
                <c16:uniqueId val="{00000131-2993-41DE-A2CB-63102DE87051}"/>
              </c:ext>
            </c:extLst>
          </c:dPt>
          <c:dPt>
            <c:idx val="152"/>
            <c:invertIfNegative val="1"/>
            <c:bubble3D val="0"/>
            <c:spPr>
              <a:solidFill>
                <a:srgbClr val="AEABAB"/>
              </a:solidFill>
            </c:spPr>
            <c:extLst>
              <c:ext xmlns:c16="http://schemas.microsoft.com/office/drawing/2014/chart" uri="{C3380CC4-5D6E-409C-BE32-E72D297353CC}">
                <c16:uniqueId val="{00000133-2993-41DE-A2CB-63102DE87051}"/>
              </c:ext>
            </c:extLst>
          </c:dPt>
          <c:dPt>
            <c:idx val="153"/>
            <c:invertIfNegative val="1"/>
            <c:bubble3D val="0"/>
            <c:spPr>
              <a:solidFill>
                <a:srgbClr val="AEABAB"/>
              </a:solidFill>
            </c:spPr>
            <c:extLst>
              <c:ext xmlns:c16="http://schemas.microsoft.com/office/drawing/2014/chart" uri="{C3380CC4-5D6E-409C-BE32-E72D297353CC}">
                <c16:uniqueId val="{00000135-2993-41DE-A2CB-63102DE87051}"/>
              </c:ext>
            </c:extLst>
          </c:dPt>
          <c:dPt>
            <c:idx val="154"/>
            <c:invertIfNegative val="1"/>
            <c:bubble3D val="0"/>
            <c:spPr>
              <a:solidFill>
                <a:srgbClr val="AEABAB"/>
              </a:solidFill>
            </c:spPr>
            <c:extLst>
              <c:ext xmlns:c16="http://schemas.microsoft.com/office/drawing/2014/chart" uri="{C3380CC4-5D6E-409C-BE32-E72D297353CC}">
                <c16:uniqueId val="{00000137-2993-41DE-A2CB-63102DE87051}"/>
              </c:ext>
            </c:extLst>
          </c:dPt>
          <c:dPt>
            <c:idx val="155"/>
            <c:invertIfNegative val="1"/>
            <c:bubble3D val="0"/>
            <c:spPr>
              <a:solidFill>
                <a:srgbClr val="AEABAB"/>
              </a:solidFill>
            </c:spPr>
            <c:extLst>
              <c:ext xmlns:c16="http://schemas.microsoft.com/office/drawing/2014/chart" uri="{C3380CC4-5D6E-409C-BE32-E72D297353CC}">
                <c16:uniqueId val="{00000139-2993-41DE-A2CB-63102DE87051}"/>
              </c:ext>
            </c:extLst>
          </c:dPt>
          <c:dPt>
            <c:idx val="156"/>
            <c:invertIfNegative val="1"/>
            <c:bubble3D val="0"/>
            <c:spPr>
              <a:solidFill>
                <a:srgbClr val="AEABAB"/>
              </a:solidFill>
            </c:spPr>
            <c:extLst>
              <c:ext xmlns:c16="http://schemas.microsoft.com/office/drawing/2014/chart" uri="{C3380CC4-5D6E-409C-BE32-E72D297353CC}">
                <c16:uniqueId val="{0000013B-2993-41DE-A2CB-63102DE87051}"/>
              </c:ext>
            </c:extLst>
          </c:dPt>
          <c:dPt>
            <c:idx val="157"/>
            <c:invertIfNegative val="1"/>
            <c:bubble3D val="0"/>
            <c:spPr>
              <a:solidFill>
                <a:srgbClr val="AEABAB"/>
              </a:solidFill>
            </c:spPr>
            <c:extLst>
              <c:ext xmlns:c16="http://schemas.microsoft.com/office/drawing/2014/chart" uri="{C3380CC4-5D6E-409C-BE32-E72D297353CC}">
                <c16:uniqueId val="{0000013D-2993-41DE-A2CB-63102DE87051}"/>
              </c:ext>
            </c:extLst>
          </c:dPt>
          <c:dPt>
            <c:idx val="158"/>
            <c:invertIfNegative val="1"/>
            <c:bubble3D val="0"/>
            <c:spPr>
              <a:solidFill>
                <a:srgbClr val="AEABAB"/>
              </a:solidFill>
            </c:spPr>
            <c:extLst>
              <c:ext xmlns:c16="http://schemas.microsoft.com/office/drawing/2014/chart" uri="{C3380CC4-5D6E-409C-BE32-E72D297353CC}">
                <c16:uniqueId val="{0000013F-2993-41DE-A2CB-63102DE87051}"/>
              </c:ext>
            </c:extLst>
          </c:dPt>
          <c:dPt>
            <c:idx val="159"/>
            <c:invertIfNegative val="1"/>
            <c:bubble3D val="0"/>
            <c:spPr>
              <a:solidFill>
                <a:srgbClr val="AEABAB"/>
              </a:solidFill>
            </c:spPr>
            <c:extLst>
              <c:ext xmlns:c16="http://schemas.microsoft.com/office/drawing/2014/chart" uri="{C3380CC4-5D6E-409C-BE32-E72D297353CC}">
                <c16:uniqueId val="{00000141-2993-41DE-A2CB-63102DE87051}"/>
              </c:ext>
            </c:extLst>
          </c:dPt>
          <c:dPt>
            <c:idx val="160"/>
            <c:invertIfNegative val="1"/>
            <c:bubble3D val="0"/>
            <c:spPr>
              <a:solidFill>
                <a:srgbClr val="AEABAB"/>
              </a:solidFill>
            </c:spPr>
            <c:extLst>
              <c:ext xmlns:c16="http://schemas.microsoft.com/office/drawing/2014/chart" uri="{C3380CC4-5D6E-409C-BE32-E72D297353CC}">
                <c16:uniqueId val="{00000143-2993-41DE-A2CB-63102DE87051}"/>
              </c:ext>
            </c:extLst>
          </c:dPt>
          <c:dPt>
            <c:idx val="161"/>
            <c:invertIfNegative val="1"/>
            <c:bubble3D val="0"/>
            <c:spPr>
              <a:solidFill>
                <a:srgbClr val="AEABAB"/>
              </a:solidFill>
            </c:spPr>
            <c:extLst>
              <c:ext xmlns:c16="http://schemas.microsoft.com/office/drawing/2014/chart" uri="{C3380CC4-5D6E-409C-BE32-E72D297353CC}">
                <c16:uniqueId val="{00000145-2993-41DE-A2CB-63102DE87051}"/>
              </c:ext>
            </c:extLst>
          </c:dPt>
          <c:dPt>
            <c:idx val="162"/>
            <c:invertIfNegative val="1"/>
            <c:bubble3D val="0"/>
            <c:spPr>
              <a:solidFill>
                <a:srgbClr val="AEABAB"/>
              </a:solidFill>
            </c:spPr>
            <c:extLst>
              <c:ext xmlns:c16="http://schemas.microsoft.com/office/drawing/2014/chart" uri="{C3380CC4-5D6E-409C-BE32-E72D297353CC}">
                <c16:uniqueId val="{00000147-2993-41DE-A2CB-63102DE87051}"/>
              </c:ext>
            </c:extLst>
          </c:dPt>
          <c:dPt>
            <c:idx val="163"/>
            <c:invertIfNegative val="1"/>
            <c:bubble3D val="0"/>
            <c:spPr>
              <a:solidFill>
                <a:srgbClr val="AEABAB"/>
              </a:solidFill>
            </c:spPr>
            <c:extLst>
              <c:ext xmlns:c16="http://schemas.microsoft.com/office/drawing/2014/chart" uri="{C3380CC4-5D6E-409C-BE32-E72D297353CC}">
                <c16:uniqueId val="{00000149-2993-41DE-A2CB-63102DE87051}"/>
              </c:ext>
            </c:extLst>
          </c:dPt>
          <c:dPt>
            <c:idx val="164"/>
            <c:invertIfNegative val="1"/>
            <c:bubble3D val="0"/>
            <c:spPr>
              <a:solidFill>
                <a:srgbClr val="AEABAB"/>
              </a:solidFill>
            </c:spPr>
            <c:extLst>
              <c:ext xmlns:c16="http://schemas.microsoft.com/office/drawing/2014/chart" uri="{C3380CC4-5D6E-409C-BE32-E72D297353CC}">
                <c16:uniqueId val="{0000014B-2993-41DE-A2CB-63102DE87051}"/>
              </c:ext>
            </c:extLst>
          </c:dPt>
          <c:dPt>
            <c:idx val="165"/>
            <c:invertIfNegative val="1"/>
            <c:bubble3D val="0"/>
            <c:spPr>
              <a:solidFill>
                <a:srgbClr val="AEABAB"/>
              </a:solidFill>
            </c:spPr>
            <c:extLst>
              <c:ext xmlns:c16="http://schemas.microsoft.com/office/drawing/2014/chart" uri="{C3380CC4-5D6E-409C-BE32-E72D297353CC}">
                <c16:uniqueId val="{0000014D-2993-41DE-A2CB-63102DE87051}"/>
              </c:ext>
            </c:extLst>
          </c:dPt>
          <c:dPt>
            <c:idx val="166"/>
            <c:invertIfNegative val="1"/>
            <c:bubble3D val="0"/>
            <c:spPr>
              <a:solidFill>
                <a:srgbClr val="AEABAB"/>
              </a:solidFill>
            </c:spPr>
            <c:extLst>
              <c:ext xmlns:c16="http://schemas.microsoft.com/office/drawing/2014/chart" uri="{C3380CC4-5D6E-409C-BE32-E72D297353CC}">
                <c16:uniqueId val="{0000014F-2993-41DE-A2CB-63102DE87051}"/>
              </c:ext>
            </c:extLst>
          </c:dPt>
          <c:dPt>
            <c:idx val="167"/>
            <c:invertIfNegative val="1"/>
            <c:bubble3D val="0"/>
            <c:spPr>
              <a:solidFill>
                <a:srgbClr val="AEABAB"/>
              </a:solidFill>
            </c:spPr>
            <c:extLst>
              <c:ext xmlns:c16="http://schemas.microsoft.com/office/drawing/2014/chart" uri="{C3380CC4-5D6E-409C-BE32-E72D297353CC}">
                <c16:uniqueId val="{00000151-2993-41DE-A2CB-63102DE87051}"/>
              </c:ext>
            </c:extLst>
          </c:dPt>
          <c:dPt>
            <c:idx val="168"/>
            <c:invertIfNegative val="1"/>
            <c:bubble3D val="0"/>
            <c:spPr>
              <a:solidFill>
                <a:srgbClr val="AEABAB"/>
              </a:solidFill>
            </c:spPr>
            <c:extLst>
              <c:ext xmlns:c16="http://schemas.microsoft.com/office/drawing/2014/chart" uri="{C3380CC4-5D6E-409C-BE32-E72D297353CC}">
                <c16:uniqueId val="{00000153-2993-41DE-A2CB-63102DE87051}"/>
              </c:ext>
            </c:extLst>
          </c:dPt>
          <c:dPt>
            <c:idx val="169"/>
            <c:invertIfNegative val="1"/>
            <c:bubble3D val="0"/>
            <c:spPr>
              <a:solidFill>
                <a:srgbClr val="AEABAB"/>
              </a:solidFill>
            </c:spPr>
            <c:extLst>
              <c:ext xmlns:c16="http://schemas.microsoft.com/office/drawing/2014/chart" uri="{C3380CC4-5D6E-409C-BE32-E72D297353CC}">
                <c16:uniqueId val="{00000155-2993-41DE-A2CB-63102DE87051}"/>
              </c:ext>
            </c:extLst>
          </c:dPt>
          <c:dPt>
            <c:idx val="170"/>
            <c:invertIfNegative val="1"/>
            <c:bubble3D val="0"/>
            <c:spPr>
              <a:solidFill>
                <a:srgbClr val="AEABAB"/>
              </a:solidFill>
            </c:spPr>
            <c:extLst>
              <c:ext xmlns:c16="http://schemas.microsoft.com/office/drawing/2014/chart" uri="{C3380CC4-5D6E-409C-BE32-E72D297353CC}">
                <c16:uniqueId val="{00000157-2993-41DE-A2CB-63102DE87051}"/>
              </c:ext>
            </c:extLst>
          </c:dPt>
          <c:dPt>
            <c:idx val="171"/>
            <c:invertIfNegative val="1"/>
            <c:bubble3D val="0"/>
            <c:spPr>
              <a:solidFill>
                <a:srgbClr val="AEABAB"/>
              </a:solidFill>
            </c:spPr>
            <c:extLst>
              <c:ext xmlns:c16="http://schemas.microsoft.com/office/drawing/2014/chart" uri="{C3380CC4-5D6E-409C-BE32-E72D297353CC}">
                <c16:uniqueId val="{00000159-2993-41DE-A2CB-63102DE87051}"/>
              </c:ext>
            </c:extLst>
          </c:dPt>
          <c:dPt>
            <c:idx val="172"/>
            <c:invertIfNegative val="1"/>
            <c:bubble3D val="0"/>
            <c:spPr>
              <a:solidFill>
                <a:srgbClr val="AEABAB"/>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dPt>
            <c:idx val="210"/>
            <c:invertIfNegative val="1"/>
            <c:bubble3D val="0"/>
            <c:spPr>
              <a:solidFill>
                <a:srgbClr val="AEABAB"/>
              </a:solidFill>
            </c:spPr>
            <c:extLst>
              <c:ext xmlns:c16="http://schemas.microsoft.com/office/drawing/2014/chart" uri="{C3380CC4-5D6E-409C-BE32-E72D297353CC}">
                <c16:uniqueId val="{000001A7-9CBA-4384-92CD-A310E6FE730B}"/>
              </c:ext>
            </c:extLst>
          </c:dPt>
          <c:dPt>
            <c:idx val="211"/>
            <c:invertIfNegative val="1"/>
            <c:bubble3D val="0"/>
            <c:spPr>
              <a:solidFill>
                <a:srgbClr val="AEABAB"/>
              </a:solidFill>
            </c:spPr>
            <c:extLst>
              <c:ext xmlns:c16="http://schemas.microsoft.com/office/drawing/2014/chart" uri="{C3380CC4-5D6E-409C-BE32-E72D297353CC}">
                <c16:uniqueId val="{000001A9-9CBA-4384-92CD-A310E6FE730B}"/>
              </c:ext>
            </c:extLst>
          </c:dPt>
          <c:dPt>
            <c:idx val="212"/>
            <c:invertIfNegative val="1"/>
            <c:bubble3D val="0"/>
            <c:spPr>
              <a:solidFill>
                <a:srgbClr val="AEABAB"/>
              </a:solidFill>
            </c:spPr>
            <c:extLst>
              <c:ext xmlns:c16="http://schemas.microsoft.com/office/drawing/2014/chart" uri="{C3380CC4-5D6E-409C-BE32-E72D297353CC}">
                <c16:uniqueId val="{000001AB-9CBA-4384-92CD-A310E6FE730B}"/>
              </c:ext>
            </c:extLst>
          </c:dPt>
          <c:dPt>
            <c:idx val="213"/>
            <c:invertIfNegative val="1"/>
            <c:bubble3D val="0"/>
            <c:spPr>
              <a:solidFill>
                <a:srgbClr val="AEABAB"/>
              </a:solidFill>
            </c:spPr>
            <c:extLst>
              <c:ext xmlns:c16="http://schemas.microsoft.com/office/drawing/2014/chart" uri="{C3380CC4-5D6E-409C-BE32-E72D297353CC}">
                <c16:uniqueId val="{000001AD-9CBA-4384-92CD-A310E6FE730B}"/>
              </c:ext>
            </c:extLst>
          </c:dPt>
          <c:dPt>
            <c:idx val="214"/>
            <c:invertIfNegative val="1"/>
            <c:bubble3D val="0"/>
            <c:spPr>
              <a:solidFill>
                <a:srgbClr val="AEABAB"/>
              </a:solidFill>
            </c:spPr>
            <c:extLst>
              <c:ext xmlns:c16="http://schemas.microsoft.com/office/drawing/2014/chart" uri="{C3380CC4-5D6E-409C-BE32-E72D297353CC}">
                <c16:uniqueId val="{000001AF-9CBA-4384-92CD-A310E6FE730B}"/>
              </c:ext>
            </c:extLst>
          </c:dPt>
          <c:dPt>
            <c:idx val="215"/>
            <c:invertIfNegative val="1"/>
            <c:bubble3D val="0"/>
            <c:spPr>
              <a:solidFill>
                <a:srgbClr val="AEABAB"/>
              </a:solidFill>
            </c:spPr>
            <c:extLst>
              <c:ext xmlns:c16="http://schemas.microsoft.com/office/drawing/2014/chart" uri="{C3380CC4-5D6E-409C-BE32-E72D297353CC}">
                <c16:uniqueId val="{000001B1-9CBA-4384-92CD-A310E6FE730B}"/>
              </c:ext>
            </c:extLst>
          </c:dPt>
          <c:dPt>
            <c:idx val="216"/>
            <c:invertIfNegative val="1"/>
            <c:bubble3D val="0"/>
            <c:spPr>
              <a:solidFill>
                <a:srgbClr val="AEABAB"/>
              </a:solidFill>
            </c:spPr>
            <c:extLst>
              <c:ext xmlns:c16="http://schemas.microsoft.com/office/drawing/2014/chart" uri="{C3380CC4-5D6E-409C-BE32-E72D297353CC}">
                <c16:uniqueId val="{000001B3-9CBA-4384-92CD-A310E6FE730B}"/>
              </c:ext>
            </c:extLst>
          </c:dPt>
          <c:dPt>
            <c:idx val="217"/>
            <c:invertIfNegative val="1"/>
            <c:bubble3D val="0"/>
            <c:spPr>
              <a:solidFill>
                <a:srgbClr val="AEABAB"/>
              </a:solidFill>
            </c:spPr>
            <c:extLst>
              <c:ext xmlns:c16="http://schemas.microsoft.com/office/drawing/2014/chart" uri="{C3380CC4-5D6E-409C-BE32-E72D297353CC}">
                <c16:uniqueId val="{000001B5-9CBA-4384-92CD-A310E6FE730B}"/>
              </c:ext>
            </c:extLst>
          </c:dPt>
          <c:dPt>
            <c:idx val="218"/>
            <c:invertIfNegative val="1"/>
            <c:bubble3D val="0"/>
            <c:spPr>
              <a:solidFill>
                <a:srgbClr val="AEABAB"/>
              </a:solidFill>
            </c:spPr>
            <c:extLst>
              <c:ext xmlns:c16="http://schemas.microsoft.com/office/drawing/2014/chart" uri="{C3380CC4-5D6E-409C-BE32-E72D297353CC}">
                <c16:uniqueId val="{000001B7-9CBA-4384-92CD-A310E6FE730B}"/>
              </c:ext>
            </c:extLst>
          </c:dPt>
          <c:dPt>
            <c:idx val="219"/>
            <c:invertIfNegative val="1"/>
            <c:bubble3D val="0"/>
            <c:spPr>
              <a:solidFill>
                <a:srgbClr val="AEABAB"/>
              </a:solidFill>
            </c:spPr>
            <c:extLst>
              <c:ext xmlns:c16="http://schemas.microsoft.com/office/drawing/2014/chart" uri="{C3380CC4-5D6E-409C-BE32-E72D297353CC}">
                <c16:uniqueId val="{000001B9-9CBA-4384-92CD-A310E6FE730B}"/>
              </c:ext>
            </c:extLst>
          </c:dPt>
          <c:dPt>
            <c:idx val="220"/>
            <c:invertIfNegative val="1"/>
            <c:bubble3D val="0"/>
            <c:spPr>
              <a:solidFill>
                <a:srgbClr val="AEABAB"/>
              </a:solidFill>
            </c:spPr>
            <c:extLst>
              <c:ext xmlns:c16="http://schemas.microsoft.com/office/drawing/2014/chart" uri="{C3380CC4-5D6E-409C-BE32-E72D297353CC}">
                <c16:uniqueId val="{000001BB-9CBA-4384-92CD-A310E6FE730B}"/>
              </c:ext>
            </c:extLst>
          </c:dPt>
          <c:dPt>
            <c:idx val="221"/>
            <c:invertIfNegative val="1"/>
            <c:bubble3D val="0"/>
            <c:spPr>
              <a:solidFill>
                <a:srgbClr val="AEABAB"/>
              </a:solidFill>
            </c:spPr>
            <c:extLst>
              <c:ext xmlns:c16="http://schemas.microsoft.com/office/drawing/2014/chart" uri="{C3380CC4-5D6E-409C-BE32-E72D297353CC}">
                <c16:uniqueId val="{000001BD-9CBA-4384-92CD-A310E6FE730B}"/>
              </c:ext>
            </c:extLst>
          </c:dPt>
          <c:dPt>
            <c:idx val="222"/>
            <c:invertIfNegative val="1"/>
            <c:bubble3D val="0"/>
            <c:spPr>
              <a:solidFill>
                <a:srgbClr val="AEABAB"/>
              </a:solidFill>
            </c:spPr>
            <c:extLst>
              <c:ext xmlns:c16="http://schemas.microsoft.com/office/drawing/2014/chart" uri="{C3380CC4-5D6E-409C-BE32-E72D297353CC}">
                <c16:uniqueId val="{000001BF-9CBA-4384-92CD-A310E6FE730B}"/>
              </c:ext>
            </c:extLst>
          </c:dPt>
          <c:dPt>
            <c:idx val="223"/>
            <c:invertIfNegative val="1"/>
            <c:bubble3D val="0"/>
            <c:spPr>
              <a:solidFill>
                <a:srgbClr val="AEABAB"/>
              </a:solidFill>
            </c:spPr>
            <c:extLst>
              <c:ext xmlns:c16="http://schemas.microsoft.com/office/drawing/2014/chart" uri="{C3380CC4-5D6E-409C-BE32-E72D297353CC}">
                <c16:uniqueId val="{000001C1-9CBA-4384-92CD-A310E6FE730B}"/>
              </c:ext>
            </c:extLst>
          </c:dPt>
          <c:dPt>
            <c:idx val="224"/>
            <c:invertIfNegative val="1"/>
            <c:bubble3D val="0"/>
            <c:spPr>
              <a:solidFill>
                <a:srgbClr val="AEABAB"/>
              </a:solidFill>
            </c:spPr>
            <c:extLst>
              <c:ext xmlns:c16="http://schemas.microsoft.com/office/drawing/2014/chart" uri="{C3380CC4-5D6E-409C-BE32-E72D297353CC}">
                <c16:uniqueId val="{000001C3-9CBA-4384-92CD-A310E6FE730B}"/>
              </c:ext>
            </c:extLst>
          </c:dPt>
          <c:dPt>
            <c:idx val="225"/>
            <c:invertIfNegative val="1"/>
            <c:bubble3D val="0"/>
            <c:spPr>
              <a:solidFill>
                <a:srgbClr val="AEABAB"/>
              </a:solidFill>
            </c:spPr>
            <c:extLst>
              <c:ext xmlns:c16="http://schemas.microsoft.com/office/drawing/2014/chart" uri="{C3380CC4-5D6E-409C-BE32-E72D297353CC}">
                <c16:uniqueId val="{000001C5-9CBA-4384-92CD-A310E6FE730B}"/>
              </c:ext>
            </c:extLst>
          </c:dPt>
          <c:dPt>
            <c:idx val="226"/>
            <c:invertIfNegative val="1"/>
            <c:bubble3D val="0"/>
            <c:spPr>
              <a:solidFill>
                <a:srgbClr val="AEABAB"/>
              </a:solidFill>
            </c:spPr>
            <c:extLst>
              <c:ext xmlns:c16="http://schemas.microsoft.com/office/drawing/2014/chart" uri="{C3380CC4-5D6E-409C-BE32-E72D297353CC}">
                <c16:uniqueId val="{000001C7-9CBA-4384-92CD-A310E6FE730B}"/>
              </c:ext>
            </c:extLst>
          </c:dPt>
          <c:dPt>
            <c:idx val="227"/>
            <c:invertIfNegative val="1"/>
            <c:bubble3D val="0"/>
            <c:spPr>
              <a:solidFill>
                <a:srgbClr val="AEABAB"/>
              </a:solidFill>
            </c:spPr>
            <c:extLst>
              <c:ext xmlns:c16="http://schemas.microsoft.com/office/drawing/2014/chart" uri="{C3380CC4-5D6E-409C-BE32-E72D297353CC}">
                <c16:uniqueId val="{000001C9-9CBA-4384-92CD-A310E6FE730B}"/>
              </c:ext>
            </c:extLst>
          </c:dPt>
          <c:dPt>
            <c:idx val="228"/>
            <c:invertIfNegative val="1"/>
            <c:bubble3D val="0"/>
            <c:spPr>
              <a:solidFill>
                <a:srgbClr val="AEABAB"/>
              </a:solidFill>
            </c:spPr>
            <c:extLst>
              <c:ext xmlns:c16="http://schemas.microsoft.com/office/drawing/2014/chart" uri="{C3380CC4-5D6E-409C-BE32-E72D297353CC}">
                <c16:uniqueId val="{000001CB-9CBA-4384-92CD-A310E6FE730B}"/>
              </c:ext>
            </c:extLst>
          </c:dPt>
          <c:dPt>
            <c:idx val="229"/>
            <c:invertIfNegative val="1"/>
            <c:bubble3D val="0"/>
            <c:spPr>
              <a:solidFill>
                <a:srgbClr val="AEABAB"/>
              </a:solidFill>
            </c:spPr>
            <c:extLst>
              <c:ext xmlns:c16="http://schemas.microsoft.com/office/drawing/2014/chart" uri="{C3380CC4-5D6E-409C-BE32-E72D297353CC}">
                <c16:uniqueId val="{000001CD-9CBA-4384-92CD-A310E6FE730B}"/>
              </c:ext>
            </c:extLst>
          </c:dPt>
          <c:dPt>
            <c:idx val="230"/>
            <c:invertIfNegative val="1"/>
            <c:bubble3D val="0"/>
            <c:spPr>
              <a:solidFill>
                <a:srgbClr val="AEABAB"/>
              </a:solidFill>
            </c:spPr>
            <c:extLst>
              <c:ext xmlns:c16="http://schemas.microsoft.com/office/drawing/2014/chart" uri="{C3380CC4-5D6E-409C-BE32-E72D297353CC}">
                <c16:uniqueId val="{000001CF-9CBA-4384-92CD-A310E6FE730B}"/>
              </c:ext>
            </c:extLst>
          </c:dPt>
          <c:dPt>
            <c:idx val="231"/>
            <c:invertIfNegative val="1"/>
            <c:bubble3D val="0"/>
            <c:spPr>
              <a:solidFill>
                <a:srgbClr val="AEABAB"/>
              </a:solidFill>
            </c:spPr>
            <c:extLst>
              <c:ext xmlns:c16="http://schemas.microsoft.com/office/drawing/2014/chart" uri="{C3380CC4-5D6E-409C-BE32-E72D297353CC}">
                <c16:uniqueId val="{000001D1-9CBA-4384-92CD-A310E6FE730B}"/>
              </c:ext>
            </c:extLst>
          </c:dPt>
          <c:dPt>
            <c:idx val="232"/>
            <c:invertIfNegative val="1"/>
            <c:bubble3D val="0"/>
            <c:spPr>
              <a:solidFill>
                <a:srgbClr val="AEABAB"/>
              </a:solidFill>
            </c:spPr>
            <c:extLst>
              <c:ext xmlns:c16="http://schemas.microsoft.com/office/drawing/2014/chart" uri="{C3380CC4-5D6E-409C-BE32-E72D297353CC}">
                <c16:uniqueId val="{000001D3-9CBA-4384-92CD-A310E6FE730B}"/>
              </c:ext>
            </c:extLst>
          </c:dPt>
          <c:dPt>
            <c:idx val="233"/>
            <c:invertIfNegative val="1"/>
            <c:bubble3D val="0"/>
            <c:spPr>
              <a:solidFill>
                <a:srgbClr val="AEABAB"/>
              </a:solidFill>
            </c:spPr>
            <c:extLst>
              <c:ext xmlns:c16="http://schemas.microsoft.com/office/drawing/2014/chart" uri="{C3380CC4-5D6E-409C-BE32-E72D297353CC}">
                <c16:uniqueId val="{000001D5-9CBA-4384-92CD-A310E6FE730B}"/>
              </c:ext>
            </c:extLst>
          </c:dPt>
          <c:dPt>
            <c:idx val="234"/>
            <c:invertIfNegative val="1"/>
            <c:bubble3D val="0"/>
            <c:spPr>
              <a:solidFill>
                <a:srgbClr val="AEABAB"/>
              </a:solidFill>
            </c:spPr>
            <c:extLst>
              <c:ext xmlns:c16="http://schemas.microsoft.com/office/drawing/2014/chart" uri="{C3380CC4-5D6E-409C-BE32-E72D297353CC}">
                <c16:uniqueId val="{000001D7-9CBA-4384-92CD-A310E6FE730B}"/>
              </c:ext>
            </c:extLst>
          </c:dPt>
          <c:dPt>
            <c:idx val="235"/>
            <c:invertIfNegative val="1"/>
            <c:bubble3D val="0"/>
            <c:spPr>
              <a:solidFill>
                <a:srgbClr val="AEABAB"/>
              </a:solidFill>
            </c:spPr>
            <c:extLst>
              <c:ext xmlns:c16="http://schemas.microsoft.com/office/drawing/2014/chart" uri="{C3380CC4-5D6E-409C-BE32-E72D297353CC}">
                <c16:uniqueId val="{000001D9-9CBA-4384-92CD-A310E6FE730B}"/>
              </c:ext>
            </c:extLst>
          </c:dPt>
          <c:dPt>
            <c:idx val="236"/>
            <c:invertIfNegative val="1"/>
            <c:bubble3D val="0"/>
            <c:spPr>
              <a:solidFill>
                <a:srgbClr val="AEABAB"/>
              </a:solidFill>
            </c:spPr>
            <c:extLst>
              <c:ext xmlns:c16="http://schemas.microsoft.com/office/drawing/2014/chart" uri="{C3380CC4-5D6E-409C-BE32-E72D297353CC}">
                <c16:uniqueId val="{000001DB-9CBA-4384-92CD-A310E6FE730B}"/>
              </c:ext>
            </c:extLst>
          </c:dPt>
          <c:dPt>
            <c:idx val="237"/>
            <c:invertIfNegative val="1"/>
            <c:bubble3D val="0"/>
            <c:spPr>
              <a:solidFill>
                <a:srgbClr val="AEABAB"/>
              </a:solidFill>
            </c:spPr>
            <c:extLst>
              <c:ext xmlns:c16="http://schemas.microsoft.com/office/drawing/2014/chart" uri="{C3380CC4-5D6E-409C-BE32-E72D297353CC}">
                <c16:uniqueId val="{000001DD-9CBA-4384-92CD-A310E6FE730B}"/>
              </c:ext>
            </c:extLst>
          </c:dPt>
          <c:dPt>
            <c:idx val="238"/>
            <c:invertIfNegative val="1"/>
            <c:bubble3D val="0"/>
            <c:spPr>
              <a:solidFill>
                <a:srgbClr val="AEABAB"/>
              </a:solidFill>
            </c:spPr>
            <c:extLst>
              <c:ext xmlns:c16="http://schemas.microsoft.com/office/drawing/2014/chart" uri="{C3380CC4-5D6E-409C-BE32-E72D297353CC}">
                <c16:uniqueId val="{000001DF-9CBA-4384-92CD-A310E6FE730B}"/>
              </c:ext>
            </c:extLst>
          </c:dPt>
          <c:dPt>
            <c:idx val="239"/>
            <c:invertIfNegative val="1"/>
            <c:bubble3D val="0"/>
            <c:spPr>
              <a:solidFill>
                <a:srgbClr val="AEABAB"/>
              </a:solidFill>
            </c:spPr>
            <c:extLst>
              <c:ext xmlns:c16="http://schemas.microsoft.com/office/drawing/2014/chart" uri="{C3380CC4-5D6E-409C-BE32-E72D297353CC}">
                <c16:uniqueId val="{000001E1-9CBA-4384-92CD-A310E6FE730B}"/>
              </c:ext>
            </c:extLst>
          </c:dPt>
          <c:dPt>
            <c:idx val="240"/>
            <c:invertIfNegative val="1"/>
            <c:bubble3D val="0"/>
            <c:spPr>
              <a:solidFill>
                <a:srgbClr val="AEABAB"/>
              </a:solidFill>
            </c:spPr>
            <c:extLst>
              <c:ext xmlns:c16="http://schemas.microsoft.com/office/drawing/2014/chart" uri="{C3380CC4-5D6E-409C-BE32-E72D297353CC}">
                <c16:uniqueId val="{000001E3-9CBA-4384-92CD-A310E6FE730B}"/>
              </c:ext>
            </c:extLst>
          </c:dPt>
          <c:dPt>
            <c:idx val="241"/>
            <c:invertIfNegative val="1"/>
            <c:bubble3D val="0"/>
            <c:spPr>
              <a:solidFill>
                <a:srgbClr val="AEABAB"/>
              </a:solidFill>
            </c:spPr>
            <c:extLst>
              <c:ext xmlns:c16="http://schemas.microsoft.com/office/drawing/2014/chart" uri="{C3380CC4-5D6E-409C-BE32-E72D297353CC}">
                <c16:uniqueId val="{000001E5-9CBA-4384-92CD-A310E6FE730B}"/>
              </c:ext>
            </c:extLst>
          </c:dPt>
          <c:dPt>
            <c:idx val="242"/>
            <c:invertIfNegative val="1"/>
            <c:bubble3D val="0"/>
            <c:spPr>
              <a:solidFill>
                <a:srgbClr val="AEABAB"/>
              </a:solidFill>
            </c:spPr>
            <c:extLst>
              <c:ext xmlns:c16="http://schemas.microsoft.com/office/drawing/2014/chart" uri="{C3380CC4-5D6E-409C-BE32-E72D297353CC}">
                <c16:uniqueId val="{000001E7-9CBA-4384-92CD-A310E6FE730B}"/>
              </c:ext>
            </c:extLst>
          </c:dPt>
          <c:dPt>
            <c:idx val="243"/>
            <c:invertIfNegative val="1"/>
            <c:bubble3D val="0"/>
            <c:spPr>
              <a:solidFill>
                <a:srgbClr val="AEABAB"/>
              </a:solidFill>
            </c:spPr>
            <c:extLst>
              <c:ext xmlns:c16="http://schemas.microsoft.com/office/drawing/2014/chart" uri="{C3380CC4-5D6E-409C-BE32-E72D297353CC}">
                <c16:uniqueId val="{000001E9-9CBA-4384-92CD-A310E6FE730B}"/>
              </c:ext>
            </c:extLst>
          </c:dPt>
          <c:dPt>
            <c:idx val="244"/>
            <c:invertIfNegative val="1"/>
            <c:bubble3D val="0"/>
            <c:spPr>
              <a:solidFill>
                <a:srgbClr val="AEABAB"/>
              </a:solidFill>
            </c:spPr>
            <c:extLst>
              <c:ext xmlns:c16="http://schemas.microsoft.com/office/drawing/2014/chart" uri="{C3380CC4-5D6E-409C-BE32-E72D297353CC}">
                <c16:uniqueId val="{000001EB-9CBA-4384-92CD-A310E6FE730B}"/>
              </c:ext>
            </c:extLst>
          </c:dPt>
          <c:dPt>
            <c:idx val="245"/>
            <c:invertIfNegative val="1"/>
            <c:bubble3D val="0"/>
            <c:spPr>
              <a:solidFill>
                <a:srgbClr val="AEABAB"/>
              </a:solidFill>
            </c:spPr>
            <c:extLst>
              <c:ext xmlns:c16="http://schemas.microsoft.com/office/drawing/2014/chart" uri="{C3380CC4-5D6E-409C-BE32-E72D297353CC}">
                <c16:uniqueId val="{000001ED-9CBA-4384-92CD-A310E6FE730B}"/>
              </c:ext>
            </c:extLst>
          </c:dPt>
          <c:dPt>
            <c:idx val="246"/>
            <c:invertIfNegative val="1"/>
            <c:bubble3D val="0"/>
            <c:spPr>
              <a:solidFill>
                <a:srgbClr val="AEABAB"/>
              </a:solidFill>
            </c:spPr>
            <c:extLst>
              <c:ext xmlns:c16="http://schemas.microsoft.com/office/drawing/2014/chart" uri="{C3380CC4-5D6E-409C-BE32-E72D297353CC}">
                <c16:uniqueId val="{000001EF-9CBA-4384-92CD-A310E6FE730B}"/>
              </c:ext>
            </c:extLst>
          </c:dPt>
          <c:dPt>
            <c:idx val="247"/>
            <c:invertIfNegative val="1"/>
            <c:bubble3D val="0"/>
            <c:spPr>
              <a:solidFill>
                <a:srgbClr val="AEABAB"/>
              </a:solidFill>
            </c:spPr>
            <c:extLst>
              <c:ext xmlns:c16="http://schemas.microsoft.com/office/drawing/2014/chart" uri="{C3380CC4-5D6E-409C-BE32-E72D297353CC}">
                <c16:uniqueId val="{000001F1-9CBA-4384-92CD-A310E6FE730B}"/>
              </c:ext>
            </c:extLst>
          </c:dPt>
          <c:dPt>
            <c:idx val="248"/>
            <c:invertIfNegative val="1"/>
            <c:bubble3D val="0"/>
            <c:spPr>
              <a:solidFill>
                <a:srgbClr val="AEABAB"/>
              </a:solidFill>
            </c:spPr>
            <c:extLst>
              <c:ext xmlns:c16="http://schemas.microsoft.com/office/drawing/2014/chart" uri="{C3380CC4-5D6E-409C-BE32-E72D297353CC}">
                <c16:uniqueId val="{000001F3-9CBA-4384-92CD-A310E6FE730B}"/>
              </c:ext>
            </c:extLst>
          </c:dPt>
          <c:dPt>
            <c:idx val="249"/>
            <c:invertIfNegative val="1"/>
            <c:bubble3D val="0"/>
            <c:spPr>
              <a:solidFill>
                <a:srgbClr val="AEABAB"/>
              </a:solidFill>
            </c:spPr>
            <c:extLst>
              <c:ext xmlns:c16="http://schemas.microsoft.com/office/drawing/2014/chart" uri="{C3380CC4-5D6E-409C-BE32-E72D297353CC}">
                <c16:uniqueId val="{000001F5-9CBA-4384-92CD-A310E6FE730B}"/>
              </c:ext>
            </c:extLst>
          </c:dPt>
          <c:dPt>
            <c:idx val="250"/>
            <c:invertIfNegative val="1"/>
            <c:bubble3D val="0"/>
            <c:spPr>
              <a:solidFill>
                <a:srgbClr val="AEABAB"/>
              </a:solidFill>
            </c:spPr>
            <c:extLst>
              <c:ext xmlns:c16="http://schemas.microsoft.com/office/drawing/2014/chart" uri="{C3380CC4-5D6E-409C-BE32-E72D297353CC}">
                <c16:uniqueId val="{000001F7-9CBA-4384-92CD-A310E6FE730B}"/>
              </c:ext>
            </c:extLst>
          </c:dPt>
          <c:dPt>
            <c:idx val="251"/>
            <c:invertIfNegative val="1"/>
            <c:bubble3D val="0"/>
            <c:spPr>
              <a:solidFill>
                <a:srgbClr val="AEABAB"/>
              </a:solidFill>
            </c:spPr>
            <c:extLst>
              <c:ext xmlns:c16="http://schemas.microsoft.com/office/drawing/2014/chart" uri="{C3380CC4-5D6E-409C-BE32-E72D297353CC}">
                <c16:uniqueId val="{000001F9-9CBA-4384-92CD-A310E6FE730B}"/>
              </c:ext>
            </c:extLst>
          </c:dPt>
          <c:dPt>
            <c:idx val="252"/>
            <c:invertIfNegative val="1"/>
            <c:bubble3D val="0"/>
            <c:spPr>
              <a:solidFill>
                <a:srgbClr val="AEABAB"/>
              </a:solidFill>
            </c:spPr>
            <c:extLst>
              <c:ext xmlns:c16="http://schemas.microsoft.com/office/drawing/2014/chart" uri="{C3380CC4-5D6E-409C-BE32-E72D297353CC}">
                <c16:uniqueId val="{000001FB-9CBA-4384-92CD-A310E6FE730B}"/>
              </c:ext>
            </c:extLst>
          </c:dPt>
          <c:dPt>
            <c:idx val="253"/>
            <c:invertIfNegative val="1"/>
            <c:bubble3D val="0"/>
            <c:spPr>
              <a:solidFill>
                <a:srgbClr val="AEABAB"/>
              </a:solidFill>
            </c:spPr>
            <c:extLst>
              <c:ext xmlns:c16="http://schemas.microsoft.com/office/drawing/2014/chart" uri="{C3380CC4-5D6E-409C-BE32-E72D297353CC}">
                <c16:uniqueId val="{000001FD-9CBA-4384-92CD-A310E6FE730B}"/>
              </c:ext>
            </c:extLst>
          </c:dPt>
          <c:dPt>
            <c:idx val="254"/>
            <c:invertIfNegative val="1"/>
            <c:bubble3D val="0"/>
            <c:spPr>
              <a:solidFill>
                <a:srgbClr val="AEABAB"/>
              </a:solidFill>
            </c:spPr>
            <c:extLst>
              <c:ext xmlns:c16="http://schemas.microsoft.com/office/drawing/2014/chart" uri="{C3380CC4-5D6E-409C-BE32-E72D297353CC}">
                <c16:uniqueId val="{000001FF-9CBA-4384-92CD-A310E6FE730B}"/>
              </c:ext>
            </c:extLst>
          </c:dPt>
          <c:dPt>
            <c:idx val="255"/>
            <c:invertIfNegative val="1"/>
            <c:bubble3D val="0"/>
            <c:spPr>
              <a:solidFill>
                <a:srgbClr val="AEABAB"/>
              </a:solidFill>
            </c:spPr>
            <c:extLst>
              <c:ext xmlns:c16="http://schemas.microsoft.com/office/drawing/2014/chart" uri="{C3380CC4-5D6E-409C-BE32-E72D297353CC}">
                <c16:uniqueId val="{00000201-9CBA-4384-92CD-A310E6FE730B}"/>
              </c:ext>
            </c:extLst>
          </c:dPt>
          <c:dPt>
            <c:idx val="256"/>
            <c:invertIfNegative val="1"/>
            <c:bubble3D val="0"/>
            <c:spPr>
              <a:solidFill>
                <a:srgbClr val="AEABAB"/>
              </a:solidFill>
            </c:spPr>
            <c:extLst>
              <c:ext xmlns:c16="http://schemas.microsoft.com/office/drawing/2014/chart" uri="{C3380CC4-5D6E-409C-BE32-E72D297353CC}">
                <c16:uniqueId val="{00000203-9CBA-4384-92CD-A310E6FE730B}"/>
              </c:ext>
            </c:extLst>
          </c:dPt>
          <c:dPt>
            <c:idx val="257"/>
            <c:invertIfNegative val="1"/>
            <c:bubble3D val="0"/>
            <c:spPr>
              <a:solidFill>
                <a:srgbClr val="AEABAB"/>
              </a:solidFill>
            </c:spPr>
            <c:extLst>
              <c:ext xmlns:c16="http://schemas.microsoft.com/office/drawing/2014/chart" uri="{C3380CC4-5D6E-409C-BE32-E72D297353CC}">
                <c16:uniqueId val="{00000205-9CBA-4384-92CD-A310E6FE730B}"/>
              </c:ext>
            </c:extLst>
          </c:dPt>
          <c:dPt>
            <c:idx val="258"/>
            <c:invertIfNegative val="1"/>
            <c:bubble3D val="0"/>
            <c:spPr>
              <a:solidFill>
                <a:srgbClr val="AEABAB"/>
              </a:solidFill>
            </c:spPr>
            <c:extLst>
              <c:ext xmlns:c16="http://schemas.microsoft.com/office/drawing/2014/chart" uri="{C3380CC4-5D6E-409C-BE32-E72D297353CC}">
                <c16:uniqueId val="{00000207-9CBA-4384-92CD-A310E6FE730B}"/>
              </c:ext>
            </c:extLst>
          </c:dPt>
          <c:dPt>
            <c:idx val="259"/>
            <c:invertIfNegative val="1"/>
            <c:bubble3D val="0"/>
            <c:spPr>
              <a:solidFill>
                <a:srgbClr val="AEABAB"/>
              </a:solidFill>
            </c:spPr>
            <c:extLst>
              <c:ext xmlns:c16="http://schemas.microsoft.com/office/drawing/2014/chart" uri="{C3380CC4-5D6E-409C-BE32-E72D297353CC}">
                <c16:uniqueId val="{00000209-9CBA-4384-92CD-A310E6FE730B}"/>
              </c:ext>
            </c:extLst>
          </c:dPt>
          <c:dPt>
            <c:idx val="260"/>
            <c:invertIfNegative val="1"/>
            <c:bubble3D val="0"/>
            <c:spPr>
              <a:solidFill>
                <a:srgbClr val="AEABAB"/>
              </a:solidFill>
            </c:spPr>
            <c:extLst>
              <c:ext xmlns:c16="http://schemas.microsoft.com/office/drawing/2014/chart" uri="{C3380CC4-5D6E-409C-BE32-E72D297353CC}">
                <c16:uniqueId val="{0000020B-9CBA-4384-92CD-A310E6FE730B}"/>
              </c:ext>
            </c:extLst>
          </c:dPt>
          <c:dPt>
            <c:idx val="261"/>
            <c:invertIfNegative val="1"/>
            <c:bubble3D val="0"/>
            <c:spPr>
              <a:solidFill>
                <a:srgbClr val="AEABAB"/>
              </a:solidFill>
            </c:spPr>
            <c:extLst>
              <c:ext xmlns:c16="http://schemas.microsoft.com/office/drawing/2014/chart" uri="{C3380CC4-5D6E-409C-BE32-E72D297353CC}">
                <c16:uniqueId val="{0000020D-9CBA-4384-92CD-A310E6FE730B}"/>
              </c:ext>
            </c:extLst>
          </c:dPt>
          <c:dPt>
            <c:idx val="262"/>
            <c:invertIfNegative val="1"/>
            <c:bubble3D val="0"/>
            <c:spPr>
              <a:solidFill>
                <a:srgbClr val="AEABAB"/>
              </a:solidFill>
            </c:spPr>
            <c:extLst>
              <c:ext xmlns:c16="http://schemas.microsoft.com/office/drawing/2014/chart" uri="{C3380CC4-5D6E-409C-BE32-E72D297353CC}">
                <c16:uniqueId val="{0000020F-9CBA-4384-92CD-A310E6FE730B}"/>
              </c:ext>
            </c:extLst>
          </c:dPt>
          <c:dPt>
            <c:idx val="263"/>
            <c:invertIfNegative val="1"/>
            <c:bubble3D val="0"/>
            <c:spPr>
              <a:solidFill>
                <a:srgbClr val="AEABAB"/>
              </a:solidFill>
            </c:spPr>
            <c:extLst>
              <c:ext xmlns:c16="http://schemas.microsoft.com/office/drawing/2014/chart" uri="{C3380CC4-5D6E-409C-BE32-E72D297353CC}">
                <c16:uniqueId val="{00000211-9CBA-4384-92CD-A310E6FE730B}"/>
              </c:ext>
            </c:extLst>
          </c:dPt>
          <c:dPt>
            <c:idx val="264"/>
            <c:invertIfNegative val="1"/>
            <c:bubble3D val="0"/>
            <c:spPr>
              <a:solidFill>
                <a:srgbClr val="AEABAB"/>
              </a:solidFill>
            </c:spPr>
            <c:extLst>
              <c:ext xmlns:c16="http://schemas.microsoft.com/office/drawing/2014/chart" uri="{C3380CC4-5D6E-409C-BE32-E72D297353CC}">
                <c16:uniqueId val="{00000213-9CBA-4384-92CD-A310E6FE730B}"/>
              </c:ext>
            </c:extLst>
          </c:dPt>
          <c:dPt>
            <c:idx val="265"/>
            <c:invertIfNegative val="1"/>
            <c:bubble3D val="0"/>
            <c:spPr>
              <a:solidFill>
                <a:srgbClr val="AEABAB"/>
              </a:solidFill>
            </c:spPr>
            <c:extLst>
              <c:ext xmlns:c16="http://schemas.microsoft.com/office/drawing/2014/chart" uri="{C3380CC4-5D6E-409C-BE32-E72D297353CC}">
                <c16:uniqueId val="{00000215-9CBA-4384-92CD-A310E6FE730B}"/>
              </c:ext>
            </c:extLst>
          </c:dPt>
          <c:dPt>
            <c:idx val="266"/>
            <c:invertIfNegative val="1"/>
            <c:bubble3D val="0"/>
            <c:spPr>
              <a:solidFill>
                <a:srgbClr val="AEABAB"/>
              </a:solidFill>
            </c:spPr>
            <c:extLst>
              <c:ext xmlns:c16="http://schemas.microsoft.com/office/drawing/2014/chart" uri="{C3380CC4-5D6E-409C-BE32-E72D297353CC}">
                <c16:uniqueId val="{00000217-9CBA-4384-92CD-A310E6FE730B}"/>
              </c:ext>
            </c:extLst>
          </c:dPt>
          <c:dPt>
            <c:idx val="267"/>
            <c:invertIfNegative val="1"/>
            <c:bubble3D val="0"/>
            <c:spPr>
              <a:solidFill>
                <a:srgbClr val="AEABAB"/>
              </a:solidFill>
            </c:spPr>
            <c:extLst>
              <c:ext xmlns:c16="http://schemas.microsoft.com/office/drawing/2014/chart" uri="{C3380CC4-5D6E-409C-BE32-E72D297353CC}">
                <c16:uniqueId val="{00000219-9CBA-4384-92CD-A310E6FE730B}"/>
              </c:ext>
            </c:extLst>
          </c:dPt>
          <c:dPt>
            <c:idx val="268"/>
            <c:invertIfNegative val="1"/>
            <c:bubble3D val="0"/>
            <c:spPr>
              <a:solidFill>
                <a:srgbClr val="AEABAB"/>
              </a:solidFill>
            </c:spPr>
            <c:extLst>
              <c:ext xmlns:c16="http://schemas.microsoft.com/office/drawing/2014/chart" uri="{C3380CC4-5D6E-409C-BE32-E72D297353CC}">
                <c16:uniqueId val="{0000021B-9CBA-4384-92CD-A310E6FE730B}"/>
              </c:ext>
            </c:extLst>
          </c:dPt>
          <c:dPt>
            <c:idx val="269"/>
            <c:invertIfNegative val="1"/>
            <c:bubble3D val="0"/>
            <c:spPr>
              <a:solidFill>
                <a:srgbClr val="AEABAB"/>
              </a:solidFill>
            </c:spPr>
            <c:extLst>
              <c:ext xmlns:c16="http://schemas.microsoft.com/office/drawing/2014/chart" uri="{C3380CC4-5D6E-409C-BE32-E72D297353CC}">
                <c16:uniqueId val="{0000021D-9CBA-4384-92CD-A310E6FE730B}"/>
              </c:ext>
            </c:extLst>
          </c:dPt>
          <c:dPt>
            <c:idx val="270"/>
            <c:invertIfNegative val="1"/>
            <c:bubble3D val="0"/>
            <c:spPr>
              <a:solidFill>
                <a:srgbClr val="AEABAB"/>
              </a:solidFill>
            </c:spPr>
            <c:extLst>
              <c:ext xmlns:c16="http://schemas.microsoft.com/office/drawing/2014/chart" uri="{C3380CC4-5D6E-409C-BE32-E72D297353CC}">
                <c16:uniqueId val="{0000021F-9CBA-4384-92CD-A310E6FE730B}"/>
              </c:ext>
            </c:extLst>
          </c:dPt>
          <c:dPt>
            <c:idx val="271"/>
            <c:invertIfNegative val="1"/>
            <c:bubble3D val="0"/>
            <c:spPr>
              <a:solidFill>
                <a:srgbClr val="AEABAB"/>
              </a:solidFill>
            </c:spPr>
            <c:extLst>
              <c:ext xmlns:c16="http://schemas.microsoft.com/office/drawing/2014/chart" uri="{C3380CC4-5D6E-409C-BE32-E72D297353CC}">
                <c16:uniqueId val="{00000221-9CBA-4384-92CD-A310E6FE730B}"/>
              </c:ext>
            </c:extLst>
          </c:dPt>
          <c:dPt>
            <c:idx val="272"/>
            <c:invertIfNegative val="1"/>
            <c:bubble3D val="0"/>
            <c:spPr>
              <a:solidFill>
                <a:srgbClr val="AEABAB"/>
              </a:solidFill>
            </c:spPr>
            <c:extLst>
              <c:ext xmlns:c16="http://schemas.microsoft.com/office/drawing/2014/chart" uri="{C3380CC4-5D6E-409C-BE32-E72D297353CC}">
                <c16:uniqueId val="{00000223-9CBA-4384-92CD-A310E6FE730B}"/>
              </c:ext>
            </c:extLst>
          </c:dPt>
          <c:dPt>
            <c:idx val="273"/>
            <c:invertIfNegative val="1"/>
            <c:bubble3D val="0"/>
            <c:spPr>
              <a:solidFill>
                <a:srgbClr val="AEABAB"/>
              </a:solidFill>
            </c:spPr>
            <c:extLst>
              <c:ext xmlns:c16="http://schemas.microsoft.com/office/drawing/2014/chart" uri="{C3380CC4-5D6E-409C-BE32-E72D297353CC}">
                <c16:uniqueId val="{00000225-9CBA-4384-92CD-A310E6FE730B}"/>
              </c:ext>
            </c:extLst>
          </c:dPt>
          <c:dPt>
            <c:idx val="274"/>
            <c:invertIfNegative val="1"/>
            <c:bubble3D val="0"/>
            <c:spPr>
              <a:solidFill>
                <a:srgbClr val="AEABAB"/>
              </a:solidFill>
            </c:spPr>
            <c:extLst>
              <c:ext xmlns:c16="http://schemas.microsoft.com/office/drawing/2014/chart" uri="{C3380CC4-5D6E-409C-BE32-E72D297353CC}">
                <c16:uniqueId val="{00000227-9CBA-4384-92CD-A310E6FE730B}"/>
              </c:ext>
            </c:extLst>
          </c:dPt>
          <c:dPt>
            <c:idx val="275"/>
            <c:invertIfNegative val="1"/>
            <c:bubble3D val="0"/>
            <c:spPr>
              <a:solidFill>
                <a:srgbClr val="AEABAB"/>
              </a:solidFill>
            </c:spPr>
            <c:extLst>
              <c:ext xmlns:c16="http://schemas.microsoft.com/office/drawing/2014/chart" uri="{C3380CC4-5D6E-409C-BE32-E72D297353CC}">
                <c16:uniqueId val="{00000229-9CBA-4384-92CD-A310E6FE730B}"/>
              </c:ext>
            </c:extLst>
          </c:dPt>
          <c:cat>
            <c:strRef>
              <c:f>Sheet1!$A$2:$A$277</c:f>
              <c:strCache>
                <c:ptCount val="276"/>
                <c:pt idx="0">
                  <c:v>Ruinart</c:v>
                </c:pt>
                <c:pt idx="1">
                  <c:v>Nicolas</c:v>
                </c:pt>
                <c:pt idx="2">
                  <c:v>Deutz</c:v>
                </c:pt>
                <c:pt idx="3">
                  <c:v>Heidsieck &amp;</c:v>
                </c:pt>
                <c:pt idx="4">
                  <c:v>Ruinart</c:v>
                </c:pt>
                <c:pt idx="5">
                  <c:v>Ayala</c:v>
                </c:pt>
                <c:pt idx="6">
                  <c:v>De Bligny</c:v>
                </c:pt>
                <c:pt idx="7">
                  <c:v>Malard</c:v>
                </c:pt>
                <c:pt idx="8">
                  <c:v>Canard Duch</c:v>
                </c:pt>
                <c:pt idx="9">
                  <c:v>Besserat De</c:v>
                </c:pt>
                <c:pt idx="10">
                  <c:v>Laurent Per</c:v>
                </c:pt>
                <c:pt idx="11">
                  <c:v>Campari: Al</c:v>
                </c:pt>
                <c:pt idx="12">
                  <c:v>Bollinger</c:v>
                </c:pt>
                <c:pt idx="13">
                  <c:v>Deutz</c:v>
                </c:pt>
                <c:pt idx="14">
                  <c:v>Taittinger</c:v>
                </c:pt>
                <c:pt idx="15">
                  <c:v>Ruinart</c:v>
                </c:pt>
                <c:pt idx="16">
                  <c:v>Ruinart</c:v>
                </c:pt>
                <c:pt idx="17">
                  <c:v>Nicolas Feu</c:v>
                </c:pt>
                <c:pt idx="18">
                  <c:v>Ruinart</c:v>
                </c:pt>
                <c:pt idx="19">
                  <c:v>Ruinart</c:v>
                </c:pt>
                <c:pt idx="20">
                  <c:v>Demoiselle</c:v>
                </c:pt>
                <c:pt idx="21">
                  <c:v>All Others</c:v>
                </c:pt>
                <c:pt idx="22">
                  <c:v>Savian</c:v>
                </c:pt>
                <c:pt idx="23">
                  <c:v>Deutz</c:v>
                </c:pt>
                <c:pt idx="24">
                  <c:v>Louis Marti</c:v>
                </c:pt>
                <c:pt idx="25">
                  <c:v>All Others</c:v>
                </c:pt>
                <c:pt idx="26">
                  <c:v>Perrier Jou</c:v>
                </c:pt>
                <c:pt idx="27">
                  <c:v>Laurent Per</c:v>
                </c:pt>
                <c:pt idx="28">
                  <c:v>Dom Perigno</c:v>
                </c:pt>
                <c:pt idx="29">
                  <c:v>Henriot</c:v>
                </c:pt>
                <c:pt idx="30">
                  <c:v>Roederer</c:v>
                </c:pt>
                <c:pt idx="31">
                  <c:v>Malard</c:v>
                </c:pt>
                <c:pt idx="32">
                  <c:v>Pommery</c:v>
                </c:pt>
                <c:pt idx="33">
                  <c:v>Besserat De</c:v>
                </c:pt>
                <c:pt idx="34">
                  <c:v>Vesselle</c:v>
                </c:pt>
                <c:pt idx="35">
                  <c:v>Roederer</c:v>
                </c:pt>
                <c:pt idx="36">
                  <c:v>Campari: Al</c:v>
                </c:pt>
                <c:pt idx="37">
                  <c:v>Demoiselle</c:v>
                </c:pt>
                <c:pt idx="38">
                  <c:v>Ruinart</c:v>
                </c:pt>
                <c:pt idx="39">
                  <c:v>Dom Perigno</c:v>
                </c:pt>
                <c:pt idx="40">
                  <c:v>Laurent Per</c:v>
                </c:pt>
                <c:pt idx="41">
                  <c:v>All Others</c:v>
                </c:pt>
                <c:pt idx="42">
                  <c:v>Nicolas</c:v>
                </c:pt>
                <c:pt idx="43">
                  <c:v>Bottega</c:v>
                </c:pt>
                <c:pt idx="44">
                  <c:v>Nicolas</c:v>
                </c:pt>
                <c:pt idx="45">
                  <c:v>Bouvet-Ladu</c:v>
                </c:pt>
                <c:pt idx="46">
                  <c:v>Moët &amp; Chan</c:v>
                </c:pt>
                <c:pt idx="47">
                  <c:v>Taittinger</c:v>
                </c:pt>
                <c:pt idx="48">
                  <c:v>Mure</c:v>
                </c:pt>
                <c:pt idx="49">
                  <c:v>De Chanceny</c:v>
                </c:pt>
                <c:pt idx="50">
                  <c:v>Malard</c:v>
                </c:pt>
                <c:pt idx="51">
                  <c:v>Patriarche</c:v>
                </c:pt>
                <c:pt idx="52">
                  <c:v>Nicolas</c:v>
                </c:pt>
                <c:pt idx="53">
                  <c:v>Deutz</c:v>
                </c:pt>
                <c:pt idx="54">
                  <c:v>Ruinart</c:v>
                </c:pt>
                <c:pt idx="55">
                  <c:v>Kriter</c:v>
                </c:pt>
                <c:pt idx="56">
                  <c:v>Lyre's</c:v>
                </c:pt>
                <c:pt idx="57">
                  <c:v>All Others</c:v>
                </c:pt>
                <c:pt idx="58">
                  <c:v>Delamotte</c:v>
                </c:pt>
                <c:pt idx="59">
                  <c:v>All Others</c:v>
                </c:pt>
                <c:pt idx="60">
                  <c:v>Ruinart</c:v>
                </c:pt>
                <c:pt idx="61">
                  <c:v>Besserat De</c:v>
                </c:pt>
                <c:pt idx="62">
                  <c:v>Malard</c:v>
                </c:pt>
                <c:pt idx="63">
                  <c:v>Henriot</c:v>
                </c:pt>
                <c:pt idx="64">
                  <c:v>Veuve Clicq</c:v>
                </c:pt>
                <c:pt idx="65">
                  <c:v>Veuve Clicq</c:v>
                </c:pt>
                <c:pt idx="66">
                  <c:v>Pommery</c:v>
                </c:pt>
                <c:pt idx="67">
                  <c:v>Lanson</c:v>
                </c:pt>
                <c:pt idx="68">
                  <c:v>Nicolas Feu</c:v>
                </c:pt>
                <c:pt idx="69">
                  <c:v>Veuve Clicq</c:v>
                </c:pt>
                <c:pt idx="70">
                  <c:v>Piper Heids</c:v>
                </c:pt>
                <c:pt idx="71">
                  <c:v>Nicolas Feu</c:v>
                </c:pt>
                <c:pt idx="72">
                  <c:v>De Bligny</c:v>
                </c:pt>
                <c:pt idx="73">
                  <c:v>Ayala</c:v>
                </c:pt>
                <c:pt idx="74">
                  <c:v>French Bloo</c:v>
                </c:pt>
                <c:pt idx="75">
                  <c:v>Patriarche</c:v>
                </c:pt>
                <c:pt idx="76">
                  <c:v>Canard Duch</c:v>
                </c:pt>
                <c:pt idx="77">
                  <c:v>Savian</c:v>
                </c:pt>
                <c:pt idx="78">
                  <c:v>Ruinart</c:v>
                </c:pt>
                <c:pt idx="79">
                  <c:v>De Venoge</c:v>
                </c:pt>
                <c:pt idx="80">
                  <c:v>Nicolas Feu</c:v>
                </c:pt>
                <c:pt idx="81">
                  <c:v>Roederer</c:v>
                </c:pt>
                <c:pt idx="82">
                  <c:v>Krug</c:v>
                </c:pt>
                <c:pt idx="83">
                  <c:v>Henriot</c:v>
                </c:pt>
                <c:pt idx="84">
                  <c:v>Canard Duch</c:v>
                </c:pt>
                <c:pt idx="85">
                  <c:v>Laurent Per</c:v>
                </c:pt>
                <c:pt idx="86">
                  <c:v>Roederer</c:v>
                </c:pt>
                <c:pt idx="87">
                  <c:v>Bollinger</c:v>
                </c:pt>
                <c:pt idx="88">
                  <c:v>Roederer</c:v>
                </c:pt>
                <c:pt idx="89">
                  <c:v>All Others</c:v>
                </c:pt>
                <c:pt idx="90">
                  <c:v>Roederer</c:v>
                </c:pt>
                <c:pt idx="91">
                  <c:v>Henriot</c:v>
                </c:pt>
                <c:pt idx="92">
                  <c:v>Nicolas</c:v>
                </c:pt>
                <c:pt idx="93">
                  <c:v>Malard</c:v>
                </c:pt>
                <c:pt idx="94">
                  <c:v>De Venoge</c:v>
                </c:pt>
                <c:pt idx="95">
                  <c:v>Nicolas</c:v>
                </c:pt>
                <c:pt idx="96">
                  <c:v>Ruinart</c:v>
                </c:pt>
                <c:pt idx="97">
                  <c:v>Perrier Jou</c:v>
                </c:pt>
                <c:pt idx="98">
                  <c:v>Canard Duch</c:v>
                </c:pt>
                <c:pt idx="99">
                  <c:v>Roederer</c:v>
                </c:pt>
                <c:pt idx="100">
                  <c:v>Ruinart</c:v>
                </c:pt>
                <c:pt idx="101">
                  <c:v>All Others</c:v>
                </c:pt>
                <c:pt idx="102">
                  <c:v>Moët &amp; Chan</c:v>
                </c:pt>
                <c:pt idx="103">
                  <c:v>All Others</c:v>
                </c:pt>
                <c:pt idx="104">
                  <c:v>Deutz</c:v>
                </c:pt>
                <c:pt idx="105">
                  <c:v>Moët &amp; Chan</c:v>
                </c:pt>
                <c:pt idx="106">
                  <c:v>Bottega</c:v>
                </c:pt>
                <c:pt idx="107">
                  <c:v>De Venoge</c:v>
                </c:pt>
                <c:pt idx="108">
                  <c:v>Cru La Maqu</c:v>
                </c:pt>
                <c:pt idx="109">
                  <c:v>Malard</c:v>
                </c:pt>
                <c:pt idx="110">
                  <c:v>De Chanceny</c:v>
                </c:pt>
                <c:pt idx="111">
                  <c:v>Veuve Clicq</c:v>
                </c:pt>
                <c:pt idx="112">
                  <c:v>De Venoge</c:v>
                </c:pt>
                <c:pt idx="113">
                  <c:v>Vranken</c:v>
                </c:pt>
                <c:pt idx="114">
                  <c:v>Contarini</c:v>
                </c:pt>
                <c:pt idx="115">
                  <c:v>All Others</c:v>
                </c:pt>
                <c:pt idx="116">
                  <c:v>Roederer</c:v>
                </c:pt>
                <c:pt idx="117">
                  <c:v>All Others</c:v>
                </c:pt>
                <c:pt idx="118">
                  <c:v>Dom Perigno</c:v>
                </c:pt>
                <c:pt idx="119">
                  <c:v>Vranken</c:v>
                </c:pt>
                <c:pt idx="120">
                  <c:v>Bollinger</c:v>
                </c:pt>
                <c:pt idx="121">
                  <c:v>Nicolas</c:v>
                </c:pt>
                <c:pt idx="122">
                  <c:v>Roederer</c:v>
                </c:pt>
                <c:pt idx="123">
                  <c:v>All Others</c:v>
                </c:pt>
                <c:pt idx="124">
                  <c:v>All Others</c:v>
                </c:pt>
                <c:pt idx="125">
                  <c:v>Nicolas</c:v>
                </c:pt>
                <c:pt idx="126">
                  <c:v>Deutz</c:v>
                </c:pt>
                <c:pt idx="127">
                  <c:v>Ruinart</c:v>
                </c:pt>
                <c:pt idx="128">
                  <c:v>Laurent Per</c:v>
                </c:pt>
                <c:pt idx="129">
                  <c:v>Nicolas</c:v>
                </c:pt>
                <c:pt idx="130">
                  <c:v>Nicolas Feu</c:v>
                </c:pt>
                <c:pt idx="131">
                  <c:v>Roederer</c:v>
                </c:pt>
                <c:pt idx="132">
                  <c:v>Roederer</c:v>
                </c:pt>
                <c:pt idx="133">
                  <c:v>All Others</c:v>
                </c:pt>
                <c:pt idx="134">
                  <c:v>Canard Duch</c:v>
                </c:pt>
                <c:pt idx="135">
                  <c:v>All Others</c:v>
                </c:pt>
                <c:pt idx="136">
                  <c:v>Nicolas</c:v>
                </c:pt>
                <c:pt idx="137">
                  <c:v>Deutz</c:v>
                </c:pt>
                <c:pt idx="138">
                  <c:v>Louis Marti</c:v>
                </c:pt>
                <c:pt idx="139">
                  <c:v>Nicolas</c:v>
                </c:pt>
                <c:pt idx="140">
                  <c:v>All Others</c:v>
                </c:pt>
                <c:pt idx="141">
                  <c:v>Nicolas</c:v>
                </c:pt>
                <c:pt idx="142">
                  <c:v>All Others</c:v>
                </c:pt>
                <c:pt idx="143">
                  <c:v>All Others</c:v>
                </c:pt>
                <c:pt idx="144">
                  <c:v>Pommery</c:v>
                </c:pt>
                <c:pt idx="145">
                  <c:v>Laurent Per</c:v>
                </c:pt>
                <c:pt idx="146">
                  <c:v>Nicolas</c:v>
                </c:pt>
                <c:pt idx="147">
                  <c:v>Demoiselle</c:v>
                </c:pt>
                <c:pt idx="148">
                  <c:v>Taittinger</c:v>
                </c:pt>
                <c:pt idx="149">
                  <c:v>Bollinger</c:v>
                </c:pt>
                <c:pt idx="150">
                  <c:v>Ruinart</c:v>
                </c:pt>
                <c:pt idx="151">
                  <c:v>Dom Perigno</c:v>
                </c:pt>
                <c:pt idx="152">
                  <c:v>Ayala</c:v>
                </c:pt>
                <c:pt idx="153">
                  <c:v>Ruinart</c:v>
                </c:pt>
                <c:pt idx="154">
                  <c:v>Besserat De</c:v>
                </c:pt>
                <c:pt idx="155">
                  <c:v>All Others</c:v>
                </c:pt>
                <c:pt idx="156">
                  <c:v>All Others</c:v>
                </c:pt>
                <c:pt idx="157">
                  <c:v>Nicolas</c:v>
                </c:pt>
                <c:pt idx="158">
                  <c:v>Laurent Per</c:v>
                </c:pt>
                <c:pt idx="159">
                  <c:v>Ruinart</c:v>
                </c:pt>
                <c:pt idx="160">
                  <c:v>All Others</c:v>
                </c:pt>
                <c:pt idx="161">
                  <c:v>Roederer</c:v>
                </c:pt>
                <c:pt idx="162">
                  <c:v>Nicolas</c:v>
                </c:pt>
                <c:pt idx="163">
                  <c:v>Perrier Jou</c:v>
                </c:pt>
                <c:pt idx="164">
                  <c:v>Roederer</c:v>
                </c:pt>
                <c:pt idx="165">
                  <c:v>Piper Heids</c:v>
                </c:pt>
                <c:pt idx="166">
                  <c:v>All Others</c:v>
                </c:pt>
                <c:pt idx="167">
                  <c:v>Pommery</c:v>
                </c:pt>
                <c:pt idx="168">
                  <c:v>All Others</c:v>
                </c:pt>
                <c:pt idx="169">
                  <c:v>All Others</c:v>
                </c:pt>
                <c:pt idx="170">
                  <c:v>Nicolas</c:v>
                </c:pt>
                <c:pt idx="171">
                  <c:v>All Others</c:v>
                </c:pt>
                <c:pt idx="172">
                  <c:v>Lanson</c:v>
                </c:pt>
                <c:pt idx="173">
                  <c:v>Vesselle</c:v>
                </c:pt>
                <c:pt idx="174">
                  <c:v>All Others</c:v>
                </c:pt>
                <c:pt idx="175">
                  <c:v>All Others</c:v>
                </c:pt>
                <c:pt idx="176">
                  <c:v>Deutz</c:v>
                </c:pt>
                <c:pt idx="177">
                  <c:v>Vranken</c:v>
                </c:pt>
                <c:pt idx="178">
                  <c:v>Besserat De</c:v>
                </c:pt>
                <c:pt idx="179">
                  <c:v>Ruinart</c:v>
                </c:pt>
                <c:pt idx="180">
                  <c:v>Moët &amp; Chan</c:v>
                </c:pt>
                <c:pt idx="181">
                  <c:v>Pommery</c:v>
                </c:pt>
                <c:pt idx="182">
                  <c:v>Nicolas</c:v>
                </c:pt>
                <c:pt idx="183">
                  <c:v>Delamotte</c:v>
                </c:pt>
                <c:pt idx="184">
                  <c:v>All Others</c:v>
                </c:pt>
                <c:pt idx="185">
                  <c:v>Ruinart</c:v>
                </c:pt>
                <c:pt idx="186">
                  <c:v>Taittinger</c:v>
                </c:pt>
                <c:pt idx="187">
                  <c:v>Ruinart</c:v>
                </c:pt>
                <c:pt idx="188">
                  <c:v>Roederer</c:v>
                </c:pt>
                <c:pt idx="189">
                  <c:v>All Others</c:v>
                </c:pt>
                <c:pt idx="190">
                  <c:v>Ruinart</c:v>
                </c:pt>
                <c:pt idx="191">
                  <c:v>Canard Duch</c:v>
                </c:pt>
                <c:pt idx="192">
                  <c:v>Nicolas</c:v>
                </c:pt>
                <c:pt idx="193">
                  <c:v>Bollinger</c:v>
                </c:pt>
                <c:pt idx="194">
                  <c:v>Demoiselle</c:v>
                </c:pt>
                <c:pt idx="195">
                  <c:v>All Others</c:v>
                </c:pt>
                <c:pt idx="196">
                  <c:v>Piper Heids</c:v>
                </c:pt>
                <c:pt idx="197">
                  <c:v>Roederer</c:v>
                </c:pt>
                <c:pt idx="198">
                  <c:v>Laurent Per</c:v>
                </c:pt>
                <c:pt idx="199">
                  <c:v>Henriot</c:v>
                </c:pt>
                <c:pt idx="200">
                  <c:v>All Others</c:v>
                </c:pt>
                <c:pt idx="201">
                  <c:v>All Others</c:v>
                </c:pt>
                <c:pt idx="202">
                  <c:v>All Others</c:v>
                </c:pt>
                <c:pt idx="203">
                  <c:v>All Others</c:v>
                </c:pt>
                <c:pt idx="204">
                  <c:v>All Others</c:v>
                </c:pt>
                <c:pt idx="205">
                  <c:v>All Others</c:v>
                </c:pt>
                <c:pt idx="206">
                  <c:v>Nicolas</c:v>
                </c:pt>
                <c:pt idx="207">
                  <c:v>Piper Heids</c:v>
                </c:pt>
                <c:pt idx="208">
                  <c:v>Bouvet-Ladu</c:v>
                </c:pt>
                <c:pt idx="209">
                  <c:v>Canard Duch</c:v>
                </c:pt>
                <c:pt idx="210">
                  <c:v>Malard</c:v>
                </c:pt>
                <c:pt idx="211">
                  <c:v>Roederer</c:v>
                </c:pt>
                <c:pt idx="212">
                  <c:v>Pommery</c:v>
                </c:pt>
                <c:pt idx="213">
                  <c:v>Pommery</c:v>
                </c:pt>
                <c:pt idx="214">
                  <c:v>Bollinger</c:v>
                </c:pt>
                <c:pt idx="215">
                  <c:v>De Venoge</c:v>
                </c:pt>
                <c:pt idx="216">
                  <c:v>All Others</c:v>
                </c:pt>
                <c:pt idx="217">
                  <c:v>All Others</c:v>
                </c:pt>
                <c:pt idx="218">
                  <c:v>Piper Heids</c:v>
                </c:pt>
                <c:pt idx="219">
                  <c:v>Moët &amp; Chan</c:v>
                </c:pt>
                <c:pt idx="220">
                  <c:v>Ruinart</c:v>
                </c:pt>
                <c:pt idx="221">
                  <c:v>Ruinart</c:v>
                </c:pt>
                <c:pt idx="222">
                  <c:v>Laurent Per</c:v>
                </c:pt>
                <c:pt idx="223">
                  <c:v>Contarini</c:v>
                </c:pt>
                <c:pt idx="224">
                  <c:v>Martel</c:v>
                </c:pt>
                <c:pt idx="225">
                  <c:v>Nicolas Feu</c:v>
                </c:pt>
                <c:pt idx="226">
                  <c:v>Vesselle</c:v>
                </c:pt>
                <c:pt idx="227">
                  <c:v>All Others</c:v>
                </c:pt>
                <c:pt idx="228">
                  <c:v>Ruinart</c:v>
                </c:pt>
                <c:pt idx="229">
                  <c:v>Celene</c:v>
                </c:pt>
                <c:pt idx="230">
                  <c:v>De Bligny</c:v>
                </c:pt>
                <c:pt idx="231">
                  <c:v>Roederer</c:v>
                </c:pt>
                <c:pt idx="232">
                  <c:v>Lanson</c:v>
                </c:pt>
                <c:pt idx="233">
                  <c:v>Bollinger</c:v>
                </c:pt>
                <c:pt idx="234">
                  <c:v>All Others</c:v>
                </c:pt>
                <c:pt idx="235">
                  <c:v>Celene</c:v>
                </c:pt>
                <c:pt idx="236">
                  <c:v>De Venoge</c:v>
                </c:pt>
                <c:pt idx="237">
                  <c:v>All Others</c:v>
                </c:pt>
                <c:pt idx="238">
                  <c:v>Veuve Clicq</c:v>
                </c:pt>
                <c:pt idx="239">
                  <c:v>Ayala</c:v>
                </c:pt>
                <c:pt idx="240">
                  <c:v>Pommery</c:v>
                </c:pt>
                <c:pt idx="241">
                  <c:v>Henriot</c:v>
                </c:pt>
                <c:pt idx="242">
                  <c:v>Demoiselle</c:v>
                </c:pt>
                <c:pt idx="243">
                  <c:v>Roederer</c:v>
                </c:pt>
                <c:pt idx="244">
                  <c:v>Roederer</c:v>
                </c:pt>
                <c:pt idx="245">
                  <c:v>Bouvet-Ladu</c:v>
                </c:pt>
                <c:pt idx="246">
                  <c:v>Bollinger</c:v>
                </c:pt>
                <c:pt idx="247">
                  <c:v>Bollinger</c:v>
                </c:pt>
                <c:pt idx="248">
                  <c:v>Nicolas</c:v>
                </c:pt>
                <c:pt idx="249">
                  <c:v>All Others</c:v>
                </c:pt>
                <c:pt idx="250">
                  <c:v>Bottega</c:v>
                </c:pt>
                <c:pt idx="251">
                  <c:v>Malard</c:v>
                </c:pt>
                <c:pt idx="252">
                  <c:v>Jaillance</c:v>
                </c:pt>
                <c:pt idx="253">
                  <c:v>All Others</c:v>
                </c:pt>
                <c:pt idx="254">
                  <c:v>Lanson</c:v>
                </c:pt>
                <c:pt idx="255">
                  <c:v>Bouvet-Ladu</c:v>
                </c:pt>
                <c:pt idx="256">
                  <c:v>All Others</c:v>
                </c:pt>
                <c:pt idx="257">
                  <c:v>Roederer</c:v>
                </c:pt>
                <c:pt idx="258">
                  <c:v>Ruinart</c:v>
                </c:pt>
                <c:pt idx="259">
                  <c:v>Malard</c:v>
                </c:pt>
                <c:pt idx="260">
                  <c:v>Bouvet-Ladu</c:v>
                </c:pt>
                <c:pt idx="261">
                  <c:v>All Others</c:v>
                </c:pt>
                <c:pt idx="262">
                  <c:v>Nicolas</c:v>
                </c:pt>
                <c:pt idx="263">
                  <c:v>Bottega</c:v>
                </c:pt>
                <c:pt idx="264">
                  <c:v>Ayala</c:v>
                </c:pt>
                <c:pt idx="265">
                  <c:v>Demoiselle</c:v>
                </c:pt>
                <c:pt idx="266">
                  <c:v>Canard Duch</c:v>
                </c:pt>
                <c:pt idx="267">
                  <c:v>Ayala</c:v>
                </c:pt>
                <c:pt idx="268">
                  <c:v>Nicolas</c:v>
                </c:pt>
                <c:pt idx="269">
                  <c:v>Vesselle</c:v>
                </c:pt>
                <c:pt idx="270">
                  <c:v>All Others</c:v>
                </c:pt>
                <c:pt idx="271">
                  <c:v>All Others</c:v>
                </c:pt>
                <c:pt idx="272">
                  <c:v>Contarini</c:v>
                </c:pt>
                <c:pt idx="273">
                  <c:v>Mure</c:v>
                </c:pt>
                <c:pt idx="274">
                  <c:v>All Others</c:v>
                </c:pt>
                <c:pt idx="275">
                  <c:v>All Others</c:v>
                </c:pt>
              </c:strCache>
            </c:strRef>
          </c:cat>
          <c:val>
            <c:numRef>
              <c:f>Sheet1!$C$2:$C$277</c:f>
              <c:numCache>
                <c:formatCode>General</c:formatCode>
                <c:ptCount val="276"/>
                <c:pt idx="0">
                  <c:v>8.8249847469956469E-2</c:v>
                </c:pt>
                <c:pt idx="1">
                  <c:v>0.17082412345984763</c:v>
                </c:pt>
                <c:pt idx="2">
                  <c:v>0.22342680989367264</c:v>
                </c:pt>
                <c:pt idx="3">
                  <c:v>0.26906901276339318</c:v>
                </c:pt>
                <c:pt idx="4">
                  <c:v>0.30334904338470808</c:v>
                </c:pt>
                <c:pt idx="5">
                  <c:v>0.33652514251595111</c:v>
                </c:pt>
                <c:pt idx="6">
                  <c:v>0.36916632116585596</c:v>
                </c:pt>
                <c:pt idx="7">
                  <c:v>0.39909479623139249</c:v>
                </c:pt>
                <c:pt idx="8">
                  <c:v>0.41884373955037607</c:v>
                </c:pt>
                <c:pt idx="9">
                  <c:v>0.43647305419541599</c:v>
                </c:pt>
                <c:pt idx="10">
                  <c:v>0.45266354805185177</c:v>
                </c:pt>
                <c:pt idx="11">
                  <c:v>0.46817223136037756</c:v>
                </c:pt>
                <c:pt idx="12">
                  <c:v>0.4834487982838428</c:v>
                </c:pt>
                <c:pt idx="13">
                  <c:v>0.49864765885809775</c:v>
                </c:pt>
                <c:pt idx="14">
                  <c:v>0.51300829352345156</c:v>
                </c:pt>
                <c:pt idx="15">
                  <c:v>0.52678788522922626</c:v>
                </c:pt>
                <c:pt idx="16">
                  <c:v>0.54051032516848496</c:v>
                </c:pt>
                <c:pt idx="17">
                  <c:v>0.55377906029461244</c:v>
                </c:pt>
                <c:pt idx="18">
                  <c:v>0.56690942798601696</c:v>
                </c:pt>
                <c:pt idx="19">
                  <c:v>0.57895742143261442</c:v>
                </c:pt>
                <c:pt idx="20">
                  <c:v>0.59040782798722014</c:v>
                </c:pt>
                <c:pt idx="21">
                  <c:v>0.60066556741426869</c:v>
                </c:pt>
                <c:pt idx="22">
                  <c:v>0.61085863510552285</c:v>
                </c:pt>
                <c:pt idx="23">
                  <c:v>0.62097349511628142</c:v>
                </c:pt>
                <c:pt idx="24">
                  <c:v>0.62997590100511924</c:v>
                </c:pt>
                <c:pt idx="25">
                  <c:v>0.63893619506599786</c:v>
                </c:pt>
                <c:pt idx="26">
                  <c:v>0.64773205246532173</c:v>
                </c:pt>
                <c:pt idx="27">
                  <c:v>0.65633289199469202</c:v>
                </c:pt>
                <c:pt idx="28">
                  <c:v>0.66474823894852797</c:v>
                </c:pt>
                <c:pt idx="29">
                  <c:v>0.67256499634780176</c:v>
                </c:pt>
                <c:pt idx="30">
                  <c:v>0.6800162832401444</c:v>
                </c:pt>
                <c:pt idx="31">
                  <c:v>0.68689805779246815</c:v>
                </c:pt>
                <c:pt idx="32">
                  <c:v>0.69376479240623501</c:v>
                </c:pt>
                <c:pt idx="33">
                  <c:v>0.7004139492422129</c:v>
                </c:pt>
                <c:pt idx="34">
                  <c:v>0.70699241836697369</c:v>
                </c:pt>
                <c:pt idx="35">
                  <c:v>0.71329916593514098</c:v>
                </c:pt>
                <c:pt idx="36">
                  <c:v>0.71925046962208161</c:v>
                </c:pt>
                <c:pt idx="37">
                  <c:v>0.72514261621736542</c:v>
                </c:pt>
                <c:pt idx="38">
                  <c:v>0.73094051253102632</c:v>
                </c:pt>
                <c:pt idx="39">
                  <c:v>0.73672988621283841</c:v>
                </c:pt>
                <c:pt idx="40">
                  <c:v>0.74249218800524819</c:v>
                </c:pt>
                <c:pt idx="41">
                  <c:v>0.74814971155904531</c:v>
                </c:pt>
                <c:pt idx="42">
                  <c:v>0.75378617919886282</c:v>
                </c:pt>
                <c:pt idx="43">
                  <c:v>0.75913287735581858</c:v>
                </c:pt>
                <c:pt idx="44">
                  <c:v>0.7644665408993585</c:v>
                </c:pt>
                <c:pt idx="45">
                  <c:v>0.76958362932767987</c:v>
                </c:pt>
                <c:pt idx="46">
                  <c:v>0.77468417382358878</c:v>
                </c:pt>
                <c:pt idx="47">
                  <c:v>0.77971152395185439</c:v>
                </c:pt>
                <c:pt idx="48">
                  <c:v>0.7845243042900425</c:v>
                </c:pt>
                <c:pt idx="49">
                  <c:v>0.78924784765945999</c:v>
                </c:pt>
                <c:pt idx="50">
                  <c:v>0.79388917269810011</c:v>
                </c:pt>
                <c:pt idx="51">
                  <c:v>0.79841769819756392</c:v>
                </c:pt>
                <c:pt idx="52">
                  <c:v>0.80284495477741169</c:v>
                </c:pt>
                <c:pt idx="53">
                  <c:v>0.80699848447552502</c:v>
                </c:pt>
                <c:pt idx="54">
                  <c:v>0.81109235575069627</c:v>
                </c:pt>
                <c:pt idx="55">
                  <c:v>0.81518522436329699</c:v>
                </c:pt>
                <c:pt idx="56">
                  <c:v>0.81912518693390324</c:v>
                </c:pt>
                <c:pt idx="57">
                  <c:v>0.82299396046200712</c:v>
                </c:pt>
                <c:pt idx="58">
                  <c:v>0.82683917141970531</c:v>
                </c:pt>
                <c:pt idx="59">
                  <c:v>0.83058211079521693</c:v>
                </c:pt>
                <c:pt idx="60">
                  <c:v>0.83426890106678309</c:v>
                </c:pt>
                <c:pt idx="61">
                  <c:v>0.83780529195278086</c:v>
                </c:pt>
                <c:pt idx="62">
                  <c:v>0.84132162958736956</c:v>
                </c:pt>
                <c:pt idx="63">
                  <c:v>0.84471363706322167</c:v>
                </c:pt>
                <c:pt idx="64">
                  <c:v>0.84803445549657142</c:v>
                </c:pt>
                <c:pt idx="65">
                  <c:v>0.85130915145168018</c:v>
                </c:pt>
                <c:pt idx="66">
                  <c:v>0.85448959712516614</c:v>
                </c:pt>
                <c:pt idx="67">
                  <c:v>0.85762642697683722</c:v>
                </c:pt>
                <c:pt idx="68">
                  <c:v>0.86068204116030145</c:v>
                </c:pt>
                <c:pt idx="69">
                  <c:v>0.86372462073034972</c:v>
                </c:pt>
                <c:pt idx="70">
                  <c:v>0.86674514172384798</c:v>
                </c:pt>
                <c:pt idx="71">
                  <c:v>0.86976566271734623</c:v>
                </c:pt>
                <c:pt idx="72">
                  <c:v>0.87275911182144217</c:v>
                </c:pt>
                <c:pt idx="73">
                  <c:v>0.87573952631212215</c:v>
                </c:pt>
                <c:pt idx="74">
                  <c:v>0.87868635160669184</c:v>
                </c:pt>
                <c:pt idx="75">
                  <c:v>0.881607609005715</c:v>
                </c:pt>
                <c:pt idx="76">
                  <c:v>0.88444965606167214</c:v>
                </c:pt>
                <c:pt idx="77">
                  <c:v>0.88723455135111329</c:v>
                </c:pt>
                <c:pt idx="78">
                  <c:v>0.88993271632820992</c:v>
                </c:pt>
                <c:pt idx="79">
                  <c:v>0.89256169758794512</c:v>
                </c:pt>
                <c:pt idx="80">
                  <c:v>0.89516009763928139</c:v>
                </c:pt>
                <c:pt idx="81">
                  <c:v>0.89767277004084378</c:v>
                </c:pt>
                <c:pt idx="82">
                  <c:v>0.90013330398874247</c:v>
                </c:pt>
                <c:pt idx="83">
                  <c:v>0.90257428601651724</c:v>
                </c:pt>
                <c:pt idx="84">
                  <c:v>0.90498970014874536</c:v>
                </c:pt>
                <c:pt idx="85">
                  <c:v>0.90734695985188707</c:v>
                </c:pt>
                <c:pt idx="86">
                  <c:v>0.90968667296004579</c:v>
                </c:pt>
                <c:pt idx="87">
                  <c:v>0.91197174095811462</c:v>
                </c:pt>
                <c:pt idx="88">
                  <c:v>0.91416957731255388</c:v>
                </c:pt>
                <c:pt idx="89">
                  <c:v>0.91628068335464863</c:v>
                </c:pt>
                <c:pt idx="90">
                  <c:v>0.91829001914584218</c:v>
                </c:pt>
                <c:pt idx="91">
                  <c:v>0.9202687737286368</c:v>
                </c:pt>
                <c:pt idx="92">
                  <c:v>0.92214124607896308</c:v>
                </c:pt>
                <c:pt idx="93">
                  <c:v>0.92385128709287556</c:v>
                </c:pt>
                <c:pt idx="94">
                  <c:v>0.92554478417437547</c:v>
                </c:pt>
                <c:pt idx="95">
                  <c:v>0.92721822800446629</c:v>
                </c:pt>
                <c:pt idx="96">
                  <c:v>0.92886610393901048</c:v>
                </c:pt>
                <c:pt idx="97">
                  <c:v>0.93038062575168401</c:v>
                </c:pt>
                <c:pt idx="98">
                  <c:v>0.9318931422392166</c:v>
                </c:pt>
                <c:pt idx="99">
                  <c:v>0.93336605355521629</c:v>
                </c:pt>
                <c:pt idx="100">
                  <c:v>0.93469458146107032</c:v>
                </c:pt>
                <c:pt idx="101">
                  <c:v>0.93600405877808568</c:v>
                </c:pt>
                <c:pt idx="102">
                  <c:v>0.93730050148168509</c:v>
                </c:pt>
                <c:pt idx="103">
                  <c:v>0.93856034700146285</c:v>
                </c:pt>
                <c:pt idx="104">
                  <c:v>0.93981618187095883</c:v>
                </c:pt>
                <c:pt idx="105">
                  <c:v>0.94107051274659914</c:v>
                </c:pt>
                <c:pt idx="106">
                  <c:v>0.94225866789258927</c:v>
                </c:pt>
                <c:pt idx="107">
                  <c:v>0.94342376179945897</c:v>
                </c:pt>
                <c:pt idx="108">
                  <c:v>0.94452669062696037</c:v>
                </c:pt>
                <c:pt idx="109">
                  <c:v>0.94562510747289474</c:v>
                </c:pt>
                <c:pt idx="110">
                  <c:v>0.94669043645400408</c:v>
                </c:pt>
                <c:pt idx="111">
                  <c:v>0.94773671484627475</c:v>
                </c:pt>
                <c:pt idx="112">
                  <c:v>0.94877296661284083</c:v>
                </c:pt>
                <c:pt idx="113">
                  <c:v>0.94980169841012851</c:v>
                </c:pt>
                <c:pt idx="114">
                  <c:v>0.95081990225042645</c:v>
                </c:pt>
                <c:pt idx="115">
                  <c:v>0.95183459677172777</c:v>
                </c:pt>
                <c:pt idx="116">
                  <c:v>0.95281620342820406</c:v>
                </c:pt>
                <c:pt idx="117">
                  <c:v>0.95378427413997913</c:v>
                </c:pt>
                <c:pt idx="118">
                  <c:v>0.95474883553275769</c:v>
                </c:pt>
                <c:pt idx="119">
                  <c:v>0.9556978556556941</c:v>
                </c:pt>
                <c:pt idx="120">
                  <c:v>0.95664436912220441</c:v>
                </c:pt>
                <c:pt idx="121">
                  <c:v>0.95758687193843295</c:v>
                </c:pt>
                <c:pt idx="122">
                  <c:v>0.95850029754011823</c:v>
                </c:pt>
                <c:pt idx="123">
                  <c:v>0.95939918453453188</c:v>
                </c:pt>
                <c:pt idx="124">
                  <c:v>0.96027751694625119</c:v>
                </c:pt>
                <c:pt idx="125">
                  <c:v>0.96114231341326939</c:v>
                </c:pt>
                <c:pt idx="126">
                  <c:v>0.96200209656743529</c:v>
                </c:pt>
                <c:pt idx="127">
                  <c:v>0.9628518530958966</c:v>
                </c:pt>
                <c:pt idx="128">
                  <c:v>0.96369709764279088</c:v>
                </c:pt>
                <c:pt idx="129">
                  <c:v>0.96452780358241352</c:v>
                </c:pt>
                <c:pt idx="130">
                  <c:v>0.96534497357733506</c:v>
                </c:pt>
                <c:pt idx="131">
                  <c:v>0.96614910895884065</c:v>
                </c:pt>
                <c:pt idx="132">
                  <c:v>0.96694371904592691</c:v>
                </c:pt>
                <c:pt idx="133">
                  <c:v>0.96770273461176193</c:v>
                </c:pt>
                <c:pt idx="134">
                  <c:v>0.96845924352117085</c:v>
                </c:pt>
                <c:pt idx="135">
                  <c:v>0.96919820583559679</c:v>
                </c:pt>
                <c:pt idx="136">
                  <c:v>0.96993065084331476</c:v>
                </c:pt>
                <c:pt idx="137">
                  <c:v>0.97059692012138266</c:v>
                </c:pt>
                <c:pt idx="138">
                  <c:v>0.97124865079217892</c:v>
                </c:pt>
                <c:pt idx="139">
                  <c:v>0.97189436548755248</c:v>
                </c:pt>
                <c:pt idx="140">
                  <c:v>0.97253506687007374</c:v>
                </c:pt>
                <c:pt idx="141">
                  <c:v>0.9731707549397427</c:v>
                </c:pt>
                <c:pt idx="142">
                  <c:v>0.97380594167812651</c:v>
                </c:pt>
                <c:pt idx="143">
                  <c:v>0.97441756584610462</c:v>
                </c:pt>
                <c:pt idx="144">
                  <c:v>0.97502919001408273</c:v>
                </c:pt>
                <c:pt idx="145">
                  <c:v>0.97562025959936649</c:v>
                </c:pt>
                <c:pt idx="146">
                  <c:v>0.97620731853436837</c:v>
                </c:pt>
                <c:pt idx="147">
                  <c:v>0.97679237214422932</c:v>
                </c:pt>
                <c:pt idx="148">
                  <c:v>0.97737140977866754</c:v>
                </c:pt>
                <c:pt idx="149">
                  <c:v>0.9779153542231398</c:v>
                </c:pt>
                <c:pt idx="150">
                  <c:v>0.97844175207262907</c:v>
                </c:pt>
                <c:pt idx="151">
                  <c:v>0.97894308335785696</c:v>
                </c:pt>
                <c:pt idx="152">
                  <c:v>0.97941834541625306</c:v>
                </c:pt>
                <c:pt idx="153">
                  <c:v>0.97989260481207863</c:v>
                </c:pt>
                <c:pt idx="154">
                  <c:v>0.98034931761292121</c:v>
                </c:pt>
                <c:pt idx="155">
                  <c:v>0.98077695319922065</c:v>
                </c:pt>
                <c:pt idx="156">
                  <c:v>0.98120408745423482</c:v>
                </c:pt>
                <c:pt idx="157">
                  <c:v>0.98162169641482966</c:v>
                </c:pt>
                <c:pt idx="158">
                  <c:v>0.98202727342457907</c:v>
                </c:pt>
                <c:pt idx="159">
                  <c:v>0.98243234910304322</c:v>
                </c:pt>
                <c:pt idx="160">
                  <c:v>0.98282689682451763</c:v>
                </c:pt>
                <c:pt idx="161">
                  <c:v>0.98320840993257608</c:v>
                </c:pt>
                <c:pt idx="162">
                  <c:v>0.98357889375235952</c:v>
                </c:pt>
                <c:pt idx="163">
                  <c:v>0.98394887624085769</c:v>
                </c:pt>
                <c:pt idx="164">
                  <c:v>0.98431885872935587</c:v>
                </c:pt>
                <c:pt idx="165">
                  <c:v>0.98468733722399837</c:v>
                </c:pt>
                <c:pt idx="166">
                  <c:v>0.9850467917555068</c:v>
                </c:pt>
                <c:pt idx="167">
                  <c:v>0.98540474229315955</c:v>
                </c:pt>
                <c:pt idx="168">
                  <c:v>0.98575717818667474</c:v>
                </c:pt>
                <c:pt idx="169">
                  <c:v>0.9861076087550491</c:v>
                </c:pt>
                <c:pt idx="170">
                  <c:v>0.98644801269771887</c:v>
                </c:pt>
                <c:pt idx="171">
                  <c:v>0.9867839046588216</c:v>
                </c:pt>
                <c:pt idx="172">
                  <c:v>0.98711428197578677</c:v>
                </c:pt>
                <c:pt idx="173">
                  <c:v>0.98744215263632584</c:v>
                </c:pt>
                <c:pt idx="174">
                  <c:v>0.98776701530915356</c:v>
                </c:pt>
                <c:pt idx="175">
                  <c:v>0.98808536067527331</c:v>
                </c:pt>
                <c:pt idx="176">
                  <c:v>0.98839568474082939</c:v>
                </c:pt>
                <c:pt idx="177">
                  <c:v>0.98870249948738886</c:v>
                </c:pt>
                <c:pt idx="178">
                  <c:v>0.98898976231382452</c:v>
                </c:pt>
                <c:pt idx="179">
                  <c:v>0.98927201182740787</c:v>
                </c:pt>
                <c:pt idx="180">
                  <c:v>0.98954724270299799</c:v>
                </c:pt>
                <c:pt idx="181">
                  <c:v>0.98980693230874606</c:v>
                </c:pt>
                <c:pt idx="182">
                  <c:v>0.99006411525806803</c:v>
                </c:pt>
                <c:pt idx="183">
                  <c:v>0.99031427956939677</c:v>
                </c:pt>
                <c:pt idx="184">
                  <c:v>0.99055993189915847</c:v>
                </c:pt>
                <c:pt idx="185">
                  <c:v>0.99079305094678949</c:v>
                </c:pt>
                <c:pt idx="186">
                  <c:v>0.99102466600056482</c:v>
                </c:pt>
                <c:pt idx="187">
                  <c:v>0.99124725709120598</c:v>
                </c:pt>
                <c:pt idx="188">
                  <c:v>0.99146934685056198</c:v>
                </c:pt>
                <c:pt idx="189">
                  <c:v>0.99168993261606231</c:v>
                </c:pt>
                <c:pt idx="190">
                  <c:v>0.99190550506871034</c:v>
                </c:pt>
                <c:pt idx="191">
                  <c:v>0.99211456021465039</c:v>
                </c:pt>
                <c:pt idx="192">
                  <c:v>0.99231208474103016</c:v>
                </c:pt>
                <c:pt idx="193">
                  <c:v>0.99250158796684629</c:v>
                </c:pt>
                <c:pt idx="194">
                  <c:v>0.99268156589824308</c:v>
                </c:pt>
                <c:pt idx="195">
                  <c:v>0.99285703184807284</c:v>
                </c:pt>
                <c:pt idx="196">
                  <c:v>0.99303099380404691</c:v>
                </c:pt>
                <c:pt idx="197">
                  <c:v>0.99320445442873573</c:v>
                </c:pt>
                <c:pt idx="198">
                  <c:v>0.99337691239085413</c:v>
                </c:pt>
                <c:pt idx="199">
                  <c:v>0.99354836769040211</c:v>
                </c:pt>
                <c:pt idx="200">
                  <c:v>0.9937198229899501</c:v>
                </c:pt>
                <c:pt idx="201">
                  <c:v>0.99388075033250822</c:v>
                </c:pt>
                <c:pt idx="202">
                  <c:v>0.9940361630309289</c:v>
                </c:pt>
                <c:pt idx="203">
                  <c:v>0.99419157572934957</c:v>
                </c:pt>
                <c:pt idx="204">
                  <c:v>0.99434648709648499</c:v>
                </c:pt>
                <c:pt idx="205">
                  <c:v>0.99449688648205337</c:v>
                </c:pt>
                <c:pt idx="206">
                  <c:v>0.99464728586762174</c:v>
                </c:pt>
                <c:pt idx="207">
                  <c:v>0.99479267194033782</c:v>
                </c:pt>
                <c:pt idx="208">
                  <c:v>0.99493655401919823</c:v>
                </c:pt>
                <c:pt idx="209">
                  <c:v>0.99507943343548821</c:v>
                </c:pt>
                <c:pt idx="210">
                  <c:v>0.995219806195352</c:v>
                </c:pt>
                <c:pt idx="211">
                  <c:v>0.99535817363007495</c:v>
                </c:pt>
                <c:pt idx="212">
                  <c:v>0.99549603973351264</c:v>
                </c:pt>
                <c:pt idx="213">
                  <c:v>0.99563340450566507</c:v>
                </c:pt>
                <c:pt idx="214">
                  <c:v>0.9957632493085391</c:v>
                </c:pt>
                <c:pt idx="215">
                  <c:v>0.99589259278012787</c:v>
                </c:pt>
                <c:pt idx="216">
                  <c:v>0.99602143492043149</c:v>
                </c:pt>
                <c:pt idx="217">
                  <c:v>0.99614927439816459</c:v>
                </c:pt>
                <c:pt idx="218">
                  <c:v>0.99627460721947159</c:v>
                </c:pt>
                <c:pt idx="219">
                  <c:v>0.99639994004077859</c:v>
                </c:pt>
                <c:pt idx="220">
                  <c:v>0.99652477153080032</c:v>
                </c:pt>
                <c:pt idx="221">
                  <c:v>0.9966491016895368</c:v>
                </c:pt>
                <c:pt idx="222">
                  <c:v>0.99676891986670624</c:v>
                </c:pt>
                <c:pt idx="223">
                  <c:v>0.99688673271873485</c:v>
                </c:pt>
                <c:pt idx="224">
                  <c:v>0.9969990309266259</c:v>
                </c:pt>
                <c:pt idx="225">
                  <c:v>0.997109323809376</c:v>
                </c:pt>
                <c:pt idx="226">
                  <c:v>0.99721961669212611</c:v>
                </c:pt>
                <c:pt idx="227">
                  <c:v>0.99732940824359106</c:v>
                </c:pt>
                <c:pt idx="228">
                  <c:v>0.99743719446991508</c:v>
                </c:pt>
                <c:pt idx="229">
                  <c:v>0.99754447936495383</c:v>
                </c:pt>
                <c:pt idx="230">
                  <c:v>0.99764975893485164</c:v>
                </c:pt>
                <c:pt idx="231">
                  <c:v>0.99775002519189726</c:v>
                </c:pt>
                <c:pt idx="232">
                  <c:v>0.99784778479251668</c:v>
                </c:pt>
                <c:pt idx="233">
                  <c:v>0.99794253640542474</c:v>
                </c:pt>
                <c:pt idx="234">
                  <c:v>0.99803478136190671</c:v>
                </c:pt>
                <c:pt idx="235">
                  <c:v>0.99812602365581815</c:v>
                </c:pt>
                <c:pt idx="236">
                  <c:v>0.99821576195587391</c:v>
                </c:pt>
                <c:pt idx="237">
                  <c:v>0.99830499892464453</c:v>
                </c:pt>
                <c:pt idx="238">
                  <c:v>0.99839273189955946</c:v>
                </c:pt>
                <c:pt idx="239">
                  <c:v>0.99847946221190387</c:v>
                </c:pt>
                <c:pt idx="240">
                  <c:v>0.9985646885303926</c:v>
                </c:pt>
                <c:pt idx="241">
                  <c:v>0.99864891218631091</c:v>
                </c:pt>
                <c:pt idx="242">
                  <c:v>0.99872611720423599</c:v>
                </c:pt>
                <c:pt idx="243">
                  <c:v>0.99879630358416793</c:v>
                </c:pt>
                <c:pt idx="244">
                  <c:v>0.998862479313818</c:v>
                </c:pt>
                <c:pt idx="245">
                  <c:v>0.99892865504346806</c:v>
                </c:pt>
                <c:pt idx="246">
                  <c:v>0.99899182278540677</c:v>
                </c:pt>
                <c:pt idx="247">
                  <c:v>0.99905448919606021</c:v>
                </c:pt>
                <c:pt idx="248">
                  <c:v>0.99911615294414324</c:v>
                </c:pt>
                <c:pt idx="249">
                  <c:v>0.99917781669222627</c:v>
                </c:pt>
                <c:pt idx="250">
                  <c:v>0.99923747511516836</c:v>
                </c:pt>
                <c:pt idx="251">
                  <c:v>0.99929412555039909</c:v>
                </c:pt>
                <c:pt idx="252">
                  <c:v>0.99934977332305941</c:v>
                </c:pt>
                <c:pt idx="253">
                  <c:v>0.9994044184331492</c:v>
                </c:pt>
                <c:pt idx="254">
                  <c:v>0.99945856221195384</c:v>
                </c:pt>
                <c:pt idx="255">
                  <c:v>0.99950969800304712</c:v>
                </c:pt>
                <c:pt idx="256">
                  <c:v>0.99956033246285514</c:v>
                </c:pt>
                <c:pt idx="257">
                  <c:v>0.9996079589349518</c:v>
                </c:pt>
                <c:pt idx="258">
                  <c:v>0.99964806543777007</c:v>
                </c:pt>
                <c:pt idx="259">
                  <c:v>0.99968516395287699</c:v>
                </c:pt>
                <c:pt idx="260">
                  <c:v>0.99972125980541338</c:v>
                </c:pt>
                <c:pt idx="261">
                  <c:v>0.99975635299537935</c:v>
                </c:pt>
                <c:pt idx="262">
                  <c:v>0.99978944086020438</c:v>
                </c:pt>
                <c:pt idx="263">
                  <c:v>0.99981952073731806</c:v>
                </c:pt>
                <c:pt idx="264">
                  <c:v>0.99984709395800564</c:v>
                </c:pt>
                <c:pt idx="265">
                  <c:v>0.9998686512032704</c:v>
                </c:pt>
                <c:pt idx="266">
                  <c:v>0.99988970711725</c:v>
                </c:pt>
                <c:pt idx="267">
                  <c:v>0.99991026169994435</c:v>
                </c:pt>
                <c:pt idx="268">
                  <c:v>0.99992931228878301</c:v>
                </c:pt>
                <c:pt idx="269">
                  <c:v>0.99994485355862506</c:v>
                </c:pt>
                <c:pt idx="270">
                  <c:v>0.99995939216589669</c:v>
                </c:pt>
                <c:pt idx="271">
                  <c:v>0.99997242677931264</c:v>
                </c:pt>
                <c:pt idx="272">
                  <c:v>0.99998145074244671</c:v>
                </c:pt>
                <c:pt idx="273">
                  <c:v>0.9999889707117251</c:v>
                </c:pt>
                <c:pt idx="274">
                  <c:v>0.99999548801843308</c:v>
                </c:pt>
                <c:pt idx="275">
                  <c:v>1.0000000000000002</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305</c:f>
              <c:strCache>
                <c:ptCount val="304"/>
                <c:pt idx="0">
                  <c:v>Ruinart</c:v>
                </c:pt>
                <c:pt idx="1">
                  <c:v>Nicolas</c:v>
                </c:pt>
                <c:pt idx="2">
                  <c:v>All Others</c:v>
                </c:pt>
                <c:pt idx="3">
                  <c:v>All Others</c:v>
                </c:pt>
                <c:pt idx="4">
                  <c:v>Deutz</c:v>
                </c:pt>
                <c:pt idx="5">
                  <c:v>Mure</c:v>
                </c:pt>
                <c:pt idx="6">
                  <c:v>Ruinart</c:v>
                </c:pt>
                <c:pt idx="7">
                  <c:v>Ayala</c:v>
                </c:pt>
                <c:pt idx="8">
                  <c:v>All Others</c:v>
                </c:pt>
                <c:pt idx="9">
                  <c:v>Bollinger</c:v>
                </c:pt>
                <c:pt idx="10">
                  <c:v>De Bligny</c:v>
                </c:pt>
                <c:pt idx="11">
                  <c:v>Malard</c:v>
                </c:pt>
                <c:pt idx="12">
                  <c:v>Laurent Per</c:v>
                </c:pt>
                <c:pt idx="13">
                  <c:v>Nicolas Feu</c:v>
                </c:pt>
                <c:pt idx="14">
                  <c:v>Heidsieck &amp;</c:v>
                </c:pt>
                <c:pt idx="15">
                  <c:v>Canard Duch</c:v>
                </c:pt>
                <c:pt idx="16">
                  <c:v>Ruinart</c:v>
                </c:pt>
                <c:pt idx="17">
                  <c:v>Taittinger</c:v>
                </c:pt>
                <c:pt idx="18">
                  <c:v>All Others</c:v>
                </c:pt>
                <c:pt idx="19">
                  <c:v>Ruinart</c:v>
                </c:pt>
                <c:pt idx="20">
                  <c:v>Demoiselle</c:v>
                </c:pt>
                <c:pt idx="21">
                  <c:v>Deutz</c:v>
                </c:pt>
                <c:pt idx="22">
                  <c:v>All Others</c:v>
                </c:pt>
                <c:pt idx="23">
                  <c:v>Ruinart</c:v>
                </c:pt>
                <c:pt idx="24">
                  <c:v>Perrier Jou</c:v>
                </c:pt>
                <c:pt idx="25">
                  <c:v>Pommery</c:v>
                </c:pt>
                <c:pt idx="26">
                  <c:v>Lanson-Bcc:</c:v>
                </c:pt>
                <c:pt idx="27">
                  <c:v>Campari: Al</c:v>
                </c:pt>
                <c:pt idx="28">
                  <c:v>All Others</c:v>
                </c:pt>
                <c:pt idx="29">
                  <c:v>Savian</c:v>
                </c:pt>
                <c:pt idx="30">
                  <c:v>Besserat De</c:v>
                </c:pt>
                <c:pt idx="31">
                  <c:v>Nicolas</c:v>
                </c:pt>
                <c:pt idx="32">
                  <c:v>Deutz</c:v>
                </c:pt>
                <c:pt idx="33">
                  <c:v>All Others</c:v>
                </c:pt>
                <c:pt idx="34">
                  <c:v>All Others</c:v>
                </c:pt>
                <c:pt idx="35">
                  <c:v>Ruinart</c:v>
                </c:pt>
                <c:pt idx="36">
                  <c:v>All Others</c:v>
                </c:pt>
                <c:pt idx="37">
                  <c:v>Laurent Per</c:v>
                </c:pt>
                <c:pt idx="38">
                  <c:v>All Others</c:v>
                </c:pt>
                <c:pt idx="39">
                  <c:v>Mure</c:v>
                </c:pt>
                <c:pt idx="40">
                  <c:v>All Others</c:v>
                </c:pt>
                <c:pt idx="41">
                  <c:v>Vesselle</c:v>
                </c:pt>
                <c:pt idx="42">
                  <c:v>Taittinger</c:v>
                </c:pt>
                <c:pt idx="43">
                  <c:v>Demoiselle</c:v>
                </c:pt>
                <c:pt idx="44">
                  <c:v>Dom Perigno</c:v>
                </c:pt>
                <c:pt idx="45">
                  <c:v>All Others</c:v>
                </c:pt>
                <c:pt idx="46">
                  <c:v>Malard</c:v>
                </c:pt>
                <c:pt idx="47">
                  <c:v>Roederer</c:v>
                </c:pt>
                <c:pt idx="48">
                  <c:v>Moët &amp; Chan</c:v>
                </c:pt>
                <c:pt idx="49">
                  <c:v>All Others</c:v>
                </c:pt>
                <c:pt idx="50">
                  <c:v>Malard</c:v>
                </c:pt>
                <c:pt idx="51">
                  <c:v>Laurent Per</c:v>
                </c:pt>
                <c:pt idx="52">
                  <c:v>Roederer</c:v>
                </c:pt>
                <c:pt idx="53">
                  <c:v>Ruinart</c:v>
                </c:pt>
                <c:pt idx="54">
                  <c:v>Nicolas</c:v>
                </c:pt>
                <c:pt idx="55">
                  <c:v>All Others</c:v>
                </c:pt>
                <c:pt idx="56">
                  <c:v>Canard Duch</c:v>
                </c:pt>
                <c:pt idx="57">
                  <c:v>Bollinger</c:v>
                </c:pt>
                <c:pt idx="58">
                  <c:v>Veuve Clicq</c:v>
                </c:pt>
                <c:pt idx="59">
                  <c:v>Veuve Clicq</c:v>
                </c:pt>
                <c:pt idx="60">
                  <c:v>Vranken</c:v>
                </c:pt>
                <c:pt idx="61">
                  <c:v>Malard</c:v>
                </c:pt>
                <c:pt idx="62">
                  <c:v>Henriot</c:v>
                </c:pt>
                <c:pt idx="63">
                  <c:v>Ayala</c:v>
                </c:pt>
                <c:pt idx="64">
                  <c:v>Ruinart</c:v>
                </c:pt>
                <c:pt idx="65">
                  <c:v>Dom Perigno</c:v>
                </c:pt>
                <c:pt idx="66">
                  <c:v>Ruinart</c:v>
                </c:pt>
                <c:pt idx="67">
                  <c:v>Lanson</c:v>
                </c:pt>
                <c:pt idx="68">
                  <c:v>De Venoge</c:v>
                </c:pt>
                <c:pt idx="69">
                  <c:v>Veuve Clicq</c:v>
                </c:pt>
                <c:pt idx="70">
                  <c:v>All Others</c:v>
                </c:pt>
                <c:pt idx="71">
                  <c:v>Malard</c:v>
                </c:pt>
                <c:pt idx="72">
                  <c:v>All Others</c:v>
                </c:pt>
                <c:pt idx="73">
                  <c:v>Deutz</c:v>
                </c:pt>
                <c:pt idx="74">
                  <c:v>Nicolas Feu</c:v>
                </c:pt>
                <c:pt idx="75">
                  <c:v>Malard</c:v>
                </c:pt>
                <c:pt idx="76">
                  <c:v>Nicolas Feu</c:v>
                </c:pt>
                <c:pt idx="77">
                  <c:v>De Chanceny</c:v>
                </c:pt>
                <c:pt idx="78">
                  <c:v>Louis Marti</c:v>
                </c:pt>
                <c:pt idx="79">
                  <c:v>De Bligny</c:v>
                </c:pt>
                <c:pt idx="80">
                  <c:v>Pommery</c:v>
                </c:pt>
                <c:pt idx="81">
                  <c:v>All Others</c:v>
                </c:pt>
                <c:pt idx="82">
                  <c:v>Piper Heids</c:v>
                </c:pt>
                <c:pt idx="83">
                  <c:v>Canard Duch</c:v>
                </c:pt>
                <c:pt idx="84">
                  <c:v>Moët &amp; Chan</c:v>
                </c:pt>
                <c:pt idx="85">
                  <c:v>All Others</c:v>
                </c:pt>
                <c:pt idx="86">
                  <c:v>Mure</c:v>
                </c:pt>
                <c:pt idx="87">
                  <c:v>Delamotte</c:v>
                </c:pt>
                <c:pt idx="88">
                  <c:v>Lyre's</c:v>
                </c:pt>
                <c:pt idx="89">
                  <c:v>Deutz</c:v>
                </c:pt>
                <c:pt idx="90">
                  <c:v>All Others</c:v>
                </c:pt>
                <c:pt idx="91">
                  <c:v>Henriot</c:v>
                </c:pt>
                <c:pt idx="92">
                  <c:v>De Venoge</c:v>
                </c:pt>
                <c:pt idx="93">
                  <c:v>Nicolas Feu</c:v>
                </c:pt>
                <c:pt idx="94">
                  <c:v>Roederer</c:v>
                </c:pt>
                <c:pt idx="95">
                  <c:v>Roederer</c:v>
                </c:pt>
                <c:pt idx="96">
                  <c:v>Campari: Al</c:v>
                </c:pt>
                <c:pt idx="97">
                  <c:v>Canard Duch</c:v>
                </c:pt>
                <c:pt idx="98">
                  <c:v>Krug</c:v>
                </c:pt>
                <c:pt idx="99">
                  <c:v>All Others</c:v>
                </c:pt>
                <c:pt idx="100">
                  <c:v>Bollinger</c:v>
                </c:pt>
                <c:pt idx="101">
                  <c:v>Savian</c:v>
                </c:pt>
                <c:pt idx="102">
                  <c:v>Dom Perigno</c:v>
                </c:pt>
                <c:pt idx="103">
                  <c:v>Laurent Per</c:v>
                </c:pt>
                <c:pt idx="104">
                  <c:v>All Others</c:v>
                </c:pt>
                <c:pt idx="105">
                  <c:v>Besserat De</c:v>
                </c:pt>
                <c:pt idx="106">
                  <c:v>De Venoge</c:v>
                </c:pt>
                <c:pt idx="107">
                  <c:v>Ruinart</c:v>
                </c:pt>
                <c:pt idx="108">
                  <c:v>Vranken</c:v>
                </c:pt>
                <c:pt idx="109">
                  <c:v>Delamotte</c:v>
                </c:pt>
                <c:pt idx="110">
                  <c:v>Besserat De</c:v>
                </c:pt>
                <c:pt idx="111">
                  <c:v>Nicolas</c:v>
                </c:pt>
                <c:pt idx="112">
                  <c:v>Veuve Clicq</c:v>
                </c:pt>
                <c:pt idx="113">
                  <c:v>Henriot</c:v>
                </c:pt>
                <c:pt idx="114">
                  <c:v>Patriarche</c:v>
                </c:pt>
                <c:pt idx="115">
                  <c:v>Canard Duch</c:v>
                </c:pt>
                <c:pt idx="116">
                  <c:v>Roederer</c:v>
                </c:pt>
                <c:pt idx="117">
                  <c:v>Henriot</c:v>
                </c:pt>
                <c:pt idx="118">
                  <c:v>Bollinger</c:v>
                </c:pt>
                <c:pt idx="119">
                  <c:v>Pommery</c:v>
                </c:pt>
                <c:pt idx="120">
                  <c:v>De Venoge</c:v>
                </c:pt>
                <c:pt idx="121">
                  <c:v>Moët &amp; Chan</c:v>
                </c:pt>
                <c:pt idx="122">
                  <c:v>Ruinart</c:v>
                </c:pt>
                <c:pt idx="123">
                  <c:v>Ruinart</c:v>
                </c:pt>
                <c:pt idx="124">
                  <c:v>Ruinart</c:v>
                </c:pt>
                <c:pt idx="125">
                  <c:v>Bottega</c:v>
                </c:pt>
                <c:pt idx="126">
                  <c:v>Deutz</c:v>
                </c:pt>
                <c:pt idx="127">
                  <c:v>Perrier Jou</c:v>
                </c:pt>
                <c:pt idx="128">
                  <c:v>Ruinart</c:v>
                </c:pt>
                <c:pt idx="129">
                  <c:v>Nicolas</c:v>
                </c:pt>
                <c:pt idx="130">
                  <c:v>Nicolas</c:v>
                </c:pt>
                <c:pt idx="131">
                  <c:v>All Others</c:v>
                </c:pt>
                <c:pt idx="132">
                  <c:v>Nicolas</c:v>
                </c:pt>
                <c:pt idx="133">
                  <c:v>Deutz</c:v>
                </c:pt>
                <c:pt idx="134">
                  <c:v>French Bloo</c:v>
                </c:pt>
                <c:pt idx="135">
                  <c:v>Ruinart</c:v>
                </c:pt>
                <c:pt idx="136">
                  <c:v>Laurent Per</c:v>
                </c:pt>
                <c:pt idx="137">
                  <c:v>Roederer</c:v>
                </c:pt>
                <c:pt idx="138">
                  <c:v>Roederer</c:v>
                </c:pt>
                <c:pt idx="139">
                  <c:v>Roederer</c:v>
                </c:pt>
                <c:pt idx="140">
                  <c:v>All Others</c:v>
                </c:pt>
                <c:pt idx="141">
                  <c:v>Nicolas</c:v>
                </c:pt>
                <c:pt idx="142">
                  <c:v>Nicolas</c:v>
                </c:pt>
                <c:pt idx="143">
                  <c:v>Piper Heids</c:v>
                </c:pt>
                <c:pt idx="144">
                  <c:v>Kriter</c:v>
                </c:pt>
                <c:pt idx="145">
                  <c:v>All Others</c:v>
                </c:pt>
                <c:pt idx="146">
                  <c:v>Taittinger</c:v>
                </c:pt>
                <c:pt idx="147">
                  <c:v>Perrier Jou</c:v>
                </c:pt>
                <c:pt idx="148">
                  <c:v>Nicolas Feu</c:v>
                </c:pt>
                <c:pt idx="149">
                  <c:v>Nicolas</c:v>
                </c:pt>
                <c:pt idx="150">
                  <c:v>All Others</c:v>
                </c:pt>
                <c:pt idx="151">
                  <c:v>Laurent Per</c:v>
                </c:pt>
                <c:pt idx="152">
                  <c:v>All Others</c:v>
                </c:pt>
                <c:pt idx="153">
                  <c:v>All Others</c:v>
                </c:pt>
                <c:pt idx="154">
                  <c:v>All Others</c:v>
                </c:pt>
                <c:pt idx="155">
                  <c:v>Canard Duch</c:v>
                </c:pt>
                <c:pt idx="156">
                  <c:v>Moët &amp; Chan</c:v>
                </c:pt>
                <c:pt idx="157">
                  <c:v>Besserat De</c:v>
                </c:pt>
                <c:pt idx="158">
                  <c:v>Ruinart</c:v>
                </c:pt>
                <c:pt idx="159">
                  <c:v>All Others</c:v>
                </c:pt>
                <c:pt idx="160">
                  <c:v>De Venoge</c:v>
                </c:pt>
                <c:pt idx="161">
                  <c:v>Lanson</c:v>
                </c:pt>
                <c:pt idx="162">
                  <c:v>Vranken</c:v>
                </c:pt>
                <c:pt idx="163">
                  <c:v>Roederer</c:v>
                </c:pt>
                <c:pt idx="164">
                  <c:v>Bouvet-Ladu</c:v>
                </c:pt>
                <c:pt idx="165">
                  <c:v>Nicolas</c:v>
                </c:pt>
                <c:pt idx="166">
                  <c:v>De Chanceny</c:v>
                </c:pt>
                <c:pt idx="167">
                  <c:v>Vesselle</c:v>
                </c:pt>
                <c:pt idx="168">
                  <c:v>All Others</c:v>
                </c:pt>
                <c:pt idx="169">
                  <c:v>Ruinart</c:v>
                </c:pt>
                <c:pt idx="170">
                  <c:v>All Others</c:v>
                </c:pt>
                <c:pt idx="171">
                  <c:v>Contarini</c:v>
                </c:pt>
                <c:pt idx="172">
                  <c:v>Nicolas</c:v>
                </c:pt>
                <c:pt idx="173">
                  <c:v>All Others</c:v>
                </c:pt>
                <c:pt idx="174">
                  <c:v>Laurent Per</c:v>
                </c:pt>
                <c:pt idx="175">
                  <c:v>All Others</c:v>
                </c:pt>
                <c:pt idx="176">
                  <c:v>Moët &amp; Chan</c:v>
                </c:pt>
                <c:pt idx="177">
                  <c:v>Cru La Maqu</c:v>
                </c:pt>
                <c:pt idx="178">
                  <c:v>All Others</c:v>
                </c:pt>
                <c:pt idx="179">
                  <c:v>Ayala</c:v>
                </c:pt>
                <c:pt idx="180">
                  <c:v>Pommery</c:v>
                </c:pt>
                <c:pt idx="181">
                  <c:v>Nicolas</c:v>
                </c:pt>
                <c:pt idx="182">
                  <c:v>All Others</c:v>
                </c:pt>
                <c:pt idx="183">
                  <c:v>Dom Perigno</c:v>
                </c:pt>
                <c:pt idx="184">
                  <c:v>All Others</c:v>
                </c:pt>
                <c:pt idx="185">
                  <c:v>Nicolas</c:v>
                </c:pt>
                <c:pt idx="186">
                  <c:v>Patriarche</c:v>
                </c:pt>
                <c:pt idx="187">
                  <c:v>Roederer</c:v>
                </c:pt>
                <c:pt idx="188">
                  <c:v>Pommery</c:v>
                </c:pt>
                <c:pt idx="189">
                  <c:v>Louis Marti</c:v>
                </c:pt>
                <c:pt idx="190">
                  <c:v>Roederer</c:v>
                </c:pt>
                <c:pt idx="191">
                  <c:v>Ruinart</c:v>
                </c:pt>
                <c:pt idx="192">
                  <c:v>Ruinart</c:v>
                </c:pt>
                <c:pt idx="193">
                  <c:v>All Others</c:v>
                </c:pt>
                <c:pt idx="194">
                  <c:v>Bottega</c:v>
                </c:pt>
                <c:pt idx="195">
                  <c:v>Canard Duch</c:v>
                </c:pt>
                <c:pt idx="196">
                  <c:v>Nicolas</c:v>
                </c:pt>
                <c:pt idx="197">
                  <c:v>Pommery</c:v>
                </c:pt>
                <c:pt idx="198">
                  <c:v>Bollinger</c:v>
                </c:pt>
                <c:pt idx="199">
                  <c:v>Taittinger</c:v>
                </c:pt>
                <c:pt idx="200">
                  <c:v>De Venoge</c:v>
                </c:pt>
                <c:pt idx="201">
                  <c:v>All Others</c:v>
                </c:pt>
                <c:pt idx="202">
                  <c:v>Lanson</c:v>
                </c:pt>
                <c:pt idx="203">
                  <c:v>Roederer</c:v>
                </c:pt>
                <c:pt idx="204">
                  <c:v>Pommery</c:v>
                </c:pt>
                <c:pt idx="205">
                  <c:v>Demoiselle</c:v>
                </c:pt>
                <c:pt idx="206">
                  <c:v>All Others</c:v>
                </c:pt>
                <c:pt idx="207">
                  <c:v>Henriot</c:v>
                </c:pt>
                <c:pt idx="208">
                  <c:v>All Others</c:v>
                </c:pt>
                <c:pt idx="209">
                  <c:v>Laurent Per</c:v>
                </c:pt>
                <c:pt idx="210">
                  <c:v>Vesselle</c:v>
                </c:pt>
                <c:pt idx="211">
                  <c:v>Nicolas</c:v>
                </c:pt>
                <c:pt idx="212">
                  <c:v>Roederer</c:v>
                </c:pt>
                <c:pt idx="213">
                  <c:v>Bollinger</c:v>
                </c:pt>
                <c:pt idx="214">
                  <c:v>De Bligny</c:v>
                </c:pt>
                <c:pt idx="215">
                  <c:v>Piper Heids</c:v>
                </c:pt>
                <c:pt idx="216">
                  <c:v>All Others</c:v>
                </c:pt>
                <c:pt idx="217">
                  <c:v>Canard Duch</c:v>
                </c:pt>
                <c:pt idx="218">
                  <c:v>Moët &amp; Chan</c:v>
                </c:pt>
                <c:pt idx="219">
                  <c:v>Laurent Per</c:v>
                </c:pt>
                <c:pt idx="220">
                  <c:v>Ruinart</c:v>
                </c:pt>
                <c:pt idx="221">
                  <c:v>De Venoge</c:v>
                </c:pt>
                <c:pt idx="222">
                  <c:v>Roederer</c:v>
                </c:pt>
                <c:pt idx="223">
                  <c:v>Henriot</c:v>
                </c:pt>
                <c:pt idx="224">
                  <c:v>De Bligny</c:v>
                </c:pt>
                <c:pt idx="225">
                  <c:v>Nicolas</c:v>
                </c:pt>
                <c:pt idx="226">
                  <c:v>Laurent Per</c:v>
                </c:pt>
                <c:pt idx="227">
                  <c:v>Piper Heids</c:v>
                </c:pt>
                <c:pt idx="228">
                  <c:v>All Others</c:v>
                </c:pt>
                <c:pt idx="229">
                  <c:v>Contarini</c:v>
                </c:pt>
                <c:pt idx="230">
                  <c:v>All Others</c:v>
                </c:pt>
                <c:pt idx="231">
                  <c:v>Nicolas Feu</c:v>
                </c:pt>
                <c:pt idx="232">
                  <c:v>Roederer</c:v>
                </c:pt>
                <c:pt idx="233">
                  <c:v>Perrier Jou</c:v>
                </c:pt>
                <c:pt idx="234">
                  <c:v>Laurent Per</c:v>
                </c:pt>
                <c:pt idx="235">
                  <c:v>Demoiselle</c:v>
                </c:pt>
                <c:pt idx="236">
                  <c:v>Malard</c:v>
                </c:pt>
                <c:pt idx="237">
                  <c:v>All Others</c:v>
                </c:pt>
                <c:pt idx="238">
                  <c:v>Deutz</c:v>
                </c:pt>
                <c:pt idx="239">
                  <c:v>Nicolas</c:v>
                </c:pt>
                <c:pt idx="240">
                  <c:v>Celene</c:v>
                </c:pt>
                <c:pt idx="241">
                  <c:v>Roederer</c:v>
                </c:pt>
                <c:pt idx="242">
                  <c:v>Taittinger</c:v>
                </c:pt>
                <c:pt idx="243">
                  <c:v>Ruinart</c:v>
                </c:pt>
                <c:pt idx="244">
                  <c:v>All Others</c:v>
                </c:pt>
                <c:pt idx="245">
                  <c:v>Laurent Per</c:v>
                </c:pt>
                <c:pt idx="246">
                  <c:v>De Venoge</c:v>
                </c:pt>
                <c:pt idx="247">
                  <c:v>Roederer</c:v>
                </c:pt>
                <c:pt idx="248">
                  <c:v>Bollinger</c:v>
                </c:pt>
                <c:pt idx="249">
                  <c:v>Besserat De</c:v>
                </c:pt>
                <c:pt idx="250">
                  <c:v>Laurent Per</c:v>
                </c:pt>
                <c:pt idx="251">
                  <c:v>Bollinger</c:v>
                </c:pt>
                <c:pt idx="252">
                  <c:v>All Others</c:v>
                </c:pt>
                <c:pt idx="253">
                  <c:v>Ruinart</c:v>
                </c:pt>
                <c:pt idx="254">
                  <c:v>Roederer</c:v>
                </c:pt>
                <c:pt idx="255">
                  <c:v>Veuve Clicq</c:v>
                </c:pt>
                <c:pt idx="256">
                  <c:v>Laurent Per</c:v>
                </c:pt>
                <c:pt idx="257">
                  <c:v>Celene</c:v>
                </c:pt>
                <c:pt idx="258">
                  <c:v>Veuve Clicq</c:v>
                </c:pt>
                <c:pt idx="259">
                  <c:v>Vranken</c:v>
                </c:pt>
                <c:pt idx="260">
                  <c:v>All Others</c:v>
                </c:pt>
                <c:pt idx="261">
                  <c:v>Perrier Jou</c:v>
                </c:pt>
                <c:pt idx="262">
                  <c:v>Deutz</c:v>
                </c:pt>
                <c:pt idx="263">
                  <c:v>All Others</c:v>
                </c:pt>
                <c:pt idx="264">
                  <c:v>Nicolas Feu</c:v>
                </c:pt>
                <c:pt idx="265">
                  <c:v>Besserat De</c:v>
                </c:pt>
                <c:pt idx="266">
                  <c:v>All Others</c:v>
                </c:pt>
                <c:pt idx="267">
                  <c:v>Veuve Clicq</c:v>
                </c:pt>
                <c:pt idx="268">
                  <c:v>All Others</c:v>
                </c:pt>
                <c:pt idx="269">
                  <c:v>Bouvet-Ladu</c:v>
                </c:pt>
                <c:pt idx="270">
                  <c:v>Nicolas</c:v>
                </c:pt>
                <c:pt idx="271">
                  <c:v>All Others</c:v>
                </c:pt>
                <c:pt idx="272">
                  <c:v>Malard</c:v>
                </c:pt>
                <c:pt idx="273">
                  <c:v>Roederer</c:v>
                </c:pt>
                <c:pt idx="274">
                  <c:v>Bouvet-Ladu</c:v>
                </c:pt>
                <c:pt idx="275">
                  <c:v>Lanson</c:v>
                </c:pt>
                <c:pt idx="276">
                  <c:v>All Others</c:v>
                </c:pt>
                <c:pt idx="277">
                  <c:v>Roederer</c:v>
                </c:pt>
                <c:pt idx="278">
                  <c:v>Roederer</c:v>
                </c:pt>
                <c:pt idx="279">
                  <c:v>De Venoge</c:v>
                </c:pt>
                <c:pt idx="280">
                  <c:v>All Others</c:v>
                </c:pt>
                <c:pt idx="281">
                  <c:v>Bollinger</c:v>
                </c:pt>
                <c:pt idx="282">
                  <c:v>Roederer</c:v>
                </c:pt>
                <c:pt idx="283">
                  <c:v>Henriot</c:v>
                </c:pt>
                <c:pt idx="284">
                  <c:v>Jaillance</c:v>
                </c:pt>
                <c:pt idx="285">
                  <c:v>Piper Heids</c:v>
                </c:pt>
                <c:pt idx="286">
                  <c:v>Nicolas</c:v>
                </c:pt>
                <c:pt idx="287">
                  <c:v>Nicolas</c:v>
                </c:pt>
                <c:pt idx="288">
                  <c:v>Bouvet-Ladu</c:v>
                </c:pt>
                <c:pt idx="289">
                  <c:v>All Others</c:v>
                </c:pt>
                <c:pt idx="290">
                  <c:v>All Others</c:v>
                </c:pt>
                <c:pt idx="291">
                  <c:v>Vranken Pom</c:v>
                </c:pt>
                <c:pt idx="292">
                  <c:v>All Others</c:v>
                </c:pt>
                <c:pt idx="293">
                  <c:v>Bouvet-Ladu</c:v>
                </c:pt>
                <c:pt idx="294">
                  <c:v>Nicolas</c:v>
                </c:pt>
                <c:pt idx="295">
                  <c:v>Moët &amp; Chan</c:v>
                </c:pt>
                <c:pt idx="296">
                  <c:v>Malard</c:v>
                </c:pt>
                <c:pt idx="297">
                  <c:v>All Others</c:v>
                </c:pt>
                <c:pt idx="298">
                  <c:v>Demoiselle</c:v>
                </c:pt>
                <c:pt idx="299">
                  <c:v>All Others</c:v>
                </c:pt>
                <c:pt idx="300">
                  <c:v>All Others</c:v>
                </c:pt>
                <c:pt idx="301">
                  <c:v>Besserat De</c:v>
                </c:pt>
                <c:pt idx="302">
                  <c:v>All Others</c:v>
                </c:pt>
                <c:pt idx="303">
                  <c:v>All Others</c:v>
                </c:pt>
              </c:strCache>
            </c:strRef>
          </c:cat>
          <c:val>
            <c:numRef>
              <c:f>Sheet1!$B$2:$B$305</c:f>
              <c:numCache>
                <c:formatCode>General</c:formatCode>
                <c:ptCount val="304"/>
                <c:pt idx="0">
                  <c:v>1</c:v>
                </c:pt>
                <c:pt idx="1">
                  <c:v>1</c:v>
                </c:pt>
                <c:pt idx="2">
                  <c:v>0.48</c:v>
                </c:pt>
                <c:pt idx="3">
                  <c:v>0.72</c:v>
                </c:pt>
                <c:pt idx="4">
                  <c:v>0.93</c:v>
                </c:pt>
                <c:pt idx="5">
                  <c:v>0.81</c:v>
                </c:pt>
                <c:pt idx="6">
                  <c:v>0.82</c:v>
                </c:pt>
                <c:pt idx="7">
                  <c:v>0.9</c:v>
                </c:pt>
                <c:pt idx="8">
                  <c:v>0.46</c:v>
                </c:pt>
                <c:pt idx="9">
                  <c:v>0.95</c:v>
                </c:pt>
                <c:pt idx="10">
                  <c:v>0.86</c:v>
                </c:pt>
                <c:pt idx="11">
                  <c:v>0.85</c:v>
                </c:pt>
                <c:pt idx="12">
                  <c:v>0.97</c:v>
                </c:pt>
                <c:pt idx="13">
                  <c:v>0.92</c:v>
                </c:pt>
                <c:pt idx="14">
                  <c:v>0.85</c:v>
                </c:pt>
                <c:pt idx="15">
                  <c:v>0.96</c:v>
                </c:pt>
                <c:pt idx="16">
                  <c:v>0.71</c:v>
                </c:pt>
                <c:pt idx="17">
                  <c:v>0.91</c:v>
                </c:pt>
                <c:pt idx="18">
                  <c:v>0.39</c:v>
                </c:pt>
                <c:pt idx="19">
                  <c:v>0.71</c:v>
                </c:pt>
                <c:pt idx="20">
                  <c:v>0.86</c:v>
                </c:pt>
                <c:pt idx="21">
                  <c:v>0.68</c:v>
                </c:pt>
                <c:pt idx="22">
                  <c:v>0.76</c:v>
                </c:pt>
                <c:pt idx="23">
                  <c:v>0.64</c:v>
                </c:pt>
                <c:pt idx="24">
                  <c:v>0.73</c:v>
                </c:pt>
                <c:pt idx="25">
                  <c:v>0.74</c:v>
                </c:pt>
                <c:pt idx="26">
                  <c:v>0.4</c:v>
                </c:pt>
                <c:pt idx="27">
                  <c:v>0.75</c:v>
                </c:pt>
                <c:pt idx="28">
                  <c:v>0.43</c:v>
                </c:pt>
                <c:pt idx="29">
                  <c:v>0.68</c:v>
                </c:pt>
                <c:pt idx="30">
                  <c:v>0.73</c:v>
                </c:pt>
                <c:pt idx="31">
                  <c:v>0.74</c:v>
                </c:pt>
                <c:pt idx="32">
                  <c:v>0.65</c:v>
                </c:pt>
                <c:pt idx="33">
                  <c:v>0.38</c:v>
                </c:pt>
                <c:pt idx="34">
                  <c:v>0.41</c:v>
                </c:pt>
                <c:pt idx="35">
                  <c:v>0.54</c:v>
                </c:pt>
                <c:pt idx="36">
                  <c:v>0.54</c:v>
                </c:pt>
                <c:pt idx="37">
                  <c:v>0.72</c:v>
                </c:pt>
                <c:pt idx="38">
                  <c:v>0.45</c:v>
                </c:pt>
                <c:pt idx="39">
                  <c:v>0.5</c:v>
                </c:pt>
                <c:pt idx="40">
                  <c:v>0.38</c:v>
                </c:pt>
                <c:pt idx="41">
                  <c:v>0.56999999999999995</c:v>
                </c:pt>
                <c:pt idx="42">
                  <c:v>0.56000000000000005</c:v>
                </c:pt>
                <c:pt idx="43">
                  <c:v>0.79</c:v>
                </c:pt>
                <c:pt idx="44">
                  <c:v>0.62</c:v>
                </c:pt>
                <c:pt idx="45">
                  <c:v>0.47</c:v>
                </c:pt>
                <c:pt idx="46">
                  <c:v>0.65</c:v>
                </c:pt>
                <c:pt idx="47">
                  <c:v>0.55000000000000004</c:v>
                </c:pt>
                <c:pt idx="48">
                  <c:v>0.59</c:v>
                </c:pt>
                <c:pt idx="49">
                  <c:v>0.37</c:v>
                </c:pt>
                <c:pt idx="50">
                  <c:v>0.7</c:v>
                </c:pt>
                <c:pt idx="51">
                  <c:v>0.7</c:v>
                </c:pt>
                <c:pt idx="52">
                  <c:v>0.55000000000000004</c:v>
                </c:pt>
                <c:pt idx="53">
                  <c:v>0.34</c:v>
                </c:pt>
                <c:pt idx="54">
                  <c:v>0.43</c:v>
                </c:pt>
                <c:pt idx="55">
                  <c:v>0.91</c:v>
                </c:pt>
                <c:pt idx="56">
                  <c:v>0.6</c:v>
                </c:pt>
                <c:pt idx="57">
                  <c:v>0.36</c:v>
                </c:pt>
                <c:pt idx="58">
                  <c:v>0.52</c:v>
                </c:pt>
                <c:pt idx="59">
                  <c:v>0.43</c:v>
                </c:pt>
                <c:pt idx="60">
                  <c:v>0.5</c:v>
                </c:pt>
                <c:pt idx="61">
                  <c:v>0.52</c:v>
                </c:pt>
                <c:pt idx="62">
                  <c:v>0.46</c:v>
                </c:pt>
                <c:pt idx="63">
                  <c:v>0.46</c:v>
                </c:pt>
                <c:pt idx="64">
                  <c:v>0.55000000000000004</c:v>
                </c:pt>
                <c:pt idx="65">
                  <c:v>0.28000000000000003</c:v>
                </c:pt>
                <c:pt idx="66">
                  <c:v>0.54</c:v>
                </c:pt>
                <c:pt idx="67">
                  <c:v>0.44</c:v>
                </c:pt>
                <c:pt idx="68">
                  <c:v>0.49</c:v>
                </c:pt>
                <c:pt idx="69">
                  <c:v>0.5</c:v>
                </c:pt>
                <c:pt idx="70">
                  <c:v>0.41</c:v>
                </c:pt>
                <c:pt idx="71">
                  <c:v>0.56000000000000005</c:v>
                </c:pt>
                <c:pt idx="72">
                  <c:v>0.48</c:v>
                </c:pt>
                <c:pt idx="73">
                  <c:v>0.56000000000000005</c:v>
                </c:pt>
                <c:pt idx="74">
                  <c:v>0.55000000000000004</c:v>
                </c:pt>
                <c:pt idx="75">
                  <c:v>0.43</c:v>
                </c:pt>
                <c:pt idx="76">
                  <c:v>0.51</c:v>
                </c:pt>
                <c:pt idx="77">
                  <c:v>0.48</c:v>
                </c:pt>
                <c:pt idx="78">
                  <c:v>0.56999999999999995</c:v>
                </c:pt>
                <c:pt idx="79">
                  <c:v>0.5</c:v>
                </c:pt>
                <c:pt idx="80">
                  <c:v>0.45</c:v>
                </c:pt>
                <c:pt idx="81">
                  <c:v>0.52</c:v>
                </c:pt>
                <c:pt idx="82">
                  <c:v>0.42</c:v>
                </c:pt>
                <c:pt idx="83">
                  <c:v>0.89</c:v>
                </c:pt>
                <c:pt idx="84">
                  <c:v>0.49</c:v>
                </c:pt>
                <c:pt idx="85">
                  <c:v>0.44</c:v>
                </c:pt>
                <c:pt idx="86">
                  <c:v>0.48</c:v>
                </c:pt>
                <c:pt idx="87">
                  <c:v>0.34</c:v>
                </c:pt>
                <c:pt idx="88">
                  <c:v>0.8</c:v>
                </c:pt>
                <c:pt idx="89">
                  <c:v>0.23</c:v>
                </c:pt>
                <c:pt idx="90">
                  <c:v>0.31</c:v>
                </c:pt>
                <c:pt idx="91">
                  <c:v>0.5</c:v>
                </c:pt>
                <c:pt idx="92">
                  <c:v>0.44</c:v>
                </c:pt>
                <c:pt idx="93">
                  <c:v>0.33</c:v>
                </c:pt>
                <c:pt idx="94">
                  <c:v>0.24</c:v>
                </c:pt>
                <c:pt idx="95">
                  <c:v>0.34</c:v>
                </c:pt>
                <c:pt idx="96">
                  <c:v>0.61</c:v>
                </c:pt>
                <c:pt idx="97">
                  <c:v>0.38</c:v>
                </c:pt>
                <c:pt idx="98">
                  <c:v>0.22</c:v>
                </c:pt>
                <c:pt idx="99">
                  <c:v>0.36</c:v>
                </c:pt>
                <c:pt idx="100">
                  <c:v>0.31</c:v>
                </c:pt>
                <c:pt idx="101">
                  <c:v>0.75</c:v>
                </c:pt>
                <c:pt idx="102">
                  <c:v>0.22</c:v>
                </c:pt>
                <c:pt idx="103">
                  <c:v>0.45</c:v>
                </c:pt>
                <c:pt idx="104">
                  <c:v>0.46</c:v>
                </c:pt>
                <c:pt idx="105">
                  <c:v>0.28000000000000003</c:v>
                </c:pt>
                <c:pt idx="106">
                  <c:v>0.47</c:v>
                </c:pt>
                <c:pt idx="107">
                  <c:v>0.38</c:v>
                </c:pt>
                <c:pt idx="108">
                  <c:v>0.48</c:v>
                </c:pt>
                <c:pt idx="109">
                  <c:v>0.44</c:v>
                </c:pt>
                <c:pt idx="110">
                  <c:v>0.43</c:v>
                </c:pt>
                <c:pt idx="111">
                  <c:v>0.56999999999999995</c:v>
                </c:pt>
                <c:pt idx="112">
                  <c:v>0.23</c:v>
                </c:pt>
                <c:pt idx="113">
                  <c:v>0.35</c:v>
                </c:pt>
                <c:pt idx="114">
                  <c:v>0.55000000000000004</c:v>
                </c:pt>
                <c:pt idx="115">
                  <c:v>0.45</c:v>
                </c:pt>
                <c:pt idx="116">
                  <c:v>0.32</c:v>
                </c:pt>
                <c:pt idx="117">
                  <c:v>0.31</c:v>
                </c:pt>
                <c:pt idx="118">
                  <c:v>0.33</c:v>
                </c:pt>
                <c:pt idx="119">
                  <c:v>0.37</c:v>
                </c:pt>
                <c:pt idx="120">
                  <c:v>0.28000000000000003</c:v>
                </c:pt>
                <c:pt idx="121">
                  <c:v>0.52</c:v>
                </c:pt>
                <c:pt idx="122">
                  <c:v>0.2</c:v>
                </c:pt>
                <c:pt idx="123">
                  <c:v>0.19</c:v>
                </c:pt>
                <c:pt idx="124">
                  <c:v>0.38</c:v>
                </c:pt>
                <c:pt idx="125">
                  <c:v>0.56000000000000005</c:v>
                </c:pt>
                <c:pt idx="126">
                  <c:v>0.53</c:v>
                </c:pt>
                <c:pt idx="127">
                  <c:v>0.31</c:v>
                </c:pt>
                <c:pt idx="128">
                  <c:v>0.28000000000000003</c:v>
                </c:pt>
                <c:pt idx="129">
                  <c:v>0.27</c:v>
                </c:pt>
                <c:pt idx="130">
                  <c:v>0.42</c:v>
                </c:pt>
                <c:pt idx="131">
                  <c:v>0.39</c:v>
                </c:pt>
                <c:pt idx="132">
                  <c:v>0.32</c:v>
                </c:pt>
                <c:pt idx="133">
                  <c:v>0.22</c:v>
                </c:pt>
                <c:pt idx="134">
                  <c:v>0.59</c:v>
                </c:pt>
                <c:pt idx="135">
                  <c:v>0.19</c:v>
                </c:pt>
                <c:pt idx="136">
                  <c:v>0.41</c:v>
                </c:pt>
                <c:pt idx="137">
                  <c:v>0.27</c:v>
                </c:pt>
                <c:pt idx="138">
                  <c:v>0.41</c:v>
                </c:pt>
                <c:pt idx="139">
                  <c:v>0.28000000000000003</c:v>
                </c:pt>
                <c:pt idx="140">
                  <c:v>0.47</c:v>
                </c:pt>
                <c:pt idx="141">
                  <c:v>0.33</c:v>
                </c:pt>
                <c:pt idx="142">
                  <c:v>0.34</c:v>
                </c:pt>
                <c:pt idx="143">
                  <c:v>0.24</c:v>
                </c:pt>
                <c:pt idx="144">
                  <c:v>0.38</c:v>
                </c:pt>
                <c:pt idx="145">
                  <c:v>0.38</c:v>
                </c:pt>
                <c:pt idx="146">
                  <c:v>0.21</c:v>
                </c:pt>
                <c:pt idx="147">
                  <c:v>0.28000000000000003</c:v>
                </c:pt>
                <c:pt idx="148">
                  <c:v>0.32</c:v>
                </c:pt>
                <c:pt idx="149">
                  <c:v>0.5</c:v>
                </c:pt>
                <c:pt idx="150">
                  <c:v>0.56999999999999995</c:v>
                </c:pt>
                <c:pt idx="151">
                  <c:v>0.27</c:v>
                </c:pt>
                <c:pt idx="152">
                  <c:v>0.34</c:v>
                </c:pt>
                <c:pt idx="153">
                  <c:v>0.46</c:v>
                </c:pt>
                <c:pt idx="154">
                  <c:v>0.35</c:v>
                </c:pt>
                <c:pt idx="155">
                  <c:v>0.27</c:v>
                </c:pt>
                <c:pt idx="156">
                  <c:v>0.4</c:v>
                </c:pt>
                <c:pt idx="157">
                  <c:v>0.31</c:v>
                </c:pt>
                <c:pt idx="158">
                  <c:v>0.24</c:v>
                </c:pt>
                <c:pt idx="159">
                  <c:v>0.21</c:v>
                </c:pt>
                <c:pt idx="160">
                  <c:v>0.25</c:v>
                </c:pt>
                <c:pt idx="161">
                  <c:v>0.41</c:v>
                </c:pt>
                <c:pt idx="162">
                  <c:v>0.34</c:v>
                </c:pt>
                <c:pt idx="163">
                  <c:v>0.2</c:v>
                </c:pt>
                <c:pt idx="164">
                  <c:v>0.43</c:v>
                </c:pt>
                <c:pt idx="165">
                  <c:v>0.25</c:v>
                </c:pt>
                <c:pt idx="166">
                  <c:v>0.47</c:v>
                </c:pt>
                <c:pt idx="167">
                  <c:v>0.28000000000000003</c:v>
                </c:pt>
                <c:pt idx="168">
                  <c:v>0.22</c:v>
                </c:pt>
                <c:pt idx="169">
                  <c:v>0.2</c:v>
                </c:pt>
                <c:pt idx="170">
                  <c:v>0.32</c:v>
                </c:pt>
                <c:pt idx="171">
                  <c:v>0.77</c:v>
                </c:pt>
                <c:pt idx="172">
                  <c:v>0.34</c:v>
                </c:pt>
                <c:pt idx="173">
                  <c:v>0.35</c:v>
                </c:pt>
                <c:pt idx="174">
                  <c:v>0.27</c:v>
                </c:pt>
                <c:pt idx="175">
                  <c:v>0.38</c:v>
                </c:pt>
                <c:pt idx="176">
                  <c:v>0.28000000000000003</c:v>
                </c:pt>
                <c:pt idx="177">
                  <c:v>0.42</c:v>
                </c:pt>
                <c:pt idx="178">
                  <c:v>0.4</c:v>
                </c:pt>
                <c:pt idx="179">
                  <c:v>0.2</c:v>
                </c:pt>
                <c:pt idx="180">
                  <c:v>0.34</c:v>
                </c:pt>
                <c:pt idx="181">
                  <c:v>0.41</c:v>
                </c:pt>
                <c:pt idx="182">
                  <c:v>0.52</c:v>
                </c:pt>
                <c:pt idx="183">
                  <c:v>0.06</c:v>
                </c:pt>
                <c:pt idx="184">
                  <c:v>0.45</c:v>
                </c:pt>
                <c:pt idx="185">
                  <c:v>0.26</c:v>
                </c:pt>
                <c:pt idx="186">
                  <c:v>0.42</c:v>
                </c:pt>
                <c:pt idx="187">
                  <c:v>0.15</c:v>
                </c:pt>
                <c:pt idx="188">
                  <c:v>0.31</c:v>
                </c:pt>
                <c:pt idx="189">
                  <c:v>0.22</c:v>
                </c:pt>
                <c:pt idx="190">
                  <c:v>0.13</c:v>
                </c:pt>
                <c:pt idx="191">
                  <c:v>0.18</c:v>
                </c:pt>
                <c:pt idx="192">
                  <c:v>0.13</c:v>
                </c:pt>
                <c:pt idx="193">
                  <c:v>0.17</c:v>
                </c:pt>
                <c:pt idx="194">
                  <c:v>0.42</c:v>
                </c:pt>
                <c:pt idx="195">
                  <c:v>0.25</c:v>
                </c:pt>
                <c:pt idx="196">
                  <c:v>0.28000000000000003</c:v>
                </c:pt>
                <c:pt idx="197">
                  <c:v>0.32</c:v>
                </c:pt>
                <c:pt idx="198">
                  <c:v>0.24</c:v>
                </c:pt>
                <c:pt idx="199">
                  <c:v>0.25</c:v>
                </c:pt>
                <c:pt idx="200">
                  <c:v>0.1</c:v>
                </c:pt>
                <c:pt idx="201">
                  <c:v>0.3</c:v>
                </c:pt>
                <c:pt idx="202">
                  <c:v>0.12</c:v>
                </c:pt>
                <c:pt idx="203">
                  <c:v>0.34</c:v>
                </c:pt>
                <c:pt idx="204">
                  <c:v>0.22</c:v>
                </c:pt>
                <c:pt idx="205">
                  <c:v>0.38</c:v>
                </c:pt>
                <c:pt idx="206">
                  <c:v>0.39</c:v>
                </c:pt>
                <c:pt idx="207">
                  <c:v>0.1</c:v>
                </c:pt>
                <c:pt idx="208">
                  <c:v>0.36</c:v>
                </c:pt>
                <c:pt idx="209">
                  <c:v>0.16</c:v>
                </c:pt>
                <c:pt idx="210">
                  <c:v>0.1</c:v>
                </c:pt>
                <c:pt idx="211">
                  <c:v>0.23</c:v>
                </c:pt>
                <c:pt idx="212">
                  <c:v>0.11</c:v>
                </c:pt>
                <c:pt idx="213">
                  <c:v>0.24</c:v>
                </c:pt>
                <c:pt idx="214">
                  <c:v>0.1</c:v>
                </c:pt>
                <c:pt idx="215">
                  <c:v>0.31</c:v>
                </c:pt>
                <c:pt idx="216">
                  <c:v>0.33</c:v>
                </c:pt>
                <c:pt idx="217">
                  <c:v>0.32</c:v>
                </c:pt>
                <c:pt idx="218">
                  <c:v>0.06</c:v>
                </c:pt>
                <c:pt idx="219">
                  <c:v>0.2</c:v>
                </c:pt>
                <c:pt idx="220">
                  <c:v>0.28000000000000003</c:v>
                </c:pt>
                <c:pt idx="221">
                  <c:v>0.18</c:v>
                </c:pt>
                <c:pt idx="222">
                  <c:v>0.15</c:v>
                </c:pt>
                <c:pt idx="223">
                  <c:v>0.09</c:v>
                </c:pt>
                <c:pt idx="224">
                  <c:v>0.22</c:v>
                </c:pt>
                <c:pt idx="225">
                  <c:v>0.13</c:v>
                </c:pt>
                <c:pt idx="226">
                  <c:v>0.1</c:v>
                </c:pt>
                <c:pt idx="227">
                  <c:v>0.05</c:v>
                </c:pt>
                <c:pt idx="228">
                  <c:v>0.13</c:v>
                </c:pt>
                <c:pt idx="229">
                  <c:v>0.21</c:v>
                </c:pt>
                <c:pt idx="230">
                  <c:v>0.28000000000000003</c:v>
                </c:pt>
                <c:pt idx="231">
                  <c:v>0.03</c:v>
                </c:pt>
                <c:pt idx="232">
                  <c:v>0.06</c:v>
                </c:pt>
                <c:pt idx="233">
                  <c:v>0.12</c:v>
                </c:pt>
                <c:pt idx="234">
                  <c:v>0.09</c:v>
                </c:pt>
                <c:pt idx="235">
                  <c:v>0.09</c:v>
                </c:pt>
                <c:pt idx="236">
                  <c:v>0.11</c:v>
                </c:pt>
                <c:pt idx="237">
                  <c:v>0.23</c:v>
                </c:pt>
                <c:pt idx="238">
                  <c:v>7.0000000000000007E-2</c:v>
                </c:pt>
                <c:pt idx="239">
                  <c:v>0.15</c:v>
                </c:pt>
                <c:pt idx="240">
                  <c:v>0.12</c:v>
                </c:pt>
                <c:pt idx="241">
                  <c:v>0.06</c:v>
                </c:pt>
                <c:pt idx="242">
                  <c:v>0.11</c:v>
                </c:pt>
                <c:pt idx="243">
                  <c:v>0.21</c:v>
                </c:pt>
                <c:pt idx="244">
                  <c:v>0.09</c:v>
                </c:pt>
                <c:pt idx="245">
                  <c:v>0.24</c:v>
                </c:pt>
                <c:pt idx="246">
                  <c:v>0.08</c:v>
                </c:pt>
                <c:pt idx="247">
                  <c:v>0.14000000000000001</c:v>
                </c:pt>
                <c:pt idx="248">
                  <c:v>0.13</c:v>
                </c:pt>
                <c:pt idx="249">
                  <c:v>0.2</c:v>
                </c:pt>
                <c:pt idx="250">
                  <c:v>0.16</c:v>
                </c:pt>
                <c:pt idx="251">
                  <c:v>0.15</c:v>
                </c:pt>
                <c:pt idx="252">
                  <c:v>0.13</c:v>
                </c:pt>
                <c:pt idx="253">
                  <c:v>0.22</c:v>
                </c:pt>
                <c:pt idx="254">
                  <c:v>0.31</c:v>
                </c:pt>
                <c:pt idx="255">
                  <c:v>0.23</c:v>
                </c:pt>
                <c:pt idx="256">
                  <c:v>0.06</c:v>
                </c:pt>
                <c:pt idx="257">
                  <c:v>0.16</c:v>
                </c:pt>
                <c:pt idx="258">
                  <c:v>0.21</c:v>
                </c:pt>
                <c:pt idx="259">
                  <c:v>0.04</c:v>
                </c:pt>
                <c:pt idx="260">
                  <c:v>0.24</c:v>
                </c:pt>
                <c:pt idx="261">
                  <c:v>7.0000000000000007E-2</c:v>
                </c:pt>
                <c:pt idx="262">
                  <c:v>0.19</c:v>
                </c:pt>
                <c:pt idx="263">
                  <c:v>0.11</c:v>
                </c:pt>
                <c:pt idx="264">
                  <c:v>0.05</c:v>
                </c:pt>
                <c:pt idx="265">
                  <c:v>0.11</c:v>
                </c:pt>
                <c:pt idx="266">
                  <c:v>0.03</c:v>
                </c:pt>
                <c:pt idx="267">
                  <c:v>0.03</c:v>
                </c:pt>
                <c:pt idx="268">
                  <c:v>0.09</c:v>
                </c:pt>
                <c:pt idx="269">
                  <c:v>0.08</c:v>
                </c:pt>
                <c:pt idx="270">
                  <c:v>0.03</c:v>
                </c:pt>
                <c:pt idx="271">
                  <c:v>0.28000000000000003</c:v>
                </c:pt>
                <c:pt idx="272">
                  <c:v>0.04</c:v>
                </c:pt>
                <c:pt idx="273">
                  <c:v>0.02</c:v>
                </c:pt>
                <c:pt idx="274">
                  <c:v>0.25</c:v>
                </c:pt>
                <c:pt idx="275">
                  <c:v>0.05</c:v>
                </c:pt>
                <c:pt idx="276">
                  <c:v>0.1</c:v>
                </c:pt>
                <c:pt idx="277">
                  <c:v>0.04</c:v>
                </c:pt>
                <c:pt idx="278">
                  <c:v>0.04</c:v>
                </c:pt>
                <c:pt idx="279">
                  <c:v>0.08</c:v>
                </c:pt>
                <c:pt idx="280">
                  <c:v>0.13</c:v>
                </c:pt>
                <c:pt idx="281">
                  <c:v>0.03</c:v>
                </c:pt>
                <c:pt idx="282">
                  <c:v>0.22</c:v>
                </c:pt>
                <c:pt idx="283">
                  <c:v>0.03</c:v>
                </c:pt>
                <c:pt idx="284">
                  <c:v>0.05</c:v>
                </c:pt>
                <c:pt idx="285">
                  <c:v>0.03</c:v>
                </c:pt>
                <c:pt idx="286">
                  <c:v>0.02</c:v>
                </c:pt>
                <c:pt idx="287">
                  <c:v>0.08</c:v>
                </c:pt>
                <c:pt idx="288">
                  <c:v>0.04</c:v>
                </c:pt>
                <c:pt idx="289">
                  <c:v>0.04</c:v>
                </c:pt>
                <c:pt idx="290">
                  <c:v>0.28000000000000003</c:v>
                </c:pt>
                <c:pt idx="291">
                  <c:v>0.08</c:v>
                </c:pt>
                <c:pt idx="292">
                  <c:v>0.13</c:v>
                </c:pt>
                <c:pt idx="293">
                  <c:v>7.0000000000000007E-2</c:v>
                </c:pt>
                <c:pt idx="294">
                  <c:v>0.05</c:v>
                </c:pt>
                <c:pt idx="295">
                  <c:v>0.02</c:v>
                </c:pt>
                <c:pt idx="296">
                  <c:v>0.01</c:v>
                </c:pt>
                <c:pt idx="297">
                  <c:v>0.09</c:v>
                </c:pt>
                <c:pt idx="298">
                  <c:v>0.21</c:v>
                </c:pt>
                <c:pt idx="299">
                  <c:v>0.02</c:v>
                </c:pt>
                <c:pt idx="300">
                  <c:v>0.03</c:v>
                </c:pt>
                <c:pt idx="301">
                  <c:v>0.03</c:v>
                </c:pt>
                <c:pt idx="302">
                  <c:v>0.04</c:v>
                </c:pt>
                <c:pt idx="303">
                  <c:v>0.04</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7ECAC4"/>
              </a:solidFill>
            </c:spPr>
            <c:extLst>
              <c:ext xmlns:c16="http://schemas.microsoft.com/office/drawing/2014/chart" uri="{C3380CC4-5D6E-409C-BE32-E72D297353CC}">
                <c16:uniqueId val="{00000096-C76F-4230-900D-40618C09729F}"/>
              </c:ext>
            </c:extLst>
          </c:dPt>
          <c:dPt>
            <c:idx val="73"/>
            <c:invertIfNegative val="0"/>
            <c:bubble3D val="0"/>
            <c:spPr>
              <a:solidFill>
                <a:srgbClr val="7ECAC4"/>
              </a:solidFill>
            </c:spPr>
            <c:extLst>
              <c:ext xmlns:c16="http://schemas.microsoft.com/office/drawing/2014/chart" uri="{C3380CC4-5D6E-409C-BE32-E72D297353CC}">
                <c16:uniqueId val="{00000098-C76F-4230-900D-40618C09729F}"/>
              </c:ext>
            </c:extLst>
          </c:dPt>
          <c:dPt>
            <c:idx val="74"/>
            <c:invertIfNegative val="0"/>
            <c:bubble3D val="0"/>
            <c:spPr>
              <a:solidFill>
                <a:srgbClr val="7ECAC4"/>
              </a:solidFill>
            </c:spPr>
            <c:extLst>
              <c:ext xmlns:c16="http://schemas.microsoft.com/office/drawing/2014/chart" uri="{C3380CC4-5D6E-409C-BE32-E72D297353CC}">
                <c16:uniqueId val="{0000009A-C76F-4230-900D-40618C09729F}"/>
              </c:ext>
            </c:extLst>
          </c:dPt>
          <c:dPt>
            <c:idx val="75"/>
            <c:invertIfNegative val="0"/>
            <c:bubble3D val="0"/>
            <c:spPr>
              <a:solidFill>
                <a:srgbClr val="7ECAC4"/>
              </a:solidFill>
            </c:spPr>
            <c:extLst>
              <c:ext xmlns:c16="http://schemas.microsoft.com/office/drawing/2014/chart" uri="{C3380CC4-5D6E-409C-BE32-E72D297353CC}">
                <c16:uniqueId val="{0000009C-C76F-4230-900D-40618C09729F}"/>
              </c:ext>
            </c:extLst>
          </c:dPt>
          <c:dPt>
            <c:idx val="76"/>
            <c:invertIfNegative val="0"/>
            <c:bubble3D val="0"/>
            <c:spPr>
              <a:solidFill>
                <a:srgbClr val="7ECAC4"/>
              </a:solidFill>
            </c:spPr>
            <c:extLst>
              <c:ext xmlns:c16="http://schemas.microsoft.com/office/drawing/2014/chart" uri="{C3380CC4-5D6E-409C-BE32-E72D297353CC}">
                <c16:uniqueId val="{0000009E-C76F-4230-900D-40618C09729F}"/>
              </c:ext>
            </c:extLst>
          </c:dPt>
          <c:dPt>
            <c:idx val="77"/>
            <c:invertIfNegative val="0"/>
            <c:bubble3D val="0"/>
            <c:spPr>
              <a:solidFill>
                <a:srgbClr val="7ECAC4"/>
              </a:solidFill>
            </c:spPr>
            <c:extLst>
              <c:ext xmlns:c16="http://schemas.microsoft.com/office/drawing/2014/chart" uri="{C3380CC4-5D6E-409C-BE32-E72D297353CC}">
                <c16:uniqueId val="{000000A0-C76F-4230-900D-40618C09729F}"/>
              </c:ext>
            </c:extLst>
          </c:dPt>
          <c:dPt>
            <c:idx val="78"/>
            <c:invertIfNegative val="0"/>
            <c:bubble3D val="0"/>
            <c:spPr>
              <a:solidFill>
                <a:srgbClr val="7ECAC4"/>
              </a:solidFill>
            </c:spPr>
            <c:extLst>
              <c:ext xmlns:c16="http://schemas.microsoft.com/office/drawing/2014/chart" uri="{C3380CC4-5D6E-409C-BE32-E72D297353CC}">
                <c16:uniqueId val="{000000A2-C76F-4230-900D-40618C09729F}"/>
              </c:ext>
            </c:extLst>
          </c:dPt>
          <c:dPt>
            <c:idx val="79"/>
            <c:invertIfNegative val="0"/>
            <c:bubble3D val="0"/>
            <c:spPr>
              <a:solidFill>
                <a:srgbClr val="7ECAC4"/>
              </a:solidFill>
            </c:spPr>
            <c:extLst>
              <c:ext xmlns:c16="http://schemas.microsoft.com/office/drawing/2014/chart" uri="{C3380CC4-5D6E-409C-BE32-E72D297353CC}">
                <c16:uniqueId val="{000000A4-C76F-4230-900D-40618C09729F}"/>
              </c:ext>
            </c:extLst>
          </c:dPt>
          <c:dPt>
            <c:idx val="80"/>
            <c:invertIfNegative val="0"/>
            <c:bubble3D val="0"/>
            <c:spPr>
              <a:solidFill>
                <a:srgbClr val="7ECAC4"/>
              </a:solidFill>
            </c:spPr>
            <c:extLst>
              <c:ext xmlns:c16="http://schemas.microsoft.com/office/drawing/2014/chart" uri="{C3380CC4-5D6E-409C-BE32-E72D297353CC}">
                <c16:uniqueId val="{000000A6-C76F-4230-900D-40618C09729F}"/>
              </c:ext>
            </c:extLst>
          </c:dPt>
          <c:dPt>
            <c:idx val="81"/>
            <c:invertIfNegative val="1"/>
            <c:bubble3D val="0"/>
            <c:spPr>
              <a:solidFill>
                <a:srgbClr val="7ECAC4"/>
              </a:solidFill>
            </c:spPr>
            <c:extLst>
              <c:ext xmlns:c16="http://schemas.microsoft.com/office/drawing/2014/chart" uri="{C3380CC4-5D6E-409C-BE32-E72D297353CC}">
                <c16:uniqueId val="{000000A5-2993-41DE-A2CB-63102DE87051}"/>
              </c:ext>
            </c:extLst>
          </c:dPt>
          <c:dPt>
            <c:idx val="82"/>
            <c:invertIfNegative val="1"/>
            <c:bubble3D val="0"/>
            <c:spPr>
              <a:solidFill>
                <a:srgbClr val="7ECAC4"/>
              </a:solidFill>
            </c:spPr>
            <c:extLst>
              <c:ext xmlns:c16="http://schemas.microsoft.com/office/drawing/2014/chart" uri="{C3380CC4-5D6E-409C-BE32-E72D297353CC}">
                <c16:uniqueId val="{000000A7-2993-41DE-A2CB-63102DE87051}"/>
              </c:ext>
            </c:extLst>
          </c:dPt>
          <c:dPt>
            <c:idx val="83"/>
            <c:invertIfNegative val="1"/>
            <c:bubble3D val="0"/>
            <c:spPr>
              <a:solidFill>
                <a:srgbClr val="7ECAC4"/>
              </a:solidFill>
            </c:spPr>
            <c:extLst>
              <c:ext xmlns:c16="http://schemas.microsoft.com/office/drawing/2014/chart" uri="{C3380CC4-5D6E-409C-BE32-E72D297353CC}">
                <c16:uniqueId val="{000000A9-2993-41DE-A2CB-63102DE87051}"/>
              </c:ext>
            </c:extLst>
          </c:dPt>
          <c:dPt>
            <c:idx val="84"/>
            <c:invertIfNegative val="1"/>
            <c:bubble3D val="0"/>
            <c:spPr>
              <a:solidFill>
                <a:srgbClr val="7ECAC4"/>
              </a:solidFill>
            </c:spPr>
            <c:extLst>
              <c:ext xmlns:c16="http://schemas.microsoft.com/office/drawing/2014/chart" uri="{C3380CC4-5D6E-409C-BE32-E72D297353CC}">
                <c16:uniqueId val="{000000AB-2993-41DE-A2CB-63102DE87051}"/>
              </c:ext>
            </c:extLst>
          </c:dPt>
          <c:dPt>
            <c:idx val="85"/>
            <c:invertIfNegative val="1"/>
            <c:bubble3D val="0"/>
            <c:spPr>
              <a:solidFill>
                <a:srgbClr val="7ECAC4"/>
              </a:solidFill>
            </c:spPr>
            <c:extLst>
              <c:ext xmlns:c16="http://schemas.microsoft.com/office/drawing/2014/chart" uri="{C3380CC4-5D6E-409C-BE32-E72D297353CC}">
                <c16:uniqueId val="{000000AD-2993-41DE-A2CB-63102DE87051}"/>
              </c:ext>
            </c:extLst>
          </c:dPt>
          <c:dPt>
            <c:idx val="86"/>
            <c:invertIfNegative val="1"/>
            <c:bubble3D val="0"/>
            <c:spPr>
              <a:solidFill>
                <a:srgbClr val="7ECAC4"/>
              </a:solidFill>
            </c:spPr>
            <c:extLst>
              <c:ext xmlns:c16="http://schemas.microsoft.com/office/drawing/2014/chart" uri="{C3380CC4-5D6E-409C-BE32-E72D297353CC}">
                <c16:uniqueId val="{000000AF-2993-41DE-A2CB-63102DE87051}"/>
              </c:ext>
            </c:extLst>
          </c:dPt>
          <c:dPt>
            <c:idx val="87"/>
            <c:invertIfNegative val="1"/>
            <c:bubble3D val="0"/>
            <c:spPr>
              <a:solidFill>
                <a:srgbClr val="7ECAC4"/>
              </a:solidFill>
            </c:spPr>
            <c:extLst>
              <c:ext xmlns:c16="http://schemas.microsoft.com/office/drawing/2014/chart" uri="{C3380CC4-5D6E-409C-BE32-E72D297353CC}">
                <c16:uniqueId val="{000000B1-2993-41DE-A2CB-63102DE87051}"/>
              </c:ext>
            </c:extLst>
          </c:dPt>
          <c:dPt>
            <c:idx val="88"/>
            <c:invertIfNegative val="1"/>
            <c:bubble3D val="0"/>
            <c:spPr>
              <a:solidFill>
                <a:srgbClr val="7ECAC4"/>
              </a:solidFill>
            </c:spPr>
            <c:extLst>
              <c:ext xmlns:c16="http://schemas.microsoft.com/office/drawing/2014/chart" uri="{C3380CC4-5D6E-409C-BE32-E72D297353CC}">
                <c16:uniqueId val="{000000B3-2993-41DE-A2CB-63102DE87051}"/>
              </c:ext>
            </c:extLst>
          </c:dPt>
          <c:dPt>
            <c:idx val="89"/>
            <c:invertIfNegative val="1"/>
            <c:bubble3D val="0"/>
            <c:spPr>
              <a:solidFill>
                <a:srgbClr val="7ECAC4"/>
              </a:solidFill>
            </c:spPr>
            <c:extLst>
              <c:ext xmlns:c16="http://schemas.microsoft.com/office/drawing/2014/chart" uri="{C3380CC4-5D6E-409C-BE32-E72D297353CC}">
                <c16:uniqueId val="{000000B5-2993-41DE-A2CB-63102DE87051}"/>
              </c:ext>
            </c:extLst>
          </c:dPt>
          <c:dPt>
            <c:idx val="90"/>
            <c:invertIfNegative val="1"/>
            <c:bubble3D val="0"/>
            <c:spPr>
              <a:solidFill>
                <a:srgbClr val="7ECAC4"/>
              </a:solidFill>
            </c:spPr>
            <c:extLst>
              <c:ext xmlns:c16="http://schemas.microsoft.com/office/drawing/2014/chart" uri="{C3380CC4-5D6E-409C-BE32-E72D297353CC}">
                <c16:uniqueId val="{000000B7-2993-41DE-A2CB-63102DE87051}"/>
              </c:ext>
            </c:extLst>
          </c:dPt>
          <c:dPt>
            <c:idx val="91"/>
            <c:invertIfNegative val="1"/>
            <c:bubble3D val="0"/>
            <c:spPr>
              <a:solidFill>
                <a:srgbClr val="7ECAC4"/>
              </a:solidFill>
            </c:spPr>
            <c:extLst>
              <c:ext xmlns:c16="http://schemas.microsoft.com/office/drawing/2014/chart" uri="{C3380CC4-5D6E-409C-BE32-E72D297353CC}">
                <c16:uniqueId val="{000000B9-2993-41DE-A2CB-63102DE87051}"/>
              </c:ext>
            </c:extLst>
          </c:dPt>
          <c:dPt>
            <c:idx val="92"/>
            <c:invertIfNegative val="1"/>
            <c:bubble3D val="0"/>
            <c:spPr>
              <a:solidFill>
                <a:srgbClr val="7ECAC4"/>
              </a:solidFill>
            </c:spPr>
            <c:extLst>
              <c:ext xmlns:c16="http://schemas.microsoft.com/office/drawing/2014/chart" uri="{C3380CC4-5D6E-409C-BE32-E72D297353CC}">
                <c16:uniqueId val="{000000BB-2993-41DE-A2CB-63102DE87051}"/>
              </c:ext>
            </c:extLst>
          </c:dPt>
          <c:dPt>
            <c:idx val="93"/>
            <c:invertIfNegative val="1"/>
            <c:bubble3D val="0"/>
            <c:spPr>
              <a:solidFill>
                <a:srgbClr val="7ECAC4"/>
              </a:solidFill>
            </c:spPr>
            <c:extLst>
              <c:ext xmlns:c16="http://schemas.microsoft.com/office/drawing/2014/chart" uri="{C3380CC4-5D6E-409C-BE32-E72D297353CC}">
                <c16:uniqueId val="{000000BD-2993-41DE-A2CB-63102DE87051}"/>
              </c:ext>
            </c:extLst>
          </c:dPt>
          <c:dPt>
            <c:idx val="94"/>
            <c:invertIfNegative val="1"/>
            <c:bubble3D val="0"/>
            <c:spPr>
              <a:solidFill>
                <a:srgbClr val="7ECAC4"/>
              </a:solidFill>
            </c:spPr>
            <c:extLst>
              <c:ext xmlns:c16="http://schemas.microsoft.com/office/drawing/2014/chart" uri="{C3380CC4-5D6E-409C-BE32-E72D297353CC}">
                <c16:uniqueId val="{000000BF-2993-41DE-A2CB-63102DE87051}"/>
              </c:ext>
            </c:extLst>
          </c:dPt>
          <c:dPt>
            <c:idx val="95"/>
            <c:invertIfNegative val="1"/>
            <c:bubble3D val="0"/>
            <c:spPr>
              <a:solidFill>
                <a:srgbClr val="7ECAC4"/>
              </a:solidFill>
            </c:spPr>
            <c:extLst>
              <c:ext xmlns:c16="http://schemas.microsoft.com/office/drawing/2014/chart" uri="{C3380CC4-5D6E-409C-BE32-E72D297353CC}">
                <c16:uniqueId val="{000000C1-2993-41DE-A2CB-63102DE87051}"/>
              </c:ext>
            </c:extLst>
          </c:dPt>
          <c:dPt>
            <c:idx val="96"/>
            <c:invertIfNegative val="1"/>
            <c:bubble3D val="0"/>
            <c:spPr>
              <a:solidFill>
                <a:srgbClr val="7ECAC4"/>
              </a:solidFill>
            </c:spPr>
            <c:extLst>
              <c:ext xmlns:c16="http://schemas.microsoft.com/office/drawing/2014/chart" uri="{C3380CC4-5D6E-409C-BE32-E72D297353CC}">
                <c16:uniqueId val="{000000C3-2993-41DE-A2CB-63102DE87051}"/>
              </c:ext>
            </c:extLst>
          </c:dPt>
          <c:dPt>
            <c:idx val="97"/>
            <c:invertIfNegative val="1"/>
            <c:bubble3D val="0"/>
            <c:spPr>
              <a:solidFill>
                <a:srgbClr val="7ECAC4"/>
              </a:solidFill>
            </c:spPr>
            <c:extLst>
              <c:ext xmlns:c16="http://schemas.microsoft.com/office/drawing/2014/chart" uri="{C3380CC4-5D6E-409C-BE32-E72D297353CC}">
                <c16:uniqueId val="{000000C5-2993-41DE-A2CB-63102DE87051}"/>
              </c:ext>
            </c:extLst>
          </c:dPt>
          <c:dPt>
            <c:idx val="98"/>
            <c:invertIfNegative val="1"/>
            <c:bubble3D val="0"/>
            <c:spPr>
              <a:solidFill>
                <a:srgbClr val="7ECAC4"/>
              </a:solidFill>
            </c:spPr>
            <c:extLst>
              <c:ext xmlns:c16="http://schemas.microsoft.com/office/drawing/2014/chart" uri="{C3380CC4-5D6E-409C-BE32-E72D297353CC}">
                <c16:uniqueId val="{000000C7-2993-41DE-A2CB-63102DE87051}"/>
              </c:ext>
            </c:extLst>
          </c:dPt>
          <c:dPt>
            <c:idx val="99"/>
            <c:invertIfNegative val="1"/>
            <c:bubble3D val="0"/>
            <c:spPr>
              <a:solidFill>
                <a:srgbClr val="7ECAC4"/>
              </a:solidFill>
            </c:spPr>
            <c:extLst>
              <c:ext xmlns:c16="http://schemas.microsoft.com/office/drawing/2014/chart" uri="{C3380CC4-5D6E-409C-BE32-E72D297353CC}">
                <c16:uniqueId val="{000000C9-2993-41DE-A2CB-63102DE87051}"/>
              </c:ext>
            </c:extLst>
          </c:dPt>
          <c:dPt>
            <c:idx val="100"/>
            <c:invertIfNegative val="1"/>
            <c:bubble3D val="0"/>
            <c:spPr>
              <a:solidFill>
                <a:srgbClr val="7ECAC4"/>
              </a:solidFill>
            </c:spPr>
            <c:extLst>
              <c:ext xmlns:c16="http://schemas.microsoft.com/office/drawing/2014/chart" uri="{C3380CC4-5D6E-409C-BE32-E72D297353CC}">
                <c16:uniqueId val="{000000CB-2993-41DE-A2CB-63102DE87051}"/>
              </c:ext>
            </c:extLst>
          </c:dPt>
          <c:dPt>
            <c:idx val="101"/>
            <c:invertIfNegative val="1"/>
            <c:bubble3D val="0"/>
            <c:spPr>
              <a:solidFill>
                <a:srgbClr val="7ECAC4"/>
              </a:solidFill>
            </c:spPr>
            <c:extLst>
              <c:ext xmlns:c16="http://schemas.microsoft.com/office/drawing/2014/chart" uri="{C3380CC4-5D6E-409C-BE32-E72D297353CC}">
                <c16:uniqueId val="{000000CD-2993-41DE-A2CB-63102DE87051}"/>
              </c:ext>
            </c:extLst>
          </c:dPt>
          <c:dPt>
            <c:idx val="102"/>
            <c:invertIfNegative val="1"/>
            <c:bubble3D val="0"/>
            <c:spPr>
              <a:solidFill>
                <a:srgbClr val="7ECAC4"/>
              </a:solidFill>
            </c:spPr>
            <c:extLst>
              <c:ext xmlns:c16="http://schemas.microsoft.com/office/drawing/2014/chart" uri="{C3380CC4-5D6E-409C-BE32-E72D297353CC}">
                <c16:uniqueId val="{000000CF-2993-41DE-A2CB-63102DE87051}"/>
              </c:ext>
            </c:extLst>
          </c:dPt>
          <c:dPt>
            <c:idx val="103"/>
            <c:invertIfNegative val="1"/>
            <c:bubble3D val="0"/>
            <c:spPr>
              <a:solidFill>
                <a:srgbClr val="7ECAC4"/>
              </a:solidFill>
            </c:spPr>
            <c:extLst>
              <c:ext xmlns:c16="http://schemas.microsoft.com/office/drawing/2014/chart" uri="{C3380CC4-5D6E-409C-BE32-E72D297353CC}">
                <c16:uniqueId val="{000000D1-2993-41DE-A2CB-63102DE87051}"/>
              </c:ext>
            </c:extLst>
          </c:dPt>
          <c:dPt>
            <c:idx val="104"/>
            <c:invertIfNegative val="1"/>
            <c:bubble3D val="0"/>
            <c:spPr>
              <a:solidFill>
                <a:srgbClr val="7ECAC4"/>
              </a:solidFill>
            </c:spPr>
            <c:extLst>
              <c:ext xmlns:c16="http://schemas.microsoft.com/office/drawing/2014/chart" uri="{C3380CC4-5D6E-409C-BE32-E72D297353CC}">
                <c16:uniqueId val="{000000D3-2993-41DE-A2CB-63102DE87051}"/>
              </c:ext>
            </c:extLst>
          </c:dPt>
          <c:dPt>
            <c:idx val="105"/>
            <c:invertIfNegative val="1"/>
            <c:bubble3D val="0"/>
            <c:spPr>
              <a:solidFill>
                <a:srgbClr val="7ECAC4"/>
              </a:solidFill>
            </c:spPr>
            <c:extLst>
              <c:ext xmlns:c16="http://schemas.microsoft.com/office/drawing/2014/chart" uri="{C3380CC4-5D6E-409C-BE32-E72D297353CC}">
                <c16:uniqueId val="{000000D5-2993-41DE-A2CB-63102DE87051}"/>
              </c:ext>
            </c:extLst>
          </c:dPt>
          <c:dPt>
            <c:idx val="106"/>
            <c:invertIfNegative val="1"/>
            <c:bubble3D val="0"/>
            <c:spPr>
              <a:solidFill>
                <a:srgbClr val="7ECAC4"/>
              </a:solidFill>
            </c:spPr>
            <c:extLst>
              <c:ext xmlns:c16="http://schemas.microsoft.com/office/drawing/2014/chart" uri="{C3380CC4-5D6E-409C-BE32-E72D297353CC}">
                <c16:uniqueId val="{000000D7-2993-41DE-A2CB-63102DE87051}"/>
              </c:ext>
            </c:extLst>
          </c:dPt>
          <c:dPt>
            <c:idx val="107"/>
            <c:invertIfNegative val="1"/>
            <c:bubble3D val="0"/>
            <c:spPr>
              <a:solidFill>
                <a:srgbClr val="7ECAC4"/>
              </a:solidFill>
            </c:spPr>
            <c:extLst>
              <c:ext xmlns:c16="http://schemas.microsoft.com/office/drawing/2014/chart" uri="{C3380CC4-5D6E-409C-BE32-E72D297353CC}">
                <c16:uniqueId val="{000000D9-2993-41DE-A2CB-63102DE87051}"/>
              </c:ext>
            </c:extLst>
          </c:dPt>
          <c:dPt>
            <c:idx val="108"/>
            <c:invertIfNegative val="1"/>
            <c:bubble3D val="0"/>
            <c:spPr>
              <a:solidFill>
                <a:srgbClr val="7ECAC4"/>
              </a:solidFill>
            </c:spPr>
            <c:extLst>
              <c:ext xmlns:c16="http://schemas.microsoft.com/office/drawing/2014/chart" uri="{C3380CC4-5D6E-409C-BE32-E72D297353CC}">
                <c16:uniqueId val="{000000DB-2993-41DE-A2CB-63102DE87051}"/>
              </c:ext>
            </c:extLst>
          </c:dPt>
          <c:dPt>
            <c:idx val="109"/>
            <c:invertIfNegative val="1"/>
            <c:bubble3D val="0"/>
            <c:spPr>
              <a:solidFill>
                <a:srgbClr val="7ECAC4"/>
              </a:solidFill>
            </c:spPr>
            <c:extLst>
              <c:ext xmlns:c16="http://schemas.microsoft.com/office/drawing/2014/chart" uri="{C3380CC4-5D6E-409C-BE32-E72D297353CC}">
                <c16:uniqueId val="{000000DD-2993-41DE-A2CB-63102DE87051}"/>
              </c:ext>
            </c:extLst>
          </c:dPt>
          <c:dPt>
            <c:idx val="110"/>
            <c:invertIfNegative val="1"/>
            <c:bubble3D val="0"/>
            <c:spPr>
              <a:solidFill>
                <a:srgbClr val="7ECAC4"/>
              </a:solidFill>
            </c:spPr>
            <c:extLst>
              <c:ext xmlns:c16="http://schemas.microsoft.com/office/drawing/2014/chart" uri="{C3380CC4-5D6E-409C-BE32-E72D297353CC}">
                <c16:uniqueId val="{000000DF-2993-41DE-A2CB-63102DE87051}"/>
              </c:ext>
            </c:extLst>
          </c:dPt>
          <c:dPt>
            <c:idx val="111"/>
            <c:invertIfNegative val="1"/>
            <c:bubble3D val="0"/>
            <c:spPr>
              <a:solidFill>
                <a:srgbClr val="7ECAC4"/>
              </a:solidFill>
            </c:spPr>
            <c:extLst>
              <c:ext xmlns:c16="http://schemas.microsoft.com/office/drawing/2014/chart" uri="{C3380CC4-5D6E-409C-BE32-E72D297353CC}">
                <c16:uniqueId val="{000000E1-2993-41DE-A2CB-63102DE87051}"/>
              </c:ext>
            </c:extLst>
          </c:dPt>
          <c:dPt>
            <c:idx val="112"/>
            <c:invertIfNegative val="1"/>
            <c:bubble3D val="0"/>
            <c:spPr>
              <a:solidFill>
                <a:srgbClr val="7ECAC4"/>
              </a:solidFill>
            </c:spPr>
            <c:extLst>
              <c:ext xmlns:c16="http://schemas.microsoft.com/office/drawing/2014/chart" uri="{C3380CC4-5D6E-409C-BE32-E72D297353CC}">
                <c16:uniqueId val="{000000E3-2993-41DE-A2CB-63102DE87051}"/>
              </c:ext>
            </c:extLst>
          </c:dPt>
          <c:dPt>
            <c:idx val="113"/>
            <c:invertIfNegative val="1"/>
            <c:bubble3D val="0"/>
            <c:spPr>
              <a:solidFill>
                <a:srgbClr val="7ECAC4"/>
              </a:solidFill>
            </c:spPr>
            <c:extLst>
              <c:ext xmlns:c16="http://schemas.microsoft.com/office/drawing/2014/chart" uri="{C3380CC4-5D6E-409C-BE32-E72D297353CC}">
                <c16:uniqueId val="{000000E5-2993-41DE-A2CB-63102DE87051}"/>
              </c:ext>
            </c:extLst>
          </c:dPt>
          <c:dPt>
            <c:idx val="114"/>
            <c:invertIfNegative val="1"/>
            <c:bubble3D val="0"/>
            <c:spPr>
              <a:solidFill>
                <a:srgbClr val="7ECAC4"/>
              </a:solidFill>
            </c:spPr>
            <c:extLst>
              <c:ext xmlns:c16="http://schemas.microsoft.com/office/drawing/2014/chart" uri="{C3380CC4-5D6E-409C-BE32-E72D297353CC}">
                <c16:uniqueId val="{000000E7-2993-41DE-A2CB-63102DE87051}"/>
              </c:ext>
            </c:extLst>
          </c:dPt>
          <c:dPt>
            <c:idx val="115"/>
            <c:invertIfNegative val="1"/>
            <c:bubble3D val="0"/>
            <c:spPr>
              <a:solidFill>
                <a:srgbClr val="7ECAC4"/>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AEABAB"/>
              </a:solidFill>
            </c:spPr>
            <c:extLst>
              <c:ext xmlns:c16="http://schemas.microsoft.com/office/drawing/2014/chart" uri="{C3380CC4-5D6E-409C-BE32-E72D297353CC}">
                <c16:uniqueId val="{00000133-2993-41DE-A2CB-63102DE87051}"/>
              </c:ext>
            </c:extLst>
          </c:dPt>
          <c:dPt>
            <c:idx val="153"/>
            <c:invertIfNegative val="1"/>
            <c:bubble3D val="0"/>
            <c:spPr>
              <a:solidFill>
                <a:srgbClr val="AEABAB"/>
              </a:solidFill>
            </c:spPr>
            <c:extLst>
              <c:ext xmlns:c16="http://schemas.microsoft.com/office/drawing/2014/chart" uri="{C3380CC4-5D6E-409C-BE32-E72D297353CC}">
                <c16:uniqueId val="{00000135-2993-41DE-A2CB-63102DE87051}"/>
              </c:ext>
            </c:extLst>
          </c:dPt>
          <c:dPt>
            <c:idx val="154"/>
            <c:invertIfNegative val="1"/>
            <c:bubble3D val="0"/>
            <c:spPr>
              <a:solidFill>
                <a:srgbClr val="AEABAB"/>
              </a:solidFill>
            </c:spPr>
            <c:extLst>
              <c:ext xmlns:c16="http://schemas.microsoft.com/office/drawing/2014/chart" uri="{C3380CC4-5D6E-409C-BE32-E72D297353CC}">
                <c16:uniqueId val="{00000137-2993-41DE-A2CB-63102DE87051}"/>
              </c:ext>
            </c:extLst>
          </c:dPt>
          <c:dPt>
            <c:idx val="155"/>
            <c:invertIfNegative val="1"/>
            <c:bubble3D val="0"/>
            <c:spPr>
              <a:solidFill>
                <a:srgbClr val="AEABAB"/>
              </a:solidFill>
            </c:spPr>
            <c:extLst>
              <c:ext xmlns:c16="http://schemas.microsoft.com/office/drawing/2014/chart" uri="{C3380CC4-5D6E-409C-BE32-E72D297353CC}">
                <c16:uniqueId val="{00000139-2993-41DE-A2CB-63102DE87051}"/>
              </c:ext>
            </c:extLst>
          </c:dPt>
          <c:dPt>
            <c:idx val="156"/>
            <c:invertIfNegative val="1"/>
            <c:bubble3D val="0"/>
            <c:spPr>
              <a:solidFill>
                <a:srgbClr val="AEABAB"/>
              </a:solidFill>
            </c:spPr>
            <c:extLst>
              <c:ext xmlns:c16="http://schemas.microsoft.com/office/drawing/2014/chart" uri="{C3380CC4-5D6E-409C-BE32-E72D297353CC}">
                <c16:uniqueId val="{0000013B-2993-41DE-A2CB-63102DE87051}"/>
              </c:ext>
            </c:extLst>
          </c:dPt>
          <c:dPt>
            <c:idx val="157"/>
            <c:invertIfNegative val="1"/>
            <c:bubble3D val="0"/>
            <c:spPr>
              <a:solidFill>
                <a:srgbClr val="AEABAB"/>
              </a:solidFill>
            </c:spPr>
            <c:extLst>
              <c:ext xmlns:c16="http://schemas.microsoft.com/office/drawing/2014/chart" uri="{C3380CC4-5D6E-409C-BE32-E72D297353CC}">
                <c16:uniqueId val="{0000013D-2993-41DE-A2CB-63102DE87051}"/>
              </c:ext>
            </c:extLst>
          </c:dPt>
          <c:dPt>
            <c:idx val="158"/>
            <c:invertIfNegative val="1"/>
            <c:bubble3D val="0"/>
            <c:spPr>
              <a:solidFill>
                <a:srgbClr val="AEABAB"/>
              </a:solidFill>
            </c:spPr>
            <c:extLst>
              <c:ext xmlns:c16="http://schemas.microsoft.com/office/drawing/2014/chart" uri="{C3380CC4-5D6E-409C-BE32-E72D297353CC}">
                <c16:uniqueId val="{0000013F-2993-41DE-A2CB-63102DE87051}"/>
              </c:ext>
            </c:extLst>
          </c:dPt>
          <c:dPt>
            <c:idx val="159"/>
            <c:invertIfNegative val="1"/>
            <c:bubble3D val="0"/>
            <c:spPr>
              <a:solidFill>
                <a:srgbClr val="AEABAB"/>
              </a:solidFill>
            </c:spPr>
            <c:extLst>
              <c:ext xmlns:c16="http://schemas.microsoft.com/office/drawing/2014/chart" uri="{C3380CC4-5D6E-409C-BE32-E72D297353CC}">
                <c16:uniqueId val="{00000141-2993-41DE-A2CB-63102DE87051}"/>
              </c:ext>
            </c:extLst>
          </c:dPt>
          <c:dPt>
            <c:idx val="160"/>
            <c:invertIfNegative val="1"/>
            <c:bubble3D val="0"/>
            <c:spPr>
              <a:solidFill>
                <a:srgbClr val="AEABAB"/>
              </a:solidFill>
            </c:spPr>
            <c:extLst>
              <c:ext xmlns:c16="http://schemas.microsoft.com/office/drawing/2014/chart" uri="{C3380CC4-5D6E-409C-BE32-E72D297353CC}">
                <c16:uniqueId val="{00000143-2993-41DE-A2CB-63102DE87051}"/>
              </c:ext>
            </c:extLst>
          </c:dPt>
          <c:dPt>
            <c:idx val="161"/>
            <c:invertIfNegative val="1"/>
            <c:bubble3D val="0"/>
            <c:spPr>
              <a:solidFill>
                <a:srgbClr val="AEABAB"/>
              </a:solidFill>
            </c:spPr>
            <c:extLst>
              <c:ext xmlns:c16="http://schemas.microsoft.com/office/drawing/2014/chart" uri="{C3380CC4-5D6E-409C-BE32-E72D297353CC}">
                <c16:uniqueId val="{00000145-2993-41DE-A2CB-63102DE87051}"/>
              </c:ext>
            </c:extLst>
          </c:dPt>
          <c:dPt>
            <c:idx val="162"/>
            <c:invertIfNegative val="1"/>
            <c:bubble3D val="0"/>
            <c:spPr>
              <a:solidFill>
                <a:srgbClr val="AEABAB"/>
              </a:solidFill>
            </c:spPr>
            <c:extLst>
              <c:ext xmlns:c16="http://schemas.microsoft.com/office/drawing/2014/chart" uri="{C3380CC4-5D6E-409C-BE32-E72D297353CC}">
                <c16:uniqueId val="{00000147-2993-41DE-A2CB-63102DE87051}"/>
              </c:ext>
            </c:extLst>
          </c:dPt>
          <c:dPt>
            <c:idx val="163"/>
            <c:invertIfNegative val="1"/>
            <c:bubble3D val="0"/>
            <c:spPr>
              <a:solidFill>
                <a:srgbClr val="AEABAB"/>
              </a:solidFill>
            </c:spPr>
            <c:extLst>
              <c:ext xmlns:c16="http://schemas.microsoft.com/office/drawing/2014/chart" uri="{C3380CC4-5D6E-409C-BE32-E72D297353CC}">
                <c16:uniqueId val="{00000149-2993-41DE-A2CB-63102DE87051}"/>
              </c:ext>
            </c:extLst>
          </c:dPt>
          <c:dPt>
            <c:idx val="164"/>
            <c:invertIfNegative val="1"/>
            <c:bubble3D val="0"/>
            <c:spPr>
              <a:solidFill>
                <a:srgbClr val="AEABAB"/>
              </a:solidFill>
            </c:spPr>
            <c:extLst>
              <c:ext xmlns:c16="http://schemas.microsoft.com/office/drawing/2014/chart" uri="{C3380CC4-5D6E-409C-BE32-E72D297353CC}">
                <c16:uniqueId val="{0000014B-2993-41DE-A2CB-63102DE87051}"/>
              </c:ext>
            </c:extLst>
          </c:dPt>
          <c:dPt>
            <c:idx val="165"/>
            <c:invertIfNegative val="1"/>
            <c:bubble3D val="0"/>
            <c:spPr>
              <a:solidFill>
                <a:srgbClr val="AEABAB"/>
              </a:solidFill>
            </c:spPr>
            <c:extLst>
              <c:ext xmlns:c16="http://schemas.microsoft.com/office/drawing/2014/chart" uri="{C3380CC4-5D6E-409C-BE32-E72D297353CC}">
                <c16:uniqueId val="{0000014D-2993-41DE-A2CB-63102DE87051}"/>
              </c:ext>
            </c:extLst>
          </c:dPt>
          <c:dPt>
            <c:idx val="166"/>
            <c:invertIfNegative val="1"/>
            <c:bubble3D val="0"/>
            <c:spPr>
              <a:solidFill>
                <a:srgbClr val="AEABAB"/>
              </a:solidFill>
            </c:spPr>
            <c:extLst>
              <c:ext xmlns:c16="http://schemas.microsoft.com/office/drawing/2014/chart" uri="{C3380CC4-5D6E-409C-BE32-E72D297353CC}">
                <c16:uniqueId val="{0000014F-2993-41DE-A2CB-63102DE87051}"/>
              </c:ext>
            </c:extLst>
          </c:dPt>
          <c:dPt>
            <c:idx val="167"/>
            <c:invertIfNegative val="1"/>
            <c:bubble3D val="0"/>
            <c:spPr>
              <a:solidFill>
                <a:srgbClr val="AEABAB"/>
              </a:solidFill>
            </c:spPr>
            <c:extLst>
              <c:ext xmlns:c16="http://schemas.microsoft.com/office/drawing/2014/chart" uri="{C3380CC4-5D6E-409C-BE32-E72D297353CC}">
                <c16:uniqueId val="{00000151-2993-41DE-A2CB-63102DE87051}"/>
              </c:ext>
            </c:extLst>
          </c:dPt>
          <c:dPt>
            <c:idx val="168"/>
            <c:invertIfNegative val="1"/>
            <c:bubble3D val="0"/>
            <c:spPr>
              <a:solidFill>
                <a:srgbClr val="AEABAB"/>
              </a:solidFill>
            </c:spPr>
            <c:extLst>
              <c:ext xmlns:c16="http://schemas.microsoft.com/office/drawing/2014/chart" uri="{C3380CC4-5D6E-409C-BE32-E72D297353CC}">
                <c16:uniqueId val="{00000153-2993-41DE-A2CB-63102DE87051}"/>
              </c:ext>
            </c:extLst>
          </c:dPt>
          <c:dPt>
            <c:idx val="169"/>
            <c:invertIfNegative val="1"/>
            <c:bubble3D val="0"/>
            <c:spPr>
              <a:solidFill>
                <a:srgbClr val="AEABAB"/>
              </a:solidFill>
            </c:spPr>
            <c:extLst>
              <c:ext xmlns:c16="http://schemas.microsoft.com/office/drawing/2014/chart" uri="{C3380CC4-5D6E-409C-BE32-E72D297353CC}">
                <c16:uniqueId val="{00000155-2993-41DE-A2CB-63102DE87051}"/>
              </c:ext>
            </c:extLst>
          </c:dPt>
          <c:dPt>
            <c:idx val="170"/>
            <c:invertIfNegative val="1"/>
            <c:bubble3D val="0"/>
            <c:spPr>
              <a:solidFill>
                <a:srgbClr val="AEABAB"/>
              </a:solidFill>
            </c:spPr>
            <c:extLst>
              <c:ext xmlns:c16="http://schemas.microsoft.com/office/drawing/2014/chart" uri="{C3380CC4-5D6E-409C-BE32-E72D297353CC}">
                <c16:uniqueId val="{00000157-2993-41DE-A2CB-63102DE87051}"/>
              </c:ext>
            </c:extLst>
          </c:dPt>
          <c:dPt>
            <c:idx val="171"/>
            <c:invertIfNegative val="1"/>
            <c:bubble3D val="0"/>
            <c:spPr>
              <a:solidFill>
                <a:srgbClr val="AEABAB"/>
              </a:solidFill>
            </c:spPr>
            <c:extLst>
              <c:ext xmlns:c16="http://schemas.microsoft.com/office/drawing/2014/chart" uri="{C3380CC4-5D6E-409C-BE32-E72D297353CC}">
                <c16:uniqueId val="{00000159-2993-41DE-A2CB-63102DE87051}"/>
              </c:ext>
            </c:extLst>
          </c:dPt>
          <c:dPt>
            <c:idx val="172"/>
            <c:invertIfNegative val="1"/>
            <c:bubble3D val="0"/>
            <c:spPr>
              <a:solidFill>
                <a:srgbClr val="AEABAB"/>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dPt>
            <c:idx val="210"/>
            <c:invertIfNegative val="1"/>
            <c:bubble3D val="0"/>
            <c:spPr>
              <a:solidFill>
                <a:srgbClr val="AEABAB"/>
              </a:solidFill>
            </c:spPr>
            <c:extLst>
              <c:ext xmlns:c16="http://schemas.microsoft.com/office/drawing/2014/chart" uri="{C3380CC4-5D6E-409C-BE32-E72D297353CC}">
                <c16:uniqueId val="{000001A7-5015-497F-BF16-E2F3CD2D3DF2}"/>
              </c:ext>
            </c:extLst>
          </c:dPt>
          <c:dPt>
            <c:idx val="211"/>
            <c:invertIfNegative val="1"/>
            <c:bubble3D val="0"/>
            <c:spPr>
              <a:solidFill>
                <a:srgbClr val="AEABAB"/>
              </a:solidFill>
            </c:spPr>
            <c:extLst>
              <c:ext xmlns:c16="http://schemas.microsoft.com/office/drawing/2014/chart" uri="{C3380CC4-5D6E-409C-BE32-E72D297353CC}">
                <c16:uniqueId val="{000001A9-5015-497F-BF16-E2F3CD2D3DF2}"/>
              </c:ext>
            </c:extLst>
          </c:dPt>
          <c:dPt>
            <c:idx val="212"/>
            <c:invertIfNegative val="1"/>
            <c:bubble3D val="0"/>
            <c:spPr>
              <a:solidFill>
                <a:srgbClr val="AEABAB"/>
              </a:solidFill>
            </c:spPr>
            <c:extLst>
              <c:ext xmlns:c16="http://schemas.microsoft.com/office/drawing/2014/chart" uri="{C3380CC4-5D6E-409C-BE32-E72D297353CC}">
                <c16:uniqueId val="{000001AB-5015-497F-BF16-E2F3CD2D3DF2}"/>
              </c:ext>
            </c:extLst>
          </c:dPt>
          <c:dPt>
            <c:idx val="213"/>
            <c:invertIfNegative val="1"/>
            <c:bubble3D val="0"/>
            <c:spPr>
              <a:solidFill>
                <a:srgbClr val="AEABAB"/>
              </a:solidFill>
            </c:spPr>
            <c:extLst>
              <c:ext xmlns:c16="http://schemas.microsoft.com/office/drawing/2014/chart" uri="{C3380CC4-5D6E-409C-BE32-E72D297353CC}">
                <c16:uniqueId val="{000001AD-5015-497F-BF16-E2F3CD2D3DF2}"/>
              </c:ext>
            </c:extLst>
          </c:dPt>
          <c:dPt>
            <c:idx val="214"/>
            <c:invertIfNegative val="1"/>
            <c:bubble3D val="0"/>
            <c:spPr>
              <a:solidFill>
                <a:srgbClr val="AEABAB"/>
              </a:solidFill>
            </c:spPr>
            <c:extLst>
              <c:ext xmlns:c16="http://schemas.microsoft.com/office/drawing/2014/chart" uri="{C3380CC4-5D6E-409C-BE32-E72D297353CC}">
                <c16:uniqueId val="{000001AF-5015-497F-BF16-E2F3CD2D3DF2}"/>
              </c:ext>
            </c:extLst>
          </c:dPt>
          <c:dPt>
            <c:idx val="215"/>
            <c:invertIfNegative val="1"/>
            <c:bubble3D val="0"/>
            <c:spPr>
              <a:solidFill>
                <a:srgbClr val="AEABAB"/>
              </a:solidFill>
            </c:spPr>
            <c:extLst>
              <c:ext xmlns:c16="http://schemas.microsoft.com/office/drawing/2014/chart" uri="{C3380CC4-5D6E-409C-BE32-E72D297353CC}">
                <c16:uniqueId val="{000001B1-5015-497F-BF16-E2F3CD2D3DF2}"/>
              </c:ext>
            </c:extLst>
          </c:dPt>
          <c:dPt>
            <c:idx val="216"/>
            <c:invertIfNegative val="1"/>
            <c:bubble3D val="0"/>
            <c:spPr>
              <a:solidFill>
                <a:srgbClr val="AEABAB"/>
              </a:solidFill>
            </c:spPr>
            <c:extLst>
              <c:ext xmlns:c16="http://schemas.microsoft.com/office/drawing/2014/chart" uri="{C3380CC4-5D6E-409C-BE32-E72D297353CC}">
                <c16:uniqueId val="{000001B3-5015-497F-BF16-E2F3CD2D3DF2}"/>
              </c:ext>
            </c:extLst>
          </c:dPt>
          <c:dPt>
            <c:idx val="217"/>
            <c:invertIfNegative val="1"/>
            <c:bubble3D val="0"/>
            <c:spPr>
              <a:solidFill>
                <a:srgbClr val="AEABAB"/>
              </a:solidFill>
            </c:spPr>
            <c:extLst>
              <c:ext xmlns:c16="http://schemas.microsoft.com/office/drawing/2014/chart" uri="{C3380CC4-5D6E-409C-BE32-E72D297353CC}">
                <c16:uniqueId val="{000001B5-5015-497F-BF16-E2F3CD2D3DF2}"/>
              </c:ext>
            </c:extLst>
          </c:dPt>
          <c:dPt>
            <c:idx val="218"/>
            <c:invertIfNegative val="1"/>
            <c:bubble3D val="0"/>
            <c:spPr>
              <a:solidFill>
                <a:srgbClr val="AEABAB"/>
              </a:solidFill>
            </c:spPr>
            <c:extLst>
              <c:ext xmlns:c16="http://schemas.microsoft.com/office/drawing/2014/chart" uri="{C3380CC4-5D6E-409C-BE32-E72D297353CC}">
                <c16:uniqueId val="{000001B7-5015-497F-BF16-E2F3CD2D3DF2}"/>
              </c:ext>
            </c:extLst>
          </c:dPt>
          <c:dPt>
            <c:idx val="219"/>
            <c:invertIfNegative val="1"/>
            <c:bubble3D val="0"/>
            <c:spPr>
              <a:solidFill>
                <a:srgbClr val="AEABAB"/>
              </a:solidFill>
            </c:spPr>
            <c:extLst>
              <c:ext xmlns:c16="http://schemas.microsoft.com/office/drawing/2014/chart" uri="{C3380CC4-5D6E-409C-BE32-E72D297353CC}">
                <c16:uniqueId val="{000001B9-5015-497F-BF16-E2F3CD2D3DF2}"/>
              </c:ext>
            </c:extLst>
          </c:dPt>
          <c:dPt>
            <c:idx val="220"/>
            <c:invertIfNegative val="1"/>
            <c:bubble3D val="0"/>
            <c:spPr>
              <a:solidFill>
                <a:srgbClr val="AEABAB"/>
              </a:solidFill>
            </c:spPr>
            <c:extLst>
              <c:ext xmlns:c16="http://schemas.microsoft.com/office/drawing/2014/chart" uri="{C3380CC4-5D6E-409C-BE32-E72D297353CC}">
                <c16:uniqueId val="{000001BB-5015-497F-BF16-E2F3CD2D3DF2}"/>
              </c:ext>
            </c:extLst>
          </c:dPt>
          <c:dPt>
            <c:idx val="221"/>
            <c:invertIfNegative val="1"/>
            <c:bubble3D val="0"/>
            <c:spPr>
              <a:solidFill>
                <a:srgbClr val="AEABAB"/>
              </a:solidFill>
            </c:spPr>
            <c:extLst>
              <c:ext xmlns:c16="http://schemas.microsoft.com/office/drawing/2014/chart" uri="{C3380CC4-5D6E-409C-BE32-E72D297353CC}">
                <c16:uniqueId val="{000001BD-5015-497F-BF16-E2F3CD2D3DF2}"/>
              </c:ext>
            </c:extLst>
          </c:dPt>
          <c:dPt>
            <c:idx val="222"/>
            <c:invertIfNegative val="1"/>
            <c:bubble3D val="0"/>
            <c:spPr>
              <a:solidFill>
                <a:srgbClr val="AEABAB"/>
              </a:solidFill>
            </c:spPr>
            <c:extLst>
              <c:ext xmlns:c16="http://schemas.microsoft.com/office/drawing/2014/chart" uri="{C3380CC4-5D6E-409C-BE32-E72D297353CC}">
                <c16:uniqueId val="{000001BF-5015-497F-BF16-E2F3CD2D3DF2}"/>
              </c:ext>
            </c:extLst>
          </c:dPt>
          <c:dPt>
            <c:idx val="223"/>
            <c:invertIfNegative val="1"/>
            <c:bubble3D val="0"/>
            <c:spPr>
              <a:solidFill>
                <a:srgbClr val="AEABAB"/>
              </a:solidFill>
            </c:spPr>
            <c:extLst>
              <c:ext xmlns:c16="http://schemas.microsoft.com/office/drawing/2014/chart" uri="{C3380CC4-5D6E-409C-BE32-E72D297353CC}">
                <c16:uniqueId val="{000001C1-5015-497F-BF16-E2F3CD2D3DF2}"/>
              </c:ext>
            </c:extLst>
          </c:dPt>
          <c:dPt>
            <c:idx val="224"/>
            <c:invertIfNegative val="1"/>
            <c:bubble3D val="0"/>
            <c:spPr>
              <a:solidFill>
                <a:srgbClr val="AEABAB"/>
              </a:solidFill>
            </c:spPr>
            <c:extLst>
              <c:ext xmlns:c16="http://schemas.microsoft.com/office/drawing/2014/chart" uri="{C3380CC4-5D6E-409C-BE32-E72D297353CC}">
                <c16:uniqueId val="{000001C3-5015-497F-BF16-E2F3CD2D3DF2}"/>
              </c:ext>
            </c:extLst>
          </c:dPt>
          <c:dPt>
            <c:idx val="225"/>
            <c:invertIfNegative val="1"/>
            <c:bubble3D val="0"/>
            <c:spPr>
              <a:solidFill>
                <a:srgbClr val="AEABAB"/>
              </a:solidFill>
            </c:spPr>
            <c:extLst>
              <c:ext xmlns:c16="http://schemas.microsoft.com/office/drawing/2014/chart" uri="{C3380CC4-5D6E-409C-BE32-E72D297353CC}">
                <c16:uniqueId val="{000001C5-5015-497F-BF16-E2F3CD2D3DF2}"/>
              </c:ext>
            </c:extLst>
          </c:dPt>
          <c:dPt>
            <c:idx val="226"/>
            <c:invertIfNegative val="1"/>
            <c:bubble3D val="0"/>
            <c:spPr>
              <a:solidFill>
                <a:srgbClr val="AEABAB"/>
              </a:solidFill>
            </c:spPr>
            <c:extLst>
              <c:ext xmlns:c16="http://schemas.microsoft.com/office/drawing/2014/chart" uri="{C3380CC4-5D6E-409C-BE32-E72D297353CC}">
                <c16:uniqueId val="{000001C7-5015-497F-BF16-E2F3CD2D3DF2}"/>
              </c:ext>
            </c:extLst>
          </c:dPt>
          <c:dPt>
            <c:idx val="227"/>
            <c:invertIfNegative val="1"/>
            <c:bubble3D val="0"/>
            <c:spPr>
              <a:solidFill>
                <a:srgbClr val="AEABAB"/>
              </a:solidFill>
            </c:spPr>
            <c:extLst>
              <c:ext xmlns:c16="http://schemas.microsoft.com/office/drawing/2014/chart" uri="{C3380CC4-5D6E-409C-BE32-E72D297353CC}">
                <c16:uniqueId val="{000001C9-5015-497F-BF16-E2F3CD2D3DF2}"/>
              </c:ext>
            </c:extLst>
          </c:dPt>
          <c:dPt>
            <c:idx val="228"/>
            <c:invertIfNegative val="1"/>
            <c:bubble3D val="0"/>
            <c:spPr>
              <a:solidFill>
                <a:srgbClr val="AEABAB"/>
              </a:solidFill>
            </c:spPr>
            <c:extLst>
              <c:ext xmlns:c16="http://schemas.microsoft.com/office/drawing/2014/chart" uri="{C3380CC4-5D6E-409C-BE32-E72D297353CC}">
                <c16:uniqueId val="{000001CB-5015-497F-BF16-E2F3CD2D3DF2}"/>
              </c:ext>
            </c:extLst>
          </c:dPt>
          <c:dPt>
            <c:idx val="229"/>
            <c:invertIfNegative val="1"/>
            <c:bubble3D val="0"/>
            <c:spPr>
              <a:solidFill>
                <a:srgbClr val="AEABAB"/>
              </a:solidFill>
            </c:spPr>
            <c:extLst>
              <c:ext xmlns:c16="http://schemas.microsoft.com/office/drawing/2014/chart" uri="{C3380CC4-5D6E-409C-BE32-E72D297353CC}">
                <c16:uniqueId val="{000001CD-5015-497F-BF16-E2F3CD2D3DF2}"/>
              </c:ext>
            </c:extLst>
          </c:dPt>
          <c:dPt>
            <c:idx val="230"/>
            <c:invertIfNegative val="1"/>
            <c:bubble3D val="0"/>
            <c:spPr>
              <a:solidFill>
                <a:srgbClr val="AEABAB"/>
              </a:solidFill>
            </c:spPr>
            <c:extLst>
              <c:ext xmlns:c16="http://schemas.microsoft.com/office/drawing/2014/chart" uri="{C3380CC4-5D6E-409C-BE32-E72D297353CC}">
                <c16:uniqueId val="{000001CF-5015-497F-BF16-E2F3CD2D3DF2}"/>
              </c:ext>
            </c:extLst>
          </c:dPt>
          <c:dPt>
            <c:idx val="231"/>
            <c:invertIfNegative val="1"/>
            <c:bubble3D val="0"/>
            <c:spPr>
              <a:solidFill>
                <a:srgbClr val="AEABAB"/>
              </a:solidFill>
            </c:spPr>
            <c:extLst>
              <c:ext xmlns:c16="http://schemas.microsoft.com/office/drawing/2014/chart" uri="{C3380CC4-5D6E-409C-BE32-E72D297353CC}">
                <c16:uniqueId val="{000001D1-5015-497F-BF16-E2F3CD2D3DF2}"/>
              </c:ext>
            </c:extLst>
          </c:dPt>
          <c:dPt>
            <c:idx val="232"/>
            <c:invertIfNegative val="1"/>
            <c:bubble3D val="0"/>
            <c:spPr>
              <a:solidFill>
                <a:srgbClr val="AEABAB"/>
              </a:solidFill>
            </c:spPr>
            <c:extLst>
              <c:ext xmlns:c16="http://schemas.microsoft.com/office/drawing/2014/chart" uri="{C3380CC4-5D6E-409C-BE32-E72D297353CC}">
                <c16:uniqueId val="{000001D3-5015-497F-BF16-E2F3CD2D3DF2}"/>
              </c:ext>
            </c:extLst>
          </c:dPt>
          <c:dPt>
            <c:idx val="233"/>
            <c:invertIfNegative val="1"/>
            <c:bubble3D val="0"/>
            <c:spPr>
              <a:solidFill>
                <a:srgbClr val="AEABAB"/>
              </a:solidFill>
            </c:spPr>
            <c:extLst>
              <c:ext xmlns:c16="http://schemas.microsoft.com/office/drawing/2014/chart" uri="{C3380CC4-5D6E-409C-BE32-E72D297353CC}">
                <c16:uniqueId val="{000001D5-5015-497F-BF16-E2F3CD2D3DF2}"/>
              </c:ext>
            </c:extLst>
          </c:dPt>
          <c:dPt>
            <c:idx val="234"/>
            <c:invertIfNegative val="1"/>
            <c:bubble3D val="0"/>
            <c:spPr>
              <a:solidFill>
                <a:srgbClr val="AEABAB"/>
              </a:solidFill>
            </c:spPr>
            <c:extLst>
              <c:ext xmlns:c16="http://schemas.microsoft.com/office/drawing/2014/chart" uri="{C3380CC4-5D6E-409C-BE32-E72D297353CC}">
                <c16:uniqueId val="{000001D7-5015-497F-BF16-E2F3CD2D3DF2}"/>
              </c:ext>
            </c:extLst>
          </c:dPt>
          <c:dPt>
            <c:idx val="235"/>
            <c:invertIfNegative val="1"/>
            <c:bubble3D val="0"/>
            <c:spPr>
              <a:solidFill>
                <a:srgbClr val="AEABAB"/>
              </a:solidFill>
            </c:spPr>
            <c:extLst>
              <c:ext xmlns:c16="http://schemas.microsoft.com/office/drawing/2014/chart" uri="{C3380CC4-5D6E-409C-BE32-E72D297353CC}">
                <c16:uniqueId val="{000001D9-5015-497F-BF16-E2F3CD2D3DF2}"/>
              </c:ext>
            </c:extLst>
          </c:dPt>
          <c:dPt>
            <c:idx val="236"/>
            <c:invertIfNegative val="1"/>
            <c:bubble3D val="0"/>
            <c:spPr>
              <a:solidFill>
                <a:srgbClr val="AEABAB"/>
              </a:solidFill>
            </c:spPr>
            <c:extLst>
              <c:ext xmlns:c16="http://schemas.microsoft.com/office/drawing/2014/chart" uri="{C3380CC4-5D6E-409C-BE32-E72D297353CC}">
                <c16:uniqueId val="{000001DB-5015-497F-BF16-E2F3CD2D3DF2}"/>
              </c:ext>
            </c:extLst>
          </c:dPt>
          <c:dPt>
            <c:idx val="237"/>
            <c:invertIfNegative val="1"/>
            <c:bubble3D val="0"/>
            <c:spPr>
              <a:solidFill>
                <a:srgbClr val="AEABAB"/>
              </a:solidFill>
            </c:spPr>
            <c:extLst>
              <c:ext xmlns:c16="http://schemas.microsoft.com/office/drawing/2014/chart" uri="{C3380CC4-5D6E-409C-BE32-E72D297353CC}">
                <c16:uniqueId val="{000001DD-5015-497F-BF16-E2F3CD2D3DF2}"/>
              </c:ext>
            </c:extLst>
          </c:dPt>
          <c:dPt>
            <c:idx val="238"/>
            <c:invertIfNegative val="1"/>
            <c:bubble3D val="0"/>
            <c:spPr>
              <a:solidFill>
                <a:srgbClr val="AEABAB"/>
              </a:solidFill>
            </c:spPr>
            <c:extLst>
              <c:ext xmlns:c16="http://schemas.microsoft.com/office/drawing/2014/chart" uri="{C3380CC4-5D6E-409C-BE32-E72D297353CC}">
                <c16:uniqueId val="{000001DF-5015-497F-BF16-E2F3CD2D3DF2}"/>
              </c:ext>
            </c:extLst>
          </c:dPt>
          <c:dPt>
            <c:idx val="239"/>
            <c:invertIfNegative val="1"/>
            <c:bubble3D val="0"/>
            <c:spPr>
              <a:solidFill>
                <a:srgbClr val="AEABAB"/>
              </a:solidFill>
            </c:spPr>
            <c:extLst>
              <c:ext xmlns:c16="http://schemas.microsoft.com/office/drawing/2014/chart" uri="{C3380CC4-5D6E-409C-BE32-E72D297353CC}">
                <c16:uniqueId val="{000001E1-5015-497F-BF16-E2F3CD2D3DF2}"/>
              </c:ext>
            </c:extLst>
          </c:dPt>
          <c:dPt>
            <c:idx val="240"/>
            <c:invertIfNegative val="1"/>
            <c:bubble3D val="0"/>
            <c:spPr>
              <a:solidFill>
                <a:srgbClr val="AEABAB"/>
              </a:solidFill>
            </c:spPr>
            <c:extLst>
              <c:ext xmlns:c16="http://schemas.microsoft.com/office/drawing/2014/chart" uri="{C3380CC4-5D6E-409C-BE32-E72D297353CC}">
                <c16:uniqueId val="{000001E3-5015-497F-BF16-E2F3CD2D3DF2}"/>
              </c:ext>
            </c:extLst>
          </c:dPt>
          <c:dPt>
            <c:idx val="241"/>
            <c:invertIfNegative val="1"/>
            <c:bubble3D val="0"/>
            <c:spPr>
              <a:solidFill>
                <a:srgbClr val="AEABAB"/>
              </a:solidFill>
            </c:spPr>
            <c:extLst>
              <c:ext xmlns:c16="http://schemas.microsoft.com/office/drawing/2014/chart" uri="{C3380CC4-5D6E-409C-BE32-E72D297353CC}">
                <c16:uniqueId val="{000001E5-5015-497F-BF16-E2F3CD2D3DF2}"/>
              </c:ext>
            </c:extLst>
          </c:dPt>
          <c:dPt>
            <c:idx val="242"/>
            <c:invertIfNegative val="1"/>
            <c:bubble3D val="0"/>
            <c:spPr>
              <a:solidFill>
                <a:srgbClr val="AEABAB"/>
              </a:solidFill>
            </c:spPr>
            <c:extLst>
              <c:ext xmlns:c16="http://schemas.microsoft.com/office/drawing/2014/chart" uri="{C3380CC4-5D6E-409C-BE32-E72D297353CC}">
                <c16:uniqueId val="{000001E7-5015-497F-BF16-E2F3CD2D3DF2}"/>
              </c:ext>
            </c:extLst>
          </c:dPt>
          <c:dPt>
            <c:idx val="243"/>
            <c:invertIfNegative val="1"/>
            <c:bubble3D val="0"/>
            <c:spPr>
              <a:solidFill>
                <a:srgbClr val="AEABAB"/>
              </a:solidFill>
            </c:spPr>
            <c:extLst>
              <c:ext xmlns:c16="http://schemas.microsoft.com/office/drawing/2014/chart" uri="{C3380CC4-5D6E-409C-BE32-E72D297353CC}">
                <c16:uniqueId val="{000001E9-5015-497F-BF16-E2F3CD2D3DF2}"/>
              </c:ext>
            </c:extLst>
          </c:dPt>
          <c:dPt>
            <c:idx val="244"/>
            <c:invertIfNegative val="1"/>
            <c:bubble3D val="0"/>
            <c:spPr>
              <a:solidFill>
                <a:srgbClr val="AEABAB"/>
              </a:solidFill>
            </c:spPr>
            <c:extLst>
              <c:ext xmlns:c16="http://schemas.microsoft.com/office/drawing/2014/chart" uri="{C3380CC4-5D6E-409C-BE32-E72D297353CC}">
                <c16:uniqueId val="{000001EB-5015-497F-BF16-E2F3CD2D3DF2}"/>
              </c:ext>
            </c:extLst>
          </c:dPt>
          <c:dPt>
            <c:idx val="245"/>
            <c:invertIfNegative val="1"/>
            <c:bubble3D val="0"/>
            <c:spPr>
              <a:solidFill>
                <a:srgbClr val="AEABAB"/>
              </a:solidFill>
            </c:spPr>
            <c:extLst>
              <c:ext xmlns:c16="http://schemas.microsoft.com/office/drawing/2014/chart" uri="{C3380CC4-5D6E-409C-BE32-E72D297353CC}">
                <c16:uniqueId val="{000001ED-5015-497F-BF16-E2F3CD2D3DF2}"/>
              </c:ext>
            </c:extLst>
          </c:dPt>
          <c:dPt>
            <c:idx val="246"/>
            <c:invertIfNegative val="1"/>
            <c:bubble3D val="0"/>
            <c:spPr>
              <a:solidFill>
                <a:srgbClr val="AEABAB"/>
              </a:solidFill>
            </c:spPr>
            <c:extLst>
              <c:ext xmlns:c16="http://schemas.microsoft.com/office/drawing/2014/chart" uri="{C3380CC4-5D6E-409C-BE32-E72D297353CC}">
                <c16:uniqueId val="{000001EF-5015-497F-BF16-E2F3CD2D3DF2}"/>
              </c:ext>
            </c:extLst>
          </c:dPt>
          <c:dPt>
            <c:idx val="247"/>
            <c:invertIfNegative val="1"/>
            <c:bubble3D val="0"/>
            <c:spPr>
              <a:solidFill>
                <a:srgbClr val="AEABAB"/>
              </a:solidFill>
            </c:spPr>
            <c:extLst>
              <c:ext xmlns:c16="http://schemas.microsoft.com/office/drawing/2014/chart" uri="{C3380CC4-5D6E-409C-BE32-E72D297353CC}">
                <c16:uniqueId val="{000001F1-5015-497F-BF16-E2F3CD2D3DF2}"/>
              </c:ext>
            </c:extLst>
          </c:dPt>
          <c:dPt>
            <c:idx val="248"/>
            <c:invertIfNegative val="1"/>
            <c:bubble3D val="0"/>
            <c:spPr>
              <a:solidFill>
                <a:srgbClr val="AEABAB"/>
              </a:solidFill>
            </c:spPr>
            <c:extLst>
              <c:ext xmlns:c16="http://schemas.microsoft.com/office/drawing/2014/chart" uri="{C3380CC4-5D6E-409C-BE32-E72D297353CC}">
                <c16:uniqueId val="{000001F3-5015-497F-BF16-E2F3CD2D3DF2}"/>
              </c:ext>
            </c:extLst>
          </c:dPt>
          <c:dPt>
            <c:idx val="249"/>
            <c:invertIfNegative val="1"/>
            <c:bubble3D val="0"/>
            <c:spPr>
              <a:solidFill>
                <a:srgbClr val="AEABAB"/>
              </a:solidFill>
            </c:spPr>
            <c:extLst>
              <c:ext xmlns:c16="http://schemas.microsoft.com/office/drawing/2014/chart" uri="{C3380CC4-5D6E-409C-BE32-E72D297353CC}">
                <c16:uniqueId val="{000001F5-5015-497F-BF16-E2F3CD2D3DF2}"/>
              </c:ext>
            </c:extLst>
          </c:dPt>
          <c:dPt>
            <c:idx val="250"/>
            <c:invertIfNegative val="1"/>
            <c:bubble3D val="0"/>
            <c:spPr>
              <a:solidFill>
                <a:srgbClr val="AEABAB"/>
              </a:solidFill>
            </c:spPr>
            <c:extLst>
              <c:ext xmlns:c16="http://schemas.microsoft.com/office/drawing/2014/chart" uri="{C3380CC4-5D6E-409C-BE32-E72D297353CC}">
                <c16:uniqueId val="{000001F7-5015-497F-BF16-E2F3CD2D3DF2}"/>
              </c:ext>
            </c:extLst>
          </c:dPt>
          <c:dPt>
            <c:idx val="251"/>
            <c:invertIfNegative val="1"/>
            <c:bubble3D val="0"/>
            <c:spPr>
              <a:solidFill>
                <a:srgbClr val="AEABAB"/>
              </a:solidFill>
            </c:spPr>
            <c:extLst>
              <c:ext xmlns:c16="http://schemas.microsoft.com/office/drawing/2014/chart" uri="{C3380CC4-5D6E-409C-BE32-E72D297353CC}">
                <c16:uniqueId val="{000001F9-5015-497F-BF16-E2F3CD2D3DF2}"/>
              </c:ext>
            </c:extLst>
          </c:dPt>
          <c:dPt>
            <c:idx val="252"/>
            <c:invertIfNegative val="1"/>
            <c:bubble3D val="0"/>
            <c:spPr>
              <a:solidFill>
                <a:srgbClr val="AEABAB"/>
              </a:solidFill>
            </c:spPr>
            <c:extLst>
              <c:ext xmlns:c16="http://schemas.microsoft.com/office/drawing/2014/chart" uri="{C3380CC4-5D6E-409C-BE32-E72D297353CC}">
                <c16:uniqueId val="{000001FB-5015-497F-BF16-E2F3CD2D3DF2}"/>
              </c:ext>
            </c:extLst>
          </c:dPt>
          <c:dPt>
            <c:idx val="253"/>
            <c:invertIfNegative val="1"/>
            <c:bubble3D val="0"/>
            <c:spPr>
              <a:solidFill>
                <a:srgbClr val="AEABAB"/>
              </a:solidFill>
            </c:spPr>
            <c:extLst>
              <c:ext xmlns:c16="http://schemas.microsoft.com/office/drawing/2014/chart" uri="{C3380CC4-5D6E-409C-BE32-E72D297353CC}">
                <c16:uniqueId val="{000001FD-5015-497F-BF16-E2F3CD2D3DF2}"/>
              </c:ext>
            </c:extLst>
          </c:dPt>
          <c:dPt>
            <c:idx val="254"/>
            <c:invertIfNegative val="1"/>
            <c:bubble3D val="0"/>
            <c:spPr>
              <a:solidFill>
                <a:srgbClr val="AEABAB"/>
              </a:solidFill>
            </c:spPr>
            <c:extLst>
              <c:ext xmlns:c16="http://schemas.microsoft.com/office/drawing/2014/chart" uri="{C3380CC4-5D6E-409C-BE32-E72D297353CC}">
                <c16:uniqueId val="{000001FF-5015-497F-BF16-E2F3CD2D3DF2}"/>
              </c:ext>
            </c:extLst>
          </c:dPt>
          <c:dPt>
            <c:idx val="255"/>
            <c:invertIfNegative val="1"/>
            <c:bubble3D val="0"/>
            <c:spPr>
              <a:solidFill>
                <a:srgbClr val="AEABAB"/>
              </a:solidFill>
            </c:spPr>
            <c:extLst>
              <c:ext xmlns:c16="http://schemas.microsoft.com/office/drawing/2014/chart" uri="{C3380CC4-5D6E-409C-BE32-E72D297353CC}">
                <c16:uniqueId val="{00000201-5015-497F-BF16-E2F3CD2D3DF2}"/>
              </c:ext>
            </c:extLst>
          </c:dPt>
          <c:dPt>
            <c:idx val="256"/>
            <c:invertIfNegative val="1"/>
            <c:bubble3D val="0"/>
            <c:spPr>
              <a:solidFill>
                <a:srgbClr val="AEABAB"/>
              </a:solidFill>
            </c:spPr>
            <c:extLst>
              <c:ext xmlns:c16="http://schemas.microsoft.com/office/drawing/2014/chart" uri="{C3380CC4-5D6E-409C-BE32-E72D297353CC}">
                <c16:uniqueId val="{00000203-5015-497F-BF16-E2F3CD2D3DF2}"/>
              </c:ext>
            </c:extLst>
          </c:dPt>
          <c:dPt>
            <c:idx val="257"/>
            <c:invertIfNegative val="1"/>
            <c:bubble3D val="0"/>
            <c:spPr>
              <a:solidFill>
                <a:srgbClr val="AEABAB"/>
              </a:solidFill>
            </c:spPr>
            <c:extLst>
              <c:ext xmlns:c16="http://schemas.microsoft.com/office/drawing/2014/chart" uri="{C3380CC4-5D6E-409C-BE32-E72D297353CC}">
                <c16:uniqueId val="{00000205-5015-497F-BF16-E2F3CD2D3DF2}"/>
              </c:ext>
            </c:extLst>
          </c:dPt>
          <c:dPt>
            <c:idx val="258"/>
            <c:invertIfNegative val="1"/>
            <c:bubble3D val="0"/>
            <c:spPr>
              <a:solidFill>
                <a:srgbClr val="AEABAB"/>
              </a:solidFill>
            </c:spPr>
            <c:extLst>
              <c:ext xmlns:c16="http://schemas.microsoft.com/office/drawing/2014/chart" uri="{C3380CC4-5D6E-409C-BE32-E72D297353CC}">
                <c16:uniqueId val="{00000207-5015-497F-BF16-E2F3CD2D3DF2}"/>
              </c:ext>
            </c:extLst>
          </c:dPt>
          <c:dPt>
            <c:idx val="259"/>
            <c:invertIfNegative val="1"/>
            <c:bubble3D val="0"/>
            <c:spPr>
              <a:solidFill>
                <a:srgbClr val="AEABAB"/>
              </a:solidFill>
            </c:spPr>
            <c:extLst>
              <c:ext xmlns:c16="http://schemas.microsoft.com/office/drawing/2014/chart" uri="{C3380CC4-5D6E-409C-BE32-E72D297353CC}">
                <c16:uniqueId val="{00000209-5015-497F-BF16-E2F3CD2D3DF2}"/>
              </c:ext>
            </c:extLst>
          </c:dPt>
          <c:dPt>
            <c:idx val="260"/>
            <c:invertIfNegative val="1"/>
            <c:bubble3D val="0"/>
            <c:spPr>
              <a:solidFill>
                <a:srgbClr val="AEABAB"/>
              </a:solidFill>
            </c:spPr>
            <c:extLst>
              <c:ext xmlns:c16="http://schemas.microsoft.com/office/drawing/2014/chart" uri="{C3380CC4-5D6E-409C-BE32-E72D297353CC}">
                <c16:uniqueId val="{0000020B-5015-497F-BF16-E2F3CD2D3DF2}"/>
              </c:ext>
            </c:extLst>
          </c:dPt>
          <c:dPt>
            <c:idx val="261"/>
            <c:invertIfNegative val="1"/>
            <c:bubble3D val="0"/>
            <c:spPr>
              <a:solidFill>
                <a:srgbClr val="AEABAB"/>
              </a:solidFill>
            </c:spPr>
            <c:extLst>
              <c:ext xmlns:c16="http://schemas.microsoft.com/office/drawing/2014/chart" uri="{C3380CC4-5D6E-409C-BE32-E72D297353CC}">
                <c16:uniqueId val="{0000020D-5015-497F-BF16-E2F3CD2D3DF2}"/>
              </c:ext>
            </c:extLst>
          </c:dPt>
          <c:dPt>
            <c:idx val="262"/>
            <c:invertIfNegative val="1"/>
            <c:bubble3D val="0"/>
            <c:spPr>
              <a:solidFill>
                <a:srgbClr val="AEABAB"/>
              </a:solidFill>
            </c:spPr>
            <c:extLst>
              <c:ext xmlns:c16="http://schemas.microsoft.com/office/drawing/2014/chart" uri="{C3380CC4-5D6E-409C-BE32-E72D297353CC}">
                <c16:uniqueId val="{0000020F-5015-497F-BF16-E2F3CD2D3DF2}"/>
              </c:ext>
            </c:extLst>
          </c:dPt>
          <c:dPt>
            <c:idx val="263"/>
            <c:invertIfNegative val="1"/>
            <c:bubble3D val="0"/>
            <c:spPr>
              <a:solidFill>
                <a:srgbClr val="AEABAB"/>
              </a:solidFill>
            </c:spPr>
            <c:extLst>
              <c:ext xmlns:c16="http://schemas.microsoft.com/office/drawing/2014/chart" uri="{C3380CC4-5D6E-409C-BE32-E72D297353CC}">
                <c16:uniqueId val="{00000211-5015-497F-BF16-E2F3CD2D3DF2}"/>
              </c:ext>
            </c:extLst>
          </c:dPt>
          <c:dPt>
            <c:idx val="264"/>
            <c:invertIfNegative val="1"/>
            <c:bubble3D val="0"/>
            <c:spPr>
              <a:solidFill>
                <a:srgbClr val="AEABAB"/>
              </a:solidFill>
            </c:spPr>
            <c:extLst>
              <c:ext xmlns:c16="http://schemas.microsoft.com/office/drawing/2014/chart" uri="{C3380CC4-5D6E-409C-BE32-E72D297353CC}">
                <c16:uniqueId val="{00000213-5015-497F-BF16-E2F3CD2D3DF2}"/>
              </c:ext>
            </c:extLst>
          </c:dPt>
          <c:dPt>
            <c:idx val="265"/>
            <c:invertIfNegative val="1"/>
            <c:bubble3D val="0"/>
            <c:spPr>
              <a:solidFill>
                <a:srgbClr val="AEABAB"/>
              </a:solidFill>
            </c:spPr>
            <c:extLst>
              <c:ext xmlns:c16="http://schemas.microsoft.com/office/drawing/2014/chart" uri="{C3380CC4-5D6E-409C-BE32-E72D297353CC}">
                <c16:uniqueId val="{00000215-5015-497F-BF16-E2F3CD2D3DF2}"/>
              </c:ext>
            </c:extLst>
          </c:dPt>
          <c:dPt>
            <c:idx val="266"/>
            <c:invertIfNegative val="1"/>
            <c:bubble3D val="0"/>
            <c:spPr>
              <a:solidFill>
                <a:srgbClr val="AEABAB"/>
              </a:solidFill>
            </c:spPr>
            <c:extLst>
              <c:ext xmlns:c16="http://schemas.microsoft.com/office/drawing/2014/chart" uri="{C3380CC4-5D6E-409C-BE32-E72D297353CC}">
                <c16:uniqueId val="{00000217-5015-497F-BF16-E2F3CD2D3DF2}"/>
              </c:ext>
            </c:extLst>
          </c:dPt>
          <c:dPt>
            <c:idx val="267"/>
            <c:invertIfNegative val="1"/>
            <c:bubble3D val="0"/>
            <c:spPr>
              <a:solidFill>
                <a:srgbClr val="AEABAB"/>
              </a:solidFill>
            </c:spPr>
            <c:extLst>
              <c:ext xmlns:c16="http://schemas.microsoft.com/office/drawing/2014/chart" uri="{C3380CC4-5D6E-409C-BE32-E72D297353CC}">
                <c16:uniqueId val="{00000219-5015-497F-BF16-E2F3CD2D3DF2}"/>
              </c:ext>
            </c:extLst>
          </c:dPt>
          <c:dPt>
            <c:idx val="268"/>
            <c:invertIfNegative val="1"/>
            <c:bubble3D val="0"/>
            <c:spPr>
              <a:solidFill>
                <a:srgbClr val="AEABAB"/>
              </a:solidFill>
            </c:spPr>
            <c:extLst>
              <c:ext xmlns:c16="http://schemas.microsoft.com/office/drawing/2014/chart" uri="{C3380CC4-5D6E-409C-BE32-E72D297353CC}">
                <c16:uniqueId val="{0000021B-5015-497F-BF16-E2F3CD2D3DF2}"/>
              </c:ext>
            </c:extLst>
          </c:dPt>
          <c:dPt>
            <c:idx val="269"/>
            <c:invertIfNegative val="1"/>
            <c:bubble3D val="0"/>
            <c:spPr>
              <a:solidFill>
                <a:srgbClr val="AEABAB"/>
              </a:solidFill>
            </c:spPr>
            <c:extLst>
              <c:ext xmlns:c16="http://schemas.microsoft.com/office/drawing/2014/chart" uri="{C3380CC4-5D6E-409C-BE32-E72D297353CC}">
                <c16:uniqueId val="{0000021D-5015-497F-BF16-E2F3CD2D3DF2}"/>
              </c:ext>
            </c:extLst>
          </c:dPt>
          <c:dPt>
            <c:idx val="270"/>
            <c:invertIfNegative val="1"/>
            <c:bubble3D val="0"/>
            <c:spPr>
              <a:solidFill>
                <a:srgbClr val="AEABAB"/>
              </a:solidFill>
            </c:spPr>
            <c:extLst>
              <c:ext xmlns:c16="http://schemas.microsoft.com/office/drawing/2014/chart" uri="{C3380CC4-5D6E-409C-BE32-E72D297353CC}">
                <c16:uniqueId val="{0000021F-5015-497F-BF16-E2F3CD2D3DF2}"/>
              </c:ext>
            </c:extLst>
          </c:dPt>
          <c:dPt>
            <c:idx val="271"/>
            <c:invertIfNegative val="1"/>
            <c:bubble3D val="0"/>
            <c:spPr>
              <a:solidFill>
                <a:srgbClr val="AEABAB"/>
              </a:solidFill>
            </c:spPr>
            <c:extLst>
              <c:ext xmlns:c16="http://schemas.microsoft.com/office/drawing/2014/chart" uri="{C3380CC4-5D6E-409C-BE32-E72D297353CC}">
                <c16:uniqueId val="{00000221-5015-497F-BF16-E2F3CD2D3DF2}"/>
              </c:ext>
            </c:extLst>
          </c:dPt>
          <c:dPt>
            <c:idx val="272"/>
            <c:invertIfNegative val="1"/>
            <c:bubble3D val="0"/>
            <c:spPr>
              <a:solidFill>
                <a:srgbClr val="AEABAB"/>
              </a:solidFill>
            </c:spPr>
            <c:extLst>
              <c:ext xmlns:c16="http://schemas.microsoft.com/office/drawing/2014/chart" uri="{C3380CC4-5D6E-409C-BE32-E72D297353CC}">
                <c16:uniqueId val="{00000223-5015-497F-BF16-E2F3CD2D3DF2}"/>
              </c:ext>
            </c:extLst>
          </c:dPt>
          <c:dPt>
            <c:idx val="273"/>
            <c:invertIfNegative val="1"/>
            <c:bubble3D val="0"/>
            <c:spPr>
              <a:solidFill>
                <a:srgbClr val="AEABAB"/>
              </a:solidFill>
            </c:spPr>
            <c:extLst>
              <c:ext xmlns:c16="http://schemas.microsoft.com/office/drawing/2014/chart" uri="{C3380CC4-5D6E-409C-BE32-E72D297353CC}">
                <c16:uniqueId val="{00000225-5015-497F-BF16-E2F3CD2D3DF2}"/>
              </c:ext>
            </c:extLst>
          </c:dPt>
          <c:dPt>
            <c:idx val="274"/>
            <c:invertIfNegative val="1"/>
            <c:bubble3D val="0"/>
            <c:spPr>
              <a:solidFill>
                <a:srgbClr val="AEABAB"/>
              </a:solidFill>
            </c:spPr>
            <c:extLst>
              <c:ext xmlns:c16="http://schemas.microsoft.com/office/drawing/2014/chart" uri="{C3380CC4-5D6E-409C-BE32-E72D297353CC}">
                <c16:uniqueId val="{00000227-5015-497F-BF16-E2F3CD2D3DF2}"/>
              </c:ext>
            </c:extLst>
          </c:dPt>
          <c:dPt>
            <c:idx val="275"/>
            <c:invertIfNegative val="1"/>
            <c:bubble3D val="0"/>
            <c:spPr>
              <a:solidFill>
                <a:srgbClr val="AEABAB"/>
              </a:solidFill>
            </c:spPr>
            <c:extLst>
              <c:ext xmlns:c16="http://schemas.microsoft.com/office/drawing/2014/chart" uri="{C3380CC4-5D6E-409C-BE32-E72D297353CC}">
                <c16:uniqueId val="{00000229-5015-497F-BF16-E2F3CD2D3DF2}"/>
              </c:ext>
            </c:extLst>
          </c:dPt>
          <c:dPt>
            <c:idx val="276"/>
            <c:invertIfNegative val="1"/>
            <c:bubble3D val="0"/>
            <c:spPr>
              <a:solidFill>
                <a:srgbClr val="AEABAB"/>
              </a:solidFill>
            </c:spPr>
            <c:extLst>
              <c:ext xmlns:c16="http://schemas.microsoft.com/office/drawing/2014/chart" uri="{C3380CC4-5D6E-409C-BE32-E72D297353CC}">
                <c16:uniqueId val="{0000022B-5015-497F-BF16-E2F3CD2D3DF2}"/>
              </c:ext>
            </c:extLst>
          </c:dPt>
          <c:dPt>
            <c:idx val="277"/>
            <c:invertIfNegative val="1"/>
            <c:bubble3D val="0"/>
            <c:spPr>
              <a:solidFill>
                <a:srgbClr val="AEABAB"/>
              </a:solidFill>
            </c:spPr>
            <c:extLst>
              <c:ext xmlns:c16="http://schemas.microsoft.com/office/drawing/2014/chart" uri="{C3380CC4-5D6E-409C-BE32-E72D297353CC}">
                <c16:uniqueId val="{0000022D-5015-497F-BF16-E2F3CD2D3DF2}"/>
              </c:ext>
            </c:extLst>
          </c:dPt>
          <c:dPt>
            <c:idx val="278"/>
            <c:invertIfNegative val="1"/>
            <c:bubble3D val="0"/>
            <c:spPr>
              <a:solidFill>
                <a:srgbClr val="AEABAB"/>
              </a:solidFill>
            </c:spPr>
            <c:extLst>
              <c:ext xmlns:c16="http://schemas.microsoft.com/office/drawing/2014/chart" uri="{C3380CC4-5D6E-409C-BE32-E72D297353CC}">
                <c16:uniqueId val="{0000022F-5015-497F-BF16-E2F3CD2D3DF2}"/>
              </c:ext>
            </c:extLst>
          </c:dPt>
          <c:dPt>
            <c:idx val="279"/>
            <c:invertIfNegative val="1"/>
            <c:bubble3D val="0"/>
            <c:spPr>
              <a:solidFill>
                <a:srgbClr val="AEABAB"/>
              </a:solidFill>
            </c:spPr>
            <c:extLst>
              <c:ext xmlns:c16="http://schemas.microsoft.com/office/drawing/2014/chart" uri="{C3380CC4-5D6E-409C-BE32-E72D297353CC}">
                <c16:uniqueId val="{00000231-5015-497F-BF16-E2F3CD2D3DF2}"/>
              </c:ext>
            </c:extLst>
          </c:dPt>
          <c:dPt>
            <c:idx val="280"/>
            <c:invertIfNegative val="1"/>
            <c:bubble3D val="0"/>
            <c:spPr>
              <a:solidFill>
                <a:srgbClr val="AEABAB"/>
              </a:solidFill>
            </c:spPr>
            <c:extLst>
              <c:ext xmlns:c16="http://schemas.microsoft.com/office/drawing/2014/chart" uri="{C3380CC4-5D6E-409C-BE32-E72D297353CC}">
                <c16:uniqueId val="{00000233-5015-497F-BF16-E2F3CD2D3DF2}"/>
              </c:ext>
            </c:extLst>
          </c:dPt>
          <c:dPt>
            <c:idx val="281"/>
            <c:invertIfNegative val="1"/>
            <c:bubble3D val="0"/>
            <c:spPr>
              <a:solidFill>
                <a:srgbClr val="AEABAB"/>
              </a:solidFill>
            </c:spPr>
            <c:extLst>
              <c:ext xmlns:c16="http://schemas.microsoft.com/office/drawing/2014/chart" uri="{C3380CC4-5D6E-409C-BE32-E72D297353CC}">
                <c16:uniqueId val="{00000235-5015-497F-BF16-E2F3CD2D3DF2}"/>
              </c:ext>
            </c:extLst>
          </c:dPt>
          <c:dPt>
            <c:idx val="282"/>
            <c:invertIfNegative val="1"/>
            <c:bubble3D val="0"/>
            <c:spPr>
              <a:solidFill>
                <a:srgbClr val="AEABAB"/>
              </a:solidFill>
            </c:spPr>
            <c:extLst>
              <c:ext xmlns:c16="http://schemas.microsoft.com/office/drawing/2014/chart" uri="{C3380CC4-5D6E-409C-BE32-E72D297353CC}">
                <c16:uniqueId val="{00000237-5015-497F-BF16-E2F3CD2D3DF2}"/>
              </c:ext>
            </c:extLst>
          </c:dPt>
          <c:dPt>
            <c:idx val="283"/>
            <c:invertIfNegative val="1"/>
            <c:bubble3D val="0"/>
            <c:spPr>
              <a:solidFill>
                <a:srgbClr val="AEABAB"/>
              </a:solidFill>
            </c:spPr>
            <c:extLst>
              <c:ext xmlns:c16="http://schemas.microsoft.com/office/drawing/2014/chart" uri="{C3380CC4-5D6E-409C-BE32-E72D297353CC}">
                <c16:uniqueId val="{00000239-5015-497F-BF16-E2F3CD2D3DF2}"/>
              </c:ext>
            </c:extLst>
          </c:dPt>
          <c:dPt>
            <c:idx val="284"/>
            <c:invertIfNegative val="1"/>
            <c:bubble3D val="0"/>
            <c:spPr>
              <a:solidFill>
                <a:srgbClr val="AEABAB"/>
              </a:solidFill>
            </c:spPr>
            <c:extLst>
              <c:ext xmlns:c16="http://schemas.microsoft.com/office/drawing/2014/chart" uri="{C3380CC4-5D6E-409C-BE32-E72D297353CC}">
                <c16:uniqueId val="{0000023B-5015-497F-BF16-E2F3CD2D3DF2}"/>
              </c:ext>
            </c:extLst>
          </c:dPt>
          <c:dPt>
            <c:idx val="285"/>
            <c:invertIfNegative val="1"/>
            <c:bubble3D val="0"/>
            <c:spPr>
              <a:solidFill>
                <a:srgbClr val="AEABAB"/>
              </a:solidFill>
            </c:spPr>
            <c:extLst>
              <c:ext xmlns:c16="http://schemas.microsoft.com/office/drawing/2014/chart" uri="{C3380CC4-5D6E-409C-BE32-E72D297353CC}">
                <c16:uniqueId val="{0000023D-5015-497F-BF16-E2F3CD2D3DF2}"/>
              </c:ext>
            </c:extLst>
          </c:dPt>
          <c:dPt>
            <c:idx val="286"/>
            <c:invertIfNegative val="1"/>
            <c:bubble3D val="0"/>
            <c:spPr>
              <a:solidFill>
                <a:srgbClr val="AEABAB"/>
              </a:solidFill>
            </c:spPr>
            <c:extLst>
              <c:ext xmlns:c16="http://schemas.microsoft.com/office/drawing/2014/chart" uri="{C3380CC4-5D6E-409C-BE32-E72D297353CC}">
                <c16:uniqueId val="{0000023F-5015-497F-BF16-E2F3CD2D3DF2}"/>
              </c:ext>
            </c:extLst>
          </c:dPt>
          <c:dPt>
            <c:idx val="287"/>
            <c:invertIfNegative val="1"/>
            <c:bubble3D val="0"/>
            <c:spPr>
              <a:solidFill>
                <a:srgbClr val="AEABAB"/>
              </a:solidFill>
            </c:spPr>
            <c:extLst>
              <c:ext xmlns:c16="http://schemas.microsoft.com/office/drawing/2014/chart" uri="{C3380CC4-5D6E-409C-BE32-E72D297353CC}">
                <c16:uniqueId val="{00000241-5015-497F-BF16-E2F3CD2D3DF2}"/>
              </c:ext>
            </c:extLst>
          </c:dPt>
          <c:dPt>
            <c:idx val="288"/>
            <c:invertIfNegative val="1"/>
            <c:bubble3D val="0"/>
            <c:spPr>
              <a:solidFill>
                <a:srgbClr val="AEABAB"/>
              </a:solidFill>
            </c:spPr>
            <c:extLst>
              <c:ext xmlns:c16="http://schemas.microsoft.com/office/drawing/2014/chart" uri="{C3380CC4-5D6E-409C-BE32-E72D297353CC}">
                <c16:uniqueId val="{00000243-5015-497F-BF16-E2F3CD2D3DF2}"/>
              </c:ext>
            </c:extLst>
          </c:dPt>
          <c:dPt>
            <c:idx val="289"/>
            <c:invertIfNegative val="1"/>
            <c:bubble3D val="0"/>
            <c:spPr>
              <a:solidFill>
                <a:srgbClr val="AEABAB"/>
              </a:solidFill>
            </c:spPr>
            <c:extLst>
              <c:ext xmlns:c16="http://schemas.microsoft.com/office/drawing/2014/chart" uri="{C3380CC4-5D6E-409C-BE32-E72D297353CC}">
                <c16:uniqueId val="{00000245-5015-497F-BF16-E2F3CD2D3DF2}"/>
              </c:ext>
            </c:extLst>
          </c:dPt>
          <c:dPt>
            <c:idx val="290"/>
            <c:invertIfNegative val="1"/>
            <c:bubble3D val="0"/>
            <c:spPr>
              <a:solidFill>
                <a:srgbClr val="AEABAB"/>
              </a:solidFill>
            </c:spPr>
            <c:extLst>
              <c:ext xmlns:c16="http://schemas.microsoft.com/office/drawing/2014/chart" uri="{C3380CC4-5D6E-409C-BE32-E72D297353CC}">
                <c16:uniqueId val="{00000247-5015-497F-BF16-E2F3CD2D3DF2}"/>
              </c:ext>
            </c:extLst>
          </c:dPt>
          <c:dPt>
            <c:idx val="291"/>
            <c:invertIfNegative val="1"/>
            <c:bubble3D val="0"/>
            <c:spPr>
              <a:solidFill>
                <a:srgbClr val="AEABAB"/>
              </a:solidFill>
            </c:spPr>
            <c:extLst>
              <c:ext xmlns:c16="http://schemas.microsoft.com/office/drawing/2014/chart" uri="{C3380CC4-5D6E-409C-BE32-E72D297353CC}">
                <c16:uniqueId val="{00000249-5015-497F-BF16-E2F3CD2D3DF2}"/>
              </c:ext>
            </c:extLst>
          </c:dPt>
          <c:dPt>
            <c:idx val="292"/>
            <c:invertIfNegative val="1"/>
            <c:bubble3D val="0"/>
            <c:spPr>
              <a:solidFill>
                <a:srgbClr val="AEABAB"/>
              </a:solidFill>
            </c:spPr>
            <c:extLst>
              <c:ext xmlns:c16="http://schemas.microsoft.com/office/drawing/2014/chart" uri="{C3380CC4-5D6E-409C-BE32-E72D297353CC}">
                <c16:uniqueId val="{0000024B-5015-497F-BF16-E2F3CD2D3DF2}"/>
              </c:ext>
            </c:extLst>
          </c:dPt>
          <c:dPt>
            <c:idx val="293"/>
            <c:invertIfNegative val="1"/>
            <c:bubble3D val="0"/>
            <c:spPr>
              <a:solidFill>
                <a:srgbClr val="AEABAB"/>
              </a:solidFill>
            </c:spPr>
            <c:extLst>
              <c:ext xmlns:c16="http://schemas.microsoft.com/office/drawing/2014/chart" uri="{C3380CC4-5D6E-409C-BE32-E72D297353CC}">
                <c16:uniqueId val="{0000024D-5015-497F-BF16-E2F3CD2D3DF2}"/>
              </c:ext>
            </c:extLst>
          </c:dPt>
          <c:dPt>
            <c:idx val="294"/>
            <c:invertIfNegative val="1"/>
            <c:bubble3D val="0"/>
            <c:spPr>
              <a:solidFill>
                <a:srgbClr val="AEABAB"/>
              </a:solidFill>
            </c:spPr>
            <c:extLst>
              <c:ext xmlns:c16="http://schemas.microsoft.com/office/drawing/2014/chart" uri="{C3380CC4-5D6E-409C-BE32-E72D297353CC}">
                <c16:uniqueId val="{0000024F-5015-497F-BF16-E2F3CD2D3DF2}"/>
              </c:ext>
            </c:extLst>
          </c:dPt>
          <c:dPt>
            <c:idx val="295"/>
            <c:invertIfNegative val="1"/>
            <c:bubble3D val="0"/>
            <c:spPr>
              <a:solidFill>
                <a:srgbClr val="AEABAB"/>
              </a:solidFill>
            </c:spPr>
            <c:extLst>
              <c:ext xmlns:c16="http://schemas.microsoft.com/office/drawing/2014/chart" uri="{C3380CC4-5D6E-409C-BE32-E72D297353CC}">
                <c16:uniqueId val="{00000251-5015-497F-BF16-E2F3CD2D3DF2}"/>
              </c:ext>
            </c:extLst>
          </c:dPt>
          <c:dPt>
            <c:idx val="296"/>
            <c:invertIfNegative val="1"/>
            <c:bubble3D val="0"/>
            <c:spPr>
              <a:solidFill>
                <a:srgbClr val="AEABAB"/>
              </a:solidFill>
            </c:spPr>
            <c:extLst>
              <c:ext xmlns:c16="http://schemas.microsoft.com/office/drawing/2014/chart" uri="{C3380CC4-5D6E-409C-BE32-E72D297353CC}">
                <c16:uniqueId val="{00000253-5015-497F-BF16-E2F3CD2D3DF2}"/>
              </c:ext>
            </c:extLst>
          </c:dPt>
          <c:dPt>
            <c:idx val="297"/>
            <c:invertIfNegative val="1"/>
            <c:bubble3D val="0"/>
            <c:spPr>
              <a:solidFill>
                <a:srgbClr val="AEABAB"/>
              </a:solidFill>
            </c:spPr>
            <c:extLst>
              <c:ext xmlns:c16="http://schemas.microsoft.com/office/drawing/2014/chart" uri="{C3380CC4-5D6E-409C-BE32-E72D297353CC}">
                <c16:uniqueId val="{00000255-5015-497F-BF16-E2F3CD2D3DF2}"/>
              </c:ext>
            </c:extLst>
          </c:dPt>
          <c:dPt>
            <c:idx val="298"/>
            <c:invertIfNegative val="1"/>
            <c:bubble3D val="0"/>
            <c:spPr>
              <a:solidFill>
                <a:srgbClr val="AEABAB"/>
              </a:solidFill>
            </c:spPr>
            <c:extLst>
              <c:ext xmlns:c16="http://schemas.microsoft.com/office/drawing/2014/chart" uri="{C3380CC4-5D6E-409C-BE32-E72D297353CC}">
                <c16:uniqueId val="{00000257-5015-497F-BF16-E2F3CD2D3DF2}"/>
              </c:ext>
            </c:extLst>
          </c:dPt>
          <c:dPt>
            <c:idx val="299"/>
            <c:invertIfNegative val="1"/>
            <c:bubble3D val="0"/>
            <c:spPr>
              <a:solidFill>
                <a:srgbClr val="AEABAB"/>
              </a:solidFill>
            </c:spPr>
            <c:extLst>
              <c:ext xmlns:c16="http://schemas.microsoft.com/office/drawing/2014/chart" uri="{C3380CC4-5D6E-409C-BE32-E72D297353CC}">
                <c16:uniqueId val="{00000259-5015-497F-BF16-E2F3CD2D3DF2}"/>
              </c:ext>
            </c:extLst>
          </c:dPt>
          <c:dPt>
            <c:idx val="300"/>
            <c:invertIfNegative val="1"/>
            <c:bubble3D val="0"/>
            <c:spPr>
              <a:solidFill>
                <a:srgbClr val="AEABAB"/>
              </a:solidFill>
            </c:spPr>
            <c:extLst>
              <c:ext xmlns:c16="http://schemas.microsoft.com/office/drawing/2014/chart" uri="{C3380CC4-5D6E-409C-BE32-E72D297353CC}">
                <c16:uniqueId val="{0000025B-5015-497F-BF16-E2F3CD2D3DF2}"/>
              </c:ext>
            </c:extLst>
          </c:dPt>
          <c:dPt>
            <c:idx val="301"/>
            <c:invertIfNegative val="1"/>
            <c:bubble3D val="0"/>
            <c:spPr>
              <a:solidFill>
                <a:srgbClr val="AEABAB"/>
              </a:solidFill>
            </c:spPr>
            <c:extLst>
              <c:ext xmlns:c16="http://schemas.microsoft.com/office/drawing/2014/chart" uri="{C3380CC4-5D6E-409C-BE32-E72D297353CC}">
                <c16:uniqueId val="{0000025D-5015-497F-BF16-E2F3CD2D3DF2}"/>
              </c:ext>
            </c:extLst>
          </c:dPt>
          <c:dPt>
            <c:idx val="302"/>
            <c:invertIfNegative val="1"/>
            <c:bubble3D val="0"/>
            <c:spPr>
              <a:solidFill>
                <a:srgbClr val="AEABAB"/>
              </a:solidFill>
            </c:spPr>
            <c:extLst>
              <c:ext xmlns:c16="http://schemas.microsoft.com/office/drawing/2014/chart" uri="{C3380CC4-5D6E-409C-BE32-E72D297353CC}">
                <c16:uniqueId val="{0000025F-5015-497F-BF16-E2F3CD2D3DF2}"/>
              </c:ext>
            </c:extLst>
          </c:dPt>
          <c:dPt>
            <c:idx val="303"/>
            <c:invertIfNegative val="1"/>
            <c:bubble3D val="0"/>
            <c:spPr>
              <a:solidFill>
                <a:srgbClr val="AEABAB"/>
              </a:solidFill>
            </c:spPr>
            <c:extLst>
              <c:ext xmlns:c16="http://schemas.microsoft.com/office/drawing/2014/chart" uri="{C3380CC4-5D6E-409C-BE32-E72D297353CC}">
                <c16:uniqueId val="{00000261-5015-497F-BF16-E2F3CD2D3DF2}"/>
              </c:ext>
            </c:extLst>
          </c:dPt>
          <c:cat>
            <c:strRef>
              <c:f>Sheet1!$A$2:$A$305</c:f>
              <c:strCache>
                <c:ptCount val="304"/>
                <c:pt idx="0">
                  <c:v>Ruinart</c:v>
                </c:pt>
                <c:pt idx="1">
                  <c:v>Nicolas</c:v>
                </c:pt>
                <c:pt idx="2">
                  <c:v>All Others</c:v>
                </c:pt>
                <c:pt idx="3">
                  <c:v>All Others</c:v>
                </c:pt>
                <c:pt idx="4">
                  <c:v>Deutz</c:v>
                </c:pt>
                <c:pt idx="5">
                  <c:v>Mure</c:v>
                </c:pt>
                <c:pt idx="6">
                  <c:v>Ruinart</c:v>
                </c:pt>
                <c:pt idx="7">
                  <c:v>Ayala</c:v>
                </c:pt>
                <c:pt idx="8">
                  <c:v>All Others</c:v>
                </c:pt>
                <c:pt idx="9">
                  <c:v>Bollinger</c:v>
                </c:pt>
                <c:pt idx="10">
                  <c:v>De Bligny</c:v>
                </c:pt>
                <c:pt idx="11">
                  <c:v>Malard</c:v>
                </c:pt>
                <c:pt idx="12">
                  <c:v>Laurent Per</c:v>
                </c:pt>
                <c:pt idx="13">
                  <c:v>Nicolas Feu</c:v>
                </c:pt>
                <c:pt idx="14">
                  <c:v>Heidsieck &amp;</c:v>
                </c:pt>
                <c:pt idx="15">
                  <c:v>Canard Duch</c:v>
                </c:pt>
                <c:pt idx="16">
                  <c:v>Ruinart</c:v>
                </c:pt>
                <c:pt idx="17">
                  <c:v>Taittinger</c:v>
                </c:pt>
                <c:pt idx="18">
                  <c:v>All Others</c:v>
                </c:pt>
                <c:pt idx="19">
                  <c:v>Ruinart</c:v>
                </c:pt>
                <c:pt idx="20">
                  <c:v>Demoiselle</c:v>
                </c:pt>
                <c:pt idx="21">
                  <c:v>Deutz</c:v>
                </c:pt>
                <c:pt idx="22">
                  <c:v>All Others</c:v>
                </c:pt>
                <c:pt idx="23">
                  <c:v>Ruinart</c:v>
                </c:pt>
                <c:pt idx="24">
                  <c:v>Perrier Jou</c:v>
                </c:pt>
                <c:pt idx="25">
                  <c:v>Pommery</c:v>
                </c:pt>
                <c:pt idx="26">
                  <c:v>Lanson-Bcc:</c:v>
                </c:pt>
                <c:pt idx="27">
                  <c:v>Campari: Al</c:v>
                </c:pt>
                <c:pt idx="28">
                  <c:v>All Others</c:v>
                </c:pt>
                <c:pt idx="29">
                  <c:v>Savian</c:v>
                </c:pt>
                <c:pt idx="30">
                  <c:v>Besserat De</c:v>
                </c:pt>
                <c:pt idx="31">
                  <c:v>Nicolas</c:v>
                </c:pt>
                <c:pt idx="32">
                  <c:v>Deutz</c:v>
                </c:pt>
                <c:pt idx="33">
                  <c:v>All Others</c:v>
                </c:pt>
                <c:pt idx="34">
                  <c:v>All Others</c:v>
                </c:pt>
                <c:pt idx="35">
                  <c:v>Ruinart</c:v>
                </c:pt>
                <c:pt idx="36">
                  <c:v>All Others</c:v>
                </c:pt>
                <c:pt idx="37">
                  <c:v>Laurent Per</c:v>
                </c:pt>
                <c:pt idx="38">
                  <c:v>All Others</c:v>
                </c:pt>
                <c:pt idx="39">
                  <c:v>Mure</c:v>
                </c:pt>
                <c:pt idx="40">
                  <c:v>All Others</c:v>
                </c:pt>
                <c:pt idx="41">
                  <c:v>Vesselle</c:v>
                </c:pt>
                <c:pt idx="42">
                  <c:v>Taittinger</c:v>
                </c:pt>
                <c:pt idx="43">
                  <c:v>Demoiselle</c:v>
                </c:pt>
                <c:pt idx="44">
                  <c:v>Dom Perigno</c:v>
                </c:pt>
                <c:pt idx="45">
                  <c:v>All Others</c:v>
                </c:pt>
                <c:pt idx="46">
                  <c:v>Malard</c:v>
                </c:pt>
                <c:pt idx="47">
                  <c:v>Roederer</c:v>
                </c:pt>
                <c:pt idx="48">
                  <c:v>Moët &amp; Chan</c:v>
                </c:pt>
                <c:pt idx="49">
                  <c:v>All Others</c:v>
                </c:pt>
                <c:pt idx="50">
                  <c:v>Malard</c:v>
                </c:pt>
                <c:pt idx="51">
                  <c:v>Laurent Per</c:v>
                </c:pt>
                <c:pt idx="52">
                  <c:v>Roederer</c:v>
                </c:pt>
                <c:pt idx="53">
                  <c:v>Ruinart</c:v>
                </c:pt>
                <c:pt idx="54">
                  <c:v>Nicolas</c:v>
                </c:pt>
                <c:pt idx="55">
                  <c:v>All Others</c:v>
                </c:pt>
                <c:pt idx="56">
                  <c:v>Canard Duch</c:v>
                </c:pt>
                <c:pt idx="57">
                  <c:v>Bollinger</c:v>
                </c:pt>
                <c:pt idx="58">
                  <c:v>Veuve Clicq</c:v>
                </c:pt>
                <c:pt idx="59">
                  <c:v>Veuve Clicq</c:v>
                </c:pt>
                <c:pt idx="60">
                  <c:v>Vranken</c:v>
                </c:pt>
                <c:pt idx="61">
                  <c:v>Malard</c:v>
                </c:pt>
                <c:pt idx="62">
                  <c:v>Henriot</c:v>
                </c:pt>
                <c:pt idx="63">
                  <c:v>Ayala</c:v>
                </c:pt>
                <c:pt idx="64">
                  <c:v>Ruinart</c:v>
                </c:pt>
                <c:pt idx="65">
                  <c:v>Dom Perigno</c:v>
                </c:pt>
                <c:pt idx="66">
                  <c:v>Ruinart</c:v>
                </c:pt>
                <c:pt idx="67">
                  <c:v>Lanson</c:v>
                </c:pt>
                <c:pt idx="68">
                  <c:v>De Venoge</c:v>
                </c:pt>
                <c:pt idx="69">
                  <c:v>Veuve Clicq</c:v>
                </c:pt>
                <c:pt idx="70">
                  <c:v>All Others</c:v>
                </c:pt>
                <c:pt idx="71">
                  <c:v>Malard</c:v>
                </c:pt>
                <c:pt idx="72">
                  <c:v>All Others</c:v>
                </c:pt>
                <c:pt idx="73">
                  <c:v>Deutz</c:v>
                </c:pt>
                <c:pt idx="74">
                  <c:v>Nicolas Feu</c:v>
                </c:pt>
                <c:pt idx="75">
                  <c:v>Malard</c:v>
                </c:pt>
                <c:pt idx="76">
                  <c:v>Nicolas Feu</c:v>
                </c:pt>
                <c:pt idx="77">
                  <c:v>De Chanceny</c:v>
                </c:pt>
                <c:pt idx="78">
                  <c:v>Louis Marti</c:v>
                </c:pt>
                <c:pt idx="79">
                  <c:v>De Bligny</c:v>
                </c:pt>
                <c:pt idx="80">
                  <c:v>Pommery</c:v>
                </c:pt>
                <c:pt idx="81">
                  <c:v>All Others</c:v>
                </c:pt>
                <c:pt idx="82">
                  <c:v>Piper Heids</c:v>
                </c:pt>
                <c:pt idx="83">
                  <c:v>Canard Duch</c:v>
                </c:pt>
                <c:pt idx="84">
                  <c:v>Moët &amp; Chan</c:v>
                </c:pt>
                <c:pt idx="85">
                  <c:v>All Others</c:v>
                </c:pt>
                <c:pt idx="86">
                  <c:v>Mure</c:v>
                </c:pt>
                <c:pt idx="87">
                  <c:v>Delamotte</c:v>
                </c:pt>
                <c:pt idx="88">
                  <c:v>Lyre's</c:v>
                </c:pt>
                <c:pt idx="89">
                  <c:v>Deutz</c:v>
                </c:pt>
                <c:pt idx="90">
                  <c:v>All Others</c:v>
                </c:pt>
                <c:pt idx="91">
                  <c:v>Henriot</c:v>
                </c:pt>
                <c:pt idx="92">
                  <c:v>De Venoge</c:v>
                </c:pt>
                <c:pt idx="93">
                  <c:v>Nicolas Feu</c:v>
                </c:pt>
                <c:pt idx="94">
                  <c:v>Roederer</c:v>
                </c:pt>
                <c:pt idx="95">
                  <c:v>Roederer</c:v>
                </c:pt>
                <c:pt idx="96">
                  <c:v>Campari: Al</c:v>
                </c:pt>
                <c:pt idx="97">
                  <c:v>Canard Duch</c:v>
                </c:pt>
                <c:pt idx="98">
                  <c:v>Krug</c:v>
                </c:pt>
                <c:pt idx="99">
                  <c:v>All Others</c:v>
                </c:pt>
                <c:pt idx="100">
                  <c:v>Bollinger</c:v>
                </c:pt>
                <c:pt idx="101">
                  <c:v>Savian</c:v>
                </c:pt>
                <c:pt idx="102">
                  <c:v>Dom Perigno</c:v>
                </c:pt>
                <c:pt idx="103">
                  <c:v>Laurent Per</c:v>
                </c:pt>
                <c:pt idx="104">
                  <c:v>All Others</c:v>
                </c:pt>
                <c:pt idx="105">
                  <c:v>Besserat De</c:v>
                </c:pt>
                <c:pt idx="106">
                  <c:v>De Venoge</c:v>
                </c:pt>
                <c:pt idx="107">
                  <c:v>Ruinart</c:v>
                </c:pt>
                <c:pt idx="108">
                  <c:v>Vranken</c:v>
                </c:pt>
                <c:pt idx="109">
                  <c:v>Delamotte</c:v>
                </c:pt>
                <c:pt idx="110">
                  <c:v>Besserat De</c:v>
                </c:pt>
                <c:pt idx="111">
                  <c:v>Nicolas</c:v>
                </c:pt>
                <c:pt idx="112">
                  <c:v>Veuve Clicq</c:v>
                </c:pt>
                <c:pt idx="113">
                  <c:v>Henriot</c:v>
                </c:pt>
                <c:pt idx="114">
                  <c:v>Patriarche</c:v>
                </c:pt>
                <c:pt idx="115">
                  <c:v>Canard Duch</c:v>
                </c:pt>
                <c:pt idx="116">
                  <c:v>Roederer</c:v>
                </c:pt>
                <c:pt idx="117">
                  <c:v>Henriot</c:v>
                </c:pt>
                <c:pt idx="118">
                  <c:v>Bollinger</c:v>
                </c:pt>
                <c:pt idx="119">
                  <c:v>Pommery</c:v>
                </c:pt>
                <c:pt idx="120">
                  <c:v>De Venoge</c:v>
                </c:pt>
                <c:pt idx="121">
                  <c:v>Moët &amp; Chan</c:v>
                </c:pt>
                <c:pt idx="122">
                  <c:v>Ruinart</c:v>
                </c:pt>
                <c:pt idx="123">
                  <c:v>Ruinart</c:v>
                </c:pt>
                <c:pt idx="124">
                  <c:v>Ruinart</c:v>
                </c:pt>
                <c:pt idx="125">
                  <c:v>Bottega</c:v>
                </c:pt>
                <c:pt idx="126">
                  <c:v>Deutz</c:v>
                </c:pt>
                <c:pt idx="127">
                  <c:v>Perrier Jou</c:v>
                </c:pt>
                <c:pt idx="128">
                  <c:v>Ruinart</c:v>
                </c:pt>
                <c:pt idx="129">
                  <c:v>Nicolas</c:v>
                </c:pt>
                <c:pt idx="130">
                  <c:v>Nicolas</c:v>
                </c:pt>
                <c:pt idx="131">
                  <c:v>All Others</c:v>
                </c:pt>
                <c:pt idx="132">
                  <c:v>Nicolas</c:v>
                </c:pt>
                <c:pt idx="133">
                  <c:v>Deutz</c:v>
                </c:pt>
                <c:pt idx="134">
                  <c:v>French Bloo</c:v>
                </c:pt>
                <c:pt idx="135">
                  <c:v>Ruinart</c:v>
                </c:pt>
                <c:pt idx="136">
                  <c:v>Laurent Per</c:v>
                </c:pt>
                <c:pt idx="137">
                  <c:v>Roederer</c:v>
                </c:pt>
                <c:pt idx="138">
                  <c:v>Roederer</c:v>
                </c:pt>
                <c:pt idx="139">
                  <c:v>Roederer</c:v>
                </c:pt>
                <c:pt idx="140">
                  <c:v>All Others</c:v>
                </c:pt>
                <c:pt idx="141">
                  <c:v>Nicolas</c:v>
                </c:pt>
                <c:pt idx="142">
                  <c:v>Nicolas</c:v>
                </c:pt>
                <c:pt idx="143">
                  <c:v>Piper Heids</c:v>
                </c:pt>
                <c:pt idx="144">
                  <c:v>Kriter</c:v>
                </c:pt>
                <c:pt idx="145">
                  <c:v>All Others</c:v>
                </c:pt>
                <c:pt idx="146">
                  <c:v>Taittinger</c:v>
                </c:pt>
                <c:pt idx="147">
                  <c:v>Perrier Jou</c:v>
                </c:pt>
                <c:pt idx="148">
                  <c:v>Nicolas Feu</c:v>
                </c:pt>
                <c:pt idx="149">
                  <c:v>Nicolas</c:v>
                </c:pt>
                <c:pt idx="150">
                  <c:v>All Others</c:v>
                </c:pt>
                <c:pt idx="151">
                  <c:v>Laurent Per</c:v>
                </c:pt>
                <c:pt idx="152">
                  <c:v>All Others</c:v>
                </c:pt>
                <c:pt idx="153">
                  <c:v>All Others</c:v>
                </c:pt>
                <c:pt idx="154">
                  <c:v>All Others</c:v>
                </c:pt>
                <c:pt idx="155">
                  <c:v>Canard Duch</c:v>
                </c:pt>
                <c:pt idx="156">
                  <c:v>Moët &amp; Chan</c:v>
                </c:pt>
                <c:pt idx="157">
                  <c:v>Besserat De</c:v>
                </c:pt>
                <c:pt idx="158">
                  <c:v>Ruinart</c:v>
                </c:pt>
                <c:pt idx="159">
                  <c:v>All Others</c:v>
                </c:pt>
                <c:pt idx="160">
                  <c:v>De Venoge</c:v>
                </c:pt>
                <c:pt idx="161">
                  <c:v>Lanson</c:v>
                </c:pt>
                <c:pt idx="162">
                  <c:v>Vranken</c:v>
                </c:pt>
                <c:pt idx="163">
                  <c:v>Roederer</c:v>
                </c:pt>
                <c:pt idx="164">
                  <c:v>Bouvet-Ladu</c:v>
                </c:pt>
                <c:pt idx="165">
                  <c:v>Nicolas</c:v>
                </c:pt>
                <c:pt idx="166">
                  <c:v>De Chanceny</c:v>
                </c:pt>
                <c:pt idx="167">
                  <c:v>Vesselle</c:v>
                </c:pt>
                <c:pt idx="168">
                  <c:v>All Others</c:v>
                </c:pt>
                <c:pt idx="169">
                  <c:v>Ruinart</c:v>
                </c:pt>
                <c:pt idx="170">
                  <c:v>All Others</c:v>
                </c:pt>
                <c:pt idx="171">
                  <c:v>Contarini</c:v>
                </c:pt>
                <c:pt idx="172">
                  <c:v>Nicolas</c:v>
                </c:pt>
                <c:pt idx="173">
                  <c:v>All Others</c:v>
                </c:pt>
                <c:pt idx="174">
                  <c:v>Laurent Per</c:v>
                </c:pt>
                <c:pt idx="175">
                  <c:v>All Others</c:v>
                </c:pt>
                <c:pt idx="176">
                  <c:v>Moët &amp; Chan</c:v>
                </c:pt>
                <c:pt idx="177">
                  <c:v>Cru La Maqu</c:v>
                </c:pt>
                <c:pt idx="178">
                  <c:v>All Others</c:v>
                </c:pt>
                <c:pt idx="179">
                  <c:v>Ayala</c:v>
                </c:pt>
                <c:pt idx="180">
                  <c:v>Pommery</c:v>
                </c:pt>
                <c:pt idx="181">
                  <c:v>Nicolas</c:v>
                </c:pt>
                <c:pt idx="182">
                  <c:v>All Others</c:v>
                </c:pt>
                <c:pt idx="183">
                  <c:v>Dom Perigno</c:v>
                </c:pt>
                <c:pt idx="184">
                  <c:v>All Others</c:v>
                </c:pt>
                <c:pt idx="185">
                  <c:v>Nicolas</c:v>
                </c:pt>
                <c:pt idx="186">
                  <c:v>Patriarche</c:v>
                </c:pt>
                <c:pt idx="187">
                  <c:v>Roederer</c:v>
                </c:pt>
                <c:pt idx="188">
                  <c:v>Pommery</c:v>
                </c:pt>
                <c:pt idx="189">
                  <c:v>Louis Marti</c:v>
                </c:pt>
                <c:pt idx="190">
                  <c:v>Roederer</c:v>
                </c:pt>
                <c:pt idx="191">
                  <c:v>Ruinart</c:v>
                </c:pt>
                <c:pt idx="192">
                  <c:v>Ruinart</c:v>
                </c:pt>
                <c:pt idx="193">
                  <c:v>All Others</c:v>
                </c:pt>
                <c:pt idx="194">
                  <c:v>Bottega</c:v>
                </c:pt>
                <c:pt idx="195">
                  <c:v>Canard Duch</c:v>
                </c:pt>
                <c:pt idx="196">
                  <c:v>Nicolas</c:v>
                </c:pt>
                <c:pt idx="197">
                  <c:v>Pommery</c:v>
                </c:pt>
                <c:pt idx="198">
                  <c:v>Bollinger</c:v>
                </c:pt>
                <c:pt idx="199">
                  <c:v>Taittinger</c:v>
                </c:pt>
                <c:pt idx="200">
                  <c:v>De Venoge</c:v>
                </c:pt>
                <c:pt idx="201">
                  <c:v>All Others</c:v>
                </c:pt>
                <c:pt idx="202">
                  <c:v>Lanson</c:v>
                </c:pt>
                <c:pt idx="203">
                  <c:v>Roederer</c:v>
                </c:pt>
                <c:pt idx="204">
                  <c:v>Pommery</c:v>
                </c:pt>
                <c:pt idx="205">
                  <c:v>Demoiselle</c:v>
                </c:pt>
                <c:pt idx="206">
                  <c:v>All Others</c:v>
                </c:pt>
                <c:pt idx="207">
                  <c:v>Henriot</c:v>
                </c:pt>
                <c:pt idx="208">
                  <c:v>All Others</c:v>
                </c:pt>
                <c:pt idx="209">
                  <c:v>Laurent Per</c:v>
                </c:pt>
                <c:pt idx="210">
                  <c:v>Vesselle</c:v>
                </c:pt>
                <c:pt idx="211">
                  <c:v>Nicolas</c:v>
                </c:pt>
                <c:pt idx="212">
                  <c:v>Roederer</c:v>
                </c:pt>
                <c:pt idx="213">
                  <c:v>Bollinger</c:v>
                </c:pt>
                <c:pt idx="214">
                  <c:v>De Bligny</c:v>
                </c:pt>
                <c:pt idx="215">
                  <c:v>Piper Heids</c:v>
                </c:pt>
                <c:pt idx="216">
                  <c:v>All Others</c:v>
                </c:pt>
                <c:pt idx="217">
                  <c:v>Canard Duch</c:v>
                </c:pt>
                <c:pt idx="218">
                  <c:v>Moët &amp; Chan</c:v>
                </c:pt>
                <c:pt idx="219">
                  <c:v>Laurent Per</c:v>
                </c:pt>
                <c:pt idx="220">
                  <c:v>Ruinart</c:v>
                </c:pt>
                <c:pt idx="221">
                  <c:v>De Venoge</c:v>
                </c:pt>
                <c:pt idx="222">
                  <c:v>Roederer</c:v>
                </c:pt>
                <c:pt idx="223">
                  <c:v>Henriot</c:v>
                </c:pt>
                <c:pt idx="224">
                  <c:v>De Bligny</c:v>
                </c:pt>
                <c:pt idx="225">
                  <c:v>Nicolas</c:v>
                </c:pt>
                <c:pt idx="226">
                  <c:v>Laurent Per</c:v>
                </c:pt>
                <c:pt idx="227">
                  <c:v>Piper Heids</c:v>
                </c:pt>
                <c:pt idx="228">
                  <c:v>All Others</c:v>
                </c:pt>
                <c:pt idx="229">
                  <c:v>Contarini</c:v>
                </c:pt>
                <c:pt idx="230">
                  <c:v>All Others</c:v>
                </c:pt>
                <c:pt idx="231">
                  <c:v>Nicolas Feu</c:v>
                </c:pt>
                <c:pt idx="232">
                  <c:v>Roederer</c:v>
                </c:pt>
                <c:pt idx="233">
                  <c:v>Perrier Jou</c:v>
                </c:pt>
                <c:pt idx="234">
                  <c:v>Laurent Per</c:v>
                </c:pt>
                <c:pt idx="235">
                  <c:v>Demoiselle</c:v>
                </c:pt>
                <c:pt idx="236">
                  <c:v>Malard</c:v>
                </c:pt>
                <c:pt idx="237">
                  <c:v>All Others</c:v>
                </c:pt>
                <c:pt idx="238">
                  <c:v>Deutz</c:v>
                </c:pt>
                <c:pt idx="239">
                  <c:v>Nicolas</c:v>
                </c:pt>
                <c:pt idx="240">
                  <c:v>Celene</c:v>
                </c:pt>
                <c:pt idx="241">
                  <c:v>Roederer</c:v>
                </c:pt>
                <c:pt idx="242">
                  <c:v>Taittinger</c:v>
                </c:pt>
                <c:pt idx="243">
                  <c:v>Ruinart</c:v>
                </c:pt>
                <c:pt idx="244">
                  <c:v>All Others</c:v>
                </c:pt>
                <c:pt idx="245">
                  <c:v>Laurent Per</c:v>
                </c:pt>
                <c:pt idx="246">
                  <c:v>De Venoge</c:v>
                </c:pt>
                <c:pt idx="247">
                  <c:v>Roederer</c:v>
                </c:pt>
                <c:pt idx="248">
                  <c:v>Bollinger</c:v>
                </c:pt>
                <c:pt idx="249">
                  <c:v>Besserat De</c:v>
                </c:pt>
                <c:pt idx="250">
                  <c:v>Laurent Per</c:v>
                </c:pt>
                <c:pt idx="251">
                  <c:v>Bollinger</c:v>
                </c:pt>
                <c:pt idx="252">
                  <c:v>All Others</c:v>
                </c:pt>
                <c:pt idx="253">
                  <c:v>Ruinart</c:v>
                </c:pt>
                <c:pt idx="254">
                  <c:v>Roederer</c:v>
                </c:pt>
                <c:pt idx="255">
                  <c:v>Veuve Clicq</c:v>
                </c:pt>
                <c:pt idx="256">
                  <c:v>Laurent Per</c:v>
                </c:pt>
                <c:pt idx="257">
                  <c:v>Celene</c:v>
                </c:pt>
                <c:pt idx="258">
                  <c:v>Veuve Clicq</c:v>
                </c:pt>
                <c:pt idx="259">
                  <c:v>Vranken</c:v>
                </c:pt>
                <c:pt idx="260">
                  <c:v>All Others</c:v>
                </c:pt>
                <c:pt idx="261">
                  <c:v>Perrier Jou</c:v>
                </c:pt>
                <c:pt idx="262">
                  <c:v>Deutz</c:v>
                </c:pt>
                <c:pt idx="263">
                  <c:v>All Others</c:v>
                </c:pt>
                <c:pt idx="264">
                  <c:v>Nicolas Feu</c:v>
                </c:pt>
                <c:pt idx="265">
                  <c:v>Besserat De</c:v>
                </c:pt>
                <c:pt idx="266">
                  <c:v>All Others</c:v>
                </c:pt>
                <c:pt idx="267">
                  <c:v>Veuve Clicq</c:v>
                </c:pt>
                <c:pt idx="268">
                  <c:v>All Others</c:v>
                </c:pt>
                <c:pt idx="269">
                  <c:v>Bouvet-Ladu</c:v>
                </c:pt>
                <c:pt idx="270">
                  <c:v>Nicolas</c:v>
                </c:pt>
                <c:pt idx="271">
                  <c:v>All Others</c:v>
                </c:pt>
                <c:pt idx="272">
                  <c:v>Malard</c:v>
                </c:pt>
                <c:pt idx="273">
                  <c:v>Roederer</c:v>
                </c:pt>
                <c:pt idx="274">
                  <c:v>Bouvet-Ladu</c:v>
                </c:pt>
                <c:pt idx="275">
                  <c:v>Lanson</c:v>
                </c:pt>
                <c:pt idx="276">
                  <c:v>All Others</c:v>
                </c:pt>
                <c:pt idx="277">
                  <c:v>Roederer</c:v>
                </c:pt>
                <c:pt idx="278">
                  <c:v>Roederer</c:v>
                </c:pt>
                <c:pt idx="279">
                  <c:v>De Venoge</c:v>
                </c:pt>
                <c:pt idx="280">
                  <c:v>All Others</c:v>
                </c:pt>
                <c:pt idx="281">
                  <c:v>Bollinger</c:v>
                </c:pt>
                <c:pt idx="282">
                  <c:v>Roederer</c:v>
                </c:pt>
                <c:pt idx="283">
                  <c:v>Henriot</c:v>
                </c:pt>
                <c:pt idx="284">
                  <c:v>Jaillance</c:v>
                </c:pt>
                <c:pt idx="285">
                  <c:v>Piper Heids</c:v>
                </c:pt>
                <c:pt idx="286">
                  <c:v>Nicolas</c:v>
                </c:pt>
                <c:pt idx="287">
                  <c:v>Nicolas</c:v>
                </c:pt>
                <c:pt idx="288">
                  <c:v>Bouvet-Ladu</c:v>
                </c:pt>
                <c:pt idx="289">
                  <c:v>All Others</c:v>
                </c:pt>
                <c:pt idx="290">
                  <c:v>All Others</c:v>
                </c:pt>
                <c:pt idx="291">
                  <c:v>Vranken Pom</c:v>
                </c:pt>
                <c:pt idx="292">
                  <c:v>All Others</c:v>
                </c:pt>
                <c:pt idx="293">
                  <c:v>Bouvet-Ladu</c:v>
                </c:pt>
                <c:pt idx="294">
                  <c:v>Nicolas</c:v>
                </c:pt>
                <c:pt idx="295">
                  <c:v>Moët &amp; Chan</c:v>
                </c:pt>
                <c:pt idx="296">
                  <c:v>Malard</c:v>
                </c:pt>
                <c:pt idx="297">
                  <c:v>All Others</c:v>
                </c:pt>
                <c:pt idx="298">
                  <c:v>Demoiselle</c:v>
                </c:pt>
                <c:pt idx="299">
                  <c:v>All Others</c:v>
                </c:pt>
                <c:pt idx="300">
                  <c:v>All Others</c:v>
                </c:pt>
                <c:pt idx="301">
                  <c:v>Besserat De</c:v>
                </c:pt>
                <c:pt idx="302">
                  <c:v>All Others</c:v>
                </c:pt>
                <c:pt idx="303">
                  <c:v>All Others</c:v>
                </c:pt>
              </c:strCache>
            </c:strRef>
          </c:cat>
          <c:val>
            <c:numRef>
              <c:f>Sheet1!$C$2:$C$305</c:f>
              <c:numCache>
                <c:formatCode>General</c:formatCode>
                <c:ptCount val="304"/>
                <c:pt idx="0">
                  <c:v>7.0540837664596651E-2</c:v>
                </c:pt>
                <c:pt idx="1">
                  <c:v>0.1283191712810072</c:v>
                </c:pt>
                <c:pt idx="2">
                  <c:v>0.16251835678323076</c:v>
                </c:pt>
                <c:pt idx="3">
                  <c:v>0.192649968570238</c:v>
                </c:pt>
                <c:pt idx="4">
                  <c:v>0.22198313879284592</c:v>
                </c:pt>
                <c:pt idx="5">
                  <c:v>0.2498357515044507</c:v>
                </c:pt>
                <c:pt idx="6">
                  <c:v>0.27650763188894784</c:v>
                </c:pt>
                <c:pt idx="7">
                  <c:v>0.29899998197772121</c:v>
                </c:pt>
                <c:pt idx="8">
                  <c:v>0.31749903198517587</c:v>
                </c:pt>
                <c:pt idx="9">
                  <c:v>0.33572447103246361</c:v>
                </c:pt>
                <c:pt idx="10">
                  <c:v>0.35385870642636236</c:v>
                </c:pt>
                <c:pt idx="11">
                  <c:v>0.37187224716517747</c:v>
                </c:pt>
                <c:pt idx="12">
                  <c:v>0.38951769651247059</c:v>
                </c:pt>
                <c:pt idx="13">
                  <c:v>0.40611457691062097</c:v>
                </c:pt>
                <c:pt idx="14">
                  <c:v>0.42159789892996818</c:v>
                </c:pt>
                <c:pt idx="15">
                  <c:v>0.43602882909254553</c:v>
                </c:pt>
                <c:pt idx="16">
                  <c:v>0.45017413344241369</c:v>
                </c:pt>
                <c:pt idx="17">
                  <c:v>0.46249918763212933</c:v>
                </c:pt>
                <c:pt idx="18">
                  <c:v>0.47456155345489826</c:v>
                </c:pt>
                <c:pt idx="19">
                  <c:v>0.48582875449123392</c:v>
                </c:pt>
                <c:pt idx="20">
                  <c:v>0.49614787443605296</c:v>
                </c:pt>
                <c:pt idx="21">
                  <c:v>0.50603172904104554</c:v>
                </c:pt>
                <c:pt idx="22">
                  <c:v>0.51590247653417387</c:v>
                </c:pt>
                <c:pt idx="23">
                  <c:v>0.52565307550187956</c:v>
                </c:pt>
                <c:pt idx="24">
                  <c:v>0.53466585329755822</c:v>
                </c:pt>
                <c:pt idx="25">
                  <c:v>0.54357868936527176</c:v>
                </c:pt>
                <c:pt idx="26">
                  <c:v>0.5524915254329853</c:v>
                </c:pt>
                <c:pt idx="27">
                  <c:v>0.5612558142329036</c:v>
                </c:pt>
                <c:pt idx="28">
                  <c:v>0.57001191108790672</c:v>
                </c:pt>
                <c:pt idx="29">
                  <c:v>0.57825082315393161</c:v>
                </c:pt>
                <c:pt idx="30">
                  <c:v>0.58627292174453483</c:v>
                </c:pt>
                <c:pt idx="31">
                  <c:v>0.59425515286988417</c:v>
                </c:pt>
                <c:pt idx="32">
                  <c:v>0.60206699154099774</c:v>
                </c:pt>
                <c:pt idx="33">
                  <c:v>0.60985753115533192</c:v>
                </c:pt>
                <c:pt idx="34">
                  <c:v>0.61757871230271755</c:v>
                </c:pt>
                <c:pt idx="35">
                  <c:v>0.62524910339162909</c:v>
                </c:pt>
                <c:pt idx="36">
                  <c:v>0.63258526312800134</c:v>
                </c:pt>
                <c:pt idx="37">
                  <c:v>0.63986735602793343</c:v>
                </c:pt>
                <c:pt idx="38">
                  <c:v>0.64681740209397032</c:v>
                </c:pt>
                <c:pt idx="39">
                  <c:v>0.65369754356339771</c:v>
                </c:pt>
                <c:pt idx="40">
                  <c:v>0.66013695839638853</c:v>
                </c:pt>
                <c:pt idx="41">
                  <c:v>0.66654251319039659</c:v>
                </c:pt>
                <c:pt idx="42">
                  <c:v>0.67290601600050681</c:v>
                </c:pt>
                <c:pt idx="43">
                  <c:v>0.67913298639536401</c:v>
                </c:pt>
                <c:pt idx="44">
                  <c:v>0.68507870001480009</c:v>
                </c:pt>
                <c:pt idx="45">
                  <c:v>0.69089279638593237</c:v>
                </c:pt>
                <c:pt idx="46">
                  <c:v>0.69659220552825207</c:v>
                </c:pt>
                <c:pt idx="47">
                  <c:v>0.70203165695193015</c:v>
                </c:pt>
                <c:pt idx="48">
                  <c:v>0.70718329804425506</c:v>
                </c:pt>
                <c:pt idx="49">
                  <c:v>0.71207552754759929</c:v>
                </c:pt>
                <c:pt idx="50">
                  <c:v>0.71692188215941854</c:v>
                </c:pt>
                <c:pt idx="51">
                  <c:v>0.72165081889412019</c:v>
                </c:pt>
                <c:pt idx="52">
                  <c:v>0.7263448033305171</c:v>
                </c:pt>
                <c:pt idx="53">
                  <c:v>0.73093884603894888</c:v>
                </c:pt>
                <c:pt idx="54">
                  <c:v>0.73545861511348298</c:v>
                </c:pt>
                <c:pt idx="55">
                  <c:v>0.73995107770496649</c:v>
                </c:pt>
                <c:pt idx="56">
                  <c:v>0.74433322210492558</c:v>
                </c:pt>
                <c:pt idx="57">
                  <c:v>0.74869242905912226</c:v>
                </c:pt>
                <c:pt idx="58">
                  <c:v>0.75282936124128708</c:v>
                </c:pt>
                <c:pt idx="59">
                  <c:v>0.7568750897700629</c:v>
                </c:pt>
                <c:pt idx="60">
                  <c:v>0.76080613107002626</c:v>
                </c:pt>
                <c:pt idx="61">
                  <c:v>0.76467545971829531</c:v>
                </c:pt>
                <c:pt idx="62">
                  <c:v>0.76852512769876791</c:v>
                </c:pt>
                <c:pt idx="63">
                  <c:v>0.7723605963080542</c:v>
                </c:pt>
                <c:pt idx="64">
                  <c:v>0.7761059535232735</c:v>
                </c:pt>
                <c:pt idx="65">
                  <c:v>0.77970822476730772</c:v>
                </c:pt>
                <c:pt idx="66">
                  <c:v>0.78329465825117262</c:v>
                </c:pt>
                <c:pt idx="67">
                  <c:v>0.7868750843087664</c:v>
                </c:pt>
                <c:pt idx="68">
                  <c:v>0.79036922187992031</c:v>
                </c:pt>
                <c:pt idx="69">
                  <c:v>0.79381966907819324</c:v>
                </c:pt>
                <c:pt idx="70">
                  <c:v>0.7971046389891796</c:v>
                </c:pt>
                <c:pt idx="71">
                  <c:v>0.80038414760355581</c:v>
                </c:pt>
                <c:pt idx="72">
                  <c:v>0.80355716093403473</c:v>
                </c:pt>
                <c:pt idx="73">
                  <c:v>0.80671324424502222</c:v>
                </c:pt>
                <c:pt idx="74">
                  <c:v>0.80983765203567104</c:v>
                </c:pt>
                <c:pt idx="75">
                  <c:v>0.81294130689920141</c:v>
                </c:pt>
                <c:pt idx="76">
                  <c:v>0.81602038592798631</c:v>
                </c:pt>
                <c:pt idx="77">
                  <c:v>0.81909891882711017</c:v>
                </c:pt>
                <c:pt idx="78">
                  <c:v>0.82216762139233579</c:v>
                </c:pt>
                <c:pt idx="79">
                  <c:v>0.82521284038213794</c:v>
                </c:pt>
                <c:pt idx="80">
                  <c:v>0.82820344640583887</c:v>
                </c:pt>
                <c:pt idx="81">
                  <c:v>0.83117603015072639</c:v>
                </c:pt>
                <c:pt idx="82">
                  <c:v>0.83405631798290292</c:v>
                </c:pt>
                <c:pt idx="83">
                  <c:v>0.83692786774050332</c:v>
                </c:pt>
                <c:pt idx="84">
                  <c:v>0.83960171856081733</c:v>
                </c:pt>
                <c:pt idx="85">
                  <c:v>0.84227120034384328</c:v>
                </c:pt>
                <c:pt idx="86">
                  <c:v>0.8449390437378862</c:v>
                </c:pt>
                <c:pt idx="87">
                  <c:v>0.84756920418531934</c:v>
                </c:pt>
                <c:pt idx="88">
                  <c:v>0.85014475166665127</c:v>
                </c:pt>
                <c:pt idx="89">
                  <c:v>0.85264001808781442</c:v>
                </c:pt>
                <c:pt idx="90">
                  <c:v>0.85512272352677432</c:v>
                </c:pt>
                <c:pt idx="91">
                  <c:v>0.85758522216827682</c:v>
                </c:pt>
                <c:pt idx="92">
                  <c:v>0.85996088619367839</c:v>
                </c:pt>
                <c:pt idx="93">
                  <c:v>0.86233600408941891</c:v>
                </c:pt>
                <c:pt idx="94">
                  <c:v>0.86470729907753241</c:v>
                </c:pt>
                <c:pt idx="95">
                  <c:v>0.86698902880123996</c:v>
                </c:pt>
                <c:pt idx="96">
                  <c:v>0.86926912013596447</c:v>
                </c:pt>
                <c:pt idx="97">
                  <c:v>0.87154101952577379</c:v>
                </c:pt>
                <c:pt idx="98">
                  <c:v>0.87377578209863427</c:v>
                </c:pt>
                <c:pt idx="99">
                  <c:v>0.87597122333590194</c:v>
                </c:pt>
                <c:pt idx="100">
                  <c:v>0.87816174940622049</c:v>
                </c:pt>
                <c:pt idx="101">
                  <c:v>0.88030803897399712</c:v>
                </c:pt>
                <c:pt idx="102">
                  <c:v>0.88243193722567226</c:v>
                </c:pt>
                <c:pt idx="103">
                  <c:v>0.88454436675446613</c:v>
                </c:pt>
                <c:pt idx="104">
                  <c:v>0.88647548123580411</c:v>
                </c:pt>
                <c:pt idx="105">
                  <c:v>0.88839348860527778</c:v>
                </c:pt>
                <c:pt idx="106">
                  <c:v>0.89029238143661604</c:v>
                </c:pt>
                <c:pt idx="107">
                  <c:v>0.89212956161625989</c:v>
                </c:pt>
                <c:pt idx="108">
                  <c:v>0.89395254242471744</c:v>
                </c:pt>
                <c:pt idx="109">
                  <c:v>0.89570070346961639</c:v>
                </c:pt>
                <c:pt idx="110">
                  <c:v>0.8974046280119734</c:v>
                </c:pt>
                <c:pt idx="111">
                  <c:v>0.89908561510856788</c:v>
                </c:pt>
                <c:pt idx="112">
                  <c:v>0.90075294896363711</c:v>
                </c:pt>
                <c:pt idx="113">
                  <c:v>0.90237331566785928</c:v>
                </c:pt>
                <c:pt idx="114">
                  <c:v>0.90397129105597995</c:v>
                </c:pt>
                <c:pt idx="115">
                  <c:v>0.90554578286867715</c:v>
                </c:pt>
                <c:pt idx="116">
                  <c:v>0.90710880595849308</c:v>
                </c:pt>
                <c:pt idx="117">
                  <c:v>0.90866472936271592</c:v>
                </c:pt>
                <c:pt idx="118">
                  <c:v>0.91019225402456605</c:v>
                </c:pt>
                <c:pt idx="119">
                  <c:v>0.91170667157455199</c:v>
                </c:pt>
                <c:pt idx="120">
                  <c:v>0.91321726621691079</c:v>
                </c:pt>
                <c:pt idx="121">
                  <c:v>0.91472349182198154</c:v>
                </c:pt>
                <c:pt idx="122">
                  <c:v>0.91621661031518797</c:v>
                </c:pt>
                <c:pt idx="123">
                  <c:v>0.91768842975161491</c:v>
                </c:pt>
                <c:pt idx="124">
                  <c:v>0.91915478789143179</c:v>
                </c:pt>
                <c:pt idx="125">
                  <c:v>0.92056653306514746</c:v>
                </c:pt>
                <c:pt idx="126">
                  <c:v>0.92196407886767684</c:v>
                </c:pt>
                <c:pt idx="127">
                  <c:v>0.92335725563291804</c:v>
                </c:pt>
                <c:pt idx="128">
                  <c:v>0.92470401137697333</c:v>
                </c:pt>
                <c:pt idx="129">
                  <c:v>0.92600270771085957</c:v>
                </c:pt>
                <c:pt idx="130">
                  <c:v>0.92727628208033919</c:v>
                </c:pt>
                <c:pt idx="131">
                  <c:v>0.92851818092948013</c:v>
                </c:pt>
                <c:pt idx="132">
                  <c:v>0.92972895038794345</c:v>
                </c:pt>
                <c:pt idx="133">
                  <c:v>0.93093753532776269</c:v>
                </c:pt>
                <c:pt idx="134">
                  <c:v>0.93213246702605668</c:v>
                </c:pt>
                <c:pt idx="135">
                  <c:v>0.93331647613113033</c:v>
                </c:pt>
                <c:pt idx="136">
                  <c:v>0.93448082456840764</c:v>
                </c:pt>
                <c:pt idx="137">
                  <c:v>0.93563151976415959</c:v>
                </c:pt>
                <c:pt idx="138">
                  <c:v>0.93675272395821696</c:v>
                </c:pt>
                <c:pt idx="139">
                  <c:v>0.9378559058734609</c:v>
                </c:pt>
                <c:pt idx="140">
                  <c:v>0.93893505808362032</c:v>
                </c:pt>
                <c:pt idx="141">
                  <c:v>0.93999618801496632</c:v>
                </c:pt>
                <c:pt idx="142">
                  <c:v>0.94104803374207513</c:v>
                </c:pt>
                <c:pt idx="143">
                  <c:v>0.94208458783867566</c:v>
                </c:pt>
                <c:pt idx="144">
                  <c:v>0.94309929674883564</c:v>
                </c:pt>
                <c:pt idx="145">
                  <c:v>0.94408615304628407</c:v>
                </c:pt>
                <c:pt idx="146">
                  <c:v>0.94507027869542748</c:v>
                </c:pt>
                <c:pt idx="147">
                  <c:v>0.9460522198259268</c:v>
                </c:pt>
                <c:pt idx="148">
                  <c:v>0.94702105384456181</c:v>
                </c:pt>
                <c:pt idx="149">
                  <c:v>0.94798551882590876</c:v>
                </c:pt>
                <c:pt idx="150">
                  <c:v>0.94891011634200184</c:v>
                </c:pt>
                <c:pt idx="151">
                  <c:v>0.94982979869114581</c:v>
                </c:pt>
                <c:pt idx="152">
                  <c:v>0.95070852131571393</c:v>
                </c:pt>
                <c:pt idx="153">
                  <c:v>0.95157905199536685</c:v>
                </c:pt>
                <c:pt idx="154">
                  <c:v>0.95241954554366415</c:v>
                </c:pt>
                <c:pt idx="155">
                  <c:v>0.95323983229450393</c:v>
                </c:pt>
                <c:pt idx="156">
                  <c:v>0.95405848065636067</c:v>
                </c:pt>
                <c:pt idx="157">
                  <c:v>0.95487166772160736</c:v>
                </c:pt>
                <c:pt idx="158">
                  <c:v>0.95567993961990494</c:v>
                </c:pt>
                <c:pt idx="159">
                  <c:v>0.95648766538854146</c:v>
                </c:pt>
                <c:pt idx="160">
                  <c:v>0.9572932066385339</c:v>
                </c:pt>
                <c:pt idx="161">
                  <c:v>0.95808673303598413</c:v>
                </c:pt>
                <c:pt idx="162">
                  <c:v>0.95887971330377331</c:v>
                </c:pt>
                <c:pt idx="163">
                  <c:v>0.95966941679359641</c:v>
                </c:pt>
                <c:pt idx="164">
                  <c:v>0.96044164413426714</c:v>
                </c:pt>
                <c:pt idx="165">
                  <c:v>0.96121223308595483</c:v>
                </c:pt>
                <c:pt idx="166">
                  <c:v>0.96198172977832053</c:v>
                </c:pt>
                <c:pt idx="167">
                  <c:v>0.96274194226644905</c:v>
                </c:pt>
                <c:pt idx="168">
                  <c:v>0.96350106249525558</c:v>
                </c:pt>
                <c:pt idx="169">
                  <c:v>0.96425963659440106</c:v>
                </c:pt>
                <c:pt idx="170">
                  <c:v>0.96499581937744505</c:v>
                </c:pt>
                <c:pt idx="171">
                  <c:v>0.96572872538252297</c:v>
                </c:pt>
                <c:pt idx="172">
                  <c:v>0.96646163138760088</c:v>
                </c:pt>
                <c:pt idx="173">
                  <c:v>0.96718525318844162</c:v>
                </c:pt>
                <c:pt idx="174">
                  <c:v>0.96790177530368915</c:v>
                </c:pt>
                <c:pt idx="175">
                  <c:v>0.96861392838164861</c:v>
                </c:pt>
                <c:pt idx="176">
                  <c:v>0.96931078982909979</c:v>
                </c:pt>
                <c:pt idx="177">
                  <c:v>0.97000273610960186</c:v>
                </c:pt>
                <c:pt idx="178">
                  <c:v>0.97068539818586663</c:v>
                </c:pt>
                <c:pt idx="179">
                  <c:v>0.97135058411297903</c:v>
                </c:pt>
                <c:pt idx="180">
                  <c:v>0.97201577004009143</c:v>
                </c:pt>
                <c:pt idx="181">
                  <c:v>0.97264163463161102</c:v>
                </c:pt>
                <c:pt idx="182">
                  <c:v>0.97326476857482558</c:v>
                </c:pt>
                <c:pt idx="183">
                  <c:v>0.97386551120193865</c:v>
                </c:pt>
                <c:pt idx="184">
                  <c:v>0.97445642349515349</c:v>
                </c:pt>
                <c:pt idx="185">
                  <c:v>0.97502002930531773</c:v>
                </c:pt>
                <c:pt idx="186">
                  <c:v>0.97558308898582091</c:v>
                </c:pt>
                <c:pt idx="187">
                  <c:v>0.9761461486663241</c:v>
                </c:pt>
                <c:pt idx="188">
                  <c:v>0.97670538543920027</c:v>
                </c:pt>
                <c:pt idx="189">
                  <c:v>0.97725369961885622</c:v>
                </c:pt>
                <c:pt idx="190">
                  <c:v>0.97779382185359698</c:v>
                </c:pt>
                <c:pt idx="191">
                  <c:v>0.97829571501206691</c:v>
                </c:pt>
                <c:pt idx="192">
                  <c:v>0.97878723170697757</c:v>
                </c:pt>
                <c:pt idx="193">
                  <c:v>0.97927656388324424</c:v>
                </c:pt>
                <c:pt idx="194">
                  <c:v>0.97974732765103645</c:v>
                </c:pt>
                <c:pt idx="195">
                  <c:v>0.98021754528916771</c:v>
                </c:pt>
                <c:pt idx="196">
                  <c:v>0.98068120937136682</c:v>
                </c:pt>
                <c:pt idx="197">
                  <c:v>0.98114268893492185</c:v>
                </c:pt>
                <c:pt idx="198">
                  <c:v>0.98160143785017184</c:v>
                </c:pt>
                <c:pt idx="199">
                  <c:v>0.98205527159847272</c:v>
                </c:pt>
                <c:pt idx="200">
                  <c:v>0.98250746695779057</c:v>
                </c:pt>
                <c:pt idx="201">
                  <c:v>0.98295911618744736</c:v>
                </c:pt>
                <c:pt idx="202">
                  <c:v>0.98340148121286697</c:v>
                </c:pt>
                <c:pt idx="203">
                  <c:v>0.98383838494167641</c:v>
                </c:pt>
                <c:pt idx="204">
                  <c:v>0.98427037350353674</c:v>
                </c:pt>
                <c:pt idx="205">
                  <c:v>0.98469744689844807</c:v>
                </c:pt>
                <c:pt idx="206">
                  <c:v>0.9851152360891221</c:v>
                </c:pt>
                <c:pt idx="207">
                  <c:v>0.98552811011284702</c:v>
                </c:pt>
                <c:pt idx="208">
                  <c:v>0.98592896928402973</c:v>
                </c:pt>
                <c:pt idx="209">
                  <c:v>0.98631726747300918</c:v>
                </c:pt>
                <c:pt idx="210">
                  <c:v>0.98670065049503952</c:v>
                </c:pt>
                <c:pt idx="211">
                  <c:v>0.98707911835012074</c:v>
                </c:pt>
                <c:pt idx="212">
                  <c:v>0.98744174844503263</c:v>
                </c:pt>
                <c:pt idx="213">
                  <c:v>0.98779509433570734</c:v>
                </c:pt>
                <c:pt idx="214">
                  <c:v>0.98814461731875491</c:v>
                </c:pt>
                <c:pt idx="215">
                  <c:v>0.98847284124502299</c:v>
                </c:pt>
                <c:pt idx="216">
                  <c:v>0.9887835890221387</c:v>
                </c:pt>
                <c:pt idx="217">
                  <c:v>0.98909269841027136</c:v>
                </c:pt>
                <c:pt idx="218">
                  <c:v>0.98939252359416685</c:v>
                </c:pt>
                <c:pt idx="219">
                  <c:v>0.9896918026484014</c:v>
                </c:pt>
                <c:pt idx="220">
                  <c:v>0.98998398201704274</c:v>
                </c:pt>
                <c:pt idx="221">
                  <c:v>0.99027233847805696</c:v>
                </c:pt>
                <c:pt idx="222">
                  <c:v>0.99055250299415609</c:v>
                </c:pt>
                <c:pt idx="223">
                  <c:v>0.99083157525093313</c:v>
                </c:pt>
                <c:pt idx="224">
                  <c:v>0.99111064750771016</c:v>
                </c:pt>
                <c:pt idx="225">
                  <c:v>0.99138698911618217</c:v>
                </c:pt>
                <c:pt idx="226">
                  <c:v>0.99165950781702705</c:v>
                </c:pt>
                <c:pt idx="227">
                  <c:v>0.99192711135092282</c:v>
                </c:pt>
                <c:pt idx="228">
                  <c:v>0.99216631614244599</c:v>
                </c:pt>
                <c:pt idx="229">
                  <c:v>0.99240279028566414</c:v>
                </c:pt>
                <c:pt idx="230">
                  <c:v>0.99263489539159422</c:v>
                </c:pt>
                <c:pt idx="231">
                  <c:v>0.99286317758989717</c:v>
                </c:pt>
                <c:pt idx="232">
                  <c:v>0.99309091365853908</c:v>
                </c:pt>
                <c:pt idx="233">
                  <c:v>0.993316465208537</c:v>
                </c:pt>
                <c:pt idx="234">
                  <c:v>0.99353382481361974</c:v>
                </c:pt>
                <c:pt idx="235">
                  <c:v>0.99374954602971943</c:v>
                </c:pt>
                <c:pt idx="236">
                  <c:v>0.99396199046785305</c:v>
                </c:pt>
                <c:pt idx="237">
                  <c:v>0.99417115812802059</c:v>
                </c:pt>
                <c:pt idx="238">
                  <c:v>0.99437814126954405</c:v>
                </c:pt>
                <c:pt idx="239">
                  <c:v>0.99458130150344048</c:v>
                </c:pt>
                <c:pt idx="240">
                  <c:v>0.99478282334835388</c:v>
                </c:pt>
                <c:pt idx="241">
                  <c:v>0.99497943002631817</c:v>
                </c:pt>
                <c:pt idx="242">
                  <c:v>0.99517002927801135</c:v>
                </c:pt>
                <c:pt idx="243">
                  <c:v>0.99535844401106044</c:v>
                </c:pt>
                <c:pt idx="244">
                  <c:v>0.9955441280958045</c:v>
                </c:pt>
                <c:pt idx="245">
                  <c:v>0.99572762766190448</c:v>
                </c:pt>
                <c:pt idx="246">
                  <c:v>0.99590402754241136</c:v>
                </c:pt>
                <c:pt idx="247">
                  <c:v>0.99606240514410482</c:v>
                </c:pt>
                <c:pt idx="248">
                  <c:v>0.99621914435681524</c:v>
                </c:pt>
                <c:pt idx="249">
                  <c:v>0.99637424518054263</c:v>
                </c:pt>
                <c:pt idx="250">
                  <c:v>0.99652006180003283</c:v>
                </c:pt>
                <c:pt idx="251">
                  <c:v>0.99666205551189591</c:v>
                </c:pt>
                <c:pt idx="252">
                  <c:v>0.99679749566782683</c:v>
                </c:pt>
                <c:pt idx="253">
                  <c:v>0.99693293582375775</c:v>
                </c:pt>
                <c:pt idx="254">
                  <c:v>0.99706455307206165</c:v>
                </c:pt>
                <c:pt idx="255">
                  <c:v>0.99719617032036556</c:v>
                </c:pt>
                <c:pt idx="256">
                  <c:v>0.99732724143900842</c:v>
                </c:pt>
                <c:pt idx="257">
                  <c:v>0.99745394352036321</c:v>
                </c:pt>
                <c:pt idx="258">
                  <c:v>0.9975713613974807</c:v>
                </c:pt>
                <c:pt idx="259">
                  <c:v>0.99768441023731014</c:v>
                </c:pt>
                <c:pt idx="260">
                  <c:v>0.9977930900398515</c:v>
                </c:pt>
                <c:pt idx="261">
                  <c:v>0.99789685467544376</c:v>
                </c:pt>
                <c:pt idx="262">
                  <c:v>0.99799843479239192</c:v>
                </c:pt>
                <c:pt idx="263">
                  <c:v>0.99809509974239097</c:v>
                </c:pt>
                <c:pt idx="264">
                  <c:v>0.99819067243306803</c:v>
                </c:pt>
                <c:pt idx="265">
                  <c:v>0.99828406060510111</c:v>
                </c:pt>
                <c:pt idx="266">
                  <c:v>0.99837744877713419</c:v>
                </c:pt>
                <c:pt idx="267">
                  <c:v>0.99847029081950622</c:v>
                </c:pt>
                <c:pt idx="268">
                  <c:v>0.99856313286187826</c:v>
                </c:pt>
                <c:pt idx="269">
                  <c:v>0.9986548826449283</c:v>
                </c:pt>
                <c:pt idx="270">
                  <c:v>0.99874444790933425</c:v>
                </c:pt>
                <c:pt idx="271">
                  <c:v>0.99882909800679109</c:v>
                </c:pt>
                <c:pt idx="272">
                  <c:v>0.99890501002967169</c:v>
                </c:pt>
                <c:pt idx="273">
                  <c:v>0.99896890720001008</c:v>
                </c:pt>
                <c:pt idx="274">
                  <c:v>0.99903171211102648</c:v>
                </c:pt>
                <c:pt idx="275">
                  <c:v>0.99909014798475471</c:v>
                </c:pt>
                <c:pt idx="276">
                  <c:v>0.99914530708051685</c:v>
                </c:pt>
                <c:pt idx="277">
                  <c:v>0.99919937391695701</c:v>
                </c:pt>
                <c:pt idx="278">
                  <c:v>0.99925125623475319</c:v>
                </c:pt>
                <c:pt idx="279">
                  <c:v>0.99930040790424424</c:v>
                </c:pt>
                <c:pt idx="280">
                  <c:v>0.99934846731441329</c:v>
                </c:pt>
                <c:pt idx="281">
                  <c:v>0.99939434220593826</c:v>
                </c:pt>
                <c:pt idx="282">
                  <c:v>0.99943803257881925</c:v>
                </c:pt>
                <c:pt idx="283">
                  <c:v>0.99948117682203919</c:v>
                </c:pt>
                <c:pt idx="284">
                  <c:v>0.99952432106525912</c:v>
                </c:pt>
                <c:pt idx="285">
                  <c:v>0.99956582691949603</c:v>
                </c:pt>
                <c:pt idx="286">
                  <c:v>0.99960733277373293</c:v>
                </c:pt>
                <c:pt idx="287">
                  <c:v>0.99964720023898679</c:v>
                </c:pt>
                <c:pt idx="288">
                  <c:v>0.99968706770424065</c:v>
                </c:pt>
                <c:pt idx="289">
                  <c:v>0.99972584291017252</c:v>
                </c:pt>
                <c:pt idx="290">
                  <c:v>0.99975806456017224</c:v>
                </c:pt>
                <c:pt idx="291">
                  <c:v>0.99978810169152788</c:v>
                </c:pt>
                <c:pt idx="292">
                  <c:v>0.99981759269322257</c:v>
                </c:pt>
                <c:pt idx="293">
                  <c:v>0.99984271465762908</c:v>
                </c:pt>
                <c:pt idx="294">
                  <c:v>0.99986729049237466</c:v>
                </c:pt>
                <c:pt idx="295">
                  <c:v>0.99989186632712024</c:v>
                </c:pt>
                <c:pt idx="296">
                  <c:v>0.99991261925423869</c:v>
                </c:pt>
                <c:pt idx="297">
                  <c:v>0.99993227992203515</c:v>
                </c:pt>
                <c:pt idx="298">
                  <c:v>0.99995139446017056</c:v>
                </c:pt>
                <c:pt idx="299">
                  <c:v>0.99996559383135686</c:v>
                </c:pt>
                <c:pt idx="300">
                  <c:v>0.99997979320254315</c:v>
                </c:pt>
                <c:pt idx="301">
                  <c:v>0.99999071579576337</c:v>
                </c:pt>
                <c:pt idx="302">
                  <c:v>0.99999617709237354</c:v>
                </c:pt>
                <c:pt idx="303">
                  <c:v>1.0000000000000007</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446</c:f>
              <c:strCache>
                <c:ptCount val="445"/>
                <c:pt idx="0">
                  <c:v>Ruinart</c:v>
                </c:pt>
                <c:pt idx="1">
                  <c:v>Ruinart</c:v>
                </c:pt>
                <c:pt idx="2">
                  <c:v>Nicolas</c:v>
                </c:pt>
                <c:pt idx="3">
                  <c:v>Deutz</c:v>
                </c:pt>
                <c:pt idx="4">
                  <c:v>Laurent Per</c:v>
                </c:pt>
                <c:pt idx="5">
                  <c:v>Heidsieck &amp;</c:v>
                </c:pt>
                <c:pt idx="6">
                  <c:v>Malard</c:v>
                </c:pt>
                <c:pt idx="7">
                  <c:v>Ayala</c:v>
                </c:pt>
                <c:pt idx="8">
                  <c:v>Ruinart</c:v>
                </c:pt>
                <c:pt idx="9">
                  <c:v>Nicolas Feu</c:v>
                </c:pt>
                <c:pt idx="10">
                  <c:v>Taittinger</c:v>
                </c:pt>
                <c:pt idx="11">
                  <c:v>Bollinger</c:v>
                </c:pt>
                <c:pt idx="12">
                  <c:v>Ruinart</c:v>
                </c:pt>
                <c:pt idx="13">
                  <c:v>De Bligny</c:v>
                </c:pt>
                <c:pt idx="14">
                  <c:v>Canard Duch</c:v>
                </c:pt>
                <c:pt idx="15">
                  <c:v>Perrier Jou</c:v>
                </c:pt>
                <c:pt idx="16">
                  <c:v>Ruinart</c:v>
                </c:pt>
                <c:pt idx="17">
                  <c:v>Besserat De</c:v>
                </c:pt>
                <c:pt idx="18">
                  <c:v>Deutz</c:v>
                </c:pt>
                <c:pt idx="19">
                  <c:v>Dom Perigno</c:v>
                </c:pt>
                <c:pt idx="20">
                  <c:v>Ruinart</c:v>
                </c:pt>
                <c:pt idx="21">
                  <c:v>Roederer</c:v>
                </c:pt>
                <c:pt idx="22">
                  <c:v>Demoiselle</c:v>
                </c:pt>
                <c:pt idx="23">
                  <c:v>Dom Perigno</c:v>
                </c:pt>
                <c:pt idx="24">
                  <c:v>All Others</c:v>
                </c:pt>
                <c:pt idx="25">
                  <c:v>Laurent Per</c:v>
                </c:pt>
                <c:pt idx="26">
                  <c:v>All Others</c:v>
                </c:pt>
                <c:pt idx="27">
                  <c:v>Ruinart</c:v>
                </c:pt>
                <c:pt idx="28">
                  <c:v>Campari: Al</c:v>
                </c:pt>
                <c:pt idx="29">
                  <c:v>Bottega</c:v>
                </c:pt>
                <c:pt idx="30">
                  <c:v>Deutz</c:v>
                </c:pt>
                <c:pt idx="31">
                  <c:v>Veuve Clicq</c:v>
                </c:pt>
                <c:pt idx="32">
                  <c:v>Pommery</c:v>
                </c:pt>
                <c:pt idx="33">
                  <c:v>All Others</c:v>
                </c:pt>
                <c:pt idx="34">
                  <c:v>Laurent Per</c:v>
                </c:pt>
                <c:pt idx="35">
                  <c:v>Moët &amp; Chan</c:v>
                </c:pt>
                <c:pt idx="36">
                  <c:v>Vesselle</c:v>
                </c:pt>
                <c:pt idx="37">
                  <c:v>Veuve Clicq</c:v>
                </c:pt>
                <c:pt idx="38">
                  <c:v>Ruinart</c:v>
                </c:pt>
                <c:pt idx="39">
                  <c:v>Taittinger</c:v>
                </c:pt>
                <c:pt idx="40">
                  <c:v>Savian</c:v>
                </c:pt>
                <c:pt idx="41">
                  <c:v>Demoiselle</c:v>
                </c:pt>
                <c:pt idx="42">
                  <c:v>Malard</c:v>
                </c:pt>
                <c:pt idx="43">
                  <c:v>Ruinart</c:v>
                </c:pt>
                <c:pt idx="44">
                  <c:v>Nicolas</c:v>
                </c:pt>
                <c:pt idx="45">
                  <c:v>De Chanceny</c:v>
                </c:pt>
                <c:pt idx="46">
                  <c:v>Roederer</c:v>
                </c:pt>
                <c:pt idx="47">
                  <c:v>Veuve Clicq</c:v>
                </c:pt>
                <c:pt idx="48">
                  <c:v>Savian</c:v>
                </c:pt>
                <c:pt idx="49">
                  <c:v>Dom Perigno</c:v>
                </c:pt>
                <c:pt idx="50">
                  <c:v>Louis Marti</c:v>
                </c:pt>
                <c:pt idx="51">
                  <c:v>Henriot</c:v>
                </c:pt>
                <c:pt idx="52">
                  <c:v>Patriarche</c:v>
                </c:pt>
                <c:pt idx="53">
                  <c:v>Ruinart</c:v>
                </c:pt>
                <c:pt idx="54">
                  <c:v>Roederer</c:v>
                </c:pt>
                <c:pt idx="55">
                  <c:v>Moët &amp; Chan</c:v>
                </c:pt>
                <c:pt idx="56">
                  <c:v>Malard</c:v>
                </c:pt>
                <c:pt idx="57">
                  <c:v>Roederer</c:v>
                </c:pt>
                <c:pt idx="58">
                  <c:v>All Others</c:v>
                </c:pt>
                <c:pt idx="59">
                  <c:v>Nicolas Feu</c:v>
                </c:pt>
                <c:pt idx="60">
                  <c:v>Mure</c:v>
                </c:pt>
                <c:pt idx="61">
                  <c:v>Krug</c:v>
                </c:pt>
                <c:pt idx="62">
                  <c:v>Nicolas Feu</c:v>
                </c:pt>
                <c:pt idx="63">
                  <c:v>Deutz</c:v>
                </c:pt>
                <c:pt idx="64">
                  <c:v>Besserat De</c:v>
                </c:pt>
                <c:pt idx="65">
                  <c:v>Nicolas</c:v>
                </c:pt>
                <c:pt idx="66">
                  <c:v>Piper Heids</c:v>
                </c:pt>
                <c:pt idx="67">
                  <c:v>Campari: Al</c:v>
                </c:pt>
                <c:pt idx="68">
                  <c:v>Nicolas</c:v>
                </c:pt>
                <c:pt idx="69">
                  <c:v>Moët &amp; Chan</c:v>
                </c:pt>
                <c:pt idx="70">
                  <c:v>Dom Perigno</c:v>
                </c:pt>
                <c:pt idx="71">
                  <c:v>French Bloo</c:v>
                </c:pt>
                <c:pt idx="72">
                  <c:v>Bollinger</c:v>
                </c:pt>
                <c:pt idx="73">
                  <c:v>Perrier Jou</c:v>
                </c:pt>
                <c:pt idx="74">
                  <c:v>De Venoge</c:v>
                </c:pt>
                <c:pt idx="75">
                  <c:v>Laurent Per</c:v>
                </c:pt>
                <c:pt idx="76">
                  <c:v>Lanson</c:v>
                </c:pt>
                <c:pt idx="77">
                  <c:v>Bouvet-Ladu</c:v>
                </c:pt>
                <c:pt idx="78">
                  <c:v>Lyre's</c:v>
                </c:pt>
                <c:pt idx="79">
                  <c:v>Delamotte</c:v>
                </c:pt>
                <c:pt idx="80">
                  <c:v>Nicolas Feu</c:v>
                </c:pt>
                <c:pt idx="81">
                  <c:v>Besserat De</c:v>
                </c:pt>
                <c:pt idx="82">
                  <c:v>Malard</c:v>
                </c:pt>
                <c:pt idx="83">
                  <c:v>Canard Duch</c:v>
                </c:pt>
                <c:pt idx="84">
                  <c:v>Pommery</c:v>
                </c:pt>
                <c:pt idx="85">
                  <c:v>Henriot</c:v>
                </c:pt>
                <c:pt idx="86">
                  <c:v>Malard</c:v>
                </c:pt>
                <c:pt idx="87">
                  <c:v>Ruinart</c:v>
                </c:pt>
                <c:pt idx="88">
                  <c:v>Roederer</c:v>
                </c:pt>
                <c:pt idx="89">
                  <c:v>Roederer</c:v>
                </c:pt>
                <c:pt idx="90">
                  <c:v>Roederer</c:v>
                </c:pt>
                <c:pt idx="91">
                  <c:v>Ayala</c:v>
                </c:pt>
                <c:pt idx="92">
                  <c:v>Bollinger</c:v>
                </c:pt>
                <c:pt idx="93">
                  <c:v>Roederer</c:v>
                </c:pt>
                <c:pt idx="94">
                  <c:v>Ruinart</c:v>
                </c:pt>
                <c:pt idx="95">
                  <c:v>All Others</c:v>
                </c:pt>
                <c:pt idx="96">
                  <c:v>De Chanceny</c:v>
                </c:pt>
                <c:pt idx="97">
                  <c:v>Roederer</c:v>
                </c:pt>
                <c:pt idx="98">
                  <c:v>Henriot</c:v>
                </c:pt>
                <c:pt idx="99">
                  <c:v>De Bligny</c:v>
                </c:pt>
                <c:pt idx="100">
                  <c:v>Patriarche</c:v>
                </c:pt>
                <c:pt idx="101">
                  <c:v>All Others</c:v>
                </c:pt>
                <c:pt idx="102">
                  <c:v>Vranken</c:v>
                </c:pt>
                <c:pt idx="103">
                  <c:v>Ruinart</c:v>
                </c:pt>
                <c:pt idx="104">
                  <c:v>Henriot</c:v>
                </c:pt>
                <c:pt idx="105">
                  <c:v>Deutz</c:v>
                </c:pt>
                <c:pt idx="106">
                  <c:v>Bottega</c:v>
                </c:pt>
                <c:pt idx="107">
                  <c:v>Perrier Jou</c:v>
                </c:pt>
                <c:pt idx="108">
                  <c:v>Veuve Clicq</c:v>
                </c:pt>
                <c:pt idx="109">
                  <c:v>Ruinart</c:v>
                </c:pt>
                <c:pt idx="110">
                  <c:v>Ruinart</c:v>
                </c:pt>
                <c:pt idx="111">
                  <c:v>Deutz</c:v>
                </c:pt>
                <c:pt idx="112">
                  <c:v>Roederer</c:v>
                </c:pt>
                <c:pt idx="113">
                  <c:v>Nicolas</c:v>
                </c:pt>
                <c:pt idx="114">
                  <c:v>Laurent Per</c:v>
                </c:pt>
                <c:pt idx="115">
                  <c:v>Canard Duch</c:v>
                </c:pt>
                <c:pt idx="116">
                  <c:v>De Venoge</c:v>
                </c:pt>
                <c:pt idx="117">
                  <c:v>De Venoge</c:v>
                </c:pt>
                <c:pt idx="118">
                  <c:v>Laurent Per</c:v>
                </c:pt>
                <c:pt idx="119">
                  <c:v>Malard</c:v>
                </c:pt>
                <c:pt idx="120">
                  <c:v>Laurent Per</c:v>
                </c:pt>
                <c:pt idx="121">
                  <c:v>Taittinger</c:v>
                </c:pt>
                <c:pt idx="122">
                  <c:v>All Others</c:v>
                </c:pt>
                <c:pt idx="123">
                  <c:v>Laurent Per</c:v>
                </c:pt>
                <c:pt idx="124">
                  <c:v>Nicolas</c:v>
                </c:pt>
                <c:pt idx="125">
                  <c:v>Bollinger</c:v>
                </c:pt>
                <c:pt idx="126">
                  <c:v>Canard Duch</c:v>
                </c:pt>
                <c:pt idx="127">
                  <c:v>Nicolas Feu</c:v>
                </c:pt>
                <c:pt idx="128">
                  <c:v>All Others</c:v>
                </c:pt>
                <c:pt idx="129">
                  <c:v>De Venoge</c:v>
                </c:pt>
                <c:pt idx="130">
                  <c:v>Roederer</c:v>
                </c:pt>
                <c:pt idx="131">
                  <c:v>Moët &amp; Chan</c:v>
                </c:pt>
                <c:pt idx="132">
                  <c:v>Roederer</c:v>
                </c:pt>
                <c:pt idx="133">
                  <c:v>Taittinger</c:v>
                </c:pt>
                <c:pt idx="134">
                  <c:v>Roederer</c:v>
                </c:pt>
                <c:pt idx="135">
                  <c:v>Perrier Jou</c:v>
                </c:pt>
                <c:pt idx="136">
                  <c:v>Vranken</c:v>
                </c:pt>
                <c:pt idx="137">
                  <c:v>Ruinart</c:v>
                </c:pt>
                <c:pt idx="138">
                  <c:v>Nicolas</c:v>
                </c:pt>
                <c:pt idx="139">
                  <c:v>Kriter</c:v>
                </c:pt>
                <c:pt idx="140">
                  <c:v>Nicolas</c:v>
                </c:pt>
                <c:pt idx="141">
                  <c:v>Ruinart</c:v>
                </c:pt>
                <c:pt idx="142">
                  <c:v>Nicolas</c:v>
                </c:pt>
                <c:pt idx="143">
                  <c:v>All Others</c:v>
                </c:pt>
                <c:pt idx="144">
                  <c:v>Ruinart</c:v>
                </c:pt>
                <c:pt idx="145">
                  <c:v>Contarini</c:v>
                </c:pt>
                <c:pt idx="146">
                  <c:v>Nicolas</c:v>
                </c:pt>
                <c:pt idx="147">
                  <c:v>Cru La Maqu</c:v>
                </c:pt>
                <c:pt idx="148">
                  <c:v>Nicolas</c:v>
                </c:pt>
                <c:pt idx="149">
                  <c:v>Demoiselle</c:v>
                </c:pt>
                <c:pt idx="150">
                  <c:v>Laurent Per</c:v>
                </c:pt>
                <c:pt idx="151">
                  <c:v>All Others</c:v>
                </c:pt>
                <c:pt idx="152">
                  <c:v>Ruinart</c:v>
                </c:pt>
                <c:pt idx="153">
                  <c:v>Pommery</c:v>
                </c:pt>
                <c:pt idx="154">
                  <c:v>Veuve Clicq</c:v>
                </c:pt>
                <c:pt idx="155">
                  <c:v>All Others</c:v>
                </c:pt>
                <c:pt idx="156">
                  <c:v>Lanson</c:v>
                </c:pt>
                <c:pt idx="157">
                  <c:v>Veuve Clicq</c:v>
                </c:pt>
                <c:pt idx="158">
                  <c:v>Besserat De</c:v>
                </c:pt>
                <c:pt idx="159">
                  <c:v>Moët &amp; Chan</c:v>
                </c:pt>
                <c:pt idx="160">
                  <c:v>Moët &amp; Chan</c:v>
                </c:pt>
                <c:pt idx="161">
                  <c:v>Dom Perigno</c:v>
                </c:pt>
                <c:pt idx="162">
                  <c:v>Canard Duch</c:v>
                </c:pt>
                <c:pt idx="163">
                  <c:v>Pommery</c:v>
                </c:pt>
                <c:pt idx="164">
                  <c:v>All Others</c:v>
                </c:pt>
                <c:pt idx="165">
                  <c:v>Nicolas</c:v>
                </c:pt>
                <c:pt idx="166">
                  <c:v>Veuve Clicq</c:v>
                </c:pt>
                <c:pt idx="167">
                  <c:v>All Others</c:v>
                </c:pt>
                <c:pt idx="168">
                  <c:v>Laurent Per</c:v>
                </c:pt>
                <c:pt idx="169">
                  <c:v>Pommery</c:v>
                </c:pt>
                <c:pt idx="170">
                  <c:v>All Others</c:v>
                </c:pt>
                <c:pt idx="171">
                  <c:v>Pommery</c:v>
                </c:pt>
                <c:pt idx="172">
                  <c:v>All Others</c:v>
                </c:pt>
                <c:pt idx="173">
                  <c:v>Vesselle</c:v>
                </c:pt>
                <c:pt idx="174">
                  <c:v>All Others</c:v>
                </c:pt>
                <c:pt idx="175">
                  <c:v>Deutz</c:v>
                </c:pt>
                <c:pt idx="176">
                  <c:v>Lanson-Bcc:</c:v>
                </c:pt>
                <c:pt idx="177">
                  <c:v>Nicolas</c:v>
                </c:pt>
                <c:pt idx="178">
                  <c:v>All Others</c:v>
                </c:pt>
                <c:pt idx="179">
                  <c:v>Moët &amp; Chan</c:v>
                </c:pt>
                <c:pt idx="180">
                  <c:v>Canard Duch</c:v>
                </c:pt>
                <c:pt idx="181">
                  <c:v>All Others</c:v>
                </c:pt>
                <c:pt idx="182">
                  <c:v>Deutz</c:v>
                </c:pt>
                <c:pt idx="183">
                  <c:v>Laurent Per</c:v>
                </c:pt>
                <c:pt idx="184">
                  <c:v>Delamotte</c:v>
                </c:pt>
                <c:pt idx="185">
                  <c:v>Piper Heids</c:v>
                </c:pt>
                <c:pt idx="186">
                  <c:v>All Others</c:v>
                </c:pt>
                <c:pt idx="187">
                  <c:v>Roederer</c:v>
                </c:pt>
                <c:pt idx="188">
                  <c:v>Dom Perigno</c:v>
                </c:pt>
                <c:pt idx="189">
                  <c:v>Pommery</c:v>
                </c:pt>
                <c:pt idx="190">
                  <c:v>All Others</c:v>
                </c:pt>
                <c:pt idx="191">
                  <c:v>Bollinger</c:v>
                </c:pt>
                <c:pt idx="192">
                  <c:v>Deutz</c:v>
                </c:pt>
                <c:pt idx="193">
                  <c:v>Nicolas</c:v>
                </c:pt>
                <c:pt idx="194">
                  <c:v>Contarini</c:v>
                </c:pt>
                <c:pt idx="195">
                  <c:v>All Others</c:v>
                </c:pt>
                <c:pt idx="196">
                  <c:v>All Others</c:v>
                </c:pt>
                <c:pt idx="197">
                  <c:v>Canard Duch</c:v>
                </c:pt>
                <c:pt idx="198">
                  <c:v>Vilaveroni</c:v>
                </c:pt>
                <c:pt idx="199">
                  <c:v>All Others</c:v>
                </c:pt>
                <c:pt idx="200">
                  <c:v>Bollinger</c:v>
                </c:pt>
                <c:pt idx="201">
                  <c:v>All Others</c:v>
                </c:pt>
                <c:pt idx="202">
                  <c:v>Perrier Jou</c:v>
                </c:pt>
                <c:pt idx="203">
                  <c:v>Nicolas</c:v>
                </c:pt>
                <c:pt idx="204">
                  <c:v>Deutz</c:v>
                </c:pt>
                <c:pt idx="205">
                  <c:v>All Others</c:v>
                </c:pt>
                <c:pt idx="206">
                  <c:v>Ruinart</c:v>
                </c:pt>
                <c:pt idx="207">
                  <c:v>Ruinart</c:v>
                </c:pt>
                <c:pt idx="208">
                  <c:v>Louis Marti</c:v>
                </c:pt>
                <c:pt idx="209">
                  <c:v>Demoiselle</c:v>
                </c:pt>
                <c:pt idx="210">
                  <c:v>Krug</c:v>
                </c:pt>
                <c:pt idx="211">
                  <c:v>Nicolas</c:v>
                </c:pt>
                <c:pt idx="212">
                  <c:v>All Others</c:v>
                </c:pt>
                <c:pt idx="213">
                  <c:v>All Others</c:v>
                </c:pt>
                <c:pt idx="214">
                  <c:v>Nicolas</c:v>
                </c:pt>
                <c:pt idx="215">
                  <c:v>All Others</c:v>
                </c:pt>
                <c:pt idx="216">
                  <c:v>All Others</c:v>
                </c:pt>
                <c:pt idx="217">
                  <c:v>All Others</c:v>
                </c:pt>
                <c:pt idx="218">
                  <c:v>All Others</c:v>
                </c:pt>
                <c:pt idx="219">
                  <c:v>Roederer</c:v>
                </c:pt>
                <c:pt idx="220">
                  <c:v>Lanson</c:v>
                </c:pt>
                <c:pt idx="221">
                  <c:v>Laurent Per</c:v>
                </c:pt>
                <c:pt idx="222">
                  <c:v>De Venoge</c:v>
                </c:pt>
                <c:pt idx="223">
                  <c:v>Pommery</c:v>
                </c:pt>
                <c:pt idx="224">
                  <c:v>Krug</c:v>
                </c:pt>
                <c:pt idx="225">
                  <c:v>Roederer</c:v>
                </c:pt>
                <c:pt idx="226">
                  <c:v>Taittinger</c:v>
                </c:pt>
                <c:pt idx="227">
                  <c:v>Canard Duch</c:v>
                </c:pt>
                <c:pt idx="228">
                  <c:v>Ayala</c:v>
                </c:pt>
                <c:pt idx="229">
                  <c:v>Vranken</c:v>
                </c:pt>
                <c:pt idx="230">
                  <c:v>Deutz</c:v>
                </c:pt>
                <c:pt idx="231">
                  <c:v>Veuve Clicq</c:v>
                </c:pt>
                <c:pt idx="232">
                  <c:v>All Others</c:v>
                </c:pt>
                <c:pt idx="233">
                  <c:v>All Others</c:v>
                </c:pt>
                <c:pt idx="234">
                  <c:v>Moët &amp; Chan</c:v>
                </c:pt>
                <c:pt idx="235">
                  <c:v>All Others</c:v>
                </c:pt>
                <c:pt idx="236">
                  <c:v>Vesselle</c:v>
                </c:pt>
                <c:pt idx="237">
                  <c:v>Taittinger</c:v>
                </c:pt>
                <c:pt idx="238">
                  <c:v>Krug</c:v>
                </c:pt>
                <c:pt idx="239">
                  <c:v>Roederer</c:v>
                </c:pt>
                <c:pt idx="240">
                  <c:v>Roederer</c:v>
                </c:pt>
                <c:pt idx="241">
                  <c:v>All Others</c:v>
                </c:pt>
                <c:pt idx="242">
                  <c:v>All Others</c:v>
                </c:pt>
                <c:pt idx="243">
                  <c:v>Piper Heids</c:v>
                </c:pt>
                <c:pt idx="244">
                  <c:v>Laurent Per</c:v>
                </c:pt>
                <c:pt idx="245">
                  <c:v>All Others</c:v>
                </c:pt>
                <c:pt idx="246">
                  <c:v>Dom Perigno</c:v>
                </c:pt>
                <c:pt idx="247">
                  <c:v>Demoiselle</c:v>
                </c:pt>
                <c:pt idx="248">
                  <c:v>Deutz</c:v>
                </c:pt>
                <c:pt idx="249">
                  <c:v>Besserat De</c:v>
                </c:pt>
                <c:pt idx="250">
                  <c:v>Moët &amp; Chan</c:v>
                </c:pt>
                <c:pt idx="251">
                  <c:v>All Others</c:v>
                </c:pt>
                <c:pt idx="252">
                  <c:v>Bouvet-Ladu</c:v>
                </c:pt>
                <c:pt idx="253">
                  <c:v>Bouvet-Ladu</c:v>
                </c:pt>
                <c:pt idx="254">
                  <c:v>Dom Perigno</c:v>
                </c:pt>
                <c:pt idx="255">
                  <c:v>Dom Perigno</c:v>
                </c:pt>
                <c:pt idx="256">
                  <c:v>De Venoge</c:v>
                </c:pt>
                <c:pt idx="257">
                  <c:v>Perrier Jou</c:v>
                </c:pt>
                <c:pt idx="258">
                  <c:v>Deutz</c:v>
                </c:pt>
                <c:pt idx="259">
                  <c:v>All Others</c:v>
                </c:pt>
                <c:pt idx="260">
                  <c:v>Malard</c:v>
                </c:pt>
                <c:pt idx="261">
                  <c:v>Deutz</c:v>
                </c:pt>
                <c:pt idx="262">
                  <c:v>Roederer</c:v>
                </c:pt>
                <c:pt idx="263">
                  <c:v>Ruinart</c:v>
                </c:pt>
                <c:pt idx="264">
                  <c:v>All Others</c:v>
                </c:pt>
                <c:pt idx="265">
                  <c:v>All Others</c:v>
                </c:pt>
                <c:pt idx="266">
                  <c:v>All Others</c:v>
                </c:pt>
                <c:pt idx="267">
                  <c:v>Bollinger</c:v>
                </c:pt>
                <c:pt idx="268">
                  <c:v>All Others</c:v>
                </c:pt>
                <c:pt idx="269">
                  <c:v>All Others</c:v>
                </c:pt>
                <c:pt idx="270">
                  <c:v>Delamotte</c:v>
                </c:pt>
                <c:pt idx="271">
                  <c:v>Ruinart</c:v>
                </c:pt>
                <c:pt idx="272">
                  <c:v>Piper Heids</c:v>
                </c:pt>
                <c:pt idx="273">
                  <c:v>Bouvet-Ladu</c:v>
                </c:pt>
                <c:pt idx="274">
                  <c:v>Bollinger</c:v>
                </c:pt>
                <c:pt idx="275">
                  <c:v>Bollinger</c:v>
                </c:pt>
                <c:pt idx="276">
                  <c:v>Krug</c:v>
                </c:pt>
                <c:pt idx="277">
                  <c:v>All Others</c:v>
                </c:pt>
                <c:pt idx="278">
                  <c:v>Ruinart</c:v>
                </c:pt>
                <c:pt idx="279">
                  <c:v>All Others</c:v>
                </c:pt>
                <c:pt idx="280">
                  <c:v>Nicolas</c:v>
                </c:pt>
                <c:pt idx="281">
                  <c:v>Moët &amp; Chan</c:v>
                </c:pt>
                <c:pt idx="282">
                  <c:v>Veuve Clicq</c:v>
                </c:pt>
                <c:pt idx="283">
                  <c:v>Laurent Per</c:v>
                </c:pt>
                <c:pt idx="284">
                  <c:v>De Venoge</c:v>
                </c:pt>
                <c:pt idx="285">
                  <c:v>Nicolas Feu</c:v>
                </c:pt>
                <c:pt idx="286">
                  <c:v>All Others</c:v>
                </c:pt>
                <c:pt idx="287">
                  <c:v>Taittinger</c:v>
                </c:pt>
                <c:pt idx="288">
                  <c:v>Perrier Jou</c:v>
                </c:pt>
                <c:pt idx="289">
                  <c:v>Dom Perigno</c:v>
                </c:pt>
                <c:pt idx="290">
                  <c:v>Nicolas</c:v>
                </c:pt>
                <c:pt idx="291">
                  <c:v>All Others</c:v>
                </c:pt>
                <c:pt idx="292">
                  <c:v>De Venoge</c:v>
                </c:pt>
                <c:pt idx="293">
                  <c:v>Delamotte</c:v>
                </c:pt>
                <c:pt idx="294">
                  <c:v>Vilaveroni</c:v>
                </c:pt>
                <c:pt idx="295">
                  <c:v>All Others</c:v>
                </c:pt>
                <c:pt idx="296">
                  <c:v>Roederer</c:v>
                </c:pt>
                <c:pt idx="297">
                  <c:v>Henriot</c:v>
                </c:pt>
                <c:pt idx="298">
                  <c:v>Pommery</c:v>
                </c:pt>
                <c:pt idx="299">
                  <c:v>All Others</c:v>
                </c:pt>
                <c:pt idx="300">
                  <c:v>De Bligny</c:v>
                </c:pt>
                <c:pt idx="301">
                  <c:v>Demoiselle</c:v>
                </c:pt>
                <c:pt idx="302">
                  <c:v>All Others</c:v>
                </c:pt>
                <c:pt idx="303">
                  <c:v>Dom Perigno</c:v>
                </c:pt>
                <c:pt idx="304">
                  <c:v>Nicolas</c:v>
                </c:pt>
                <c:pt idx="305">
                  <c:v>Veuve Clicq</c:v>
                </c:pt>
                <c:pt idx="306">
                  <c:v>Dom Perigno</c:v>
                </c:pt>
                <c:pt idx="307">
                  <c:v>All Others</c:v>
                </c:pt>
                <c:pt idx="308">
                  <c:v>Bottega</c:v>
                </c:pt>
                <c:pt idx="309">
                  <c:v>De Venoge</c:v>
                </c:pt>
                <c:pt idx="310">
                  <c:v>Ayala</c:v>
                </c:pt>
                <c:pt idx="311">
                  <c:v>Vesselle</c:v>
                </c:pt>
                <c:pt idx="312">
                  <c:v>Pommery</c:v>
                </c:pt>
                <c:pt idx="313">
                  <c:v>Canard Duch</c:v>
                </c:pt>
                <c:pt idx="314">
                  <c:v>Moët &amp; Chan</c:v>
                </c:pt>
                <c:pt idx="315">
                  <c:v>Krug</c:v>
                </c:pt>
                <c:pt idx="316">
                  <c:v>Bollinger</c:v>
                </c:pt>
                <c:pt idx="317">
                  <c:v>Ayala</c:v>
                </c:pt>
                <c:pt idx="318">
                  <c:v>Canard Duch</c:v>
                </c:pt>
                <c:pt idx="319">
                  <c:v>Veuve Clicq</c:v>
                </c:pt>
                <c:pt idx="320">
                  <c:v>Ruinart</c:v>
                </c:pt>
                <c:pt idx="321">
                  <c:v>Roederer</c:v>
                </c:pt>
                <c:pt idx="322">
                  <c:v>Roederer</c:v>
                </c:pt>
                <c:pt idx="323">
                  <c:v>Bollinger</c:v>
                </c:pt>
                <c:pt idx="324">
                  <c:v>All Others</c:v>
                </c:pt>
                <c:pt idx="325">
                  <c:v>Perrier Jou</c:v>
                </c:pt>
                <c:pt idx="326">
                  <c:v>Deutz</c:v>
                </c:pt>
                <c:pt idx="327">
                  <c:v>Nicolas Feu</c:v>
                </c:pt>
                <c:pt idx="328">
                  <c:v>All Others</c:v>
                </c:pt>
                <c:pt idx="329">
                  <c:v>Heidsieck &amp;</c:v>
                </c:pt>
                <c:pt idx="330">
                  <c:v>Veuve Clicq</c:v>
                </c:pt>
                <c:pt idx="331">
                  <c:v>Roederer</c:v>
                </c:pt>
                <c:pt idx="332">
                  <c:v>All Others</c:v>
                </c:pt>
                <c:pt idx="333">
                  <c:v>Vilaveroni</c:v>
                </c:pt>
                <c:pt idx="334">
                  <c:v>Henriot</c:v>
                </c:pt>
                <c:pt idx="335">
                  <c:v>Taittinger</c:v>
                </c:pt>
                <c:pt idx="336">
                  <c:v>Krug</c:v>
                </c:pt>
                <c:pt idx="337">
                  <c:v>Ayala</c:v>
                </c:pt>
                <c:pt idx="338">
                  <c:v>Pommery</c:v>
                </c:pt>
                <c:pt idx="339">
                  <c:v>Moët &amp; Chan</c:v>
                </c:pt>
                <c:pt idx="340">
                  <c:v>Pommery</c:v>
                </c:pt>
                <c:pt idx="341">
                  <c:v>All Others</c:v>
                </c:pt>
                <c:pt idx="342">
                  <c:v>Taittinger</c:v>
                </c:pt>
                <c:pt idx="343">
                  <c:v>Pommery</c:v>
                </c:pt>
                <c:pt idx="344">
                  <c:v>Vranken</c:v>
                </c:pt>
                <c:pt idx="345">
                  <c:v>Roederer</c:v>
                </c:pt>
                <c:pt idx="346">
                  <c:v>Canard Duch</c:v>
                </c:pt>
                <c:pt idx="347">
                  <c:v>Laurent Per</c:v>
                </c:pt>
                <c:pt idx="348">
                  <c:v>Piper Heids</c:v>
                </c:pt>
                <c:pt idx="349">
                  <c:v>Roederer</c:v>
                </c:pt>
                <c:pt idx="350">
                  <c:v>Celene</c:v>
                </c:pt>
                <c:pt idx="351">
                  <c:v>Laurent Per</c:v>
                </c:pt>
                <c:pt idx="352">
                  <c:v>All Others</c:v>
                </c:pt>
                <c:pt idx="353">
                  <c:v>Heidsieck &amp;</c:v>
                </c:pt>
                <c:pt idx="354">
                  <c:v>Taittinger</c:v>
                </c:pt>
                <c:pt idx="355">
                  <c:v>All Others</c:v>
                </c:pt>
                <c:pt idx="356">
                  <c:v>Besserat De</c:v>
                </c:pt>
                <c:pt idx="357">
                  <c:v>Piper Heids</c:v>
                </c:pt>
                <c:pt idx="358">
                  <c:v>All Others</c:v>
                </c:pt>
                <c:pt idx="359">
                  <c:v>Nicolas Feu</c:v>
                </c:pt>
                <c:pt idx="360">
                  <c:v>All Others</c:v>
                </c:pt>
                <c:pt idx="361">
                  <c:v>Henriot</c:v>
                </c:pt>
                <c:pt idx="362">
                  <c:v>Lanson</c:v>
                </c:pt>
                <c:pt idx="363">
                  <c:v>Krug</c:v>
                </c:pt>
                <c:pt idx="364">
                  <c:v>All Others</c:v>
                </c:pt>
                <c:pt idx="365">
                  <c:v>All Others</c:v>
                </c:pt>
                <c:pt idx="366">
                  <c:v>Ruinart</c:v>
                </c:pt>
                <c:pt idx="367">
                  <c:v>Dom Perigno</c:v>
                </c:pt>
                <c:pt idx="368">
                  <c:v>De Bligny</c:v>
                </c:pt>
                <c:pt idx="369">
                  <c:v>Demoiselle</c:v>
                </c:pt>
                <c:pt idx="370">
                  <c:v>Deutz</c:v>
                </c:pt>
                <c:pt idx="371">
                  <c:v>Moët &amp; Chan</c:v>
                </c:pt>
                <c:pt idx="372">
                  <c:v>Veuve Clicq</c:v>
                </c:pt>
                <c:pt idx="373">
                  <c:v>Moët &amp; Chan</c:v>
                </c:pt>
                <c:pt idx="374">
                  <c:v>Bollinger</c:v>
                </c:pt>
                <c:pt idx="375">
                  <c:v>Martel</c:v>
                </c:pt>
                <c:pt idx="376">
                  <c:v>Vilaveroni</c:v>
                </c:pt>
                <c:pt idx="377">
                  <c:v>Bollinger</c:v>
                </c:pt>
                <c:pt idx="378">
                  <c:v>Ruinart</c:v>
                </c:pt>
                <c:pt idx="379">
                  <c:v>Taittinger</c:v>
                </c:pt>
                <c:pt idx="380">
                  <c:v>All Others</c:v>
                </c:pt>
                <c:pt idx="381">
                  <c:v>All Others</c:v>
                </c:pt>
                <c:pt idx="382">
                  <c:v>All Others</c:v>
                </c:pt>
                <c:pt idx="383">
                  <c:v>De Venoge</c:v>
                </c:pt>
                <c:pt idx="384">
                  <c:v>All Others</c:v>
                </c:pt>
                <c:pt idx="385">
                  <c:v>Nicolas Feu</c:v>
                </c:pt>
                <c:pt idx="386">
                  <c:v>Laurent Per</c:v>
                </c:pt>
                <c:pt idx="387">
                  <c:v>Laurent Per</c:v>
                </c:pt>
                <c:pt idx="388">
                  <c:v>All Others</c:v>
                </c:pt>
                <c:pt idx="389">
                  <c:v>Roederer</c:v>
                </c:pt>
                <c:pt idx="390">
                  <c:v>All Others</c:v>
                </c:pt>
                <c:pt idx="391">
                  <c:v>Demoiselle</c:v>
                </c:pt>
                <c:pt idx="392">
                  <c:v>All Others</c:v>
                </c:pt>
                <c:pt idx="393">
                  <c:v>All Others</c:v>
                </c:pt>
                <c:pt idx="394">
                  <c:v>Bollinger</c:v>
                </c:pt>
                <c:pt idx="395">
                  <c:v>Nicolas Feu</c:v>
                </c:pt>
                <c:pt idx="396">
                  <c:v>All Others</c:v>
                </c:pt>
                <c:pt idx="397">
                  <c:v>Ayala</c:v>
                </c:pt>
                <c:pt idx="398">
                  <c:v>All Others</c:v>
                </c:pt>
                <c:pt idx="399">
                  <c:v>All Others</c:v>
                </c:pt>
                <c:pt idx="400">
                  <c:v>Ruinart</c:v>
                </c:pt>
                <c:pt idx="401">
                  <c:v>Bollinger</c:v>
                </c:pt>
                <c:pt idx="402">
                  <c:v>All Others</c:v>
                </c:pt>
                <c:pt idx="403">
                  <c:v>Bouvet-Ladu</c:v>
                </c:pt>
                <c:pt idx="404">
                  <c:v>Canard Duch</c:v>
                </c:pt>
                <c:pt idx="405">
                  <c:v>Pommery</c:v>
                </c:pt>
                <c:pt idx="406">
                  <c:v>Celene</c:v>
                </c:pt>
                <c:pt idx="407">
                  <c:v>All Others</c:v>
                </c:pt>
                <c:pt idx="408">
                  <c:v>Roederer</c:v>
                </c:pt>
                <c:pt idx="409">
                  <c:v>Besserat De</c:v>
                </c:pt>
                <c:pt idx="410">
                  <c:v>Piper Heids</c:v>
                </c:pt>
                <c:pt idx="411">
                  <c:v>Pommery</c:v>
                </c:pt>
                <c:pt idx="412">
                  <c:v>Jaillance</c:v>
                </c:pt>
                <c:pt idx="413">
                  <c:v>De Venoge</c:v>
                </c:pt>
                <c:pt idx="414">
                  <c:v>All Others</c:v>
                </c:pt>
                <c:pt idx="415">
                  <c:v>Nicolas</c:v>
                </c:pt>
                <c:pt idx="416">
                  <c:v>Malard</c:v>
                </c:pt>
                <c:pt idx="417">
                  <c:v>All Others</c:v>
                </c:pt>
                <c:pt idx="418">
                  <c:v>Laurent Per</c:v>
                </c:pt>
                <c:pt idx="419">
                  <c:v>Mumm</c:v>
                </c:pt>
                <c:pt idx="420">
                  <c:v>Roederer</c:v>
                </c:pt>
                <c:pt idx="421">
                  <c:v>Taittinger</c:v>
                </c:pt>
                <c:pt idx="422">
                  <c:v>Vranken</c:v>
                </c:pt>
                <c:pt idx="423">
                  <c:v>Moët &amp; Chan</c:v>
                </c:pt>
                <c:pt idx="424">
                  <c:v>Henriot</c:v>
                </c:pt>
                <c:pt idx="425">
                  <c:v>Besserat De</c:v>
                </c:pt>
                <c:pt idx="426">
                  <c:v>Nicolas</c:v>
                </c:pt>
                <c:pt idx="427">
                  <c:v>Deutz</c:v>
                </c:pt>
                <c:pt idx="428">
                  <c:v>Laurent Per</c:v>
                </c:pt>
                <c:pt idx="429">
                  <c:v>Laurent Per</c:v>
                </c:pt>
                <c:pt idx="430">
                  <c:v>Pommery</c:v>
                </c:pt>
                <c:pt idx="431">
                  <c:v>Moët &amp; Chan</c:v>
                </c:pt>
                <c:pt idx="432">
                  <c:v>Roederer</c:v>
                </c:pt>
                <c:pt idx="433">
                  <c:v>Piper Heids</c:v>
                </c:pt>
                <c:pt idx="434">
                  <c:v>All Others</c:v>
                </c:pt>
                <c:pt idx="435">
                  <c:v>Malard</c:v>
                </c:pt>
                <c:pt idx="436">
                  <c:v>Demoiselle</c:v>
                </c:pt>
                <c:pt idx="437">
                  <c:v>All Others</c:v>
                </c:pt>
                <c:pt idx="438">
                  <c:v>Vesselle</c:v>
                </c:pt>
                <c:pt idx="439">
                  <c:v>Roederer</c:v>
                </c:pt>
                <c:pt idx="440">
                  <c:v>All Others</c:v>
                </c:pt>
                <c:pt idx="441">
                  <c:v>All Others</c:v>
                </c:pt>
                <c:pt idx="442">
                  <c:v>All Others</c:v>
                </c:pt>
                <c:pt idx="443">
                  <c:v>Bottega</c:v>
                </c:pt>
                <c:pt idx="444">
                  <c:v>All Others</c:v>
                </c:pt>
              </c:strCache>
            </c:strRef>
          </c:cat>
          <c:val>
            <c:numRef>
              <c:f>Sheet1!$B$2:$B$446</c:f>
              <c:numCache>
                <c:formatCode>General</c:formatCode>
                <c:ptCount val="445"/>
                <c:pt idx="0">
                  <c:v>1</c:v>
                </c:pt>
                <c:pt idx="1">
                  <c:v>0.9</c:v>
                </c:pt>
                <c:pt idx="2">
                  <c:v>1</c:v>
                </c:pt>
                <c:pt idx="3">
                  <c:v>1</c:v>
                </c:pt>
                <c:pt idx="4">
                  <c:v>1</c:v>
                </c:pt>
                <c:pt idx="5">
                  <c:v>0.98</c:v>
                </c:pt>
                <c:pt idx="6">
                  <c:v>1</c:v>
                </c:pt>
                <c:pt idx="7">
                  <c:v>1</c:v>
                </c:pt>
                <c:pt idx="8">
                  <c:v>0.89</c:v>
                </c:pt>
                <c:pt idx="9">
                  <c:v>0.99</c:v>
                </c:pt>
                <c:pt idx="10">
                  <c:v>0.96</c:v>
                </c:pt>
                <c:pt idx="11">
                  <c:v>1</c:v>
                </c:pt>
                <c:pt idx="12">
                  <c:v>0.8</c:v>
                </c:pt>
                <c:pt idx="13">
                  <c:v>0.96</c:v>
                </c:pt>
                <c:pt idx="14">
                  <c:v>0.98</c:v>
                </c:pt>
                <c:pt idx="15">
                  <c:v>0.98</c:v>
                </c:pt>
                <c:pt idx="16">
                  <c:v>0.74</c:v>
                </c:pt>
                <c:pt idx="17">
                  <c:v>0.91</c:v>
                </c:pt>
                <c:pt idx="18">
                  <c:v>0.93</c:v>
                </c:pt>
                <c:pt idx="19">
                  <c:v>0.46</c:v>
                </c:pt>
                <c:pt idx="20">
                  <c:v>0.8</c:v>
                </c:pt>
                <c:pt idx="21">
                  <c:v>0.88</c:v>
                </c:pt>
                <c:pt idx="22">
                  <c:v>0.94</c:v>
                </c:pt>
                <c:pt idx="23">
                  <c:v>0.44</c:v>
                </c:pt>
                <c:pt idx="24">
                  <c:v>0.89</c:v>
                </c:pt>
                <c:pt idx="25">
                  <c:v>0.98</c:v>
                </c:pt>
                <c:pt idx="26">
                  <c:v>0.98</c:v>
                </c:pt>
                <c:pt idx="27">
                  <c:v>0.51</c:v>
                </c:pt>
                <c:pt idx="28">
                  <c:v>0.88</c:v>
                </c:pt>
                <c:pt idx="29">
                  <c:v>0.96</c:v>
                </c:pt>
                <c:pt idx="30">
                  <c:v>0.87</c:v>
                </c:pt>
                <c:pt idx="31">
                  <c:v>0.76</c:v>
                </c:pt>
                <c:pt idx="32">
                  <c:v>0.85</c:v>
                </c:pt>
                <c:pt idx="33">
                  <c:v>0.74</c:v>
                </c:pt>
                <c:pt idx="34">
                  <c:v>0.78</c:v>
                </c:pt>
                <c:pt idx="35">
                  <c:v>0.92</c:v>
                </c:pt>
                <c:pt idx="36">
                  <c:v>0.84</c:v>
                </c:pt>
                <c:pt idx="37">
                  <c:v>0.78</c:v>
                </c:pt>
                <c:pt idx="38">
                  <c:v>0.66</c:v>
                </c:pt>
                <c:pt idx="39">
                  <c:v>0.7</c:v>
                </c:pt>
                <c:pt idx="40">
                  <c:v>0.86</c:v>
                </c:pt>
                <c:pt idx="41">
                  <c:v>0.94</c:v>
                </c:pt>
                <c:pt idx="42">
                  <c:v>0.8</c:v>
                </c:pt>
                <c:pt idx="43">
                  <c:v>0.65</c:v>
                </c:pt>
                <c:pt idx="44">
                  <c:v>0.7</c:v>
                </c:pt>
                <c:pt idx="45">
                  <c:v>0.94</c:v>
                </c:pt>
                <c:pt idx="46">
                  <c:v>0.3</c:v>
                </c:pt>
                <c:pt idx="47">
                  <c:v>0.74</c:v>
                </c:pt>
                <c:pt idx="48">
                  <c:v>0.93</c:v>
                </c:pt>
                <c:pt idx="49">
                  <c:v>0.24</c:v>
                </c:pt>
                <c:pt idx="50">
                  <c:v>0.63</c:v>
                </c:pt>
                <c:pt idx="51">
                  <c:v>0.67</c:v>
                </c:pt>
                <c:pt idx="52">
                  <c:v>0.94</c:v>
                </c:pt>
                <c:pt idx="53">
                  <c:v>0.83</c:v>
                </c:pt>
                <c:pt idx="54">
                  <c:v>0.65</c:v>
                </c:pt>
                <c:pt idx="55">
                  <c:v>0.78</c:v>
                </c:pt>
                <c:pt idx="56">
                  <c:v>0.76</c:v>
                </c:pt>
                <c:pt idx="57">
                  <c:v>0.24</c:v>
                </c:pt>
                <c:pt idx="58">
                  <c:v>0.56000000000000005</c:v>
                </c:pt>
                <c:pt idx="59">
                  <c:v>0.66</c:v>
                </c:pt>
                <c:pt idx="60">
                  <c:v>0.85</c:v>
                </c:pt>
                <c:pt idx="61">
                  <c:v>0.28000000000000003</c:v>
                </c:pt>
                <c:pt idx="62">
                  <c:v>0.72</c:v>
                </c:pt>
                <c:pt idx="63">
                  <c:v>0.92</c:v>
                </c:pt>
                <c:pt idx="64">
                  <c:v>0.55000000000000004</c:v>
                </c:pt>
                <c:pt idx="65">
                  <c:v>0.73</c:v>
                </c:pt>
                <c:pt idx="66">
                  <c:v>0.72</c:v>
                </c:pt>
                <c:pt idx="67">
                  <c:v>0.66</c:v>
                </c:pt>
                <c:pt idx="68">
                  <c:v>0.9</c:v>
                </c:pt>
                <c:pt idx="69">
                  <c:v>0.62</c:v>
                </c:pt>
                <c:pt idx="70">
                  <c:v>0.35</c:v>
                </c:pt>
                <c:pt idx="71">
                  <c:v>0.77</c:v>
                </c:pt>
                <c:pt idx="72">
                  <c:v>0.37</c:v>
                </c:pt>
                <c:pt idx="73">
                  <c:v>0.35</c:v>
                </c:pt>
                <c:pt idx="74">
                  <c:v>0.66</c:v>
                </c:pt>
                <c:pt idx="75">
                  <c:v>0.48</c:v>
                </c:pt>
                <c:pt idx="76">
                  <c:v>0.74</c:v>
                </c:pt>
                <c:pt idx="77">
                  <c:v>0.76</c:v>
                </c:pt>
                <c:pt idx="78">
                  <c:v>0.91</c:v>
                </c:pt>
                <c:pt idx="79">
                  <c:v>0.43</c:v>
                </c:pt>
                <c:pt idx="80">
                  <c:v>0.56000000000000005</c:v>
                </c:pt>
                <c:pt idx="81">
                  <c:v>0.43</c:v>
                </c:pt>
                <c:pt idx="82">
                  <c:v>0.72</c:v>
                </c:pt>
                <c:pt idx="83">
                  <c:v>0.86</c:v>
                </c:pt>
                <c:pt idx="84">
                  <c:v>0.61</c:v>
                </c:pt>
                <c:pt idx="85">
                  <c:v>0.75</c:v>
                </c:pt>
                <c:pt idx="86">
                  <c:v>0.59</c:v>
                </c:pt>
                <c:pt idx="87">
                  <c:v>0.26</c:v>
                </c:pt>
                <c:pt idx="88">
                  <c:v>0.33</c:v>
                </c:pt>
                <c:pt idx="89">
                  <c:v>0.26</c:v>
                </c:pt>
                <c:pt idx="90">
                  <c:v>0.23</c:v>
                </c:pt>
                <c:pt idx="91">
                  <c:v>0.42</c:v>
                </c:pt>
                <c:pt idx="92">
                  <c:v>0.3</c:v>
                </c:pt>
                <c:pt idx="93">
                  <c:v>0.44</c:v>
                </c:pt>
                <c:pt idx="94">
                  <c:v>0.21</c:v>
                </c:pt>
                <c:pt idx="95">
                  <c:v>0.03</c:v>
                </c:pt>
                <c:pt idx="96">
                  <c:v>0.7</c:v>
                </c:pt>
                <c:pt idx="97">
                  <c:v>0.36</c:v>
                </c:pt>
                <c:pt idx="98">
                  <c:v>0.49</c:v>
                </c:pt>
                <c:pt idx="99">
                  <c:v>0.67</c:v>
                </c:pt>
                <c:pt idx="100">
                  <c:v>0.72</c:v>
                </c:pt>
                <c:pt idx="101">
                  <c:v>0.55000000000000004</c:v>
                </c:pt>
                <c:pt idx="102">
                  <c:v>0.35</c:v>
                </c:pt>
                <c:pt idx="103">
                  <c:v>0.54</c:v>
                </c:pt>
                <c:pt idx="104">
                  <c:v>0.47</c:v>
                </c:pt>
                <c:pt idx="105">
                  <c:v>0.2</c:v>
                </c:pt>
                <c:pt idx="106">
                  <c:v>0.61</c:v>
                </c:pt>
                <c:pt idx="107">
                  <c:v>0.21</c:v>
                </c:pt>
                <c:pt idx="108">
                  <c:v>0.24</c:v>
                </c:pt>
                <c:pt idx="109">
                  <c:v>0.23</c:v>
                </c:pt>
                <c:pt idx="110">
                  <c:v>0.37</c:v>
                </c:pt>
                <c:pt idx="111">
                  <c:v>0.54</c:v>
                </c:pt>
                <c:pt idx="112">
                  <c:v>0.59</c:v>
                </c:pt>
                <c:pt idx="113">
                  <c:v>0.34</c:v>
                </c:pt>
                <c:pt idx="114">
                  <c:v>0.39</c:v>
                </c:pt>
                <c:pt idx="115">
                  <c:v>0.54</c:v>
                </c:pt>
                <c:pt idx="116">
                  <c:v>0.48</c:v>
                </c:pt>
                <c:pt idx="117">
                  <c:v>0.31</c:v>
                </c:pt>
                <c:pt idx="118">
                  <c:v>0.19</c:v>
                </c:pt>
                <c:pt idx="119">
                  <c:v>0.47</c:v>
                </c:pt>
                <c:pt idx="120">
                  <c:v>0.09</c:v>
                </c:pt>
                <c:pt idx="121">
                  <c:v>0.15</c:v>
                </c:pt>
                <c:pt idx="122">
                  <c:v>0.13</c:v>
                </c:pt>
                <c:pt idx="123">
                  <c:v>0.27</c:v>
                </c:pt>
                <c:pt idx="124">
                  <c:v>0.43</c:v>
                </c:pt>
                <c:pt idx="125">
                  <c:v>0.16</c:v>
                </c:pt>
                <c:pt idx="126">
                  <c:v>0.37</c:v>
                </c:pt>
                <c:pt idx="127">
                  <c:v>0.46</c:v>
                </c:pt>
                <c:pt idx="128">
                  <c:v>0.34</c:v>
                </c:pt>
                <c:pt idx="129">
                  <c:v>0.26</c:v>
                </c:pt>
                <c:pt idx="130">
                  <c:v>0.09</c:v>
                </c:pt>
                <c:pt idx="131">
                  <c:v>0.39</c:v>
                </c:pt>
                <c:pt idx="132">
                  <c:v>0.49</c:v>
                </c:pt>
                <c:pt idx="133">
                  <c:v>0.1</c:v>
                </c:pt>
                <c:pt idx="134">
                  <c:v>7.0000000000000007E-2</c:v>
                </c:pt>
                <c:pt idx="135">
                  <c:v>0.12</c:v>
                </c:pt>
                <c:pt idx="136">
                  <c:v>0.22</c:v>
                </c:pt>
                <c:pt idx="137">
                  <c:v>0.13</c:v>
                </c:pt>
                <c:pt idx="138">
                  <c:v>0.23</c:v>
                </c:pt>
                <c:pt idx="139">
                  <c:v>0.56000000000000005</c:v>
                </c:pt>
                <c:pt idx="140">
                  <c:v>0.35</c:v>
                </c:pt>
                <c:pt idx="141">
                  <c:v>0.14000000000000001</c:v>
                </c:pt>
                <c:pt idx="142">
                  <c:v>0.42</c:v>
                </c:pt>
                <c:pt idx="143">
                  <c:v>0.54</c:v>
                </c:pt>
                <c:pt idx="144">
                  <c:v>0.17</c:v>
                </c:pt>
                <c:pt idx="145">
                  <c:v>0.94</c:v>
                </c:pt>
                <c:pt idx="146">
                  <c:v>0.28000000000000003</c:v>
                </c:pt>
                <c:pt idx="147">
                  <c:v>0.5</c:v>
                </c:pt>
                <c:pt idx="148">
                  <c:v>0.42</c:v>
                </c:pt>
                <c:pt idx="149">
                  <c:v>0.45</c:v>
                </c:pt>
                <c:pt idx="150">
                  <c:v>0.09</c:v>
                </c:pt>
                <c:pt idx="151">
                  <c:v>0.64</c:v>
                </c:pt>
                <c:pt idx="152">
                  <c:v>0.1</c:v>
                </c:pt>
                <c:pt idx="153">
                  <c:v>0.27</c:v>
                </c:pt>
                <c:pt idx="154">
                  <c:v>0.21</c:v>
                </c:pt>
                <c:pt idx="155">
                  <c:v>0.2</c:v>
                </c:pt>
                <c:pt idx="156">
                  <c:v>0.2</c:v>
                </c:pt>
                <c:pt idx="157">
                  <c:v>0.32</c:v>
                </c:pt>
                <c:pt idx="158">
                  <c:v>0.34</c:v>
                </c:pt>
                <c:pt idx="159">
                  <c:v>0.23</c:v>
                </c:pt>
                <c:pt idx="160">
                  <c:v>0.14000000000000001</c:v>
                </c:pt>
                <c:pt idx="161">
                  <c:v>7.0000000000000007E-2</c:v>
                </c:pt>
                <c:pt idx="162">
                  <c:v>0.17</c:v>
                </c:pt>
                <c:pt idx="163">
                  <c:v>0.28000000000000003</c:v>
                </c:pt>
                <c:pt idx="164">
                  <c:v>0.03</c:v>
                </c:pt>
                <c:pt idx="165">
                  <c:v>0.25</c:v>
                </c:pt>
                <c:pt idx="166">
                  <c:v>0.09</c:v>
                </c:pt>
                <c:pt idx="167">
                  <c:v>0.27</c:v>
                </c:pt>
                <c:pt idx="168">
                  <c:v>0.15</c:v>
                </c:pt>
                <c:pt idx="169">
                  <c:v>0.24</c:v>
                </c:pt>
                <c:pt idx="170">
                  <c:v>0.48</c:v>
                </c:pt>
                <c:pt idx="171">
                  <c:v>0.21</c:v>
                </c:pt>
                <c:pt idx="172">
                  <c:v>0.03</c:v>
                </c:pt>
                <c:pt idx="173">
                  <c:v>0.21</c:v>
                </c:pt>
                <c:pt idx="174">
                  <c:v>0.03</c:v>
                </c:pt>
                <c:pt idx="175">
                  <c:v>0.1</c:v>
                </c:pt>
                <c:pt idx="176">
                  <c:v>0.03</c:v>
                </c:pt>
                <c:pt idx="177">
                  <c:v>0.24</c:v>
                </c:pt>
                <c:pt idx="178">
                  <c:v>0.31</c:v>
                </c:pt>
                <c:pt idx="179">
                  <c:v>0.11</c:v>
                </c:pt>
                <c:pt idx="180">
                  <c:v>0.16</c:v>
                </c:pt>
                <c:pt idx="181">
                  <c:v>0.38</c:v>
                </c:pt>
                <c:pt idx="182">
                  <c:v>0.12</c:v>
                </c:pt>
                <c:pt idx="183">
                  <c:v>0.09</c:v>
                </c:pt>
                <c:pt idx="184">
                  <c:v>0.18</c:v>
                </c:pt>
                <c:pt idx="185">
                  <c:v>7.0000000000000007E-2</c:v>
                </c:pt>
                <c:pt idx="186">
                  <c:v>0.13</c:v>
                </c:pt>
                <c:pt idx="187">
                  <c:v>0.28000000000000003</c:v>
                </c:pt>
                <c:pt idx="188">
                  <c:v>0.04</c:v>
                </c:pt>
                <c:pt idx="189">
                  <c:v>0.09</c:v>
                </c:pt>
                <c:pt idx="190">
                  <c:v>0.03</c:v>
                </c:pt>
                <c:pt idx="191">
                  <c:v>0.09</c:v>
                </c:pt>
                <c:pt idx="192">
                  <c:v>0.09</c:v>
                </c:pt>
                <c:pt idx="193">
                  <c:v>7.0000000000000007E-2</c:v>
                </c:pt>
                <c:pt idx="194">
                  <c:v>0.17</c:v>
                </c:pt>
                <c:pt idx="195">
                  <c:v>0.03</c:v>
                </c:pt>
                <c:pt idx="196">
                  <c:v>0.08</c:v>
                </c:pt>
                <c:pt idx="197">
                  <c:v>0.2</c:v>
                </c:pt>
                <c:pt idx="198">
                  <c:v>0.05</c:v>
                </c:pt>
                <c:pt idx="199">
                  <c:v>0.09</c:v>
                </c:pt>
                <c:pt idx="200">
                  <c:v>0.15</c:v>
                </c:pt>
                <c:pt idx="201">
                  <c:v>0.24</c:v>
                </c:pt>
                <c:pt idx="202">
                  <c:v>7.0000000000000007E-2</c:v>
                </c:pt>
                <c:pt idx="203">
                  <c:v>0.14000000000000001</c:v>
                </c:pt>
                <c:pt idx="204">
                  <c:v>0.05</c:v>
                </c:pt>
                <c:pt idx="205">
                  <c:v>0.09</c:v>
                </c:pt>
                <c:pt idx="206">
                  <c:v>0.05</c:v>
                </c:pt>
                <c:pt idx="207">
                  <c:v>0.08</c:v>
                </c:pt>
                <c:pt idx="208">
                  <c:v>0.24</c:v>
                </c:pt>
                <c:pt idx="209">
                  <c:v>0.06</c:v>
                </c:pt>
                <c:pt idx="210">
                  <c:v>7.0000000000000007E-2</c:v>
                </c:pt>
                <c:pt idx="211">
                  <c:v>0.31</c:v>
                </c:pt>
                <c:pt idx="212">
                  <c:v>0.12</c:v>
                </c:pt>
                <c:pt idx="213">
                  <c:v>0.04</c:v>
                </c:pt>
                <c:pt idx="214">
                  <c:v>0.21</c:v>
                </c:pt>
                <c:pt idx="215">
                  <c:v>0.03</c:v>
                </c:pt>
                <c:pt idx="216">
                  <c:v>0.17</c:v>
                </c:pt>
                <c:pt idx="217">
                  <c:v>0.28000000000000003</c:v>
                </c:pt>
                <c:pt idx="218">
                  <c:v>0.14000000000000001</c:v>
                </c:pt>
                <c:pt idx="219">
                  <c:v>0.09</c:v>
                </c:pt>
                <c:pt idx="220">
                  <c:v>0.05</c:v>
                </c:pt>
                <c:pt idx="221">
                  <c:v>0.15</c:v>
                </c:pt>
                <c:pt idx="222">
                  <c:v>0.09</c:v>
                </c:pt>
                <c:pt idx="223">
                  <c:v>0.05</c:v>
                </c:pt>
                <c:pt idx="224">
                  <c:v>0.04</c:v>
                </c:pt>
                <c:pt idx="225">
                  <c:v>0.02</c:v>
                </c:pt>
                <c:pt idx="226">
                  <c:v>7.0000000000000007E-2</c:v>
                </c:pt>
                <c:pt idx="227">
                  <c:v>0.2</c:v>
                </c:pt>
                <c:pt idx="228">
                  <c:v>0.08</c:v>
                </c:pt>
                <c:pt idx="229">
                  <c:v>0.08</c:v>
                </c:pt>
                <c:pt idx="230">
                  <c:v>0.09</c:v>
                </c:pt>
                <c:pt idx="231">
                  <c:v>0.21</c:v>
                </c:pt>
                <c:pt idx="232">
                  <c:v>0.09</c:v>
                </c:pt>
                <c:pt idx="233">
                  <c:v>0.03</c:v>
                </c:pt>
                <c:pt idx="234">
                  <c:v>0.05</c:v>
                </c:pt>
                <c:pt idx="235">
                  <c:v>0.06</c:v>
                </c:pt>
                <c:pt idx="236">
                  <c:v>0.1</c:v>
                </c:pt>
                <c:pt idx="237">
                  <c:v>7.0000000000000007E-2</c:v>
                </c:pt>
                <c:pt idx="238">
                  <c:v>7.0000000000000007E-2</c:v>
                </c:pt>
                <c:pt idx="239">
                  <c:v>0.06</c:v>
                </c:pt>
                <c:pt idx="240">
                  <c:v>0.06</c:v>
                </c:pt>
                <c:pt idx="241">
                  <c:v>0.06</c:v>
                </c:pt>
                <c:pt idx="242">
                  <c:v>0.04</c:v>
                </c:pt>
                <c:pt idx="243">
                  <c:v>0.04</c:v>
                </c:pt>
                <c:pt idx="244">
                  <c:v>0.09</c:v>
                </c:pt>
                <c:pt idx="245">
                  <c:v>0.03</c:v>
                </c:pt>
                <c:pt idx="246">
                  <c:v>0.03</c:v>
                </c:pt>
                <c:pt idx="247">
                  <c:v>0.14000000000000001</c:v>
                </c:pt>
                <c:pt idx="248">
                  <c:v>0.09</c:v>
                </c:pt>
                <c:pt idx="249">
                  <c:v>0.1</c:v>
                </c:pt>
                <c:pt idx="250">
                  <c:v>0.08</c:v>
                </c:pt>
                <c:pt idx="251">
                  <c:v>0.24</c:v>
                </c:pt>
                <c:pt idx="252">
                  <c:v>0.11</c:v>
                </c:pt>
                <c:pt idx="253">
                  <c:v>0.2</c:v>
                </c:pt>
                <c:pt idx="254">
                  <c:v>0.02</c:v>
                </c:pt>
                <c:pt idx="255">
                  <c:v>0.05</c:v>
                </c:pt>
                <c:pt idx="256">
                  <c:v>7.0000000000000007E-2</c:v>
                </c:pt>
                <c:pt idx="257">
                  <c:v>0.09</c:v>
                </c:pt>
                <c:pt idx="258">
                  <c:v>0.09</c:v>
                </c:pt>
                <c:pt idx="259">
                  <c:v>0.06</c:v>
                </c:pt>
                <c:pt idx="260">
                  <c:v>0.05</c:v>
                </c:pt>
                <c:pt idx="261">
                  <c:v>0.05</c:v>
                </c:pt>
                <c:pt idx="262">
                  <c:v>0.08</c:v>
                </c:pt>
                <c:pt idx="263">
                  <c:v>0.04</c:v>
                </c:pt>
                <c:pt idx="264">
                  <c:v>0.03</c:v>
                </c:pt>
                <c:pt idx="265">
                  <c:v>0.11</c:v>
                </c:pt>
                <c:pt idx="266">
                  <c:v>7.0000000000000007E-2</c:v>
                </c:pt>
                <c:pt idx="267">
                  <c:v>0.06</c:v>
                </c:pt>
                <c:pt idx="268">
                  <c:v>0.06</c:v>
                </c:pt>
                <c:pt idx="269">
                  <c:v>0.14000000000000001</c:v>
                </c:pt>
                <c:pt idx="270">
                  <c:v>0.09</c:v>
                </c:pt>
                <c:pt idx="271">
                  <c:v>0.05</c:v>
                </c:pt>
                <c:pt idx="272">
                  <c:v>0.05</c:v>
                </c:pt>
                <c:pt idx="273">
                  <c:v>0.09</c:v>
                </c:pt>
                <c:pt idx="274">
                  <c:v>0.04</c:v>
                </c:pt>
                <c:pt idx="275">
                  <c:v>0.03</c:v>
                </c:pt>
                <c:pt idx="276">
                  <c:v>0.05</c:v>
                </c:pt>
                <c:pt idx="277">
                  <c:v>0.02</c:v>
                </c:pt>
                <c:pt idx="278">
                  <c:v>0.03</c:v>
                </c:pt>
                <c:pt idx="279">
                  <c:v>0.09</c:v>
                </c:pt>
                <c:pt idx="280">
                  <c:v>7.0000000000000007E-2</c:v>
                </c:pt>
                <c:pt idx="281">
                  <c:v>0.08</c:v>
                </c:pt>
                <c:pt idx="282">
                  <c:v>0.12</c:v>
                </c:pt>
                <c:pt idx="283">
                  <c:v>0.03</c:v>
                </c:pt>
                <c:pt idx="284">
                  <c:v>0.05</c:v>
                </c:pt>
                <c:pt idx="285">
                  <c:v>0.05</c:v>
                </c:pt>
                <c:pt idx="286">
                  <c:v>0.05</c:v>
                </c:pt>
                <c:pt idx="287">
                  <c:v>0.02</c:v>
                </c:pt>
                <c:pt idx="288">
                  <c:v>0.03</c:v>
                </c:pt>
                <c:pt idx="289">
                  <c:v>0.03</c:v>
                </c:pt>
                <c:pt idx="290">
                  <c:v>7.0000000000000007E-2</c:v>
                </c:pt>
                <c:pt idx="291">
                  <c:v>0.06</c:v>
                </c:pt>
                <c:pt idx="292">
                  <c:v>0.06</c:v>
                </c:pt>
                <c:pt idx="293">
                  <c:v>7.0000000000000007E-2</c:v>
                </c:pt>
                <c:pt idx="294">
                  <c:v>0.04</c:v>
                </c:pt>
                <c:pt idx="295">
                  <c:v>0.02</c:v>
                </c:pt>
                <c:pt idx="296">
                  <c:v>0.03</c:v>
                </c:pt>
                <c:pt idx="297">
                  <c:v>0.04</c:v>
                </c:pt>
                <c:pt idx="298">
                  <c:v>0.03</c:v>
                </c:pt>
                <c:pt idx="299">
                  <c:v>0.03</c:v>
                </c:pt>
                <c:pt idx="300">
                  <c:v>0.03</c:v>
                </c:pt>
                <c:pt idx="301">
                  <c:v>7.0000000000000007E-2</c:v>
                </c:pt>
                <c:pt idx="302">
                  <c:v>0.09</c:v>
                </c:pt>
                <c:pt idx="303">
                  <c:v>0.06</c:v>
                </c:pt>
                <c:pt idx="304">
                  <c:v>7.0000000000000007E-2</c:v>
                </c:pt>
                <c:pt idx="305">
                  <c:v>0.1</c:v>
                </c:pt>
                <c:pt idx="306">
                  <c:v>0.03</c:v>
                </c:pt>
                <c:pt idx="307">
                  <c:v>0.05</c:v>
                </c:pt>
                <c:pt idx="308">
                  <c:v>0.11</c:v>
                </c:pt>
                <c:pt idx="309">
                  <c:v>7.0000000000000007E-2</c:v>
                </c:pt>
                <c:pt idx="310">
                  <c:v>0.02</c:v>
                </c:pt>
                <c:pt idx="311">
                  <c:v>0.09</c:v>
                </c:pt>
                <c:pt idx="312">
                  <c:v>0.06</c:v>
                </c:pt>
                <c:pt idx="313">
                  <c:v>7.0000000000000007E-2</c:v>
                </c:pt>
                <c:pt idx="314">
                  <c:v>0.06</c:v>
                </c:pt>
                <c:pt idx="315">
                  <c:v>0.08</c:v>
                </c:pt>
                <c:pt idx="316">
                  <c:v>0.04</c:v>
                </c:pt>
                <c:pt idx="317">
                  <c:v>7.0000000000000007E-2</c:v>
                </c:pt>
                <c:pt idx="318">
                  <c:v>0.06</c:v>
                </c:pt>
                <c:pt idx="319">
                  <c:v>0.08</c:v>
                </c:pt>
                <c:pt idx="320">
                  <c:v>0.02</c:v>
                </c:pt>
                <c:pt idx="321">
                  <c:v>0.03</c:v>
                </c:pt>
                <c:pt idx="322">
                  <c:v>0.03</c:v>
                </c:pt>
                <c:pt idx="323">
                  <c:v>0.02</c:v>
                </c:pt>
                <c:pt idx="324">
                  <c:v>0.02</c:v>
                </c:pt>
                <c:pt idx="325">
                  <c:v>0.04</c:v>
                </c:pt>
                <c:pt idx="326">
                  <c:v>0.03</c:v>
                </c:pt>
                <c:pt idx="327">
                  <c:v>0.06</c:v>
                </c:pt>
                <c:pt idx="328">
                  <c:v>0.08</c:v>
                </c:pt>
                <c:pt idx="329">
                  <c:v>0.04</c:v>
                </c:pt>
                <c:pt idx="330">
                  <c:v>0.02</c:v>
                </c:pt>
                <c:pt idx="331">
                  <c:v>0.03</c:v>
                </c:pt>
                <c:pt idx="332">
                  <c:v>0.06</c:v>
                </c:pt>
                <c:pt idx="333">
                  <c:v>0.04</c:v>
                </c:pt>
                <c:pt idx="334">
                  <c:v>0.06</c:v>
                </c:pt>
                <c:pt idx="335">
                  <c:v>0.02</c:v>
                </c:pt>
                <c:pt idx="336">
                  <c:v>0.05</c:v>
                </c:pt>
                <c:pt idx="337">
                  <c:v>0.09</c:v>
                </c:pt>
                <c:pt idx="338">
                  <c:v>0.06</c:v>
                </c:pt>
                <c:pt idx="339">
                  <c:v>7.0000000000000007E-2</c:v>
                </c:pt>
                <c:pt idx="340">
                  <c:v>0.02</c:v>
                </c:pt>
                <c:pt idx="341">
                  <c:v>0.06</c:v>
                </c:pt>
                <c:pt idx="342">
                  <c:v>0.03</c:v>
                </c:pt>
                <c:pt idx="343">
                  <c:v>0.02</c:v>
                </c:pt>
                <c:pt idx="344">
                  <c:v>7.0000000000000007E-2</c:v>
                </c:pt>
                <c:pt idx="345">
                  <c:v>0.01</c:v>
                </c:pt>
                <c:pt idx="346">
                  <c:v>0.05</c:v>
                </c:pt>
                <c:pt idx="347">
                  <c:v>0.02</c:v>
                </c:pt>
                <c:pt idx="348">
                  <c:v>0.09</c:v>
                </c:pt>
                <c:pt idx="349">
                  <c:v>0.04</c:v>
                </c:pt>
                <c:pt idx="350">
                  <c:v>0.05</c:v>
                </c:pt>
                <c:pt idx="351">
                  <c:v>0.02</c:v>
                </c:pt>
                <c:pt idx="352">
                  <c:v>0.03</c:v>
                </c:pt>
                <c:pt idx="353">
                  <c:v>0.02</c:v>
                </c:pt>
                <c:pt idx="354">
                  <c:v>0.03</c:v>
                </c:pt>
                <c:pt idx="355">
                  <c:v>0.03</c:v>
                </c:pt>
                <c:pt idx="356">
                  <c:v>0.02</c:v>
                </c:pt>
                <c:pt idx="357">
                  <c:v>0.09</c:v>
                </c:pt>
                <c:pt idx="358">
                  <c:v>0.02</c:v>
                </c:pt>
                <c:pt idx="359">
                  <c:v>0.03</c:v>
                </c:pt>
                <c:pt idx="360">
                  <c:v>0.02</c:v>
                </c:pt>
                <c:pt idx="361">
                  <c:v>7.0000000000000007E-2</c:v>
                </c:pt>
                <c:pt idx="362">
                  <c:v>0.06</c:v>
                </c:pt>
                <c:pt idx="363">
                  <c:v>0.02</c:v>
                </c:pt>
                <c:pt idx="364">
                  <c:v>0.06</c:v>
                </c:pt>
                <c:pt idx="365">
                  <c:v>0.04</c:v>
                </c:pt>
                <c:pt idx="366">
                  <c:v>0.02</c:v>
                </c:pt>
                <c:pt idx="367">
                  <c:v>0.02</c:v>
                </c:pt>
                <c:pt idx="368">
                  <c:v>7.0000000000000007E-2</c:v>
                </c:pt>
                <c:pt idx="369">
                  <c:v>0.02</c:v>
                </c:pt>
                <c:pt idx="370">
                  <c:v>0.04</c:v>
                </c:pt>
                <c:pt idx="371">
                  <c:v>0.09</c:v>
                </c:pt>
                <c:pt idx="372">
                  <c:v>0.03</c:v>
                </c:pt>
                <c:pt idx="373">
                  <c:v>0.03</c:v>
                </c:pt>
                <c:pt idx="374">
                  <c:v>0.04</c:v>
                </c:pt>
                <c:pt idx="375">
                  <c:v>0.02</c:v>
                </c:pt>
                <c:pt idx="376">
                  <c:v>0.04</c:v>
                </c:pt>
                <c:pt idx="377">
                  <c:v>0.02</c:v>
                </c:pt>
                <c:pt idx="378">
                  <c:v>0.02</c:v>
                </c:pt>
                <c:pt idx="379">
                  <c:v>7.0000000000000007E-2</c:v>
                </c:pt>
                <c:pt idx="380">
                  <c:v>0.02</c:v>
                </c:pt>
                <c:pt idx="381">
                  <c:v>0.05</c:v>
                </c:pt>
                <c:pt idx="382">
                  <c:v>0.03</c:v>
                </c:pt>
                <c:pt idx="383">
                  <c:v>0.03</c:v>
                </c:pt>
                <c:pt idx="384">
                  <c:v>0.03</c:v>
                </c:pt>
                <c:pt idx="385">
                  <c:v>0.02</c:v>
                </c:pt>
                <c:pt idx="386">
                  <c:v>0.03</c:v>
                </c:pt>
                <c:pt idx="387">
                  <c:v>0.02</c:v>
                </c:pt>
                <c:pt idx="388">
                  <c:v>0.04</c:v>
                </c:pt>
                <c:pt idx="389">
                  <c:v>0.02</c:v>
                </c:pt>
                <c:pt idx="390">
                  <c:v>0.01</c:v>
                </c:pt>
                <c:pt idx="391">
                  <c:v>0.02</c:v>
                </c:pt>
                <c:pt idx="392">
                  <c:v>0.09</c:v>
                </c:pt>
                <c:pt idx="393">
                  <c:v>0.02</c:v>
                </c:pt>
                <c:pt idx="394">
                  <c:v>0.02</c:v>
                </c:pt>
                <c:pt idx="395">
                  <c:v>0.01</c:v>
                </c:pt>
                <c:pt idx="396">
                  <c:v>0.02</c:v>
                </c:pt>
                <c:pt idx="397">
                  <c:v>0.04</c:v>
                </c:pt>
                <c:pt idx="398">
                  <c:v>0.02</c:v>
                </c:pt>
                <c:pt idx="399">
                  <c:v>0.02</c:v>
                </c:pt>
                <c:pt idx="400">
                  <c:v>0.03</c:v>
                </c:pt>
                <c:pt idx="401">
                  <c:v>7.0000000000000007E-2</c:v>
                </c:pt>
                <c:pt idx="402">
                  <c:v>7.0000000000000007E-2</c:v>
                </c:pt>
                <c:pt idx="403">
                  <c:v>0.02</c:v>
                </c:pt>
                <c:pt idx="404">
                  <c:v>0.03</c:v>
                </c:pt>
                <c:pt idx="405">
                  <c:v>0.01</c:v>
                </c:pt>
                <c:pt idx="406">
                  <c:v>0.03</c:v>
                </c:pt>
                <c:pt idx="407">
                  <c:v>0.05</c:v>
                </c:pt>
                <c:pt idx="408">
                  <c:v>0.02</c:v>
                </c:pt>
                <c:pt idx="409">
                  <c:v>0.02</c:v>
                </c:pt>
                <c:pt idx="410">
                  <c:v>0.01</c:v>
                </c:pt>
                <c:pt idx="411">
                  <c:v>0.01</c:v>
                </c:pt>
                <c:pt idx="412">
                  <c:v>0.04</c:v>
                </c:pt>
                <c:pt idx="413">
                  <c:v>0.01</c:v>
                </c:pt>
                <c:pt idx="414">
                  <c:v>0.02</c:v>
                </c:pt>
                <c:pt idx="415">
                  <c:v>0.02</c:v>
                </c:pt>
                <c:pt idx="416">
                  <c:v>0.03</c:v>
                </c:pt>
                <c:pt idx="417">
                  <c:v>0.02</c:v>
                </c:pt>
                <c:pt idx="418">
                  <c:v>0.02</c:v>
                </c:pt>
                <c:pt idx="419">
                  <c:v>0.01</c:v>
                </c:pt>
                <c:pt idx="420">
                  <c:v>0.01</c:v>
                </c:pt>
                <c:pt idx="421">
                  <c:v>0.05</c:v>
                </c:pt>
                <c:pt idx="422">
                  <c:v>0.03</c:v>
                </c:pt>
                <c:pt idx="423">
                  <c:v>0.05</c:v>
                </c:pt>
                <c:pt idx="424">
                  <c:v>0.02</c:v>
                </c:pt>
                <c:pt idx="425">
                  <c:v>0.03</c:v>
                </c:pt>
                <c:pt idx="426">
                  <c:v>0.02</c:v>
                </c:pt>
                <c:pt idx="427">
                  <c:v>0.03</c:v>
                </c:pt>
                <c:pt idx="428">
                  <c:v>0.02</c:v>
                </c:pt>
                <c:pt idx="429">
                  <c:v>0.02</c:v>
                </c:pt>
                <c:pt idx="430">
                  <c:v>0.03</c:v>
                </c:pt>
                <c:pt idx="431">
                  <c:v>0.02</c:v>
                </c:pt>
                <c:pt idx="432">
                  <c:v>0.02</c:v>
                </c:pt>
                <c:pt idx="433">
                  <c:v>0.01</c:v>
                </c:pt>
                <c:pt idx="434">
                  <c:v>0.02</c:v>
                </c:pt>
                <c:pt idx="435">
                  <c:v>0.02</c:v>
                </c:pt>
                <c:pt idx="436">
                  <c:v>0.02</c:v>
                </c:pt>
                <c:pt idx="437">
                  <c:v>0.02</c:v>
                </c:pt>
                <c:pt idx="438">
                  <c:v>0.05</c:v>
                </c:pt>
                <c:pt idx="439">
                  <c:v>0.02</c:v>
                </c:pt>
                <c:pt idx="440">
                  <c:v>0.01</c:v>
                </c:pt>
                <c:pt idx="441">
                  <c:v>0.01</c:v>
                </c:pt>
                <c:pt idx="442">
                  <c:v>0.04</c:v>
                </c:pt>
                <c:pt idx="443">
                  <c:v>0.03</c:v>
                </c:pt>
                <c:pt idx="444">
                  <c:v>0.02</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7ECAC4"/>
              </a:solidFill>
            </c:spPr>
            <c:extLst>
              <c:ext xmlns:c16="http://schemas.microsoft.com/office/drawing/2014/chart" uri="{C3380CC4-5D6E-409C-BE32-E72D297353CC}">
                <c16:uniqueId val="{00000082-C76F-4230-900D-40618C09729F}"/>
              </c:ext>
            </c:extLst>
          </c:dPt>
          <c:dPt>
            <c:idx val="63"/>
            <c:invertIfNegative val="0"/>
            <c:bubble3D val="0"/>
            <c:spPr>
              <a:solidFill>
                <a:srgbClr val="7ECAC4"/>
              </a:solidFill>
            </c:spPr>
            <c:extLst>
              <c:ext xmlns:c16="http://schemas.microsoft.com/office/drawing/2014/chart" uri="{C3380CC4-5D6E-409C-BE32-E72D297353CC}">
                <c16:uniqueId val="{00000084-C76F-4230-900D-40618C09729F}"/>
              </c:ext>
            </c:extLst>
          </c:dPt>
          <c:dPt>
            <c:idx val="64"/>
            <c:invertIfNegative val="0"/>
            <c:bubble3D val="0"/>
            <c:spPr>
              <a:solidFill>
                <a:srgbClr val="7ECAC4"/>
              </a:solidFill>
            </c:spPr>
            <c:extLst>
              <c:ext xmlns:c16="http://schemas.microsoft.com/office/drawing/2014/chart" uri="{C3380CC4-5D6E-409C-BE32-E72D297353CC}">
                <c16:uniqueId val="{00000086-C76F-4230-900D-40618C09729F}"/>
              </c:ext>
            </c:extLst>
          </c:dPt>
          <c:dPt>
            <c:idx val="65"/>
            <c:invertIfNegative val="0"/>
            <c:bubble3D val="0"/>
            <c:spPr>
              <a:solidFill>
                <a:srgbClr val="7ECAC4"/>
              </a:solidFill>
            </c:spPr>
            <c:extLst>
              <c:ext xmlns:c16="http://schemas.microsoft.com/office/drawing/2014/chart" uri="{C3380CC4-5D6E-409C-BE32-E72D297353CC}">
                <c16:uniqueId val="{00000088-C76F-4230-900D-40618C09729F}"/>
              </c:ext>
            </c:extLst>
          </c:dPt>
          <c:dPt>
            <c:idx val="66"/>
            <c:invertIfNegative val="0"/>
            <c:bubble3D val="0"/>
            <c:spPr>
              <a:solidFill>
                <a:srgbClr val="7ECAC4"/>
              </a:solidFill>
            </c:spPr>
            <c:extLst>
              <c:ext xmlns:c16="http://schemas.microsoft.com/office/drawing/2014/chart" uri="{C3380CC4-5D6E-409C-BE32-E72D297353CC}">
                <c16:uniqueId val="{0000008A-C76F-4230-900D-40618C09729F}"/>
              </c:ext>
            </c:extLst>
          </c:dPt>
          <c:dPt>
            <c:idx val="67"/>
            <c:invertIfNegative val="0"/>
            <c:bubble3D val="0"/>
            <c:spPr>
              <a:solidFill>
                <a:srgbClr val="7ECAC4"/>
              </a:solidFill>
            </c:spPr>
            <c:extLst>
              <c:ext xmlns:c16="http://schemas.microsoft.com/office/drawing/2014/chart" uri="{C3380CC4-5D6E-409C-BE32-E72D297353CC}">
                <c16:uniqueId val="{0000008C-C76F-4230-900D-40618C09729F}"/>
              </c:ext>
            </c:extLst>
          </c:dPt>
          <c:dPt>
            <c:idx val="68"/>
            <c:invertIfNegative val="0"/>
            <c:bubble3D val="0"/>
            <c:spPr>
              <a:solidFill>
                <a:srgbClr val="7ECAC4"/>
              </a:solidFill>
            </c:spPr>
            <c:extLst>
              <c:ext xmlns:c16="http://schemas.microsoft.com/office/drawing/2014/chart" uri="{C3380CC4-5D6E-409C-BE32-E72D297353CC}">
                <c16:uniqueId val="{0000008E-C76F-4230-900D-40618C09729F}"/>
              </c:ext>
            </c:extLst>
          </c:dPt>
          <c:dPt>
            <c:idx val="69"/>
            <c:invertIfNegative val="0"/>
            <c:bubble3D val="0"/>
            <c:spPr>
              <a:solidFill>
                <a:srgbClr val="7ECAC4"/>
              </a:solidFill>
            </c:spPr>
            <c:extLst>
              <c:ext xmlns:c16="http://schemas.microsoft.com/office/drawing/2014/chart" uri="{C3380CC4-5D6E-409C-BE32-E72D297353CC}">
                <c16:uniqueId val="{00000090-C76F-4230-900D-40618C09729F}"/>
              </c:ext>
            </c:extLst>
          </c:dPt>
          <c:dPt>
            <c:idx val="70"/>
            <c:invertIfNegative val="0"/>
            <c:bubble3D val="0"/>
            <c:spPr>
              <a:solidFill>
                <a:srgbClr val="7ECAC4"/>
              </a:solidFill>
            </c:spPr>
            <c:extLst>
              <c:ext xmlns:c16="http://schemas.microsoft.com/office/drawing/2014/chart" uri="{C3380CC4-5D6E-409C-BE32-E72D297353CC}">
                <c16:uniqueId val="{00000092-C76F-4230-900D-40618C09729F}"/>
              </c:ext>
            </c:extLst>
          </c:dPt>
          <c:dPt>
            <c:idx val="71"/>
            <c:invertIfNegative val="0"/>
            <c:bubble3D val="0"/>
            <c:spPr>
              <a:solidFill>
                <a:srgbClr val="7ECAC4"/>
              </a:solidFill>
            </c:spPr>
            <c:extLst>
              <c:ext xmlns:c16="http://schemas.microsoft.com/office/drawing/2014/chart" uri="{C3380CC4-5D6E-409C-BE32-E72D297353CC}">
                <c16:uniqueId val="{00000094-C76F-4230-900D-40618C09729F}"/>
              </c:ext>
            </c:extLst>
          </c:dPt>
          <c:dPt>
            <c:idx val="72"/>
            <c:invertIfNegative val="0"/>
            <c:bubble3D val="0"/>
            <c:spPr>
              <a:solidFill>
                <a:srgbClr val="7ECAC4"/>
              </a:solidFill>
            </c:spPr>
            <c:extLst>
              <c:ext xmlns:c16="http://schemas.microsoft.com/office/drawing/2014/chart" uri="{C3380CC4-5D6E-409C-BE32-E72D297353CC}">
                <c16:uniqueId val="{00000096-C76F-4230-900D-40618C09729F}"/>
              </c:ext>
            </c:extLst>
          </c:dPt>
          <c:dPt>
            <c:idx val="73"/>
            <c:invertIfNegative val="0"/>
            <c:bubble3D val="0"/>
            <c:spPr>
              <a:solidFill>
                <a:srgbClr val="7ECAC4"/>
              </a:solidFill>
            </c:spPr>
            <c:extLst>
              <c:ext xmlns:c16="http://schemas.microsoft.com/office/drawing/2014/chart" uri="{C3380CC4-5D6E-409C-BE32-E72D297353CC}">
                <c16:uniqueId val="{00000098-C76F-4230-900D-40618C09729F}"/>
              </c:ext>
            </c:extLst>
          </c:dPt>
          <c:dPt>
            <c:idx val="74"/>
            <c:invertIfNegative val="0"/>
            <c:bubble3D val="0"/>
            <c:spPr>
              <a:solidFill>
                <a:srgbClr val="7ECAC4"/>
              </a:solidFill>
            </c:spPr>
            <c:extLst>
              <c:ext xmlns:c16="http://schemas.microsoft.com/office/drawing/2014/chart" uri="{C3380CC4-5D6E-409C-BE32-E72D297353CC}">
                <c16:uniqueId val="{0000009A-C76F-4230-900D-40618C09729F}"/>
              </c:ext>
            </c:extLst>
          </c:dPt>
          <c:dPt>
            <c:idx val="75"/>
            <c:invertIfNegative val="0"/>
            <c:bubble3D val="0"/>
            <c:spPr>
              <a:solidFill>
                <a:srgbClr val="7ECAC4"/>
              </a:solidFill>
            </c:spPr>
            <c:extLst>
              <c:ext xmlns:c16="http://schemas.microsoft.com/office/drawing/2014/chart" uri="{C3380CC4-5D6E-409C-BE32-E72D297353CC}">
                <c16:uniqueId val="{0000009C-C76F-4230-900D-40618C09729F}"/>
              </c:ext>
            </c:extLst>
          </c:dPt>
          <c:dPt>
            <c:idx val="76"/>
            <c:invertIfNegative val="0"/>
            <c:bubble3D val="0"/>
            <c:spPr>
              <a:solidFill>
                <a:srgbClr val="7ECAC4"/>
              </a:solidFill>
            </c:spPr>
            <c:extLst>
              <c:ext xmlns:c16="http://schemas.microsoft.com/office/drawing/2014/chart" uri="{C3380CC4-5D6E-409C-BE32-E72D297353CC}">
                <c16:uniqueId val="{0000009E-C76F-4230-900D-40618C09729F}"/>
              </c:ext>
            </c:extLst>
          </c:dPt>
          <c:dPt>
            <c:idx val="77"/>
            <c:invertIfNegative val="0"/>
            <c:bubble3D val="0"/>
            <c:spPr>
              <a:solidFill>
                <a:srgbClr val="7ECAC4"/>
              </a:solidFill>
            </c:spPr>
            <c:extLst>
              <c:ext xmlns:c16="http://schemas.microsoft.com/office/drawing/2014/chart" uri="{C3380CC4-5D6E-409C-BE32-E72D297353CC}">
                <c16:uniqueId val="{000000A0-C76F-4230-900D-40618C09729F}"/>
              </c:ext>
            </c:extLst>
          </c:dPt>
          <c:dPt>
            <c:idx val="78"/>
            <c:invertIfNegative val="0"/>
            <c:bubble3D val="0"/>
            <c:spPr>
              <a:solidFill>
                <a:srgbClr val="7ECAC4"/>
              </a:solidFill>
            </c:spPr>
            <c:extLst>
              <c:ext xmlns:c16="http://schemas.microsoft.com/office/drawing/2014/chart" uri="{C3380CC4-5D6E-409C-BE32-E72D297353CC}">
                <c16:uniqueId val="{000000A2-C76F-4230-900D-40618C09729F}"/>
              </c:ext>
            </c:extLst>
          </c:dPt>
          <c:dPt>
            <c:idx val="79"/>
            <c:invertIfNegative val="0"/>
            <c:bubble3D val="0"/>
            <c:spPr>
              <a:solidFill>
                <a:srgbClr val="7ECAC4"/>
              </a:solidFill>
            </c:spPr>
            <c:extLst>
              <c:ext xmlns:c16="http://schemas.microsoft.com/office/drawing/2014/chart" uri="{C3380CC4-5D6E-409C-BE32-E72D297353CC}">
                <c16:uniqueId val="{000000A4-C76F-4230-900D-40618C09729F}"/>
              </c:ext>
            </c:extLst>
          </c:dPt>
          <c:dPt>
            <c:idx val="80"/>
            <c:invertIfNegative val="0"/>
            <c:bubble3D val="0"/>
            <c:spPr>
              <a:solidFill>
                <a:srgbClr val="7ECAC4"/>
              </a:solidFill>
            </c:spPr>
            <c:extLst>
              <c:ext xmlns:c16="http://schemas.microsoft.com/office/drawing/2014/chart" uri="{C3380CC4-5D6E-409C-BE32-E72D297353CC}">
                <c16:uniqueId val="{000000A6-C76F-4230-900D-40618C09729F}"/>
              </c:ext>
            </c:extLst>
          </c:dPt>
          <c:dPt>
            <c:idx val="81"/>
            <c:invertIfNegative val="1"/>
            <c:bubble3D val="0"/>
            <c:spPr>
              <a:solidFill>
                <a:srgbClr val="7ECAC4"/>
              </a:solidFill>
            </c:spPr>
            <c:extLst>
              <c:ext xmlns:c16="http://schemas.microsoft.com/office/drawing/2014/chart" uri="{C3380CC4-5D6E-409C-BE32-E72D297353CC}">
                <c16:uniqueId val="{000000A5-2993-41DE-A2CB-63102DE87051}"/>
              </c:ext>
            </c:extLst>
          </c:dPt>
          <c:dPt>
            <c:idx val="82"/>
            <c:invertIfNegative val="1"/>
            <c:bubble3D val="0"/>
            <c:spPr>
              <a:solidFill>
                <a:srgbClr val="7ECAC4"/>
              </a:solidFill>
            </c:spPr>
            <c:extLst>
              <c:ext xmlns:c16="http://schemas.microsoft.com/office/drawing/2014/chart" uri="{C3380CC4-5D6E-409C-BE32-E72D297353CC}">
                <c16:uniqueId val="{000000A7-2993-41DE-A2CB-63102DE87051}"/>
              </c:ext>
            </c:extLst>
          </c:dPt>
          <c:dPt>
            <c:idx val="83"/>
            <c:invertIfNegative val="1"/>
            <c:bubble3D val="0"/>
            <c:spPr>
              <a:solidFill>
                <a:srgbClr val="7ECAC4"/>
              </a:solidFill>
            </c:spPr>
            <c:extLst>
              <c:ext xmlns:c16="http://schemas.microsoft.com/office/drawing/2014/chart" uri="{C3380CC4-5D6E-409C-BE32-E72D297353CC}">
                <c16:uniqueId val="{000000A9-2993-41DE-A2CB-63102DE87051}"/>
              </c:ext>
            </c:extLst>
          </c:dPt>
          <c:dPt>
            <c:idx val="84"/>
            <c:invertIfNegative val="1"/>
            <c:bubble3D val="0"/>
            <c:spPr>
              <a:solidFill>
                <a:srgbClr val="7ECAC4"/>
              </a:solidFill>
            </c:spPr>
            <c:extLst>
              <c:ext xmlns:c16="http://schemas.microsoft.com/office/drawing/2014/chart" uri="{C3380CC4-5D6E-409C-BE32-E72D297353CC}">
                <c16:uniqueId val="{000000AB-2993-41DE-A2CB-63102DE87051}"/>
              </c:ext>
            </c:extLst>
          </c:dPt>
          <c:dPt>
            <c:idx val="85"/>
            <c:invertIfNegative val="1"/>
            <c:bubble3D val="0"/>
            <c:spPr>
              <a:solidFill>
                <a:srgbClr val="7ECAC4"/>
              </a:solidFill>
            </c:spPr>
            <c:extLst>
              <c:ext xmlns:c16="http://schemas.microsoft.com/office/drawing/2014/chart" uri="{C3380CC4-5D6E-409C-BE32-E72D297353CC}">
                <c16:uniqueId val="{000000AD-2993-41DE-A2CB-63102DE87051}"/>
              </c:ext>
            </c:extLst>
          </c:dPt>
          <c:dPt>
            <c:idx val="86"/>
            <c:invertIfNegative val="1"/>
            <c:bubble3D val="0"/>
            <c:spPr>
              <a:solidFill>
                <a:srgbClr val="7ECAC4"/>
              </a:solidFill>
            </c:spPr>
            <c:extLst>
              <c:ext xmlns:c16="http://schemas.microsoft.com/office/drawing/2014/chart" uri="{C3380CC4-5D6E-409C-BE32-E72D297353CC}">
                <c16:uniqueId val="{000000AF-2993-41DE-A2CB-63102DE87051}"/>
              </c:ext>
            </c:extLst>
          </c:dPt>
          <c:dPt>
            <c:idx val="87"/>
            <c:invertIfNegative val="1"/>
            <c:bubble3D val="0"/>
            <c:spPr>
              <a:solidFill>
                <a:srgbClr val="7ECAC4"/>
              </a:solidFill>
            </c:spPr>
            <c:extLst>
              <c:ext xmlns:c16="http://schemas.microsoft.com/office/drawing/2014/chart" uri="{C3380CC4-5D6E-409C-BE32-E72D297353CC}">
                <c16:uniqueId val="{000000B1-2993-41DE-A2CB-63102DE87051}"/>
              </c:ext>
            </c:extLst>
          </c:dPt>
          <c:dPt>
            <c:idx val="88"/>
            <c:invertIfNegative val="1"/>
            <c:bubble3D val="0"/>
            <c:spPr>
              <a:solidFill>
                <a:srgbClr val="7ECAC4"/>
              </a:solidFill>
            </c:spPr>
            <c:extLst>
              <c:ext xmlns:c16="http://schemas.microsoft.com/office/drawing/2014/chart" uri="{C3380CC4-5D6E-409C-BE32-E72D297353CC}">
                <c16:uniqueId val="{000000B3-2993-41DE-A2CB-63102DE87051}"/>
              </c:ext>
            </c:extLst>
          </c:dPt>
          <c:dPt>
            <c:idx val="89"/>
            <c:invertIfNegative val="1"/>
            <c:bubble3D val="0"/>
            <c:spPr>
              <a:solidFill>
                <a:srgbClr val="7ECAC4"/>
              </a:solidFill>
            </c:spPr>
            <c:extLst>
              <c:ext xmlns:c16="http://schemas.microsoft.com/office/drawing/2014/chart" uri="{C3380CC4-5D6E-409C-BE32-E72D297353CC}">
                <c16:uniqueId val="{000000B5-2993-41DE-A2CB-63102DE87051}"/>
              </c:ext>
            </c:extLst>
          </c:dPt>
          <c:dPt>
            <c:idx val="90"/>
            <c:invertIfNegative val="1"/>
            <c:bubble3D val="0"/>
            <c:spPr>
              <a:solidFill>
                <a:srgbClr val="7ECAC4"/>
              </a:solidFill>
            </c:spPr>
            <c:extLst>
              <c:ext xmlns:c16="http://schemas.microsoft.com/office/drawing/2014/chart" uri="{C3380CC4-5D6E-409C-BE32-E72D297353CC}">
                <c16:uniqueId val="{000000B7-2993-41DE-A2CB-63102DE87051}"/>
              </c:ext>
            </c:extLst>
          </c:dPt>
          <c:dPt>
            <c:idx val="91"/>
            <c:invertIfNegative val="1"/>
            <c:bubble3D val="0"/>
            <c:spPr>
              <a:solidFill>
                <a:srgbClr val="7ECAC4"/>
              </a:solidFill>
            </c:spPr>
            <c:extLst>
              <c:ext xmlns:c16="http://schemas.microsoft.com/office/drawing/2014/chart" uri="{C3380CC4-5D6E-409C-BE32-E72D297353CC}">
                <c16:uniqueId val="{000000B9-2993-41DE-A2CB-63102DE87051}"/>
              </c:ext>
            </c:extLst>
          </c:dPt>
          <c:dPt>
            <c:idx val="92"/>
            <c:invertIfNegative val="1"/>
            <c:bubble3D val="0"/>
            <c:spPr>
              <a:solidFill>
                <a:srgbClr val="7ECAC4"/>
              </a:solidFill>
            </c:spPr>
            <c:extLst>
              <c:ext xmlns:c16="http://schemas.microsoft.com/office/drawing/2014/chart" uri="{C3380CC4-5D6E-409C-BE32-E72D297353CC}">
                <c16:uniqueId val="{000000BB-2993-41DE-A2CB-63102DE87051}"/>
              </c:ext>
            </c:extLst>
          </c:dPt>
          <c:dPt>
            <c:idx val="93"/>
            <c:invertIfNegative val="1"/>
            <c:bubble3D val="0"/>
            <c:spPr>
              <a:solidFill>
                <a:srgbClr val="7ECAC4"/>
              </a:solidFill>
            </c:spPr>
            <c:extLst>
              <c:ext xmlns:c16="http://schemas.microsoft.com/office/drawing/2014/chart" uri="{C3380CC4-5D6E-409C-BE32-E72D297353CC}">
                <c16:uniqueId val="{000000BD-2993-41DE-A2CB-63102DE87051}"/>
              </c:ext>
            </c:extLst>
          </c:dPt>
          <c:dPt>
            <c:idx val="94"/>
            <c:invertIfNegative val="1"/>
            <c:bubble3D val="0"/>
            <c:spPr>
              <a:solidFill>
                <a:srgbClr val="7ECAC4"/>
              </a:solidFill>
            </c:spPr>
            <c:extLst>
              <c:ext xmlns:c16="http://schemas.microsoft.com/office/drawing/2014/chart" uri="{C3380CC4-5D6E-409C-BE32-E72D297353CC}">
                <c16:uniqueId val="{000000BF-2993-41DE-A2CB-63102DE87051}"/>
              </c:ext>
            </c:extLst>
          </c:dPt>
          <c:dPt>
            <c:idx val="95"/>
            <c:invertIfNegative val="1"/>
            <c:bubble3D val="0"/>
            <c:spPr>
              <a:solidFill>
                <a:srgbClr val="7ECAC4"/>
              </a:solidFill>
            </c:spPr>
            <c:extLst>
              <c:ext xmlns:c16="http://schemas.microsoft.com/office/drawing/2014/chart" uri="{C3380CC4-5D6E-409C-BE32-E72D297353CC}">
                <c16:uniqueId val="{000000C1-2993-41DE-A2CB-63102DE87051}"/>
              </c:ext>
            </c:extLst>
          </c:dPt>
          <c:dPt>
            <c:idx val="96"/>
            <c:invertIfNegative val="1"/>
            <c:bubble3D val="0"/>
            <c:spPr>
              <a:solidFill>
                <a:srgbClr val="7ECAC4"/>
              </a:solidFill>
            </c:spPr>
            <c:extLst>
              <c:ext xmlns:c16="http://schemas.microsoft.com/office/drawing/2014/chart" uri="{C3380CC4-5D6E-409C-BE32-E72D297353CC}">
                <c16:uniqueId val="{000000C3-2993-41DE-A2CB-63102DE87051}"/>
              </c:ext>
            </c:extLst>
          </c:dPt>
          <c:dPt>
            <c:idx val="97"/>
            <c:invertIfNegative val="1"/>
            <c:bubble3D val="0"/>
            <c:spPr>
              <a:solidFill>
                <a:srgbClr val="7ECAC4"/>
              </a:solidFill>
            </c:spPr>
            <c:extLst>
              <c:ext xmlns:c16="http://schemas.microsoft.com/office/drawing/2014/chart" uri="{C3380CC4-5D6E-409C-BE32-E72D297353CC}">
                <c16:uniqueId val="{000000C5-2993-41DE-A2CB-63102DE87051}"/>
              </c:ext>
            </c:extLst>
          </c:dPt>
          <c:dPt>
            <c:idx val="98"/>
            <c:invertIfNegative val="1"/>
            <c:bubble3D val="0"/>
            <c:spPr>
              <a:solidFill>
                <a:srgbClr val="7ECAC4"/>
              </a:solidFill>
            </c:spPr>
            <c:extLst>
              <c:ext xmlns:c16="http://schemas.microsoft.com/office/drawing/2014/chart" uri="{C3380CC4-5D6E-409C-BE32-E72D297353CC}">
                <c16:uniqueId val="{000000C7-2993-41DE-A2CB-63102DE87051}"/>
              </c:ext>
            </c:extLst>
          </c:dPt>
          <c:dPt>
            <c:idx val="99"/>
            <c:invertIfNegative val="1"/>
            <c:bubble3D val="0"/>
            <c:spPr>
              <a:solidFill>
                <a:srgbClr val="7ECAC4"/>
              </a:solidFill>
            </c:spPr>
            <c:extLst>
              <c:ext xmlns:c16="http://schemas.microsoft.com/office/drawing/2014/chart" uri="{C3380CC4-5D6E-409C-BE32-E72D297353CC}">
                <c16:uniqueId val="{000000C9-2993-41DE-A2CB-63102DE87051}"/>
              </c:ext>
            </c:extLst>
          </c:dPt>
          <c:dPt>
            <c:idx val="100"/>
            <c:invertIfNegative val="1"/>
            <c:bubble3D val="0"/>
            <c:spPr>
              <a:solidFill>
                <a:srgbClr val="7ECAC4"/>
              </a:solidFill>
            </c:spPr>
            <c:extLst>
              <c:ext xmlns:c16="http://schemas.microsoft.com/office/drawing/2014/chart" uri="{C3380CC4-5D6E-409C-BE32-E72D297353CC}">
                <c16:uniqueId val="{000000CB-2993-41DE-A2CB-63102DE87051}"/>
              </c:ext>
            </c:extLst>
          </c:dPt>
          <c:dPt>
            <c:idx val="101"/>
            <c:invertIfNegative val="1"/>
            <c:bubble3D val="0"/>
            <c:spPr>
              <a:solidFill>
                <a:srgbClr val="7ECAC4"/>
              </a:solidFill>
            </c:spPr>
            <c:extLst>
              <c:ext xmlns:c16="http://schemas.microsoft.com/office/drawing/2014/chart" uri="{C3380CC4-5D6E-409C-BE32-E72D297353CC}">
                <c16:uniqueId val="{000000CD-2993-41DE-A2CB-63102DE87051}"/>
              </c:ext>
            </c:extLst>
          </c:dPt>
          <c:dPt>
            <c:idx val="102"/>
            <c:invertIfNegative val="1"/>
            <c:bubble3D val="0"/>
            <c:spPr>
              <a:solidFill>
                <a:srgbClr val="7ECAC4"/>
              </a:solidFill>
            </c:spPr>
            <c:extLst>
              <c:ext xmlns:c16="http://schemas.microsoft.com/office/drawing/2014/chart" uri="{C3380CC4-5D6E-409C-BE32-E72D297353CC}">
                <c16:uniqueId val="{000000CF-2993-41DE-A2CB-63102DE87051}"/>
              </c:ext>
            </c:extLst>
          </c:dPt>
          <c:dPt>
            <c:idx val="103"/>
            <c:invertIfNegative val="1"/>
            <c:bubble3D val="0"/>
            <c:spPr>
              <a:solidFill>
                <a:srgbClr val="7ECAC4"/>
              </a:solidFill>
            </c:spPr>
            <c:extLst>
              <c:ext xmlns:c16="http://schemas.microsoft.com/office/drawing/2014/chart" uri="{C3380CC4-5D6E-409C-BE32-E72D297353CC}">
                <c16:uniqueId val="{000000D1-2993-41DE-A2CB-63102DE87051}"/>
              </c:ext>
            </c:extLst>
          </c:dPt>
          <c:dPt>
            <c:idx val="104"/>
            <c:invertIfNegative val="1"/>
            <c:bubble3D val="0"/>
            <c:spPr>
              <a:solidFill>
                <a:srgbClr val="7ECAC4"/>
              </a:solidFill>
            </c:spPr>
            <c:extLst>
              <c:ext xmlns:c16="http://schemas.microsoft.com/office/drawing/2014/chart" uri="{C3380CC4-5D6E-409C-BE32-E72D297353CC}">
                <c16:uniqueId val="{000000D3-2993-41DE-A2CB-63102DE87051}"/>
              </c:ext>
            </c:extLst>
          </c:dPt>
          <c:dPt>
            <c:idx val="105"/>
            <c:invertIfNegative val="1"/>
            <c:bubble3D val="0"/>
            <c:spPr>
              <a:solidFill>
                <a:srgbClr val="7ECAC4"/>
              </a:solidFill>
            </c:spPr>
            <c:extLst>
              <c:ext xmlns:c16="http://schemas.microsoft.com/office/drawing/2014/chart" uri="{C3380CC4-5D6E-409C-BE32-E72D297353CC}">
                <c16:uniqueId val="{000000D5-2993-41DE-A2CB-63102DE87051}"/>
              </c:ext>
            </c:extLst>
          </c:dPt>
          <c:dPt>
            <c:idx val="106"/>
            <c:invertIfNegative val="1"/>
            <c:bubble3D val="0"/>
            <c:spPr>
              <a:solidFill>
                <a:srgbClr val="7ECAC4"/>
              </a:solidFill>
            </c:spPr>
            <c:extLst>
              <c:ext xmlns:c16="http://schemas.microsoft.com/office/drawing/2014/chart" uri="{C3380CC4-5D6E-409C-BE32-E72D297353CC}">
                <c16:uniqueId val="{000000D7-2993-41DE-A2CB-63102DE87051}"/>
              </c:ext>
            </c:extLst>
          </c:dPt>
          <c:dPt>
            <c:idx val="107"/>
            <c:invertIfNegative val="1"/>
            <c:bubble3D val="0"/>
            <c:spPr>
              <a:solidFill>
                <a:srgbClr val="7ECAC4"/>
              </a:solidFill>
            </c:spPr>
            <c:extLst>
              <c:ext xmlns:c16="http://schemas.microsoft.com/office/drawing/2014/chart" uri="{C3380CC4-5D6E-409C-BE32-E72D297353CC}">
                <c16:uniqueId val="{000000D9-2993-41DE-A2CB-63102DE87051}"/>
              </c:ext>
            </c:extLst>
          </c:dPt>
          <c:dPt>
            <c:idx val="108"/>
            <c:invertIfNegative val="1"/>
            <c:bubble3D val="0"/>
            <c:spPr>
              <a:solidFill>
                <a:srgbClr val="7ECAC4"/>
              </a:solidFill>
            </c:spPr>
            <c:extLst>
              <c:ext xmlns:c16="http://schemas.microsoft.com/office/drawing/2014/chart" uri="{C3380CC4-5D6E-409C-BE32-E72D297353CC}">
                <c16:uniqueId val="{000000DB-2993-41DE-A2CB-63102DE87051}"/>
              </c:ext>
            </c:extLst>
          </c:dPt>
          <c:dPt>
            <c:idx val="109"/>
            <c:invertIfNegative val="1"/>
            <c:bubble3D val="0"/>
            <c:spPr>
              <a:solidFill>
                <a:srgbClr val="7ECAC4"/>
              </a:solidFill>
            </c:spPr>
            <c:extLst>
              <c:ext xmlns:c16="http://schemas.microsoft.com/office/drawing/2014/chart" uri="{C3380CC4-5D6E-409C-BE32-E72D297353CC}">
                <c16:uniqueId val="{000000DD-2993-41DE-A2CB-63102DE87051}"/>
              </c:ext>
            </c:extLst>
          </c:dPt>
          <c:dPt>
            <c:idx val="110"/>
            <c:invertIfNegative val="1"/>
            <c:bubble3D val="0"/>
            <c:spPr>
              <a:solidFill>
                <a:srgbClr val="7ECAC4"/>
              </a:solidFill>
            </c:spPr>
            <c:extLst>
              <c:ext xmlns:c16="http://schemas.microsoft.com/office/drawing/2014/chart" uri="{C3380CC4-5D6E-409C-BE32-E72D297353CC}">
                <c16:uniqueId val="{000000DF-2993-41DE-A2CB-63102DE87051}"/>
              </c:ext>
            </c:extLst>
          </c:dPt>
          <c:dPt>
            <c:idx val="111"/>
            <c:invertIfNegative val="1"/>
            <c:bubble3D val="0"/>
            <c:spPr>
              <a:solidFill>
                <a:srgbClr val="7ECAC4"/>
              </a:solidFill>
            </c:spPr>
            <c:extLst>
              <c:ext xmlns:c16="http://schemas.microsoft.com/office/drawing/2014/chart" uri="{C3380CC4-5D6E-409C-BE32-E72D297353CC}">
                <c16:uniqueId val="{000000E1-2993-41DE-A2CB-63102DE87051}"/>
              </c:ext>
            </c:extLst>
          </c:dPt>
          <c:dPt>
            <c:idx val="112"/>
            <c:invertIfNegative val="1"/>
            <c:bubble3D val="0"/>
            <c:spPr>
              <a:solidFill>
                <a:srgbClr val="7ECAC4"/>
              </a:solidFill>
            </c:spPr>
            <c:extLst>
              <c:ext xmlns:c16="http://schemas.microsoft.com/office/drawing/2014/chart" uri="{C3380CC4-5D6E-409C-BE32-E72D297353CC}">
                <c16:uniqueId val="{000000E3-2993-41DE-A2CB-63102DE87051}"/>
              </c:ext>
            </c:extLst>
          </c:dPt>
          <c:dPt>
            <c:idx val="113"/>
            <c:invertIfNegative val="1"/>
            <c:bubble3D val="0"/>
            <c:spPr>
              <a:solidFill>
                <a:srgbClr val="7ECAC4"/>
              </a:solidFill>
            </c:spPr>
            <c:extLst>
              <c:ext xmlns:c16="http://schemas.microsoft.com/office/drawing/2014/chart" uri="{C3380CC4-5D6E-409C-BE32-E72D297353CC}">
                <c16:uniqueId val="{000000E5-2993-41DE-A2CB-63102DE87051}"/>
              </c:ext>
            </c:extLst>
          </c:dPt>
          <c:dPt>
            <c:idx val="114"/>
            <c:invertIfNegative val="1"/>
            <c:bubble3D val="0"/>
            <c:spPr>
              <a:solidFill>
                <a:srgbClr val="7ECAC4"/>
              </a:solidFill>
            </c:spPr>
            <c:extLst>
              <c:ext xmlns:c16="http://schemas.microsoft.com/office/drawing/2014/chart" uri="{C3380CC4-5D6E-409C-BE32-E72D297353CC}">
                <c16:uniqueId val="{000000E7-2993-41DE-A2CB-63102DE87051}"/>
              </c:ext>
            </c:extLst>
          </c:dPt>
          <c:dPt>
            <c:idx val="115"/>
            <c:invertIfNegative val="1"/>
            <c:bubble3D val="0"/>
            <c:spPr>
              <a:solidFill>
                <a:srgbClr val="7ECAC4"/>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AEABAB"/>
              </a:solidFill>
            </c:spPr>
            <c:extLst>
              <c:ext xmlns:c16="http://schemas.microsoft.com/office/drawing/2014/chart" uri="{C3380CC4-5D6E-409C-BE32-E72D297353CC}">
                <c16:uniqueId val="{00000113-2993-41DE-A2CB-63102DE87051}"/>
              </c:ext>
            </c:extLst>
          </c:dPt>
          <c:dPt>
            <c:idx val="137"/>
            <c:invertIfNegative val="1"/>
            <c:bubble3D val="0"/>
            <c:spPr>
              <a:solidFill>
                <a:srgbClr val="AEABAB"/>
              </a:solidFill>
            </c:spPr>
            <c:extLst>
              <c:ext xmlns:c16="http://schemas.microsoft.com/office/drawing/2014/chart" uri="{C3380CC4-5D6E-409C-BE32-E72D297353CC}">
                <c16:uniqueId val="{00000115-2993-41DE-A2CB-63102DE87051}"/>
              </c:ext>
            </c:extLst>
          </c:dPt>
          <c:dPt>
            <c:idx val="138"/>
            <c:invertIfNegative val="1"/>
            <c:bubble3D val="0"/>
            <c:spPr>
              <a:solidFill>
                <a:srgbClr val="AEABAB"/>
              </a:solidFill>
            </c:spPr>
            <c:extLst>
              <c:ext xmlns:c16="http://schemas.microsoft.com/office/drawing/2014/chart" uri="{C3380CC4-5D6E-409C-BE32-E72D297353CC}">
                <c16:uniqueId val="{00000117-2993-41DE-A2CB-63102DE87051}"/>
              </c:ext>
            </c:extLst>
          </c:dPt>
          <c:dPt>
            <c:idx val="139"/>
            <c:invertIfNegative val="1"/>
            <c:bubble3D val="0"/>
            <c:spPr>
              <a:solidFill>
                <a:srgbClr val="AEABAB"/>
              </a:solidFill>
            </c:spPr>
            <c:extLst>
              <c:ext xmlns:c16="http://schemas.microsoft.com/office/drawing/2014/chart" uri="{C3380CC4-5D6E-409C-BE32-E72D297353CC}">
                <c16:uniqueId val="{00000119-2993-41DE-A2CB-63102DE87051}"/>
              </c:ext>
            </c:extLst>
          </c:dPt>
          <c:dPt>
            <c:idx val="140"/>
            <c:invertIfNegative val="1"/>
            <c:bubble3D val="0"/>
            <c:spPr>
              <a:solidFill>
                <a:srgbClr val="AEABAB"/>
              </a:solidFill>
            </c:spPr>
            <c:extLst>
              <c:ext xmlns:c16="http://schemas.microsoft.com/office/drawing/2014/chart" uri="{C3380CC4-5D6E-409C-BE32-E72D297353CC}">
                <c16:uniqueId val="{0000011B-2993-41DE-A2CB-63102DE87051}"/>
              </c:ext>
            </c:extLst>
          </c:dPt>
          <c:dPt>
            <c:idx val="141"/>
            <c:invertIfNegative val="1"/>
            <c:bubble3D val="0"/>
            <c:spPr>
              <a:solidFill>
                <a:srgbClr val="AEABAB"/>
              </a:solidFill>
            </c:spPr>
            <c:extLst>
              <c:ext xmlns:c16="http://schemas.microsoft.com/office/drawing/2014/chart" uri="{C3380CC4-5D6E-409C-BE32-E72D297353CC}">
                <c16:uniqueId val="{0000011D-2993-41DE-A2CB-63102DE87051}"/>
              </c:ext>
            </c:extLst>
          </c:dPt>
          <c:dPt>
            <c:idx val="142"/>
            <c:invertIfNegative val="1"/>
            <c:bubble3D val="0"/>
            <c:spPr>
              <a:solidFill>
                <a:srgbClr val="AEABAB"/>
              </a:solidFill>
            </c:spPr>
            <c:extLst>
              <c:ext xmlns:c16="http://schemas.microsoft.com/office/drawing/2014/chart" uri="{C3380CC4-5D6E-409C-BE32-E72D297353CC}">
                <c16:uniqueId val="{0000011F-2993-41DE-A2CB-63102DE87051}"/>
              </c:ext>
            </c:extLst>
          </c:dPt>
          <c:dPt>
            <c:idx val="143"/>
            <c:invertIfNegative val="1"/>
            <c:bubble3D val="0"/>
            <c:spPr>
              <a:solidFill>
                <a:srgbClr val="AEABAB"/>
              </a:solidFill>
            </c:spPr>
            <c:extLst>
              <c:ext xmlns:c16="http://schemas.microsoft.com/office/drawing/2014/chart" uri="{C3380CC4-5D6E-409C-BE32-E72D297353CC}">
                <c16:uniqueId val="{00000121-2993-41DE-A2CB-63102DE87051}"/>
              </c:ext>
            </c:extLst>
          </c:dPt>
          <c:dPt>
            <c:idx val="144"/>
            <c:invertIfNegative val="1"/>
            <c:bubble3D val="0"/>
            <c:spPr>
              <a:solidFill>
                <a:srgbClr val="AEABAB"/>
              </a:solidFill>
            </c:spPr>
            <c:extLst>
              <c:ext xmlns:c16="http://schemas.microsoft.com/office/drawing/2014/chart" uri="{C3380CC4-5D6E-409C-BE32-E72D297353CC}">
                <c16:uniqueId val="{00000123-2993-41DE-A2CB-63102DE87051}"/>
              </c:ext>
            </c:extLst>
          </c:dPt>
          <c:dPt>
            <c:idx val="145"/>
            <c:invertIfNegative val="1"/>
            <c:bubble3D val="0"/>
            <c:spPr>
              <a:solidFill>
                <a:srgbClr val="AEABAB"/>
              </a:solidFill>
            </c:spPr>
            <c:extLst>
              <c:ext xmlns:c16="http://schemas.microsoft.com/office/drawing/2014/chart" uri="{C3380CC4-5D6E-409C-BE32-E72D297353CC}">
                <c16:uniqueId val="{00000125-2993-41DE-A2CB-63102DE87051}"/>
              </c:ext>
            </c:extLst>
          </c:dPt>
          <c:dPt>
            <c:idx val="146"/>
            <c:invertIfNegative val="1"/>
            <c:bubble3D val="0"/>
            <c:spPr>
              <a:solidFill>
                <a:srgbClr val="AEABAB"/>
              </a:solidFill>
            </c:spPr>
            <c:extLst>
              <c:ext xmlns:c16="http://schemas.microsoft.com/office/drawing/2014/chart" uri="{C3380CC4-5D6E-409C-BE32-E72D297353CC}">
                <c16:uniqueId val="{00000127-2993-41DE-A2CB-63102DE87051}"/>
              </c:ext>
            </c:extLst>
          </c:dPt>
          <c:dPt>
            <c:idx val="147"/>
            <c:invertIfNegative val="1"/>
            <c:bubble3D val="0"/>
            <c:spPr>
              <a:solidFill>
                <a:srgbClr val="AEABAB"/>
              </a:solidFill>
            </c:spPr>
            <c:extLst>
              <c:ext xmlns:c16="http://schemas.microsoft.com/office/drawing/2014/chart" uri="{C3380CC4-5D6E-409C-BE32-E72D297353CC}">
                <c16:uniqueId val="{00000129-2993-41DE-A2CB-63102DE87051}"/>
              </c:ext>
            </c:extLst>
          </c:dPt>
          <c:dPt>
            <c:idx val="148"/>
            <c:invertIfNegative val="1"/>
            <c:bubble3D val="0"/>
            <c:spPr>
              <a:solidFill>
                <a:srgbClr val="AEABAB"/>
              </a:solidFill>
            </c:spPr>
            <c:extLst>
              <c:ext xmlns:c16="http://schemas.microsoft.com/office/drawing/2014/chart" uri="{C3380CC4-5D6E-409C-BE32-E72D297353CC}">
                <c16:uniqueId val="{0000012B-2993-41DE-A2CB-63102DE87051}"/>
              </c:ext>
            </c:extLst>
          </c:dPt>
          <c:dPt>
            <c:idx val="149"/>
            <c:invertIfNegative val="1"/>
            <c:bubble3D val="0"/>
            <c:spPr>
              <a:solidFill>
                <a:srgbClr val="AEABAB"/>
              </a:solidFill>
            </c:spPr>
            <c:extLst>
              <c:ext xmlns:c16="http://schemas.microsoft.com/office/drawing/2014/chart" uri="{C3380CC4-5D6E-409C-BE32-E72D297353CC}">
                <c16:uniqueId val="{0000012D-2993-41DE-A2CB-63102DE87051}"/>
              </c:ext>
            </c:extLst>
          </c:dPt>
          <c:dPt>
            <c:idx val="150"/>
            <c:invertIfNegative val="1"/>
            <c:bubble3D val="0"/>
            <c:spPr>
              <a:solidFill>
                <a:srgbClr val="AEABAB"/>
              </a:solidFill>
            </c:spPr>
            <c:extLst>
              <c:ext xmlns:c16="http://schemas.microsoft.com/office/drawing/2014/chart" uri="{C3380CC4-5D6E-409C-BE32-E72D297353CC}">
                <c16:uniqueId val="{0000012F-2993-41DE-A2CB-63102DE87051}"/>
              </c:ext>
            </c:extLst>
          </c:dPt>
          <c:dPt>
            <c:idx val="151"/>
            <c:invertIfNegative val="1"/>
            <c:bubble3D val="0"/>
            <c:spPr>
              <a:solidFill>
                <a:srgbClr val="AEABAB"/>
              </a:solidFill>
            </c:spPr>
            <c:extLst>
              <c:ext xmlns:c16="http://schemas.microsoft.com/office/drawing/2014/chart" uri="{C3380CC4-5D6E-409C-BE32-E72D297353CC}">
                <c16:uniqueId val="{00000131-2993-41DE-A2CB-63102DE87051}"/>
              </c:ext>
            </c:extLst>
          </c:dPt>
          <c:dPt>
            <c:idx val="152"/>
            <c:invertIfNegative val="1"/>
            <c:bubble3D val="0"/>
            <c:spPr>
              <a:solidFill>
                <a:srgbClr val="AEABAB"/>
              </a:solidFill>
            </c:spPr>
            <c:extLst>
              <c:ext xmlns:c16="http://schemas.microsoft.com/office/drawing/2014/chart" uri="{C3380CC4-5D6E-409C-BE32-E72D297353CC}">
                <c16:uniqueId val="{00000133-2993-41DE-A2CB-63102DE87051}"/>
              </c:ext>
            </c:extLst>
          </c:dPt>
          <c:dPt>
            <c:idx val="153"/>
            <c:invertIfNegative val="1"/>
            <c:bubble3D val="0"/>
            <c:spPr>
              <a:solidFill>
                <a:srgbClr val="AEABAB"/>
              </a:solidFill>
            </c:spPr>
            <c:extLst>
              <c:ext xmlns:c16="http://schemas.microsoft.com/office/drawing/2014/chart" uri="{C3380CC4-5D6E-409C-BE32-E72D297353CC}">
                <c16:uniqueId val="{00000135-2993-41DE-A2CB-63102DE87051}"/>
              </c:ext>
            </c:extLst>
          </c:dPt>
          <c:dPt>
            <c:idx val="154"/>
            <c:invertIfNegative val="1"/>
            <c:bubble3D val="0"/>
            <c:spPr>
              <a:solidFill>
                <a:srgbClr val="AEABAB"/>
              </a:solidFill>
            </c:spPr>
            <c:extLst>
              <c:ext xmlns:c16="http://schemas.microsoft.com/office/drawing/2014/chart" uri="{C3380CC4-5D6E-409C-BE32-E72D297353CC}">
                <c16:uniqueId val="{00000137-2993-41DE-A2CB-63102DE87051}"/>
              </c:ext>
            </c:extLst>
          </c:dPt>
          <c:dPt>
            <c:idx val="155"/>
            <c:invertIfNegative val="1"/>
            <c:bubble3D val="0"/>
            <c:spPr>
              <a:solidFill>
                <a:srgbClr val="AEABAB"/>
              </a:solidFill>
            </c:spPr>
            <c:extLst>
              <c:ext xmlns:c16="http://schemas.microsoft.com/office/drawing/2014/chart" uri="{C3380CC4-5D6E-409C-BE32-E72D297353CC}">
                <c16:uniqueId val="{00000139-2993-41DE-A2CB-63102DE87051}"/>
              </c:ext>
            </c:extLst>
          </c:dPt>
          <c:dPt>
            <c:idx val="156"/>
            <c:invertIfNegative val="1"/>
            <c:bubble3D val="0"/>
            <c:spPr>
              <a:solidFill>
                <a:srgbClr val="AEABAB"/>
              </a:solidFill>
            </c:spPr>
            <c:extLst>
              <c:ext xmlns:c16="http://schemas.microsoft.com/office/drawing/2014/chart" uri="{C3380CC4-5D6E-409C-BE32-E72D297353CC}">
                <c16:uniqueId val="{0000013B-2993-41DE-A2CB-63102DE87051}"/>
              </c:ext>
            </c:extLst>
          </c:dPt>
          <c:dPt>
            <c:idx val="157"/>
            <c:invertIfNegative val="1"/>
            <c:bubble3D val="0"/>
            <c:spPr>
              <a:solidFill>
                <a:srgbClr val="AEABAB"/>
              </a:solidFill>
            </c:spPr>
            <c:extLst>
              <c:ext xmlns:c16="http://schemas.microsoft.com/office/drawing/2014/chart" uri="{C3380CC4-5D6E-409C-BE32-E72D297353CC}">
                <c16:uniqueId val="{0000013D-2993-41DE-A2CB-63102DE87051}"/>
              </c:ext>
            </c:extLst>
          </c:dPt>
          <c:dPt>
            <c:idx val="158"/>
            <c:invertIfNegative val="1"/>
            <c:bubble3D val="0"/>
            <c:spPr>
              <a:solidFill>
                <a:srgbClr val="AEABAB"/>
              </a:solidFill>
            </c:spPr>
            <c:extLst>
              <c:ext xmlns:c16="http://schemas.microsoft.com/office/drawing/2014/chart" uri="{C3380CC4-5D6E-409C-BE32-E72D297353CC}">
                <c16:uniqueId val="{0000013F-2993-41DE-A2CB-63102DE87051}"/>
              </c:ext>
            </c:extLst>
          </c:dPt>
          <c:dPt>
            <c:idx val="159"/>
            <c:invertIfNegative val="1"/>
            <c:bubble3D val="0"/>
            <c:spPr>
              <a:solidFill>
                <a:srgbClr val="AEABAB"/>
              </a:solidFill>
            </c:spPr>
            <c:extLst>
              <c:ext xmlns:c16="http://schemas.microsoft.com/office/drawing/2014/chart" uri="{C3380CC4-5D6E-409C-BE32-E72D297353CC}">
                <c16:uniqueId val="{00000141-2993-41DE-A2CB-63102DE87051}"/>
              </c:ext>
            </c:extLst>
          </c:dPt>
          <c:dPt>
            <c:idx val="160"/>
            <c:invertIfNegative val="1"/>
            <c:bubble3D val="0"/>
            <c:spPr>
              <a:solidFill>
                <a:srgbClr val="AEABAB"/>
              </a:solidFill>
            </c:spPr>
            <c:extLst>
              <c:ext xmlns:c16="http://schemas.microsoft.com/office/drawing/2014/chart" uri="{C3380CC4-5D6E-409C-BE32-E72D297353CC}">
                <c16:uniqueId val="{00000143-2993-41DE-A2CB-63102DE87051}"/>
              </c:ext>
            </c:extLst>
          </c:dPt>
          <c:dPt>
            <c:idx val="161"/>
            <c:invertIfNegative val="1"/>
            <c:bubble3D val="0"/>
            <c:spPr>
              <a:solidFill>
                <a:srgbClr val="AEABAB"/>
              </a:solidFill>
            </c:spPr>
            <c:extLst>
              <c:ext xmlns:c16="http://schemas.microsoft.com/office/drawing/2014/chart" uri="{C3380CC4-5D6E-409C-BE32-E72D297353CC}">
                <c16:uniqueId val="{00000145-2993-41DE-A2CB-63102DE87051}"/>
              </c:ext>
            </c:extLst>
          </c:dPt>
          <c:dPt>
            <c:idx val="162"/>
            <c:invertIfNegative val="1"/>
            <c:bubble3D val="0"/>
            <c:spPr>
              <a:solidFill>
                <a:srgbClr val="AEABAB"/>
              </a:solidFill>
            </c:spPr>
            <c:extLst>
              <c:ext xmlns:c16="http://schemas.microsoft.com/office/drawing/2014/chart" uri="{C3380CC4-5D6E-409C-BE32-E72D297353CC}">
                <c16:uniqueId val="{00000147-2993-41DE-A2CB-63102DE87051}"/>
              </c:ext>
            </c:extLst>
          </c:dPt>
          <c:dPt>
            <c:idx val="163"/>
            <c:invertIfNegative val="1"/>
            <c:bubble3D val="0"/>
            <c:spPr>
              <a:solidFill>
                <a:srgbClr val="AEABAB"/>
              </a:solidFill>
            </c:spPr>
            <c:extLst>
              <c:ext xmlns:c16="http://schemas.microsoft.com/office/drawing/2014/chart" uri="{C3380CC4-5D6E-409C-BE32-E72D297353CC}">
                <c16:uniqueId val="{00000149-2993-41DE-A2CB-63102DE87051}"/>
              </c:ext>
            </c:extLst>
          </c:dPt>
          <c:dPt>
            <c:idx val="164"/>
            <c:invertIfNegative val="1"/>
            <c:bubble3D val="0"/>
            <c:spPr>
              <a:solidFill>
                <a:srgbClr val="AEABAB"/>
              </a:solidFill>
            </c:spPr>
            <c:extLst>
              <c:ext xmlns:c16="http://schemas.microsoft.com/office/drawing/2014/chart" uri="{C3380CC4-5D6E-409C-BE32-E72D297353CC}">
                <c16:uniqueId val="{0000014B-2993-41DE-A2CB-63102DE87051}"/>
              </c:ext>
            </c:extLst>
          </c:dPt>
          <c:dPt>
            <c:idx val="165"/>
            <c:invertIfNegative val="1"/>
            <c:bubble3D val="0"/>
            <c:spPr>
              <a:solidFill>
                <a:srgbClr val="AEABAB"/>
              </a:solidFill>
            </c:spPr>
            <c:extLst>
              <c:ext xmlns:c16="http://schemas.microsoft.com/office/drawing/2014/chart" uri="{C3380CC4-5D6E-409C-BE32-E72D297353CC}">
                <c16:uniqueId val="{0000014D-2993-41DE-A2CB-63102DE87051}"/>
              </c:ext>
            </c:extLst>
          </c:dPt>
          <c:dPt>
            <c:idx val="166"/>
            <c:invertIfNegative val="1"/>
            <c:bubble3D val="0"/>
            <c:spPr>
              <a:solidFill>
                <a:srgbClr val="AEABAB"/>
              </a:solidFill>
            </c:spPr>
            <c:extLst>
              <c:ext xmlns:c16="http://schemas.microsoft.com/office/drawing/2014/chart" uri="{C3380CC4-5D6E-409C-BE32-E72D297353CC}">
                <c16:uniqueId val="{0000014F-2993-41DE-A2CB-63102DE87051}"/>
              </c:ext>
            </c:extLst>
          </c:dPt>
          <c:dPt>
            <c:idx val="167"/>
            <c:invertIfNegative val="1"/>
            <c:bubble3D val="0"/>
            <c:spPr>
              <a:solidFill>
                <a:srgbClr val="AEABAB"/>
              </a:solidFill>
            </c:spPr>
            <c:extLst>
              <c:ext xmlns:c16="http://schemas.microsoft.com/office/drawing/2014/chart" uri="{C3380CC4-5D6E-409C-BE32-E72D297353CC}">
                <c16:uniqueId val="{00000151-2993-41DE-A2CB-63102DE87051}"/>
              </c:ext>
            </c:extLst>
          </c:dPt>
          <c:dPt>
            <c:idx val="168"/>
            <c:invertIfNegative val="1"/>
            <c:bubble3D val="0"/>
            <c:spPr>
              <a:solidFill>
                <a:srgbClr val="AEABAB"/>
              </a:solidFill>
            </c:spPr>
            <c:extLst>
              <c:ext xmlns:c16="http://schemas.microsoft.com/office/drawing/2014/chart" uri="{C3380CC4-5D6E-409C-BE32-E72D297353CC}">
                <c16:uniqueId val="{00000153-2993-41DE-A2CB-63102DE87051}"/>
              </c:ext>
            </c:extLst>
          </c:dPt>
          <c:dPt>
            <c:idx val="169"/>
            <c:invertIfNegative val="1"/>
            <c:bubble3D val="0"/>
            <c:spPr>
              <a:solidFill>
                <a:srgbClr val="AEABAB"/>
              </a:solidFill>
            </c:spPr>
            <c:extLst>
              <c:ext xmlns:c16="http://schemas.microsoft.com/office/drawing/2014/chart" uri="{C3380CC4-5D6E-409C-BE32-E72D297353CC}">
                <c16:uniqueId val="{00000155-2993-41DE-A2CB-63102DE87051}"/>
              </c:ext>
            </c:extLst>
          </c:dPt>
          <c:dPt>
            <c:idx val="170"/>
            <c:invertIfNegative val="1"/>
            <c:bubble3D val="0"/>
            <c:spPr>
              <a:solidFill>
                <a:srgbClr val="AEABAB"/>
              </a:solidFill>
            </c:spPr>
            <c:extLst>
              <c:ext xmlns:c16="http://schemas.microsoft.com/office/drawing/2014/chart" uri="{C3380CC4-5D6E-409C-BE32-E72D297353CC}">
                <c16:uniqueId val="{00000157-2993-41DE-A2CB-63102DE87051}"/>
              </c:ext>
            </c:extLst>
          </c:dPt>
          <c:dPt>
            <c:idx val="171"/>
            <c:invertIfNegative val="1"/>
            <c:bubble3D val="0"/>
            <c:spPr>
              <a:solidFill>
                <a:srgbClr val="AEABAB"/>
              </a:solidFill>
            </c:spPr>
            <c:extLst>
              <c:ext xmlns:c16="http://schemas.microsoft.com/office/drawing/2014/chart" uri="{C3380CC4-5D6E-409C-BE32-E72D297353CC}">
                <c16:uniqueId val="{00000159-2993-41DE-A2CB-63102DE87051}"/>
              </c:ext>
            </c:extLst>
          </c:dPt>
          <c:dPt>
            <c:idx val="172"/>
            <c:invertIfNegative val="1"/>
            <c:bubble3D val="0"/>
            <c:spPr>
              <a:solidFill>
                <a:srgbClr val="AEABAB"/>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dPt>
            <c:idx val="210"/>
            <c:invertIfNegative val="1"/>
            <c:bubble3D val="0"/>
            <c:spPr>
              <a:solidFill>
                <a:srgbClr val="AEABAB"/>
              </a:solidFill>
            </c:spPr>
            <c:extLst>
              <c:ext xmlns:c16="http://schemas.microsoft.com/office/drawing/2014/chart" uri="{C3380CC4-5D6E-409C-BE32-E72D297353CC}">
                <c16:uniqueId val="{000001A7-F664-4A10-B503-FB15B85FB77A}"/>
              </c:ext>
            </c:extLst>
          </c:dPt>
          <c:dPt>
            <c:idx val="211"/>
            <c:invertIfNegative val="1"/>
            <c:bubble3D val="0"/>
            <c:spPr>
              <a:solidFill>
                <a:srgbClr val="AEABAB"/>
              </a:solidFill>
            </c:spPr>
            <c:extLst>
              <c:ext xmlns:c16="http://schemas.microsoft.com/office/drawing/2014/chart" uri="{C3380CC4-5D6E-409C-BE32-E72D297353CC}">
                <c16:uniqueId val="{000001A9-F664-4A10-B503-FB15B85FB77A}"/>
              </c:ext>
            </c:extLst>
          </c:dPt>
          <c:dPt>
            <c:idx val="212"/>
            <c:invertIfNegative val="1"/>
            <c:bubble3D val="0"/>
            <c:spPr>
              <a:solidFill>
                <a:srgbClr val="AEABAB"/>
              </a:solidFill>
            </c:spPr>
            <c:extLst>
              <c:ext xmlns:c16="http://schemas.microsoft.com/office/drawing/2014/chart" uri="{C3380CC4-5D6E-409C-BE32-E72D297353CC}">
                <c16:uniqueId val="{000001AB-F664-4A10-B503-FB15B85FB77A}"/>
              </c:ext>
            </c:extLst>
          </c:dPt>
          <c:dPt>
            <c:idx val="213"/>
            <c:invertIfNegative val="1"/>
            <c:bubble3D val="0"/>
            <c:spPr>
              <a:solidFill>
                <a:srgbClr val="AEABAB"/>
              </a:solidFill>
            </c:spPr>
            <c:extLst>
              <c:ext xmlns:c16="http://schemas.microsoft.com/office/drawing/2014/chart" uri="{C3380CC4-5D6E-409C-BE32-E72D297353CC}">
                <c16:uniqueId val="{000001AD-F664-4A10-B503-FB15B85FB77A}"/>
              </c:ext>
            </c:extLst>
          </c:dPt>
          <c:dPt>
            <c:idx val="214"/>
            <c:invertIfNegative val="1"/>
            <c:bubble3D val="0"/>
            <c:spPr>
              <a:solidFill>
                <a:srgbClr val="AEABAB"/>
              </a:solidFill>
            </c:spPr>
            <c:extLst>
              <c:ext xmlns:c16="http://schemas.microsoft.com/office/drawing/2014/chart" uri="{C3380CC4-5D6E-409C-BE32-E72D297353CC}">
                <c16:uniqueId val="{000001AF-F664-4A10-B503-FB15B85FB77A}"/>
              </c:ext>
            </c:extLst>
          </c:dPt>
          <c:dPt>
            <c:idx val="215"/>
            <c:invertIfNegative val="1"/>
            <c:bubble3D val="0"/>
            <c:spPr>
              <a:solidFill>
                <a:srgbClr val="AEABAB"/>
              </a:solidFill>
            </c:spPr>
            <c:extLst>
              <c:ext xmlns:c16="http://schemas.microsoft.com/office/drawing/2014/chart" uri="{C3380CC4-5D6E-409C-BE32-E72D297353CC}">
                <c16:uniqueId val="{000001B1-F664-4A10-B503-FB15B85FB77A}"/>
              </c:ext>
            </c:extLst>
          </c:dPt>
          <c:dPt>
            <c:idx val="216"/>
            <c:invertIfNegative val="1"/>
            <c:bubble3D val="0"/>
            <c:spPr>
              <a:solidFill>
                <a:srgbClr val="AEABAB"/>
              </a:solidFill>
            </c:spPr>
            <c:extLst>
              <c:ext xmlns:c16="http://schemas.microsoft.com/office/drawing/2014/chart" uri="{C3380CC4-5D6E-409C-BE32-E72D297353CC}">
                <c16:uniqueId val="{000001B3-F664-4A10-B503-FB15B85FB77A}"/>
              </c:ext>
            </c:extLst>
          </c:dPt>
          <c:dPt>
            <c:idx val="217"/>
            <c:invertIfNegative val="1"/>
            <c:bubble3D val="0"/>
            <c:spPr>
              <a:solidFill>
                <a:srgbClr val="AEABAB"/>
              </a:solidFill>
            </c:spPr>
            <c:extLst>
              <c:ext xmlns:c16="http://schemas.microsoft.com/office/drawing/2014/chart" uri="{C3380CC4-5D6E-409C-BE32-E72D297353CC}">
                <c16:uniqueId val="{000001B5-F664-4A10-B503-FB15B85FB77A}"/>
              </c:ext>
            </c:extLst>
          </c:dPt>
          <c:dPt>
            <c:idx val="218"/>
            <c:invertIfNegative val="1"/>
            <c:bubble3D val="0"/>
            <c:spPr>
              <a:solidFill>
                <a:srgbClr val="AEABAB"/>
              </a:solidFill>
            </c:spPr>
            <c:extLst>
              <c:ext xmlns:c16="http://schemas.microsoft.com/office/drawing/2014/chart" uri="{C3380CC4-5D6E-409C-BE32-E72D297353CC}">
                <c16:uniqueId val="{000001B7-F664-4A10-B503-FB15B85FB77A}"/>
              </c:ext>
            </c:extLst>
          </c:dPt>
          <c:dPt>
            <c:idx val="219"/>
            <c:invertIfNegative val="1"/>
            <c:bubble3D val="0"/>
            <c:spPr>
              <a:solidFill>
                <a:srgbClr val="AEABAB"/>
              </a:solidFill>
            </c:spPr>
            <c:extLst>
              <c:ext xmlns:c16="http://schemas.microsoft.com/office/drawing/2014/chart" uri="{C3380CC4-5D6E-409C-BE32-E72D297353CC}">
                <c16:uniqueId val="{000001B9-F664-4A10-B503-FB15B85FB77A}"/>
              </c:ext>
            </c:extLst>
          </c:dPt>
          <c:dPt>
            <c:idx val="220"/>
            <c:invertIfNegative val="1"/>
            <c:bubble3D val="0"/>
            <c:spPr>
              <a:solidFill>
                <a:srgbClr val="AEABAB"/>
              </a:solidFill>
            </c:spPr>
            <c:extLst>
              <c:ext xmlns:c16="http://schemas.microsoft.com/office/drawing/2014/chart" uri="{C3380CC4-5D6E-409C-BE32-E72D297353CC}">
                <c16:uniqueId val="{000001BB-F664-4A10-B503-FB15B85FB77A}"/>
              </c:ext>
            </c:extLst>
          </c:dPt>
          <c:dPt>
            <c:idx val="221"/>
            <c:invertIfNegative val="1"/>
            <c:bubble3D val="0"/>
            <c:spPr>
              <a:solidFill>
                <a:srgbClr val="AEABAB"/>
              </a:solidFill>
            </c:spPr>
            <c:extLst>
              <c:ext xmlns:c16="http://schemas.microsoft.com/office/drawing/2014/chart" uri="{C3380CC4-5D6E-409C-BE32-E72D297353CC}">
                <c16:uniqueId val="{000001BD-F664-4A10-B503-FB15B85FB77A}"/>
              </c:ext>
            </c:extLst>
          </c:dPt>
          <c:dPt>
            <c:idx val="222"/>
            <c:invertIfNegative val="1"/>
            <c:bubble3D val="0"/>
            <c:spPr>
              <a:solidFill>
                <a:srgbClr val="AEABAB"/>
              </a:solidFill>
            </c:spPr>
            <c:extLst>
              <c:ext xmlns:c16="http://schemas.microsoft.com/office/drawing/2014/chart" uri="{C3380CC4-5D6E-409C-BE32-E72D297353CC}">
                <c16:uniqueId val="{000001BF-F664-4A10-B503-FB15B85FB77A}"/>
              </c:ext>
            </c:extLst>
          </c:dPt>
          <c:dPt>
            <c:idx val="223"/>
            <c:invertIfNegative val="1"/>
            <c:bubble3D val="0"/>
            <c:spPr>
              <a:solidFill>
                <a:srgbClr val="AEABAB"/>
              </a:solidFill>
            </c:spPr>
            <c:extLst>
              <c:ext xmlns:c16="http://schemas.microsoft.com/office/drawing/2014/chart" uri="{C3380CC4-5D6E-409C-BE32-E72D297353CC}">
                <c16:uniqueId val="{000001C1-F664-4A10-B503-FB15B85FB77A}"/>
              </c:ext>
            </c:extLst>
          </c:dPt>
          <c:dPt>
            <c:idx val="224"/>
            <c:invertIfNegative val="1"/>
            <c:bubble3D val="0"/>
            <c:spPr>
              <a:solidFill>
                <a:srgbClr val="AEABAB"/>
              </a:solidFill>
            </c:spPr>
            <c:extLst>
              <c:ext xmlns:c16="http://schemas.microsoft.com/office/drawing/2014/chart" uri="{C3380CC4-5D6E-409C-BE32-E72D297353CC}">
                <c16:uniqueId val="{000001C3-F664-4A10-B503-FB15B85FB77A}"/>
              </c:ext>
            </c:extLst>
          </c:dPt>
          <c:dPt>
            <c:idx val="225"/>
            <c:invertIfNegative val="1"/>
            <c:bubble3D val="0"/>
            <c:spPr>
              <a:solidFill>
                <a:srgbClr val="AEABAB"/>
              </a:solidFill>
            </c:spPr>
            <c:extLst>
              <c:ext xmlns:c16="http://schemas.microsoft.com/office/drawing/2014/chart" uri="{C3380CC4-5D6E-409C-BE32-E72D297353CC}">
                <c16:uniqueId val="{000001C5-F664-4A10-B503-FB15B85FB77A}"/>
              </c:ext>
            </c:extLst>
          </c:dPt>
          <c:dPt>
            <c:idx val="226"/>
            <c:invertIfNegative val="1"/>
            <c:bubble3D val="0"/>
            <c:spPr>
              <a:solidFill>
                <a:srgbClr val="AEABAB"/>
              </a:solidFill>
            </c:spPr>
            <c:extLst>
              <c:ext xmlns:c16="http://schemas.microsoft.com/office/drawing/2014/chart" uri="{C3380CC4-5D6E-409C-BE32-E72D297353CC}">
                <c16:uniqueId val="{000001C7-F664-4A10-B503-FB15B85FB77A}"/>
              </c:ext>
            </c:extLst>
          </c:dPt>
          <c:dPt>
            <c:idx val="227"/>
            <c:invertIfNegative val="1"/>
            <c:bubble3D val="0"/>
            <c:spPr>
              <a:solidFill>
                <a:srgbClr val="AEABAB"/>
              </a:solidFill>
            </c:spPr>
            <c:extLst>
              <c:ext xmlns:c16="http://schemas.microsoft.com/office/drawing/2014/chart" uri="{C3380CC4-5D6E-409C-BE32-E72D297353CC}">
                <c16:uniqueId val="{000001C9-F664-4A10-B503-FB15B85FB77A}"/>
              </c:ext>
            </c:extLst>
          </c:dPt>
          <c:dPt>
            <c:idx val="228"/>
            <c:invertIfNegative val="1"/>
            <c:bubble3D val="0"/>
            <c:spPr>
              <a:solidFill>
                <a:srgbClr val="AEABAB"/>
              </a:solidFill>
            </c:spPr>
            <c:extLst>
              <c:ext xmlns:c16="http://schemas.microsoft.com/office/drawing/2014/chart" uri="{C3380CC4-5D6E-409C-BE32-E72D297353CC}">
                <c16:uniqueId val="{000001CB-F664-4A10-B503-FB15B85FB77A}"/>
              </c:ext>
            </c:extLst>
          </c:dPt>
          <c:dPt>
            <c:idx val="229"/>
            <c:invertIfNegative val="1"/>
            <c:bubble3D val="0"/>
            <c:spPr>
              <a:solidFill>
                <a:srgbClr val="AEABAB"/>
              </a:solidFill>
            </c:spPr>
            <c:extLst>
              <c:ext xmlns:c16="http://schemas.microsoft.com/office/drawing/2014/chart" uri="{C3380CC4-5D6E-409C-BE32-E72D297353CC}">
                <c16:uniqueId val="{000001CD-F664-4A10-B503-FB15B85FB77A}"/>
              </c:ext>
            </c:extLst>
          </c:dPt>
          <c:dPt>
            <c:idx val="230"/>
            <c:invertIfNegative val="1"/>
            <c:bubble3D val="0"/>
            <c:spPr>
              <a:solidFill>
                <a:srgbClr val="AEABAB"/>
              </a:solidFill>
            </c:spPr>
            <c:extLst>
              <c:ext xmlns:c16="http://schemas.microsoft.com/office/drawing/2014/chart" uri="{C3380CC4-5D6E-409C-BE32-E72D297353CC}">
                <c16:uniqueId val="{000001CF-F664-4A10-B503-FB15B85FB77A}"/>
              </c:ext>
            </c:extLst>
          </c:dPt>
          <c:dPt>
            <c:idx val="231"/>
            <c:invertIfNegative val="1"/>
            <c:bubble3D val="0"/>
            <c:spPr>
              <a:solidFill>
                <a:srgbClr val="AEABAB"/>
              </a:solidFill>
            </c:spPr>
            <c:extLst>
              <c:ext xmlns:c16="http://schemas.microsoft.com/office/drawing/2014/chart" uri="{C3380CC4-5D6E-409C-BE32-E72D297353CC}">
                <c16:uniqueId val="{000001D1-F664-4A10-B503-FB15B85FB77A}"/>
              </c:ext>
            </c:extLst>
          </c:dPt>
          <c:dPt>
            <c:idx val="232"/>
            <c:invertIfNegative val="1"/>
            <c:bubble3D val="0"/>
            <c:spPr>
              <a:solidFill>
                <a:srgbClr val="AEABAB"/>
              </a:solidFill>
            </c:spPr>
            <c:extLst>
              <c:ext xmlns:c16="http://schemas.microsoft.com/office/drawing/2014/chart" uri="{C3380CC4-5D6E-409C-BE32-E72D297353CC}">
                <c16:uniqueId val="{000001D3-F664-4A10-B503-FB15B85FB77A}"/>
              </c:ext>
            </c:extLst>
          </c:dPt>
          <c:dPt>
            <c:idx val="233"/>
            <c:invertIfNegative val="1"/>
            <c:bubble3D val="0"/>
            <c:spPr>
              <a:solidFill>
                <a:srgbClr val="AEABAB"/>
              </a:solidFill>
            </c:spPr>
            <c:extLst>
              <c:ext xmlns:c16="http://schemas.microsoft.com/office/drawing/2014/chart" uri="{C3380CC4-5D6E-409C-BE32-E72D297353CC}">
                <c16:uniqueId val="{000001D5-F664-4A10-B503-FB15B85FB77A}"/>
              </c:ext>
            </c:extLst>
          </c:dPt>
          <c:dPt>
            <c:idx val="234"/>
            <c:invertIfNegative val="1"/>
            <c:bubble3D val="0"/>
            <c:spPr>
              <a:solidFill>
                <a:srgbClr val="AEABAB"/>
              </a:solidFill>
            </c:spPr>
            <c:extLst>
              <c:ext xmlns:c16="http://schemas.microsoft.com/office/drawing/2014/chart" uri="{C3380CC4-5D6E-409C-BE32-E72D297353CC}">
                <c16:uniqueId val="{000001D7-F664-4A10-B503-FB15B85FB77A}"/>
              </c:ext>
            </c:extLst>
          </c:dPt>
          <c:dPt>
            <c:idx val="235"/>
            <c:invertIfNegative val="1"/>
            <c:bubble3D val="0"/>
            <c:spPr>
              <a:solidFill>
                <a:srgbClr val="AEABAB"/>
              </a:solidFill>
            </c:spPr>
            <c:extLst>
              <c:ext xmlns:c16="http://schemas.microsoft.com/office/drawing/2014/chart" uri="{C3380CC4-5D6E-409C-BE32-E72D297353CC}">
                <c16:uniqueId val="{000001D9-F664-4A10-B503-FB15B85FB77A}"/>
              </c:ext>
            </c:extLst>
          </c:dPt>
          <c:dPt>
            <c:idx val="236"/>
            <c:invertIfNegative val="1"/>
            <c:bubble3D val="0"/>
            <c:spPr>
              <a:solidFill>
                <a:srgbClr val="AEABAB"/>
              </a:solidFill>
            </c:spPr>
            <c:extLst>
              <c:ext xmlns:c16="http://schemas.microsoft.com/office/drawing/2014/chart" uri="{C3380CC4-5D6E-409C-BE32-E72D297353CC}">
                <c16:uniqueId val="{000001DB-F664-4A10-B503-FB15B85FB77A}"/>
              </c:ext>
            </c:extLst>
          </c:dPt>
          <c:dPt>
            <c:idx val="237"/>
            <c:invertIfNegative val="1"/>
            <c:bubble3D val="0"/>
            <c:spPr>
              <a:solidFill>
                <a:srgbClr val="AEABAB"/>
              </a:solidFill>
            </c:spPr>
            <c:extLst>
              <c:ext xmlns:c16="http://schemas.microsoft.com/office/drawing/2014/chart" uri="{C3380CC4-5D6E-409C-BE32-E72D297353CC}">
                <c16:uniqueId val="{000001DD-F664-4A10-B503-FB15B85FB77A}"/>
              </c:ext>
            </c:extLst>
          </c:dPt>
          <c:dPt>
            <c:idx val="238"/>
            <c:invertIfNegative val="1"/>
            <c:bubble3D val="0"/>
            <c:spPr>
              <a:solidFill>
                <a:srgbClr val="AEABAB"/>
              </a:solidFill>
            </c:spPr>
            <c:extLst>
              <c:ext xmlns:c16="http://schemas.microsoft.com/office/drawing/2014/chart" uri="{C3380CC4-5D6E-409C-BE32-E72D297353CC}">
                <c16:uniqueId val="{000001DF-F664-4A10-B503-FB15B85FB77A}"/>
              </c:ext>
            </c:extLst>
          </c:dPt>
          <c:dPt>
            <c:idx val="239"/>
            <c:invertIfNegative val="1"/>
            <c:bubble3D val="0"/>
            <c:spPr>
              <a:solidFill>
                <a:srgbClr val="AEABAB"/>
              </a:solidFill>
            </c:spPr>
            <c:extLst>
              <c:ext xmlns:c16="http://schemas.microsoft.com/office/drawing/2014/chart" uri="{C3380CC4-5D6E-409C-BE32-E72D297353CC}">
                <c16:uniqueId val="{000001E1-F664-4A10-B503-FB15B85FB77A}"/>
              </c:ext>
            </c:extLst>
          </c:dPt>
          <c:dPt>
            <c:idx val="240"/>
            <c:invertIfNegative val="1"/>
            <c:bubble3D val="0"/>
            <c:spPr>
              <a:solidFill>
                <a:srgbClr val="AEABAB"/>
              </a:solidFill>
            </c:spPr>
            <c:extLst>
              <c:ext xmlns:c16="http://schemas.microsoft.com/office/drawing/2014/chart" uri="{C3380CC4-5D6E-409C-BE32-E72D297353CC}">
                <c16:uniqueId val="{000001E3-F664-4A10-B503-FB15B85FB77A}"/>
              </c:ext>
            </c:extLst>
          </c:dPt>
          <c:dPt>
            <c:idx val="241"/>
            <c:invertIfNegative val="1"/>
            <c:bubble3D val="0"/>
            <c:spPr>
              <a:solidFill>
                <a:srgbClr val="AEABAB"/>
              </a:solidFill>
            </c:spPr>
            <c:extLst>
              <c:ext xmlns:c16="http://schemas.microsoft.com/office/drawing/2014/chart" uri="{C3380CC4-5D6E-409C-BE32-E72D297353CC}">
                <c16:uniqueId val="{000001E5-F664-4A10-B503-FB15B85FB77A}"/>
              </c:ext>
            </c:extLst>
          </c:dPt>
          <c:dPt>
            <c:idx val="242"/>
            <c:invertIfNegative val="1"/>
            <c:bubble3D val="0"/>
            <c:spPr>
              <a:solidFill>
                <a:srgbClr val="AEABAB"/>
              </a:solidFill>
            </c:spPr>
            <c:extLst>
              <c:ext xmlns:c16="http://schemas.microsoft.com/office/drawing/2014/chart" uri="{C3380CC4-5D6E-409C-BE32-E72D297353CC}">
                <c16:uniqueId val="{000001E7-F664-4A10-B503-FB15B85FB77A}"/>
              </c:ext>
            </c:extLst>
          </c:dPt>
          <c:dPt>
            <c:idx val="243"/>
            <c:invertIfNegative val="1"/>
            <c:bubble3D val="0"/>
            <c:spPr>
              <a:solidFill>
                <a:srgbClr val="AEABAB"/>
              </a:solidFill>
            </c:spPr>
            <c:extLst>
              <c:ext xmlns:c16="http://schemas.microsoft.com/office/drawing/2014/chart" uri="{C3380CC4-5D6E-409C-BE32-E72D297353CC}">
                <c16:uniqueId val="{000001E9-F664-4A10-B503-FB15B85FB77A}"/>
              </c:ext>
            </c:extLst>
          </c:dPt>
          <c:dPt>
            <c:idx val="244"/>
            <c:invertIfNegative val="1"/>
            <c:bubble3D val="0"/>
            <c:spPr>
              <a:solidFill>
                <a:srgbClr val="AEABAB"/>
              </a:solidFill>
            </c:spPr>
            <c:extLst>
              <c:ext xmlns:c16="http://schemas.microsoft.com/office/drawing/2014/chart" uri="{C3380CC4-5D6E-409C-BE32-E72D297353CC}">
                <c16:uniqueId val="{000001EB-F664-4A10-B503-FB15B85FB77A}"/>
              </c:ext>
            </c:extLst>
          </c:dPt>
          <c:dPt>
            <c:idx val="245"/>
            <c:invertIfNegative val="1"/>
            <c:bubble3D val="0"/>
            <c:spPr>
              <a:solidFill>
                <a:srgbClr val="AEABAB"/>
              </a:solidFill>
            </c:spPr>
            <c:extLst>
              <c:ext xmlns:c16="http://schemas.microsoft.com/office/drawing/2014/chart" uri="{C3380CC4-5D6E-409C-BE32-E72D297353CC}">
                <c16:uniqueId val="{000001ED-F664-4A10-B503-FB15B85FB77A}"/>
              </c:ext>
            </c:extLst>
          </c:dPt>
          <c:dPt>
            <c:idx val="246"/>
            <c:invertIfNegative val="1"/>
            <c:bubble3D val="0"/>
            <c:spPr>
              <a:solidFill>
                <a:srgbClr val="AEABAB"/>
              </a:solidFill>
            </c:spPr>
            <c:extLst>
              <c:ext xmlns:c16="http://schemas.microsoft.com/office/drawing/2014/chart" uri="{C3380CC4-5D6E-409C-BE32-E72D297353CC}">
                <c16:uniqueId val="{000001EF-F664-4A10-B503-FB15B85FB77A}"/>
              </c:ext>
            </c:extLst>
          </c:dPt>
          <c:dPt>
            <c:idx val="247"/>
            <c:invertIfNegative val="1"/>
            <c:bubble3D val="0"/>
            <c:spPr>
              <a:solidFill>
                <a:srgbClr val="AEABAB"/>
              </a:solidFill>
            </c:spPr>
            <c:extLst>
              <c:ext xmlns:c16="http://schemas.microsoft.com/office/drawing/2014/chart" uri="{C3380CC4-5D6E-409C-BE32-E72D297353CC}">
                <c16:uniqueId val="{000001F1-F664-4A10-B503-FB15B85FB77A}"/>
              </c:ext>
            </c:extLst>
          </c:dPt>
          <c:dPt>
            <c:idx val="248"/>
            <c:invertIfNegative val="1"/>
            <c:bubble3D val="0"/>
            <c:spPr>
              <a:solidFill>
                <a:srgbClr val="AEABAB"/>
              </a:solidFill>
            </c:spPr>
            <c:extLst>
              <c:ext xmlns:c16="http://schemas.microsoft.com/office/drawing/2014/chart" uri="{C3380CC4-5D6E-409C-BE32-E72D297353CC}">
                <c16:uniqueId val="{000001F3-F664-4A10-B503-FB15B85FB77A}"/>
              </c:ext>
            </c:extLst>
          </c:dPt>
          <c:dPt>
            <c:idx val="249"/>
            <c:invertIfNegative val="1"/>
            <c:bubble3D val="0"/>
            <c:spPr>
              <a:solidFill>
                <a:srgbClr val="AEABAB"/>
              </a:solidFill>
            </c:spPr>
            <c:extLst>
              <c:ext xmlns:c16="http://schemas.microsoft.com/office/drawing/2014/chart" uri="{C3380CC4-5D6E-409C-BE32-E72D297353CC}">
                <c16:uniqueId val="{000001F5-F664-4A10-B503-FB15B85FB77A}"/>
              </c:ext>
            </c:extLst>
          </c:dPt>
          <c:dPt>
            <c:idx val="250"/>
            <c:invertIfNegative val="1"/>
            <c:bubble3D val="0"/>
            <c:spPr>
              <a:solidFill>
                <a:srgbClr val="AEABAB"/>
              </a:solidFill>
            </c:spPr>
            <c:extLst>
              <c:ext xmlns:c16="http://schemas.microsoft.com/office/drawing/2014/chart" uri="{C3380CC4-5D6E-409C-BE32-E72D297353CC}">
                <c16:uniqueId val="{000001F7-F664-4A10-B503-FB15B85FB77A}"/>
              </c:ext>
            </c:extLst>
          </c:dPt>
          <c:dPt>
            <c:idx val="251"/>
            <c:invertIfNegative val="1"/>
            <c:bubble3D val="0"/>
            <c:spPr>
              <a:solidFill>
                <a:srgbClr val="AEABAB"/>
              </a:solidFill>
            </c:spPr>
            <c:extLst>
              <c:ext xmlns:c16="http://schemas.microsoft.com/office/drawing/2014/chart" uri="{C3380CC4-5D6E-409C-BE32-E72D297353CC}">
                <c16:uniqueId val="{000001F9-F664-4A10-B503-FB15B85FB77A}"/>
              </c:ext>
            </c:extLst>
          </c:dPt>
          <c:dPt>
            <c:idx val="252"/>
            <c:invertIfNegative val="1"/>
            <c:bubble3D val="0"/>
            <c:spPr>
              <a:solidFill>
                <a:srgbClr val="AEABAB"/>
              </a:solidFill>
            </c:spPr>
            <c:extLst>
              <c:ext xmlns:c16="http://schemas.microsoft.com/office/drawing/2014/chart" uri="{C3380CC4-5D6E-409C-BE32-E72D297353CC}">
                <c16:uniqueId val="{000001FB-F664-4A10-B503-FB15B85FB77A}"/>
              </c:ext>
            </c:extLst>
          </c:dPt>
          <c:dPt>
            <c:idx val="253"/>
            <c:invertIfNegative val="1"/>
            <c:bubble3D val="0"/>
            <c:spPr>
              <a:solidFill>
                <a:srgbClr val="AEABAB"/>
              </a:solidFill>
            </c:spPr>
            <c:extLst>
              <c:ext xmlns:c16="http://schemas.microsoft.com/office/drawing/2014/chart" uri="{C3380CC4-5D6E-409C-BE32-E72D297353CC}">
                <c16:uniqueId val="{000001FD-F664-4A10-B503-FB15B85FB77A}"/>
              </c:ext>
            </c:extLst>
          </c:dPt>
          <c:dPt>
            <c:idx val="254"/>
            <c:invertIfNegative val="1"/>
            <c:bubble3D val="0"/>
            <c:spPr>
              <a:solidFill>
                <a:srgbClr val="AEABAB"/>
              </a:solidFill>
            </c:spPr>
            <c:extLst>
              <c:ext xmlns:c16="http://schemas.microsoft.com/office/drawing/2014/chart" uri="{C3380CC4-5D6E-409C-BE32-E72D297353CC}">
                <c16:uniqueId val="{000001FF-F664-4A10-B503-FB15B85FB77A}"/>
              </c:ext>
            </c:extLst>
          </c:dPt>
          <c:dPt>
            <c:idx val="255"/>
            <c:invertIfNegative val="1"/>
            <c:bubble3D val="0"/>
            <c:spPr>
              <a:solidFill>
                <a:srgbClr val="AEABAB"/>
              </a:solidFill>
            </c:spPr>
            <c:extLst>
              <c:ext xmlns:c16="http://schemas.microsoft.com/office/drawing/2014/chart" uri="{C3380CC4-5D6E-409C-BE32-E72D297353CC}">
                <c16:uniqueId val="{00000201-F664-4A10-B503-FB15B85FB77A}"/>
              </c:ext>
            </c:extLst>
          </c:dPt>
          <c:dPt>
            <c:idx val="256"/>
            <c:invertIfNegative val="1"/>
            <c:bubble3D val="0"/>
            <c:spPr>
              <a:solidFill>
                <a:srgbClr val="AEABAB"/>
              </a:solidFill>
            </c:spPr>
            <c:extLst>
              <c:ext xmlns:c16="http://schemas.microsoft.com/office/drawing/2014/chart" uri="{C3380CC4-5D6E-409C-BE32-E72D297353CC}">
                <c16:uniqueId val="{00000203-F664-4A10-B503-FB15B85FB77A}"/>
              </c:ext>
            </c:extLst>
          </c:dPt>
          <c:dPt>
            <c:idx val="257"/>
            <c:invertIfNegative val="1"/>
            <c:bubble3D val="0"/>
            <c:spPr>
              <a:solidFill>
                <a:srgbClr val="AEABAB"/>
              </a:solidFill>
            </c:spPr>
            <c:extLst>
              <c:ext xmlns:c16="http://schemas.microsoft.com/office/drawing/2014/chart" uri="{C3380CC4-5D6E-409C-BE32-E72D297353CC}">
                <c16:uniqueId val="{00000205-F664-4A10-B503-FB15B85FB77A}"/>
              </c:ext>
            </c:extLst>
          </c:dPt>
          <c:dPt>
            <c:idx val="258"/>
            <c:invertIfNegative val="1"/>
            <c:bubble3D val="0"/>
            <c:spPr>
              <a:solidFill>
                <a:srgbClr val="AEABAB"/>
              </a:solidFill>
            </c:spPr>
            <c:extLst>
              <c:ext xmlns:c16="http://schemas.microsoft.com/office/drawing/2014/chart" uri="{C3380CC4-5D6E-409C-BE32-E72D297353CC}">
                <c16:uniqueId val="{00000207-F664-4A10-B503-FB15B85FB77A}"/>
              </c:ext>
            </c:extLst>
          </c:dPt>
          <c:dPt>
            <c:idx val="259"/>
            <c:invertIfNegative val="1"/>
            <c:bubble3D val="0"/>
            <c:spPr>
              <a:solidFill>
                <a:srgbClr val="AEABAB"/>
              </a:solidFill>
            </c:spPr>
            <c:extLst>
              <c:ext xmlns:c16="http://schemas.microsoft.com/office/drawing/2014/chart" uri="{C3380CC4-5D6E-409C-BE32-E72D297353CC}">
                <c16:uniqueId val="{00000209-F664-4A10-B503-FB15B85FB77A}"/>
              </c:ext>
            </c:extLst>
          </c:dPt>
          <c:dPt>
            <c:idx val="260"/>
            <c:invertIfNegative val="1"/>
            <c:bubble3D val="0"/>
            <c:spPr>
              <a:solidFill>
                <a:srgbClr val="AEABAB"/>
              </a:solidFill>
            </c:spPr>
            <c:extLst>
              <c:ext xmlns:c16="http://schemas.microsoft.com/office/drawing/2014/chart" uri="{C3380CC4-5D6E-409C-BE32-E72D297353CC}">
                <c16:uniqueId val="{0000020B-F664-4A10-B503-FB15B85FB77A}"/>
              </c:ext>
            </c:extLst>
          </c:dPt>
          <c:dPt>
            <c:idx val="261"/>
            <c:invertIfNegative val="1"/>
            <c:bubble3D val="0"/>
            <c:spPr>
              <a:solidFill>
                <a:srgbClr val="AEABAB"/>
              </a:solidFill>
            </c:spPr>
            <c:extLst>
              <c:ext xmlns:c16="http://schemas.microsoft.com/office/drawing/2014/chart" uri="{C3380CC4-5D6E-409C-BE32-E72D297353CC}">
                <c16:uniqueId val="{0000020D-F664-4A10-B503-FB15B85FB77A}"/>
              </c:ext>
            </c:extLst>
          </c:dPt>
          <c:dPt>
            <c:idx val="262"/>
            <c:invertIfNegative val="1"/>
            <c:bubble3D val="0"/>
            <c:spPr>
              <a:solidFill>
                <a:srgbClr val="AEABAB"/>
              </a:solidFill>
            </c:spPr>
            <c:extLst>
              <c:ext xmlns:c16="http://schemas.microsoft.com/office/drawing/2014/chart" uri="{C3380CC4-5D6E-409C-BE32-E72D297353CC}">
                <c16:uniqueId val="{0000020F-F664-4A10-B503-FB15B85FB77A}"/>
              </c:ext>
            </c:extLst>
          </c:dPt>
          <c:dPt>
            <c:idx val="263"/>
            <c:invertIfNegative val="1"/>
            <c:bubble3D val="0"/>
            <c:spPr>
              <a:solidFill>
                <a:srgbClr val="AEABAB"/>
              </a:solidFill>
            </c:spPr>
            <c:extLst>
              <c:ext xmlns:c16="http://schemas.microsoft.com/office/drawing/2014/chart" uri="{C3380CC4-5D6E-409C-BE32-E72D297353CC}">
                <c16:uniqueId val="{00000211-F664-4A10-B503-FB15B85FB77A}"/>
              </c:ext>
            </c:extLst>
          </c:dPt>
          <c:dPt>
            <c:idx val="264"/>
            <c:invertIfNegative val="1"/>
            <c:bubble3D val="0"/>
            <c:spPr>
              <a:solidFill>
                <a:srgbClr val="AEABAB"/>
              </a:solidFill>
            </c:spPr>
            <c:extLst>
              <c:ext xmlns:c16="http://schemas.microsoft.com/office/drawing/2014/chart" uri="{C3380CC4-5D6E-409C-BE32-E72D297353CC}">
                <c16:uniqueId val="{00000213-F664-4A10-B503-FB15B85FB77A}"/>
              </c:ext>
            </c:extLst>
          </c:dPt>
          <c:dPt>
            <c:idx val="265"/>
            <c:invertIfNegative val="1"/>
            <c:bubble3D val="0"/>
            <c:spPr>
              <a:solidFill>
                <a:srgbClr val="AEABAB"/>
              </a:solidFill>
            </c:spPr>
            <c:extLst>
              <c:ext xmlns:c16="http://schemas.microsoft.com/office/drawing/2014/chart" uri="{C3380CC4-5D6E-409C-BE32-E72D297353CC}">
                <c16:uniqueId val="{00000215-F664-4A10-B503-FB15B85FB77A}"/>
              </c:ext>
            </c:extLst>
          </c:dPt>
          <c:dPt>
            <c:idx val="266"/>
            <c:invertIfNegative val="1"/>
            <c:bubble3D val="0"/>
            <c:spPr>
              <a:solidFill>
                <a:srgbClr val="AEABAB"/>
              </a:solidFill>
            </c:spPr>
            <c:extLst>
              <c:ext xmlns:c16="http://schemas.microsoft.com/office/drawing/2014/chart" uri="{C3380CC4-5D6E-409C-BE32-E72D297353CC}">
                <c16:uniqueId val="{00000217-F664-4A10-B503-FB15B85FB77A}"/>
              </c:ext>
            </c:extLst>
          </c:dPt>
          <c:dPt>
            <c:idx val="267"/>
            <c:invertIfNegative val="1"/>
            <c:bubble3D val="0"/>
            <c:spPr>
              <a:solidFill>
                <a:srgbClr val="AEABAB"/>
              </a:solidFill>
            </c:spPr>
            <c:extLst>
              <c:ext xmlns:c16="http://schemas.microsoft.com/office/drawing/2014/chart" uri="{C3380CC4-5D6E-409C-BE32-E72D297353CC}">
                <c16:uniqueId val="{00000219-F664-4A10-B503-FB15B85FB77A}"/>
              </c:ext>
            </c:extLst>
          </c:dPt>
          <c:dPt>
            <c:idx val="268"/>
            <c:invertIfNegative val="1"/>
            <c:bubble3D val="0"/>
            <c:spPr>
              <a:solidFill>
                <a:srgbClr val="AEABAB"/>
              </a:solidFill>
            </c:spPr>
            <c:extLst>
              <c:ext xmlns:c16="http://schemas.microsoft.com/office/drawing/2014/chart" uri="{C3380CC4-5D6E-409C-BE32-E72D297353CC}">
                <c16:uniqueId val="{0000021B-F664-4A10-B503-FB15B85FB77A}"/>
              </c:ext>
            </c:extLst>
          </c:dPt>
          <c:dPt>
            <c:idx val="269"/>
            <c:invertIfNegative val="1"/>
            <c:bubble3D val="0"/>
            <c:spPr>
              <a:solidFill>
                <a:srgbClr val="AEABAB"/>
              </a:solidFill>
            </c:spPr>
            <c:extLst>
              <c:ext xmlns:c16="http://schemas.microsoft.com/office/drawing/2014/chart" uri="{C3380CC4-5D6E-409C-BE32-E72D297353CC}">
                <c16:uniqueId val="{0000021D-F664-4A10-B503-FB15B85FB77A}"/>
              </c:ext>
            </c:extLst>
          </c:dPt>
          <c:dPt>
            <c:idx val="270"/>
            <c:invertIfNegative val="1"/>
            <c:bubble3D val="0"/>
            <c:spPr>
              <a:solidFill>
                <a:srgbClr val="AEABAB"/>
              </a:solidFill>
            </c:spPr>
            <c:extLst>
              <c:ext xmlns:c16="http://schemas.microsoft.com/office/drawing/2014/chart" uri="{C3380CC4-5D6E-409C-BE32-E72D297353CC}">
                <c16:uniqueId val="{0000021F-F664-4A10-B503-FB15B85FB77A}"/>
              </c:ext>
            </c:extLst>
          </c:dPt>
          <c:dPt>
            <c:idx val="271"/>
            <c:invertIfNegative val="1"/>
            <c:bubble3D val="0"/>
            <c:spPr>
              <a:solidFill>
                <a:srgbClr val="AEABAB"/>
              </a:solidFill>
            </c:spPr>
            <c:extLst>
              <c:ext xmlns:c16="http://schemas.microsoft.com/office/drawing/2014/chart" uri="{C3380CC4-5D6E-409C-BE32-E72D297353CC}">
                <c16:uniqueId val="{00000221-F664-4A10-B503-FB15B85FB77A}"/>
              </c:ext>
            </c:extLst>
          </c:dPt>
          <c:dPt>
            <c:idx val="272"/>
            <c:invertIfNegative val="1"/>
            <c:bubble3D val="0"/>
            <c:spPr>
              <a:solidFill>
                <a:srgbClr val="AEABAB"/>
              </a:solidFill>
            </c:spPr>
            <c:extLst>
              <c:ext xmlns:c16="http://schemas.microsoft.com/office/drawing/2014/chart" uri="{C3380CC4-5D6E-409C-BE32-E72D297353CC}">
                <c16:uniqueId val="{00000223-F664-4A10-B503-FB15B85FB77A}"/>
              </c:ext>
            </c:extLst>
          </c:dPt>
          <c:dPt>
            <c:idx val="273"/>
            <c:invertIfNegative val="1"/>
            <c:bubble3D val="0"/>
            <c:spPr>
              <a:solidFill>
                <a:srgbClr val="AEABAB"/>
              </a:solidFill>
            </c:spPr>
            <c:extLst>
              <c:ext xmlns:c16="http://schemas.microsoft.com/office/drawing/2014/chart" uri="{C3380CC4-5D6E-409C-BE32-E72D297353CC}">
                <c16:uniqueId val="{00000225-F664-4A10-B503-FB15B85FB77A}"/>
              </c:ext>
            </c:extLst>
          </c:dPt>
          <c:dPt>
            <c:idx val="274"/>
            <c:invertIfNegative val="1"/>
            <c:bubble3D val="0"/>
            <c:spPr>
              <a:solidFill>
                <a:srgbClr val="AEABAB"/>
              </a:solidFill>
            </c:spPr>
            <c:extLst>
              <c:ext xmlns:c16="http://schemas.microsoft.com/office/drawing/2014/chart" uri="{C3380CC4-5D6E-409C-BE32-E72D297353CC}">
                <c16:uniqueId val="{00000227-F664-4A10-B503-FB15B85FB77A}"/>
              </c:ext>
            </c:extLst>
          </c:dPt>
          <c:dPt>
            <c:idx val="275"/>
            <c:invertIfNegative val="1"/>
            <c:bubble3D val="0"/>
            <c:spPr>
              <a:solidFill>
                <a:srgbClr val="AEABAB"/>
              </a:solidFill>
            </c:spPr>
            <c:extLst>
              <c:ext xmlns:c16="http://schemas.microsoft.com/office/drawing/2014/chart" uri="{C3380CC4-5D6E-409C-BE32-E72D297353CC}">
                <c16:uniqueId val="{00000229-F664-4A10-B503-FB15B85FB77A}"/>
              </c:ext>
            </c:extLst>
          </c:dPt>
          <c:dPt>
            <c:idx val="276"/>
            <c:invertIfNegative val="1"/>
            <c:bubble3D val="0"/>
            <c:spPr>
              <a:solidFill>
                <a:srgbClr val="AEABAB"/>
              </a:solidFill>
            </c:spPr>
            <c:extLst>
              <c:ext xmlns:c16="http://schemas.microsoft.com/office/drawing/2014/chart" uri="{C3380CC4-5D6E-409C-BE32-E72D297353CC}">
                <c16:uniqueId val="{0000022B-F664-4A10-B503-FB15B85FB77A}"/>
              </c:ext>
            </c:extLst>
          </c:dPt>
          <c:dPt>
            <c:idx val="277"/>
            <c:invertIfNegative val="1"/>
            <c:bubble3D val="0"/>
            <c:spPr>
              <a:solidFill>
                <a:srgbClr val="AEABAB"/>
              </a:solidFill>
            </c:spPr>
            <c:extLst>
              <c:ext xmlns:c16="http://schemas.microsoft.com/office/drawing/2014/chart" uri="{C3380CC4-5D6E-409C-BE32-E72D297353CC}">
                <c16:uniqueId val="{0000022D-F664-4A10-B503-FB15B85FB77A}"/>
              </c:ext>
            </c:extLst>
          </c:dPt>
          <c:dPt>
            <c:idx val="278"/>
            <c:invertIfNegative val="1"/>
            <c:bubble3D val="0"/>
            <c:spPr>
              <a:solidFill>
                <a:srgbClr val="AEABAB"/>
              </a:solidFill>
            </c:spPr>
            <c:extLst>
              <c:ext xmlns:c16="http://schemas.microsoft.com/office/drawing/2014/chart" uri="{C3380CC4-5D6E-409C-BE32-E72D297353CC}">
                <c16:uniqueId val="{0000022F-F664-4A10-B503-FB15B85FB77A}"/>
              </c:ext>
            </c:extLst>
          </c:dPt>
          <c:dPt>
            <c:idx val="279"/>
            <c:invertIfNegative val="1"/>
            <c:bubble3D val="0"/>
            <c:spPr>
              <a:solidFill>
                <a:srgbClr val="AEABAB"/>
              </a:solidFill>
            </c:spPr>
            <c:extLst>
              <c:ext xmlns:c16="http://schemas.microsoft.com/office/drawing/2014/chart" uri="{C3380CC4-5D6E-409C-BE32-E72D297353CC}">
                <c16:uniqueId val="{00000231-F664-4A10-B503-FB15B85FB77A}"/>
              </c:ext>
            </c:extLst>
          </c:dPt>
          <c:dPt>
            <c:idx val="280"/>
            <c:invertIfNegative val="1"/>
            <c:bubble3D val="0"/>
            <c:spPr>
              <a:solidFill>
                <a:srgbClr val="AEABAB"/>
              </a:solidFill>
            </c:spPr>
            <c:extLst>
              <c:ext xmlns:c16="http://schemas.microsoft.com/office/drawing/2014/chart" uri="{C3380CC4-5D6E-409C-BE32-E72D297353CC}">
                <c16:uniqueId val="{00000233-F664-4A10-B503-FB15B85FB77A}"/>
              </c:ext>
            </c:extLst>
          </c:dPt>
          <c:dPt>
            <c:idx val="281"/>
            <c:invertIfNegative val="1"/>
            <c:bubble3D val="0"/>
            <c:spPr>
              <a:solidFill>
                <a:srgbClr val="AEABAB"/>
              </a:solidFill>
            </c:spPr>
            <c:extLst>
              <c:ext xmlns:c16="http://schemas.microsoft.com/office/drawing/2014/chart" uri="{C3380CC4-5D6E-409C-BE32-E72D297353CC}">
                <c16:uniqueId val="{00000235-F664-4A10-B503-FB15B85FB77A}"/>
              </c:ext>
            </c:extLst>
          </c:dPt>
          <c:dPt>
            <c:idx val="282"/>
            <c:invertIfNegative val="1"/>
            <c:bubble3D val="0"/>
            <c:spPr>
              <a:solidFill>
                <a:srgbClr val="AEABAB"/>
              </a:solidFill>
            </c:spPr>
            <c:extLst>
              <c:ext xmlns:c16="http://schemas.microsoft.com/office/drawing/2014/chart" uri="{C3380CC4-5D6E-409C-BE32-E72D297353CC}">
                <c16:uniqueId val="{00000237-F664-4A10-B503-FB15B85FB77A}"/>
              </c:ext>
            </c:extLst>
          </c:dPt>
          <c:dPt>
            <c:idx val="283"/>
            <c:invertIfNegative val="1"/>
            <c:bubble3D val="0"/>
            <c:spPr>
              <a:solidFill>
                <a:srgbClr val="AEABAB"/>
              </a:solidFill>
            </c:spPr>
            <c:extLst>
              <c:ext xmlns:c16="http://schemas.microsoft.com/office/drawing/2014/chart" uri="{C3380CC4-5D6E-409C-BE32-E72D297353CC}">
                <c16:uniqueId val="{00000239-F664-4A10-B503-FB15B85FB77A}"/>
              </c:ext>
            </c:extLst>
          </c:dPt>
          <c:dPt>
            <c:idx val="284"/>
            <c:invertIfNegative val="1"/>
            <c:bubble3D val="0"/>
            <c:spPr>
              <a:solidFill>
                <a:srgbClr val="AEABAB"/>
              </a:solidFill>
            </c:spPr>
            <c:extLst>
              <c:ext xmlns:c16="http://schemas.microsoft.com/office/drawing/2014/chart" uri="{C3380CC4-5D6E-409C-BE32-E72D297353CC}">
                <c16:uniqueId val="{0000023B-F664-4A10-B503-FB15B85FB77A}"/>
              </c:ext>
            </c:extLst>
          </c:dPt>
          <c:dPt>
            <c:idx val="285"/>
            <c:invertIfNegative val="1"/>
            <c:bubble3D val="0"/>
            <c:spPr>
              <a:solidFill>
                <a:srgbClr val="AEABAB"/>
              </a:solidFill>
            </c:spPr>
            <c:extLst>
              <c:ext xmlns:c16="http://schemas.microsoft.com/office/drawing/2014/chart" uri="{C3380CC4-5D6E-409C-BE32-E72D297353CC}">
                <c16:uniqueId val="{0000023D-F664-4A10-B503-FB15B85FB77A}"/>
              </c:ext>
            </c:extLst>
          </c:dPt>
          <c:dPt>
            <c:idx val="286"/>
            <c:invertIfNegative val="1"/>
            <c:bubble3D val="0"/>
            <c:spPr>
              <a:solidFill>
                <a:srgbClr val="AEABAB"/>
              </a:solidFill>
            </c:spPr>
            <c:extLst>
              <c:ext xmlns:c16="http://schemas.microsoft.com/office/drawing/2014/chart" uri="{C3380CC4-5D6E-409C-BE32-E72D297353CC}">
                <c16:uniqueId val="{0000023F-F664-4A10-B503-FB15B85FB77A}"/>
              </c:ext>
            </c:extLst>
          </c:dPt>
          <c:dPt>
            <c:idx val="287"/>
            <c:invertIfNegative val="1"/>
            <c:bubble3D val="0"/>
            <c:spPr>
              <a:solidFill>
                <a:srgbClr val="AEABAB"/>
              </a:solidFill>
            </c:spPr>
            <c:extLst>
              <c:ext xmlns:c16="http://schemas.microsoft.com/office/drawing/2014/chart" uri="{C3380CC4-5D6E-409C-BE32-E72D297353CC}">
                <c16:uniqueId val="{00000241-F664-4A10-B503-FB15B85FB77A}"/>
              </c:ext>
            </c:extLst>
          </c:dPt>
          <c:dPt>
            <c:idx val="288"/>
            <c:invertIfNegative val="1"/>
            <c:bubble3D val="0"/>
            <c:spPr>
              <a:solidFill>
                <a:srgbClr val="AEABAB"/>
              </a:solidFill>
            </c:spPr>
            <c:extLst>
              <c:ext xmlns:c16="http://schemas.microsoft.com/office/drawing/2014/chart" uri="{C3380CC4-5D6E-409C-BE32-E72D297353CC}">
                <c16:uniqueId val="{00000243-F664-4A10-B503-FB15B85FB77A}"/>
              </c:ext>
            </c:extLst>
          </c:dPt>
          <c:dPt>
            <c:idx val="289"/>
            <c:invertIfNegative val="1"/>
            <c:bubble3D val="0"/>
            <c:spPr>
              <a:solidFill>
                <a:srgbClr val="AEABAB"/>
              </a:solidFill>
            </c:spPr>
            <c:extLst>
              <c:ext xmlns:c16="http://schemas.microsoft.com/office/drawing/2014/chart" uri="{C3380CC4-5D6E-409C-BE32-E72D297353CC}">
                <c16:uniqueId val="{00000245-F664-4A10-B503-FB15B85FB77A}"/>
              </c:ext>
            </c:extLst>
          </c:dPt>
          <c:dPt>
            <c:idx val="290"/>
            <c:invertIfNegative val="1"/>
            <c:bubble3D val="0"/>
            <c:spPr>
              <a:solidFill>
                <a:srgbClr val="AEABAB"/>
              </a:solidFill>
            </c:spPr>
            <c:extLst>
              <c:ext xmlns:c16="http://schemas.microsoft.com/office/drawing/2014/chart" uri="{C3380CC4-5D6E-409C-BE32-E72D297353CC}">
                <c16:uniqueId val="{00000247-F664-4A10-B503-FB15B85FB77A}"/>
              </c:ext>
            </c:extLst>
          </c:dPt>
          <c:dPt>
            <c:idx val="291"/>
            <c:invertIfNegative val="1"/>
            <c:bubble3D val="0"/>
            <c:spPr>
              <a:solidFill>
                <a:srgbClr val="AEABAB"/>
              </a:solidFill>
            </c:spPr>
            <c:extLst>
              <c:ext xmlns:c16="http://schemas.microsoft.com/office/drawing/2014/chart" uri="{C3380CC4-5D6E-409C-BE32-E72D297353CC}">
                <c16:uniqueId val="{00000249-F664-4A10-B503-FB15B85FB77A}"/>
              </c:ext>
            </c:extLst>
          </c:dPt>
          <c:dPt>
            <c:idx val="292"/>
            <c:invertIfNegative val="1"/>
            <c:bubble3D val="0"/>
            <c:spPr>
              <a:solidFill>
                <a:srgbClr val="AEABAB"/>
              </a:solidFill>
            </c:spPr>
            <c:extLst>
              <c:ext xmlns:c16="http://schemas.microsoft.com/office/drawing/2014/chart" uri="{C3380CC4-5D6E-409C-BE32-E72D297353CC}">
                <c16:uniqueId val="{0000024B-F664-4A10-B503-FB15B85FB77A}"/>
              </c:ext>
            </c:extLst>
          </c:dPt>
          <c:dPt>
            <c:idx val="293"/>
            <c:invertIfNegative val="1"/>
            <c:bubble3D val="0"/>
            <c:spPr>
              <a:solidFill>
                <a:srgbClr val="AEABAB"/>
              </a:solidFill>
            </c:spPr>
            <c:extLst>
              <c:ext xmlns:c16="http://schemas.microsoft.com/office/drawing/2014/chart" uri="{C3380CC4-5D6E-409C-BE32-E72D297353CC}">
                <c16:uniqueId val="{0000024D-F664-4A10-B503-FB15B85FB77A}"/>
              </c:ext>
            </c:extLst>
          </c:dPt>
          <c:dPt>
            <c:idx val="294"/>
            <c:invertIfNegative val="1"/>
            <c:bubble3D val="0"/>
            <c:spPr>
              <a:solidFill>
                <a:srgbClr val="AEABAB"/>
              </a:solidFill>
            </c:spPr>
            <c:extLst>
              <c:ext xmlns:c16="http://schemas.microsoft.com/office/drawing/2014/chart" uri="{C3380CC4-5D6E-409C-BE32-E72D297353CC}">
                <c16:uniqueId val="{0000024F-F664-4A10-B503-FB15B85FB77A}"/>
              </c:ext>
            </c:extLst>
          </c:dPt>
          <c:dPt>
            <c:idx val="295"/>
            <c:invertIfNegative val="1"/>
            <c:bubble3D val="0"/>
            <c:spPr>
              <a:solidFill>
                <a:srgbClr val="AEABAB"/>
              </a:solidFill>
            </c:spPr>
            <c:extLst>
              <c:ext xmlns:c16="http://schemas.microsoft.com/office/drawing/2014/chart" uri="{C3380CC4-5D6E-409C-BE32-E72D297353CC}">
                <c16:uniqueId val="{00000251-F664-4A10-B503-FB15B85FB77A}"/>
              </c:ext>
            </c:extLst>
          </c:dPt>
          <c:dPt>
            <c:idx val="296"/>
            <c:invertIfNegative val="1"/>
            <c:bubble3D val="0"/>
            <c:spPr>
              <a:solidFill>
                <a:srgbClr val="AEABAB"/>
              </a:solidFill>
            </c:spPr>
            <c:extLst>
              <c:ext xmlns:c16="http://schemas.microsoft.com/office/drawing/2014/chart" uri="{C3380CC4-5D6E-409C-BE32-E72D297353CC}">
                <c16:uniqueId val="{00000253-F664-4A10-B503-FB15B85FB77A}"/>
              </c:ext>
            </c:extLst>
          </c:dPt>
          <c:dPt>
            <c:idx val="297"/>
            <c:invertIfNegative val="1"/>
            <c:bubble3D val="0"/>
            <c:spPr>
              <a:solidFill>
                <a:srgbClr val="AEABAB"/>
              </a:solidFill>
            </c:spPr>
            <c:extLst>
              <c:ext xmlns:c16="http://schemas.microsoft.com/office/drawing/2014/chart" uri="{C3380CC4-5D6E-409C-BE32-E72D297353CC}">
                <c16:uniqueId val="{00000255-F664-4A10-B503-FB15B85FB77A}"/>
              </c:ext>
            </c:extLst>
          </c:dPt>
          <c:dPt>
            <c:idx val="298"/>
            <c:invertIfNegative val="1"/>
            <c:bubble3D val="0"/>
            <c:spPr>
              <a:solidFill>
                <a:srgbClr val="AEABAB"/>
              </a:solidFill>
            </c:spPr>
            <c:extLst>
              <c:ext xmlns:c16="http://schemas.microsoft.com/office/drawing/2014/chart" uri="{C3380CC4-5D6E-409C-BE32-E72D297353CC}">
                <c16:uniqueId val="{00000257-F664-4A10-B503-FB15B85FB77A}"/>
              </c:ext>
            </c:extLst>
          </c:dPt>
          <c:dPt>
            <c:idx val="299"/>
            <c:invertIfNegative val="1"/>
            <c:bubble3D val="0"/>
            <c:spPr>
              <a:solidFill>
                <a:srgbClr val="AEABAB"/>
              </a:solidFill>
            </c:spPr>
            <c:extLst>
              <c:ext xmlns:c16="http://schemas.microsoft.com/office/drawing/2014/chart" uri="{C3380CC4-5D6E-409C-BE32-E72D297353CC}">
                <c16:uniqueId val="{00000259-F664-4A10-B503-FB15B85FB77A}"/>
              </c:ext>
            </c:extLst>
          </c:dPt>
          <c:dPt>
            <c:idx val="300"/>
            <c:invertIfNegative val="1"/>
            <c:bubble3D val="0"/>
            <c:spPr>
              <a:solidFill>
                <a:srgbClr val="AEABAB"/>
              </a:solidFill>
            </c:spPr>
            <c:extLst>
              <c:ext xmlns:c16="http://schemas.microsoft.com/office/drawing/2014/chart" uri="{C3380CC4-5D6E-409C-BE32-E72D297353CC}">
                <c16:uniqueId val="{0000025B-F664-4A10-B503-FB15B85FB77A}"/>
              </c:ext>
            </c:extLst>
          </c:dPt>
          <c:dPt>
            <c:idx val="301"/>
            <c:invertIfNegative val="1"/>
            <c:bubble3D val="0"/>
            <c:spPr>
              <a:solidFill>
                <a:srgbClr val="AEABAB"/>
              </a:solidFill>
            </c:spPr>
            <c:extLst>
              <c:ext xmlns:c16="http://schemas.microsoft.com/office/drawing/2014/chart" uri="{C3380CC4-5D6E-409C-BE32-E72D297353CC}">
                <c16:uniqueId val="{0000025D-F664-4A10-B503-FB15B85FB77A}"/>
              </c:ext>
            </c:extLst>
          </c:dPt>
          <c:dPt>
            <c:idx val="302"/>
            <c:invertIfNegative val="1"/>
            <c:bubble3D val="0"/>
            <c:spPr>
              <a:solidFill>
                <a:srgbClr val="AEABAB"/>
              </a:solidFill>
            </c:spPr>
            <c:extLst>
              <c:ext xmlns:c16="http://schemas.microsoft.com/office/drawing/2014/chart" uri="{C3380CC4-5D6E-409C-BE32-E72D297353CC}">
                <c16:uniqueId val="{0000025F-F664-4A10-B503-FB15B85FB77A}"/>
              </c:ext>
            </c:extLst>
          </c:dPt>
          <c:dPt>
            <c:idx val="303"/>
            <c:invertIfNegative val="1"/>
            <c:bubble3D val="0"/>
            <c:spPr>
              <a:solidFill>
                <a:srgbClr val="AEABAB"/>
              </a:solidFill>
            </c:spPr>
            <c:extLst>
              <c:ext xmlns:c16="http://schemas.microsoft.com/office/drawing/2014/chart" uri="{C3380CC4-5D6E-409C-BE32-E72D297353CC}">
                <c16:uniqueId val="{00000261-F664-4A10-B503-FB15B85FB77A}"/>
              </c:ext>
            </c:extLst>
          </c:dPt>
          <c:dPt>
            <c:idx val="304"/>
            <c:invertIfNegative val="1"/>
            <c:bubble3D val="0"/>
            <c:spPr>
              <a:solidFill>
                <a:srgbClr val="AEABAB"/>
              </a:solidFill>
            </c:spPr>
            <c:extLst>
              <c:ext xmlns:c16="http://schemas.microsoft.com/office/drawing/2014/chart" uri="{C3380CC4-5D6E-409C-BE32-E72D297353CC}">
                <c16:uniqueId val="{00000263-F664-4A10-B503-FB15B85FB77A}"/>
              </c:ext>
            </c:extLst>
          </c:dPt>
          <c:dPt>
            <c:idx val="305"/>
            <c:invertIfNegative val="1"/>
            <c:bubble3D val="0"/>
            <c:spPr>
              <a:solidFill>
                <a:srgbClr val="AEABAB"/>
              </a:solidFill>
            </c:spPr>
            <c:extLst>
              <c:ext xmlns:c16="http://schemas.microsoft.com/office/drawing/2014/chart" uri="{C3380CC4-5D6E-409C-BE32-E72D297353CC}">
                <c16:uniqueId val="{00000265-F664-4A10-B503-FB15B85FB77A}"/>
              </c:ext>
            </c:extLst>
          </c:dPt>
          <c:dPt>
            <c:idx val="306"/>
            <c:invertIfNegative val="1"/>
            <c:bubble3D val="0"/>
            <c:spPr>
              <a:solidFill>
                <a:srgbClr val="AEABAB"/>
              </a:solidFill>
            </c:spPr>
            <c:extLst>
              <c:ext xmlns:c16="http://schemas.microsoft.com/office/drawing/2014/chart" uri="{C3380CC4-5D6E-409C-BE32-E72D297353CC}">
                <c16:uniqueId val="{00000267-F664-4A10-B503-FB15B85FB77A}"/>
              </c:ext>
            </c:extLst>
          </c:dPt>
          <c:dPt>
            <c:idx val="307"/>
            <c:invertIfNegative val="1"/>
            <c:bubble3D val="0"/>
            <c:spPr>
              <a:solidFill>
                <a:srgbClr val="AEABAB"/>
              </a:solidFill>
            </c:spPr>
            <c:extLst>
              <c:ext xmlns:c16="http://schemas.microsoft.com/office/drawing/2014/chart" uri="{C3380CC4-5D6E-409C-BE32-E72D297353CC}">
                <c16:uniqueId val="{00000269-F664-4A10-B503-FB15B85FB77A}"/>
              </c:ext>
            </c:extLst>
          </c:dPt>
          <c:dPt>
            <c:idx val="308"/>
            <c:invertIfNegative val="1"/>
            <c:bubble3D val="0"/>
            <c:spPr>
              <a:solidFill>
                <a:srgbClr val="AEABAB"/>
              </a:solidFill>
            </c:spPr>
            <c:extLst>
              <c:ext xmlns:c16="http://schemas.microsoft.com/office/drawing/2014/chart" uri="{C3380CC4-5D6E-409C-BE32-E72D297353CC}">
                <c16:uniqueId val="{0000026B-F664-4A10-B503-FB15B85FB77A}"/>
              </c:ext>
            </c:extLst>
          </c:dPt>
          <c:dPt>
            <c:idx val="309"/>
            <c:invertIfNegative val="1"/>
            <c:bubble3D val="0"/>
            <c:spPr>
              <a:solidFill>
                <a:srgbClr val="AEABAB"/>
              </a:solidFill>
            </c:spPr>
            <c:extLst>
              <c:ext xmlns:c16="http://schemas.microsoft.com/office/drawing/2014/chart" uri="{C3380CC4-5D6E-409C-BE32-E72D297353CC}">
                <c16:uniqueId val="{0000026D-F664-4A10-B503-FB15B85FB77A}"/>
              </c:ext>
            </c:extLst>
          </c:dPt>
          <c:dPt>
            <c:idx val="310"/>
            <c:invertIfNegative val="1"/>
            <c:bubble3D val="0"/>
            <c:spPr>
              <a:solidFill>
                <a:srgbClr val="AEABAB"/>
              </a:solidFill>
            </c:spPr>
            <c:extLst>
              <c:ext xmlns:c16="http://schemas.microsoft.com/office/drawing/2014/chart" uri="{C3380CC4-5D6E-409C-BE32-E72D297353CC}">
                <c16:uniqueId val="{0000026F-F664-4A10-B503-FB15B85FB77A}"/>
              </c:ext>
            </c:extLst>
          </c:dPt>
          <c:dPt>
            <c:idx val="311"/>
            <c:invertIfNegative val="1"/>
            <c:bubble3D val="0"/>
            <c:spPr>
              <a:solidFill>
                <a:srgbClr val="AEABAB"/>
              </a:solidFill>
            </c:spPr>
            <c:extLst>
              <c:ext xmlns:c16="http://schemas.microsoft.com/office/drawing/2014/chart" uri="{C3380CC4-5D6E-409C-BE32-E72D297353CC}">
                <c16:uniqueId val="{00000271-F664-4A10-B503-FB15B85FB77A}"/>
              </c:ext>
            </c:extLst>
          </c:dPt>
          <c:dPt>
            <c:idx val="312"/>
            <c:invertIfNegative val="1"/>
            <c:bubble3D val="0"/>
            <c:spPr>
              <a:solidFill>
                <a:srgbClr val="AEABAB"/>
              </a:solidFill>
            </c:spPr>
            <c:extLst>
              <c:ext xmlns:c16="http://schemas.microsoft.com/office/drawing/2014/chart" uri="{C3380CC4-5D6E-409C-BE32-E72D297353CC}">
                <c16:uniqueId val="{00000273-F664-4A10-B503-FB15B85FB77A}"/>
              </c:ext>
            </c:extLst>
          </c:dPt>
          <c:dPt>
            <c:idx val="313"/>
            <c:invertIfNegative val="1"/>
            <c:bubble3D val="0"/>
            <c:spPr>
              <a:solidFill>
                <a:srgbClr val="AEABAB"/>
              </a:solidFill>
            </c:spPr>
            <c:extLst>
              <c:ext xmlns:c16="http://schemas.microsoft.com/office/drawing/2014/chart" uri="{C3380CC4-5D6E-409C-BE32-E72D297353CC}">
                <c16:uniqueId val="{00000275-F664-4A10-B503-FB15B85FB77A}"/>
              </c:ext>
            </c:extLst>
          </c:dPt>
          <c:dPt>
            <c:idx val="314"/>
            <c:invertIfNegative val="1"/>
            <c:bubble3D val="0"/>
            <c:spPr>
              <a:solidFill>
                <a:srgbClr val="AEABAB"/>
              </a:solidFill>
            </c:spPr>
            <c:extLst>
              <c:ext xmlns:c16="http://schemas.microsoft.com/office/drawing/2014/chart" uri="{C3380CC4-5D6E-409C-BE32-E72D297353CC}">
                <c16:uniqueId val="{00000277-F664-4A10-B503-FB15B85FB77A}"/>
              </c:ext>
            </c:extLst>
          </c:dPt>
          <c:dPt>
            <c:idx val="315"/>
            <c:invertIfNegative val="1"/>
            <c:bubble3D val="0"/>
            <c:spPr>
              <a:solidFill>
                <a:srgbClr val="AEABAB"/>
              </a:solidFill>
            </c:spPr>
            <c:extLst>
              <c:ext xmlns:c16="http://schemas.microsoft.com/office/drawing/2014/chart" uri="{C3380CC4-5D6E-409C-BE32-E72D297353CC}">
                <c16:uniqueId val="{00000279-F664-4A10-B503-FB15B85FB77A}"/>
              </c:ext>
            </c:extLst>
          </c:dPt>
          <c:dPt>
            <c:idx val="316"/>
            <c:invertIfNegative val="1"/>
            <c:bubble3D val="0"/>
            <c:spPr>
              <a:solidFill>
                <a:srgbClr val="AEABAB"/>
              </a:solidFill>
            </c:spPr>
            <c:extLst>
              <c:ext xmlns:c16="http://schemas.microsoft.com/office/drawing/2014/chart" uri="{C3380CC4-5D6E-409C-BE32-E72D297353CC}">
                <c16:uniqueId val="{0000027B-F664-4A10-B503-FB15B85FB77A}"/>
              </c:ext>
            </c:extLst>
          </c:dPt>
          <c:dPt>
            <c:idx val="317"/>
            <c:invertIfNegative val="1"/>
            <c:bubble3D val="0"/>
            <c:spPr>
              <a:solidFill>
                <a:srgbClr val="AEABAB"/>
              </a:solidFill>
            </c:spPr>
            <c:extLst>
              <c:ext xmlns:c16="http://schemas.microsoft.com/office/drawing/2014/chart" uri="{C3380CC4-5D6E-409C-BE32-E72D297353CC}">
                <c16:uniqueId val="{0000027D-F664-4A10-B503-FB15B85FB77A}"/>
              </c:ext>
            </c:extLst>
          </c:dPt>
          <c:dPt>
            <c:idx val="318"/>
            <c:invertIfNegative val="1"/>
            <c:bubble3D val="0"/>
            <c:spPr>
              <a:solidFill>
                <a:srgbClr val="AEABAB"/>
              </a:solidFill>
            </c:spPr>
            <c:extLst>
              <c:ext xmlns:c16="http://schemas.microsoft.com/office/drawing/2014/chart" uri="{C3380CC4-5D6E-409C-BE32-E72D297353CC}">
                <c16:uniqueId val="{0000027F-F664-4A10-B503-FB15B85FB77A}"/>
              </c:ext>
            </c:extLst>
          </c:dPt>
          <c:dPt>
            <c:idx val="319"/>
            <c:invertIfNegative val="1"/>
            <c:bubble3D val="0"/>
            <c:spPr>
              <a:solidFill>
                <a:srgbClr val="AEABAB"/>
              </a:solidFill>
            </c:spPr>
            <c:extLst>
              <c:ext xmlns:c16="http://schemas.microsoft.com/office/drawing/2014/chart" uri="{C3380CC4-5D6E-409C-BE32-E72D297353CC}">
                <c16:uniqueId val="{00000281-F664-4A10-B503-FB15B85FB77A}"/>
              </c:ext>
            </c:extLst>
          </c:dPt>
          <c:dPt>
            <c:idx val="320"/>
            <c:invertIfNegative val="1"/>
            <c:bubble3D val="0"/>
            <c:spPr>
              <a:solidFill>
                <a:srgbClr val="AEABAB"/>
              </a:solidFill>
            </c:spPr>
            <c:extLst>
              <c:ext xmlns:c16="http://schemas.microsoft.com/office/drawing/2014/chart" uri="{C3380CC4-5D6E-409C-BE32-E72D297353CC}">
                <c16:uniqueId val="{00000283-F664-4A10-B503-FB15B85FB77A}"/>
              </c:ext>
            </c:extLst>
          </c:dPt>
          <c:dPt>
            <c:idx val="321"/>
            <c:invertIfNegative val="1"/>
            <c:bubble3D val="0"/>
            <c:spPr>
              <a:solidFill>
                <a:srgbClr val="AEABAB"/>
              </a:solidFill>
            </c:spPr>
            <c:extLst>
              <c:ext xmlns:c16="http://schemas.microsoft.com/office/drawing/2014/chart" uri="{C3380CC4-5D6E-409C-BE32-E72D297353CC}">
                <c16:uniqueId val="{00000285-F664-4A10-B503-FB15B85FB77A}"/>
              </c:ext>
            </c:extLst>
          </c:dPt>
          <c:dPt>
            <c:idx val="322"/>
            <c:invertIfNegative val="1"/>
            <c:bubble3D val="0"/>
            <c:spPr>
              <a:solidFill>
                <a:srgbClr val="AEABAB"/>
              </a:solidFill>
            </c:spPr>
            <c:extLst>
              <c:ext xmlns:c16="http://schemas.microsoft.com/office/drawing/2014/chart" uri="{C3380CC4-5D6E-409C-BE32-E72D297353CC}">
                <c16:uniqueId val="{00000287-F664-4A10-B503-FB15B85FB77A}"/>
              </c:ext>
            </c:extLst>
          </c:dPt>
          <c:dPt>
            <c:idx val="323"/>
            <c:invertIfNegative val="1"/>
            <c:bubble3D val="0"/>
            <c:spPr>
              <a:solidFill>
                <a:srgbClr val="AEABAB"/>
              </a:solidFill>
            </c:spPr>
            <c:extLst>
              <c:ext xmlns:c16="http://schemas.microsoft.com/office/drawing/2014/chart" uri="{C3380CC4-5D6E-409C-BE32-E72D297353CC}">
                <c16:uniqueId val="{00000289-F664-4A10-B503-FB15B85FB77A}"/>
              </c:ext>
            </c:extLst>
          </c:dPt>
          <c:dPt>
            <c:idx val="324"/>
            <c:invertIfNegative val="1"/>
            <c:bubble3D val="0"/>
            <c:spPr>
              <a:solidFill>
                <a:srgbClr val="AEABAB"/>
              </a:solidFill>
            </c:spPr>
            <c:extLst>
              <c:ext xmlns:c16="http://schemas.microsoft.com/office/drawing/2014/chart" uri="{C3380CC4-5D6E-409C-BE32-E72D297353CC}">
                <c16:uniqueId val="{0000028B-F664-4A10-B503-FB15B85FB77A}"/>
              </c:ext>
            </c:extLst>
          </c:dPt>
          <c:dPt>
            <c:idx val="325"/>
            <c:invertIfNegative val="1"/>
            <c:bubble3D val="0"/>
            <c:spPr>
              <a:solidFill>
                <a:srgbClr val="AEABAB"/>
              </a:solidFill>
            </c:spPr>
            <c:extLst>
              <c:ext xmlns:c16="http://schemas.microsoft.com/office/drawing/2014/chart" uri="{C3380CC4-5D6E-409C-BE32-E72D297353CC}">
                <c16:uniqueId val="{0000028D-F664-4A10-B503-FB15B85FB77A}"/>
              </c:ext>
            </c:extLst>
          </c:dPt>
          <c:dPt>
            <c:idx val="326"/>
            <c:invertIfNegative val="1"/>
            <c:bubble3D val="0"/>
            <c:spPr>
              <a:solidFill>
                <a:srgbClr val="AEABAB"/>
              </a:solidFill>
            </c:spPr>
            <c:extLst>
              <c:ext xmlns:c16="http://schemas.microsoft.com/office/drawing/2014/chart" uri="{C3380CC4-5D6E-409C-BE32-E72D297353CC}">
                <c16:uniqueId val="{0000028F-F664-4A10-B503-FB15B85FB77A}"/>
              </c:ext>
            </c:extLst>
          </c:dPt>
          <c:dPt>
            <c:idx val="327"/>
            <c:invertIfNegative val="1"/>
            <c:bubble3D val="0"/>
            <c:spPr>
              <a:solidFill>
                <a:srgbClr val="AEABAB"/>
              </a:solidFill>
            </c:spPr>
            <c:extLst>
              <c:ext xmlns:c16="http://schemas.microsoft.com/office/drawing/2014/chart" uri="{C3380CC4-5D6E-409C-BE32-E72D297353CC}">
                <c16:uniqueId val="{00000291-F664-4A10-B503-FB15B85FB77A}"/>
              </c:ext>
            </c:extLst>
          </c:dPt>
          <c:dPt>
            <c:idx val="328"/>
            <c:invertIfNegative val="1"/>
            <c:bubble3D val="0"/>
            <c:spPr>
              <a:solidFill>
                <a:srgbClr val="AEABAB"/>
              </a:solidFill>
            </c:spPr>
            <c:extLst>
              <c:ext xmlns:c16="http://schemas.microsoft.com/office/drawing/2014/chart" uri="{C3380CC4-5D6E-409C-BE32-E72D297353CC}">
                <c16:uniqueId val="{00000293-F664-4A10-B503-FB15B85FB77A}"/>
              </c:ext>
            </c:extLst>
          </c:dPt>
          <c:dPt>
            <c:idx val="329"/>
            <c:invertIfNegative val="1"/>
            <c:bubble3D val="0"/>
            <c:spPr>
              <a:solidFill>
                <a:srgbClr val="AEABAB"/>
              </a:solidFill>
            </c:spPr>
            <c:extLst>
              <c:ext xmlns:c16="http://schemas.microsoft.com/office/drawing/2014/chart" uri="{C3380CC4-5D6E-409C-BE32-E72D297353CC}">
                <c16:uniqueId val="{00000295-F664-4A10-B503-FB15B85FB77A}"/>
              </c:ext>
            </c:extLst>
          </c:dPt>
          <c:dPt>
            <c:idx val="330"/>
            <c:invertIfNegative val="1"/>
            <c:bubble3D val="0"/>
            <c:spPr>
              <a:solidFill>
                <a:srgbClr val="AEABAB"/>
              </a:solidFill>
            </c:spPr>
            <c:extLst>
              <c:ext xmlns:c16="http://schemas.microsoft.com/office/drawing/2014/chart" uri="{C3380CC4-5D6E-409C-BE32-E72D297353CC}">
                <c16:uniqueId val="{00000297-F664-4A10-B503-FB15B85FB77A}"/>
              </c:ext>
            </c:extLst>
          </c:dPt>
          <c:dPt>
            <c:idx val="331"/>
            <c:invertIfNegative val="1"/>
            <c:bubble3D val="0"/>
            <c:spPr>
              <a:solidFill>
                <a:srgbClr val="AEABAB"/>
              </a:solidFill>
            </c:spPr>
            <c:extLst>
              <c:ext xmlns:c16="http://schemas.microsoft.com/office/drawing/2014/chart" uri="{C3380CC4-5D6E-409C-BE32-E72D297353CC}">
                <c16:uniqueId val="{00000299-F664-4A10-B503-FB15B85FB77A}"/>
              </c:ext>
            </c:extLst>
          </c:dPt>
          <c:dPt>
            <c:idx val="332"/>
            <c:invertIfNegative val="1"/>
            <c:bubble3D val="0"/>
            <c:spPr>
              <a:solidFill>
                <a:srgbClr val="AEABAB"/>
              </a:solidFill>
            </c:spPr>
            <c:extLst>
              <c:ext xmlns:c16="http://schemas.microsoft.com/office/drawing/2014/chart" uri="{C3380CC4-5D6E-409C-BE32-E72D297353CC}">
                <c16:uniqueId val="{0000029B-F664-4A10-B503-FB15B85FB77A}"/>
              </c:ext>
            </c:extLst>
          </c:dPt>
          <c:dPt>
            <c:idx val="333"/>
            <c:invertIfNegative val="1"/>
            <c:bubble3D val="0"/>
            <c:spPr>
              <a:solidFill>
                <a:srgbClr val="AEABAB"/>
              </a:solidFill>
            </c:spPr>
            <c:extLst>
              <c:ext xmlns:c16="http://schemas.microsoft.com/office/drawing/2014/chart" uri="{C3380CC4-5D6E-409C-BE32-E72D297353CC}">
                <c16:uniqueId val="{0000029D-F664-4A10-B503-FB15B85FB77A}"/>
              </c:ext>
            </c:extLst>
          </c:dPt>
          <c:dPt>
            <c:idx val="334"/>
            <c:invertIfNegative val="1"/>
            <c:bubble3D val="0"/>
            <c:spPr>
              <a:solidFill>
                <a:srgbClr val="AEABAB"/>
              </a:solidFill>
            </c:spPr>
            <c:extLst>
              <c:ext xmlns:c16="http://schemas.microsoft.com/office/drawing/2014/chart" uri="{C3380CC4-5D6E-409C-BE32-E72D297353CC}">
                <c16:uniqueId val="{0000029F-F664-4A10-B503-FB15B85FB77A}"/>
              </c:ext>
            </c:extLst>
          </c:dPt>
          <c:dPt>
            <c:idx val="335"/>
            <c:invertIfNegative val="1"/>
            <c:bubble3D val="0"/>
            <c:spPr>
              <a:solidFill>
                <a:srgbClr val="AEABAB"/>
              </a:solidFill>
            </c:spPr>
            <c:extLst>
              <c:ext xmlns:c16="http://schemas.microsoft.com/office/drawing/2014/chart" uri="{C3380CC4-5D6E-409C-BE32-E72D297353CC}">
                <c16:uniqueId val="{000002A1-F664-4A10-B503-FB15B85FB77A}"/>
              </c:ext>
            </c:extLst>
          </c:dPt>
          <c:dPt>
            <c:idx val="336"/>
            <c:invertIfNegative val="1"/>
            <c:bubble3D val="0"/>
            <c:spPr>
              <a:solidFill>
                <a:srgbClr val="AEABAB"/>
              </a:solidFill>
            </c:spPr>
            <c:extLst>
              <c:ext xmlns:c16="http://schemas.microsoft.com/office/drawing/2014/chart" uri="{C3380CC4-5D6E-409C-BE32-E72D297353CC}">
                <c16:uniqueId val="{000002A3-F664-4A10-B503-FB15B85FB77A}"/>
              </c:ext>
            </c:extLst>
          </c:dPt>
          <c:dPt>
            <c:idx val="337"/>
            <c:invertIfNegative val="1"/>
            <c:bubble3D val="0"/>
            <c:spPr>
              <a:solidFill>
                <a:srgbClr val="AEABAB"/>
              </a:solidFill>
            </c:spPr>
            <c:extLst>
              <c:ext xmlns:c16="http://schemas.microsoft.com/office/drawing/2014/chart" uri="{C3380CC4-5D6E-409C-BE32-E72D297353CC}">
                <c16:uniqueId val="{000002A5-F664-4A10-B503-FB15B85FB77A}"/>
              </c:ext>
            </c:extLst>
          </c:dPt>
          <c:dPt>
            <c:idx val="338"/>
            <c:invertIfNegative val="1"/>
            <c:bubble3D val="0"/>
            <c:spPr>
              <a:solidFill>
                <a:srgbClr val="AEABAB"/>
              </a:solidFill>
            </c:spPr>
            <c:extLst>
              <c:ext xmlns:c16="http://schemas.microsoft.com/office/drawing/2014/chart" uri="{C3380CC4-5D6E-409C-BE32-E72D297353CC}">
                <c16:uniqueId val="{000002A7-F664-4A10-B503-FB15B85FB77A}"/>
              </c:ext>
            </c:extLst>
          </c:dPt>
          <c:dPt>
            <c:idx val="339"/>
            <c:invertIfNegative val="1"/>
            <c:bubble3D val="0"/>
            <c:spPr>
              <a:solidFill>
                <a:srgbClr val="AEABAB"/>
              </a:solidFill>
            </c:spPr>
            <c:extLst>
              <c:ext xmlns:c16="http://schemas.microsoft.com/office/drawing/2014/chart" uri="{C3380CC4-5D6E-409C-BE32-E72D297353CC}">
                <c16:uniqueId val="{000002A9-F664-4A10-B503-FB15B85FB77A}"/>
              </c:ext>
            </c:extLst>
          </c:dPt>
          <c:dPt>
            <c:idx val="340"/>
            <c:invertIfNegative val="1"/>
            <c:bubble3D val="0"/>
            <c:spPr>
              <a:solidFill>
                <a:srgbClr val="AEABAB"/>
              </a:solidFill>
            </c:spPr>
            <c:extLst>
              <c:ext xmlns:c16="http://schemas.microsoft.com/office/drawing/2014/chart" uri="{C3380CC4-5D6E-409C-BE32-E72D297353CC}">
                <c16:uniqueId val="{000002AB-F664-4A10-B503-FB15B85FB77A}"/>
              </c:ext>
            </c:extLst>
          </c:dPt>
          <c:dPt>
            <c:idx val="341"/>
            <c:invertIfNegative val="1"/>
            <c:bubble3D val="0"/>
            <c:spPr>
              <a:solidFill>
                <a:srgbClr val="AEABAB"/>
              </a:solidFill>
            </c:spPr>
            <c:extLst>
              <c:ext xmlns:c16="http://schemas.microsoft.com/office/drawing/2014/chart" uri="{C3380CC4-5D6E-409C-BE32-E72D297353CC}">
                <c16:uniqueId val="{000002AD-F664-4A10-B503-FB15B85FB77A}"/>
              </c:ext>
            </c:extLst>
          </c:dPt>
          <c:dPt>
            <c:idx val="342"/>
            <c:invertIfNegative val="1"/>
            <c:bubble3D val="0"/>
            <c:spPr>
              <a:solidFill>
                <a:srgbClr val="AEABAB"/>
              </a:solidFill>
            </c:spPr>
            <c:extLst>
              <c:ext xmlns:c16="http://schemas.microsoft.com/office/drawing/2014/chart" uri="{C3380CC4-5D6E-409C-BE32-E72D297353CC}">
                <c16:uniqueId val="{000002AF-F664-4A10-B503-FB15B85FB77A}"/>
              </c:ext>
            </c:extLst>
          </c:dPt>
          <c:dPt>
            <c:idx val="343"/>
            <c:invertIfNegative val="1"/>
            <c:bubble3D val="0"/>
            <c:spPr>
              <a:solidFill>
                <a:srgbClr val="AEABAB"/>
              </a:solidFill>
            </c:spPr>
            <c:extLst>
              <c:ext xmlns:c16="http://schemas.microsoft.com/office/drawing/2014/chart" uri="{C3380CC4-5D6E-409C-BE32-E72D297353CC}">
                <c16:uniqueId val="{000002B1-F664-4A10-B503-FB15B85FB77A}"/>
              </c:ext>
            </c:extLst>
          </c:dPt>
          <c:dPt>
            <c:idx val="344"/>
            <c:invertIfNegative val="1"/>
            <c:bubble3D val="0"/>
            <c:spPr>
              <a:solidFill>
                <a:srgbClr val="AEABAB"/>
              </a:solidFill>
            </c:spPr>
            <c:extLst>
              <c:ext xmlns:c16="http://schemas.microsoft.com/office/drawing/2014/chart" uri="{C3380CC4-5D6E-409C-BE32-E72D297353CC}">
                <c16:uniqueId val="{000002B3-F664-4A10-B503-FB15B85FB77A}"/>
              </c:ext>
            </c:extLst>
          </c:dPt>
          <c:dPt>
            <c:idx val="345"/>
            <c:invertIfNegative val="1"/>
            <c:bubble3D val="0"/>
            <c:spPr>
              <a:solidFill>
                <a:srgbClr val="AEABAB"/>
              </a:solidFill>
            </c:spPr>
            <c:extLst>
              <c:ext xmlns:c16="http://schemas.microsoft.com/office/drawing/2014/chart" uri="{C3380CC4-5D6E-409C-BE32-E72D297353CC}">
                <c16:uniqueId val="{000002B5-F664-4A10-B503-FB15B85FB77A}"/>
              </c:ext>
            </c:extLst>
          </c:dPt>
          <c:dPt>
            <c:idx val="346"/>
            <c:invertIfNegative val="1"/>
            <c:bubble3D val="0"/>
            <c:spPr>
              <a:solidFill>
                <a:srgbClr val="AEABAB"/>
              </a:solidFill>
            </c:spPr>
            <c:extLst>
              <c:ext xmlns:c16="http://schemas.microsoft.com/office/drawing/2014/chart" uri="{C3380CC4-5D6E-409C-BE32-E72D297353CC}">
                <c16:uniqueId val="{000002B7-F664-4A10-B503-FB15B85FB77A}"/>
              </c:ext>
            </c:extLst>
          </c:dPt>
          <c:dPt>
            <c:idx val="347"/>
            <c:invertIfNegative val="1"/>
            <c:bubble3D val="0"/>
            <c:spPr>
              <a:solidFill>
                <a:srgbClr val="AEABAB"/>
              </a:solidFill>
            </c:spPr>
            <c:extLst>
              <c:ext xmlns:c16="http://schemas.microsoft.com/office/drawing/2014/chart" uri="{C3380CC4-5D6E-409C-BE32-E72D297353CC}">
                <c16:uniqueId val="{000002B9-F664-4A10-B503-FB15B85FB77A}"/>
              </c:ext>
            </c:extLst>
          </c:dPt>
          <c:dPt>
            <c:idx val="348"/>
            <c:invertIfNegative val="1"/>
            <c:bubble3D val="0"/>
            <c:spPr>
              <a:solidFill>
                <a:srgbClr val="AEABAB"/>
              </a:solidFill>
            </c:spPr>
            <c:extLst>
              <c:ext xmlns:c16="http://schemas.microsoft.com/office/drawing/2014/chart" uri="{C3380CC4-5D6E-409C-BE32-E72D297353CC}">
                <c16:uniqueId val="{000002BB-F664-4A10-B503-FB15B85FB77A}"/>
              </c:ext>
            </c:extLst>
          </c:dPt>
          <c:dPt>
            <c:idx val="349"/>
            <c:invertIfNegative val="1"/>
            <c:bubble3D val="0"/>
            <c:spPr>
              <a:solidFill>
                <a:srgbClr val="AEABAB"/>
              </a:solidFill>
            </c:spPr>
            <c:extLst>
              <c:ext xmlns:c16="http://schemas.microsoft.com/office/drawing/2014/chart" uri="{C3380CC4-5D6E-409C-BE32-E72D297353CC}">
                <c16:uniqueId val="{000002BD-F664-4A10-B503-FB15B85FB77A}"/>
              </c:ext>
            </c:extLst>
          </c:dPt>
          <c:dPt>
            <c:idx val="350"/>
            <c:invertIfNegative val="1"/>
            <c:bubble3D val="0"/>
            <c:spPr>
              <a:solidFill>
                <a:srgbClr val="AEABAB"/>
              </a:solidFill>
            </c:spPr>
            <c:extLst>
              <c:ext xmlns:c16="http://schemas.microsoft.com/office/drawing/2014/chart" uri="{C3380CC4-5D6E-409C-BE32-E72D297353CC}">
                <c16:uniqueId val="{000002BF-F664-4A10-B503-FB15B85FB77A}"/>
              </c:ext>
            </c:extLst>
          </c:dPt>
          <c:dPt>
            <c:idx val="351"/>
            <c:invertIfNegative val="1"/>
            <c:bubble3D val="0"/>
            <c:spPr>
              <a:solidFill>
                <a:srgbClr val="AEABAB"/>
              </a:solidFill>
            </c:spPr>
            <c:extLst>
              <c:ext xmlns:c16="http://schemas.microsoft.com/office/drawing/2014/chart" uri="{C3380CC4-5D6E-409C-BE32-E72D297353CC}">
                <c16:uniqueId val="{000002C1-F664-4A10-B503-FB15B85FB77A}"/>
              </c:ext>
            </c:extLst>
          </c:dPt>
          <c:dPt>
            <c:idx val="352"/>
            <c:invertIfNegative val="1"/>
            <c:bubble3D val="0"/>
            <c:spPr>
              <a:solidFill>
                <a:srgbClr val="AEABAB"/>
              </a:solidFill>
            </c:spPr>
            <c:extLst>
              <c:ext xmlns:c16="http://schemas.microsoft.com/office/drawing/2014/chart" uri="{C3380CC4-5D6E-409C-BE32-E72D297353CC}">
                <c16:uniqueId val="{000002C3-F664-4A10-B503-FB15B85FB77A}"/>
              </c:ext>
            </c:extLst>
          </c:dPt>
          <c:dPt>
            <c:idx val="353"/>
            <c:invertIfNegative val="1"/>
            <c:bubble3D val="0"/>
            <c:spPr>
              <a:solidFill>
                <a:srgbClr val="AEABAB"/>
              </a:solidFill>
            </c:spPr>
            <c:extLst>
              <c:ext xmlns:c16="http://schemas.microsoft.com/office/drawing/2014/chart" uri="{C3380CC4-5D6E-409C-BE32-E72D297353CC}">
                <c16:uniqueId val="{000002C5-F664-4A10-B503-FB15B85FB77A}"/>
              </c:ext>
            </c:extLst>
          </c:dPt>
          <c:dPt>
            <c:idx val="354"/>
            <c:invertIfNegative val="1"/>
            <c:bubble3D val="0"/>
            <c:spPr>
              <a:solidFill>
                <a:srgbClr val="AEABAB"/>
              </a:solidFill>
            </c:spPr>
            <c:extLst>
              <c:ext xmlns:c16="http://schemas.microsoft.com/office/drawing/2014/chart" uri="{C3380CC4-5D6E-409C-BE32-E72D297353CC}">
                <c16:uniqueId val="{000002C7-F664-4A10-B503-FB15B85FB77A}"/>
              </c:ext>
            </c:extLst>
          </c:dPt>
          <c:dPt>
            <c:idx val="355"/>
            <c:invertIfNegative val="1"/>
            <c:bubble3D val="0"/>
            <c:spPr>
              <a:solidFill>
                <a:srgbClr val="AEABAB"/>
              </a:solidFill>
            </c:spPr>
            <c:extLst>
              <c:ext xmlns:c16="http://schemas.microsoft.com/office/drawing/2014/chart" uri="{C3380CC4-5D6E-409C-BE32-E72D297353CC}">
                <c16:uniqueId val="{000002C9-F664-4A10-B503-FB15B85FB77A}"/>
              </c:ext>
            </c:extLst>
          </c:dPt>
          <c:dPt>
            <c:idx val="356"/>
            <c:invertIfNegative val="1"/>
            <c:bubble3D val="0"/>
            <c:spPr>
              <a:solidFill>
                <a:srgbClr val="AEABAB"/>
              </a:solidFill>
            </c:spPr>
            <c:extLst>
              <c:ext xmlns:c16="http://schemas.microsoft.com/office/drawing/2014/chart" uri="{C3380CC4-5D6E-409C-BE32-E72D297353CC}">
                <c16:uniqueId val="{000002CB-F664-4A10-B503-FB15B85FB77A}"/>
              </c:ext>
            </c:extLst>
          </c:dPt>
          <c:dPt>
            <c:idx val="357"/>
            <c:invertIfNegative val="1"/>
            <c:bubble3D val="0"/>
            <c:spPr>
              <a:solidFill>
                <a:srgbClr val="AEABAB"/>
              </a:solidFill>
            </c:spPr>
            <c:extLst>
              <c:ext xmlns:c16="http://schemas.microsoft.com/office/drawing/2014/chart" uri="{C3380CC4-5D6E-409C-BE32-E72D297353CC}">
                <c16:uniqueId val="{000002CD-F664-4A10-B503-FB15B85FB77A}"/>
              </c:ext>
            </c:extLst>
          </c:dPt>
          <c:dPt>
            <c:idx val="358"/>
            <c:invertIfNegative val="1"/>
            <c:bubble3D val="0"/>
            <c:spPr>
              <a:solidFill>
                <a:srgbClr val="AEABAB"/>
              </a:solidFill>
            </c:spPr>
            <c:extLst>
              <c:ext xmlns:c16="http://schemas.microsoft.com/office/drawing/2014/chart" uri="{C3380CC4-5D6E-409C-BE32-E72D297353CC}">
                <c16:uniqueId val="{000002CF-F664-4A10-B503-FB15B85FB77A}"/>
              </c:ext>
            </c:extLst>
          </c:dPt>
          <c:dPt>
            <c:idx val="359"/>
            <c:invertIfNegative val="1"/>
            <c:bubble3D val="0"/>
            <c:spPr>
              <a:solidFill>
                <a:srgbClr val="AEABAB"/>
              </a:solidFill>
            </c:spPr>
            <c:extLst>
              <c:ext xmlns:c16="http://schemas.microsoft.com/office/drawing/2014/chart" uri="{C3380CC4-5D6E-409C-BE32-E72D297353CC}">
                <c16:uniqueId val="{000002D1-F664-4A10-B503-FB15B85FB77A}"/>
              </c:ext>
            </c:extLst>
          </c:dPt>
          <c:dPt>
            <c:idx val="360"/>
            <c:invertIfNegative val="1"/>
            <c:bubble3D val="0"/>
            <c:spPr>
              <a:solidFill>
                <a:srgbClr val="AEABAB"/>
              </a:solidFill>
            </c:spPr>
            <c:extLst>
              <c:ext xmlns:c16="http://schemas.microsoft.com/office/drawing/2014/chart" uri="{C3380CC4-5D6E-409C-BE32-E72D297353CC}">
                <c16:uniqueId val="{000002D3-F664-4A10-B503-FB15B85FB77A}"/>
              </c:ext>
            </c:extLst>
          </c:dPt>
          <c:dPt>
            <c:idx val="361"/>
            <c:invertIfNegative val="1"/>
            <c:bubble3D val="0"/>
            <c:spPr>
              <a:solidFill>
                <a:srgbClr val="AEABAB"/>
              </a:solidFill>
            </c:spPr>
            <c:extLst>
              <c:ext xmlns:c16="http://schemas.microsoft.com/office/drawing/2014/chart" uri="{C3380CC4-5D6E-409C-BE32-E72D297353CC}">
                <c16:uniqueId val="{000002D5-F664-4A10-B503-FB15B85FB77A}"/>
              </c:ext>
            </c:extLst>
          </c:dPt>
          <c:dPt>
            <c:idx val="362"/>
            <c:invertIfNegative val="1"/>
            <c:bubble3D val="0"/>
            <c:spPr>
              <a:solidFill>
                <a:srgbClr val="AEABAB"/>
              </a:solidFill>
            </c:spPr>
            <c:extLst>
              <c:ext xmlns:c16="http://schemas.microsoft.com/office/drawing/2014/chart" uri="{C3380CC4-5D6E-409C-BE32-E72D297353CC}">
                <c16:uniqueId val="{000002D7-F664-4A10-B503-FB15B85FB77A}"/>
              </c:ext>
            </c:extLst>
          </c:dPt>
          <c:dPt>
            <c:idx val="363"/>
            <c:invertIfNegative val="1"/>
            <c:bubble3D val="0"/>
            <c:spPr>
              <a:solidFill>
                <a:srgbClr val="AEABAB"/>
              </a:solidFill>
            </c:spPr>
            <c:extLst>
              <c:ext xmlns:c16="http://schemas.microsoft.com/office/drawing/2014/chart" uri="{C3380CC4-5D6E-409C-BE32-E72D297353CC}">
                <c16:uniqueId val="{000002D9-F664-4A10-B503-FB15B85FB77A}"/>
              </c:ext>
            </c:extLst>
          </c:dPt>
          <c:dPt>
            <c:idx val="364"/>
            <c:invertIfNegative val="1"/>
            <c:bubble3D val="0"/>
            <c:spPr>
              <a:solidFill>
                <a:srgbClr val="AEABAB"/>
              </a:solidFill>
            </c:spPr>
            <c:extLst>
              <c:ext xmlns:c16="http://schemas.microsoft.com/office/drawing/2014/chart" uri="{C3380CC4-5D6E-409C-BE32-E72D297353CC}">
                <c16:uniqueId val="{000002DB-F664-4A10-B503-FB15B85FB77A}"/>
              </c:ext>
            </c:extLst>
          </c:dPt>
          <c:dPt>
            <c:idx val="365"/>
            <c:invertIfNegative val="1"/>
            <c:bubble3D val="0"/>
            <c:spPr>
              <a:solidFill>
                <a:srgbClr val="AEABAB"/>
              </a:solidFill>
            </c:spPr>
            <c:extLst>
              <c:ext xmlns:c16="http://schemas.microsoft.com/office/drawing/2014/chart" uri="{C3380CC4-5D6E-409C-BE32-E72D297353CC}">
                <c16:uniqueId val="{000002DD-F664-4A10-B503-FB15B85FB77A}"/>
              </c:ext>
            </c:extLst>
          </c:dPt>
          <c:dPt>
            <c:idx val="366"/>
            <c:invertIfNegative val="1"/>
            <c:bubble3D val="0"/>
            <c:spPr>
              <a:solidFill>
                <a:srgbClr val="AEABAB"/>
              </a:solidFill>
            </c:spPr>
            <c:extLst>
              <c:ext xmlns:c16="http://schemas.microsoft.com/office/drawing/2014/chart" uri="{C3380CC4-5D6E-409C-BE32-E72D297353CC}">
                <c16:uniqueId val="{000002DF-F664-4A10-B503-FB15B85FB77A}"/>
              </c:ext>
            </c:extLst>
          </c:dPt>
          <c:dPt>
            <c:idx val="367"/>
            <c:invertIfNegative val="1"/>
            <c:bubble3D val="0"/>
            <c:spPr>
              <a:solidFill>
                <a:srgbClr val="AEABAB"/>
              </a:solidFill>
            </c:spPr>
            <c:extLst>
              <c:ext xmlns:c16="http://schemas.microsoft.com/office/drawing/2014/chart" uri="{C3380CC4-5D6E-409C-BE32-E72D297353CC}">
                <c16:uniqueId val="{000002E1-F664-4A10-B503-FB15B85FB77A}"/>
              </c:ext>
            </c:extLst>
          </c:dPt>
          <c:dPt>
            <c:idx val="368"/>
            <c:invertIfNegative val="1"/>
            <c:bubble3D val="0"/>
            <c:spPr>
              <a:solidFill>
                <a:srgbClr val="AEABAB"/>
              </a:solidFill>
            </c:spPr>
            <c:extLst>
              <c:ext xmlns:c16="http://schemas.microsoft.com/office/drawing/2014/chart" uri="{C3380CC4-5D6E-409C-BE32-E72D297353CC}">
                <c16:uniqueId val="{000002E3-F664-4A10-B503-FB15B85FB77A}"/>
              </c:ext>
            </c:extLst>
          </c:dPt>
          <c:dPt>
            <c:idx val="369"/>
            <c:invertIfNegative val="1"/>
            <c:bubble3D val="0"/>
            <c:spPr>
              <a:solidFill>
                <a:srgbClr val="AEABAB"/>
              </a:solidFill>
            </c:spPr>
            <c:extLst>
              <c:ext xmlns:c16="http://schemas.microsoft.com/office/drawing/2014/chart" uri="{C3380CC4-5D6E-409C-BE32-E72D297353CC}">
                <c16:uniqueId val="{000002E5-F664-4A10-B503-FB15B85FB77A}"/>
              </c:ext>
            </c:extLst>
          </c:dPt>
          <c:dPt>
            <c:idx val="370"/>
            <c:invertIfNegative val="1"/>
            <c:bubble3D val="0"/>
            <c:spPr>
              <a:solidFill>
                <a:srgbClr val="AEABAB"/>
              </a:solidFill>
            </c:spPr>
            <c:extLst>
              <c:ext xmlns:c16="http://schemas.microsoft.com/office/drawing/2014/chart" uri="{C3380CC4-5D6E-409C-BE32-E72D297353CC}">
                <c16:uniqueId val="{000002E7-F664-4A10-B503-FB15B85FB77A}"/>
              </c:ext>
            </c:extLst>
          </c:dPt>
          <c:dPt>
            <c:idx val="371"/>
            <c:invertIfNegative val="1"/>
            <c:bubble3D val="0"/>
            <c:spPr>
              <a:solidFill>
                <a:srgbClr val="AEABAB"/>
              </a:solidFill>
            </c:spPr>
            <c:extLst>
              <c:ext xmlns:c16="http://schemas.microsoft.com/office/drawing/2014/chart" uri="{C3380CC4-5D6E-409C-BE32-E72D297353CC}">
                <c16:uniqueId val="{000002E9-F664-4A10-B503-FB15B85FB77A}"/>
              </c:ext>
            </c:extLst>
          </c:dPt>
          <c:dPt>
            <c:idx val="372"/>
            <c:invertIfNegative val="1"/>
            <c:bubble3D val="0"/>
            <c:spPr>
              <a:solidFill>
                <a:srgbClr val="AEABAB"/>
              </a:solidFill>
            </c:spPr>
            <c:extLst>
              <c:ext xmlns:c16="http://schemas.microsoft.com/office/drawing/2014/chart" uri="{C3380CC4-5D6E-409C-BE32-E72D297353CC}">
                <c16:uniqueId val="{000002EB-F664-4A10-B503-FB15B85FB77A}"/>
              </c:ext>
            </c:extLst>
          </c:dPt>
          <c:dPt>
            <c:idx val="373"/>
            <c:invertIfNegative val="1"/>
            <c:bubble3D val="0"/>
            <c:spPr>
              <a:solidFill>
                <a:srgbClr val="AEABAB"/>
              </a:solidFill>
            </c:spPr>
            <c:extLst>
              <c:ext xmlns:c16="http://schemas.microsoft.com/office/drawing/2014/chart" uri="{C3380CC4-5D6E-409C-BE32-E72D297353CC}">
                <c16:uniqueId val="{000002ED-F664-4A10-B503-FB15B85FB77A}"/>
              </c:ext>
            </c:extLst>
          </c:dPt>
          <c:dPt>
            <c:idx val="374"/>
            <c:invertIfNegative val="1"/>
            <c:bubble3D val="0"/>
            <c:spPr>
              <a:solidFill>
                <a:srgbClr val="AEABAB"/>
              </a:solidFill>
            </c:spPr>
            <c:extLst>
              <c:ext xmlns:c16="http://schemas.microsoft.com/office/drawing/2014/chart" uri="{C3380CC4-5D6E-409C-BE32-E72D297353CC}">
                <c16:uniqueId val="{000002EF-F664-4A10-B503-FB15B85FB77A}"/>
              </c:ext>
            </c:extLst>
          </c:dPt>
          <c:dPt>
            <c:idx val="375"/>
            <c:invertIfNegative val="1"/>
            <c:bubble3D val="0"/>
            <c:spPr>
              <a:solidFill>
                <a:srgbClr val="AEABAB"/>
              </a:solidFill>
            </c:spPr>
            <c:extLst>
              <c:ext xmlns:c16="http://schemas.microsoft.com/office/drawing/2014/chart" uri="{C3380CC4-5D6E-409C-BE32-E72D297353CC}">
                <c16:uniqueId val="{000002F1-F664-4A10-B503-FB15B85FB77A}"/>
              </c:ext>
            </c:extLst>
          </c:dPt>
          <c:dPt>
            <c:idx val="376"/>
            <c:invertIfNegative val="1"/>
            <c:bubble3D val="0"/>
            <c:spPr>
              <a:solidFill>
                <a:srgbClr val="AEABAB"/>
              </a:solidFill>
            </c:spPr>
            <c:extLst>
              <c:ext xmlns:c16="http://schemas.microsoft.com/office/drawing/2014/chart" uri="{C3380CC4-5D6E-409C-BE32-E72D297353CC}">
                <c16:uniqueId val="{000002F3-F664-4A10-B503-FB15B85FB77A}"/>
              </c:ext>
            </c:extLst>
          </c:dPt>
          <c:dPt>
            <c:idx val="377"/>
            <c:invertIfNegative val="1"/>
            <c:bubble3D val="0"/>
            <c:spPr>
              <a:solidFill>
                <a:srgbClr val="AEABAB"/>
              </a:solidFill>
            </c:spPr>
            <c:extLst>
              <c:ext xmlns:c16="http://schemas.microsoft.com/office/drawing/2014/chart" uri="{C3380CC4-5D6E-409C-BE32-E72D297353CC}">
                <c16:uniqueId val="{000002F5-F664-4A10-B503-FB15B85FB77A}"/>
              </c:ext>
            </c:extLst>
          </c:dPt>
          <c:dPt>
            <c:idx val="378"/>
            <c:invertIfNegative val="1"/>
            <c:bubble3D val="0"/>
            <c:spPr>
              <a:solidFill>
                <a:srgbClr val="AEABAB"/>
              </a:solidFill>
            </c:spPr>
            <c:extLst>
              <c:ext xmlns:c16="http://schemas.microsoft.com/office/drawing/2014/chart" uri="{C3380CC4-5D6E-409C-BE32-E72D297353CC}">
                <c16:uniqueId val="{000002F7-F664-4A10-B503-FB15B85FB77A}"/>
              </c:ext>
            </c:extLst>
          </c:dPt>
          <c:dPt>
            <c:idx val="379"/>
            <c:invertIfNegative val="1"/>
            <c:bubble3D val="0"/>
            <c:spPr>
              <a:solidFill>
                <a:srgbClr val="AEABAB"/>
              </a:solidFill>
            </c:spPr>
            <c:extLst>
              <c:ext xmlns:c16="http://schemas.microsoft.com/office/drawing/2014/chart" uri="{C3380CC4-5D6E-409C-BE32-E72D297353CC}">
                <c16:uniqueId val="{000002F9-F664-4A10-B503-FB15B85FB77A}"/>
              </c:ext>
            </c:extLst>
          </c:dPt>
          <c:dPt>
            <c:idx val="380"/>
            <c:invertIfNegative val="1"/>
            <c:bubble3D val="0"/>
            <c:spPr>
              <a:solidFill>
                <a:srgbClr val="AEABAB"/>
              </a:solidFill>
            </c:spPr>
            <c:extLst>
              <c:ext xmlns:c16="http://schemas.microsoft.com/office/drawing/2014/chart" uri="{C3380CC4-5D6E-409C-BE32-E72D297353CC}">
                <c16:uniqueId val="{000002FB-F664-4A10-B503-FB15B85FB77A}"/>
              </c:ext>
            </c:extLst>
          </c:dPt>
          <c:dPt>
            <c:idx val="381"/>
            <c:invertIfNegative val="1"/>
            <c:bubble3D val="0"/>
            <c:spPr>
              <a:solidFill>
                <a:srgbClr val="AEABAB"/>
              </a:solidFill>
            </c:spPr>
            <c:extLst>
              <c:ext xmlns:c16="http://schemas.microsoft.com/office/drawing/2014/chart" uri="{C3380CC4-5D6E-409C-BE32-E72D297353CC}">
                <c16:uniqueId val="{000002FD-F664-4A10-B503-FB15B85FB77A}"/>
              </c:ext>
            </c:extLst>
          </c:dPt>
          <c:dPt>
            <c:idx val="382"/>
            <c:invertIfNegative val="1"/>
            <c:bubble3D val="0"/>
            <c:spPr>
              <a:solidFill>
                <a:srgbClr val="AEABAB"/>
              </a:solidFill>
            </c:spPr>
            <c:extLst>
              <c:ext xmlns:c16="http://schemas.microsoft.com/office/drawing/2014/chart" uri="{C3380CC4-5D6E-409C-BE32-E72D297353CC}">
                <c16:uniqueId val="{000002FF-F664-4A10-B503-FB15B85FB77A}"/>
              </c:ext>
            </c:extLst>
          </c:dPt>
          <c:dPt>
            <c:idx val="383"/>
            <c:invertIfNegative val="1"/>
            <c:bubble3D val="0"/>
            <c:spPr>
              <a:solidFill>
                <a:srgbClr val="AEABAB"/>
              </a:solidFill>
            </c:spPr>
            <c:extLst>
              <c:ext xmlns:c16="http://schemas.microsoft.com/office/drawing/2014/chart" uri="{C3380CC4-5D6E-409C-BE32-E72D297353CC}">
                <c16:uniqueId val="{00000301-F664-4A10-B503-FB15B85FB77A}"/>
              </c:ext>
            </c:extLst>
          </c:dPt>
          <c:dPt>
            <c:idx val="384"/>
            <c:invertIfNegative val="1"/>
            <c:bubble3D val="0"/>
            <c:spPr>
              <a:solidFill>
                <a:srgbClr val="AEABAB"/>
              </a:solidFill>
            </c:spPr>
            <c:extLst>
              <c:ext xmlns:c16="http://schemas.microsoft.com/office/drawing/2014/chart" uri="{C3380CC4-5D6E-409C-BE32-E72D297353CC}">
                <c16:uniqueId val="{00000303-F664-4A10-B503-FB15B85FB77A}"/>
              </c:ext>
            </c:extLst>
          </c:dPt>
          <c:dPt>
            <c:idx val="385"/>
            <c:invertIfNegative val="1"/>
            <c:bubble3D val="0"/>
            <c:spPr>
              <a:solidFill>
                <a:srgbClr val="AEABAB"/>
              </a:solidFill>
            </c:spPr>
            <c:extLst>
              <c:ext xmlns:c16="http://schemas.microsoft.com/office/drawing/2014/chart" uri="{C3380CC4-5D6E-409C-BE32-E72D297353CC}">
                <c16:uniqueId val="{00000305-F664-4A10-B503-FB15B85FB77A}"/>
              </c:ext>
            </c:extLst>
          </c:dPt>
          <c:dPt>
            <c:idx val="386"/>
            <c:invertIfNegative val="1"/>
            <c:bubble3D val="0"/>
            <c:spPr>
              <a:solidFill>
                <a:srgbClr val="AEABAB"/>
              </a:solidFill>
            </c:spPr>
            <c:extLst>
              <c:ext xmlns:c16="http://schemas.microsoft.com/office/drawing/2014/chart" uri="{C3380CC4-5D6E-409C-BE32-E72D297353CC}">
                <c16:uniqueId val="{00000307-F664-4A10-B503-FB15B85FB77A}"/>
              </c:ext>
            </c:extLst>
          </c:dPt>
          <c:dPt>
            <c:idx val="387"/>
            <c:invertIfNegative val="1"/>
            <c:bubble3D val="0"/>
            <c:spPr>
              <a:solidFill>
                <a:srgbClr val="AEABAB"/>
              </a:solidFill>
            </c:spPr>
            <c:extLst>
              <c:ext xmlns:c16="http://schemas.microsoft.com/office/drawing/2014/chart" uri="{C3380CC4-5D6E-409C-BE32-E72D297353CC}">
                <c16:uniqueId val="{00000309-F664-4A10-B503-FB15B85FB77A}"/>
              </c:ext>
            </c:extLst>
          </c:dPt>
          <c:dPt>
            <c:idx val="388"/>
            <c:invertIfNegative val="1"/>
            <c:bubble3D val="0"/>
            <c:spPr>
              <a:solidFill>
                <a:srgbClr val="AEABAB"/>
              </a:solidFill>
            </c:spPr>
            <c:extLst>
              <c:ext xmlns:c16="http://schemas.microsoft.com/office/drawing/2014/chart" uri="{C3380CC4-5D6E-409C-BE32-E72D297353CC}">
                <c16:uniqueId val="{0000030B-F664-4A10-B503-FB15B85FB77A}"/>
              </c:ext>
            </c:extLst>
          </c:dPt>
          <c:dPt>
            <c:idx val="389"/>
            <c:invertIfNegative val="1"/>
            <c:bubble3D val="0"/>
            <c:spPr>
              <a:solidFill>
                <a:srgbClr val="AEABAB"/>
              </a:solidFill>
            </c:spPr>
            <c:extLst>
              <c:ext xmlns:c16="http://schemas.microsoft.com/office/drawing/2014/chart" uri="{C3380CC4-5D6E-409C-BE32-E72D297353CC}">
                <c16:uniqueId val="{0000030D-F664-4A10-B503-FB15B85FB77A}"/>
              </c:ext>
            </c:extLst>
          </c:dPt>
          <c:dPt>
            <c:idx val="390"/>
            <c:invertIfNegative val="1"/>
            <c:bubble3D val="0"/>
            <c:spPr>
              <a:solidFill>
                <a:srgbClr val="AEABAB"/>
              </a:solidFill>
            </c:spPr>
            <c:extLst>
              <c:ext xmlns:c16="http://schemas.microsoft.com/office/drawing/2014/chart" uri="{C3380CC4-5D6E-409C-BE32-E72D297353CC}">
                <c16:uniqueId val="{0000030F-F664-4A10-B503-FB15B85FB77A}"/>
              </c:ext>
            </c:extLst>
          </c:dPt>
          <c:dPt>
            <c:idx val="391"/>
            <c:invertIfNegative val="1"/>
            <c:bubble3D val="0"/>
            <c:spPr>
              <a:solidFill>
                <a:srgbClr val="AEABAB"/>
              </a:solidFill>
            </c:spPr>
            <c:extLst>
              <c:ext xmlns:c16="http://schemas.microsoft.com/office/drawing/2014/chart" uri="{C3380CC4-5D6E-409C-BE32-E72D297353CC}">
                <c16:uniqueId val="{00000311-F664-4A10-B503-FB15B85FB77A}"/>
              </c:ext>
            </c:extLst>
          </c:dPt>
          <c:dPt>
            <c:idx val="392"/>
            <c:invertIfNegative val="1"/>
            <c:bubble3D val="0"/>
            <c:spPr>
              <a:solidFill>
                <a:srgbClr val="AEABAB"/>
              </a:solidFill>
            </c:spPr>
            <c:extLst>
              <c:ext xmlns:c16="http://schemas.microsoft.com/office/drawing/2014/chart" uri="{C3380CC4-5D6E-409C-BE32-E72D297353CC}">
                <c16:uniqueId val="{00000313-F664-4A10-B503-FB15B85FB77A}"/>
              </c:ext>
            </c:extLst>
          </c:dPt>
          <c:dPt>
            <c:idx val="393"/>
            <c:invertIfNegative val="1"/>
            <c:bubble3D val="0"/>
            <c:spPr>
              <a:solidFill>
                <a:srgbClr val="AEABAB"/>
              </a:solidFill>
            </c:spPr>
            <c:extLst>
              <c:ext xmlns:c16="http://schemas.microsoft.com/office/drawing/2014/chart" uri="{C3380CC4-5D6E-409C-BE32-E72D297353CC}">
                <c16:uniqueId val="{00000315-F664-4A10-B503-FB15B85FB77A}"/>
              </c:ext>
            </c:extLst>
          </c:dPt>
          <c:dPt>
            <c:idx val="394"/>
            <c:invertIfNegative val="1"/>
            <c:bubble3D val="0"/>
            <c:spPr>
              <a:solidFill>
                <a:srgbClr val="AEABAB"/>
              </a:solidFill>
            </c:spPr>
            <c:extLst>
              <c:ext xmlns:c16="http://schemas.microsoft.com/office/drawing/2014/chart" uri="{C3380CC4-5D6E-409C-BE32-E72D297353CC}">
                <c16:uniqueId val="{00000317-F664-4A10-B503-FB15B85FB77A}"/>
              </c:ext>
            </c:extLst>
          </c:dPt>
          <c:dPt>
            <c:idx val="395"/>
            <c:invertIfNegative val="1"/>
            <c:bubble3D val="0"/>
            <c:spPr>
              <a:solidFill>
                <a:srgbClr val="AEABAB"/>
              </a:solidFill>
            </c:spPr>
            <c:extLst>
              <c:ext xmlns:c16="http://schemas.microsoft.com/office/drawing/2014/chart" uri="{C3380CC4-5D6E-409C-BE32-E72D297353CC}">
                <c16:uniqueId val="{00000319-F664-4A10-B503-FB15B85FB77A}"/>
              </c:ext>
            </c:extLst>
          </c:dPt>
          <c:dPt>
            <c:idx val="396"/>
            <c:invertIfNegative val="1"/>
            <c:bubble3D val="0"/>
            <c:spPr>
              <a:solidFill>
                <a:srgbClr val="AEABAB"/>
              </a:solidFill>
            </c:spPr>
            <c:extLst>
              <c:ext xmlns:c16="http://schemas.microsoft.com/office/drawing/2014/chart" uri="{C3380CC4-5D6E-409C-BE32-E72D297353CC}">
                <c16:uniqueId val="{0000031B-F664-4A10-B503-FB15B85FB77A}"/>
              </c:ext>
            </c:extLst>
          </c:dPt>
          <c:dPt>
            <c:idx val="397"/>
            <c:invertIfNegative val="1"/>
            <c:bubble3D val="0"/>
            <c:spPr>
              <a:solidFill>
                <a:srgbClr val="AEABAB"/>
              </a:solidFill>
            </c:spPr>
            <c:extLst>
              <c:ext xmlns:c16="http://schemas.microsoft.com/office/drawing/2014/chart" uri="{C3380CC4-5D6E-409C-BE32-E72D297353CC}">
                <c16:uniqueId val="{0000031D-F664-4A10-B503-FB15B85FB77A}"/>
              </c:ext>
            </c:extLst>
          </c:dPt>
          <c:dPt>
            <c:idx val="398"/>
            <c:invertIfNegative val="1"/>
            <c:bubble3D val="0"/>
            <c:spPr>
              <a:solidFill>
                <a:srgbClr val="AEABAB"/>
              </a:solidFill>
            </c:spPr>
            <c:extLst>
              <c:ext xmlns:c16="http://schemas.microsoft.com/office/drawing/2014/chart" uri="{C3380CC4-5D6E-409C-BE32-E72D297353CC}">
                <c16:uniqueId val="{0000031F-F664-4A10-B503-FB15B85FB77A}"/>
              </c:ext>
            </c:extLst>
          </c:dPt>
          <c:dPt>
            <c:idx val="399"/>
            <c:invertIfNegative val="1"/>
            <c:bubble3D val="0"/>
            <c:spPr>
              <a:solidFill>
                <a:srgbClr val="AEABAB"/>
              </a:solidFill>
            </c:spPr>
            <c:extLst>
              <c:ext xmlns:c16="http://schemas.microsoft.com/office/drawing/2014/chart" uri="{C3380CC4-5D6E-409C-BE32-E72D297353CC}">
                <c16:uniqueId val="{00000321-F664-4A10-B503-FB15B85FB77A}"/>
              </c:ext>
            </c:extLst>
          </c:dPt>
          <c:dPt>
            <c:idx val="400"/>
            <c:invertIfNegative val="1"/>
            <c:bubble3D val="0"/>
            <c:spPr>
              <a:solidFill>
                <a:srgbClr val="AEABAB"/>
              </a:solidFill>
            </c:spPr>
            <c:extLst>
              <c:ext xmlns:c16="http://schemas.microsoft.com/office/drawing/2014/chart" uri="{C3380CC4-5D6E-409C-BE32-E72D297353CC}">
                <c16:uniqueId val="{00000323-F664-4A10-B503-FB15B85FB77A}"/>
              </c:ext>
            </c:extLst>
          </c:dPt>
          <c:dPt>
            <c:idx val="401"/>
            <c:invertIfNegative val="1"/>
            <c:bubble3D val="0"/>
            <c:spPr>
              <a:solidFill>
                <a:srgbClr val="AEABAB"/>
              </a:solidFill>
            </c:spPr>
            <c:extLst>
              <c:ext xmlns:c16="http://schemas.microsoft.com/office/drawing/2014/chart" uri="{C3380CC4-5D6E-409C-BE32-E72D297353CC}">
                <c16:uniqueId val="{00000325-F664-4A10-B503-FB15B85FB77A}"/>
              </c:ext>
            </c:extLst>
          </c:dPt>
          <c:dPt>
            <c:idx val="402"/>
            <c:invertIfNegative val="1"/>
            <c:bubble3D val="0"/>
            <c:spPr>
              <a:solidFill>
                <a:srgbClr val="AEABAB"/>
              </a:solidFill>
            </c:spPr>
            <c:extLst>
              <c:ext xmlns:c16="http://schemas.microsoft.com/office/drawing/2014/chart" uri="{C3380CC4-5D6E-409C-BE32-E72D297353CC}">
                <c16:uniqueId val="{00000327-F664-4A10-B503-FB15B85FB77A}"/>
              </c:ext>
            </c:extLst>
          </c:dPt>
          <c:dPt>
            <c:idx val="403"/>
            <c:invertIfNegative val="1"/>
            <c:bubble3D val="0"/>
            <c:spPr>
              <a:solidFill>
                <a:srgbClr val="AEABAB"/>
              </a:solidFill>
            </c:spPr>
            <c:extLst>
              <c:ext xmlns:c16="http://schemas.microsoft.com/office/drawing/2014/chart" uri="{C3380CC4-5D6E-409C-BE32-E72D297353CC}">
                <c16:uniqueId val="{00000329-F664-4A10-B503-FB15B85FB77A}"/>
              </c:ext>
            </c:extLst>
          </c:dPt>
          <c:dPt>
            <c:idx val="404"/>
            <c:invertIfNegative val="1"/>
            <c:bubble3D val="0"/>
            <c:spPr>
              <a:solidFill>
                <a:srgbClr val="AEABAB"/>
              </a:solidFill>
            </c:spPr>
            <c:extLst>
              <c:ext xmlns:c16="http://schemas.microsoft.com/office/drawing/2014/chart" uri="{C3380CC4-5D6E-409C-BE32-E72D297353CC}">
                <c16:uniqueId val="{0000032B-F664-4A10-B503-FB15B85FB77A}"/>
              </c:ext>
            </c:extLst>
          </c:dPt>
          <c:dPt>
            <c:idx val="405"/>
            <c:invertIfNegative val="1"/>
            <c:bubble3D val="0"/>
            <c:spPr>
              <a:solidFill>
                <a:srgbClr val="AEABAB"/>
              </a:solidFill>
            </c:spPr>
            <c:extLst>
              <c:ext xmlns:c16="http://schemas.microsoft.com/office/drawing/2014/chart" uri="{C3380CC4-5D6E-409C-BE32-E72D297353CC}">
                <c16:uniqueId val="{0000032D-F664-4A10-B503-FB15B85FB77A}"/>
              </c:ext>
            </c:extLst>
          </c:dPt>
          <c:dPt>
            <c:idx val="406"/>
            <c:invertIfNegative val="1"/>
            <c:bubble3D val="0"/>
            <c:spPr>
              <a:solidFill>
                <a:srgbClr val="AEABAB"/>
              </a:solidFill>
            </c:spPr>
            <c:extLst>
              <c:ext xmlns:c16="http://schemas.microsoft.com/office/drawing/2014/chart" uri="{C3380CC4-5D6E-409C-BE32-E72D297353CC}">
                <c16:uniqueId val="{0000032F-F664-4A10-B503-FB15B85FB77A}"/>
              </c:ext>
            </c:extLst>
          </c:dPt>
          <c:dPt>
            <c:idx val="407"/>
            <c:invertIfNegative val="1"/>
            <c:bubble3D val="0"/>
            <c:spPr>
              <a:solidFill>
                <a:srgbClr val="AEABAB"/>
              </a:solidFill>
            </c:spPr>
            <c:extLst>
              <c:ext xmlns:c16="http://schemas.microsoft.com/office/drawing/2014/chart" uri="{C3380CC4-5D6E-409C-BE32-E72D297353CC}">
                <c16:uniqueId val="{00000331-F664-4A10-B503-FB15B85FB77A}"/>
              </c:ext>
            </c:extLst>
          </c:dPt>
          <c:dPt>
            <c:idx val="408"/>
            <c:invertIfNegative val="1"/>
            <c:bubble3D val="0"/>
            <c:spPr>
              <a:solidFill>
                <a:srgbClr val="AEABAB"/>
              </a:solidFill>
            </c:spPr>
            <c:extLst>
              <c:ext xmlns:c16="http://schemas.microsoft.com/office/drawing/2014/chart" uri="{C3380CC4-5D6E-409C-BE32-E72D297353CC}">
                <c16:uniqueId val="{00000333-F664-4A10-B503-FB15B85FB77A}"/>
              </c:ext>
            </c:extLst>
          </c:dPt>
          <c:dPt>
            <c:idx val="409"/>
            <c:invertIfNegative val="1"/>
            <c:bubble3D val="0"/>
            <c:spPr>
              <a:solidFill>
                <a:srgbClr val="AEABAB"/>
              </a:solidFill>
            </c:spPr>
            <c:extLst>
              <c:ext xmlns:c16="http://schemas.microsoft.com/office/drawing/2014/chart" uri="{C3380CC4-5D6E-409C-BE32-E72D297353CC}">
                <c16:uniqueId val="{00000335-F664-4A10-B503-FB15B85FB77A}"/>
              </c:ext>
            </c:extLst>
          </c:dPt>
          <c:dPt>
            <c:idx val="410"/>
            <c:invertIfNegative val="1"/>
            <c:bubble3D val="0"/>
            <c:spPr>
              <a:solidFill>
                <a:srgbClr val="AEABAB"/>
              </a:solidFill>
            </c:spPr>
            <c:extLst>
              <c:ext xmlns:c16="http://schemas.microsoft.com/office/drawing/2014/chart" uri="{C3380CC4-5D6E-409C-BE32-E72D297353CC}">
                <c16:uniqueId val="{00000337-F664-4A10-B503-FB15B85FB77A}"/>
              </c:ext>
            </c:extLst>
          </c:dPt>
          <c:dPt>
            <c:idx val="411"/>
            <c:invertIfNegative val="1"/>
            <c:bubble3D val="0"/>
            <c:spPr>
              <a:solidFill>
                <a:srgbClr val="AEABAB"/>
              </a:solidFill>
            </c:spPr>
            <c:extLst>
              <c:ext xmlns:c16="http://schemas.microsoft.com/office/drawing/2014/chart" uri="{C3380CC4-5D6E-409C-BE32-E72D297353CC}">
                <c16:uniqueId val="{00000339-F664-4A10-B503-FB15B85FB77A}"/>
              </c:ext>
            </c:extLst>
          </c:dPt>
          <c:dPt>
            <c:idx val="412"/>
            <c:invertIfNegative val="1"/>
            <c:bubble3D val="0"/>
            <c:spPr>
              <a:solidFill>
                <a:srgbClr val="AEABAB"/>
              </a:solidFill>
            </c:spPr>
            <c:extLst>
              <c:ext xmlns:c16="http://schemas.microsoft.com/office/drawing/2014/chart" uri="{C3380CC4-5D6E-409C-BE32-E72D297353CC}">
                <c16:uniqueId val="{0000033B-F664-4A10-B503-FB15B85FB77A}"/>
              </c:ext>
            </c:extLst>
          </c:dPt>
          <c:dPt>
            <c:idx val="413"/>
            <c:invertIfNegative val="1"/>
            <c:bubble3D val="0"/>
            <c:spPr>
              <a:solidFill>
                <a:srgbClr val="AEABAB"/>
              </a:solidFill>
            </c:spPr>
            <c:extLst>
              <c:ext xmlns:c16="http://schemas.microsoft.com/office/drawing/2014/chart" uri="{C3380CC4-5D6E-409C-BE32-E72D297353CC}">
                <c16:uniqueId val="{0000033D-F664-4A10-B503-FB15B85FB77A}"/>
              </c:ext>
            </c:extLst>
          </c:dPt>
          <c:dPt>
            <c:idx val="414"/>
            <c:invertIfNegative val="1"/>
            <c:bubble3D val="0"/>
            <c:spPr>
              <a:solidFill>
                <a:srgbClr val="AEABAB"/>
              </a:solidFill>
            </c:spPr>
            <c:extLst>
              <c:ext xmlns:c16="http://schemas.microsoft.com/office/drawing/2014/chart" uri="{C3380CC4-5D6E-409C-BE32-E72D297353CC}">
                <c16:uniqueId val="{0000033F-F664-4A10-B503-FB15B85FB77A}"/>
              </c:ext>
            </c:extLst>
          </c:dPt>
          <c:dPt>
            <c:idx val="415"/>
            <c:invertIfNegative val="1"/>
            <c:bubble3D val="0"/>
            <c:spPr>
              <a:solidFill>
                <a:srgbClr val="AEABAB"/>
              </a:solidFill>
            </c:spPr>
            <c:extLst>
              <c:ext xmlns:c16="http://schemas.microsoft.com/office/drawing/2014/chart" uri="{C3380CC4-5D6E-409C-BE32-E72D297353CC}">
                <c16:uniqueId val="{00000341-F664-4A10-B503-FB15B85FB77A}"/>
              </c:ext>
            </c:extLst>
          </c:dPt>
          <c:dPt>
            <c:idx val="416"/>
            <c:invertIfNegative val="1"/>
            <c:bubble3D val="0"/>
            <c:spPr>
              <a:solidFill>
                <a:srgbClr val="AEABAB"/>
              </a:solidFill>
            </c:spPr>
            <c:extLst>
              <c:ext xmlns:c16="http://schemas.microsoft.com/office/drawing/2014/chart" uri="{C3380CC4-5D6E-409C-BE32-E72D297353CC}">
                <c16:uniqueId val="{00000343-F664-4A10-B503-FB15B85FB77A}"/>
              </c:ext>
            </c:extLst>
          </c:dPt>
          <c:dPt>
            <c:idx val="417"/>
            <c:invertIfNegative val="1"/>
            <c:bubble3D val="0"/>
            <c:spPr>
              <a:solidFill>
                <a:srgbClr val="AEABAB"/>
              </a:solidFill>
            </c:spPr>
            <c:extLst>
              <c:ext xmlns:c16="http://schemas.microsoft.com/office/drawing/2014/chart" uri="{C3380CC4-5D6E-409C-BE32-E72D297353CC}">
                <c16:uniqueId val="{00000345-F664-4A10-B503-FB15B85FB77A}"/>
              </c:ext>
            </c:extLst>
          </c:dPt>
          <c:dPt>
            <c:idx val="418"/>
            <c:invertIfNegative val="1"/>
            <c:bubble3D val="0"/>
            <c:spPr>
              <a:solidFill>
                <a:srgbClr val="AEABAB"/>
              </a:solidFill>
            </c:spPr>
            <c:extLst>
              <c:ext xmlns:c16="http://schemas.microsoft.com/office/drawing/2014/chart" uri="{C3380CC4-5D6E-409C-BE32-E72D297353CC}">
                <c16:uniqueId val="{00000347-F664-4A10-B503-FB15B85FB77A}"/>
              </c:ext>
            </c:extLst>
          </c:dPt>
          <c:dPt>
            <c:idx val="419"/>
            <c:invertIfNegative val="1"/>
            <c:bubble3D val="0"/>
            <c:spPr>
              <a:solidFill>
                <a:srgbClr val="AEABAB"/>
              </a:solidFill>
            </c:spPr>
            <c:extLst>
              <c:ext xmlns:c16="http://schemas.microsoft.com/office/drawing/2014/chart" uri="{C3380CC4-5D6E-409C-BE32-E72D297353CC}">
                <c16:uniqueId val="{00000349-F664-4A10-B503-FB15B85FB77A}"/>
              </c:ext>
            </c:extLst>
          </c:dPt>
          <c:dPt>
            <c:idx val="420"/>
            <c:invertIfNegative val="1"/>
            <c:bubble3D val="0"/>
            <c:spPr>
              <a:solidFill>
                <a:srgbClr val="AEABAB"/>
              </a:solidFill>
            </c:spPr>
            <c:extLst>
              <c:ext xmlns:c16="http://schemas.microsoft.com/office/drawing/2014/chart" uri="{C3380CC4-5D6E-409C-BE32-E72D297353CC}">
                <c16:uniqueId val="{0000034B-F664-4A10-B503-FB15B85FB77A}"/>
              </c:ext>
            </c:extLst>
          </c:dPt>
          <c:dPt>
            <c:idx val="421"/>
            <c:invertIfNegative val="1"/>
            <c:bubble3D val="0"/>
            <c:spPr>
              <a:solidFill>
                <a:srgbClr val="AEABAB"/>
              </a:solidFill>
            </c:spPr>
            <c:extLst>
              <c:ext xmlns:c16="http://schemas.microsoft.com/office/drawing/2014/chart" uri="{C3380CC4-5D6E-409C-BE32-E72D297353CC}">
                <c16:uniqueId val="{0000034D-F664-4A10-B503-FB15B85FB77A}"/>
              </c:ext>
            </c:extLst>
          </c:dPt>
          <c:dPt>
            <c:idx val="422"/>
            <c:invertIfNegative val="1"/>
            <c:bubble3D val="0"/>
            <c:spPr>
              <a:solidFill>
                <a:srgbClr val="AEABAB"/>
              </a:solidFill>
            </c:spPr>
            <c:extLst>
              <c:ext xmlns:c16="http://schemas.microsoft.com/office/drawing/2014/chart" uri="{C3380CC4-5D6E-409C-BE32-E72D297353CC}">
                <c16:uniqueId val="{0000034F-F664-4A10-B503-FB15B85FB77A}"/>
              </c:ext>
            </c:extLst>
          </c:dPt>
          <c:dPt>
            <c:idx val="423"/>
            <c:invertIfNegative val="1"/>
            <c:bubble3D val="0"/>
            <c:spPr>
              <a:solidFill>
                <a:srgbClr val="AEABAB"/>
              </a:solidFill>
            </c:spPr>
            <c:extLst>
              <c:ext xmlns:c16="http://schemas.microsoft.com/office/drawing/2014/chart" uri="{C3380CC4-5D6E-409C-BE32-E72D297353CC}">
                <c16:uniqueId val="{00000351-F664-4A10-B503-FB15B85FB77A}"/>
              </c:ext>
            </c:extLst>
          </c:dPt>
          <c:dPt>
            <c:idx val="424"/>
            <c:invertIfNegative val="1"/>
            <c:bubble3D val="0"/>
            <c:spPr>
              <a:solidFill>
                <a:srgbClr val="AEABAB"/>
              </a:solidFill>
            </c:spPr>
            <c:extLst>
              <c:ext xmlns:c16="http://schemas.microsoft.com/office/drawing/2014/chart" uri="{C3380CC4-5D6E-409C-BE32-E72D297353CC}">
                <c16:uniqueId val="{00000353-F664-4A10-B503-FB15B85FB77A}"/>
              </c:ext>
            </c:extLst>
          </c:dPt>
          <c:dPt>
            <c:idx val="425"/>
            <c:invertIfNegative val="1"/>
            <c:bubble3D val="0"/>
            <c:spPr>
              <a:solidFill>
                <a:srgbClr val="AEABAB"/>
              </a:solidFill>
            </c:spPr>
            <c:extLst>
              <c:ext xmlns:c16="http://schemas.microsoft.com/office/drawing/2014/chart" uri="{C3380CC4-5D6E-409C-BE32-E72D297353CC}">
                <c16:uniqueId val="{00000355-F664-4A10-B503-FB15B85FB77A}"/>
              </c:ext>
            </c:extLst>
          </c:dPt>
          <c:dPt>
            <c:idx val="426"/>
            <c:invertIfNegative val="1"/>
            <c:bubble3D val="0"/>
            <c:spPr>
              <a:solidFill>
                <a:srgbClr val="AEABAB"/>
              </a:solidFill>
            </c:spPr>
            <c:extLst>
              <c:ext xmlns:c16="http://schemas.microsoft.com/office/drawing/2014/chart" uri="{C3380CC4-5D6E-409C-BE32-E72D297353CC}">
                <c16:uniqueId val="{00000357-F664-4A10-B503-FB15B85FB77A}"/>
              </c:ext>
            </c:extLst>
          </c:dPt>
          <c:dPt>
            <c:idx val="427"/>
            <c:invertIfNegative val="1"/>
            <c:bubble3D val="0"/>
            <c:spPr>
              <a:solidFill>
                <a:srgbClr val="AEABAB"/>
              </a:solidFill>
            </c:spPr>
            <c:extLst>
              <c:ext xmlns:c16="http://schemas.microsoft.com/office/drawing/2014/chart" uri="{C3380CC4-5D6E-409C-BE32-E72D297353CC}">
                <c16:uniqueId val="{00000359-F664-4A10-B503-FB15B85FB77A}"/>
              </c:ext>
            </c:extLst>
          </c:dPt>
          <c:dPt>
            <c:idx val="428"/>
            <c:invertIfNegative val="1"/>
            <c:bubble3D val="0"/>
            <c:spPr>
              <a:solidFill>
                <a:srgbClr val="AEABAB"/>
              </a:solidFill>
            </c:spPr>
            <c:extLst>
              <c:ext xmlns:c16="http://schemas.microsoft.com/office/drawing/2014/chart" uri="{C3380CC4-5D6E-409C-BE32-E72D297353CC}">
                <c16:uniqueId val="{0000035B-F664-4A10-B503-FB15B85FB77A}"/>
              </c:ext>
            </c:extLst>
          </c:dPt>
          <c:dPt>
            <c:idx val="429"/>
            <c:invertIfNegative val="1"/>
            <c:bubble3D val="0"/>
            <c:spPr>
              <a:solidFill>
                <a:srgbClr val="AEABAB"/>
              </a:solidFill>
            </c:spPr>
            <c:extLst>
              <c:ext xmlns:c16="http://schemas.microsoft.com/office/drawing/2014/chart" uri="{C3380CC4-5D6E-409C-BE32-E72D297353CC}">
                <c16:uniqueId val="{0000035D-F664-4A10-B503-FB15B85FB77A}"/>
              </c:ext>
            </c:extLst>
          </c:dPt>
          <c:dPt>
            <c:idx val="430"/>
            <c:invertIfNegative val="1"/>
            <c:bubble3D val="0"/>
            <c:spPr>
              <a:solidFill>
                <a:srgbClr val="AEABAB"/>
              </a:solidFill>
            </c:spPr>
            <c:extLst>
              <c:ext xmlns:c16="http://schemas.microsoft.com/office/drawing/2014/chart" uri="{C3380CC4-5D6E-409C-BE32-E72D297353CC}">
                <c16:uniqueId val="{0000035F-F664-4A10-B503-FB15B85FB77A}"/>
              </c:ext>
            </c:extLst>
          </c:dPt>
          <c:dPt>
            <c:idx val="431"/>
            <c:invertIfNegative val="1"/>
            <c:bubble3D val="0"/>
            <c:spPr>
              <a:solidFill>
                <a:srgbClr val="AEABAB"/>
              </a:solidFill>
            </c:spPr>
            <c:extLst>
              <c:ext xmlns:c16="http://schemas.microsoft.com/office/drawing/2014/chart" uri="{C3380CC4-5D6E-409C-BE32-E72D297353CC}">
                <c16:uniqueId val="{00000361-F664-4A10-B503-FB15B85FB77A}"/>
              </c:ext>
            </c:extLst>
          </c:dPt>
          <c:dPt>
            <c:idx val="432"/>
            <c:invertIfNegative val="1"/>
            <c:bubble3D val="0"/>
            <c:spPr>
              <a:solidFill>
                <a:srgbClr val="AEABAB"/>
              </a:solidFill>
            </c:spPr>
            <c:extLst>
              <c:ext xmlns:c16="http://schemas.microsoft.com/office/drawing/2014/chart" uri="{C3380CC4-5D6E-409C-BE32-E72D297353CC}">
                <c16:uniqueId val="{00000363-F664-4A10-B503-FB15B85FB77A}"/>
              </c:ext>
            </c:extLst>
          </c:dPt>
          <c:dPt>
            <c:idx val="433"/>
            <c:invertIfNegative val="1"/>
            <c:bubble3D val="0"/>
            <c:spPr>
              <a:solidFill>
                <a:srgbClr val="AEABAB"/>
              </a:solidFill>
            </c:spPr>
            <c:extLst>
              <c:ext xmlns:c16="http://schemas.microsoft.com/office/drawing/2014/chart" uri="{C3380CC4-5D6E-409C-BE32-E72D297353CC}">
                <c16:uniqueId val="{00000365-F664-4A10-B503-FB15B85FB77A}"/>
              </c:ext>
            </c:extLst>
          </c:dPt>
          <c:dPt>
            <c:idx val="434"/>
            <c:invertIfNegative val="1"/>
            <c:bubble3D val="0"/>
            <c:spPr>
              <a:solidFill>
                <a:srgbClr val="AEABAB"/>
              </a:solidFill>
            </c:spPr>
            <c:extLst>
              <c:ext xmlns:c16="http://schemas.microsoft.com/office/drawing/2014/chart" uri="{C3380CC4-5D6E-409C-BE32-E72D297353CC}">
                <c16:uniqueId val="{00000367-F664-4A10-B503-FB15B85FB77A}"/>
              </c:ext>
            </c:extLst>
          </c:dPt>
          <c:dPt>
            <c:idx val="435"/>
            <c:invertIfNegative val="1"/>
            <c:bubble3D val="0"/>
            <c:spPr>
              <a:solidFill>
                <a:srgbClr val="AEABAB"/>
              </a:solidFill>
            </c:spPr>
            <c:extLst>
              <c:ext xmlns:c16="http://schemas.microsoft.com/office/drawing/2014/chart" uri="{C3380CC4-5D6E-409C-BE32-E72D297353CC}">
                <c16:uniqueId val="{00000369-F664-4A10-B503-FB15B85FB77A}"/>
              </c:ext>
            </c:extLst>
          </c:dPt>
          <c:dPt>
            <c:idx val="436"/>
            <c:invertIfNegative val="1"/>
            <c:bubble3D val="0"/>
            <c:spPr>
              <a:solidFill>
                <a:srgbClr val="AEABAB"/>
              </a:solidFill>
            </c:spPr>
            <c:extLst>
              <c:ext xmlns:c16="http://schemas.microsoft.com/office/drawing/2014/chart" uri="{C3380CC4-5D6E-409C-BE32-E72D297353CC}">
                <c16:uniqueId val="{0000036B-F664-4A10-B503-FB15B85FB77A}"/>
              </c:ext>
            </c:extLst>
          </c:dPt>
          <c:dPt>
            <c:idx val="437"/>
            <c:invertIfNegative val="1"/>
            <c:bubble3D val="0"/>
            <c:spPr>
              <a:solidFill>
                <a:srgbClr val="AEABAB"/>
              </a:solidFill>
            </c:spPr>
            <c:extLst>
              <c:ext xmlns:c16="http://schemas.microsoft.com/office/drawing/2014/chart" uri="{C3380CC4-5D6E-409C-BE32-E72D297353CC}">
                <c16:uniqueId val="{0000036D-F664-4A10-B503-FB15B85FB77A}"/>
              </c:ext>
            </c:extLst>
          </c:dPt>
          <c:dPt>
            <c:idx val="438"/>
            <c:invertIfNegative val="1"/>
            <c:bubble3D val="0"/>
            <c:spPr>
              <a:solidFill>
                <a:srgbClr val="AEABAB"/>
              </a:solidFill>
            </c:spPr>
            <c:extLst>
              <c:ext xmlns:c16="http://schemas.microsoft.com/office/drawing/2014/chart" uri="{C3380CC4-5D6E-409C-BE32-E72D297353CC}">
                <c16:uniqueId val="{0000036F-F664-4A10-B503-FB15B85FB77A}"/>
              </c:ext>
            </c:extLst>
          </c:dPt>
          <c:dPt>
            <c:idx val="439"/>
            <c:invertIfNegative val="1"/>
            <c:bubble3D val="0"/>
            <c:spPr>
              <a:solidFill>
                <a:srgbClr val="AEABAB"/>
              </a:solidFill>
            </c:spPr>
            <c:extLst>
              <c:ext xmlns:c16="http://schemas.microsoft.com/office/drawing/2014/chart" uri="{C3380CC4-5D6E-409C-BE32-E72D297353CC}">
                <c16:uniqueId val="{00000371-F664-4A10-B503-FB15B85FB77A}"/>
              </c:ext>
            </c:extLst>
          </c:dPt>
          <c:dPt>
            <c:idx val="440"/>
            <c:invertIfNegative val="1"/>
            <c:bubble3D val="0"/>
            <c:spPr>
              <a:solidFill>
                <a:srgbClr val="AEABAB"/>
              </a:solidFill>
            </c:spPr>
            <c:extLst>
              <c:ext xmlns:c16="http://schemas.microsoft.com/office/drawing/2014/chart" uri="{C3380CC4-5D6E-409C-BE32-E72D297353CC}">
                <c16:uniqueId val="{00000373-F664-4A10-B503-FB15B85FB77A}"/>
              </c:ext>
            </c:extLst>
          </c:dPt>
          <c:dPt>
            <c:idx val="441"/>
            <c:invertIfNegative val="1"/>
            <c:bubble3D val="0"/>
            <c:spPr>
              <a:solidFill>
                <a:srgbClr val="AEABAB"/>
              </a:solidFill>
            </c:spPr>
            <c:extLst>
              <c:ext xmlns:c16="http://schemas.microsoft.com/office/drawing/2014/chart" uri="{C3380CC4-5D6E-409C-BE32-E72D297353CC}">
                <c16:uniqueId val="{00000375-F664-4A10-B503-FB15B85FB77A}"/>
              </c:ext>
            </c:extLst>
          </c:dPt>
          <c:dPt>
            <c:idx val="442"/>
            <c:invertIfNegative val="1"/>
            <c:bubble3D val="0"/>
            <c:spPr>
              <a:solidFill>
                <a:srgbClr val="AEABAB"/>
              </a:solidFill>
            </c:spPr>
            <c:extLst>
              <c:ext xmlns:c16="http://schemas.microsoft.com/office/drawing/2014/chart" uri="{C3380CC4-5D6E-409C-BE32-E72D297353CC}">
                <c16:uniqueId val="{00000377-F664-4A10-B503-FB15B85FB77A}"/>
              </c:ext>
            </c:extLst>
          </c:dPt>
          <c:dPt>
            <c:idx val="443"/>
            <c:invertIfNegative val="1"/>
            <c:bubble3D val="0"/>
            <c:spPr>
              <a:solidFill>
                <a:srgbClr val="AEABAB"/>
              </a:solidFill>
            </c:spPr>
            <c:extLst>
              <c:ext xmlns:c16="http://schemas.microsoft.com/office/drawing/2014/chart" uri="{C3380CC4-5D6E-409C-BE32-E72D297353CC}">
                <c16:uniqueId val="{00000379-F664-4A10-B503-FB15B85FB77A}"/>
              </c:ext>
            </c:extLst>
          </c:dPt>
          <c:dPt>
            <c:idx val="444"/>
            <c:invertIfNegative val="1"/>
            <c:bubble3D val="0"/>
            <c:spPr>
              <a:solidFill>
                <a:srgbClr val="AEABAB"/>
              </a:solidFill>
            </c:spPr>
            <c:extLst>
              <c:ext xmlns:c16="http://schemas.microsoft.com/office/drawing/2014/chart" uri="{C3380CC4-5D6E-409C-BE32-E72D297353CC}">
                <c16:uniqueId val="{0000037B-F664-4A10-B503-FB15B85FB77A}"/>
              </c:ext>
            </c:extLst>
          </c:dPt>
          <c:cat>
            <c:strRef>
              <c:f>Sheet1!$A$2:$A$446</c:f>
              <c:strCache>
                <c:ptCount val="445"/>
                <c:pt idx="0">
                  <c:v>Ruinart</c:v>
                </c:pt>
                <c:pt idx="1">
                  <c:v>Ruinart</c:v>
                </c:pt>
                <c:pt idx="2">
                  <c:v>Nicolas</c:v>
                </c:pt>
                <c:pt idx="3">
                  <c:v>Deutz</c:v>
                </c:pt>
                <c:pt idx="4">
                  <c:v>Laurent Per</c:v>
                </c:pt>
                <c:pt idx="5">
                  <c:v>Heidsieck &amp;</c:v>
                </c:pt>
                <c:pt idx="6">
                  <c:v>Malard</c:v>
                </c:pt>
                <c:pt idx="7">
                  <c:v>Ayala</c:v>
                </c:pt>
                <c:pt idx="8">
                  <c:v>Ruinart</c:v>
                </c:pt>
                <c:pt idx="9">
                  <c:v>Nicolas Feu</c:v>
                </c:pt>
                <c:pt idx="10">
                  <c:v>Taittinger</c:v>
                </c:pt>
                <c:pt idx="11">
                  <c:v>Bollinger</c:v>
                </c:pt>
                <c:pt idx="12">
                  <c:v>Ruinart</c:v>
                </c:pt>
                <c:pt idx="13">
                  <c:v>De Bligny</c:v>
                </c:pt>
                <c:pt idx="14">
                  <c:v>Canard Duch</c:v>
                </c:pt>
                <c:pt idx="15">
                  <c:v>Perrier Jou</c:v>
                </c:pt>
                <c:pt idx="16">
                  <c:v>Ruinart</c:v>
                </c:pt>
                <c:pt idx="17">
                  <c:v>Besserat De</c:v>
                </c:pt>
                <c:pt idx="18">
                  <c:v>Deutz</c:v>
                </c:pt>
                <c:pt idx="19">
                  <c:v>Dom Perigno</c:v>
                </c:pt>
                <c:pt idx="20">
                  <c:v>Ruinart</c:v>
                </c:pt>
                <c:pt idx="21">
                  <c:v>Roederer</c:v>
                </c:pt>
                <c:pt idx="22">
                  <c:v>Demoiselle</c:v>
                </c:pt>
                <c:pt idx="23">
                  <c:v>Dom Perigno</c:v>
                </c:pt>
                <c:pt idx="24">
                  <c:v>All Others</c:v>
                </c:pt>
                <c:pt idx="25">
                  <c:v>Laurent Per</c:v>
                </c:pt>
                <c:pt idx="26">
                  <c:v>All Others</c:v>
                </c:pt>
                <c:pt idx="27">
                  <c:v>Ruinart</c:v>
                </c:pt>
                <c:pt idx="28">
                  <c:v>Campari: Al</c:v>
                </c:pt>
                <c:pt idx="29">
                  <c:v>Bottega</c:v>
                </c:pt>
                <c:pt idx="30">
                  <c:v>Deutz</c:v>
                </c:pt>
                <c:pt idx="31">
                  <c:v>Veuve Clicq</c:v>
                </c:pt>
                <c:pt idx="32">
                  <c:v>Pommery</c:v>
                </c:pt>
                <c:pt idx="33">
                  <c:v>All Others</c:v>
                </c:pt>
                <c:pt idx="34">
                  <c:v>Laurent Per</c:v>
                </c:pt>
                <c:pt idx="35">
                  <c:v>Moët &amp; Chan</c:v>
                </c:pt>
                <c:pt idx="36">
                  <c:v>Vesselle</c:v>
                </c:pt>
                <c:pt idx="37">
                  <c:v>Veuve Clicq</c:v>
                </c:pt>
                <c:pt idx="38">
                  <c:v>Ruinart</c:v>
                </c:pt>
                <c:pt idx="39">
                  <c:v>Taittinger</c:v>
                </c:pt>
                <c:pt idx="40">
                  <c:v>Savian</c:v>
                </c:pt>
                <c:pt idx="41">
                  <c:v>Demoiselle</c:v>
                </c:pt>
                <c:pt idx="42">
                  <c:v>Malard</c:v>
                </c:pt>
                <c:pt idx="43">
                  <c:v>Ruinart</c:v>
                </c:pt>
                <c:pt idx="44">
                  <c:v>Nicolas</c:v>
                </c:pt>
                <c:pt idx="45">
                  <c:v>De Chanceny</c:v>
                </c:pt>
                <c:pt idx="46">
                  <c:v>Roederer</c:v>
                </c:pt>
                <c:pt idx="47">
                  <c:v>Veuve Clicq</c:v>
                </c:pt>
                <c:pt idx="48">
                  <c:v>Savian</c:v>
                </c:pt>
                <c:pt idx="49">
                  <c:v>Dom Perigno</c:v>
                </c:pt>
                <c:pt idx="50">
                  <c:v>Louis Marti</c:v>
                </c:pt>
                <c:pt idx="51">
                  <c:v>Henriot</c:v>
                </c:pt>
                <c:pt idx="52">
                  <c:v>Patriarche</c:v>
                </c:pt>
                <c:pt idx="53">
                  <c:v>Ruinart</c:v>
                </c:pt>
                <c:pt idx="54">
                  <c:v>Roederer</c:v>
                </c:pt>
                <c:pt idx="55">
                  <c:v>Moët &amp; Chan</c:v>
                </c:pt>
                <c:pt idx="56">
                  <c:v>Malard</c:v>
                </c:pt>
                <c:pt idx="57">
                  <c:v>Roederer</c:v>
                </c:pt>
                <c:pt idx="58">
                  <c:v>All Others</c:v>
                </c:pt>
                <c:pt idx="59">
                  <c:v>Nicolas Feu</c:v>
                </c:pt>
                <c:pt idx="60">
                  <c:v>Mure</c:v>
                </c:pt>
                <c:pt idx="61">
                  <c:v>Krug</c:v>
                </c:pt>
                <c:pt idx="62">
                  <c:v>Nicolas Feu</c:v>
                </c:pt>
                <c:pt idx="63">
                  <c:v>Deutz</c:v>
                </c:pt>
                <c:pt idx="64">
                  <c:v>Besserat De</c:v>
                </c:pt>
                <c:pt idx="65">
                  <c:v>Nicolas</c:v>
                </c:pt>
                <c:pt idx="66">
                  <c:v>Piper Heids</c:v>
                </c:pt>
                <c:pt idx="67">
                  <c:v>Campari: Al</c:v>
                </c:pt>
                <c:pt idx="68">
                  <c:v>Nicolas</c:v>
                </c:pt>
                <c:pt idx="69">
                  <c:v>Moët &amp; Chan</c:v>
                </c:pt>
                <c:pt idx="70">
                  <c:v>Dom Perigno</c:v>
                </c:pt>
                <c:pt idx="71">
                  <c:v>French Bloo</c:v>
                </c:pt>
                <c:pt idx="72">
                  <c:v>Bollinger</c:v>
                </c:pt>
                <c:pt idx="73">
                  <c:v>Perrier Jou</c:v>
                </c:pt>
                <c:pt idx="74">
                  <c:v>De Venoge</c:v>
                </c:pt>
                <c:pt idx="75">
                  <c:v>Laurent Per</c:v>
                </c:pt>
                <c:pt idx="76">
                  <c:v>Lanson</c:v>
                </c:pt>
                <c:pt idx="77">
                  <c:v>Bouvet-Ladu</c:v>
                </c:pt>
                <c:pt idx="78">
                  <c:v>Lyre's</c:v>
                </c:pt>
                <c:pt idx="79">
                  <c:v>Delamotte</c:v>
                </c:pt>
                <c:pt idx="80">
                  <c:v>Nicolas Feu</c:v>
                </c:pt>
                <c:pt idx="81">
                  <c:v>Besserat De</c:v>
                </c:pt>
                <c:pt idx="82">
                  <c:v>Malard</c:v>
                </c:pt>
                <c:pt idx="83">
                  <c:v>Canard Duch</c:v>
                </c:pt>
                <c:pt idx="84">
                  <c:v>Pommery</c:v>
                </c:pt>
                <c:pt idx="85">
                  <c:v>Henriot</c:v>
                </c:pt>
                <c:pt idx="86">
                  <c:v>Malard</c:v>
                </c:pt>
                <c:pt idx="87">
                  <c:v>Ruinart</c:v>
                </c:pt>
                <c:pt idx="88">
                  <c:v>Roederer</c:v>
                </c:pt>
                <c:pt idx="89">
                  <c:v>Roederer</c:v>
                </c:pt>
                <c:pt idx="90">
                  <c:v>Roederer</c:v>
                </c:pt>
                <c:pt idx="91">
                  <c:v>Ayala</c:v>
                </c:pt>
                <c:pt idx="92">
                  <c:v>Bollinger</c:v>
                </c:pt>
                <c:pt idx="93">
                  <c:v>Roederer</c:v>
                </c:pt>
                <c:pt idx="94">
                  <c:v>Ruinart</c:v>
                </c:pt>
                <c:pt idx="95">
                  <c:v>All Others</c:v>
                </c:pt>
                <c:pt idx="96">
                  <c:v>De Chanceny</c:v>
                </c:pt>
                <c:pt idx="97">
                  <c:v>Roederer</c:v>
                </c:pt>
                <c:pt idx="98">
                  <c:v>Henriot</c:v>
                </c:pt>
                <c:pt idx="99">
                  <c:v>De Bligny</c:v>
                </c:pt>
                <c:pt idx="100">
                  <c:v>Patriarche</c:v>
                </c:pt>
                <c:pt idx="101">
                  <c:v>All Others</c:v>
                </c:pt>
                <c:pt idx="102">
                  <c:v>Vranken</c:v>
                </c:pt>
                <c:pt idx="103">
                  <c:v>Ruinart</c:v>
                </c:pt>
                <c:pt idx="104">
                  <c:v>Henriot</c:v>
                </c:pt>
                <c:pt idx="105">
                  <c:v>Deutz</c:v>
                </c:pt>
                <c:pt idx="106">
                  <c:v>Bottega</c:v>
                </c:pt>
                <c:pt idx="107">
                  <c:v>Perrier Jou</c:v>
                </c:pt>
                <c:pt idx="108">
                  <c:v>Veuve Clicq</c:v>
                </c:pt>
                <c:pt idx="109">
                  <c:v>Ruinart</c:v>
                </c:pt>
                <c:pt idx="110">
                  <c:v>Ruinart</c:v>
                </c:pt>
                <c:pt idx="111">
                  <c:v>Deutz</c:v>
                </c:pt>
                <c:pt idx="112">
                  <c:v>Roederer</c:v>
                </c:pt>
                <c:pt idx="113">
                  <c:v>Nicolas</c:v>
                </c:pt>
                <c:pt idx="114">
                  <c:v>Laurent Per</c:v>
                </c:pt>
                <c:pt idx="115">
                  <c:v>Canard Duch</c:v>
                </c:pt>
                <c:pt idx="116">
                  <c:v>De Venoge</c:v>
                </c:pt>
                <c:pt idx="117">
                  <c:v>De Venoge</c:v>
                </c:pt>
                <c:pt idx="118">
                  <c:v>Laurent Per</c:v>
                </c:pt>
                <c:pt idx="119">
                  <c:v>Malard</c:v>
                </c:pt>
                <c:pt idx="120">
                  <c:v>Laurent Per</c:v>
                </c:pt>
                <c:pt idx="121">
                  <c:v>Taittinger</c:v>
                </c:pt>
                <c:pt idx="122">
                  <c:v>All Others</c:v>
                </c:pt>
                <c:pt idx="123">
                  <c:v>Laurent Per</c:v>
                </c:pt>
                <c:pt idx="124">
                  <c:v>Nicolas</c:v>
                </c:pt>
                <c:pt idx="125">
                  <c:v>Bollinger</c:v>
                </c:pt>
                <c:pt idx="126">
                  <c:v>Canard Duch</c:v>
                </c:pt>
                <c:pt idx="127">
                  <c:v>Nicolas Feu</c:v>
                </c:pt>
                <c:pt idx="128">
                  <c:v>All Others</c:v>
                </c:pt>
                <c:pt idx="129">
                  <c:v>De Venoge</c:v>
                </c:pt>
                <c:pt idx="130">
                  <c:v>Roederer</c:v>
                </c:pt>
                <c:pt idx="131">
                  <c:v>Moët &amp; Chan</c:v>
                </c:pt>
                <c:pt idx="132">
                  <c:v>Roederer</c:v>
                </c:pt>
                <c:pt idx="133">
                  <c:v>Taittinger</c:v>
                </c:pt>
                <c:pt idx="134">
                  <c:v>Roederer</c:v>
                </c:pt>
                <c:pt idx="135">
                  <c:v>Perrier Jou</c:v>
                </c:pt>
                <c:pt idx="136">
                  <c:v>Vranken</c:v>
                </c:pt>
                <c:pt idx="137">
                  <c:v>Ruinart</c:v>
                </c:pt>
                <c:pt idx="138">
                  <c:v>Nicolas</c:v>
                </c:pt>
                <c:pt idx="139">
                  <c:v>Kriter</c:v>
                </c:pt>
                <c:pt idx="140">
                  <c:v>Nicolas</c:v>
                </c:pt>
                <c:pt idx="141">
                  <c:v>Ruinart</c:v>
                </c:pt>
                <c:pt idx="142">
                  <c:v>Nicolas</c:v>
                </c:pt>
                <c:pt idx="143">
                  <c:v>All Others</c:v>
                </c:pt>
                <c:pt idx="144">
                  <c:v>Ruinart</c:v>
                </c:pt>
                <c:pt idx="145">
                  <c:v>Contarini</c:v>
                </c:pt>
                <c:pt idx="146">
                  <c:v>Nicolas</c:v>
                </c:pt>
                <c:pt idx="147">
                  <c:v>Cru La Maqu</c:v>
                </c:pt>
                <c:pt idx="148">
                  <c:v>Nicolas</c:v>
                </c:pt>
                <c:pt idx="149">
                  <c:v>Demoiselle</c:v>
                </c:pt>
                <c:pt idx="150">
                  <c:v>Laurent Per</c:v>
                </c:pt>
                <c:pt idx="151">
                  <c:v>All Others</c:v>
                </c:pt>
                <c:pt idx="152">
                  <c:v>Ruinart</c:v>
                </c:pt>
                <c:pt idx="153">
                  <c:v>Pommery</c:v>
                </c:pt>
                <c:pt idx="154">
                  <c:v>Veuve Clicq</c:v>
                </c:pt>
                <c:pt idx="155">
                  <c:v>All Others</c:v>
                </c:pt>
                <c:pt idx="156">
                  <c:v>Lanson</c:v>
                </c:pt>
                <c:pt idx="157">
                  <c:v>Veuve Clicq</c:v>
                </c:pt>
                <c:pt idx="158">
                  <c:v>Besserat De</c:v>
                </c:pt>
                <c:pt idx="159">
                  <c:v>Moët &amp; Chan</c:v>
                </c:pt>
                <c:pt idx="160">
                  <c:v>Moët &amp; Chan</c:v>
                </c:pt>
                <c:pt idx="161">
                  <c:v>Dom Perigno</c:v>
                </c:pt>
                <c:pt idx="162">
                  <c:v>Canard Duch</c:v>
                </c:pt>
                <c:pt idx="163">
                  <c:v>Pommery</c:v>
                </c:pt>
                <c:pt idx="164">
                  <c:v>All Others</c:v>
                </c:pt>
                <c:pt idx="165">
                  <c:v>Nicolas</c:v>
                </c:pt>
                <c:pt idx="166">
                  <c:v>Veuve Clicq</c:v>
                </c:pt>
                <c:pt idx="167">
                  <c:v>All Others</c:v>
                </c:pt>
                <c:pt idx="168">
                  <c:v>Laurent Per</c:v>
                </c:pt>
                <c:pt idx="169">
                  <c:v>Pommery</c:v>
                </c:pt>
                <c:pt idx="170">
                  <c:v>All Others</c:v>
                </c:pt>
                <c:pt idx="171">
                  <c:v>Pommery</c:v>
                </c:pt>
                <c:pt idx="172">
                  <c:v>All Others</c:v>
                </c:pt>
                <c:pt idx="173">
                  <c:v>Vesselle</c:v>
                </c:pt>
                <c:pt idx="174">
                  <c:v>All Others</c:v>
                </c:pt>
                <c:pt idx="175">
                  <c:v>Deutz</c:v>
                </c:pt>
                <c:pt idx="176">
                  <c:v>Lanson-Bcc:</c:v>
                </c:pt>
                <c:pt idx="177">
                  <c:v>Nicolas</c:v>
                </c:pt>
                <c:pt idx="178">
                  <c:v>All Others</c:v>
                </c:pt>
                <c:pt idx="179">
                  <c:v>Moët &amp; Chan</c:v>
                </c:pt>
                <c:pt idx="180">
                  <c:v>Canard Duch</c:v>
                </c:pt>
                <c:pt idx="181">
                  <c:v>All Others</c:v>
                </c:pt>
                <c:pt idx="182">
                  <c:v>Deutz</c:v>
                </c:pt>
                <c:pt idx="183">
                  <c:v>Laurent Per</c:v>
                </c:pt>
                <c:pt idx="184">
                  <c:v>Delamotte</c:v>
                </c:pt>
                <c:pt idx="185">
                  <c:v>Piper Heids</c:v>
                </c:pt>
                <c:pt idx="186">
                  <c:v>All Others</c:v>
                </c:pt>
                <c:pt idx="187">
                  <c:v>Roederer</c:v>
                </c:pt>
                <c:pt idx="188">
                  <c:v>Dom Perigno</c:v>
                </c:pt>
                <c:pt idx="189">
                  <c:v>Pommery</c:v>
                </c:pt>
                <c:pt idx="190">
                  <c:v>All Others</c:v>
                </c:pt>
                <c:pt idx="191">
                  <c:v>Bollinger</c:v>
                </c:pt>
                <c:pt idx="192">
                  <c:v>Deutz</c:v>
                </c:pt>
                <c:pt idx="193">
                  <c:v>Nicolas</c:v>
                </c:pt>
                <c:pt idx="194">
                  <c:v>Contarini</c:v>
                </c:pt>
                <c:pt idx="195">
                  <c:v>All Others</c:v>
                </c:pt>
                <c:pt idx="196">
                  <c:v>All Others</c:v>
                </c:pt>
                <c:pt idx="197">
                  <c:v>Canard Duch</c:v>
                </c:pt>
                <c:pt idx="198">
                  <c:v>Vilaveroni</c:v>
                </c:pt>
                <c:pt idx="199">
                  <c:v>All Others</c:v>
                </c:pt>
                <c:pt idx="200">
                  <c:v>Bollinger</c:v>
                </c:pt>
                <c:pt idx="201">
                  <c:v>All Others</c:v>
                </c:pt>
                <c:pt idx="202">
                  <c:v>Perrier Jou</c:v>
                </c:pt>
                <c:pt idx="203">
                  <c:v>Nicolas</c:v>
                </c:pt>
                <c:pt idx="204">
                  <c:v>Deutz</c:v>
                </c:pt>
                <c:pt idx="205">
                  <c:v>All Others</c:v>
                </c:pt>
                <c:pt idx="206">
                  <c:v>Ruinart</c:v>
                </c:pt>
                <c:pt idx="207">
                  <c:v>Ruinart</c:v>
                </c:pt>
                <c:pt idx="208">
                  <c:v>Louis Marti</c:v>
                </c:pt>
                <c:pt idx="209">
                  <c:v>Demoiselle</c:v>
                </c:pt>
                <c:pt idx="210">
                  <c:v>Krug</c:v>
                </c:pt>
                <c:pt idx="211">
                  <c:v>Nicolas</c:v>
                </c:pt>
                <c:pt idx="212">
                  <c:v>All Others</c:v>
                </c:pt>
                <c:pt idx="213">
                  <c:v>All Others</c:v>
                </c:pt>
                <c:pt idx="214">
                  <c:v>Nicolas</c:v>
                </c:pt>
                <c:pt idx="215">
                  <c:v>All Others</c:v>
                </c:pt>
                <c:pt idx="216">
                  <c:v>All Others</c:v>
                </c:pt>
                <c:pt idx="217">
                  <c:v>All Others</c:v>
                </c:pt>
                <c:pt idx="218">
                  <c:v>All Others</c:v>
                </c:pt>
                <c:pt idx="219">
                  <c:v>Roederer</c:v>
                </c:pt>
                <c:pt idx="220">
                  <c:v>Lanson</c:v>
                </c:pt>
                <c:pt idx="221">
                  <c:v>Laurent Per</c:v>
                </c:pt>
                <c:pt idx="222">
                  <c:v>De Venoge</c:v>
                </c:pt>
                <c:pt idx="223">
                  <c:v>Pommery</c:v>
                </c:pt>
                <c:pt idx="224">
                  <c:v>Krug</c:v>
                </c:pt>
                <c:pt idx="225">
                  <c:v>Roederer</c:v>
                </c:pt>
                <c:pt idx="226">
                  <c:v>Taittinger</c:v>
                </c:pt>
                <c:pt idx="227">
                  <c:v>Canard Duch</c:v>
                </c:pt>
                <c:pt idx="228">
                  <c:v>Ayala</c:v>
                </c:pt>
                <c:pt idx="229">
                  <c:v>Vranken</c:v>
                </c:pt>
                <c:pt idx="230">
                  <c:v>Deutz</c:v>
                </c:pt>
                <c:pt idx="231">
                  <c:v>Veuve Clicq</c:v>
                </c:pt>
                <c:pt idx="232">
                  <c:v>All Others</c:v>
                </c:pt>
                <c:pt idx="233">
                  <c:v>All Others</c:v>
                </c:pt>
                <c:pt idx="234">
                  <c:v>Moët &amp; Chan</c:v>
                </c:pt>
                <c:pt idx="235">
                  <c:v>All Others</c:v>
                </c:pt>
                <c:pt idx="236">
                  <c:v>Vesselle</c:v>
                </c:pt>
                <c:pt idx="237">
                  <c:v>Taittinger</c:v>
                </c:pt>
                <c:pt idx="238">
                  <c:v>Krug</c:v>
                </c:pt>
                <c:pt idx="239">
                  <c:v>Roederer</c:v>
                </c:pt>
                <c:pt idx="240">
                  <c:v>Roederer</c:v>
                </c:pt>
                <c:pt idx="241">
                  <c:v>All Others</c:v>
                </c:pt>
                <c:pt idx="242">
                  <c:v>All Others</c:v>
                </c:pt>
                <c:pt idx="243">
                  <c:v>Piper Heids</c:v>
                </c:pt>
                <c:pt idx="244">
                  <c:v>Laurent Per</c:v>
                </c:pt>
                <c:pt idx="245">
                  <c:v>All Others</c:v>
                </c:pt>
                <c:pt idx="246">
                  <c:v>Dom Perigno</c:v>
                </c:pt>
                <c:pt idx="247">
                  <c:v>Demoiselle</c:v>
                </c:pt>
                <c:pt idx="248">
                  <c:v>Deutz</c:v>
                </c:pt>
                <c:pt idx="249">
                  <c:v>Besserat De</c:v>
                </c:pt>
                <c:pt idx="250">
                  <c:v>Moët &amp; Chan</c:v>
                </c:pt>
                <c:pt idx="251">
                  <c:v>All Others</c:v>
                </c:pt>
                <c:pt idx="252">
                  <c:v>Bouvet-Ladu</c:v>
                </c:pt>
                <c:pt idx="253">
                  <c:v>Bouvet-Ladu</c:v>
                </c:pt>
                <c:pt idx="254">
                  <c:v>Dom Perigno</c:v>
                </c:pt>
                <c:pt idx="255">
                  <c:v>Dom Perigno</c:v>
                </c:pt>
                <c:pt idx="256">
                  <c:v>De Venoge</c:v>
                </c:pt>
                <c:pt idx="257">
                  <c:v>Perrier Jou</c:v>
                </c:pt>
                <c:pt idx="258">
                  <c:v>Deutz</c:v>
                </c:pt>
                <c:pt idx="259">
                  <c:v>All Others</c:v>
                </c:pt>
                <c:pt idx="260">
                  <c:v>Malard</c:v>
                </c:pt>
                <c:pt idx="261">
                  <c:v>Deutz</c:v>
                </c:pt>
                <c:pt idx="262">
                  <c:v>Roederer</c:v>
                </c:pt>
                <c:pt idx="263">
                  <c:v>Ruinart</c:v>
                </c:pt>
                <c:pt idx="264">
                  <c:v>All Others</c:v>
                </c:pt>
                <c:pt idx="265">
                  <c:v>All Others</c:v>
                </c:pt>
                <c:pt idx="266">
                  <c:v>All Others</c:v>
                </c:pt>
                <c:pt idx="267">
                  <c:v>Bollinger</c:v>
                </c:pt>
                <c:pt idx="268">
                  <c:v>All Others</c:v>
                </c:pt>
                <c:pt idx="269">
                  <c:v>All Others</c:v>
                </c:pt>
                <c:pt idx="270">
                  <c:v>Delamotte</c:v>
                </c:pt>
                <c:pt idx="271">
                  <c:v>Ruinart</c:v>
                </c:pt>
                <c:pt idx="272">
                  <c:v>Piper Heids</c:v>
                </c:pt>
                <c:pt idx="273">
                  <c:v>Bouvet-Ladu</c:v>
                </c:pt>
                <c:pt idx="274">
                  <c:v>Bollinger</c:v>
                </c:pt>
                <c:pt idx="275">
                  <c:v>Bollinger</c:v>
                </c:pt>
                <c:pt idx="276">
                  <c:v>Krug</c:v>
                </c:pt>
                <c:pt idx="277">
                  <c:v>All Others</c:v>
                </c:pt>
                <c:pt idx="278">
                  <c:v>Ruinart</c:v>
                </c:pt>
                <c:pt idx="279">
                  <c:v>All Others</c:v>
                </c:pt>
                <c:pt idx="280">
                  <c:v>Nicolas</c:v>
                </c:pt>
                <c:pt idx="281">
                  <c:v>Moët &amp; Chan</c:v>
                </c:pt>
                <c:pt idx="282">
                  <c:v>Veuve Clicq</c:v>
                </c:pt>
                <c:pt idx="283">
                  <c:v>Laurent Per</c:v>
                </c:pt>
                <c:pt idx="284">
                  <c:v>De Venoge</c:v>
                </c:pt>
                <c:pt idx="285">
                  <c:v>Nicolas Feu</c:v>
                </c:pt>
                <c:pt idx="286">
                  <c:v>All Others</c:v>
                </c:pt>
                <c:pt idx="287">
                  <c:v>Taittinger</c:v>
                </c:pt>
                <c:pt idx="288">
                  <c:v>Perrier Jou</c:v>
                </c:pt>
                <c:pt idx="289">
                  <c:v>Dom Perigno</c:v>
                </c:pt>
                <c:pt idx="290">
                  <c:v>Nicolas</c:v>
                </c:pt>
                <c:pt idx="291">
                  <c:v>All Others</c:v>
                </c:pt>
                <c:pt idx="292">
                  <c:v>De Venoge</c:v>
                </c:pt>
                <c:pt idx="293">
                  <c:v>Delamotte</c:v>
                </c:pt>
                <c:pt idx="294">
                  <c:v>Vilaveroni</c:v>
                </c:pt>
                <c:pt idx="295">
                  <c:v>All Others</c:v>
                </c:pt>
                <c:pt idx="296">
                  <c:v>Roederer</c:v>
                </c:pt>
                <c:pt idx="297">
                  <c:v>Henriot</c:v>
                </c:pt>
                <c:pt idx="298">
                  <c:v>Pommery</c:v>
                </c:pt>
                <c:pt idx="299">
                  <c:v>All Others</c:v>
                </c:pt>
                <c:pt idx="300">
                  <c:v>De Bligny</c:v>
                </c:pt>
                <c:pt idx="301">
                  <c:v>Demoiselle</c:v>
                </c:pt>
                <c:pt idx="302">
                  <c:v>All Others</c:v>
                </c:pt>
                <c:pt idx="303">
                  <c:v>Dom Perigno</c:v>
                </c:pt>
                <c:pt idx="304">
                  <c:v>Nicolas</c:v>
                </c:pt>
                <c:pt idx="305">
                  <c:v>Veuve Clicq</c:v>
                </c:pt>
                <c:pt idx="306">
                  <c:v>Dom Perigno</c:v>
                </c:pt>
                <c:pt idx="307">
                  <c:v>All Others</c:v>
                </c:pt>
                <c:pt idx="308">
                  <c:v>Bottega</c:v>
                </c:pt>
                <c:pt idx="309">
                  <c:v>De Venoge</c:v>
                </c:pt>
                <c:pt idx="310">
                  <c:v>Ayala</c:v>
                </c:pt>
                <c:pt idx="311">
                  <c:v>Vesselle</c:v>
                </c:pt>
                <c:pt idx="312">
                  <c:v>Pommery</c:v>
                </c:pt>
                <c:pt idx="313">
                  <c:v>Canard Duch</c:v>
                </c:pt>
                <c:pt idx="314">
                  <c:v>Moët &amp; Chan</c:v>
                </c:pt>
                <c:pt idx="315">
                  <c:v>Krug</c:v>
                </c:pt>
                <c:pt idx="316">
                  <c:v>Bollinger</c:v>
                </c:pt>
                <c:pt idx="317">
                  <c:v>Ayala</c:v>
                </c:pt>
                <c:pt idx="318">
                  <c:v>Canard Duch</c:v>
                </c:pt>
                <c:pt idx="319">
                  <c:v>Veuve Clicq</c:v>
                </c:pt>
                <c:pt idx="320">
                  <c:v>Ruinart</c:v>
                </c:pt>
                <c:pt idx="321">
                  <c:v>Roederer</c:v>
                </c:pt>
                <c:pt idx="322">
                  <c:v>Roederer</c:v>
                </c:pt>
                <c:pt idx="323">
                  <c:v>Bollinger</c:v>
                </c:pt>
                <c:pt idx="324">
                  <c:v>All Others</c:v>
                </c:pt>
                <c:pt idx="325">
                  <c:v>Perrier Jou</c:v>
                </c:pt>
                <c:pt idx="326">
                  <c:v>Deutz</c:v>
                </c:pt>
                <c:pt idx="327">
                  <c:v>Nicolas Feu</c:v>
                </c:pt>
                <c:pt idx="328">
                  <c:v>All Others</c:v>
                </c:pt>
                <c:pt idx="329">
                  <c:v>Heidsieck &amp;</c:v>
                </c:pt>
                <c:pt idx="330">
                  <c:v>Veuve Clicq</c:v>
                </c:pt>
                <c:pt idx="331">
                  <c:v>Roederer</c:v>
                </c:pt>
                <c:pt idx="332">
                  <c:v>All Others</c:v>
                </c:pt>
                <c:pt idx="333">
                  <c:v>Vilaveroni</c:v>
                </c:pt>
                <c:pt idx="334">
                  <c:v>Henriot</c:v>
                </c:pt>
                <c:pt idx="335">
                  <c:v>Taittinger</c:v>
                </c:pt>
                <c:pt idx="336">
                  <c:v>Krug</c:v>
                </c:pt>
                <c:pt idx="337">
                  <c:v>Ayala</c:v>
                </c:pt>
                <c:pt idx="338">
                  <c:v>Pommery</c:v>
                </c:pt>
                <c:pt idx="339">
                  <c:v>Moët &amp; Chan</c:v>
                </c:pt>
                <c:pt idx="340">
                  <c:v>Pommery</c:v>
                </c:pt>
                <c:pt idx="341">
                  <c:v>All Others</c:v>
                </c:pt>
                <c:pt idx="342">
                  <c:v>Taittinger</c:v>
                </c:pt>
                <c:pt idx="343">
                  <c:v>Pommery</c:v>
                </c:pt>
                <c:pt idx="344">
                  <c:v>Vranken</c:v>
                </c:pt>
                <c:pt idx="345">
                  <c:v>Roederer</c:v>
                </c:pt>
                <c:pt idx="346">
                  <c:v>Canard Duch</c:v>
                </c:pt>
                <c:pt idx="347">
                  <c:v>Laurent Per</c:v>
                </c:pt>
                <c:pt idx="348">
                  <c:v>Piper Heids</c:v>
                </c:pt>
                <c:pt idx="349">
                  <c:v>Roederer</c:v>
                </c:pt>
                <c:pt idx="350">
                  <c:v>Celene</c:v>
                </c:pt>
                <c:pt idx="351">
                  <c:v>Laurent Per</c:v>
                </c:pt>
                <c:pt idx="352">
                  <c:v>All Others</c:v>
                </c:pt>
                <c:pt idx="353">
                  <c:v>Heidsieck &amp;</c:v>
                </c:pt>
                <c:pt idx="354">
                  <c:v>Taittinger</c:v>
                </c:pt>
                <c:pt idx="355">
                  <c:v>All Others</c:v>
                </c:pt>
                <c:pt idx="356">
                  <c:v>Besserat De</c:v>
                </c:pt>
                <c:pt idx="357">
                  <c:v>Piper Heids</c:v>
                </c:pt>
                <c:pt idx="358">
                  <c:v>All Others</c:v>
                </c:pt>
                <c:pt idx="359">
                  <c:v>Nicolas Feu</c:v>
                </c:pt>
                <c:pt idx="360">
                  <c:v>All Others</c:v>
                </c:pt>
                <c:pt idx="361">
                  <c:v>Henriot</c:v>
                </c:pt>
                <c:pt idx="362">
                  <c:v>Lanson</c:v>
                </c:pt>
                <c:pt idx="363">
                  <c:v>Krug</c:v>
                </c:pt>
                <c:pt idx="364">
                  <c:v>All Others</c:v>
                </c:pt>
                <c:pt idx="365">
                  <c:v>All Others</c:v>
                </c:pt>
                <c:pt idx="366">
                  <c:v>Ruinart</c:v>
                </c:pt>
                <c:pt idx="367">
                  <c:v>Dom Perigno</c:v>
                </c:pt>
                <c:pt idx="368">
                  <c:v>De Bligny</c:v>
                </c:pt>
                <c:pt idx="369">
                  <c:v>Demoiselle</c:v>
                </c:pt>
                <c:pt idx="370">
                  <c:v>Deutz</c:v>
                </c:pt>
                <c:pt idx="371">
                  <c:v>Moët &amp; Chan</c:v>
                </c:pt>
                <c:pt idx="372">
                  <c:v>Veuve Clicq</c:v>
                </c:pt>
                <c:pt idx="373">
                  <c:v>Moët &amp; Chan</c:v>
                </c:pt>
                <c:pt idx="374">
                  <c:v>Bollinger</c:v>
                </c:pt>
                <c:pt idx="375">
                  <c:v>Martel</c:v>
                </c:pt>
                <c:pt idx="376">
                  <c:v>Vilaveroni</c:v>
                </c:pt>
                <c:pt idx="377">
                  <c:v>Bollinger</c:v>
                </c:pt>
                <c:pt idx="378">
                  <c:v>Ruinart</c:v>
                </c:pt>
                <c:pt idx="379">
                  <c:v>Taittinger</c:v>
                </c:pt>
                <c:pt idx="380">
                  <c:v>All Others</c:v>
                </c:pt>
                <c:pt idx="381">
                  <c:v>All Others</c:v>
                </c:pt>
                <c:pt idx="382">
                  <c:v>All Others</c:v>
                </c:pt>
                <c:pt idx="383">
                  <c:v>De Venoge</c:v>
                </c:pt>
                <c:pt idx="384">
                  <c:v>All Others</c:v>
                </c:pt>
                <c:pt idx="385">
                  <c:v>Nicolas Feu</c:v>
                </c:pt>
                <c:pt idx="386">
                  <c:v>Laurent Per</c:v>
                </c:pt>
                <c:pt idx="387">
                  <c:v>Laurent Per</c:v>
                </c:pt>
                <c:pt idx="388">
                  <c:v>All Others</c:v>
                </c:pt>
                <c:pt idx="389">
                  <c:v>Roederer</c:v>
                </c:pt>
                <c:pt idx="390">
                  <c:v>All Others</c:v>
                </c:pt>
                <c:pt idx="391">
                  <c:v>Demoiselle</c:v>
                </c:pt>
                <c:pt idx="392">
                  <c:v>All Others</c:v>
                </c:pt>
                <c:pt idx="393">
                  <c:v>All Others</c:v>
                </c:pt>
                <c:pt idx="394">
                  <c:v>Bollinger</c:v>
                </c:pt>
                <c:pt idx="395">
                  <c:v>Nicolas Feu</c:v>
                </c:pt>
                <c:pt idx="396">
                  <c:v>All Others</c:v>
                </c:pt>
                <c:pt idx="397">
                  <c:v>Ayala</c:v>
                </c:pt>
                <c:pt idx="398">
                  <c:v>All Others</c:v>
                </c:pt>
                <c:pt idx="399">
                  <c:v>All Others</c:v>
                </c:pt>
                <c:pt idx="400">
                  <c:v>Ruinart</c:v>
                </c:pt>
                <c:pt idx="401">
                  <c:v>Bollinger</c:v>
                </c:pt>
                <c:pt idx="402">
                  <c:v>All Others</c:v>
                </c:pt>
                <c:pt idx="403">
                  <c:v>Bouvet-Ladu</c:v>
                </c:pt>
                <c:pt idx="404">
                  <c:v>Canard Duch</c:v>
                </c:pt>
                <c:pt idx="405">
                  <c:v>Pommery</c:v>
                </c:pt>
                <c:pt idx="406">
                  <c:v>Celene</c:v>
                </c:pt>
                <c:pt idx="407">
                  <c:v>All Others</c:v>
                </c:pt>
                <c:pt idx="408">
                  <c:v>Roederer</c:v>
                </c:pt>
                <c:pt idx="409">
                  <c:v>Besserat De</c:v>
                </c:pt>
                <c:pt idx="410">
                  <c:v>Piper Heids</c:v>
                </c:pt>
                <c:pt idx="411">
                  <c:v>Pommery</c:v>
                </c:pt>
                <c:pt idx="412">
                  <c:v>Jaillance</c:v>
                </c:pt>
                <c:pt idx="413">
                  <c:v>De Venoge</c:v>
                </c:pt>
                <c:pt idx="414">
                  <c:v>All Others</c:v>
                </c:pt>
                <c:pt idx="415">
                  <c:v>Nicolas</c:v>
                </c:pt>
                <c:pt idx="416">
                  <c:v>Malard</c:v>
                </c:pt>
                <c:pt idx="417">
                  <c:v>All Others</c:v>
                </c:pt>
                <c:pt idx="418">
                  <c:v>Laurent Per</c:v>
                </c:pt>
                <c:pt idx="419">
                  <c:v>Mumm</c:v>
                </c:pt>
                <c:pt idx="420">
                  <c:v>Roederer</c:v>
                </c:pt>
                <c:pt idx="421">
                  <c:v>Taittinger</c:v>
                </c:pt>
                <c:pt idx="422">
                  <c:v>Vranken</c:v>
                </c:pt>
                <c:pt idx="423">
                  <c:v>Moët &amp; Chan</c:v>
                </c:pt>
                <c:pt idx="424">
                  <c:v>Henriot</c:v>
                </c:pt>
                <c:pt idx="425">
                  <c:v>Besserat De</c:v>
                </c:pt>
                <c:pt idx="426">
                  <c:v>Nicolas</c:v>
                </c:pt>
                <c:pt idx="427">
                  <c:v>Deutz</c:v>
                </c:pt>
                <c:pt idx="428">
                  <c:v>Laurent Per</c:v>
                </c:pt>
                <c:pt idx="429">
                  <c:v>Laurent Per</c:v>
                </c:pt>
                <c:pt idx="430">
                  <c:v>Pommery</c:v>
                </c:pt>
                <c:pt idx="431">
                  <c:v>Moët &amp; Chan</c:v>
                </c:pt>
                <c:pt idx="432">
                  <c:v>Roederer</c:v>
                </c:pt>
                <c:pt idx="433">
                  <c:v>Piper Heids</c:v>
                </c:pt>
                <c:pt idx="434">
                  <c:v>All Others</c:v>
                </c:pt>
                <c:pt idx="435">
                  <c:v>Malard</c:v>
                </c:pt>
                <c:pt idx="436">
                  <c:v>Demoiselle</c:v>
                </c:pt>
                <c:pt idx="437">
                  <c:v>All Others</c:v>
                </c:pt>
                <c:pt idx="438">
                  <c:v>Vesselle</c:v>
                </c:pt>
                <c:pt idx="439">
                  <c:v>Roederer</c:v>
                </c:pt>
                <c:pt idx="440">
                  <c:v>All Others</c:v>
                </c:pt>
                <c:pt idx="441">
                  <c:v>All Others</c:v>
                </c:pt>
                <c:pt idx="442">
                  <c:v>All Others</c:v>
                </c:pt>
                <c:pt idx="443">
                  <c:v>Bottega</c:v>
                </c:pt>
                <c:pt idx="444">
                  <c:v>All Others</c:v>
                </c:pt>
              </c:strCache>
            </c:strRef>
          </c:cat>
          <c:val>
            <c:numRef>
              <c:f>Sheet1!$C$2:$C$446</c:f>
              <c:numCache>
                <c:formatCode>General</c:formatCode>
                <c:ptCount val="445"/>
                <c:pt idx="0">
                  <c:v>9.0689929033256303E-2</c:v>
                </c:pt>
                <c:pt idx="1">
                  <c:v>0.14471414790834741</c:v>
                </c:pt>
                <c:pt idx="2">
                  <c:v>0.19692090083840938</c:v>
                </c:pt>
                <c:pt idx="3">
                  <c:v>0.24087438748154405</c:v>
                </c:pt>
                <c:pt idx="4">
                  <c:v>0.27162556199864074</c:v>
                </c:pt>
                <c:pt idx="5">
                  <c:v>0.29883516025459195</c:v>
                </c:pt>
                <c:pt idx="6">
                  <c:v>0.32418657733665623</c:v>
                </c:pt>
                <c:pt idx="7">
                  <c:v>0.34733647808580148</c:v>
                </c:pt>
                <c:pt idx="8">
                  <c:v>0.36961010328445665</c:v>
                </c:pt>
                <c:pt idx="9">
                  <c:v>0.38974687751367271</c:v>
                </c:pt>
                <c:pt idx="10">
                  <c:v>0.40786121256238456</c:v>
                </c:pt>
                <c:pt idx="11">
                  <c:v>0.42592515253616214</c:v>
                </c:pt>
                <c:pt idx="12">
                  <c:v>0.44301641766759525</c:v>
                </c:pt>
                <c:pt idx="13">
                  <c:v>0.4599502605600011</c:v>
                </c:pt>
                <c:pt idx="14">
                  <c:v>0.47548476694099057</c:v>
                </c:pt>
                <c:pt idx="15">
                  <c:v>0.48935818179758839</c:v>
                </c:pt>
                <c:pt idx="16">
                  <c:v>0.50227014843744588</c:v>
                </c:pt>
                <c:pt idx="17">
                  <c:v>0.51480375284638624</c:v>
                </c:pt>
                <c:pt idx="18">
                  <c:v>0.52511513403518206</c:v>
                </c:pt>
                <c:pt idx="19">
                  <c:v>0.53500564150410634</c:v>
                </c:pt>
                <c:pt idx="20">
                  <c:v>0.54488991195880609</c:v>
                </c:pt>
                <c:pt idx="21">
                  <c:v>0.55474125097840032</c:v>
                </c:pt>
                <c:pt idx="22">
                  <c:v>0.56448296823598421</c:v>
                </c:pt>
                <c:pt idx="23">
                  <c:v>0.57421779982986421</c:v>
                </c:pt>
                <c:pt idx="24">
                  <c:v>0.58338586146713234</c:v>
                </c:pt>
                <c:pt idx="25">
                  <c:v>0.59249439704064155</c:v>
                </c:pt>
                <c:pt idx="26">
                  <c:v>0.60157703653109051</c:v>
                </c:pt>
                <c:pt idx="27">
                  <c:v>0.61042541376726589</c:v>
                </c:pt>
                <c:pt idx="28">
                  <c:v>0.61900006092315496</c:v>
                </c:pt>
                <c:pt idx="29">
                  <c:v>0.62719948930329605</c:v>
                </c:pt>
                <c:pt idx="30">
                  <c:v>0.63506566153939192</c:v>
                </c:pt>
                <c:pt idx="31">
                  <c:v>0.64272271916256762</c:v>
                </c:pt>
                <c:pt idx="32">
                  <c:v>0.65016687006817464</c:v>
                </c:pt>
                <c:pt idx="33">
                  <c:v>0.65752539924250719</c:v>
                </c:pt>
                <c:pt idx="34">
                  <c:v>0.66481891378056324</c:v>
                </c:pt>
                <c:pt idx="35">
                  <c:v>0.67197341774558284</c:v>
                </c:pt>
                <c:pt idx="36">
                  <c:v>0.67883817497778753</c:v>
                </c:pt>
                <c:pt idx="37">
                  <c:v>0.68550778850893501</c:v>
                </c:pt>
                <c:pt idx="38">
                  <c:v>0.69210979280588858</c:v>
                </c:pt>
                <c:pt idx="39">
                  <c:v>0.69825135576473008</c:v>
                </c:pt>
                <c:pt idx="40">
                  <c:v>0.7043420246874994</c:v>
                </c:pt>
                <c:pt idx="41">
                  <c:v>0.71020636483808885</c:v>
                </c:pt>
                <c:pt idx="42">
                  <c:v>0.71601786500416809</c:v>
                </c:pt>
                <c:pt idx="43">
                  <c:v>0.72159440437038069</c:v>
                </c:pt>
                <c:pt idx="44">
                  <c:v>0.72699101835024393</c:v>
                </c:pt>
                <c:pt idx="45">
                  <c:v>0.7322078067359854</c:v>
                </c:pt>
                <c:pt idx="46">
                  <c:v>0.73724526848874306</c:v>
                </c:pt>
                <c:pt idx="47">
                  <c:v>0.74210400236188245</c:v>
                </c:pt>
                <c:pt idx="48">
                  <c:v>0.74693978402267558</c:v>
                </c:pt>
                <c:pt idx="49">
                  <c:v>0.75176653448687158</c:v>
                </c:pt>
                <c:pt idx="50">
                  <c:v>0.75644269847963042</c:v>
                </c:pt>
                <c:pt idx="51">
                  <c:v>0.7609839433806842</c:v>
                </c:pt>
                <c:pt idx="52">
                  <c:v>0.76549679739298793</c:v>
                </c:pt>
                <c:pt idx="53">
                  <c:v>0.76998754742687991</c:v>
                </c:pt>
                <c:pt idx="54">
                  <c:v>0.77444391903836618</c:v>
                </c:pt>
                <c:pt idx="55">
                  <c:v>0.77887389560565423</c:v>
                </c:pt>
                <c:pt idx="56">
                  <c:v>0.78324015483562448</c:v>
                </c:pt>
                <c:pt idx="57">
                  <c:v>0.7875376572207835</c:v>
                </c:pt>
                <c:pt idx="58">
                  <c:v>0.79174649421172649</c:v>
                </c:pt>
                <c:pt idx="59">
                  <c:v>0.79580299836724944</c:v>
                </c:pt>
                <c:pt idx="60">
                  <c:v>0.79972044205362225</c:v>
                </c:pt>
                <c:pt idx="61">
                  <c:v>0.8035295612769433</c:v>
                </c:pt>
                <c:pt idx="62">
                  <c:v>0.80729347462116496</c:v>
                </c:pt>
                <c:pt idx="63">
                  <c:v>0.81101821951605657</c:v>
                </c:pt>
                <c:pt idx="64">
                  <c:v>0.81468757972463435</c:v>
                </c:pt>
                <c:pt idx="65">
                  <c:v>0.81833338896750019</c:v>
                </c:pt>
                <c:pt idx="66">
                  <c:v>0.8218972188953988</c:v>
                </c:pt>
                <c:pt idx="67">
                  <c:v>0.82531565154769504</c:v>
                </c:pt>
                <c:pt idx="68">
                  <c:v>0.82871881598916963</c:v>
                </c:pt>
                <c:pt idx="69">
                  <c:v>0.83210316959574304</c:v>
                </c:pt>
                <c:pt idx="70">
                  <c:v>0.83543024246367836</c:v>
                </c:pt>
                <c:pt idx="71">
                  <c:v>0.83866969775578748</c:v>
                </c:pt>
                <c:pt idx="72">
                  <c:v>0.84189143992749882</c:v>
                </c:pt>
                <c:pt idx="73">
                  <c:v>0.84501952709361461</c:v>
                </c:pt>
                <c:pt idx="74">
                  <c:v>0.84812735643752912</c:v>
                </c:pt>
                <c:pt idx="75">
                  <c:v>0.85118174704356786</c:v>
                </c:pt>
                <c:pt idx="76">
                  <c:v>0.85408804598385923</c:v>
                </c:pt>
                <c:pt idx="77">
                  <c:v>0.85698266923352229</c:v>
                </c:pt>
                <c:pt idx="78">
                  <c:v>0.85977710108668237</c:v>
                </c:pt>
                <c:pt idx="79">
                  <c:v>0.86240463043919402</c:v>
                </c:pt>
                <c:pt idx="80">
                  <c:v>0.864893448595352</c:v>
                </c:pt>
                <c:pt idx="81">
                  <c:v>0.86733326876776207</c:v>
                </c:pt>
                <c:pt idx="82">
                  <c:v>0.86967843601230055</c:v>
                </c:pt>
                <c:pt idx="83">
                  <c:v>0.87201287559237284</c:v>
                </c:pt>
                <c:pt idx="84">
                  <c:v>0.8743450698473243</c:v>
                </c:pt>
                <c:pt idx="85">
                  <c:v>0.87665351355210874</c:v>
                </c:pt>
                <c:pt idx="86">
                  <c:v>0.87894015265516423</c:v>
                </c:pt>
                <c:pt idx="87">
                  <c:v>0.88118887071173457</c:v>
                </c:pt>
                <c:pt idx="88">
                  <c:v>0.88338529764104645</c:v>
                </c:pt>
                <c:pt idx="89">
                  <c:v>0.88556171622872593</c:v>
                </c:pt>
                <c:pt idx="90">
                  <c:v>0.88769901626318914</c:v>
                </c:pt>
                <c:pt idx="91">
                  <c:v>0.88979824556282583</c:v>
                </c:pt>
                <c:pt idx="92">
                  <c:v>0.89179992795999086</c:v>
                </c:pt>
                <c:pt idx="93">
                  <c:v>0.89380121118824551</c:v>
                </c:pt>
                <c:pt idx="94">
                  <c:v>0.89578792475127167</c:v>
                </c:pt>
                <c:pt idx="95">
                  <c:v>0.8977309293186122</c:v>
                </c:pt>
                <c:pt idx="96">
                  <c:v>0.89960687350901059</c:v>
                </c:pt>
                <c:pt idx="97">
                  <c:v>0.9014425515355754</c:v>
                </c:pt>
                <c:pt idx="98">
                  <c:v>0.9032371650604859</c:v>
                </c:pt>
                <c:pt idx="99">
                  <c:v>0.90503093035146187</c:v>
                </c:pt>
                <c:pt idx="100">
                  <c:v>0.90668408839375991</c:v>
                </c:pt>
                <c:pt idx="101">
                  <c:v>0.90832507178429167</c:v>
                </c:pt>
                <c:pt idx="102">
                  <c:v>0.90990328586366775</c:v>
                </c:pt>
                <c:pt idx="103">
                  <c:v>0.91147102175914663</c:v>
                </c:pt>
                <c:pt idx="104">
                  <c:v>0.91301211312985819</c:v>
                </c:pt>
                <c:pt idx="105">
                  <c:v>0.91455021073374199</c:v>
                </c:pt>
                <c:pt idx="106">
                  <c:v>0.91605767212375488</c:v>
                </c:pt>
                <c:pt idx="107">
                  <c:v>0.91755984452570538</c:v>
                </c:pt>
                <c:pt idx="108">
                  <c:v>0.91903138071378498</c:v>
                </c:pt>
                <c:pt idx="109">
                  <c:v>0.92048186074184257</c:v>
                </c:pt>
                <c:pt idx="110">
                  <c:v>0.92193144263985183</c:v>
                </c:pt>
                <c:pt idx="111">
                  <c:v>0.92337977713501618</c:v>
                </c:pt>
                <c:pt idx="112">
                  <c:v>0.92473061462382256</c:v>
                </c:pt>
                <c:pt idx="113">
                  <c:v>0.92606134397876905</c:v>
                </c:pt>
                <c:pt idx="114">
                  <c:v>0.92733499217953264</c:v>
                </c:pt>
                <c:pt idx="115">
                  <c:v>0.92859481915677466</c:v>
                </c:pt>
                <c:pt idx="116">
                  <c:v>0.92981857124374201</c:v>
                </c:pt>
                <c:pt idx="117">
                  <c:v>0.93103044805562585</c:v>
                </c:pt>
                <c:pt idx="118">
                  <c:v>0.93223124793024692</c:v>
                </c:pt>
                <c:pt idx="119">
                  <c:v>0.93342236795879152</c:v>
                </c:pt>
                <c:pt idx="120">
                  <c:v>0.93457227379734042</c:v>
                </c:pt>
                <c:pt idx="121">
                  <c:v>0.93572178046697896</c:v>
                </c:pt>
                <c:pt idx="122">
                  <c:v>0.93683466338909094</c:v>
                </c:pt>
                <c:pt idx="123">
                  <c:v>0.9379344735293883</c:v>
                </c:pt>
                <c:pt idx="124">
                  <c:v>0.93903293647461317</c:v>
                </c:pt>
                <c:pt idx="125">
                  <c:v>0.94012591084732045</c:v>
                </c:pt>
                <c:pt idx="126">
                  <c:v>0.94121409519310328</c:v>
                </c:pt>
                <c:pt idx="127">
                  <c:v>0.94229120260162336</c:v>
                </c:pt>
                <c:pt idx="128">
                  <c:v>0.94336801063346065</c:v>
                </c:pt>
                <c:pt idx="129">
                  <c:v>0.9444348394425387</c:v>
                </c:pt>
                <c:pt idx="130">
                  <c:v>0.94540457041416925</c:v>
                </c:pt>
                <c:pt idx="131">
                  <c:v>0.94634201860017353</c:v>
                </c:pt>
                <c:pt idx="132">
                  <c:v>0.94727013621289791</c:v>
                </c:pt>
                <c:pt idx="133">
                  <c:v>0.94816771740397898</c:v>
                </c:pt>
                <c:pt idx="134">
                  <c:v>0.9490461883834761</c:v>
                </c:pt>
                <c:pt idx="135">
                  <c:v>0.94992226434951099</c:v>
                </c:pt>
                <c:pt idx="136">
                  <c:v>0.95078177480576553</c:v>
                </c:pt>
                <c:pt idx="137">
                  <c:v>0.95160211681269002</c:v>
                </c:pt>
                <c:pt idx="138">
                  <c:v>0.95240299933523398</c:v>
                </c:pt>
                <c:pt idx="139">
                  <c:v>0.95319959079199146</c:v>
                </c:pt>
                <c:pt idx="140">
                  <c:v>0.95397447743924757</c:v>
                </c:pt>
                <c:pt idx="141">
                  <c:v>0.95474327676062054</c:v>
                </c:pt>
                <c:pt idx="142">
                  <c:v>0.95550668730170352</c:v>
                </c:pt>
                <c:pt idx="143">
                  <c:v>0.95624430155195383</c:v>
                </c:pt>
                <c:pt idx="144">
                  <c:v>0.9569585644209474</c:v>
                </c:pt>
                <c:pt idx="145">
                  <c:v>0.95767222853657541</c:v>
                </c:pt>
                <c:pt idx="146">
                  <c:v>0.95837481571494065</c:v>
                </c:pt>
                <c:pt idx="147">
                  <c:v>0.95907540704875405</c:v>
                </c:pt>
                <c:pt idx="148">
                  <c:v>0.95975748692434903</c:v>
                </c:pt>
                <c:pt idx="149">
                  <c:v>0.96043208238287459</c:v>
                </c:pt>
                <c:pt idx="150">
                  <c:v>0.96110348449011718</c:v>
                </c:pt>
                <c:pt idx="151">
                  <c:v>0.96175238345003766</c:v>
                </c:pt>
                <c:pt idx="152">
                  <c:v>0.96239808905867519</c:v>
                </c:pt>
                <c:pt idx="153">
                  <c:v>0.96303745786086059</c:v>
                </c:pt>
                <c:pt idx="154">
                  <c:v>0.96367203663612155</c:v>
                </c:pt>
                <c:pt idx="155">
                  <c:v>0.96429992933213382</c:v>
                </c:pt>
                <c:pt idx="156">
                  <c:v>0.96492402992349757</c:v>
                </c:pt>
                <c:pt idx="157">
                  <c:v>0.96553555669418467</c:v>
                </c:pt>
                <c:pt idx="158">
                  <c:v>0.96612892127944994</c:v>
                </c:pt>
                <c:pt idx="159">
                  <c:v>0.96670621931607281</c:v>
                </c:pt>
                <c:pt idx="160">
                  <c:v>0.96727488532500894</c:v>
                </c:pt>
                <c:pt idx="161">
                  <c:v>0.96784020829432071</c:v>
                </c:pt>
                <c:pt idx="162">
                  <c:v>0.96839684933983194</c:v>
                </c:pt>
                <c:pt idx="163">
                  <c:v>0.96895059641074299</c:v>
                </c:pt>
                <c:pt idx="164">
                  <c:v>0.96949591103842248</c:v>
                </c:pt>
                <c:pt idx="165">
                  <c:v>0.97003379114514632</c:v>
                </c:pt>
                <c:pt idx="166">
                  <c:v>0.97057077312182183</c:v>
                </c:pt>
                <c:pt idx="167">
                  <c:v>0.9711069068645628</c:v>
                </c:pt>
                <c:pt idx="168">
                  <c:v>0.97163395951459286</c:v>
                </c:pt>
                <c:pt idx="169">
                  <c:v>0.97215427618926031</c:v>
                </c:pt>
                <c:pt idx="170">
                  <c:v>0.97266132049765797</c:v>
                </c:pt>
                <c:pt idx="171">
                  <c:v>0.9731606309084172</c:v>
                </c:pt>
                <c:pt idx="172">
                  <c:v>0.97364681864124802</c:v>
                </c:pt>
                <c:pt idx="173">
                  <c:v>0.97413260720516848</c:v>
                </c:pt>
                <c:pt idx="174">
                  <c:v>0.97461335626159551</c:v>
                </c:pt>
                <c:pt idx="175">
                  <c:v>0.97507649198985247</c:v>
                </c:pt>
                <c:pt idx="176">
                  <c:v>0.97552336158501185</c:v>
                </c:pt>
                <c:pt idx="177">
                  <c:v>0.97596554094547439</c:v>
                </c:pt>
                <c:pt idx="178">
                  <c:v>0.97640063505777785</c:v>
                </c:pt>
                <c:pt idx="179">
                  <c:v>0.97682155867376319</c:v>
                </c:pt>
                <c:pt idx="180">
                  <c:v>0.97724183364026918</c:v>
                </c:pt>
                <c:pt idx="181">
                  <c:v>0.9776536262674298</c:v>
                </c:pt>
                <c:pt idx="182">
                  <c:v>0.97805164756718266</c:v>
                </c:pt>
                <c:pt idx="183">
                  <c:v>0.97844902021745617</c:v>
                </c:pt>
                <c:pt idx="184">
                  <c:v>0.97882708307169053</c:v>
                </c:pt>
                <c:pt idx="185">
                  <c:v>0.97919471763814148</c:v>
                </c:pt>
                <c:pt idx="186">
                  <c:v>0.97954873056552605</c:v>
                </c:pt>
                <c:pt idx="187">
                  <c:v>0.97989520917972739</c:v>
                </c:pt>
                <c:pt idx="188">
                  <c:v>0.98023819506596299</c:v>
                </c:pt>
                <c:pt idx="189">
                  <c:v>0.98057674019807073</c:v>
                </c:pt>
                <c:pt idx="190">
                  <c:v>0.98091244125169208</c:v>
                </c:pt>
                <c:pt idx="191">
                  <c:v>0.98124559760350982</c:v>
                </c:pt>
                <c:pt idx="192">
                  <c:v>0.98156198886109203</c:v>
                </c:pt>
                <c:pt idx="193">
                  <c:v>0.98187813063810525</c:v>
                </c:pt>
                <c:pt idx="194">
                  <c:v>0.98215535344635729</c:v>
                </c:pt>
                <c:pt idx="195">
                  <c:v>0.98243087978674026</c:v>
                </c:pt>
                <c:pt idx="196">
                  <c:v>0.98270465976314036</c:v>
                </c:pt>
                <c:pt idx="197">
                  <c:v>0.98297504680380232</c:v>
                </c:pt>
                <c:pt idx="198">
                  <c:v>0.98324528415612289</c:v>
                </c:pt>
                <c:pt idx="199">
                  <c:v>0.98351472317062272</c:v>
                </c:pt>
                <c:pt idx="200">
                  <c:v>0.98378271519782245</c:v>
                </c:pt>
                <c:pt idx="201">
                  <c:v>0.9840506573289084</c:v>
                </c:pt>
                <c:pt idx="202">
                  <c:v>0.98431535621259758</c:v>
                </c:pt>
                <c:pt idx="203">
                  <c:v>0.98457890748566945</c:v>
                </c:pt>
                <c:pt idx="204">
                  <c:v>0.98483697018622374</c:v>
                </c:pt>
                <c:pt idx="205">
                  <c:v>0.98509228860051923</c:v>
                </c:pt>
                <c:pt idx="206">
                  <c:v>0.98534551137803528</c:v>
                </c:pt>
                <c:pt idx="207">
                  <c:v>0.98558790669885754</c:v>
                </c:pt>
                <c:pt idx="208">
                  <c:v>0.98583025212356601</c:v>
                </c:pt>
                <c:pt idx="209">
                  <c:v>0.98606710897575689</c:v>
                </c:pt>
                <c:pt idx="210">
                  <c:v>0.98629762902149565</c:v>
                </c:pt>
                <c:pt idx="211">
                  <c:v>0.98652745052164126</c:v>
                </c:pt>
                <c:pt idx="212">
                  <c:v>0.98675008698140021</c:v>
                </c:pt>
                <c:pt idx="213">
                  <c:v>0.98696913092096583</c:v>
                </c:pt>
                <c:pt idx="214">
                  <c:v>0.98718652828877618</c:v>
                </c:pt>
                <c:pt idx="215">
                  <c:v>0.9874002832402794</c:v>
                </c:pt>
                <c:pt idx="216">
                  <c:v>0.98761239162002734</c:v>
                </c:pt>
                <c:pt idx="217">
                  <c:v>0.9878189615311439</c:v>
                </c:pt>
                <c:pt idx="218">
                  <c:v>0.9880223380909775</c:v>
                </c:pt>
                <c:pt idx="219">
                  <c:v>0.98822162316947981</c:v>
                </c:pt>
                <c:pt idx="220">
                  <c:v>0.98841931157234064</c:v>
                </c:pt>
                <c:pt idx="221">
                  <c:v>0.98861046358429416</c:v>
                </c:pt>
                <c:pt idx="222">
                  <c:v>0.98879981933615102</c:v>
                </c:pt>
                <c:pt idx="223">
                  <c:v>0.9889889256074389</c:v>
                </c:pt>
                <c:pt idx="224">
                  <c:v>0.9891710464227953</c:v>
                </c:pt>
                <c:pt idx="225">
                  <c:v>0.98934623167833402</c:v>
                </c:pt>
                <c:pt idx="226">
                  <c:v>0.98952086807662099</c:v>
                </c:pt>
                <c:pt idx="227">
                  <c:v>0.98969400759149406</c:v>
                </c:pt>
                <c:pt idx="228">
                  <c:v>0.9898663487685464</c:v>
                </c:pt>
                <c:pt idx="229">
                  <c:v>0.99003699347772967</c:v>
                </c:pt>
                <c:pt idx="230">
                  <c:v>0.99020304774444368</c:v>
                </c:pt>
                <c:pt idx="231">
                  <c:v>0.99036745543940241</c:v>
                </c:pt>
                <c:pt idx="232">
                  <c:v>0.99053121448488179</c:v>
                </c:pt>
                <c:pt idx="233">
                  <c:v>0.99069287789358174</c:v>
                </c:pt>
                <c:pt idx="234">
                  <c:v>0.99084925231421928</c:v>
                </c:pt>
                <c:pt idx="235">
                  <c:v>0.99100353109807737</c:v>
                </c:pt>
                <c:pt idx="236">
                  <c:v>0.991150824426004</c:v>
                </c:pt>
                <c:pt idx="237">
                  <c:v>0.99129672066274432</c:v>
                </c:pt>
                <c:pt idx="238">
                  <c:v>0.9914419183538915</c:v>
                </c:pt>
                <c:pt idx="239">
                  <c:v>0.99158611812276276</c:v>
                </c:pt>
                <c:pt idx="240">
                  <c:v>0.99172981893049605</c:v>
                </c:pt>
                <c:pt idx="241">
                  <c:v>0.99186853012684972</c:v>
                </c:pt>
                <c:pt idx="242">
                  <c:v>0.99200674236206543</c:v>
                </c:pt>
                <c:pt idx="243">
                  <c:v>0.99214121238874642</c:v>
                </c:pt>
                <c:pt idx="244">
                  <c:v>0.99227029363513741</c:v>
                </c:pt>
                <c:pt idx="245">
                  <c:v>0.99239712955640758</c:v>
                </c:pt>
                <c:pt idx="246">
                  <c:v>0.99252386568545015</c:v>
                </c:pt>
                <c:pt idx="247">
                  <c:v>0.99264920472330642</c:v>
                </c:pt>
                <c:pt idx="248">
                  <c:v>0.99277284729329363</c:v>
                </c:pt>
                <c:pt idx="249">
                  <c:v>0.99289589110991527</c:v>
                </c:pt>
                <c:pt idx="250">
                  <c:v>0.99301444427629526</c:v>
                </c:pt>
                <c:pt idx="251">
                  <c:v>0.99313289765044765</c:v>
                </c:pt>
                <c:pt idx="252">
                  <c:v>0.99324656099767561</c:v>
                </c:pt>
                <c:pt idx="253">
                  <c:v>0.9933597253837656</c:v>
                </c:pt>
                <c:pt idx="254">
                  <c:v>0.99346949683411745</c:v>
                </c:pt>
                <c:pt idx="255">
                  <c:v>0.99357827036219337</c:v>
                </c:pt>
                <c:pt idx="256">
                  <c:v>0.99368439939623809</c:v>
                </c:pt>
                <c:pt idx="257">
                  <c:v>0.99378818331293428</c:v>
                </c:pt>
                <c:pt idx="258">
                  <c:v>0.99388877387834751</c:v>
                </c:pt>
                <c:pt idx="259">
                  <c:v>0.99398507337797426</c:v>
                </c:pt>
                <c:pt idx="260">
                  <c:v>0.99408007557864231</c:v>
                </c:pt>
                <c:pt idx="261">
                  <c:v>0.99417068692129629</c:v>
                </c:pt>
                <c:pt idx="262">
                  <c:v>0.99426000096499156</c:v>
                </c:pt>
                <c:pt idx="263">
                  <c:v>0.99434691999522462</c:v>
                </c:pt>
                <c:pt idx="264">
                  <c:v>0.99443368933711629</c:v>
                </c:pt>
                <c:pt idx="265">
                  <c:v>0.99451951065284583</c:v>
                </c:pt>
                <c:pt idx="266">
                  <c:v>0.99460173944838204</c:v>
                </c:pt>
                <c:pt idx="267">
                  <c:v>0.99468307011386992</c:v>
                </c:pt>
                <c:pt idx="268">
                  <c:v>0.9947629537920577</c:v>
                </c:pt>
                <c:pt idx="269">
                  <c:v>0.99484183954796956</c:v>
                </c:pt>
                <c:pt idx="270">
                  <c:v>0.99492037603108485</c:v>
                </c:pt>
                <c:pt idx="271">
                  <c:v>0.99499821396860699</c:v>
                </c:pt>
                <c:pt idx="272">
                  <c:v>0.9950752036721946</c:v>
                </c:pt>
                <c:pt idx="273">
                  <c:v>0.99515159462241665</c:v>
                </c:pt>
                <c:pt idx="274">
                  <c:v>0.99522539097472129</c:v>
                </c:pt>
                <c:pt idx="275">
                  <c:v>0.99529873826200177</c:v>
                </c:pt>
                <c:pt idx="276">
                  <c:v>0.99537108762700632</c:v>
                </c:pt>
                <c:pt idx="277">
                  <c:v>0.99544328730366949</c:v>
                </c:pt>
                <c:pt idx="278">
                  <c:v>0.99551269279796006</c:v>
                </c:pt>
                <c:pt idx="279">
                  <c:v>0.99558189870779545</c:v>
                </c:pt>
                <c:pt idx="280">
                  <c:v>0.99565000690312733</c:v>
                </c:pt>
                <c:pt idx="281">
                  <c:v>0.99571791551400401</c:v>
                </c:pt>
                <c:pt idx="282">
                  <c:v>0.99578542495597033</c:v>
                </c:pt>
                <c:pt idx="283">
                  <c:v>0.99585253522902628</c:v>
                </c:pt>
                <c:pt idx="284">
                  <c:v>0.99591959560596843</c:v>
                </c:pt>
                <c:pt idx="285">
                  <c:v>0.99598540858006568</c:v>
                </c:pt>
                <c:pt idx="286">
                  <c:v>0.99605092217748015</c:v>
                </c:pt>
                <c:pt idx="287">
                  <c:v>0.99611513847593591</c:v>
                </c:pt>
                <c:pt idx="288">
                  <c:v>0.9961790553977089</c:v>
                </c:pt>
                <c:pt idx="289">
                  <c:v>0.99624242346223013</c:v>
                </c:pt>
                <c:pt idx="290">
                  <c:v>0.99630569173452377</c:v>
                </c:pt>
                <c:pt idx="291">
                  <c:v>0.99636881031847602</c:v>
                </c:pt>
                <c:pt idx="292">
                  <c:v>0.9964315297335179</c:v>
                </c:pt>
                <c:pt idx="293">
                  <c:v>0.99649404956410459</c:v>
                </c:pt>
                <c:pt idx="294">
                  <c:v>0.9965563698102361</c:v>
                </c:pt>
                <c:pt idx="295">
                  <c:v>0.99661864016025381</c:v>
                </c:pt>
                <c:pt idx="296">
                  <c:v>0.99667926393851625</c:v>
                </c:pt>
                <c:pt idx="297">
                  <c:v>0.99673888979450276</c:v>
                </c:pt>
                <c:pt idx="298">
                  <c:v>0.9967981663776927</c:v>
                </c:pt>
                <c:pt idx="299">
                  <c:v>0.9968552974279894</c:v>
                </c:pt>
                <c:pt idx="300">
                  <c:v>0.99691222889383091</c:v>
                </c:pt>
                <c:pt idx="301">
                  <c:v>0.99696916035967242</c:v>
                </c:pt>
                <c:pt idx="302">
                  <c:v>0.99702464483821385</c:v>
                </c:pt>
                <c:pt idx="303">
                  <c:v>0.99708012931675527</c:v>
                </c:pt>
                <c:pt idx="304">
                  <c:v>0.99713526452250012</c:v>
                </c:pt>
                <c:pt idx="305">
                  <c:v>0.99719015024767599</c:v>
                </c:pt>
                <c:pt idx="306">
                  <c:v>0.99724503597285186</c:v>
                </c:pt>
                <c:pt idx="307">
                  <c:v>0.99729922315243458</c:v>
                </c:pt>
                <c:pt idx="308">
                  <c:v>0.99735146438357924</c:v>
                </c:pt>
                <c:pt idx="309">
                  <c:v>0.99740200914685484</c:v>
                </c:pt>
                <c:pt idx="310">
                  <c:v>0.99745235432567525</c:v>
                </c:pt>
                <c:pt idx="311">
                  <c:v>0.99750259971226807</c:v>
                </c:pt>
                <c:pt idx="312">
                  <c:v>0.99754975153980552</c:v>
                </c:pt>
                <c:pt idx="313">
                  <c:v>0.99759665388677399</c:v>
                </c:pt>
                <c:pt idx="314">
                  <c:v>0.99764250841535274</c:v>
                </c:pt>
                <c:pt idx="315">
                  <c:v>0.99768761450222454</c:v>
                </c:pt>
                <c:pt idx="316">
                  <c:v>0.9977319721473894</c:v>
                </c:pt>
                <c:pt idx="317">
                  <c:v>0.99777503249359556</c:v>
                </c:pt>
                <c:pt idx="318">
                  <c:v>0.9978169452291844</c:v>
                </c:pt>
                <c:pt idx="319">
                  <c:v>0.99785771035415594</c:v>
                </c:pt>
                <c:pt idx="320">
                  <c:v>0.9978980763102171</c:v>
                </c:pt>
                <c:pt idx="321">
                  <c:v>0.99793809299348168</c:v>
                </c:pt>
                <c:pt idx="322">
                  <c:v>0.99797756081949451</c:v>
                </c:pt>
                <c:pt idx="323">
                  <c:v>0.99801642989214179</c:v>
                </c:pt>
                <c:pt idx="324">
                  <c:v>0.9980548498997649</c:v>
                </c:pt>
                <c:pt idx="325">
                  <c:v>0.99809277094625004</c:v>
                </c:pt>
                <c:pt idx="326">
                  <c:v>0.99813069199273519</c:v>
                </c:pt>
                <c:pt idx="327">
                  <c:v>0.99816796438974098</c:v>
                </c:pt>
                <c:pt idx="328">
                  <c:v>0.9982035902149915</c:v>
                </c:pt>
                <c:pt idx="329">
                  <c:v>0.99823851749464887</c:v>
                </c:pt>
                <c:pt idx="330">
                  <c:v>0.99827344477430624</c:v>
                </c:pt>
                <c:pt idx="331">
                  <c:v>0.99830812257339463</c:v>
                </c:pt>
                <c:pt idx="332">
                  <c:v>0.99834235130745885</c:v>
                </c:pt>
                <c:pt idx="333">
                  <c:v>0.99837603118427132</c:v>
                </c:pt>
                <c:pt idx="334">
                  <c:v>0.99840956137274239</c:v>
                </c:pt>
                <c:pt idx="335">
                  <c:v>0.99844294187287208</c:v>
                </c:pt>
                <c:pt idx="336">
                  <c:v>0.9984758733079776</c:v>
                </c:pt>
                <c:pt idx="337">
                  <c:v>0.99850870495085553</c:v>
                </c:pt>
                <c:pt idx="338">
                  <c:v>0.9985410376325955</c:v>
                </c:pt>
                <c:pt idx="339">
                  <c:v>0.99857332041822167</c:v>
                </c:pt>
                <c:pt idx="340">
                  <c:v>0.99860550341162024</c:v>
                </c:pt>
                <c:pt idx="341">
                  <c:v>0.99863768640501882</c:v>
                </c:pt>
                <c:pt idx="342">
                  <c:v>0.99866942033339323</c:v>
                </c:pt>
                <c:pt idx="343">
                  <c:v>0.99870085488508487</c:v>
                </c:pt>
                <c:pt idx="344">
                  <c:v>0.99873179047563854</c:v>
                </c:pt>
                <c:pt idx="345">
                  <c:v>0.99876262627396462</c:v>
                </c:pt>
                <c:pt idx="346">
                  <c:v>0.99879306290338032</c:v>
                </c:pt>
                <c:pt idx="347">
                  <c:v>0.99882300057165807</c:v>
                </c:pt>
                <c:pt idx="348">
                  <c:v>0.99885283844770822</c:v>
                </c:pt>
                <c:pt idx="349">
                  <c:v>0.99888267632375838</c:v>
                </c:pt>
                <c:pt idx="350">
                  <c:v>0.99890991960189113</c:v>
                </c:pt>
                <c:pt idx="351">
                  <c:v>0.99893661402277212</c:v>
                </c:pt>
                <c:pt idx="352">
                  <c:v>0.99896305896308413</c:v>
                </c:pt>
                <c:pt idx="353">
                  <c:v>0.99898900494225817</c:v>
                </c:pt>
                <c:pt idx="354">
                  <c:v>0.99901475133697704</c:v>
                </c:pt>
                <c:pt idx="355">
                  <c:v>0.99904019835501312</c:v>
                </c:pt>
                <c:pt idx="356">
                  <c:v>0.99906514641191124</c:v>
                </c:pt>
                <c:pt idx="357">
                  <c:v>0.99908924623487483</c:v>
                </c:pt>
                <c:pt idx="358">
                  <c:v>0.99911324626561082</c:v>
                </c:pt>
                <c:pt idx="359">
                  <c:v>0.99913699681577783</c:v>
                </c:pt>
                <c:pt idx="360">
                  <c:v>0.99915994902812411</c:v>
                </c:pt>
                <c:pt idx="361">
                  <c:v>0.99918190331819445</c:v>
                </c:pt>
                <c:pt idx="362">
                  <c:v>0.99920330875101304</c:v>
                </c:pt>
                <c:pt idx="363">
                  <c:v>0.9992237661576695</c:v>
                </c:pt>
                <c:pt idx="364">
                  <c:v>0.99924347512261902</c:v>
                </c:pt>
                <c:pt idx="365">
                  <c:v>0.99926293460699955</c:v>
                </c:pt>
                <c:pt idx="366">
                  <c:v>0.9992822942991525</c:v>
                </c:pt>
                <c:pt idx="367">
                  <c:v>0.99930125482239507</c:v>
                </c:pt>
                <c:pt idx="368">
                  <c:v>0.99931976628061348</c:v>
                </c:pt>
                <c:pt idx="369">
                  <c:v>0.99933822784271809</c:v>
                </c:pt>
                <c:pt idx="370">
                  <c:v>0.99935643992425371</c:v>
                </c:pt>
                <c:pt idx="371">
                  <c:v>0.99937460210967555</c:v>
                </c:pt>
                <c:pt idx="372">
                  <c:v>0.99939231523007321</c:v>
                </c:pt>
                <c:pt idx="373">
                  <c:v>0.9994097788699019</c:v>
                </c:pt>
                <c:pt idx="374">
                  <c:v>0.99942714271750299</c:v>
                </c:pt>
                <c:pt idx="375">
                  <c:v>0.99944445666899029</c:v>
                </c:pt>
                <c:pt idx="376">
                  <c:v>0.99946172072436379</c:v>
                </c:pt>
                <c:pt idx="377">
                  <c:v>0.99947893488362349</c:v>
                </c:pt>
                <c:pt idx="378">
                  <c:v>0.9994960991467694</c:v>
                </c:pt>
                <c:pt idx="379">
                  <c:v>0.99951281434489114</c:v>
                </c:pt>
                <c:pt idx="380">
                  <c:v>0.99952952954301288</c:v>
                </c:pt>
                <c:pt idx="381">
                  <c:v>0.99954589546833805</c:v>
                </c:pt>
                <c:pt idx="382">
                  <c:v>0.99956211170532183</c:v>
                </c:pt>
                <c:pt idx="383">
                  <c:v>0.99957822815007802</c:v>
                </c:pt>
                <c:pt idx="384">
                  <c:v>0.99959394542592384</c:v>
                </c:pt>
                <c:pt idx="385">
                  <c:v>0.99960921363674549</c:v>
                </c:pt>
                <c:pt idx="386">
                  <c:v>0.99962418247088436</c:v>
                </c:pt>
                <c:pt idx="387">
                  <c:v>0.99963910140890944</c:v>
                </c:pt>
                <c:pt idx="388">
                  <c:v>0.99965397045082072</c:v>
                </c:pt>
                <c:pt idx="389">
                  <c:v>0.99966868980439061</c:v>
                </c:pt>
                <c:pt idx="390">
                  <c:v>0.99968191227454661</c:v>
                </c:pt>
                <c:pt idx="391">
                  <c:v>0.99969508484858882</c:v>
                </c:pt>
                <c:pt idx="392">
                  <c:v>0.99970815763040344</c:v>
                </c:pt>
                <c:pt idx="393">
                  <c:v>0.99972103082776287</c:v>
                </c:pt>
                <c:pt idx="394">
                  <c:v>0.99973355475232573</c:v>
                </c:pt>
                <c:pt idx="395">
                  <c:v>0.99974577930020581</c:v>
                </c:pt>
                <c:pt idx="396">
                  <c:v>0.99975745499083413</c:v>
                </c:pt>
                <c:pt idx="397">
                  <c:v>0.99976898099312106</c:v>
                </c:pt>
                <c:pt idx="398">
                  <c:v>0.9997804072031804</c:v>
                </c:pt>
                <c:pt idx="399">
                  <c:v>0.99979173362101215</c:v>
                </c:pt>
                <c:pt idx="400">
                  <c:v>0.99980246128547834</c:v>
                </c:pt>
                <c:pt idx="401">
                  <c:v>0.99981293946937555</c:v>
                </c:pt>
                <c:pt idx="402">
                  <c:v>0.999822868796021</c:v>
                </c:pt>
                <c:pt idx="403">
                  <c:v>0.9998322492654147</c:v>
                </c:pt>
                <c:pt idx="404">
                  <c:v>0.99984118066978422</c:v>
                </c:pt>
                <c:pt idx="405">
                  <c:v>0.99984971290524338</c:v>
                </c:pt>
                <c:pt idx="406">
                  <c:v>0.99985794576401976</c:v>
                </c:pt>
                <c:pt idx="407">
                  <c:v>0.99986567966165818</c:v>
                </c:pt>
                <c:pt idx="408">
                  <c:v>0.9998733636631828</c:v>
                </c:pt>
                <c:pt idx="409">
                  <c:v>0.99988074828802465</c:v>
                </c:pt>
                <c:pt idx="410">
                  <c:v>0.99988808301675269</c:v>
                </c:pt>
                <c:pt idx="411">
                  <c:v>0.99989481899211519</c:v>
                </c:pt>
                <c:pt idx="412">
                  <c:v>0.99990140527913629</c:v>
                </c:pt>
                <c:pt idx="413">
                  <c:v>0.99990784187781601</c:v>
                </c:pt>
                <c:pt idx="414">
                  <c:v>0.99991412878815433</c:v>
                </c:pt>
                <c:pt idx="415">
                  <c:v>0.99991996663346849</c:v>
                </c:pt>
                <c:pt idx="416">
                  <c:v>0.99992565479044127</c:v>
                </c:pt>
                <c:pt idx="417">
                  <c:v>0.99993064440182089</c:v>
                </c:pt>
                <c:pt idx="418">
                  <c:v>0.99993563401320051</c:v>
                </c:pt>
                <c:pt idx="419">
                  <c:v>0.99994057372846634</c:v>
                </c:pt>
                <c:pt idx="420">
                  <c:v>0.9999451142748218</c:v>
                </c:pt>
                <c:pt idx="421">
                  <c:v>0.9999491558600393</c:v>
                </c:pt>
                <c:pt idx="422">
                  <c:v>0.9999530976530292</c:v>
                </c:pt>
                <c:pt idx="423">
                  <c:v>0.99995698954990531</c:v>
                </c:pt>
                <c:pt idx="424">
                  <c:v>0.99996058207009864</c:v>
                </c:pt>
                <c:pt idx="425">
                  <c:v>0.99996407479806437</c:v>
                </c:pt>
                <c:pt idx="426">
                  <c:v>0.99996741783768872</c:v>
                </c:pt>
                <c:pt idx="427">
                  <c:v>0.9999704116045165</c:v>
                </c:pt>
                <c:pt idx="428">
                  <c:v>0.99997340537134427</c:v>
                </c:pt>
                <c:pt idx="429">
                  <c:v>0.99997634924205825</c:v>
                </c:pt>
                <c:pt idx="430">
                  <c:v>0.99997884404774806</c:v>
                </c:pt>
                <c:pt idx="431">
                  <c:v>0.99998128895732408</c:v>
                </c:pt>
                <c:pt idx="432">
                  <c:v>0.9999835841785587</c:v>
                </c:pt>
                <c:pt idx="433">
                  <c:v>0.99998572971145194</c:v>
                </c:pt>
                <c:pt idx="434">
                  <c:v>0.9999876257637762</c:v>
                </c:pt>
                <c:pt idx="435">
                  <c:v>0.99998942202387286</c:v>
                </c:pt>
                <c:pt idx="436">
                  <c:v>0.99999116838785573</c:v>
                </c:pt>
                <c:pt idx="437">
                  <c:v>0.99999286485572481</c:v>
                </c:pt>
                <c:pt idx="438">
                  <c:v>0.99999441163525249</c:v>
                </c:pt>
                <c:pt idx="439">
                  <c:v>0.99999585862255258</c:v>
                </c:pt>
                <c:pt idx="440">
                  <c:v>0.99999725571373888</c:v>
                </c:pt>
                <c:pt idx="441">
                  <c:v>0.99999850311658378</c:v>
                </c:pt>
                <c:pt idx="442">
                  <c:v>0.99999935135051832</c:v>
                </c:pt>
                <c:pt idx="443">
                  <c:v>0.99999970062331489</c:v>
                </c:pt>
                <c:pt idx="444">
                  <c:v>0.99999999999999767</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314</c:f>
              <c:strCache>
                <c:ptCount val="313"/>
                <c:pt idx="0">
                  <c:v>Ruinart</c:v>
                </c:pt>
                <c:pt idx="1">
                  <c:v>Nicolas</c:v>
                </c:pt>
                <c:pt idx="2">
                  <c:v>Deutz</c:v>
                </c:pt>
                <c:pt idx="3">
                  <c:v>Ruinart</c:v>
                </c:pt>
                <c:pt idx="4">
                  <c:v>Laurent Per</c:v>
                </c:pt>
                <c:pt idx="5">
                  <c:v>Heidsieck &amp;</c:v>
                </c:pt>
                <c:pt idx="6">
                  <c:v>Malard</c:v>
                </c:pt>
                <c:pt idx="7">
                  <c:v>Ayala</c:v>
                </c:pt>
                <c:pt idx="8">
                  <c:v>Nicolas Feu</c:v>
                </c:pt>
                <c:pt idx="9">
                  <c:v>De Bligny</c:v>
                </c:pt>
                <c:pt idx="10">
                  <c:v>Ruinart</c:v>
                </c:pt>
                <c:pt idx="11">
                  <c:v>Canard Duch</c:v>
                </c:pt>
                <c:pt idx="12">
                  <c:v>Ruinart</c:v>
                </c:pt>
                <c:pt idx="13">
                  <c:v>Taittinger</c:v>
                </c:pt>
                <c:pt idx="14">
                  <c:v>Bollinger</c:v>
                </c:pt>
                <c:pt idx="15">
                  <c:v>Besserat De</c:v>
                </c:pt>
                <c:pt idx="16">
                  <c:v>Demoiselle</c:v>
                </c:pt>
                <c:pt idx="17">
                  <c:v>Campari: Al</c:v>
                </c:pt>
                <c:pt idx="18">
                  <c:v>Deutz</c:v>
                </c:pt>
                <c:pt idx="19">
                  <c:v>Perrier Jou</c:v>
                </c:pt>
                <c:pt idx="20">
                  <c:v>All Others</c:v>
                </c:pt>
                <c:pt idx="21">
                  <c:v>Ruinart</c:v>
                </c:pt>
                <c:pt idx="22">
                  <c:v>All Others</c:v>
                </c:pt>
                <c:pt idx="23">
                  <c:v>Ruinart</c:v>
                </c:pt>
                <c:pt idx="24">
                  <c:v>Roederer</c:v>
                </c:pt>
                <c:pt idx="25">
                  <c:v>Laurent Per</c:v>
                </c:pt>
                <c:pt idx="26">
                  <c:v>Pommery</c:v>
                </c:pt>
                <c:pt idx="27">
                  <c:v>All Others</c:v>
                </c:pt>
                <c:pt idx="28">
                  <c:v>Vesselle</c:v>
                </c:pt>
                <c:pt idx="29">
                  <c:v>Dom Perigno</c:v>
                </c:pt>
                <c:pt idx="30">
                  <c:v>Bottega</c:v>
                </c:pt>
                <c:pt idx="31">
                  <c:v>Deutz</c:v>
                </c:pt>
                <c:pt idx="32">
                  <c:v>Mure</c:v>
                </c:pt>
                <c:pt idx="33">
                  <c:v>Savian</c:v>
                </c:pt>
                <c:pt idx="34">
                  <c:v>Veuve Clicq</c:v>
                </c:pt>
                <c:pt idx="35">
                  <c:v>Henriot</c:v>
                </c:pt>
                <c:pt idx="36">
                  <c:v>Moët &amp; Chan</c:v>
                </c:pt>
                <c:pt idx="37">
                  <c:v>Demoiselle</c:v>
                </c:pt>
                <c:pt idx="38">
                  <c:v>Malard</c:v>
                </c:pt>
                <c:pt idx="39">
                  <c:v>Laurent Per</c:v>
                </c:pt>
                <c:pt idx="40">
                  <c:v>Dom Perigno</c:v>
                </c:pt>
                <c:pt idx="41">
                  <c:v>Ruinart</c:v>
                </c:pt>
                <c:pt idx="42">
                  <c:v>Patriarche</c:v>
                </c:pt>
                <c:pt idx="43">
                  <c:v>Taittinger</c:v>
                </c:pt>
                <c:pt idx="44">
                  <c:v>Nicolas</c:v>
                </c:pt>
                <c:pt idx="45">
                  <c:v>Roederer</c:v>
                </c:pt>
                <c:pt idx="46">
                  <c:v>Veuve Clicq</c:v>
                </c:pt>
                <c:pt idx="47">
                  <c:v>Bouvet-Ladu</c:v>
                </c:pt>
                <c:pt idx="48">
                  <c:v>De Chanceny</c:v>
                </c:pt>
                <c:pt idx="49">
                  <c:v>Veuve Clicq</c:v>
                </c:pt>
                <c:pt idx="50">
                  <c:v>Moët &amp; Chan</c:v>
                </c:pt>
                <c:pt idx="51">
                  <c:v>Piper Heids</c:v>
                </c:pt>
                <c:pt idx="52">
                  <c:v>French Bloo</c:v>
                </c:pt>
                <c:pt idx="53">
                  <c:v>Besserat De</c:v>
                </c:pt>
                <c:pt idx="54">
                  <c:v>Malard</c:v>
                </c:pt>
                <c:pt idx="55">
                  <c:v>Ruinart</c:v>
                </c:pt>
                <c:pt idx="56">
                  <c:v>De Venoge</c:v>
                </c:pt>
                <c:pt idx="57">
                  <c:v>Deutz</c:v>
                </c:pt>
                <c:pt idx="58">
                  <c:v>Savian</c:v>
                </c:pt>
                <c:pt idx="59">
                  <c:v>Nicolas</c:v>
                </c:pt>
                <c:pt idx="60">
                  <c:v>Ruinart</c:v>
                </c:pt>
                <c:pt idx="61">
                  <c:v>All Others</c:v>
                </c:pt>
                <c:pt idx="62">
                  <c:v>Nicolas Feu</c:v>
                </c:pt>
                <c:pt idx="63">
                  <c:v>Moët &amp; Chan</c:v>
                </c:pt>
                <c:pt idx="64">
                  <c:v>Louis Marti</c:v>
                </c:pt>
                <c:pt idx="65">
                  <c:v>Lanson</c:v>
                </c:pt>
                <c:pt idx="66">
                  <c:v>Nicolas Feu</c:v>
                </c:pt>
                <c:pt idx="67">
                  <c:v>Lyre's</c:v>
                </c:pt>
                <c:pt idx="68">
                  <c:v>Campari: Al</c:v>
                </c:pt>
                <c:pt idx="69">
                  <c:v>Nicolas</c:v>
                </c:pt>
                <c:pt idx="70">
                  <c:v>Canard Duch</c:v>
                </c:pt>
                <c:pt idx="71">
                  <c:v>Malard</c:v>
                </c:pt>
                <c:pt idx="72">
                  <c:v>Delamotte</c:v>
                </c:pt>
                <c:pt idx="73">
                  <c:v>Henriot</c:v>
                </c:pt>
                <c:pt idx="74">
                  <c:v>Nicolas Feu</c:v>
                </c:pt>
                <c:pt idx="75">
                  <c:v>Krug</c:v>
                </c:pt>
                <c:pt idx="76">
                  <c:v>Malard</c:v>
                </c:pt>
                <c:pt idx="77">
                  <c:v>Besserat De</c:v>
                </c:pt>
                <c:pt idx="78">
                  <c:v>Vranken</c:v>
                </c:pt>
                <c:pt idx="79">
                  <c:v>De Chanceny</c:v>
                </c:pt>
                <c:pt idx="80">
                  <c:v>Bollinger</c:v>
                </c:pt>
                <c:pt idx="81">
                  <c:v>Ruinart</c:v>
                </c:pt>
                <c:pt idx="82">
                  <c:v>Henriot</c:v>
                </c:pt>
                <c:pt idx="83">
                  <c:v>Kriter</c:v>
                </c:pt>
                <c:pt idx="84">
                  <c:v>De Bligny</c:v>
                </c:pt>
                <c:pt idx="85">
                  <c:v>Roederer</c:v>
                </c:pt>
                <c:pt idx="86">
                  <c:v>Laurent Per</c:v>
                </c:pt>
                <c:pt idx="87">
                  <c:v>All Others</c:v>
                </c:pt>
                <c:pt idx="88">
                  <c:v>Pommery</c:v>
                </c:pt>
                <c:pt idx="89">
                  <c:v>All Others</c:v>
                </c:pt>
                <c:pt idx="90">
                  <c:v>All Others</c:v>
                </c:pt>
                <c:pt idx="91">
                  <c:v>Roederer</c:v>
                </c:pt>
                <c:pt idx="92">
                  <c:v>Roederer</c:v>
                </c:pt>
                <c:pt idx="93">
                  <c:v>Patriarche</c:v>
                </c:pt>
                <c:pt idx="94">
                  <c:v>Ayala</c:v>
                </c:pt>
                <c:pt idx="95">
                  <c:v>Nicolas</c:v>
                </c:pt>
                <c:pt idx="96">
                  <c:v>De Venoge</c:v>
                </c:pt>
                <c:pt idx="97">
                  <c:v>Ruinart</c:v>
                </c:pt>
                <c:pt idx="98">
                  <c:v>Canard Duch</c:v>
                </c:pt>
                <c:pt idx="99">
                  <c:v>Roederer</c:v>
                </c:pt>
                <c:pt idx="100">
                  <c:v>Laurent Per</c:v>
                </c:pt>
                <c:pt idx="101">
                  <c:v>Henriot</c:v>
                </c:pt>
                <c:pt idx="102">
                  <c:v>Roederer</c:v>
                </c:pt>
                <c:pt idx="103">
                  <c:v>De Venoge</c:v>
                </c:pt>
                <c:pt idx="104">
                  <c:v>Deutz</c:v>
                </c:pt>
                <c:pt idx="105">
                  <c:v>Perrier Jou</c:v>
                </c:pt>
                <c:pt idx="106">
                  <c:v>De Venoge</c:v>
                </c:pt>
                <c:pt idx="107">
                  <c:v>Malard</c:v>
                </c:pt>
                <c:pt idx="108">
                  <c:v>Ruinart</c:v>
                </c:pt>
                <c:pt idx="109">
                  <c:v>Roederer</c:v>
                </c:pt>
                <c:pt idx="110">
                  <c:v>Ruinart</c:v>
                </c:pt>
                <c:pt idx="111">
                  <c:v>Ruinart</c:v>
                </c:pt>
                <c:pt idx="112">
                  <c:v>Roederer</c:v>
                </c:pt>
                <c:pt idx="113">
                  <c:v>Dom Perigno</c:v>
                </c:pt>
                <c:pt idx="114">
                  <c:v>Bollinger</c:v>
                </c:pt>
                <c:pt idx="115">
                  <c:v>Deutz</c:v>
                </c:pt>
                <c:pt idx="116">
                  <c:v>Vranken</c:v>
                </c:pt>
                <c:pt idx="117">
                  <c:v>Canard Duch</c:v>
                </c:pt>
                <c:pt idx="118">
                  <c:v>Bottega</c:v>
                </c:pt>
                <c:pt idx="119">
                  <c:v>Cru La Maqu</c:v>
                </c:pt>
                <c:pt idx="120">
                  <c:v>Moët &amp; Chan</c:v>
                </c:pt>
                <c:pt idx="121">
                  <c:v>Nicolas</c:v>
                </c:pt>
                <c:pt idx="122">
                  <c:v>Canard Duch</c:v>
                </c:pt>
                <c:pt idx="123">
                  <c:v>Nicolas Feu</c:v>
                </c:pt>
                <c:pt idx="124">
                  <c:v>Bollinger</c:v>
                </c:pt>
                <c:pt idx="125">
                  <c:v>Veuve Clicq</c:v>
                </c:pt>
                <c:pt idx="126">
                  <c:v>All Others</c:v>
                </c:pt>
                <c:pt idx="127">
                  <c:v>All Others</c:v>
                </c:pt>
                <c:pt idx="128">
                  <c:v>All Others</c:v>
                </c:pt>
                <c:pt idx="129">
                  <c:v>Nicolas</c:v>
                </c:pt>
                <c:pt idx="130">
                  <c:v>Nicolas</c:v>
                </c:pt>
                <c:pt idx="131">
                  <c:v>All Others</c:v>
                </c:pt>
                <c:pt idx="132">
                  <c:v>Contarini</c:v>
                </c:pt>
                <c:pt idx="133">
                  <c:v>Nicolas</c:v>
                </c:pt>
                <c:pt idx="134">
                  <c:v>Taittinger</c:v>
                </c:pt>
                <c:pt idx="135">
                  <c:v>All Others</c:v>
                </c:pt>
                <c:pt idx="136">
                  <c:v>All Others</c:v>
                </c:pt>
                <c:pt idx="137">
                  <c:v>Roederer</c:v>
                </c:pt>
                <c:pt idx="138">
                  <c:v>Laurent Per</c:v>
                </c:pt>
                <c:pt idx="139">
                  <c:v>Nicolas</c:v>
                </c:pt>
                <c:pt idx="140">
                  <c:v>All Others</c:v>
                </c:pt>
                <c:pt idx="141">
                  <c:v>Nicolas</c:v>
                </c:pt>
                <c:pt idx="142">
                  <c:v>Moët &amp; Chan</c:v>
                </c:pt>
                <c:pt idx="143">
                  <c:v>Ruinart</c:v>
                </c:pt>
                <c:pt idx="144">
                  <c:v>Besserat De</c:v>
                </c:pt>
                <c:pt idx="145">
                  <c:v>Delamotte</c:v>
                </c:pt>
                <c:pt idx="146">
                  <c:v>All Others</c:v>
                </c:pt>
                <c:pt idx="147">
                  <c:v>Nicolas</c:v>
                </c:pt>
                <c:pt idx="148">
                  <c:v>Demoiselle</c:v>
                </c:pt>
                <c:pt idx="149">
                  <c:v>Ruinart</c:v>
                </c:pt>
                <c:pt idx="150">
                  <c:v>Pommery</c:v>
                </c:pt>
                <c:pt idx="151">
                  <c:v>All Others</c:v>
                </c:pt>
                <c:pt idx="152">
                  <c:v>Nicolas</c:v>
                </c:pt>
                <c:pt idx="153">
                  <c:v>All Others</c:v>
                </c:pt>
                <c:pt idx="154">
                  <c:v>Louis Marti</c:v>
                </c:pt>
                <c:pt idx="155">
                  <c:v>Nicolas</c:v>
                </c:pt>
                <c:pt idx="156">
                  <c:v>Nicolas</c:v>
                </c:pt>
                <c:pt idx="157">
                  <c:v>Lanson</c:v>
                </c:pt>
                <c:pt idx="158">
                  <c:v>Vranken</c:v>
                </c:pt>
                <c:pt idx="159">
                  <c:v>All Others</c:v>
                </c:pt>
                <c:pt idx="160">
                  <c:v>All Others</c:v>
                </c:pt>
                <c:pt idx="161">
                  <c:v>Roederer</c:v>
                </c:pt>
                <c:pt idx="162">
                  <c:v>Pommery</c:v>
                </c:pt>
                <c:pt idx="163">
                  <c:v>Contarini</c:v>
                </c:pt>
                <c:pt idx="164">
                  <c:v>Deutz</c:v>
                </c:pt>
                <c:pt idx="165">
                  <c:v>Ruinart</c:v>
                </c:pt>
                <c:pt idx="166">
                  <c:v>Canard Duch</c:v>
                </c:pt>
                <c:pt idx="167">
                  <c:v>Pommery</c:v>
                </c:pt>
                <c:pt idx="168">
                  <c:v>Vesselle</c:v>
                </c:pt>
                <c:pt idx="169">
                  <c:v>Ruinart</c:v>
                </c:pt>
                <c:pt idx="170">
                  <c:v>Ayala</c:v>
                </c:pt>
                <c:pt idx="171">
                  <c:v>All Others</c:v>
                </c:pt>
                <c:pt idx="172">
                  <c:v>Laurent Per</c:v>
                </c:pt>
                <c:pt idx="173">
                  <c:v>Pommery</c:v>
                </c:pt>
                <c:pt idx="174">
                  <c:v>Perrier Jou</c:v>
                </c:pt>
                <c:pt idx="175">
                  <c:v>Laurent Per</c:v>
                </c:pt>
                <c:pt idx="176">
                  <c:v>Nicolas</c:v>
                </c:pt>
                <c:pt idx="177">
                  <c:v>All Others</c:v>
                </c:pt>
                <c:pt idx="178">
                  <c:v>Deutz</c:v>
                </c:pt>
                <c:pt idx="179">
                  <c:v>Nicolas</c:v>
                </c:pt>
                <c:pt idx="180">
                  <c:v>Piper Heids</c:v>
                </c:pt>
                <c:pt idx="181">
                  <c:v>Roederer</c:v>
                </c:pt>
                <c:pt idx="182">
                  <c:v>Piper Heids</c:v>
                </c:pt>
                <c:pt idx="183">
                  <c:v>All Others</c:v>
                </c:pt>
                <c:pt idx="184">
                  <c:v>All Others</c:v>
                </c:pt>
                <c:pt idx="185">
                  <c:v>Vesselle</c:v>
                </c:pt>
                <c:pt idx="186">
                  <c:v>Roederer</c:v>
                </c:pt>
                <c:pt idx="187">
                  <c:v>Ruinart</c:v>
                </c:pt>
                <c:pt idx="188">
                  <c:v>All Others</c:v>
                </c:pt>
                <c:pt idx="189">
                  <c:v>All Others</c:v>
                </c:pt>
                <c:pt idx="190">
                  <c:v>Taittinger</c:v>
                </c:pt>
                <c:pt idx="191">
                  <c:v>Pommery</c:v>
                </c:pt>
                <c:pt idx="192">
                  <c:v>Bollinger</c:v>
                </c:pt>
                <c:pt idx="193">
                  <c:v>Demoiselle</c:v>
                </c:pt>
                <c:pt idx="194">
                  <c:v>Deutz</c:v>
                </c:pt>
                <c:pt idx="195">
                  <c:v>Canard Duch</c:v>
                </c:pt>
                <c:pt idx="196">
                  <c:v>Laurent Per</c:v>
                </c:pt>
                <c:pt idx="197">
                  <c:v>Roederer</c:v>
                </c:pt>
                <c:pt idx="198">
                  <c:v>Ruinart</c:v>
                </c:pt>
                <c:pt idx="199">
                  <c:v>All Others</c:v>
                </c:pt>
                <c:pt idx="200">
                  <c:v>Mure</c:v>
                </c:pt>
                <c:pt idx="201">
                  <c:v>Besserat De</c:v>
                </c:pt>
                <c:pt idx="202">
                  <c:v>All Others</c:v>
                </c:pt>
                <c:pt idx="203">
                  <c:v>Laurent Per</c:v>
                </c:pt>
                <c:pt idx="204">
                  <c:v>All Others</c:v>
                </c:pt>
                <c:pt idx="205">
                  <c:v>Roederer</c:v>
                </c:pt>
                <c:pt idx="206">
                  <c:v>All Others</c:v>
                </c:pt>
                <c:pt idx="207">
                  <c:v>De Venoge</c:v>
                </c:pt>
                <c:pt idx="208">
                  <c:v>Dom Perigno</c:v>
                </c:pt>
                <c:pt idx="209">
                  <c:v>Nicolas</c:v>
                </c:pt>
                <c:pt idx="210">
                  <c:v>Bouvet-Ladu</c:v>
                </c:pt>
                <c:pt idx="211">
                  <c:v>Roederer</c:v>
                </c:pt>
                <c:pt idx="212">
                  <c:v>Roederer</c:v>
                </c:pt>
                <c:pt idx="213">
                  <c:v>Laurent Per</c:v>
                </c:pt>
                <c:pt idx="214">
                  <c:v>All Others</c:v>
                </c:pt>
                <c:pt idx="215">
                  <c:v>Bollinger</c:v>
                </c:pt>
                <c:pt idx="216">
                  <c:v>Taittinger</c:v>
                </c:pt>
                <c:pt idx="217">
                  <c:v>Bouvet-Ladu</c:v>
                </c:pt>
                <c:pt idx="218">
                  <c:v>All Others</c:v>
                </c:pt>
                <c:pt idx="219">
                  <c:v>De Venoge</c:v>
                </c:pt>
                <c:pt idx="220">
                  <c:v>Bollinger</c:v>
                </c:pt>
                <c:pt idx="221">
                  <c:v>Roederer</c:v>
                </c:pt>
                <c:pt idx="222">
                  <c:v>Dom Perigno</c:v>
                </c:pt>
                <c:pt idx="223">
                  <c:v>Mure</c:v>
                </c:pt>
                <c:pt idx="224">
                  <c:v>Piper Heids</c:v>
                </c:pt>
                <c:pt idx="225">
                  <c:v>Nicolas</c:v>
                </c:pt>
                <c:pt idx="226">
                  <c:v>All Others</c:v>
                </c:pt>
                <c:pt idx="227">
                  <c:v>All Others</c:v>
                </c:pt>
                <c:pt idx="228">
                  <c:v>Henriot</c:v>
                </c:pt>
                <c:pt idx="229">
                  <c:v>Bollinger</c:v>
                </c:pt>
                <c:pt idx="230">
                  <c:v>Bouvet-Ladu</c:v>
                </c:pt>
                <c:pt idx="231">
                  <c:v>Nicolas</c:v>
                </c:pt>
                <c:pt idx="232">
                  <c:v>Ruinart</c:v>
                </c:pt>
                <c:pt idx="233">
                  <c:v>De Bligny</c:v>
                </c:pt>
                <c:pt idx="234">
                  <c:v>All Others</c:v>
                </c:pt>
                <c:pt idx="235">
                  <c:v>Henriot</c:v>
                </c:pt>
                <c:pt idx="236">
                  <c:v>Canard Duch</c:v>
                </c:pt>
                <c:pt idx="237">
                  <c:v>Demoiselle</c:v>
                </c:pt>
                <c:pt idx="238">
                  <c:v>Dom Perigno</c:v>
                </c:pt>
                <c:pt idx="239">
                  <c:v>De Venoge</c:v>
                </c:pt>
                <c:pt idx="240">
                  <c:v>Nicolas</c:v>
                </c:pt>
                <c:pt idx="241">
                  <c:v>Laurent Per</c:v>
                </c:pt>
                <c:pt idx="242">
                  <c:v>Malard</c:v>
                </c:pt>
                <c:pt idx="243">
                  <c:v>Roederer</c:v>
                </c:pt>
                <c:pt idx="244">
                  <c:v>All Others</c:v>
                </c:pt>
                <c:pt idx="245">
                  <c:v>Laurent Per</c:v>
                </c:pt>
                <c:pt idx="246">
                  <c:v>All Others</c:v>
                </c:pt>
                <c:pt idx="247">
                  <c:v>Bollinger</c:v>
                </c:pt>
                <c:pt idx="248">
                  <c:v>De Venoge</c:v>
                </c:pt>
                <c:pt idx="249">
                  <c:v>All Others</c:v>
                </c:pt>
                <c:pt idx="250">
                  <c:v>All Others</c:v>
                </c:pt>
                <c:pt idx="251">
                  <c:v>De Venoge</c:v>
                </c:pt>
                <c:pt idx="252">
                  <c:v>Ruinart</c:v>
                </c:pt>
                <c:pt idx="253">
                  <c:v>All Others</c:v>
                </c:pt>
                <c:pt idx="254">
                  <c:v>Moët &amp; Chan</c:v>
                </c:pt>
                <c:pt idx="255">
                  <c:v>All Others</c:v>
                </c:pt>
                <c:pt idx="256">
                  <c:v>All Others</c:v>
                </c:pt>
                <c:pt idx="257">
                  <c:v>Veuve Clicq</c:v>
                </c:pt>
                <c:pt idx="258">
                  <c:v>Roederer</c:v>
                </c:pt>
                <c:pt idx="259">
                  <c:v>All Others</c:v>
                </c:pt>
                <c:pt idx="260">
                  <c:v>Pommery</c:v>
                </c:pt>
                <c:pt idx="261">
                  <c:v>Celene</c:v>
                </c:pt>
                <c:pt idx="262">
                  <c:v>Taittinger</c:v>
                </c:pt>
                <c:pt idx="263">
                  <c:v>All Others</c:v>
                </c:pt>
                <c:pt idx="264">
                  <c:v>Nicolas Feu</c:v>
                </c:pt>
                <c:pt idx="265">
                  <c:v>Perrier Jou</c:v>
                </c:pt>
                <c:pt idx="266">
                  <c:v>Bouvet-Ladu</c:v>
                </c:pt>
                <c:pt idx="267">
                  <c:v>All Others</c:v>
                </c:pt>
                <c:pt idx="268">
                  <c:v>Ruinart</c:v>
                </c:pt>
                <c:pt idx="269">
                  <c:v>All Others</c:v>
                </c:pt>
                <c:pt idx="270">
                  <c:v>Celene</c:v>
                </c:pt>
                <c:pt idx="271">
                  <c:v>Piper Heids</c:v>
                </c:pt>
                <c:pt idx="272">
                  <c:v>Veuve Clicq</c:v>
                </c:pt>
                <c:pt idx="273">
                  <c:v>Veuve Clicq</c:v>
                </c:pt>
                <c:pt idx="274">
                  <c:v>Canard Duch</c:v>
                </c:pt>
                <c:pt idx="275">
                  <c:v>Roederer</c:v>
                </c:pt>
                <c:pt idx="276">
                  <c:v>Perrier Jou</c:v>
                </c:pt>
                <c:pt idx="277">
                  <c:v>All Others</c:v>
                </c:pt>
                <c:pt idx="278">
                  <c:v>All Others</c:v>
                </c:pt>
                <c:pt idx="279">
                  <c:v>Bottega</c:v>
                </c:pt>
                <c:pt idx="280">
                  <c:v>Deutz</c:v>
                </c:pt>
                <c:pt idx="281">
                  <c:v>All Others</c:v>
                </c:pt>
                <c:pt idx="282">
                  <c:v>Deutz</c:v>
                </c:pt>
                <c:pt idx="283">
                  <c:v>Laurent Per</c:v>
                </c:pt>
                <c:pt idx="284">
                  <c:v>Martel</c:v>
                </c:pt>
                <c:pt idx="285">
                  <c:v>Pommery</c:v>
                </c:pt>
                <c:pt idx="286">
                  <c:v>Ruinart</c:v>
                </c:pt>
                <c:pt idx="287">
                  <c:v>Ayala</c:v>
                </c:pt>
                <c:pt idx="288">
                  <c:v>Roederer</c:v>
                </c:pt>
                <c:pt idx="289">
                  <c:v>Demoiselle</c:v>
                </c:pt>
                <c:pt idx="290">
                  <c:v>Besserat De</c:v>
                </c:pt>
                <c:pt idx="291">
                  <c:v>Lanson</c:v>
                </c:pt>
                <c:pt idx="292">
                  <c:v>Bollinger</c:v>
                </c:pt>
                <c:pt idx="293">
                  <c:v>Demoiselle</c:v>
                </c:pt>
                <c:pt idx="294">
                  <c:v>Bollinger</c:v>
                </c:pt>
                <c:pt idx="295">
                  <c:v>Moët &amp; Chan</c:v>
                </c:pt>
                <c:pt idx="296">
                  <c:v>Roederer</c:v>
                </c:pt>
                <c:pt idx="297">
                  <c:v>Jaillance</c:v>
                </c:pt>
                <c:pt idx="298">
                  <c:v>Ruinart</c:v>
                </c:pt>
                <c:pt idx="299">
                  <c:v>All Others</c:v>
                </c:pt>
                <c:pt idx="300">
                  <c:v>All Others</c:v>
                </c:pt>
                <c:pt idx="301">
                  <c:v>Besserat De</c:v>
                </c:pt>
                <c:pt idx="302">
                  <c:v>De Venoge</c:v>
                </c:pt>
                <c:pt idx="303">
                  <c:v>All Others</c:v>
                </c:pt>
                <c:pt idx="304">
                  <c:v>All Others</c:v>
                </c:pt>
                <c:pt idx="305">
                  <c:v>Laurent Per</c:v>
                </c:pt>
                <c:pt idx="306">
                  <c:v>Nicolas</c:v>
                </c:pt>
                <c:pt idx="307">
                  <c:v>Malard</c:v>
                </c:pt>
                <c:pt idx="308">
                  <c:v>Bouvet-Ladu</c:v>
                </c:pt>
                <c:pt idx="309">
                  <c:v>All Others</c:v>
                </c:pt>
                <c:pt idx="310">
                  <c:v>Nicolas</c:v>
                </c:pt>
                <c:pt idx="311">
                  <c:v>All Others</c:v>
                </c:pt>
                <c:pt idx="312">
                  <c:v>All Others</c:v>
                </c:pt>
              </c:strCache>
            </c:strRef>
          </c:cat>
          <c:val>
            <c:numRef>
              <c:f>Sheet1!$B$2:$B$314</c:f>
              <c:numCache>
                <c:formatCode>General</c:formatCode>
                <c:ptCount val="313"/>
                <c:pt idx="0">
                  <c:v>1</c:v>
                </c:pt>
                <c:pt idx="1">
                  <c:v>1</c:v>
                </c:pt>
                <c:pt idx="2">
                  <c:v>1</c:v>
                </c:pt>
                <c:pt idx="3">
                  <c:v>0.88</c:v>
                </c:pt>
                <c:pt idx="4">
                  <c:v>1</c:v>
                </c:pt>
                <c:pt idx="5">
                  <c:v>0.99</c:v>
                </c:pt>
                <c:pt idx="6">
                  <c:v>1</c:v>
                </c:pt>
                <c:pt idx="7">
                  <c:v>1</c:v>
                </c:pt>
                <c:pt idx="8">
                  <c:v>0.99</c:v>
                </c:pt>
                <c:pt idx="9">
                  <c:v>0.94</c:v>
                </c:pt>
                <c:pt idx="10">
                  <c:v>0.76</c:v>
                </c:pt>
                <c:pt idx="11">
                  <c:v>0.98</c:v>
                </c:pt>
                <c:pt idx="12">
                  <c:v>0.73</c:v>
                </c:pt>
                <c:pt idx="13">
                  <c:v>0.93</c:v>
                </c:pt>
                <c:pt idx="14">
                  <c:v>0.97</c:v>
                </c:pt>
                <c:pt idx="15">
                  <c:v>0.86</c:v>
                </c:pt>
                <c:pt idx="16">
                  <c:v>0.97</c:v>
                </c:pt>
                <c:pt idx="17">
                  <c:v>0.74</c:v>
                </c:pt>
                <c:pt idx="18">
                  <c:v>0.78</c:v>
                </c:pt>
                <c:pt idx="19">
                  <c:v>0.89</c:v>
                </c:pt>
                <c:pt idx="20">
                  <c:v>0.99</c:v>
                </c:pt>
                <c:pt idx="21">
                  <c:v>0.61</c:v>
                </c:pt>
                <c:pt idx="22">
                  <c:v>0.92</c:v>
                </c:pt>
                <c:pt idx="23">
                  <c:v>0.81</c:v>
                </c:pt>
                <c:pt idx="24">
                  <c:v>0.64</c:v>
                </c:pt>
                <c:pt idx="25">
                  <c:v>0.82</c:v>
                </c:pt>
                <c:pt idx="26">
                  <c:v>0.73</c:v>
                </c:pt>
                <c:pt idx="27">
                  <c:v>0.74</c:v>
                </c:pt>
                <c:pt idx="28">
                  <c:v>0.86</c:v>
                </c:pt>
                <c:pt idx="29">
                  <c:v>0.28000000000000003</c:v>
                </c:pt>
                <c:pt idx="30">
                  <c:v>0.86</c:v>
                </c:pt>
                <c:pt idx="31">
                  <c:v>0.77</c:v>
                </c:pt>
                <c:pt idx="32">
                  <c:v>0.8</c:v>
                </c:pt>
                <c:pt idx="33">
                  <c:v>0.79</c:v>
                </c:pt>
                <c:pt idx="34">
                  <c:v>0.71</c:v>
                </c:pt>
                <c:pt idx="35">
                  <c:v>0.7</c:v>
                </c:pt>
                <c:pt idx="36">
                  <c:v>0.75</c:v>
                </c:pt>
                <c:pt idx="37">
                  <c:v>0.86</c:v>
                </c:pt>
                <c:pt idx="38">
                  <c:v>0.7</c:v>
                </c:pt>
                <c:pt idx="39">
                  <c:v>0.76</c:v>
                </c:pt>
                <c:pt idx="40">
                  <c:v>0.33</c:v>
                </c:pt>
                <c:pt idx="41">
                  <c:v>0.37</c:v>
                </c:pt>
                <c:pt idx="42">
                  <c:v>0.87</c:v>
                </c:pt>
                <c:pt idx="43">
                  <c:v>0.54</c:v>
                </c:pt>
                <c:pt idx="44">
                  <c:v>0.69</c:v>
                </c:pt>
                <c:pt idx="45">
                  <c:v>0.5</c:v>
                </c:pt>
                <c:pt idx="46">
                  <c:v>0.56000000000000005</c:v>
                </c:pt>
                <c:pt idx="47">
                  <c:v>0.77</c:v>
                </c:pt>
                <c:pt idx="48">
                  <c:v>0.7</c:v>
                </c:pt>
                <c:pt idx="49">
                  <c:v>0.68</c:v>
                </c:pt>
                <c:pt idx="50">
                  <c:v>0.61</c:v>
                </c:pt>
                <c:pt idx="51">
                  <c:v>0.6</c:v>
                </c:pt>
                <c:pt idx="52">
                  <c:v>0.73</c:v>
                </c:pt>
                <c:pt idx="53">
                  <c:v>0.39</c:v>
                </c:pt>
                <c:pt idx="54">
                  <c:v>0.61</c:v>
                </c:pt>
                <c:pt idx="55">
                  <c:v>0.59</c:v>
                </c:pt>
                <c:pt idx="56">
                  <c:v>0.6</c:v>
                </c:pt>
                <c:pt idx="57">
                  <c:v>0.77</c:v>
                </c:pt>
                <c:pt idx="58">
                  <c:v>0.75</c:v>
                </c:pt>
                <c:pt idx="59">
                  <c:v>0.75</c:v>
                </c:pt>
                <c:pt idx="60">
                  <c:v>0.78</c:v>
                </c:pt>
                <c:pt idx="61">
                  <c:v>0.43</c:v>
                </c:pt>
                <c:pt idx="62">
                  <c:v>0.59</c:v>
                </c:pt>
                <c:pt idx="63">
                  <c:v>0.61</c:v>
                </c:pt>
                <c:pt idx="64">
                  <c:v>0.56000000000000005</c:v>
                </c:pt>
                <c:pt idx="65">
                  <c:v>0.53</c:v>
                </c:pt>
                <c:pt idx="66">
                  <c:v>0.64</c:v>
                </c:pt>
                <c:pt idx="67">
                  <c:v>0.9</c:v>
                </c:pt>
                <c:pt idx="68">
                  <c:v>0.56999999999999995</c:v>
                </c:pt>
                <c:pt idx="69">
                  <c:v>0.91</c:v>
                </c:pt>
                <c:pt idx="70">
                  <c:v>0.79</c:v>
                </c:pt>
                <c:pt idx="71">
                  <c:v>0.51</c:v>
                </c:pt>
                <c:pt idx="72">
                  <c:v>0.31</c:v>
                </c:pt>
                <c:pt idx="73">
                  <c:v>0.68</c:v>
                </c:pt>
                <c:pt idx="74">
                  <c:v>0.5</c:v>
                </c:pt>
                <c:pt idx="75">
                  <c:v>0.13</c:v>
                </c:pt>
                <c:pt idx="76">
                  <c:v>0.56000000000000005</c:v>
                </c:pt>
                <c:pt idx="77">
                  <c:v>0.45</c:v>
                </c:pt>
                <c:pt idx="78">
                  <c:v>0.28000000000000003</c:v>
                </c:pt>
                <c:pt idx="79">
                  <c:v>0.67</c:v>
                </c:pt>
                <c:pt idx="80">
                  <c:v>0.23</c:v>
                </c:pt>
                <c:pt idx="81">
                  <c:v>0.36</c:v>
                </c:pt>
                <c:pt idx="82">
                  <c:v>0.43</c:v>
                </c:pt>
                <c:pt idx="83">
                  <c:v>0.64</c:v>
                </c:pt>
                <c:pt idx="84">
                  <c:v>0.55000000000000004</c:v>
                </c:pt>
                <c:pt idx="85">
                  <c:v>0.15</c:v>
                </c:pt>
                <c:pt idx="86">
                  <c:v>0.3</c:v>
                </c:pt>
                <c:pt idx="87">
                  <c:v>0.06</c:v>
                </c:pt>
                <c:pt idx="88">
                  <c:v>0.5</c:v>
                </c:pt>
                <c:pt idx="89">
                  <c:v>0.52</c:v>
                </c:pt>
                <c:pt idx="90">
                  <c:v>0.12</c:v>
                </c:pt>
                <c:pt idx="91">
                  <c:v>0.17</c:v>
                </c:pt>
                <c:pt idx="92">
                  <c:v>0.3</c:v>
                </c:pt>
                <c:pt idx="93">
                  <c:v>0.61</c:v>
                </c:pt>
                <c:pt idx="94">
                  <c:v>0.38</c:v>
                </c:pt>
                <c:pt idx="95">
                  <c:v>0.45</c:v>
                </c:pt>
                <c:pt idx="96">
                  <c:v>0.39</c:v>
                </c:pt>
                <c:pt idx="97">
                  <c:v>0.27</c:v>
                </c:pt>
                <c:pt idx="98">
                  <c:v>0.42</c:v>
                </c:pt>
                <c:pt idx="99">
                  <c:v>0.28000000000000003</c:v>
                </c:pt>
                <c:pt idx="100">
                  <c:v>0.17</c:v>
                </c:pt>
                <c:pt idx="101">
                  <c:v>0.41</c:v>
                </c:pt>
                <c:pt idx="102">
                  <c:v>0.06</c:v>
                </c:pt>
                <c:pt idx="103">
                  <c:v>0.37</c:v>
                </c:pt>
                <c:pt idx="104">
                  <c:v>0.56999999999999995</c:v>
                </c:pt>
                <c:pt idx="105">
                  <c:v>0.23</c:v>
                </c:pt>
                <c:pt idx="106">
                  <c:v>0.26</c:v>
                </c:pt>
                <c:pt idx="107">
                  <c:v>0.37</c:v>
                </c:pt>
                <c:pt idx="108">
                  <c:v>0.28000000000000003</c:v>
                </c:pt>
                <c:pt idx="109">
                  <c:v>0.25</c:v>
                </c:pt>
                <c:pt idx="110">
                  <c:v>0.22</c:v>
                </c:pt>
                <c:pt idx="111">
                  <c:v>0.18</c:v>
                </c:pt>
                <c:pt idx="112">
                  <c:v>0.3</c:v>
                </c:pt>
                <c:pt idx="113">
                  <c:v>0.13</c:v>
                </c:pt>
                <c:pt idx="114">
                  <c:v>0.18</c:v>
                </c:pt>
                <c:pt idx="115">
                  <c:v>0.12</c:v>
                </c:pt>
                <c:pt idx="116">
                  <c:v>0.16</c:v>
                </c:pt>
                <c:pt idx="117">
                  <c:v>0.27</c:v>
                </c:pt>
                <c:pt idx="118">
                  <c:v>0.47</c:v>
                </c:pt>
                <c:pt idx="119">
                  <c:v>0.54</c:v>
                </c:pt>
                <c:pt idx="120">
                  <c:v>0.28000000000000003</c:v>
                </c:pt>
                <c:pt idx="121">
                  <c:v>0.21</c:v>
                </c:pt>
                <c:pt idx="122">
                  <c:v>0.16</c:v>
                </c:pt>
                <c:pt idx="123">
                  <c:v>0.25</c:v>
                </c:pt>
                <c:pt idx="124">
                  <c:v>0.11</c:v>
                </c:pt>
                <c:pt idx="125">
                  <c:v>0.19</c:v>
                </c:pt>
                <c:pt idx="126">
                  <c:v>0.35</c:v>
                </c:pt>
                <c:pt idx="127">
                  <c:v>0.32</c:v>
                </c:pt>
                <c:pt idx="128">
                  <c:v>0.25</c:v>
                </c:pt>
                <c:pt idx="129">
                  <c:v>0.32</c:v>
                </c:pt>
                <c:pt idx="130">
                  <c:v>0.19</c:v>
                </c:pt>
                <c:pt idx="131">
                  <c:v>0.53</c:v>
                </c:pt>
                <c:pt idx="132">
                  <c:v>0.89</c:v>
                </c:pt>
                <c:pt idx="133">
                  <c:v>0.21</c:v>
                </c:pt>
                <c:pt idx="134">
                  <c:v>7.0000000000000007E-2</c:v>
                </c:pt>
                <c:pt idx="135">
                  <c:v>0.08</c:v>
                </c:pt>
                <c:pt idx="136">
                  <c:v>0.18</c:v>
                </c:pt>
                <c:pt idx="137">
                  <c:v>0.27</c:v>
                </c:pt>
                <c:pt idx="138">
                  <c:v>0.1</c:v>
                </c:pt>
                <c:pt idx="139">
                  <c:v>0.3</c:v>
                </c:pt>
                <c:pt idx="140">
                  <c:v>0.41</c:v>
                </c:pt>
                <c:pt idx="141">
                  <c:v>0.32</c:v>
                </c:pt>
                <c:pt idx="142">
                  <c:v>0.16</c:v>
                </c:pt>
                <c:pt idx="143">
                  <c:v>0.08</c:v>
                </c:pt>
                <c:pt idx="144">
                  <c:v>0.24</c:v>
                </c:pt>
                <c:pt idx="145">
                  <c:v>0.18</c:v>
                </c:pt>
                <c:pt idx="146">
                  <c:v>0.22</c:v>
                </c:pt>
                <c:pt idx="147">
                  <c:v>0.21</c:v>
                </c:pt>
                <c:pt idx="148">
                  <c:v>0.3</c:v>
                </c:pt>
                <c:pt idx="149">
                  <c:v>0.09</c:v>
                </c:pt>
                <c:pt idx="150">
                  <c:v>0.16</c:v>
                </c:pt>
                <c:pt idx="151">
                  <c:v>0.27</c:v>
                </c:pt>
                <c:pt idx="152">
                  <c:v>0.12</c:v>
                </c:pt>
                <c:pt idx="153">
                  <c:v>0.35</c:v>
                </c:pt>
                <c:pt idx="154">
                  <c:v>0.2</c:v>
                </c:pt>
                <c:pt idx="155">
                  <c:v>0.23</c:v>
                </c:pt>
                <c:pt idx="156">
                  <c:v>0.44</c:v>
                </c:pt>
                <c:pt idx="157">
                  <c:v>0.17</c:v>
                </c:pt>
                <c:pt idx="158">
                  <c:v>0.09</c:v>
                </c:pt>
                <c:pt idx="159">
                  <c:v>0.25</c:v>
                </c:pt>
                <c:pt idx="160">
                  <c:v>0.2</c:v>
                </c:pt>
                <c:pt idx="161">
                  <c:v>0.15</c:v>
                </c:pt>
                <c:pt idx="162">
                  <c:v>0.14000000000000001</c:v>
                </c:pt>
                <c:pt idx="163">
                  <c:v>0.15</c:v>
                </c:pt>
                <c:pt idx="164">
                  <c:v>0.08</c:v>
                </c:pt>
                <c:pt idx="165">
                  <c:v>0.05</c:v>
                </c:pt>
                <c:pt idx="166">
                  <c:v>0.18</c:v>
                </c:pt>
                <c:pt idx="167">
                  <c:v>0.16</c:v>
                </c:pt>
                <c:pt idx="168">
                  <c:v>0.18</c:v>
                </c:pt>
                <c:pt idx="169">
                  <c:v>0.08</c:v>
                </c:pt>
                <c:pt idx="170">
                  <c:v>0.08</c:v>
                </c:pt>
                <c:pt idx="171">
                  <c:v>0.06</c:v>
                </c:pt>
                <c:pt idx="172">
                  <c:v>7.0000000000000007E-2</c:v>
                </c:pt>
                <c:pt idx="173">
                  <c:v>0.1</c:v>
                </c:pt>
                <c:pt idx="174">
                  <c:v>0.05</c:v>
                </c:pt>
                <c:pt idx="175">
                  <c:v>0.09</c:v>
                </c:pt>
                <c:pt idx="176">
                  <c:v>0.05</c:v>
                </c:pt>
                <c:pt idx="177">
                  <c:v>0.06</c:v>
                </c:pt>
                <c:pt idx="178">
                  <c:v>0.06</c:v>
                </c:pt>
                <c:pt idx="179">
                  <c:v>0.16</c:v>
                </c:pt>
                <c:pt idx="180">
                  <c:v>0.06</c:v>
                </c:pt>
                <c:pt idx="181">
                  <c:v>0.05</c:v>
                </c:pt>
                <c:pt idx="182">
                  <c:v>7.0000000000000007E-2</c:v>
                </c:pt>
                <c:pt idx="183">
                  <c:v>0.04</c:v>
                </c:pt>
                <c:pt idx="184">
                  <c:v>0.04</c:v>
                </c:pt>
                <c:pt idx="185">
                  <c:v>0.06</c:v>
                </c:pt>
                <c:pt idx="186">
                  <c:v>0.04</c:v>
                </c:pt>
                <c:pt idx="187">
                  <c:v>0.03</c:v>
                </c:pt>
                <c:pt idx="188">
                  <c:v>0.04</c:v>
                </c:pt>
                <c:pt idx="189">
                  <c:v>0.06</c:v>
                </c:pt>
                <c:pt idx="190">
                  <c:v>0.04</c:v>
                </c:pt>
                <c:pt idx="191">
                  <c:v>0.06</c:v>
                </c:pt>
                <c:pt idx="192">
                  <c:v>0.04</c:v>
                </c:pt>
                <c:pt idx="193">
                  <c:v>0.17</c:v>
                </c:pt>
                <c:pt idx="194">
                  <c:v>0.05</c:v>
                </c:pt>
                <c:pt idx="195">
                  <c:v>0.08</c:v>
                </c:pt>
                <c:pt idx="196">
                  <c:v>0.04</c:v>
                </c:pt>
                <c:pt idx="197">
                  <c:v>0.08</c:v>
                </c:pt>
                <c:pt idx="198">
                  <c:v>0.05</c:v>
                </c:pt>
                <c:pt idx="199">
                  <c:v>0.1</c:v>
                </c:pt>
                <c:pt idx="200">
                  <c:v>0.04</c:v>
                </c:pt>
                <c:pt idx="201">
                  <c:v>0.11</c:v>
                </c:pt>
                <c:pt idx="202">
                  <c:v>0.04</c:v>
                </c:pt>
                <c:pt idx="203">
                  <c:v>0.03</c:v>
                </c:pt>
                <c:pt idx="204">
                  <c:v>0.28000000000000003</c:v>
                </c:pt>
                <c:pt idx="205">
                  <c:v>0.03</c:v>
                </c:pt>
                <c:pt idx="206">
                  <c:v>0.16</c:v>
                </c:pt>
                <c:pt idx="207">
                  <c:v>0.05</c:v>
                </c:pt>
                <c:pt idx="208">
                  <c:v>0.04</c:v>
                </c:pt>
                <c:pt idx="209">
                  <c:v>0.12</c:v>
                </c:pt>
                <c:pt idx="210">
                  <c:v>0.08</c:v>
                </c:pt>
                <c:pt idx="211">
                  <c:v>0.03</c:v>
                </c:pt>
                <c:pt idx="212">
                  <c:v>0.03</c:v>
                </c:pt>
                <c:pt idx="213">
                  <c:v>0.04</c:v>
                </c:pt>
                <c:pt idx="214">
                  <c:v>0.04</c:v>
                </c:pt>
                <c:pt idx="215">
                  <c:v>0.03</c:v>
                </c:pt>
                <c:pt idx="216">
                  <c:v>0.08</c:v>
                </c:pt>
                <c:pt idx="217">
                  <c:v>7.0000000000000007E-2</c:v>
                </c:pt>
                <c:pt idx="218">
                  <c:v>0.15</c:v>
                </c:pt>
                <c:pt idx="219">
                  <c:v>0.05</c:v>
                </c:pt>
                <c:pt idx="220">
                  <c:v>0.03</c:v>
                </c:pt>
                <c:pt idx="221">
                  <c:v>0.06</c:v>
                </c:pt>
                <c:pt idx="222">
                  <c:v>0.04</c:v>
                </c:pt>
                <c:pt idx="223">
                  <c:v>0.04</c:v>
                </c:pt>
                <c:pt idx="224">
                  <c:v>0.04</c:v>
                </c:pt>
                <c:pt idx="225">
                  <c:v>0.04</c:v>
                </c:pt>
                <c:pt idx="226">
                  <c:v>0.04</c:v>
                </c:pt>
                <c:pt idx="227">
                  <c:v>0.1</c:v>
                </c:pt>
                <c:pt idx="228">
                  <c:v>0.03</c:v>
                </c:pt>
                <c:pt idx="229">
                  <c:v>0.04</c:v>
                </c:pt>
                <c:pt idx="230">
                  <c:v>0.06</c:v>
                </c:pt>
                <c:pt idx="231">
                  <c:v>0.04</c:v>
                </c:pt>
                <c:pt idx="232">
                  <c:v>0.04</c:v>
                </c:pt>
                <c:pt idx="233">
                  <c:v>0.05</c:v>
                </c:pt>
                <c:pt idx="234">
                  <c:v>0.06</c:v>
                </c:pt>
                <c:pt idx="235">
                  <c:v>0.04</c:v>
                </c:pt>
                <c:pt idx="236">
                  <c:v>0.09</c:v>
                </c:pt>
                <c:pt idx="237">
                  <c:v>0.05</c:v>
                </c:pt>
                <c:pt idx="238">
                  <c:v>0.04</c:v>
                </c:pt>
                <c:pt idx="239">
                  <c:v>0.04</c:v>
                </c:pt>
                <c:pt idx="240">
                  <c:v>0.05</c:v>
                </c:pt>
                <c:pt idx="241">
                  <c:v>0.03</c:v>
                </c:pt>
                <c:pt idx="242">
                  <c:v>0.05</c:v>
                </c:pt>
                <c:pt idx="243">
                  <c:v>0.04</c:v>
                </c:pt>
                <c:pt idx="244">
                  <c:v>0.02</c:v>
                </c:pt>
                <c:pt idx="245">
                  <c:v>7.0000000000000007E-2</c:v>
                </c:pt>
                <c:pt idx="246">
                  <c:v>0.03</c:v>
                </c:pt>
                <c:pt idx="247">
                  <c:v>0.03</c:v>
                </c:pt>
                <c:pt idx="248">
                  <c:v>0.03</c:v>
                </c:pt>
                <c:pt idx="249">
                  <c:v>0.04</c:v>
                </c:pt>
                <c:pt idx="250">
                  <c:v>0.05</c:v>
                </c:pt>
                <c:pt idx="251">
                  <c:v>0.02</c:v>
                </c:pt>
                <c:pt idx="252">
                  <c:v>0.04</c:v>
                </c:pt>
                <c:pt idx="253">
                  <c:v>0.03</c:v>
                </c:pt>
                <c:pt idx="254">
                  <c:v>0.02</c:v>
                </c:pt>
                <c:pt idx="255">
                  <c:v>0.04</c:v>
                </c:pt>
                <c:pt idx="256">
                  <c:v>0.05</c:v>
                </c:pt>
                <c:pt idx="257">
                  <c:v>0.04</c:v>
                </c:pt>
                <c:pt idx="258">
                  <c:v>0.03</c:v>
                </c:pt>
                <c:pt idx="259">
                  <c:v>0.01</c:v>
                </c:pt>
                <c:pt idx="260">
                  <c:v>0.02</c:v>
                </c:pt>
                <c:pt idx="261">
                  <c:v>0.06</c:v>
                </c:pt>
                <c:pt idx="262">
                  <c:v>0.03</c:v>
                </c:pt>
                <c:pt idx="263">
                  <c:v>0.04</c:v>
                </c:pt>
                <c:pt idx="264">
                  <c:v>7.0000000000000007E-2</c:v>
                </c:pt>
                <c:pt idx="265">
                  <c:v>0.02</c:v>
                </c:pt>
                <c:pt idx="266">
                  <c:v>0.04</c:v>
                </c:pt>
                <c:pt idx="267">
                  <c:v>0.06</c:v>
                </c:pt>
                <c:pt idx="268">
                  <c:v>0.03</c:v>
                </c:pt>
                <c:pt idx="269">
                  <c:v>0.05</c:v>
                </c:pt>
                <c:pt idx="270">
                  <c:v>0.08</c:v>
                </c:pt>
                <c:pt idx="271">
                  <c:v>0.03</c:v>
                </c:pt>
                <c:pt idx="272">
                  <c:v>0.01</c:v>
                </c:pt>
                <c:pt idx="273">
                  <c:v>0.02</c:v>
                </c:pt>
                <c:pt idx="274">
                  <c:v>0.03</c:v>
                </c:pt>
                <c:pt idx="275">
                  <c:v>0.03</c:v>
                </c:pt>
                <c:pt idx="276">
                  <c:v>0.02</c:v>
                </c:pt>
                <c:pt idx="277">
                  <c:v>0.06</c:v>
                </c:pt>
                <c:pt idx="278">
                  <c:v>0.04</c:v>
                </c:pt>
                <c:pt idx="279">
                  <c:v>0.03</c:v>
                </c:pt>
                <c:pt idx="280">
                  <c:v>0.02</c:v>
                </c:pt>
                <c:pt idx="281">
                  <c:v>0.04</c:v>
                </c:pt>
                <c:pt idx="282">
                  <c:v>0.03</c:v>
                </c:pt>
                <c:pt idx="283">
                  <c:v>0.02</c:v>
                </c:pt>
                <c:pt idx="284">
                  <c:v>0.03</c:v>
                </c:pt>
                <c:pt idx="285">
                  <c:v>0.03</c:v>
                </c:pt>
                <c:pt idx="286">
                  <c:v>0.04</c:v>
                </c:pt>
                <c:pt idx="287">
                  <c:v>0.02</c:v>
                </c:pt>
                <c:pt idx="288">
                  <c:v>0.04</c:v>
                </c:pt>
                <c:pt idx="289">
                  <c:v>0.01</c:v>
                </c:pt>
                <c:pt idx="290">
                  <c:v>0.03</c:v>
                </c:pt>
                <c:pt idx="291">
                  <c:v>0.02</c:v>
                </c:pt>
                <c:pt idx="292">
                  <c:v>0.02</c:v>
                </c:pt>
                <c:pt idx="293">
                  <c:v>0.02</c:v>
                </c:pt>
                <c:pt idx="294">
                  <c:v>0.03</c:v>
                </c:pt>
                <c:pt idx="295">
                  <c:v>0.03</c:v>
                </c:pt>
                <c:pt idx="296">
                  <c:v>0.02</c:v>
                </c:pt>
                <c:pt idx="297">
                  <c:v>0.04</c:v>
                </c:pt>
                <c:pt idx="298">
                  <c:v>0.01</c:v>
                </c:pt>
                <c:pt idx="299">
                  <c:v>0.03</c:v>
                </c:pt>
                <c:pt idx="300">
                  <c:v>0.05</c:v>
                </c:pt>
                <c:pt idx="301">
                  <c:v>0.01</c:v>
                </c:pt>
                <c:pt idx="302">
                  <c:v>0.02</c:v>
                </c:pt>
                <c:pt idx="303">
                  <c:v>0.02</c:v>
                </c:pt>
                <c:pt idx="304">
                  <c:v>0.04</c:v>
                </c:pt>
                <c:pt idx="305">
                  <c:v>0.03</c:v>
                </c:pt>
                <c:pt idx="306">
                  <c:v>0.01</c:v>
                </c:pt>
                <c:pt idx="307">
                  <c:v>0.02</c:v>
                </c:pt>
                <c:pt idx="308">
                  <c:v>0.01</c:v>
                </c:pt>
                <c:pt idx="309">
                  <c:v>0.02</c:v>
                </c:pt>
                <c:pt idx="310">
                  <c:v>0.01</c:v>
                </c:pt>
                <c:pt idx="311">
                  <c:v>0.02</c:v>
                </c:pt>
                <c:pt idx="312">
                  <c:v>0.02</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7ECAC4"/>
              </a:solidFill>
            </c:spPr>
            <c:extLst>
              <c:ext xmlns:c16="http://schemas.microsoft.com/office/drawing/2014/chart" uri="{C3380CC4-5D6E-409C-BE32-E72D297353CC}">
                <c16:uniqueId val="{00000074-C76F-4230-900D-40618C09729F}"/>
              </c:ext>
            </c:extLst>
          </c:dPt>
          <c:dPt>
            <c:idx val="56"/>
            <c:invertIfNegative val="0"/>
            <c:bubble3D val="0"/>
            <c:spPr>
              <a:solidFill>
                <a:srgbClr val="7ECAC4"/>
              </a:solidFill>
            </c:spPr>
            <c:extLst>
              <c:ext xmlns:c16="http://schemas.microsoft.com/office/drawing/2014/chart" uri="{C3380CC4-5D6E-409C-BE32-E72D297353CC}">
                <c16:uniqueId val="{00000076-C76F-4230-900D-40618C09729F}"/>
              </c:ext>
            </c:extLst>
          </c:dPt>
          <c:dPt>
            <c:idx val="57"/>
            <c:invertIfNegative val="0"/>
            <c:bubble3D val="0"/>
            <c:spPr>
              <a:solidFill>
                <a:srgbClr val="7ECAC4"/>
              </a:solidFill>
            </c:spPr>
            <c:extLst>
              <c:ext xmlns:c16="http://schemas.microsoft.com/office/drawing/2014/chart" uri="{C3380CC4-5D6E-409C-BE32-E72D297353CC}">
                <c16:uniqueId val="{00000078-C76F-4230-900D-40618C09729F}"/>
              </c:ext>
            </c:extLst>
          </c:dPt>
          <c:dPt>
            <c:idx val="58"/>
            <c:invertIfNegative val="0"/>
            <c:bubble3D val="0"/>
            <c:spPr>
              <a:solidFill>
                <a:srgbClr val="7ECAC4"/>
              </a:solidFill>
            </c:spPr>
            <c:extLst>
              <c:ext xmlns:c16="http://schemas.microsoft.com/office/drawing/2014/chart" uri="{C3380CC4-5D6E-409C-BE32-E72D297353CC}">
                <c16:uniqueId val="{0000007A-C76F-4230-900D-40618C09729F}"/>
              </c:ext>
            </c:extLst>
          </c:dPt>
          <c:dPt>
            <c:idx val="59"/>
            <c:invertIfNegative val="0"/>
            <c:bubble3D val="0"/>
            <c:spPr>
              <a:solidFill>
                <a:srgbClr val="7ECAC4"/>
              </a:solidFill>
            </c:spPr>
            <c:extLst>
              <c:ext xmlns:c16="http://schemas.microsoft.com/office/drawing/2014/chart" uri="{C3380CC4-5D6E-409C-BE32-E72D297353CC}">
                <c16:uniqueId val="{0000007C-C76F-4230-900D-40618C09729F}"/>
              </c:ext>
            </c:extLst>
          </c:dPt>
          <c:dPt>
            <c:idx val="60"/>
            <c:invertIfNegative val="0"/>
            <c:bubble3D val="0"/>
            <c:spPr>
              <a:solidFill>
                <a:srgbClr val="7ECAC4"/>
              </a:solidFill>
            </c:spPr>
            <c:extLst>
              <c:ext xmlns:c16="http://schemas.microsoft.com/office/drawing/2014/chart" uri="{C3380CC4-5D6E-409C-BE32-E72D297353CC}">
                <c16:uniqueId val="{0000007E-C76F-4230-900D-40618C09729F}"/>
              </c:ext>
            </c:extLst>
          </c:dPt>
          <c:dPt>
            <c:idx val="61"/>
            <c:invertIfNegative val="0"/>
            <c:bubble3D val="0"/>
            <c:spPr>
              <a:solidFill>
                <a:srgbClr val="7ECAC4"/>
              </a:solidFill>
            </c:spPr>
            <c:extLst>
              <c:ext xmlns:c16="http://schemas.microsoft.com/office/drawing/2014/chart" uri="{C3380CC4-5D6E-409C-BE32-E72D297353CC}">
                <c16:uniqueId val="{00000080-C76F-4230-900D-40618C09729F}"/>
              </c:ext>
            </c:extLst>
          </c:dPt>
          <c:dPt>
            <c:idx val="62"/>
            <c:invertIfNegative val="0"/>
            <c:bubble3D val="0"/>
            <c:spPr>
              <a:solidFill>
                <a:srgbClr val="7ECAC4"/>
              </a:solidFill>
            </c:spPr>
            <c:extLst>
              <c:ext xmlns:c16="http://schemas.microsoft.com/office/drawing/2014/chart" uri="{C3380CC4-5D6E-409C-BE32-E72D297353CC}">
                <c16:uniqueId val="{00000082-C76F-4230-900D-40618C09729F}"/>
              </c:ext>
            </c:extLst>
          </c:dPt>
          <c:dPt>
            <c:idx val="63"/>
            <c:invertIfNegative val="0"/>
            <c:bubble3D val="0"/>
            <c:spPr>
              <a:solidFill>
                <a:srgbClr val="7ECAC4"/>
              </a:solidFill>
            </c:spPr>
            <c:extLst>
              <c:ext xmlns:c16="http://schemas.microsoft.com/office/drawing/2014/chart" uri="{C3380CC4-5D6E-409C-BE32-E72D297353CC}">
                <c16:uniqueId val="{00000084-C76F-4230-900D-40618C09729F}"/>
              </c:ext>
            </c:extLst>
          </c:dPt>
          <c:dPt>
            <c:idx val="64"/>
            <c:invertIfNegative val="0"/>
            <c:bubble3D val="0"/>
            <c:spPr>
              <a:solidFill>
                <a:srgbClr val="7ECAC4"/>
              </a:solidFill>
            </c:spPr>
            <c:extLst>
              <c:ext xmlns:c16="http://schemas.microsoft.com/office/drawing/2014/chart" uri="{C3380CC4-5D6E-409C-BE32-E72D297353CC}">
                <c16:uniqueId val="{00000086-C76F-4230-900D-40618C09729F}"/>
              </c:ext>
            </c:extLst>
          </c:dPt>
          <c:dPt>
            <c:idx val="65"/>
            <c:invertIfNegative val="0"/>
            <c:bubble3D val="0"/>
            <c:spPr>
              <a:solidFill>
                <a:srgbClr val="7ECAC4"/>
              </a:solidFill>
            </c:spPr>
            <c:extLst>
              <c:ext xmlns:c16="http://schemas.microsoft.com/office/drawing/2014/chart" uri="{C3380CC4-5D6E-409C-BE32-E72D297353CC}">
                <c16:uniqueId val="{00000088-C76F-4230-900D-40618C09729F}"/>
              </c:ext>
            </c:extLst>
          </c:dPt>
          <c:dPt>
            <c:idx val="66"/>
            <c:invertIfNegative val="0"/>
            <c:bubble3D val="0"/>
            <c:spPr>
              <a:solidFill>
                <a:srgbClr val="7ECAC4"/>
              </a:solidFill>
            </c:spPr>
            <c:extLst>
              <c:ext xmlns:c16="http://schemas.microsoft.com/office/drawing/2014/chart" uri="{C3380CC4-5D6E-409C-BE32-E72D297353CC}">
                <c16:uniqueId val="{0000008A-C76F-4230-900D-40618C09729F}"/>
              </c:ext>
            </c:extLst>
          </c:dPt>
          <c:dPt>
            <c:idx val="67"/>
            <c:invertIfNegative val="0"/>
            <c:bubble3D val="0"/>
            <c:spPr>
              <a:solidFill>
                <a:srgbClr val="7ECAC4"/>
              </a:solidFill>
            </c:spPr>
            <c:extLst>
              <c:ext xmlns:c16="http://schemas.microsoft.com/office/drawing/2014/chart" uri="{C3380CC4-5D6E-409C-BE32-E72D297353CC}">
                <c16:uniqueId val="{0000008C-C76F-4230-900D-40618C09729F}"/>
              </c:ext>
            </c:extLst>
          </c:dPt>
          <c:dPt>
            <c:idx val="68"/>
            <c:invertIfNegative val="0"/>
            <c:bubble3D val="0"/>
            <c:spPr>
              <a:solidFill>
                <a:srgbClr val="7ECAC4"/>
              </a:solidFill>
            </c:spPr>
            <c:extLst>
              <c:ext xmlns:c16="http://schemas.microsoft.com/office/drawing/2014/chart" uri="{C3380CC4-5D6E-409C-BE32-E72D297353CC}">
                <c16:uniqueId val="{0000008E-C76F-4230-900D-40618C09729F}"/>
              </c:ext>
            </c:extLst>
          </c:dPt>
          <c:dPt>
            <c:idx val="69"/>
            <c:invertIfNegative val="0"/>
            <c:bubble3D val="0"/>
            <c:spPr>
              <a:solidFill>
                <a:srgbClr val="7ECAC4"/>
              </a:solidFill>
            </c:spPr>
            <c:extLst>
              <c:ext xmlns:c16="http://schemas.microsoft.com/office/drawing/2014/chart" uri="{C3380CC4-5D6E-409C-BE32-E72D297353CC}">
                <c16:uniqueId val="{00000090-C76F-4230-900D-40618C09729F}"/>
              </c:ext>
            </c:extLst>
          </c:dPt>
          <c:dPt>
            <c:idx val="70"/>
            <c:invertIfNegative val="0"/>
            <c:bubble3D val="0"/>
            <c:spPr>
              <a:solidFill>
                <a:srgbClr val="7ECAC4"/>
              </a:solidFill>
            </c:spPr>
            <c:extLst>
              <c:ext xmlns:c16="http://schemas.microsoft.com/office/drawing/2014/chart" uri="{C3380CC4-5D6E-409C-BE32-E72D297353CC}">
                <c16:uniqueId val="{00000092-C76F-4230-900D-40618C09729F}"/>
              </c:ext>
            </c:extLst>
          </c:dPt>
          <c:dPt>
            <c:idx val="71"/>
            <c:invertIfNegative val="0"/>
            <c:bubble3D val="0"/>
            <c:spPr>
              <a:solidFill>
                <a:srgbClr val="7ECAC4"/>
              </a:solidFill>
            </c:spPr>
            <c:extLst>
              <c:ext xmlns:c16="http://schemas.microsoft.com/office/drawing/2014/chart" uri="{C3380CC4-5D6E-409C-BE32-E72D297353CC}">
                <c16:uniqueId val="{00000094-C76F-4230-900D-40618C09729F}"/>
              </c:ext>
            </c:extLst>
          </c:dPt>
          <c:dPt>
            <c:idx val="72"/>
            <c:invertIfNegative val="0"/>
            <c:bubble3D val="0"/>
            <c:spPr>
              <a:solidFill>
                <a:srgbClr val="7ECAC4"/>
              </a:solidFill>
            </c:spPr>
            <c:extLst>
              <c:ext xmlns:c16="http://schemas.microsoft.com/office/drawing/2014/chart" uri="{C3380CC4-5D6E-409C-BE32-E72D297353CC}">
                <c16:uniqueId val="{00000096-C76F-4230-900D-40618C09729F}"/>
              </c:ext>
            </c:extLst>
          </c:dPt>
          <c:dPt>
            <c:idx val="73"/>
            <c:invertIfNegative val="0"/>
            <c:bubble3D val="0"/>
            <c:spPr>
              <a:solidFill>
                <a:srgbClr val="7ECAC4"/>
              </a:solidFill>
            </c:spPr>
            <c:extLst>
              <c:ext xmlns:c16="http://schemas.microsoft.com/office/drawing/2014/chart" uri="{C3380CC4-5D6E-409C-BE32-E72D297353CC}">
                <c16:uniqueId val="{00000098-C76F-4230-900D-40618C09729F}"/>
              </c:ext>
            </c:extLst>
          </c:dPt>
          <c:dPt>
            <c:idx val="74"/>
            <c:invertIfNegative val="0"/>
            <c:bubble3D val="0"/>
            <c:spPr>
              <a:solidFill>
                <a:srgbClr val="7ECAC4"/>
              </a:solidFill>
            </c:spPr>
            <c:extLst>
              <c:ext xmlns:c16="http://schemas.microsoft.com/office/drawing/2014/chart" uri="{C3380CC4-5D6E-409C-BE32-E72D297353CC}">
                <c16:uniqueId val="{0000009A-C76F-4230-900D-40618C09729F}"/>
              </c:ext>
            </c:extLst>
          </c:dPt>
          <c:dPt>
            <c:idx val="75"/>
            <c:invertIfNegative val="0"/>
            <c:bubble3D val="0"/>
            <c:spPr>
              <a:solidFill>
                <a:srgbClr val="7ECAC4"/>
              </a:solidFill>
            </c:spPr>
            <c:extLst>
              <c:ext xmlns:c16="http://schemas.microsoft.com/office/drawing/2014/chart" uri="{C3380CC4-5D6E-409C-BE32-E72D297353CC}">
                <c16:uniqueId val="{0000009C-C76F-4230-900D-40618C09729F}"/>
              </c:ext>
            </c:extLst>
          </c:dPt>
          <c:dPt>
            <c:idx val="76"/>
            <c:invertIfNegative val="0"/>
            <c:bubble3D val="0"/>
            <c:spPr>
              <a:solidFill>
                <a:srgbClr val="7ECAC4"/>
              </a:solidFill>
            </c:spPr>
            <c:extLst>
              <c:ext xmlns:c16="http://schemas.microsoft.com/office/drawing/2014/chart" uri="{C3380CC4-5D6E-409C-BE32-E72D297353CC}">
                <c16:uniqueId val="{0000009E-C76F-4230-900D-40618C09729F}"/>
              </c:ext>
            </c:extLst>
          </c:dPt>
          <c:dPt>
            <c:idx val="77"/>
            <c:invertIfNegative val="0"/>
            <c:bubble3D val="0"/>
            <c:spPr>
              <a:solidFill>
                <a:srgbClr val="7ECAC4"/>
              </a:solidFill>
            </c:spPr>
            <c:extLst>
              <c:ext xmlns:c16="http://schemas.microsoft.com/office/drawing/2014/chart" uri="{C3380CC4-5D6E-409C-BE32-E72D297353CC}">
                <c16:uniqueId val="{000000A0-C76F-4230-900D-40618C09729F}"/>
              </c:ext>
            </c:extLst>
          </c:dPt>
          <c:dPt>
            <c:idx val="78"/>
            <c:invertIfNegative val="0"/>
            <c:bubble3D val="0"/>
            <c:spPr>
              <a:solidFill>
                <a:srgbClr val="7ECAC4"/>
              </a:solidFill>
            </c:spPr>
            <c:extLst>
              <c:ext xmlns:c16="http://schemas.microsoft.com/office/drawing/2014/chart" uri="{C3380CC4-5D6E-409C-BE32-E72D297353CC}">
                <c16:uniqueId val="{000000A2-C76F-4230-900D-40618C09729F}"/>
              </c:ext>
            </c:extLst>
          </c:dPt>
          <c:dPt>
            <c:idx val="79"/>
            <c:invertIfNegative val="0"/>
            <c:bubble3D val="0"/>
            <c:spPr>
              <a:solidFill>
                <a:srgbClr val="7ECAC4"/>
              </a:solidFill>
            </c:spPr>
            <c:extLst>
              <c:ext xmlns:c16="http://schemas.microsoft.com/office/drawing/2014/chart" uri="{C3380CC4-5D6E-409C-BE32-E72D297353CC}">
                <c16:uniqueId val="{000000A4-C76F-4230-900D-40618C09729F}"/>
              </c:ext>
            </c:extLst>
          </c:dPt>
          <c:dPt>
            <c:idx val="80"/>
            <c:invertIfNegative val="0"/>
            <c:bubble3D val="0"/>
            <c:spPr>
              <a:solidFill>
                <a:srgbClr val="7ECAC4"/>
              </a:solidFill>
            </c:spPr>
            <c:extLst>
              <c:ext xmlns:c16="http://schemas.microsoft.com/office/drawing/2014/chart" uri="{C3380CC4-5D6E-409C-BE32-E72D297353CC}">
                <c16:uniqueId val="{000000A6-C76F-4230-900D-40618C09729F}"/>
              </c:ext>
            </c:extLst>
          </c:dPt>
          <c:dPt>
            <c:idx val="81"/>
            <c:invertIfNegative val="1"/>
            <c:bubble3D val="0"/>
            <c:spPr>
              <a:solidFill>
                <a:srgbClr val="7ECAC4"/>
              </a:solidFill>
            </c:spPr>
            <c:extLst>
              <c:ext xmlns:c16="http://schemas.microsoft.com/office/drawing/2014/chart" uri="{C3380CC4-5D6E-409C-BE32-E72D297353CC}">
                <c16:uniqueId val="{000000A5-2993-41DE-A2CB-63102DE87051}"/>
              </c:ext>
            </c:extLst>
          </c:dPt>
          <c:dPt>
            <c:idx val="82"/>
            <c:invertIfNegative val="1"/>
            <c:bubble3D val="0"/>
            <c:spPr>
              <a:solidFill>
                <a:srgbClr val="7ECAC4"/>
              </a:solidFill>
            </c:spPr>
            <c:extLst>
              <c:ext xmlns:c16="http://schemas.microsoft.com/office/drawing/2014/chart" uri="{C3380CC4-5D6E-409C-BE32-E72D297353CC}">
                <c16:uniqueId val="{000000A7-2993-41DE-A2CB-63102DE87051}"/>
              </c:ext>
            </c:extLst>
          </c:dPt>
          <c:dPt>
            <c:idx val="83"/>
            <c:invertIfNegative val="1"/>
            <c:bubble3D val="0"/>
            <c:spPr>
              <a:solidFill>
                <a:srgbClr val="7ECAC4"/>
              </a:solidFill>
            </c:spPr>
            <c:extLst>
              <c:ext xmlns:c16="http://schemas.microsoft.com/office/drawing/2014/chart" uri="{C3380CC4-5D6E-409C-BE32-E72D297353CC}">
                <c16:uniqueId val="{000000A9-2993-41DE-A2CB-63102DE87051}"/>
              </c:ext>
            </c:extLst>
          </c:dPt>
          <c:dPt>
            <c:idx val="84"/>
            <c:invertIfNegative val="1"/>
            <c:bubble3D val="0"/>
            <c:spPr>
              <a:solidFill>
                <a:srgbClr val="7ECAC4"/>
              </a:solidFill>
            </c:spPr>
            <c:extLst>
              <c:ext xmlns:c16="http://schemas.microsoft.com/office/drawing/2014/chart" uri="{C3380CC4-5D6E-409C-BE32-E72D297353CC}">
                <c16:uniqueId val="{000000AB-2993-41DE-A2CB-63102DE87051}"/>
              </c:ext>
            </c:extLst>
          </c:dPt>
          <c:dPt>
            <c:idx val="85"/>
            <c:invertIfNegative val="1"/>
            <c:bubble3D val="0"/>
            <c:spPr>
              <a:solidFill>
                <a:srgbClr val="7ECAC4"/>
              </a:solidFill>
            </c:spPr>
            <c:extLst>
              <c:ext xmlns:c16="http://schemas.microsoft.com/office/drawing/2014/chart" uri="{C3380CC4-5D6E-409C-BE32-E72D297353CC}">
                <c16:uniqueId val="{000000AD-2993-41DE-A2CB-63102DE87051}"/>
              </c:ext>
            </c:extLst>
          </c:dPt>
          <c:dPt>
            <c:idx val="86"/>
            <c:invertIfNegative val="1"/>
            <c:bubble3D val="0"/>
            <c:spPr>
              <a:solidFill>
                <a:srgbClr val="7ECAC4"/>
              </a:solidFill>
            </c:spPr>
            <c:extLst>
              <c:ext xmlns:c16="http://schemas.microsoft.com/office/drawing/2014/chart" uri="{C3380CC4-5D6E-409C-BE32-E72D297353CC}">
                <c16:uniqueId val="{000000AF-2993-41DE-A2CB-63102DE87051}"/>
              </c:ext>
            </c:extLst>
          </c:dPt>
          <c:dPt>
            <c:idx val="87"/>
            <c:invertIfNegative val="1"/>
            <c:bubble3D val="0"/>
            <c:spPr>
              <a:solidFill>
                <a:srgbClr val="7ECAC4"/>
              </a:solidFill>
            </c:spPr>
            <c:extLst>
              <c:ext xmlns:c16="http://schemas.microsoft.com/office/drawing/2014/chart" uri="{C3380CC4-5D6E-409C-BE32-E72D297353CC}">
                <c16:uniqueId val="{000000B1-2993-41DE-A2CB-63102DE87051}"/>
              </c:ext>
            </c:extLst>
          </c:dPt>
          <c:dPt>
            <c:idx val="88"/>
            <c:invertIfNegative val="1"/>
            <c:bubble3D val="0"/>
            <c:spPr>
              <a:solidFill>
                <a:srgbClr val="7ECAC4"/>
              </a:solidFill>
            </c:spPr>
            <c:extLst>
              <c:ext xmlns:c16="http://schemas.microsoft.com/office/drawing/2014/chart" uri="{C3380CC4-5D6E-409C-BE32-E72D297353CC}">
                <c16:uniqueId val="{000000B3-2993-41DE-A2CB-63102DE87051}"/>
              </c:ext>
            </c:extLst>
          </c:dPt>
          <c:dPt>
            <c:idx val="89"/>
            <c:invertIfNegative val="1"/>
            <c:bubble3D val="0"/>
            <c:spPr>
              <a:solidFill>
                <a:srgbClr val="7ECAC4"/>
              </a:solidFill>
            </c:spPr>
            <c:extLst>
              <c:ext xmlns:c16="http://schemas.microsoft.com/office/drawing/2014/chart" uri="{C3380CC4-5D6E-409C-BE32-E72D297353CC}">
                <c16:uniqueId val="{000000B5-2993-41DE-A2CB-63102DE87051}"/>
              </c:ext>
            </c:extLst>
          </c:dPt>
          <c:dPt>
            <c:idx val="90"/>
            <c:invertIfNegative val="1"/>
            <c:bubble3D val="0"/>
            <c:spPr>
              <a:solidFill>
                <a:srgbClr val="7ECAC4"/>
              </a:solidFill>
            </c:spPr>
            <c:extLst>
              <c:ext xmlns:c16="http://schemas.microsoft.com/office/drawing/2014/chart" uri="{C3380CC4-5D6E-409C-BE32-E72D297353CC}">
                <c16:uniqueId val="{000000B7-2993-41DE-A2CB-63102DE87051}"/>
              </c:ext>
            </c:extLst>
          </c:dPt>
          <c:dPt>
            <c:idx val="91"/>
            <c:invertIfNegative val="1"/>
            <c:bubble3D val="0"/>
            <c:spPr>
              <a:solidFill>
                <a:srgbClr val="7ECAC4"/>
              </a:solidFill>
            </c:spPr>
            <c:extLst>
              <c:ext xmlns:c16="http://schemas.microsoft.com/office/drawing/2014/chart" uri="{C3380CC4-5D6E-409C-BE32-E72D297353CC}">
                <c16:uniqueId val="{000000B9-2993-41DE-A2CB-63102DE87051}"/>
              </c:ext>
            </c:extLst>
          </c:dPt>
          <c:dPt>
            <c:idx val="92"/>
            <c:invertIfNegative val="1"/>
            <c:bubble3D val="0"/>
            <c:spPr>
              <a:solidFill>
                <a:srgbClr val="7ECAC4"/>
              </a:solidFill>
            </c:spPr>
            <c:extLst>
              <c:ext xmlns:c16="http://schemas.microsoft.com/office/drawing/2014/chart" uri="{C3380CC4-5D6E-409C-BE32-E72D297353CC}">
                <c16:uniqueId val="{000000BB-2993-41DE-A2CB-63102DE87051}"/>
              </c:ext>
            </c:extLst>
          </c:dPt>
          <c:dPt>
            <c:idx val="93"/>
            <c:invertIfNegative val="1"/>
            <c:bubble3D val="0"/>
            <c:spPr>
              <a:solidFill>
                <a:srgbClr val="7ECAC4"/>
              </a:solidFill>
            </c:spPr>
            <c:extLst>
              <c:ext xmlns:c16="http://schemas.microsoft.com/office/drawing/2014/chart" uri="{C3380CC4-5D6E-409C-BE32-E72D297353CC}">
                <c16:uniqueId val="{000000BD-2993-41DE-A2CB-63102DE87051}"/>
              </c:ext>
            </c:extLst>
          </c:dPt>
          <c:dPt>
            <c:idx val="94"/>
            <c:invertIfNegative val="1"/>
            <c:bubble3D val="0"/>
            <c:spPr>
              <a:solidFill>
                <a:srgbClr val="7ECAC4"/>
              </a:solidFill>
            </c:spPr>
            <c:extLst>
              <c:ext xmlns:c16="http://schemas.microsoft.com/office/drawing/2014/chart" uri="{C3380CC4-5D6E-409C-BE32-E72D297353CC}">
                <c16:uniqueId val="{000000BF-2993-41DE-A2CB-63102DE87051}"/>
              </c:ext>
            </c:extLst>
          </c:dPt>
          <c:dPt>
            <c:idx val="95"/>
            <c:invertIfNegative val="1"/>
            <c:bubble3D val="0"/>
            <c:spPr>
              <a:solidFill>
                <a:srgbClr val="7ECAC4"/>
              </a:solidFill>
            </c:spPr>
            <c:extLst>
              <c:ext xmlns:c16="http://schemas.microsoft.com/office/drawing/2014/chart" uri="{C3380CC4-5D6E-409C-BE32-E72D297353CC}">
                <c16:uniqueId val="{000000C1-2993-41DE-A2CB-63102DE87051}"/>
              </c:ext>
            </c:extLst>
          </c:dPt>
          <c:dPt>
            <c:idx val="96"/>
            <c:invertIfNegative val="1"/>
            <c:bubble3D val="0"/>
            <c:spPr>
              <a:solidFill>
                <a:srgbClr val="7ECAC4"/>
              </a:solidFill>
            </c:spPr>
            <c:extLst>
              <c:ext xmlns:c16="http://schemas.microsoft.com/office/drawing/2014/chart" uri="{C3380CC4-5D6E-409C-BE32-E72D297353CC}">
                <c16:uniqueId val="{000000C3-2993-41DE-A2CB-63102DE87051}"/>
              </c:ext>
            </c:extLst>
          </c:dPt>
          <c:dPt>
            <c:idx val="97"/>
            <c:invertIfNegative val="1"/>
            <c:bubble3D val="0"/>
            <c:spPr>
              <a:solidFill>
                <a:srgbClr val="7ECAC4"/>
              </a:solidFill>
            </c:spPr>
            <c:extLst>
              <c:ext xmlns:c16="http://schemas.microsoft.com/office/drawing/2014/chart" uri="{C3380CC4-5D6E-409C-BE32-E72D297353CC}">
                <c16:uniqueId val="{000000C5-2993-41DE-A2CB-63102DE87051}"/>
              </c:ext>
            </c:extLst>
          </c:dPt>
          <c:dPt>
            <c:idx val="98"/>
            <c:invertIfNegative val="1"/>
            <c:bubble3D val="0"/>
            <c:spPr>
              <a:solidFill>
                <a:srgbClr val="7ECAC4"/>
              </a:solidFill>
            </c:spPr>
            <c:extLst>
              <c:ext xmlns:c16="http://schemas.microsoft.com/office/drawing/2014/chart" uri="{C3380CC4-5D6E-409C-BE32-E72D297353CC}">
                <c16:uniqueId val="{000000C7-2993-41DE-A2CB-63102DE87051}"/>
              </c:ext>
            </c:extLst>
          </c:dPt>
          <c:dPt>
            <c:idx val="99"/>
            <c:invertIfNegative val="1"/>
            <c:bubble3D val="0"/>
            <c:spPr>
              <a:solidFill>
                <a:srgbClr val="7ECAC4"/>
              </a:solidFill>
            </c:spPr>
            <c:extLst>
              <c:ext xmlns:c16="http://schemas.microsoft.com/office/drawing/2014/chart" uri="{C3380CC4-5D6E-409C-BE32-E72D297353CC}">
                <c16:uniqueId val="{000000C9-2993-41DE-A2CB-63102DE87051}"/>
              </c:ext>
            </c:extLst>
          </c:dPt>
          <c:dPt>
            <c:idx val="100"/>
            <c:invertIfNegative val="1"/>
            <c:bubble3D val="0"/>
            <c:spPr>
              <a:solidFill>
                <a:srgbClr val="7ECAC4"/>
              </a:solidFill>
            </c:spPr>
            <c:extLst>
              <c:ext xmlns:c16="http://schemas.microsoft.com/office/drawing/2014/chart" uri="{C3380CC4-5D6E-409C-BE32-E72D297353CC}">
                <c16:uniqueId val="{000000CB-2993-41DE-A2CB-63102DE87051}"/>
              </c:ext>
            </c:extLst>
          </c:dPt>
          <c:dPt>
            <c:idx val="101"/>
            <c:invertIfNegative val="1"/>
            <c:bubble3D val="0"/>
            <c:spPr>
              <a:solidFill>
                <a:srgbClr val="7ECAC4"/>
              </a:solidFill>
            </c:spPr>
            <c:extLst>
              <c:ext xmlns:c16="http://schemas.microsoft.com/office/drawing/2014/chart" uri="{C3380CC4-5D6E-409C-BE32-E72D297353CC}">
                <c16:uniqueId val="{000000CD-2993-41DE-A2CB-63102DE87051}"/>
              </c:ext>
            </c:extLst>
          </c:dPt>
          <c:dPt>
            <c:idx val="102"/>
            <c:invertIfNegative val="1"/>
            <c:bubble3D val="0"/>
            <c:spPr>
              <a:solidFill>
                <a:srgbClr val="7ECAC4"/>
              </a:solidFill>
            </c:spPr>
            <c:extLst>
              <c:ext xmlns:c16="http://schemas.microsoft.com/office/drawing/2014/chart" uri="{C3380CC4-5D6E-409C-BE32-E72D297353CC}">
                <c16:uniqueId val="{000000CF-2993-41DE-A2CB-63102DE87051}"/>
              </c:ext>
            </c:extLst>
          </c:dPt>
          <c:dPt>
            <c:idx val="103"/>
            <c:invertIfNegative val="1"/>
            <c:bubble3D val="0"/>
            <c:spPr>
              <a:solidFill>
                <a:srgbClr val="7ECAC4"/>
              </a:solidFill>
            </c:spPr>
            <c:extLst>
              <c:ext xmlns:c16="http://schemas.microsoft.com/office/drawing/2014/chart" uri="{C3380CC4-5D6E-409C-BE32-E72D297353CC}">
                <c16:uniqueId val="{000000D1-2993-41DE-A2CB-63102DE87051}"/>
              </c:ext>
            </c:extLst>
          </c:dPt>
          <c:dPt>
            <c:idx val="104"/>
            <c:invertIfNegative val="1"/>
            <c:bubble3D val="0"/>
            <c:spPr>
              <a:solidFill>
                <a:srgbClr val="7ECAC4"/>
              </a:solidFill>
            </c:spPr>
            <c:extLst>
              <c:ext xmlns:c16="http://schemas.microsoft.com/office/drawing/2014/chart" uri="{C3380CC4-5D6E-409C-BE32-E72D297353CC}">
                <c16:uniqueId val="{000000D3-2993-41DE-A2CB-63102DE87051}"/>
              </c:ext>
            </c:extLst>
          </c:dPt>
          <c:dPt>
            <c:idx val="105"/>
            <c:invertIfNegative val="1"/>
            <c:bubble3D val="0"/>
            <c:spPr>
              <a:solidFill>
                <a:srgbClr val="7ECAC4"/>
              </a:solidFill>
            </c:spPr>
            <c:extLst>
              <c:ext xmlns:c16="http://schemas.microsoft.com/office/drawing/2014/chart" uri="{C3380CC4-5D6E-409C-BE32-E72D297353CC}">
                <c16:uniqueId val="{000000D5-2993-41DE-A2CB-63102DE87051}"/>
              </c:ext>
            </c:extLst>
          </c:dPt>
          <c:dPt>
            <c:idx val="106"/>
            <c:invertIfNegative val="1"/>
            <c:bubble3D val="0"/>
            <c:spPr>
              <a:solidFill>
                <a:srgbClr val="7ECAC4"/>
              </a:solidFill>
            </c:spPr>
            <c:extLst>
              <c:ext xmlns:c16="http://schemas.microsoft.com/office/drawing/2014/chart" uri="{C3380CC4-5D6E-409C-BE32-E72D297353CC}">
                <c16:uniqueId val="{000000D7-2993-41DE-A2CB-63102DE87051}"/>
              </c:ext>
            </c:extLst>
          </c:dPt>
          <c:dPt>
            <c:idx val="107"/>
            <c:invertIfNegative val="1"/>
            <c:bubble3D val="0"/>
            <c:spPr>
              <a:solidFill>
                <a:srgbClr val="7ECAC4"/>
              </a:solidFill>
            </c:spPr>
            <c:extLst>
              <c:ext xmlns:c16="http://schemas.microsoft.com/office/drawing/2014/chart" uri="{C3380CC4-5D6E-409C-BE32-E72D297353CC}">
                <c16:uniqueId val="{000000D9-2993-41DE-A2CB-63102DE87051}"/>
              </c:ext>
            </c:extLst>
          </c:dPt>
          <c:dPt>
            <c:idx val="108"/>
            <c:invertIfNegative val="1"/>
            <c:bubble3D val="0"/>
            <c:spPr>
              <a:solidFill>
                <a:srgbClr val="7ECAC4"/>
              </a:solidFill>
            </c:spPr>
            <c:extLst>
              <c:ext xmlns:c16="http://schemas.microsoft.com/office/drawing/2014/chart" uri="{C3380CC4-5D6E-409C-BE32-E72D297353CC}">
                <c16:uniqueId val="{000000DB-2993-41DE-A2CB-63102DE87051}"/>
              </c:ext>
            </c:extLst>
          </c:dPt>
          <c:dPt>
            <c:idx val="109"/>
            <c:invertIfNegative val="1"/>
            <c:bubble3D val="0"/>
            <c:spPr>
              <a:solidFill>
                <a:srgbClr val="7ECAC4"/>
              </a:solidFill>
            </c:spPr>
            <c:extLst>
              <c:ext xmlns:c16="http://schemas.microsoft.com/office/drawing/2014/chart" uri="{C3380CC4-5D6E-409C-BE32-E72D297353CC}">
                <c16:uniqueId val="{000000DD-2993-41DE-A2CB-63102DE87051}"/>
              </c:ext>
            </c:extLst>
          </c:dPt>
          <c:dPt>
            <c:idx val="110"/>
            <c:invertIfNegative val="1"/>
            <c:bubble3D val="0"/>
            <c:spPr>
              <a:solidFill>
                <a:srgbClr val="7ECAC4"/>
              </a:solidFill>
            </c:spPr>
            <c:extLst>
              <c:ext xmlns:c16="http://schemas.microsoft.com/office/drawing/2014/chart" uri="{C3380CC4-5D6E-409C-BE32-E72D297353CC}">
                <c16:uniqueId val="{000000DF-2993-41DE-A2CB-63102DE87051}"/>
              </c:ext>
            </c:extLst>
          </c:dPt>
          <c:dPt>
            <c:idx val="111"/>
            <c:invertIfNegative val="1"/>
            <c:bubble3D val="0"/>
            <c:spPr>
              <a:solidFill>
                <a:srgbClr val="7ECAC4"/>
              </a:solidFill>
            </c:spPr>
            <c:extLst>
              <c:ext xmlns:c16="http://schemas.microsoft.com/office/drawing/2014/chart" uri="{C3380CC4-5D6E-409C-BE32-E72D297353CC}">
                <c16:uniqueId val="{000000E1-2993-41DE-A2CB-63102DE87051}"/>
              </c:ext>
            </c:extLst>
          </c:dPt>
          <c:dPt>
            <c:idx val="112"/>
            <c:invertIfNegative val="1"/>
            <c:bubble3D val="0"/>
            <c:spPr>
              <a:solidFill>
                <a:srgbClr val="7ECAC4"/>
              </a:solidFill>
            </c:spPr>
            <c:extLst>
              <c:ext xmlns:c16="http://schemas.microsoft.com/office/drawing/2014/chart" uri="{C3380CC4-5D6E-409C-BE32-E72D297353CC}">
                <c16:uniqueId val="{000000E3-2993-41DE-A2CB-63102DE87051}"/>
              </c:ext>
            </c:extLst>
          </c:dPt>
          <c:dPt>
            <c:idx val="113"/>
            <c:invertIfNegative val="1"/>
            <c:bubble3D val="0"/>
            <c:spPr>
              <a:solidFill>
                <a:srgbClr val="7ECAC4"/>
              </a:solidFill>
            </c:spPr>
            <c:extLst>
              <c:ext xmlns:c16="http://schemas.microsoft.com/office/drawing/2014/chart" uri="{C3380CC4-5D6E-409C-BE32-E72D297353CC}">
                <c16:uniqueId val="{000000E5-2993-41DE-A2CB-63102DE87051}"/>
              </c:ext>
            </c:extLst>
          </c:dPt>
          <c:dPt>
            <c:idx val="114"/>
            <c:invertIfNegative val="1"/>
            <c:bubble3D val="0"/>
            <c:spPr>
              <a:solidFill>
                <a:srgbClr val="7ECAC4"/>
              </a:solidFill>
            </c:spPr>
            <c:extLst>
              <c:ext xmlns:c16="http://schemas.microsoft.com/office/drawing/2014/chart" uri="{C3380CC4-5D6E-409C-BE32-E72D297353CC}">
                <c16:uniqueId val="{000000E7-2993-41DE-A2CB-63102DE87051}"/>
              </c:ext>
            </c:extLst>
          </c:dPt>
          <c:dPt>
            <c:idx val="115"/>
            <c:invertIfNegative val="1"/>
            <c:bubble3D val="0"/>
            <c:spPr>
              <a:solidFill>
                <a:srgbClr val="7ECAC4"/>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AEABAB"/>
              </a:solidFill>
            </c:spPr>
            <c:extLst>
              <c:ext xmlns:c16="http://schemas.microsoft.com/office/drawing/2014/chart" uri="{C3380CC4-5D6E-409C-BE32-E72D297353CC}">
                <c16:uniqueId val="{000000ED-2993-41DE-A2CB-63102DE87051}"/>
              </c:ext>
            </c:extLst>
          </c:dPt>
          <c:dPt>
            <c:idx val="118"/>
            <c:invertIfNegative val="1"/>
            <c:bubble3D val="0"/>
            <c:spPr>
              <a:solidFill>
                <a:srgbClr val="AEABAB"/>
              </a:solidFill>
            </c:spPr>
            <c:extLst>
              <c:ext xmlns:c16="http://schemas.microsoft.com/office/drawing/2014/chart" uri="{C3380CC4-5D6E-409C-BE32-E72D297353CC}">
                <c16:uniqueId val="{000000EF-2993-41DE-A2CB-63102DE87051}"/>
              </c:ext>
            </c:extLst>
          </c:dPt>
          <c:dPt>
            <c:idx val="119"/>
            <c:invertIfNegative val="1"/>
            <c:bubble3D val="0"/>
            <c:spPr>
              <a:solidFill>
                <a:srgbClr val="AEABAB"/>
              </a:solidFill>
            </c:spPr>
            <c:extLst>
              <c:ext xmlns:c16="http://schemas.microsoft.com/office/drawing/2014/chart" uri="{C3380CC4-5D6E-409C-BE32-E72D297353CC}">
                <c16:uniqueId val="{000000F1-2993-41DE-A2CB-63102DE87051}"/>
              </c:ext>
            </c:extLst>
          </c:dPt>
          <c:dPt>
            <c:idx val="120"/>
            <c:invertIfNegative val="1"/>
            <c:bubble3D val="0"/>
            <c:spPr>
              <a:solidFill>
                <a:srgbClr val="AEABAB"/>
              </a:solidFill>
            </c:spPr>
            <c:extLst>
              <c:ext xmlns:c16="http://schemas.microsoft.com/office/drawing/2014/chart" uri="{C3380CC4-5D6E-409C-BE32-E72D297353CC}">
                <c16:uniqueId val="{000000F3-2993-41DE-A2CB-63102DE87051}"/>
              </c:ext>
            </c:extLst>
          </c:dPt>
          <c:dPt>
            <c:idx val="121"/>
            <c:invertIfNegative val="1"/>
            <c:bubble3D val="0"/>
            <c:spPr>
              <a:solidFill>
                <a:srgbClr val="AEABAB"/>
              </a:solidFill>
            </c:spPr>
            <c:extLst>
              <c:ext xmlns:c16="http://schemas.microsoft.com/office/drawing/2014/chart" uri="{C3380CC4-5D6E-409C-BE32-E72D297353CC}">
                <c16:uniqueId val="{000000F5-2993-41DE-A2CB-63102DE87051}"/>
              </c:ext>
            </c:extLst>
          </c:dPt>
          <c:dPt>
            <c:idx val="122"/>
            <c:invertIfNegative val="1"/>
            <c:bubble3D val="0"/>
            <c:spPr>
              <a:solidFill>
                <a:srgbClr val="AEABAB"/>
              </a:solidFill>
            </c:spPr>
            <c:extLst>
              <c:ext xmlns:c16="http://schemas.microsoft.com/office/drawing/2014/chart" uri="{C3380CC4-5D6E-409C-BE32-E72D297353CC}">
                <c16:uniqueId val="{000000F7-2993-41DE-A2CB-63102DE87051}"/>
              </c:ext>
            </c:extLst>
          </c:dPt>
          <c:dPt>
            <c:idx val="123"/>
            <c:invertIfNegative val="1"/>
            <c:bubble3D val="0"/>
            <c:spPr>
              <a:solidFill>
                <a:srgbClr val="AEABAB"/>
              </a:solidFill>
            </c:spPr>
            <c:extLst>
              <c:ext xmlns:c16="http://schemas.microsoft.com/office/drawing/2014/chart" uri="{C3380CC4-5D6E-409C-BE32-E72D297353CC}">
                <c16:uniqueId val="{000000F9-2993-41DE-A2CB-63102DE87051}"/>
              </c:ext>
            </c:extLst>
          </c:dPt>
          <c:dPt>
            <c:idx val="124"/>
            <c:invertIfNegative val="1"/>
            <c:bubble3D val="0"/>
            <c:spPr>
              <a:solidFill>
                <a:srgbClr val="AEABAB"/>
              </a:solidFill>
            </c:spPr>
            <c:extLst>
              <c:ext xmlns:c16="http://schemas.microsoft.com/office/drawing/2014/chart" uri="{C3380CC4-5D6E-409C-BE32-E72D297353CC}">
                <c16:uniqueId val="{000000FB-2993-41DE-A2CB-63102DE87051}"/>
              </c:ext>
            </c:extLst>
          </c:dPt>
          <c:dPt>
            <c:idx val="125"/>
            <c:invertIfNegative val="1"/>
            <c:bubble3D val="0"/>
            <c:spPr>
              <a:solidFill>
                <a:srgbClr val="AEABAB"/>
              </a:solidFill>
            </c:spPr>
            <c:extLst>
              <c:ext xmlns:c16="http://schemas.microsoft.com/office/drawing/2014/chart" uri="{C3380CC4-5D6E-409C-BE32-E72D297353CC}">
                <c16:uniqueId val="{000000FD-2993-41DE-A2CB-63102DE87051}"/>
              </c:ext>
            </c:extLst>
          </c:dPt>
          <c:dPt>
            <c:idx val="126"/>
            <c:invertIfNegative val="1"/>
            <c:bubble3D val="0"/>
            <c:spPr>
              <a:solidFill>
                <a:srgbClr val="AEABAB"/>
              </a:solidFill>
            </c:spPr>
            <c:extLst>
              <c:ext xmlns:c16="http://schemas.microsoft.com/office/drawing/2014/chart" uri="{C3380CC4-5D6E-409C-BE32-E72D297353CC}">
                <c16:uniqueId val="{000000FF-2993-41DE-A2CB-63102DE87051}"/>
              </c:ext>
            </c:extLst>
          </c:dPt>
          <c:dPt>
            <c:idx val="127"/>
            <c:invertIfNegative val="1"/>
            <c:bubble3D val="0"/>
            <c:spPr>
              <a:solidFill>
                <a:srgbClr val="AEABAB"/>
              </a:solidFill>
            </c:spPr>
            <c:extLst>
              <c:ext xmlns:c16="http://schemas.microsoft.com/office/drawing/2014/chart" uri="{C3380CC4-5D6E-409C-BE32-E72D297353CC}">
                <c16:uniqueId val="{00000101-2993-41DE-A2CB-63102DE87051}"/>
              </c:ext>
            </c:extLst>
          </c:dPt>
          <c:dPt>
            <c:idx val="128"/>
            <c:invertIfNegative val="1"/>
            <c:bubble3D val="0"/>
            <c:spPr>
              <a:solidFill>
                <a:srgbClr val="AEABAB"/>
              </a:solidFill>
            </c:spPr>
            <c:extLst>
              <c:ext xmlns:c16="http://schemas.microsoft.com/office/drawing/2014/chart" uri="{C3380CC4-5D6E-409C-BE32-E72D297353CC}">
                <c16:uniqueId val="{00000103-2993-41DE-A2CB-63102DE87051}"/>
              </c:ext>
            </c:extLst>
          </c:dPt>
          <c:dPt>
            <c:idx val="129"/>
            <c:invertIfNegative val="1"/>
            <c:bubble3D val="0"/>
            <c:spPr>
              <a:solidFill>
                <a:srgbClr val="AEABAB"/>
              </a:solidFill>
            </c:spPr>
            <c:extLst>
              <c:ext xmlns:c16="http://schemas.microsoft.com/office/drawing/2014/chart" uri="{C3380CC4-5D6E-409C-BE32-E72D297353CC}">
                <c16:uniqueId val="{00000105-2993-41DE-A2CB-63102DE87051}"/>
              </c:ext>
            </c:extLst>
          </c:dPt>
          <c:dPt>
            <c:idx val="130"/>
            <c:invertIfNegative val="1"/>
            <c:bubble3D val="0"/>
            <c:spPr>
              <a:solidFill>
                <a:srgbClr val="AEABAB"/>
              </a:solidFill>
            </c:spPr>
            <c:extLst>
              <c:ext xmlns:c16="http://schemas.microsoft.com/office/drawing/2014/chart" uri="{C3380CC4-5D6E-409C-BE32-E72D297353CC}">
                <c16:uniqueId val="{00000107-2993-41DE-A2CB-63102DE87051}"/>
              </c:ext>
            </c:extLst>
          </c:dPt>
          <c:dPt>
            <c:idx val="131"/>
            <c:invertIfNegative val="1"/>
            <c:bubble3D val="0"/>
            <c:spPr>
              <a:solidFill>
                <a:srgbClr val="AEABAB"/>
              </a:solidFill>
            </c:spPr>
            <c:extLst>
              <c:ext xmlns:c16="http://schemas.microsoft.com/office/drawing/2014/chart" uri="{C3380CC4-5D6E-409C-BE32-E72D297353CC}">
                <c16:uniqueId val="{00000109-2993-41DE-A2CB-63102DE87051}"/>
              </c:ext>
            </c:extLst>
          </c:dPt>
          <c:dPt>
            <c:idx val="132"/>
            <c:invertIfNegative val="1"/>
            <c:bubble3D val="0"/>
            <c:spPr>
              <a:solidFill>
                <a:srgbClr val="AEABAB"/>
              </a:solidFill>
            </c:spPr>
            <c:extLst>
              <c:ext xmlns:c16="http://schemas.microsoft.com/office/drawing/2014/chart" uri="{C3380CC4-5D6E-409C-BE32-E72D297353CC}">
                <c16:uniqueId val="{0000010B-2993-41DE-A2CB-63102DE87051}"/>
              </c:ext>
            </c:extLst>
          </c:dPt>
          <c:dPt>
            <c:idx val="133"/>
            <c:invertIfNegative val="1"/>
            <c:bubble3D val="0"/>
            <c:spPr>
              <a:solidFill>
                <a:srgbClr val="AEABAB"/>
              </a:solidFill>
            </c:spPr>
            <c:extLst>
              <c:ext xmlns:c16="http://schemas.microsoft.com/office/drawing/2014/chart" uri="{C3380CC4-5D6E-409C-BE32-E72D297353CC}">
                <c16:uniqueId val="{0000010D-2993-41DE-A2CB-63102DE87051}"/>
              </c:ext>
            </c:extLst>
          </c:dPt>
          <c:dPt>
            <c:idx val="134"/>
            <c:invertIfNegative val="1"/>
            <c:bubble3D val="0"/>
            <c:spPr>
              <a:solidFill>
                <a:srgbClr val="AEABAB"/>
              </a:solidFill>
            </c:spPr>
            <c:extLst>
              <c:ext xmlns:c16="http://schemas.microsoft.com/office/drawing/2014/chart" uri="{C3380CC4-5D6E-409C-BE32-E72D297353CC}">
                <c16:uniqueId val="{0000010F-2993-41DE-A2CB-63102DE87051}"/>
              </c:ext>
            </c:extLst>
          </c:dPt>
          <c:dPt>
            <c:idx val="135"/>
            <c:invertIfNegative val="1"/>
            <c:bubble3D val="0"/>
            <c:spPr>
              <a:solidFill>
                <a:srgbClr val="AEABAB"/>
              </a:solidFill>
            </c:spPr>
            <c:extLst>
              <c:ext xmlns:c16="http://schemas.microsoft.com/office/drawing/2014/chart" uri="{C3380CC4-5D6E-409C-BE32-E72D297353CC}">
                <c16:uniqueId val="{00000111-2993-41DE-A2CB-63102DE87051}"/>
              </c:ext>
            </c:extLst>
          </c:dPt>
          <c:dPt>
            <c:idx val="136"/>
            <c:invertIfNegative val="1"/>
            <c:bubble3D val="0"/>
            <c:spPr>
              <a:solidFill>
                <a:srgbClr val="AEABAB"/>
              </a:solidFill>
            </c:spPr>
            <c:extLst>
              <c:ext xmlns:c16="http://schemas.microsoft.com/office/drawing/2014/chart" uri="{C3380CC4-5D6E-409C-BE32-E72D297353CC}">
                <c16:uniqueId val="{00000113-2993-41DE-A2CB-63102DE87051}"/>
              </c:ext>
            </c:extLst>
          </c:dPt>
          <c:dPt>
            <c:idx val="137"/>
            <c:invertIfNegative val="1"/>
            <c:bubble3D val="0"/>
            <c:spPr>
              <a:solidFill>
                <a:srgbClr val="AEABAB"/>
              </a:solidFill>
            </c:spPr>
            <c:extLst>
              <c:ext xmlns:c16="http://schemas.microsoft.com/office/drawing/2014/chart" uri="{C3380CC4-5D6E-409C-BE32-E72D297353CC}">
                <c16:uniqueId val="{00000115-2993-41DE-A2CB-63102DE87051}"/>
              </c:ext>
            </c:extLst>
          </c:dPt>
          <c:dPt>
            <c:idx val="138"/>
            <c:invertIfNegative val="1"/>
            <c:bubble3D val="0"/>
            <c:spPr>
              <a:solidFill>
                <a:srgbClr val="AEABAB"/>
              </a:solidFill>
            </c:spPr>
            <c:extLst>
              <c:ext xmlns:c16="http://schemas.microsoft.com/office/drawing/2014/chart" uri="{C3380CC4-5D6E-409C-BE32-E72D297353CC}">
                <c16:uniqueId val="{00000117-2993-41DE-A2CB-63102DE87051}"/>
              </c:ext>
            </c:extLst>
          </c:dPt>
          <c:dPt>
            <c:idx val="139"/>
            <c:invertIfNegative val="1"/>
            <c:bubble3D val="0"/>
            <c:spPr>
              <a:solidFill>
                <a:srgbClr val="AEABAB"/>
              </a:solidFill>
            </c:spPr>
            <c:extLst>
              <c:ext xmlns:c16="http://schemas.microsoft.com/office/drawing/2014/chart" uri="{C3380CC4-5D6E-409C-BE32-E72D297353CC}">
                <c16:uniqueId val="{00000119-2993-41DE-A2CB-63102DE87051}"/>
              </c:ext>
            </c:extLst>
          </c:dPt>
          <c:dPt>
            <c:idx val="140"/>
            <c:invertIfNegative val="1"/>
            <c:bubble3D val="0"/>
            <c:spPr>
              <a:solidFill>
                <a:srgbClr val="AEABAB"/>
              </a:solidFill>
            </c:spPr>
            <c:extLst>
              <c:ext xmlns:c16="http://schemas.microsoft.com/office/drawing/2014/chart" uri="{C3380CC4-5D6E-409C-BE32-E72D297353CC}">
                <c16:uniqueId val="{0000011B-2993-41DE-A2CB-63102DE87051}"/>
              </c:ext>
            </c:extLst>
          </c:dPt>
          <c:dPt>
            <c:idx val="141"/>
            <c:invertIfNegative val="1"/>
            <c:bubble3D val="0"/>
            <c:spPr>
              <a:solidFill>
                <a:srgbClr val="AEABAB"/>
              </a:solidFill>
            </c:spPr>
            <c:extLst>
              <c:ext xmlns:c16="http://schemas.microsoft.com/office/drawing/2014/chart" uri="{C3380CC4-5D6E-409C-BE32-E72D297353CC}">
                <c16:uniqueId val="{0000011D-2993-41DE-A2CB-63102DE87051}"/>
              </c:ext>
            </c:extLst>
          </c:dPt>
          <c:dPt>
            <c:idx val="142"/>
            <c:invertIfNegative val="1"/>
            <c:bubble3D val="0"/>
            <c:spPr>
              <a:solidFill>
                <a:srgbClr val="AEABAB"/>
              </a:solidFill>
            </c:spPr>
            <c:extLst>
              <c:ext xmlns:c16="http://schemas.microsoft.com/office/drawing/2014/chart" uri="{C3380CC4-5D6E-409C-BE32-E72D297353CC}">
                <c16:uniqueId val="{0000011F-2993-41DE-A2CB-63102DE87051}"/>
              </c:ext>
            </c:extLst>
          </c:dPt>
          <c:dPt>
            <c:idx val="143"/>
            <c:invertIfNegative val="1"/>
            <c:bubble3D val="0"/>
            <c:spPr>
              <a:solidFill>
                <a:srgbClr val="AEABAB"/>
              </a:solidFill>
            </c:spPr>
            <c:extLst>
              <c:ext xmlns:c16="http://schemas.microsoft.com/office/drawing/2014/chart" uri="{C3380CC4-5D6E-409C-BE32-E72D297353CC}">
                <c16:uniqueId val="{00000121-2993-41DE-A2CB-63102DE87051}"/>
              </c:ext>
            </c:extLst>
          </c:dPt>
          <c:dPt>
            <c:idx val="144"/>
            <c:invertIfNegative val="1"/>
            <c:bubble3D val="0"/>
            <c:spPr>
              <a:solidFill>
                <a:srgbClr val="AEABAB"/>
              </a:solidFill>
            </c:spPr>
            <c:extLst>
              <c:ext xmlns:c16="http://schemas.microsoft.com/office/drawing/2014/chart" uri="{C3380CC4-5D6E-409C-BE32-E72D297353CC}">
                <c16:uniqueId val="{00000123-2993-41DE-A2CB-63102DE87051}"/>
              </c:ext>
            </c:extLst>
          </c:dPt>
          <c:dPt>
            <c:idx val="145"/>
            <c:invertIfNegative val="1"/>
            <c:bubble3D val="0"/>
            <c:spPr>
              <a:solidFill>
                <a:srgbClr val="AEABAB"/>
              </a:solidFill>
            </c:spPr>
            <c:extLst>
              <c:ext xmlns:c16="http://schemas.microsoft.com/office/drawing/2014/chart" uri="{C3380CC4-5D6E-409C-BE32-E72D297353CC}">
                <c16:uniqueId val="{00000125-2993-41DE-A2CB-63102DE87051}"/>
              </c:ext>
            </c:extLst>
          </c:dPt>
          <c:dPt>
            <c:idx val="146"/>
            <c:invertIfNegative val="1"/>
            <c:bubble3D val="0"/>
            <c:spPr>
              <a:solidFill>
                <a:srgbClr val="AEABAB"/>
              </a:solidFill>
            </c:spPr>
            <c:extLst>
              <c:ext xmlns:c16="http://schemas.microsoft.com/office/drawing/2014/chart" uri="{C3380CC4-5D6E-409C-BE32-E72D297353CC}">
                <c16:uniqueId val="{00000127-2993-41DE-A2CB-63102DE87051}"/>
              </c:ext>
            </c:extLst>
          </c:dPt>
          <c:dPt>
            <c:idx val="147"/>
            <c:invertIfNegative val="1"/>
            <c:bubble3D val="0"/>
            <c:spPr>
              <a:solidFill>
                <a:srgbClr val="AEABAB"/>
              </a:solidFill>
            </c:spPr>
            <c:extLst>
              <c:ext xmlns:c16="http://schemas.microsoft.com/office/drawing/2014/chart" uri="{C3380CC4-5D6E-409C-BE32-E72D297353CC}">
                <c16:uniqueId val="{00000129-2993-41DE-A2CB-63102DE87051}"/>
              </c:ext>
            </c:extLst>
          </c:dPt>
          <c:dPt>
            <c:idx val="148"/>
            <c:invertIfNegative val="1"/>
            <c:bubble3D val="0"/>
            <c:spPr>
              <a:solidFill>
                <a:srgbClr val="AEABAB"/>
              </a:solidFill>
            </c:spPr>
            <c:extLst>
              <c:ext xmlns:c16="http://schemas.microsoft.com/office/drawing/2014/chart" uri="{C3380CC4-5D6E-409C-BE32-E72D297353CC}">
                <c16:uniqueId val="{0000012B-2993-41DE-A2CB-63102DE87051}"/>
              </c:ext>
            </c:extLst>
          </c:dPt>
          <c:dPt>
            <c:idx val="149"/>
            <c:invertIfNegative val="1"/>
            <c:bubble3D val="0"/>
            <c:spPr>
              <a:solidFill>
                <a:srgbClr val="AEABAB"/>
              </a:solidFill>
            </c:spPr>
            <c:extLst>
              <c:ext xmlns:c16="http://schemas.microsoft.com/office/drawing/2014/chart" uri="{C3380CC4-5D6E-409C-BE32-E72D297353CC}">
                <c16:uniqueId val="{0000012D-2993-41DE-A2CB-63102DE87051}"/>
              </c:ext>
            </c:extLst>
          </c:dPt>
          <c:dPt>
            <c:idx val="150"/>
            <c:invertIfNegative val="1"/>
            <c:bubble3D val="0"/>
            <c:spPr>
              <a:solidFill>
                <a:srgbClr val="AEABAB"/>
              </a:solidFill>
            </c:spPr>
            <c:extLst>
              <c:ext xmlns:c16="http://schemas.microsoft.com/office/drawing/2014/chart" uri="{C3380CC4-5D6E-409C-BE32-E72D297353CC}">
                <c16:uniqueId val="{0000012F-2993-41DE-A2CB-63102DE87051}"/>
              </c:ext>
            </c:extLst>
          </c:dPt>
          <c:dPt>
            <c:idx val="151"/>
            <c:invertIfNegative val="1"/>
            <c:bubble3D val="0"/>
            <c:spPr>
              <a:solidFill>
                <a:srgbClr val="AEABAB"/>
              </a:solidFill>
            </c:spPr>
            <c:extLst>
              <c:ext xmlns:c16="http://schemas.microsoft.com/office/drawing/2014/chart" uri="{C3380CC4-5D6E-409C-BE32-E72D297353CC}">
                <c16:uniqueId val="{00000131-2993-41DE-A2CB-63102DE87051}"/>
              </c:ext>
            </c:extLst>
          </c:dPt>
          <c:dPt>
            <c:idx val="152"/>
            <c:invertIfNegative val="1"/>
            <c:bubble3D val="0"/>
            <c:spPr>
              <a:solidFill>
                <a:srgbClr val="AEABAB"/>
              </a:solidFill>
            </c:spPr>
            <c:extLst>
              <c:ext xmlns:c16="http://schemas.microsoft.com/office/drawing/2014/chart" uri="{C3380CC4-5D6E-409C-BE32-E72D297353CC}">
                <c16:uniqueId val="{00000133-2993-41DE-A2CB-63102DE87051}"/>
              </c:ext>
            </c:extLst>
          </c:dPt>
          <c:dPt>
            <c:idx val="153"/>
            <c:invertIfNegative val="1"/>
            <c:bubble3D val="0"/>
            <c:spPr>
              <a:solidFill>
                <a:srgbClr val="AEABAB"/>
              </a:solidFill>
            </c:spPr>
            <c:extLst>
              <c:ext xmlns:c16="http://schemas.microsoft.com/office/drawing/2014/chart" uri="{C3380CC4-5D6E-409C-BE32-E72D297353CC}">
                <c16:uniqueId val="{00000135-2993-41DE-A2CB-63102DE87051}"/>
              </c:ext>
            </c:extLst>
          </c:dPt>
          <c:dPt>
            <c:idx val="154"/>
            <c:invertIfNegative val="1"/>
            <c:bubble3D val="0"/>
            <c:spPr>
              <a:solidFill>
                <a:srgbClr val="AEABAB"/>
              </a:solidFill>
            </c:spPr>
            <c:extLst>
              <c:ext xmlns:c16="http://schemas.microsoft.com/office/drawing/2014/chart" uri="{C3380CC4-5D6E-409C-BE32-E72D297353CC}">
                <c16:uniqueId val="{00000137-2993-41DE-A2CB-63102DE87051}"/>
              </c:ext>
            </c:extLst>
          </c:dPt>
          <c:dPt>
            <c:idx val="155"/>
            <c:invertIfNegative val="1"/>
            <c:bubble3D val="0"/>
            <c:spPr>
              <a:solidFill>
                <a:srgbClr val="AEABAB"/>
              </a:solidFill>
            </c:spPr>
            <c:extLst>
              <c:ext xmlns:c16="http://schemas.microsoft.com/office/drawing/2014/chart" uri="{C3380CC4-5D6E-409C-BE32-E72D297353CC}">
                <c16:uniqueId val="{00000139-2993-41DE-A2CB-63102DE87051}"/>
              </c:ext>
            </c:extLst>
          </c:dPt>
          <c:dPt>
            <c:idx val="156"/>
            <c:invertIfNegative val="1"/>
            <c:bubble3D val="0"/>
            <c:spPr>
              <a:solidFill>
                <a:srgbClr val="AEABAB"/>
              </a:solidFill>
            </c:spPr>
            <c:extLst>
              <c:ext xmlns:c16="http://schemas.microsoft.com/office/drawing/2014/chart" uri="{C3380CC4-5D6E-409C-BE32-E72D297353CC}">
                <c16:uniqueId val="{0000013B-2993-41DE-A2CB-63102DE87051}"/>
              </c:ext>
            </c:extLst>
          </c:dPt>
          <c:dPt>
            <c:idx val="157"/>
            <c:invertIfNegative val="1"/>
            <c:bubble3D val="0"/>
            <c:spPr>
              <a:solidFill>
                <a:srgbClr val="AEABAB"/>
              </a:solidFill>
            </c:spPr>
            <c:extLst>
              <c:ext xmlns:c16="http://schemas.microsoft.com/office/drawing/2014/chart" uri="{C3380CC4-5D6E-409C-BE32-E72D297353CC}">
                <c16:uniqueId val="{0000013D-2993-41DE-A2CB-63102DE87051}"/>
              </c:ext>
            </c:extLst>
          </c:dPt>
          <c:dPt>
            <c:idx val="158"/>
            <c:invertIfNegative val="1"/>
            <c:bubble3D val="0"/>
            <c:spPr>
              <a:solidFill>
                <a:srgbClr val="AEABAB"/>
              </a:solidFill>
            </c:spPr>
            <c:extLst>
              <c:ext xmlns:c16="http://schemas.microsoft.com/office/drawing/2014/chart" uri="{C3380CC4-5D6E-409C-BE32-E72D297353CC}">
                <c16:uniqueId val="{0000013F-2993-41DE-A2CB-63102DE87051}"/>
              </c:ext>
            </c:extLst>
          </c:dPt>
          <c:dPt>
            <c:idx val="159"/>
            <c:invertIfNegative val="1"/>
            <c:bubble3D val="0"/>
            <c:spPr>
              <a:solidFill>
                <a:srgbClr val="AEABAB"/>
              </a:solidFill>
            </c:spPr>
            <c:extLst>
              <c:ext xmlns:c16="http://schemas.microsoft.com/office/drawing/2014/chart" uri="{C3380CC4-5D6E-409C-BE32-E72D297353CC}">
                <c16:uniqueId val="{00000141-2993-41DE-A2CB-63102DE87051}"/>
              </c:ext>
            </c:extLst>
          </c:dPt>
          <c:dPt>
            <c:idx val="160"/>
            <c:invertIfNegative val="1"/>
            <c:bubble3D val="0"/>
            <c:spPr>
              <a:solidFill>
                <a:srgbClr val="AEABAB"/>
              </a:solidFill>
            </c:spPr>
            <c:extLst>
              <c:ext xmlns:c16="http://schemas.microsoft.com/office/drawing/2014/chart" uri="{C3380CC4-5D6E-409C-BE32-E72D297353CC}">
                <c16:uniqueId val="{00000143-2993-41DE-A2CB-63102DE87051}"/>
              </c:ext>
            </c:extLst>
          </c:dPt>
          <c:dPt>
            <c:idx val="161"/>
            <c:invertIfNegative val="1"/>
            <c:bubble3D val="0"/>
            <c:spPr>
              <a:solidFill>
                <a:srgbClr val="AEABAB"/>
              </a:solidFill>
            </c:spPr>
            <c:extLst>
              <c:ext xmlns:c16="http://schemas.microsoft.com/office/drawing/2014/chart" uri="{C3380CC4-5D6E-409C-BE32-E72D297353CC}">
                <c16:uniqueId val="{00000145-2993-41DE-A2CB-63102DE87051}"/>
              </c:ext>
            </c:extLst>
          </c:dPt>
          <c:dPt>
            <c:idx val="162"/>
            <c:invertIfNegative val="1"/>
            <c:bubble3D val="0"/>
            <c:spPr>
              <a:solidFill>
                <a:srgbClr val="AEABAB"/>
              </a:solidFill>
            </c:spPr>
            <c:extLst>
              <c:ext xmlns:c16="http://schemas.microsoft.com/office/drawing/2014/chart" uri="{C3380CC4-5D6E-409C-BE32-E72D297353CC}">
                <c16:uniqueId val="{00000147-2993-41DE-A2CB-63102DE87051}"/>
              </c:ext>
            </c:extLst>
          </c:dPt>
          <c:dPt>
            <c:idx val="163"/>
            <c:invertIfNegative val="1"/>
            <c:bubble3D val="0"/>
            <c:spPr>
              <a:solidFill>
                <a:srgbClr val="AEABAB"/>
              </a:solidFill>
            </c:spPr>
            <c:extLst>
              <c:ext xmlns:c16="http://schemas.microsoft.com/office/drawing/2014/chart" uri="{C3380CC4-5D6E-409C-BE32-E72D297353CC}">
                <c16:uniqueId val="{00000149-2993-41DE-A2CB-63102DE87051}"/>
              </c:ext>
            </c:extLst>
          </c:dPt>
          <c:dPt>
            <c:idx val="164"/>
            <c:invertIfNegative val="1"/>
            <c:bubble3D val="0"/>
            <c:spPr>
              <a:solidFill>
                <a:srgbClr val="AEABAB"/>
              </a:solidFill>
            </c:spPr>
            <c:extLst>
              <c:ext xmlns:c16="http://schemas.microsoft.com/office/drawing/2014/chart" uri="{C3380CC4-5D6E-409C-BE32-E72D297353CC}">
                <c16:uniqueId val="{0000014B-2993-41DE-A2CB-63102DE87051}"/>
              </c:ext>
            </c:extLst>
          </c:dPt>
          <c:dPt>
            <c:idx val="165"/>
            <c:invertIfNegative val="1"/>
            <c:bubble3D val="0"/>
            <c:spPr>
              <a:solidFill>
                <a:srgbClr val="AEABAB"/>
              </a:solidFill>
            </c:spPr>
            <c:extLst>
              <c:ext xmlns:c16="http://schemas.microsoft.com/office/drawing/2014/chart" uri="{C3380CC4-5D6E-409C-BE32-E72D297353CC}">
                <c16:uniqueId val="{0000014D-2993-41DE-A2CB-63102DE87051}"/>
              </c:ext>
            </c:extLst>
          </c:dPt>
          <c:dPt>
            <c:idx val="166"/>
            <c:invertIfNegative val="1"/>
            <c:bubble3D val="0"/>
            <c:spPr>
              <a:solidFill>
                <a:srgbClr val="AEABAB"/>
              </a:solidFill>
            </c:spPr>
            <c:extLst>
              <c:ext xmlns:c16="http://schemas.microsoft.com/office/drawing/2014/chart" uri="{C3380CC4-5D6E-409C-BE32-E72D297353CC}">
                <c16:uniqueId val="{0000014F-2993-41DE-A2CB-63102DE87051}"/>
              </c:ext>
            </c:extLst>
          </c:dPt>
          <c:dPt>
            <c:idx val="167"/>
            <c:invertIfNegative val="1"/>
            <c:bubble3D val="0"/>
            <c:spPr>
              <a:solidFill>
                <a:srgbClr val="AEABAB"/>
              </a:solidFill>
            </c:spPr>
            <c:extLst>
              <c:ext xmlns:c16="http://schemas.microsoft.com/office/drawing/2014/chart" uri="{C3380CC4-5D6E-409C-BE32-E72D297353CC}">
                <c16:uniqueId val="{00000151-2993-41DE-A2CB-63102DE87051}"/>
              </c:ext>
            </c:extLst>
          </c:dPt>
          <c:dPt>
            <c:idx val="168"/>
            <c:invertIfNegative val="1"/>
            <c:bubble3D val="0"/>
            <c:spPr>
              <a:solidFill>
                <a:srgbClr val="AEABAB"/>
              </a:solidFill>
            </c:spPr>
            <c:extLst>
              <c:ext xmlns:c16="http://schemas.microsoft.com/office/drawing/2014/chart" uri="{C3380CC4-5D6E-409C-BE32-E72D297353CC}">
                <c16:uniqueId val="{00000153-2993-41DE-A2CB-63102DE87051}"/>
              </c:ext>
            </c:extLst>
          </c:dPt>
          <c:dPt>
            <c:idx val="169"/>
            <c:invertIfNegative val="1"/>
            <c:bubble3D val="0"/>
            <c:spPr>
              <a:solidFill>
                <a:srgbClr val="AEABAB"/>
              </a:solidFill>
            </c:spPr>
            <c:extLst>
              <c:ext xmlns:c16="http://schemas.microsoft.com/office/drawing/2014/chart" uri="{C3380CC4-5D6E-409C-BE32-E72D297353CC}">
                <c16:uniqueId val="{00000155-2993-41DE-A2CB-63102DE87051}"/>
              </c:ext>
            </c:extLst>
          </c:dPt>
          <c:dPt>
            <c:idx val="170"/>
            <c:invertIfNegative val="1"/>
            <c:bubble3D val="0"/>
            <c:spPr>
              <a:solidFill>
                <a:srgbClr val="AEABAB"/>
              </a:solidFill>
            </c:spPr>
            <c:extLst>
              <c:ext xmlns:c16="http://schemas.microsoft.com/office/drawing/2014/chart" uri="{C3380CC4-5D6E-409C-BE32-E72D297353CC}">
                <c16:uniqueId val="{00000157-2993-41DE-A2CB-63102DE87051}"/>
              </c:ext>
            </c:extLst>
          </c:dPt>
          <c:dPt>
            <c:idx val="171"/>
            <c:invertIfNegative val="1"/>
            <c:bubble3D val="0"/>
            <c:spPr>
              <a:solidFill>
                <a:srgbClr val="AEABAB"/>
              </a:solidFill>
            </c:spPr>
            <c:extLst>
              <c:ext xmlns:c16="http://schemas.microsoft.com/office/drawing/2014/chart" uri="{C3380CC4-5D6E-409C-BE32-E72D297353CC}">
                <c16:uniqueId val="{00000159-2993-41DE-A2CB-63102DE87051}"/>
              </c:ext>
            </c:extLst>
          </c:dPt>
          <c:dPt>
            <c:idx val="172"/>
            <c:invertIfNegative val="1"/>
            <c:bubble3D val="0"/>
            <c:spPr>
              <a:solidFill>
                <a:srgbClr val="AEABAB"/>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dPt>
            <c:idx val="210"/>
            <c:invertIfNegative val="1"/>
            <c:bubble3D val="0"/>
            <c:spPr>
              <a:solidFill>
                <a:srgbClr val="AEABAB"/>
              </a:solidFill>
            </c:spPr>
            <c:extLst>
              <c:ext xmlns:c16="http://schemas.microsoft.com/office/drawing/2014/chart" uri="{C3380CC4-5D6E-409C-BE32-E72D297353CC}">
                <c16:uniqueId val="{000001A7-7676-427D-A29F-FAD8B8781901}"/>
              </c:ext>
            </c:extLst>
          </c:dPt>
          <c:dPt>
            <c:idx val="211"/>
            <c:invertIfNegative val="1"/>
            <c:bubble3D val="0"/>
            <c:spPr>
              <a:solidFill>
                <a:srgbClr val="AEABAB"/>
              </a:solidFill>
            </c:spPr>
            <c:extLst>
              <c:ext xmlns:c16="http://schemas.microsoft.com/office/drawing/2014/chart" uri="{C3380CC4-5D6E-409C-BE32-E72D297353CC}">
                <c16:uniqueId val="{000001A9-7676-427D-A29F-FAD8B8781901}"/>
              </c:ext>
            </c:extLst>
          </c:dPt>
          <c:dPt>
            <c:idx val="212"/>
            <c:invertIfNegative val="1"/>
            <c:bubble3D val="0"/>
            <c:spPr>
              <a:solidFill>
                <a:srgbClr val="AEABAB"/>
              </a:solidFill>
            </c:spPr>
            <c:extLst>
              <c:ext xmlns:c16="http://schemas.microsoft.com/office/drawing/2014/chart" uri="{C3380CC4-5D6E-409C-BE32-E72D297353CC}">
                <c16:uniqueId val="{000001AB-7676-427D-A29F-FAD8B8781901}"/>
              </c:ext>
            </c:extLst>
          </c:dPt>
          <c:dPt>
            <c:idx val="213"/>
            <c:invertIfNegative val="1"/>
            <c:bubble3D val="0"/>
            <c:spPr>
              <a:solidFill>
                <a:srgbClr val="AEABAB"/>
              </a:solidFill>
            </c:spPr>
            <c:extLst>
              <c:ext xmlns:c16="http://schemas.microsoft.com/office/drawing/2014/chart" uri="{C3380CC4-5D6E-409C-BE32-E72D297353CC}">
                <c16:uniqueId val="{000001AD-7676-427D-A29F-FAD8B8781901}"/>
              </c:ext>
            </c:extLst>
          </c:dPt>
          <c:dPt>
            <c:idx val="214"/>
            <c:invertIfNegative val="1"/>
            <c:bubble3D val="0"/>
            <c:spPr>
              <a:solidFill>
                <a:srgbClr val="AEABAB"/>
              </a:solidFill>
            </c:spPr>
            <c:extLst>
              <c:ext xmlns:c16="http://schemas.microsoft.com/office/drawing/2014/chart" uri="{C3380CC4-5D6E-409C-BE32-E72D297353CC}">
                <c16:uniqueId val="{000001AF-7676-427D-A29F-FAD8B8781901}"/>
              </c:ext>
            </c:extLst>
          </c:dPt>
          <c:dPt>
            <c:idx val="215"/>
            <c:invertIfNegative val="1"/>
            <c:bubble3D val="0"/>
            <c:spPr>
              <a:solidFill>
                <a:srgbClr val="AEABAB"/>
              </a:solidFill>
            </c:spPr>
            <c:extLst>
              <c:ext xmlns:c16="http://schemas.microsoft.com/office/drawing/2014/chart" uri="{C3380CC4-5D6E-409C-BE32-E72D297353CC}">
                <c16:uniqueId val="{000001B1-7676-427D-A29F-FAD8B8781901}"/>
              </c:ext>
            </c:extLst>
          </c:dPt>
          <c:dPt>
            <c:idx val="216"/>
            <c:invertIfNegative val="1"/>
            <c:bubble3D val="0"/>
            <c:spPr>
              <a:solidFill>
                <a:srgbClr val="AEABAB"/>
              </a:solidFill>
            </c:spPr>
            <c:extLst>
              <c:ext xmlns:c16="http://schemas.microsoft.com/office/drawing/2014/chart" uri="{C3380CC4-5D6E-409C-BE32-E72D297353CC}">
                <c16:uniqueId val="{000001B3-7676-427D-A29F-FAD8B8781901}"/>
              </c:ext>
            </c:extLst>
          </c:dPt>
          <c:dPt>
            <c:idx val="217"/>
            <c:invertIfNegative val="1"/>
            <c:bubble3D val="0"/>
            <c:spPr>
              <a:solidFill>
                <a:srgbClr val="AEABAB"/>
              </a:solidFill>
            </c:spPr>
            <c:extLst>
              <c:ext xmlns:c16="http://schemas.microsoft.com/office/drawing/2014/chart" uri="{C3380CC4-5D6E-409C-BE32-E72D297353CC}">
                <c16:uniqueId val="{000001B5-7676-427D-A29F-FAD8B8781901}"/>
              </c:ext>
            </c:extLst>
          </c:dPt>
          <c:dPt>
            <c:idx val="218"/>
            <c:invertIfNegative val="1"/>
            <c:bubble3D val="0"/>
            <c:spPr>
              <a:solidFill>
                <a:srgbClr val="AEABAB"/>
              </a:solidFill>
            </c:spPr>
            <c:extLst>
              <c:ext xmlns:c16="http://schemas.microsoft.com/office/drawing/2014/chart" uri="{C3380CC4-5D6E-409C-BE32-E72D297353CC}">
                <c16:uniqueId val="{000001B7-7676-427D-A29F-FAD8B8781901}"/>
              </c:ext>
            </c:extLst>
          </c:dPt>
          <c:dPt>
            <c:idx val="219"/>
            <c:invertIfNegative val="1"/>
            <c:bubble3D val="0"/>
            <c:spPr>
              <a:solidFill>
                <a:srgbClr val="AEABAB"/>
              </a:solidFill>
            </c:spPr>
            <c:extLst>
              <c:ext xmlns:c16="http://schemas.microsoft.com/office/drawing/2014/chart" uri="{C3380CC4-5D6E-409C-BE32-E72D297353CC}">
                <c16:uniqueId val="{000001B9-7676-427D-A29F-FAD8B8781901}"/>
              </c:ext>
            </c:extLst>
          </c:dPt>
          <c:dPt>
            <c:idx val="220"/>
            <c:invertIfNegative val="1"/>
            <c:bubble3D val="0"/>
            <c:spPr>
              <a:solidFill>
                <a:srgbClr val="AEABAB"/>
              </a:solidFill>
            </c:spPr>
            <c:extLst>
              <c:ext xmlns:c16="http://schemas.microsoft.com/office/drawing/2014/chart" uri="{C3380CC4-5D6E-409C-BE32-E72D297353CC}">
                <c16:uniqueId val="{000001BB-7676-427D-A29F-FAD8B8781901}"/>
              </c:ext>
            </c:extLst>
          </c:dPt>
          <c:dPt>
            <c:idx val="221"/>
            <c:invertIfNegative val="1"/>
            <c:bubble3D val="0"/>
            <c:spPr>
              <a:solidFill>
                <a:srgbClr val="AEABAB"/>
              </a:solidFill>
            </c:spPr>
            <c:extLst>
              <c:ext xmlns:c16="http://schemas.microsoft.com/office/drawing/2014/chart" uri="{C3380CC4-5D6E-409C-BE32-E72D297353CC}">
                <c16:uniqueId val="{000001BD-7676-427D-A29F-FAD8B8781901}"/>
              </c:ext>
            </c:extLst>
          </c:dPt>
          <c:dPt>
            <c:idx val="222"/>
            <c:invertIfNegative val="1"/>
            <c:bubble3D val="0"/>
            <c:spPr>
              <a:solidFill>
                <a:srgbClr val="AEABAB"/>
              </a:solidFill>
            </c:spPr>
            <c:extLst>
              <c:ext xmlns:c16="http://schemas.microsoft.com/office/drawing/2014/chart" uri="{C3380CC4-5D6E-409C-BE32-E72D297353CC}">
                <c16:uniqueId val="{000001BF-7676-427D-A29F-FAD8B8781901}"/>
              </c:ext>
            </c:extLst>
          </c:dPt>
          <c:dPt>
            <c:idx val="223"/>
            <c:invertIfNegative val="1"/>
            <c:bubble3D val="0"/>
            <c:spPr>
              <a:solidFill>
                <a:srgbClr val="AEABAB"/>
              </a:solidFill>
            </c:spPr>
            <c:extLst>
              <c:ext xmlns:c16="http://schemas.microsoft.com/office/drawing/2014/chart" uri="{C3380CC4-5D6E-409C-BE32-E72D297353CC}">
                <c16:uniqueId val="{000001C1-7676-427D-A29F-FAD8B8781901}"/>
              </c:ext>
            </c:extLst>
          </c:dPt>
          <c:dPt>
            <c:idx val="224"/>
            <c:invertIfNegative val="1"/>
            <c:bubble3D val="0"/>
            <c:spPr>
              <a:solidFill>
                <a:srgbClr val="AEABAB"/>
              </a:solidFill>
            </c:spPr>
            <c:extLst>
              <c:ext xmlns:c16="http://schemas.microsoft.com/office/drawing/2014/chart" uri="{C3380CC4-5D6E-409C-BE32-E72D297353CC}">
                <c16:uniqueId val="{000001C3-7676-427D-A29F-FAD8B8781901}"/>
              </c:ext>
            </c:extLst>
          </c:dPt>
          <c:dPt>
            <c:idx val="225"/>
            <c:invertIfNegative val="1"/>
            <c:bubble3D val="0"/>
            <c:spPr>
              <a:solidFill>
                <a:srgbClr val="AEABAB"/>
              </a:solidFill>
            </c:spPr>
            <c:extLst>
              <c:ext xmlns:c16="http://schemas.microsoft.com/office/drawing/2014/chart" uri="{C3380CC4-5D6E-409C-BE32-E72D297353CC}">
                <c16:uniqueId val="{000001C5-7676-427D-A29F-FAD8B8781901}"/>
              </c:ext>
            </c:extLst>
          </c:dPt>
          <c:dPt>
            <c:idx val="226"/>
            <c:invertIfNegative val="1"/>
            <c:bubble3D val="0"/>
            <c:spPr>
              <a:solidFill>
                <a:srgbClr val="AEABAB"/>
              </a:solidFill>
            </c:spPr>
            <c:extLst>
              <c:ext xmlns:c16="http://schemas.microsoft.com/office/drawing/2014/chart" uri="{C3380CC4-5D6E-409C-BE32-E72D297353CC}">
                <c16:uniqueId val="{000001C7-7676-427D-A29F-FAD8B8781901}"/>
              </c:ext>
            </c:extLst>
          </c:dPt>
          <c:dPt>
            <c:idx val="227"/>
            <c:invertIfNegative val="1"/>
            <c:bubble3D val="0"/>
            <c:spPr>
              <a:solidFill>
                <a:srgbClr val="AEABAB"/>
              </a:solidFill>
            </c:spPr>
            <c:extLst>
              <c:ext xmlns:c16="http://schemas.microsoft.com/office/drawing/2014/chart" uri="{C3380CC4-5D6E-409C-BE32-E72D297353CC}">
                <c16:uniqueId val="{000001C9-7676-427D-A29F-FAD8B8781901}"/>
              </c:ext>
            </c:extLst>
          </c:dPt>
          <c:dPt>
            <c:idx val="228"/>
            <c:invertIfNegative val="1"/>
            <c:bubble3D val="0"/>
            <c:spPr>
              <a:solidFill>
                <a:srgbClr val="AEABAB"/>
              </a:solidFill>
            </c:spPr>
            <c:extLst>
              <c:ext xmlns:c16="http://schemas.microsoft.com/office/drawing/2014/chart" uri="{C3380CC4-5D6E-409C-BE32-E72D297353CC}">
                <c16:uniqueId val="{000001CB-7676-427D-A29F-FAD8B8781901}"/>
              </c:ext>
            </c:extLst>
          </c:dPt>
          <c:dPt>
            <c:idx val="229"/>
            <c:invertIfNegative val="1"/>
            <c:bubble3D val="0"/>
            <c:spPr>
              <a:solidFill>
                <a:srgbClr val="AEABAB"/>
              </a:solidFill>
            </c:spPr>
            <c:extLst>
              <c:ext xmlns:c16="http://schemas.microsoft.com/office/drawing/2014/chart" uri="{C3380CC4-5D6E-409C-BE32-E72D297353CC}">
                <c16:uniqueId val="{000001CD-7676-427D-A29F-FAD8B8781901}"/>
              </c:ext>
            </c:extLst>
          </c:dPt>
          <c:dPt>
            <c:idx val="230"/>
            <c:invertIfNegative val="1"/>
            <c:bubble3D val="0"/>
            <c:spPr>
              <a:solidFill>
                <a:srgbClr val="AEABAB"/>
              </a:solidFill>
            </c:spPr>
            <c:extLst>
              <c:ext xmlns:c16="http://schemas.microsoft.com/office/drawing/2014/chart" uri="{C3380CC4-5D6E-409C-BE32-E72D297353CC}">
                <c16:uniqueId val="{000001CF-7676-427D-A29F-FAD8B8781901}"/>
              </c:ext>
            </c:extLst>
          </c:dPt>
          <c:dPt>
            <c:idx val="231"/>
            <c:invertIfNegative val="1"/>
            <c:bubble3D val="0"/>
            <c:spPr>
              <a:solidFill>
                <a:srgbClr val="AEABAB"/>
              </a:solidFill>
            </c:spPr>
            <c:extLst>
              <c:ext xmlns:c16="http://schemas.microsoft.com/office/drawing/2014/chart" uri="{C3380CC4-5D6E-409C-BE32-E72D297353CC}">
                <c16:uniqueId val="{000001D1-7676-427D-A29F-FAD8B8781901}"/>
              </c:ext>
            </c:extLst>
          </c:dPt>
          <c:dPt>
            <c:idx val="232"/>
            <c:invertIfNegative val="1"/>
            <c:bubble3D val="0"/>
            <c:spPr>
              <a:solidFill>
                <a:srgbClr val="AEABAB"/>
              </a:solidFill>
            </c:spPr>
            <c:extLst>
              <c:ext xmlns:c16="http://schemas.microsoft.com/office/drawing/2014/chart" uri="{C3380CC4-5D6E-409C-BE32-E72D297353CC}">
                <c16:uniqueId val="{000001D3-7676-427D-A29F-FAD8B8781901}"/>
              </c:ext>
            </c:extLst>
          </c:dPt>
          <c:dPt>
            <c:idx val="233"/>
            <c:invertIfNegative val="1"/>
            <c:bubble3D val="0"/>
            <c:spPr>
              <a:solidFill>
                <a:srgbClr val="AEABAB"/>
              </a:solidFill>
            </c:spPr>
            <c:extLst>
              <c:ext xmlns:c16="http://schemas.microsoft.com/office/drawing/2014/chart" uri="{C3380CC4-5D6E-409C-BE32-E72D297353CC}">
                <c16:uniqueId val="{000001D5-7676-427D-A29F-FAD8B8781901}"/>
              </c:ext>
            </c:extLst>
          </c:dPt>
          <c:dPt>
            <c:idx val="234"/>
            <c:invertIfNegative val="1"/>
            <c:bubble3D val="0"/>
            <c:spPr>
              <a:solidFill>
                <a:srgbClr val="AEABAB"/>
              </a:solidFill>
            </c:spPr>
            <c:extLst>
              <c:ext xmlns:c16="http://schemas.microsoft.com/office/drawing/2014/chart" uri="{C3380CC4-5D6E-409C-BE32-E72D297353CC}">
                <c16:uniqueId val="{000001D7-7676-427D-A29F-FAD8B8781901}"/>
              </c:ext>
            </c:extLst>
          </c:dPt>
          <c:dPt>
            <c:idx val="235"/>
            <c:invertIfNegative val="1"/>
            <c:bubble3D val="0"/>
            <c:spPr>
              <a:solidFill>
                <a:srgbClr val="AEABAB"/>
              </a:solidFill>
            </c:spPr>
            <c:extLst>
              <c:ext xmlns:c16="http://schemas.microsoft.com/office/drawing/2014/chart" uri="{C3380CC4-5D6E-409C-BE32-E72D297353CC}">
                <c16:uniqueId val="{000001D9-7676-427D-A29F-FAD8B8781901}"/>
              </c:ext>
            </c:extLst>
          </c:dPt>
          <c:dPt>
            <c:idx val="236"/>
            <c:invertIfNegative val="1"/>
            <c:bubble3D val="0"/>
            <c:spPr>
              <a:solidFill>
                <a:srgbClr val="AEABAB"/>
              </a:solidFill>
            </c:spPr>
            <c:extLst>
              <c:ext xmlns:c16="http://schemas.microsoft.com/office/drawing/2014/chart" uri="{C3380CC4-5D6E-409C-BE32-E72D297353CC}">
                <c16:uniqueId val="{000001DB-7676-427D-A29F-FAD8B8781901}"/>
              </c:ext>
            </c:extLst>
          </c:dPt>
          <c:dPt>
            <c:idx val="237"/>
            <c:invertIfNegative val="1"/>
            <c:bubble3D val="0"/>
            <c:spPr>
              <a:solidFill>
                <a:srgbClr val="AEABAB"/>
              </a:solidFill>
            </c:spPr>
            <c:extLst>
              <c:ext xmlns:c16="http://schemas.microsoft.com/office/drawing/2014/chart" uri="{C3380CC4-5D6E-409C-BE32-E72D297353CC}">
                <c16:uniqueId val="{000001DD-7676-427D-A29F-FAD8B8781901}"/>
              </c:ext>
            </c:extLst>
          </c:dPt>
          <c:dPt>
            <c:idx val="238"/>
            <c:invertIfNegative val="1"/>
            <c:bubble3D val="0"/>
            <c:spPr>
              <a:solidFill>
                <a:srgbClr val="AEABAB"/>
              </a:solidFill>
            </c:spPr>
            <c:extLst>
              <c:ext xmlns:c16="http://schemas.microsoft.com/office/drawing/2014/chart" uri="{C3380CC4-5D6E-409C-BE32-E72D297353CC}">
                <c16:uniqueId val="{000001DF-7676-427D-A29F-FAD8B8781901}"/>
              </c:ext>
            </c:extLst>
          </c:dPt>
          <c:dPt>
            <c:idx val="239"/>
            <c:invertIfNegative val="1"/>
            <c:bubble3D val="0"/>
            <c:spPr>
              <a:solidFill>
                <a:srgbClr val="AEABAB"/>
              </a:solidFill>
            </c:spPr>
            <c:extLst>
              <c:ext xmlns:c16="http://schemas.microsoft.com/office/drawing/2014/chart" uri="{C3380CC4-5D6E-409C-BE32-E72D297353CC}">
                <c16:uniqueId val="{000001E1-7676-427D-A29F-FAD8B8781901}"/>
              </c:ext>
            </c:extLst>
          </c:dPt>
          <c:dPt>
            <c:idx val="240"/>
            <c:invertIfNegative val="1"/>
            <c:bubble3D val="0"/>
            <c:spPr>
              <a:solidFill>
                <a:srgbClr val="AEABAB"/>
              </a:solidFill>
            </c:spPr>
            <c:extLst>
              <c:ext xmlns:c16="http://schemas.microsoft.com/office/drawing/2014/chart" uri="{C3380CC4-5D6E-409C-BE32-E72D297353CC}">
                <c16:uniqueId val="{000001E3-7676-427D-A29F-FAD8B8781901}"/>
              </c:ext>
            </c:extLst>
          </c:dPt>
          <c:dPt>
            <c:idx val="241"/>
            <c:invertIfNegative val="1"/>
            <c:bubble3D val="0"/>
            <c:spPr>
              <a:solidFill>
                <a:srgbClr val="AEABAB"/>
              </a:solidFill>
            </c:spPr>
            <c:extLst>
              <c:ext xmlns:c16="http://schemas.microsoft.com/office/drawing/2014/chart" uri="{C3380CC4-5D6E-409C-BE32-E72D297353CC}">
                <c16:uniqueId val="{000001E5-7676-427D-A29F-FAD8B8781901}"/>
              </c:ext>
            </c:extLst>
          </c:dPt>
          <c:dPt>
            <c:idx val="242"/>
            <c:invertIfNegative val="1"/>
            <c:bubble3D val="0"/>
            <c:spPr>
              <a:solidFill>
                <a:srgbClr val="AEABAB"/>
              </a:solidFill>
            </c:spPr>
            <c:extLst>
              <c:ext xmlns:c16="http://schemas.microsoft.com/office/drawing/2014/chart" uri="{C3380CC4-5D6E-409C-BE32-E72D297353CC}">
                <c16:uniqueId val="{000001E7-7676-427D-A29F-FAD8B8781901}"/>
              </c:ext>
            </c:extLst>
          </c:dPt>
          <c:dPt>
            <c:idx val="243"/>
            <c:invertIfNegative val="1"/>
            <c:bubble3D val="0"/>
            <c:spPr>
              <a:solidFill>
                <a:srgbClr val="AEABAB"/>
              </a:solidFill>
            </c:spPr>
            <c:extLst>
              <c:ext xmlns:c16="http://schemas.microsoft.com/office/drawing/2014/chart" uri="{C3380CC4-5D6E-409C-BE32-E72D297353CC}">
                <c16:uniqueId val="{000001E9-7676-427D-A29F-FAD8B8781901}"/>
              </c:ext>
            </c:extLst>
          </c:dPt>
          <c:dPt>
            <c:idx val="244"/>
            <c:invertIfNegative val="1"/>
            <c:bubble3D val="0"/>
            <c:spPr>
              <a:solidFill>
                <a:srgbClr val="AEABAB"/>
              </a:solidFill>
            </c:spPr>
            <c:extLst>
              <c:ext xmlns:c16="http://schemas.microsoft.com/office/drawing/2014/chart" uri="{C3380CC4-5D6E-409C-BE32-E72D297353CC}">
                <c16:uniqueId val="{000001EB-7676-427D-A29F-FAD8B8781901}"/>
              </c:ext>
            </c:extLst>
          </c:dPt>
          <c:dPt>
            <c:idx val="245"/>
            <c:invertIfNegative val="1"/>
            <c:bubble3D val="0"/>
            <c:spPr>
              <a:solidFill>
                <a:srgbClr val="AEABAB"/>
              </a:solidFill>
            </c:spPr>
            <c:extLst>
              <c:ext xmlns:c16="http://schemas.microsoft.com/office/drawing/2014/chart" uri="{C3380CC4-5D6E-409C-BE32-E72D297353CC}">
                <c16:uniqueId val="{000001ED-7676-427D-A29F-FAD8B8781901}"/>
              </c:ext>
            </c:extLst>
          </c:dPt>
          <c:dPt>
            <c:idx val="246"/>
            <c:invertIfNegative val="1"/>
            <c:bubble3D val="0"/>
            <c:spPr>
              <a:solidFill>
                <a:srgbClr val="AEABAB"/>
              </a:solidFill>
            </c:spPr>
            <c:extLst>
              <c:ext xmlns:c16="http://schemas.microsoft.com/office/drawing/2014/chart" uri="{C3380CC4-5D6E-409C-BE32-E72D297353CC}">
                <c16:uniqueId val="{000001EF-7676-427D-A29F-FAD8B8781901}"/>
              </c:ext>
            </c:extLst>
          </c:dPt>
          <c:dPt>
            <c:idx val="247"/>
            <c:invertIfNegative val="1"/>
            <c:bubble3D val="0"/>
            <c:spPr>
              <a:solidFill>
                <a:srgbClr val="AEABAB"/>
              </a:solidFill>
            </c:spPr>
            <c:extLst>
              <c:ext xmlns:c16="http://schemas.microsoft.com/office/drawing/2014/chart" uri="{C3380CC4-5D6E-409C-BE32-E72D297353CC}">
                <c16:uniqueId val="{000001F1-7676-427D-A29F-FAD8B8781901}"/>
              </c:ext>
            </c:extLst>
          </c:dPt>
          <c:dPt>
            <c:idx val="248"/>
            <c:invertIfNegative val="1"/>
            <c:bubble3D val="0"/>
            <c:spPr>
              <a:solidFill>
                <a:srgbClr val="AEABAB"/>
              </a:solidFill>
            </c:spPr>
            <c:extLst>
              <c:ext xmlns:c16="http://schemas.microsoft.com/office/drawing/2014/chart" uri="{C3380CC4-5D6E-409C-BE32-E72D297353CC}">
                <c16:uniqueId val="{000001F3-7676-427D-A29F-FAD8B8781901}"/>
              </c:ext>
            </c:extLst>
          </c:dPt>
          <c:dPt>
            <c:idx val="249"/>
            <c:invertIfNegative val="1"/>
            <c:bubble3D val="0"/>
            <c:spPr>
              <a:solidFill>
                <a:srgbClr val="AEABAB"/>
              </a:solidFill>
            </c:spPr>
            <c:extLst>
              <c:ext xmlns:c16="http://schemas.microsoft.com/office/drawing/2014/chart" uri="{C3380CC4-5D6E-409C-BE32-E72D297353CC}">
                <c16:uniqueId val="{000001F5-7676-427D-A29F-FAD8B8781901}"/>
              </c:ext>
            </c:extLst>
          </c:dPt>
          <c:dPt>
            <c:idx val="250"/>
            <c:invertIfNegative val="1"/>
            <c:bubble3D val="0"/>
            <c:spPr>
              <a:solidFill>
                <a:srgbClr val="AEABAB"/>
              </a:solidFill>
            </c:spPr>
            <c:extLst>
              <c:ext xmlns:c16="http://schemas.microsoft.com/office/drawing/2014/chart" uri="{C3380CC4-5D6E-409C-BE32-E72D297353CC}">
                <c16:uniqueId val="{000001F7-7676-427D-A29F-FAD8B8781901}"/>
              </c:ext>
            </c:extLst>
          </c:dPt>
          <c:dPt>
            <c:idx val="251"/>
            <c:invertIfNegative val="1"/>
            <c:bubble3D val="0"/>
            <c:spPr>
              <a:solidFill>
                <a:srgbClr val="AEABAB"/>
              </a:solidFill>
            </c:spPr>
            <c:extLst>
              <c:ext xmlns:c16="http://schemas.microsoft.com/office/drawing/2014/chart" uri="{C3380CC4-5D6E-409C-BE32-E72D297353CC}">
                <c16:uniqueId val="{000001F9-7676-427D-A29F-FAD8B8781901}"/>
              </c:ext>
            </c:extLst>
          </c:dPt>
          <c:dPt>
            <c:idx val="252"/>
            <c:invertIfNegative val="1"/>
            <c:bubble3D val="0"/>
            <c:spPr>
              <a:solidFill>
                <a:srgbClr val="AEABAB"/>
              </a:solidFill>
            </c:spPr>
            <c:extLst>
              <c:ext xmlns:c16="http://schemas.microsoft.com/office/drawing/2014/chart" uri="{C3380CC4-5D6E-409C-BE32-E72D297353CC}">
                <c16:uniqueId val="{000001FB-7676-427D-A29F-FAD8B8781901}"/>
              </c:ext>
            </c:extLst>
          </c:dPt>
          <c:dPt>
            <c:idx val="253"/>
            <c:invertIfNegative val="1"/>
            <c:bubble3D val="0"/>
            <c:spPr>
              <a:solidFill>
                <a:srgbClr val="AEABAB"/>
              </a:solidFill>
            </c:spPr>
            <c:extLst>
              <c:ext xmlns:c16="http://schemas.microsoft.com/office/drawing/2014/chart" uri="{C3380CC4-5D6E-409C-BE32-E72D297353CC}">
                <c16:uniqueId val="{000001FD-7676-427D-A29F-FAD8B8781901}"/>
              </c:ext>
            </c:extLst>
          </c:dPt>
          <c:dPt>
            <c:idx val="254"/>
            <c:invertIfNegative val="1"/>
            <c:bubble3D val="0"/>
            <c:spPr>
              <a:solidFill>
                <a:srgbClr val="AEABAB"/>
              </a:solidFill>
            </c:spPr>
            <c:extLst>
              <c:ext xmlns:c16="http://schemas.microsoft.com/office/drawing/2014/chart" uri="{C3380CC4-5D6E-409C-BE32-E72D297353CC}">
                <c16:uniqueId val="{000001FF-7676-427D-A29F-FAD8B8781901}"/>
              </c:ext>
            </c:extLst>
          </c:dPt>
          <c:dPt>
            <c:idx val="255"/>
            <c:invertIfNegative val="1"/>
            <c:bubble3D val="0"/>
            <c:spPr>
              <a:solidFill>
                <a:srgbClr val="AEABAB"/>
              </a:solidFill>
            </c:spPr>
            <c:extLst>
              <c:ext xmlns:c16="http://schemas.microsoft.com/office/drawing/2014/chart" uri="{C3380CC4-5D6E-409C-BE32-E72D297353CC}">
                <c16:uniqueId val="{00000201-7676-427D-A29F-FAD8B8781901}"/>
              </c:ext>
            </c:extLst>
          </c:dPt>
          <c:dPt>
            <c:idx val="256"/>
            <c:invertIfNegative val="1"/>
            <c:bubble3D val="0"/>
            <c:spPr>
              <a:solidFill>
                <a:srgbClr val="AEABAB"/>
              </a:solidFill>
            </c:spPr>
            <c:extLst>
              <c:ext xmlns:c16="http://schemas.microsoft.com/office/drawing/2014/chart" uri="{C3380CC4-5D6E-409C-BE32-E72D297353CC}">
                <c16:uniqueId val="{00000203-7676-427D-A29F-FAD8B8781901}"/>
              </c:ext>
            </c:extLst>
          </c:dPt>
          <c:dPt>
            <c:idx val="257"/>
            <c:invertIfNegative val="1"/>
            <c:bubble3D val="0"/>
            <c:spPr>
              <a:solidFill>
                <a:srgbClr val="AEABAB"/>
              </a:solidFill>
            </c:spPr>
            <c:extLst>
              <c:ext xmlns:c16="http://schemas.microsoft.com/office/drawing/2014/chart" uri="{C3380CC4-5D6E-409C-BE32-E72D297353CC}">
                <c16:uniqueId val="{00000205-7676-427D-A29F-FAD8B8781901}"/>
              </c:ext>
            </c:extLst>
          </c:dPt>
          <c:dPt>
            <c:idx val="258"/>
            <c:invertIfNegative val="1"/>
            <c:bubble3D val="0"/>
            <c:spPr>
              <a:solidFill>
                <a:srgbClr val="AEABAB"/>
              </a:solidFill>
            </c:spPr>
            <c:extLst>
              <c:ext xmlns:c16="http://schemas.microsoft.com/office/drawing/2014/chart" uri="{C3380CC4-5D6E-409C-BE32-E72D297353CC}">
                <c16:uniqueId val="{00000207-7676-427D-A29F-FAD8B8781901}"/>
              </c:ext>
            </c:extLst>
          </c:dPt>
          <c:dPt>
            <c:idx val="259"/>
            <c:invertIfNegative val="1"/>
            <c:bubble3D val="0"/>
            <c:spPr>
              <a:solidFill>
                <a:srgbClr val="AEABAB"/>
              </a:solidFill>
            </c:spPr>
            <c:extLst>
              <c:ext xmlns:c16="http://schemas.microsoft.com/office/drawing/2014/chart" uri="{C3380CC4-5D6E-409C-BE32-E72D297353CC}">
                <c16:uniqueId val="{00000209-7676-427D-A29F-FAD8B8781901}"/>
              </c:ext>
            </c:extLst>
          </c:dPt>
          <c:dPt>
            <c:idx val="260"/>
            <c:invertIfNegative val="1"/>
            <c:bubble3D val="0"/>
            <c:spPr>
              <a:solidFill>
                <a:srgbClr val="AEABAB"/>
              </a:solidFill>
            </c:spPr>
            <c:extLst>
              <c:ext xmlns:c16="http://schemas.microsoft.com/office/drawing/2014/chart" uri="{C3380CC4-5D6E-409C-BE32-E72D297353CC}">
                <c16:uniqueId val="{0000020B-7676-427D-A29F-FAD8B8781901}"/>
              </c:ext>
            </c:extLst>
          </c:dPt>
          <c:dPt>
            <c:idx val="261"/>
            <c:invertIfNegative val="1"/>
            <c:bubble3D val="0"/>
            <c:spPr>
              <a:solidFill>
                <a:srgbClr val="AEABAB"/>
              </a:solidFill>
            </c:spPr>
            <c:extLst>
              <c:ext xmlns:c16="http://schemas.microsoft.com/office/drawing/2014/chart" uri="{C3380CC4-5D6E-409C-BE32-E72D297353CC}">
                <c16:uniqueId val="{0000020D-7676-427D-A29F-FAD8B8781901}"/>
              </c:ext>
            </c:extLst>
          </c:dPt>
          <c:dPt>
            <c:idx val="262"/>
            <c:invertIfNegative val="1"/>
            <c:bubble3D val="0"/>
            <c:spPr>
              <a:solidFill>
                <a:srgbClr val="AEABAB"/>
              </a:solidFill>
            </c:spPr>
            <c:extLst>
              <c:ext xmlns:c16="http://schemas.microsoft.com/office/drawing/2014/chart" uri="{C3380CC4-5D6E-409C-BE32-E72D297353CC}">
                <c16:uniqueId val="{0000020F-7676-427D-A29F-FAD8B8781901}"/>
              </c:ext>
            </c:extLst>
          </c:dPt>
          <c:dPt>
            <c:idx val="263"/>
            <c:invertIfNegative val="1"/>
            <c:bubble3D val="0"/>
            <c:spPr>
              <a:solidFill>
                <a:srgbClr val="AEABAB"/>
              </a:solidFill>
            </c:spPr>
            <c:extLst>
              <c:ext xmlns:c16="http://schemas.microsoft.com/office/drawing/2014/chart" uri="{C3380CC4-5D6E-409C-BE32-E72D297353CC}">
                <c16:uniqueId val="{00000211-7676-427D-A29F-FAD8B8781901}"/>
              </c:ext>
            </c:extLst>
          </c:dPt>
          <c:dPt>
            <c:idx val="264"/>
            <c:invertIfNegative val="1"/>
            <c:bubble3D val="0"/>
            <c:spPr>
              <a:solidFill>
                <a:srgbClr val="AEABAB"/>
              </a:solidFill>
            </c:spPr>
            <c:extLst>
              <c:ext xmlns:c16="http://schemas.microsoft.com/office/drawing/2014/chart" uri="{C3380CC4-5D6E-409C-BE32-E72D297353CC}">
                <c16:uniqueId val="{00000213-7676-427D-A29F-FAD8B8781901}"/>
              </c:ext>
            </c:extLst>
          </c:dPt>
          <c:dPt>
            <c:idx val="265"/>
            <c:invertIfNegative val="1"/>
            <c:bubble3D val="0"/>
            <c:spPr>
              <a:solidFill>
                <a:srgbClr val="AEABAB"/>
              </a:solidFill>
            </c:spPr>
            <c:extLst>
              <c:ext xmlns:c16="http://schemas.microsoft.com/office/drawing/2014/chart" uri="{C3380CC4-5D6E-409C-BE32-E72D297353CC}">
                <c16:uniqueId val="{00000215-7676-427D-A29F-FAD8B8781901}"/>
              </c:ext>
            </c:extLst>
          </c:dPt>
          <c:dPt>
            <c:idx val="266"/>
            <c:invertIfNegative val="1"/>
            <c:bubble3D val="0"/>
            <c:spPr>
              <a:solidFill>
                <a:srgbClr val="AEABAB"/>
              </a:solidFill>
            </c:spPr>
            <c:extLst>
              <c:ext xmlns:c16="http://schemas.microsoft.com/office/drawing/2014/chart" uri="{C3380CC4-5D6E-409C-BE32-E72D297353CC}">
                <c16:uniqueId val="{00000217-7676-427D-A29F-FAD8B8781901}"/>
              </c:ext>
            </c:extLst>
          </c:dPt>
          <c:dPt>
            <c:idx val="267"/>
            <c:invertIfNegative val="1"/>
            <c:bubble3D val="0"/>
            <c:spPr>
              <a:solidFill>
                <a:srgbClr val="AEABAB"/>
              </a:solidFill>
            </c:spPr>
            <c:extLst>
              <c:ext xmlns:c16="http://schemas.microsoft.com/office/drawing/2014/chart" uri="{C3380CC4-5D6E-409C-BE32-E72D297353CC}">
                <c16:uniqueId val="{00000219-7676-427D-A29F-FAD8B8781901}"/>
              </c:ext>
            </c:extLst>
          </c:dPt>
          <c:dPt>
            <c:idx val="268"/>
            <c:invertIfNegative val="1"/>
            <c:bubble3D val="0"/>
            <c:spPr>
              <a:solidFill>
                <a:srgbClr val="AEABAB"/>
              </a:solidFill>
            </c:spPr>
            <c:extLst>
              <c:ext xmlns:c16="http://schemas.microsoft.com/office/drawing/2014/chart" uri="{C3380CC4-5D6E-409C-BE32-E72D297353CC}">
                <c16:uniqueId val="{0000021B-7676-427D-A29F-FAD8B8781901}"/>
              </c:ext>
            </c:extLst>
          </c:dPt>
          <c:dPt>
            <c:idx val="269"/>
            <c:invertIfNegative val="1"/>
            <c:bubble3D val="0"/>
            <c:spPr>
              <a:solidFill>
                <a:srgbClr val="AEABAB"/>
              </a:solidFill>
            </c:spPr>
            <c:extLst>
              <c:ext xmlns:c16="http://schemas.microsoft.com/office/drawing/2014/chart" uri="{C3380CC4-5D6E-409C-BE32-E72D297353CC}">
                <c16:uniqueId val="{0000021D-7676-427D-A29F-FAD8B8781901}"/>
              </c:ext>
            </c:extLst>
          </c:dPt>
          <c:dPt>
            <c:idx val="270"/>
            <c:invertIfNegative val="1"/>
            <c:bubble3D val="0"/>
            <c:spPr>
              <a:solidFill>
                <a:srgbClr val="AEABAB"/>
              </a:solidFill>
            </c:spPr>
            <c:extLst>
              <c:ext xmlns:c16="http://schemas.microsoft.com/office/drawing/2014/chart" uri="{C3380CC4-5D6E-409C-BE32-E72D297353CC}">
                <c16:uniqueId val="{0000021F-7676-427D-A29F-FAD8B8781901}"/>
              </c:ext>
            </c:extLst>
          </c:dPt>
          <c:dPt>
            <c:idx val="271"/>
            <c:invertIfNegative val="1"/>
            <c:bubble3D val="0"/>
            <c:spPr>
              <a:solidFill>
                <a:srgbClr val="AEABAB"/>
              </a:solidFill>
            </c:spPr>
            <c:extLst>
              <c:ext xmlns:c16="http://schemas.microsoft.com/office/drawing/2014/chart" uri="{C3380CC4-5D6E-409C-BE32-E72D297353CC}">
                <c16:uniqueId val="{00000221-7676-427D-A29F-FAD8B8781901}"/>
              </c:ext>
            </c:extLst>
          </c:dPt>
          <c:dPt>
            <c:idx val="272"/>
            <c:invertIfNegative val="1"/>
            <c:bubble3D val="0"/>
            <c:spPr>
              <a:solidFill>
                <a:srgbClr val="AEABAB"/>
              </a:solidFill>
            </c:spPr>
            <c:extLst>
              <c:ext xmlns:c16="http://schemas.microsoft.com/office/drawing/2014/chart" uri="{C3380CC4-5D6E-409C-BE32-E72D297353CC}">
                <c16:uniqueId val="{00000223-7676-427D-A29F-FAD8B8781901}"/>
              </c:ext>
            </c:extLst>
          </c:dPt>
          <c:dPt>
            <c:idx val="273"/>
            <c:invertIfNegative val="1"/>
            <c:bubble3D val="0"/>
            <c:spPr>
              <a:solidFill>
                <a:srgbClr val="AEABAB"/>
              </a:solidFill>
            </c:spPr>
            <c:extLst>
              <c:ext xmlns:c16="http://schemas.microsoft.com/office/drawing/2014/chart" uri="{C3380CC4-5D6E-409C-BE32-E72D297353CC}">
                <c16:uniqueId val="{00000225-7676-427D-A29F-FAD8B8781901}"/>
              </c:ext>
            </c:extLst>
          </c:dPt>
          <c:dPt>
            <c:idx val="274"/>
            <c:invertIfNegative val="1"/>
            <c:bubble3D val="0"/>
            <c:spPr>
              <a:solidFill>
                <a:srgbClr val="AEABAB"/>
              </a:solidFill>
            </c:spPr>
            <c:extLst>
              <c:ext xmlns:c16="http://schemas.microsoft.com/office/drawing/2014/chart" uri="{C3380CC4-5D6E-409C-BE32-E72D297353CC}">
                <c16:uniqueId val="{00000227-7676-427D-A29F-FAD8B8781901}"/>
              </c:ext>
            </c:extLst>
          </c:dPt>
          <c:dPt>
            <c:idx val="275"/>
            <c:invertIfNegative val="1"/>
            <c:bubble3D val="0"/>
            <c:spPr>
              <a:solidFill>
                <a:srgbClr val="AEABAB"/>
              </a:solidFill>
            </c:spPr>
            <c:extLst>
              <c:ext xmlns:c16="http://schemas.microsoft.com/office/drawing/2014/chart" uri="{C3380CC4-5D6E-409C-BE32-E72D297353CC}">
                <c16:uniqueId val="{00000229-7676-427D-A29F-FAD8B8781901}"/>
              </c:ext>
            </c:extLst>
          </c:dPt>
          <c:dPt>
            <c:idx val="276"/>
            <c:invertIfNegative val="1"/>
            <c:bubble3D val="0"/>
            <c:spPr>
              <a:solidFill>
                <a:srgbClr val="AEABAB"/>
              </a:solidFill>
            </c:spPr>
            <c:extLst>
              <c:ext xmlns:c16="http://schemas.microsoft.com/office/drawing/2014/chart" uri="{C3380CC4-5D6E-409C-BE32-E72D297353CC}">
                <c16:uniqueId val="{0000022B-7676-427D-A29F-FAD8B8781901}"/>
              </c:ext>
            </c:extLst>
          </c:dPt>
          <c:dPt>
            <c:idx val="277"/>
            <c:invertIfNegative val="1"/>
            <c:bubble3D val="0"/>
            <c:spPr>
              <a:solidFill>
                <a:srgbClr val="AEABAB"/>
              </a:solidFill>
            </c:spPr>
            <c:extLst>
              <c:ext xmlns:c16="http://schemas.microsoft.com/office/drawing/2014/chart" uri="{C3380CC4-5D6E-409C-BE32-E72D297353CC}">
                <c16:uniqueId val="{0000022D-7676-427D-A29F-FAD8B8781901}"/>
              </c:ext>
            </c:extLst>
          </c:dPt>
          <c:dPt>
            <c:idx val="278"/>
            <c:invertIfNegative val="1"/>
            <c:bubble3D val="0"/>
            <c:spPr>
              <a:solidFill>
                <a:srgbClr val="AEABAB"/>
              </a:solidFill>
            </c:spPr>
            <c:extLst>
              <c:ext xmlns:c16="http://schemas.microsoft.com/office/drawing/2014/chart" uri="{C3380CC4-5D6E-409C-BE32-E72D297353CC}">
                <c16:uniqueId val="{0000022F-7676-427D-A29F-FAD8B8781901}"/>
              </c:ext>
            </c:extLst>
          </c:dPt>
          <c:dPt>
            <c:idx val="279"/>
            <c:invertIfNegative val="1"/>
            <c:bubble3D val="0"/>
            <c:spPr>
              <a:solidFill>
                <a:srgbClr val="AEABAB"/>
              </a:solidFill>
            </c:spPr>
            <c:extLst>
              <c:ext xmlns:c16="http://schemas.microsoft.com/office/drawing/2014/chart" uri="{C3380CC4-5D6E-409C-BE32-E72D297353CC}">
                <c16:uniqueId val="{00000231-7676-427D-A29F-FAD8B8781901}"/>
              </c:ext>
            </c:extLst>
          </c:dPt>
          <c:dPt>
            <c:idx val="280"/>
            <c:invertIfNegative val="1"/>
            <c:bubble3D val="0"/>
            <c:spPr>
              <a:solidFill>
                <a:srgbClr val="AEABAB"/>
              </a:solidFill>
            </c:spPr>
            <c:extLst>
              <c:ext xmlns:c16="http://schemas.microsoft.com/office/drawing/2014/chart" uri="{C3380CC4-5D6E-409C-BE32-E72D297353CC}">
                <c16:uniqueId val="{00000233-7676-427D-A29F-FAD8B8781901}"/>
              </c:ext>
            </c:extLst>
          </c:dPt>
          <c:dPt>
            <c:idx val="281"/>
            <c:invertIfNegative val="1"/>
            <c:bubble3D val="0"/>
            <c:spPr>
              <a:solidFill>
                <a:srgbClr val="AEABAB"/>
              </a:solidFill>
            </c:spPr>
            <c:extLst>
              <c:ext xmlns:c16="http://schemas.microsoft.com/office/drawing/2014/chart" uri="{C3380CC4-5D6E-409C-BE32-E72D297353CC}">
                <c16:uniqueId val="{00000235-7676-427D-A29F-FAD8B8781901}"/>
              </c:ext>
            </c:extLst>
          </c:dPt>
          <c:dPt>
            <c:idx val="282"/>
            <c:invertIfNegative val="1"/>
            <c:bubble3D val="0"/>
            <c:spPr>
              <a:solidFill>
                <a:srgbClr val="AEABAB"/>
              </a:solidFill>
            </c:spPr>
            <c:extLst>
              <c:ext xmlns:c16="http://schemas.microsoft.com/office/drawing/2014/chart" uri="{C3380CC4-5D6E-409C-BE32-E72D297353CC}">
                <c16:uniqueId val="{00000237-7676-427D-A29F-FAD8B8781901}"/>
              </c:ext>
            </c:extLst>
          </c:dPt>
          <c:dPt>
            <c:idx val="283"/>
            <c:invertIfNegative val="1"/>
            <c:bubble3D val="0"/>
            <c:spPr>
              <a:solidFill>
                <a:srgbClr val="AEABAB"/>
              </a:solidFill>
            </c:spPr>
            <c:extLst>
              <c:ext xmlns:c16="http://schemas.microsoft.com/office/drawing/2014/chart" uri="{C3380CC4-5D6E-409C-BE32-E72D297353CC}">
                <c16:uniqueId val="{00000239-7676-427D-A29F-FAD8B8781901}"/>
              </c:ext>
            </c:extLst>
          </c:dPt>
          <c:dPt>
            <c:idx val="284"/>
            <c:invertIfNegative val="1"/>
            <c:bubble3D val="0"/>
            <c:spPr>
              <a:solidFill>
                <a:srgbClr val="AEABAB"/>
              </a:solidFill>
            </c:spPr>
            <c:extLst>
              <c:ext xmlns:c16="http://schemas.microsoft.com/office/drawing/2014/chart" uri="{C3380CC4-5D6E-409C-BE32-E72D297353CC}">
                <c16:uniqueId val="{0000023B-7676-427D-A29F-FAD8B8781901}"/>
              </c:ext>
            </c:extLst>
          </c:dPt>
          <c:dPt>
            <c:idx val="285"/>
            <c:invertIfNegative val="1"/>
            <c:bubble3D val="0"/>
            <c:spPr>
              <a:solidFill>
                <a:srgbClr val="AEABAB"/>
              </a:solidFill>
            </c:spPr>
            <c:extLst>
              <c:ext xmlns:c16="http://schemas.microsoft.com/office/drawing/2014/chart" uri="{C3380CC4-5D6E-409C-BE32-E72D297353CC}">
                <c16:uniqueId val="{0000023D-7676-427D-A29F-FAD8B8781901}"/>
              </c:ext>
            </c:extLst>
          </c:dPt>
          <c:dPt>
            <c:idx val="286"/>
            <c:invertIfNegative val="1"/>
            <c:bubble3D val="0"/>
            <c:spPr>
              <a:solidFill>
                <a:srgbClr val="AEABAB"/>
              </a:solidFill>
            </c:spPr>
            <c:extLst>
              <c:ext xmlns:c16="http://schemas.microsoft.com/office/drawing/2014/chart" uri="{C3380CC4-5D6E-409C-BE32-E72D297353CC}">
                <c16:uniqueId val="{0000023F-7676-427D-A29F-FAD8B8781901}"/>
              </c:ext>
            </c:extLst>
          </c:dPt>
          <c:dPt>
            <c:idx val="287"/>
            <c:invertIfNegative val="1"/>
            <c:bubble3D val="0"/>
            <c:spPr>
              <a:solidFill>
                <a:srgbClr val="AEABAB"/>
              </a:solidFill>
            </c:spPr>
            <c:extLst>
              <c:ext xmlns:c16="http://schemas.microsoft.com/office/drawing/2014/chart" uri="{C3380CC4-5D6E-409C-BE32-E72D297353CC}">
                <c16:uniqueId val="{00000241-7676-427D-A29F-FAD8B8781901}"/>
              </c:ext>
            </c:extLst>
          </c:dPt>
          <c:dPt>
            <c:idx val="288"/>
            <c:invertIfNegative val="1"/>
            <c:bubble3D val="0"/>
            <c:spPr>
              <a:solidFill>
                <a:srgbClr val="AEABAB"/>
              </a:solidFill>
            </c:spPr>
            <c:extLst>
              <c:ext xmlns:c16="http://schemas.microsoft.com/office/drawing/2014/chart" uri="{C3380CC4-5D6E-409C-BE32-E72D297353CC}">
                <c16:uniqueId val="{00000243-7676-427D-A29F-FAD8B8781901}"/>
              </c:ext>
            </c:extLst>
          </c:dPt>
          <c:dPt>
            <c:idx val="289"/>
            <c:invertIfNegative val="1"/>
            <c:bubble3D val="0"/>
            <c:spPr>
              <a:solidFill>
                <a:srgbClr val="AEABAB"/>
              </a:solidFill>
            </c:spPr>
            <c:extLst>
              <c:ext xmlns:c16="http://schemas.microsoft.com/office/drawing/2014/chart" uri="{C3380CC4-5D6E-409C-BE32-E72D297353CC}">
                <c16:uniqueId val="{00000245-7676-427D-A29F-FAD8B8781901}"/>
              </c:ext>
            </c:extLst>
          </c:dPt>
          <c:dPt>
            <c:idx val="290"/>
            <c:invertIfNegative val="1"/>
            <c:bubble3D val="0"/>
            <c:spPr>
              <a:solidFill>
                <a:srgbClr val="AEABAB"/>
              </a:solidFill>
            </c:spPr>
            <c:extLst>
              <c:ext xmlns:c16="http://schemas.microsoft.com/office/drawing/2014/chart" uri="{C3380CC4-5D6E-409C-BE32-E72D297353CC}">
                <c16:uniqueId val="{00000247-7676-427D-A29F-FAD8B8781901}"/>
              </c:ext>
            </c:extLst>
          </c:dPt>
          <c:dPt>
            <c:idx val="291"/>
            <c:invertIfNegative val="1"/>
            <c:bubble3D val="0"/>
            <c:spPr>
              <a:solidFill>
                <a:srgbClr val="AEABAB"/>
              </a:solidFill>
            </c:spPr>
            <c:extLst>
              <c:ext xmlns:c16="http://schemas.microsoft.com/office/drawing/2014/chart" uri="{C3380CC4-5D6E-409C-BE32-E72D297353CC}">
                <c16:uniqueId val="{00000249-7676-427D-A29F-FAD8B8781901}"/>
              </c:ext>
            </c:extLst>
          </c:dPt>
          <c:dPt>
            <c:idx val="292"/>
            <c:invertIfNegative val="1"/>
            <c:bubble3D val="0"/>
            <c:spPr>
              <a:solidFill>
                <a:srgbClr val="AEABAB"/>
              </a:solidFill>
            </c:spPr>
            <c:extLst>
              <c:ext xmlns:c16="http://schemas.microsoft.com/office/drawing/2014/chart" uri="{C3380CC4-5D6E-409C-BE32-E72D297353CC}">
                <c16:uniqueId val="{0000024B-7676-427D-A29F-FAD8B8781901}"/>
              </c:ext>
            </c:extLst>
          </c:dPt>
          <c:dPt>
            <c:idx val="293"/>
            <c:invertIfNegative val="1"/>
            <c:bubble3D val="0"/>
            <c:spPr>
              <a:solidFill>
                <a:srgbClr val="AEABAB"/>
              </a:solidFill>
            </c:spPr>
            <c:extLst>
              <c:ext xmlns:c16="http://schemas.microsoft.com/office/drawing/2014/chart" uri="{C3380CC4-5D6E-409C-BE32-E72D297353CC}">
                <c16:uniqueId val="{0000024D-7676-427D-A29F-FAD8B8781901}"/>
              </c:ext>
            </c:extLst>
          </c:dPt>
          <c:dPt>
            <c:idx val="294"/>
            <c:invertIfNegative val="1"/>
            <c:bubble3D val="0"/>
            <c:spPr>
              <a:solidFill>
                <a:srgbClr val="AEABAB"/>
              </a:solidFill>
            </c:spPr>
            <c:extLst>
              <c:ext xmlns:c16="http://schemas.microsoft.com/office/drawing/2014/chart" uri="{C3380CC4-5D6E-409C-BE32-E72D297353CC}">
                <c16:uniqueId val="{0000024F-7676-427D-A29F-FAD8B8781901}"/>
              </c:ext>
            </c:extLst>
          </c:dPt>
          <c:dPt>
            <c:idx val="295"/>
            <c:invertIfNegative val="1"/>
            <c:bubble3D val="0"/>
            <c:spPr>
              <a:solidFill>
                <a:srgbClr val="AEABAB"/>
              </a:solidFill>
            </c:spPr>
            <c:extLst>
              <c:ext xmlns:c16="http://schemas.microsoft.com/office/drawing/2014/chart" uri="{C3380CC4-5D6E-409C-BE32-E72D297353CC}">
                <c16:uniqueId val="{00000251-7676-427D-A29F-FAD8B8781901}"/>
              </c:ext>
            </c:extLst>
          </c:dPt>
          <c:dPt>
            <c:idx val="296"/>
            <c:invertIfNegative val="1"/>
            <c:bubble3D val="0"/>
            <c:spPr>
              <a:solidFill>
                <a:srgbClr val="AEABAB"/>
              </a:solidFill>
            </c:spPr>
            <c:extLst>
              <c:ext xmlns:c16="http://schemas.microsoft.com/office/drawing/2014/chart" uri="{C3380CC4-5D6E-409C-BE32-E72D297353CC}">
                <c16:uniqueId val="{00000253-7676-427D-A29F-FAD8B8781901}"/>
              </c:ext>
            </c:extLst>
          </c:dPt>
          <c:dPt>
            <c:idx val="297"/>
            <c:invertIfNegative val="1"/>
            <c:bubble3D val="0"/>
            <c:spPr>
              <a:solidFill>
                <a:srgbClr val="AEABAB"/>
              </a:solidFill>
            </c:spPr>
            <c:extLst>
              <c:ext xmlns:c16="http://schemas.microsoft.com/office/drawing/2014/chart" uri="{C3380CC4-5D6E-409C-BE32-E72D297353CC}">
                <c16:uniqueId val="{00000255-7676-427D-A29F-FAD8B8781901}"/>
              </c:ext>
            </c:extLst>
          </c:dPt>
          <c:dPt>
            <c:idx val="298"/>
            <c:invertIfNegative val="1"/>
            <c:bubble3D val="0"/>
            <c:spPr>
              <a:solidFill>
                <a:srgbClr val="AEABAB"/>
              </a:solidFill>
            </c:spPr>
            <c:extLst>
              <c:ext xmlns:c16="http://schemas.microsoft.com/office/drawing/2014/chart" uri="{C3380CC4-5D6E-409C-BE32-E72D297353CC}">
                <c16:uniqueId val="{00000257-7676-427D-A29F-FAD8B8781901}"/>
              </c:ext>
            </c:extLst>
          </c:dPt>
          <c:dPt>
            <c:idx val="299"/>
            <c:invertIfNegative val="1"/>
            <c:bubble3D val="0"/>
            <c:spPr>
              <a:solidFill>
                <a:srgbClr val="AEABAB"/>
              </a:solidFill>
            </c:spPr>
            <c:extLst>
              <c:ext xmlns:c16="http://schemas.microsoft.com/office/drawing/2014/chart" uri="{C3380CC4-5D6E-409C-BE32-E72D297353CC}">
                <c16:uniqueId val="{00000259-7676-427D-A29F-FAD8B8781901}"/>
              </c:ext>
            </c:extLst>
          </c:dPt>
          <c:dPt>
            <c:idx val="300"/>
            <c:invertIfNegative val="1"/>
            <c:bubble3D val="0"/>
            <c:spPr>
              <a:solidFill>
                <a:srgbClr val="AEABAB"/>
              </a:solidFill>
            </c:spPr>
            <c:extLst>
              <c:ext xmlns:c16="http://schemas.microsoft.com/office/drawing/2014/chart" uri="{C3380CC4-5D6E-409C-BE32-E72D297353CC}">
                <c16:uniqueId val="{0000025B-7676-427D-A29F-FAD8B8781901}"/>
              </c:ext>
            </c:extLst>
          </c:dPt>
          <c:dPt>
            <c:idx val="301"/>
            <c:invertIfNegative val="1"/>
            <c:bubble3D val="0"/>
            <c:spPr>
              <a:solidFill>
                <a:srgbClr val="AEABAB"/>
              </a:solidFill>
            </c:spPr>
            <c:extLst>
              <c:ext xmlns:c16="http://schemas.microsoft.com/office/drawing/2014/chart" uri="{C3380CC4-5D6E-409C-BE32-E72D297353CC}">
                <c16:uniqueId val="{0000025D-7676-427D-A29F-FAD8B8781901}"/>
              </c:ext>
            </c:extLst>
          </c:dPt>
          <c:dPt>
            <c:idx val="302"/>
            <c:invertIfNegative val="1"/>
            <c:bubble3D val="0"/>
            <c:spPr>
              <a:solidFill>
                <a:srgbClr val="AEABAB"/>
              </a:solidFill>
            </c:spPr>
            <c:extLst>
              <c:ext xmlns:c16="http://schemas.microsoft.com/office/drawing/2014/chart" uri="{C3380CC4-5D6E-409C-BE32-E72D297353CC}">
                <c16:uniqueId val="{0000025F-7676-427D-A29F-FAD8B8781901}"/>
              </c:ext>
            </c:extLst>
          </c:dPt>
          <c:dPt>
            <c:idx val="303"/>
            <c:invertIfNegative val="1"/>
            <c:bubble3D val="0"/>
            <c:spPr>
              <a:solidFill>
                <a:srgbClr val="AEABAB"/>
              </a:solidFill>
            </c:spPr>
            <c:extLst>
              <c:ext xmlns:c16="http://schemas.microsoft.com/office/drawing/2014/chart" uri="{C3380CC4-5D6E-409C-BE32-E72D297353CC}">
                <c16:uniqueId val="{00000261-7676-427D-A29F-FAD8B8781901}"/>
              </c:ext>
            </c:extLst>
          </c:dPt>
          <c:dPt>
            <c:idx val="304"/>
            <c:invertIfNegative val="1"/>
            <c:bubble3D val="0"/>
            <c:spPr>
              <a:solidFill>
                <a:srgbClr val="AEABAB"/>
              </a:solidFill>
            </c:spPr>
            <c:extLst>
              <c:ext xmlns:c16="http://schemas.microsoft.com/office/drawing/2014/chart" uri="{C3380CC4-5D6E-409C-BE32-E72D297353CC}">
                <c16:uniqueId val="{00000263-7676-427D-A29F-FAD8B8781901}"/>
              </c:ext>
            </c:extLst>
          </c:dPt>
          <c:dPt>
            <c:idx val="305"/>
            <c:invertIfNegative val="1"/>
            <c:bubble3D val="0"/>
            <c:spPr>
              <a:solidFill>
                <a:srgbClr val="AEABAB"/>
              </a:solidFill>
            </c:spPr>
            <c:extLst>
              <c:ext xmlns:c16="http://schemas.microsoft.com/office/drawing/2014/chart" uri="{C3380CC4-5D6E-409C-BE32-E72D297353CC}">
                <c16:uniqueId val="{00000265-7676-427D-A29F-FAD8B8781901}"/>
              </c:ext>
            </c:extLst>
          </c:dPt>
          <c:dPt>
            <c:idx val="306"/>
            <c:invertIfNegative val="1"/>
            <c:bubble3D val="0"/>
            <c:spPr>
              <a:solidFill>
                <a:srgbClr val="AEABAB"/>
              </a:solidFill>
            </c:spPr>
            <c:extLst>
              <c:ext xmlns:c16="http://schemas.microsoft.com/office/drawing/2014/chart" uri="{C3380CC4-5D6E-409C-BE32-E72D297353CC}">
                <c16:uniqueId val="{00000267-7676-427D-A29F-FAD8B8781901}"/>
              </c:ext>
            </c:extLst>
          </c:dPt>
          <c:dPt>
            <c:idx val="307"/>
            <c:invertIfNegative val="1"/>
            <c:bubble3D val="0"/>
            <c:spPr>
              <a:solidFill>
                <a:srgbClr val="AEABAB"/>
              </a:solidFill>
            </c:spPr>
            <c:extLst>
              <c:ext xmlns:c16="http://schemas.microsoft.com/office/drawing/2014/chart" uri="{C3380CC4-5D6E-409C-BE32-E72D297353CC}">
                <c16:uniqueId val="{00000269-7676-427D-A29F-FAD8B8781901}"/>
              </c:ext>
            </c:extLst>
          </c:dPt>
          <c:dPt>
            <c:idx val="308"/>
            <c:invertIfNegative val="1"/>
            <c:bubble3D val="0"/>
            <c:spPr>
              <a:solidFill>
                <a:srgbClr val="AEABAB"/>
              </a:solidFill>
            </c:spPr>
            <c:extLst>
              <c:ext xmlns:c16="http://schemas.microsoft.com/office/drawing/2014/chart" uri="{C3380CC4-5D6E-409C-BE32-E72D297353CC}">
                <c16:uniqueId val="{0000026B-7676-427D-A29F-FAD8B8781901}"/>
              </c:ext>
            </c:extLst>
          </c:dPt>
          <c:dPt>
            <c:idx val="309"/>
            <c:invertIfNegative val="1"/>
            <c:bubble3D val="0"/>
            <c:spPr>
              <a:solidFill>
                <a:srgbClr val="AEABAB"/>
              </a:solidFill>
            </c:spPr>
            <c:extLst>
              <c:ext xmlns:c16="http://schemas.microsoft.com/office/drawing/2014/chart" uri="{C3380CC4-5D6E-409C-BE32-E72D297353CC}">
                <c16:uniqueId val="{0000026D-7676-427D-A29F-FAD8B8781901}"/>
              </c:ext>
            </c:extLst>
          </c:dPt>
          <c:dPt>
            <c:idx val="310"/>
            <c:invertIfNegative val="1"/>
            <c:bubble3D val="0"/>
            <c:spPr>
              <a:solidFill>
                <a:srgbClr val="AEABAB"/>
              </a:solidFill>
            </c:spPr>
            <c:extLst>
              <c:ext xmlns:c16="http://schemas.microsoft.com/office/drawing/2014/chart" uri="{C3380CC4-5D6E-409C-BE32-E72D297353CC}">
                <c16:uniqueId val="{0000026F-7676-427D-A29F-FAD8B8781901}"/>
              </c:ext>
            </c:extLst>
          </c:dPt>
          <c:dPt>
            <c:idx val="311"/>
            <c:invertIfNegative val="1"/>
            <c:bubble3D val="0"/>
            <c:spPr>
              <a:solidFill>
                <a:srgbClr val="AEABAB"/>
              </a:solidFill>
            </c:spPr>
            <c:extLst>
              <c:ext xmlns:c16="http://schemas.microsoft.com/office/drawing/2014/chart" uri="{C3380CC4-5D6E-409C-BE32-E72D297353CC}">
                <c16:uniqueId val="{00000271-7676-427D-A29F-FAD8B8781901}"/>
              </c:ext>
            </c:extLst>
          </c:dPt>
          <c:dPt>
            <c:idx val="312"/>
            <c:invertIfNegative val="1"/>
            <c:bubble3D val="0"/>
            <c:spPr>
              <a:solidFill>
                <a:srgbClr val="AEABAB"/>
              </a:solidFill>
            </c:spPr>
            <c:extLst>
              <c:ext xmlns:c16="http://schemas.microsoft.com/office/drawing/2014/chart" uri="{C3380CC4-5D6E-409C-BE32-E72D297353CC}">
                <c16:uniqueId val="{00000273-7676-427D-A29F-FAD8B8781901}"/>
              </c:ext>
            </c:extLst>
          </c:dPt>
          <c:cat>
            <c:strRef>
              <c:f>Sheet1!$A$2:$A$314</c:f>
              <c:strCache>
                <c:ptCount val="313"/>
                <c:pt idx="0">
                  <c:v>Ruinart</c:v>
                </c:pt>
                <c:pt idx="1">
                  <c:v>Nicolas</c:v>
                </c:pt>
                <c:pt idx="2">
                  <c:v>Deutz</c:v>
                </c:pt>
                <c:pt idx="3">
                  <c:v>Ruinart</c:v>
                </c:pt>
                <c:pt idx="4">
                  <c:v>Laurent Per</c:v>
                </c:pt>
                <c:pt idx="5">
                  <c:v>Heidsieck &amp;</c:v>
                </c:pt>
                <c:pt idx="6">
                  <c:v>Malard</c:v>
                </c:pt>
                <c:pt idx="7">
                  <c:v>Ayala</c:v>
                </c:pt>
                <c:pt idx="8">
                  <c:v>Nicolas Feu</c:v>
                </c:pt>
                <c:pt idx="9">
                  <c:v>De Bligny</c:v>
                </c:pt>
                <c:pt idx="10">
                  <c:v>Ruinart</c:v>
                </c:pt>
                <c:pt idx="11">
                  <c:v>Canard Duch</c:v>
                </c:pt>
                <c:pt idx="12">
                  <c:v>Ruinart</c:v>
                </c:pt>
                <c:pt idx="13">
                  <c:v>Taittinger</c:v>
                </c:pt>
                <c:pt idx="14">
                  <c:v>Bollinger</c:v>
                </c:pt>
                <c:pt idx="15">
                  <c:v>Besserat De</c:v>
                </c:pt>
                <c:pt idx="16">
                  <c:v>Demoiselle</c:v>
                </c:pt>
                <c:pt idx="17">
                  <c:v>Campari: Al</c:v>
                </c:pt>
                <c:pt idx="18">
                  <c:v>Deutz</c:v>
                </c:pt>
                <c:pt idx="19">
                  <c:v>Perrier Jou</c:v>
                </c:pt>
                <c:pt idx="20">
                  <c:v>All Others</c:v>
                </c:pt>
                <c:pt idx="21">
                  <c:v>Ruinart</c:v>
                </c:pt>
                <c:pt idx="22">
                  <c:v>All Others</c:v>
                </c:pt>
                <c:pt idx="23">
                  <c:v>Ruinart</c:v>
                </c:pt>
                <c:pt idx="24">
                  <c:v>Roederer</c:v>
                </c:pt>
                <c:pt idx="25">
                  <c:v>Laurent Per</c:v>
                </c:pt>
                <c:pt idx="26">
                  <c:v>Pommery</c:v>
                </c:pt>
                <c:pt idx="27">
                  <c:v>All Others</c:v>
                </c:pt>
                <c:pt idx="28">
                  <c:v>Vesselle</c:v>
                </c:pt>
                <c:pt idx="29">
                  <c:v>Dom Perigno</c:v>
                </c:pt>
                <c:pt idx="30">
                  <c:v>Bottega</c:v>
                </c:pt>
                <c:pt idx="31">
                  <c:v>Deutz</c:v>
                </c:pt>
                <c:pt idx="32">
                  <c:v>Mure</c:v>
                </c:pt>
                <c:pt idx="33">
                  <c:v>Savian</c:v>
                </c:pt>
                <c:pt idx="34">
                  <c:v>Veuve Clicq</c:v>
                </c:pt>
                <c:pt idx="35">
                  <c:v>Henriot</c:v>
                </c:pt>
                <c:pt idx="36">
                  <c:v>Moët &amp; Chan</c:v>
                </c:pt>
                <c:pt idx="37">
                  <c:v>Demoiselle</c:v>
                </c:pt>
                <c:pt idx="38">
                  <c:v>Malard</c:v>
                </c:pt>
                <c:pt idx="39">
                  <c:v>Laurent Per</c:v>
                </c:pt>
                <c:pt idx="40">
                  <c:v>Dom Perigno</c:v>
                </c:pt>
                <c:pt idx="41">
                  <c:v>Ruinart</c:v>
                </c:pt>
                <c:pt idx="42">
                  <c:v>Patriarche</c:v>
                </c:pt>
                <c:pt idx="43">
                  <c:v>Taittinger</c:v>
                </c:pt>
                <c:pt idx="44">
                  <c:v>Nicolas</c:v>
                </c:pt>
                <c:pt idx="45">
                  <c:v>Roederer</c:v>
                </c:pt>
                <c:pt idx="46">
                  <c:v>Veuve Clicq</c:v>
                </c:pt>
                <c:pt idx="47">
                  <c:v>Bouvet-Ladu</c:v>
                </c:pt>
                <c:pt idx="48">
                  <c:v>De Chanceny</c:v>
                </c:pt>
                <c:pt idx="49">
                  <c:v>Veuve Clicq</c:v>
                </c:pt>
                <c:pt idx="50">
                  <c:v>Moët &amp; Chan</c:v>
                </c:pt>
                <c:pt idx="51">
                  <c:v>Piper Heids</c:v>
                </c:pt>
                <c:pt idx="52">
                  <c:v>French Bloo</c:v>
                </c:pt>
                <c:pt idx="53">
                  <c:v>Besserat De</c:v>
                </c:pt>
                <c:pt idx="54">
                  <c:v>Malard</c:v>
                </c:pt>
                <c:pt idx="55">
                  <c:v>Ruinart</c:v>
                </c:pt>
                <c:pt idx="56">
                  <c:v>De Venoge</c:v>
                </c:pt>
                <c:pt idx="57">
                  <c:v>Deutz</c:v>
                </c:pt>
                <c:pt idx="58">
                  <c:v>Savian</c:v>
                </c:pt>
                <c:pt idx="59">
                  <c:v>Nicolas</c:v>
                </c:pt>
                <c:pt idx="60">
                  <c:v>Ruinart</c:v>
                </c:pt>
                <c:pt idx="61">
                  <c:v>All Others</c:v>
                </c:pt>
                <c:pt idx="62">
                  <c:v>Nicolas Feu</c:v>
                </c:pt>
                <c:pt idx="63">
                  <c:v>Moët &amp; Chan</c:v>
                </c:pt>
                <c:pt idx="64">
                  <c:v>Louis Marti</c:v>
                </c:pt>
                <c:pt idx="65">
                  <c:v>Lanson</c:v>
                </c:pt>
                <c:pt idx="66">
                  <c:v>Nicolas Feu</c:v>
                </c:pt>
                <c:pt idx="67">
                  <c:v>Lyre's</c:v>
                </c:pt>
                <c:pt idx="68">
                  <c:v>Campari: Al</c:v>
                </c:pt>
                <c:pt idx="69">
                  <c:v>Nicolas</c:v>
                </c:pt>
                <c:pt idx="70">
                  <c:v>Canard Duch</c:v>
                </c:pt>
                <c:pt idx="71">
                  <c:v>Malard</c:v>
                </c:pt>
                <c:pt idx="72">
                  <c:v>Delamotte</c:v>
                </c:pt>
                <c:pt idx="73">
                  <c:v>Henriot</c:v>
                </c:pt>
                <c:pt idx="74">
                  <c:v>Nicolas Feu</c:v>
                </c:pt>
                <c:pt idx="75">
                  <c:v>Krug</c:v>
                </c:pt>
                <c:pt idx="76">
                  <c:v>Malard</c:v>
                </c:pt>
                <c:pt idx="77">
                  <c:v>Besserat De</c:v>
                </c:pt>
                <c:pt idx="78">
                  <c:v>Vranken</c:v>
                </c:pt>
                <c:pt idx="79">
                  <c:v>De Chanceny</c:v>
                </c:pt>
                <c:pt idx="80">
                  <c:v>Bollinger</c:v>
                </c:pt>
                <c:pt idx="81">
                  <c:v>Ruinart</c:v>
                </c:pt>
                <c:pt idx="82">
                  <c:v>Henriot</c:v>
                </c:pt>
                <c:pt idx="83">
                  <c:v>Kriter</c:v>
                </c:pt>
                <c:pt idx="84">
                  <c:v>De Bligny</c:v>
                </c:pt>
                <c:pt idx="85">
                  <c:v>Roederer</c:v>
                </c:pt>
                <c:pt idx="86">
                  <c:v>Laurent Per</c:v>
                </c:pt>
                <c:pt idx="87">
                  <c:v>All Others</c:v>
                </c:pt>
                <c:pt idx="88">
                  <c:v>Pommery</c:v>
                </c:pt>
                <c:pt idx="89">
                  <c:v>All Others</c:v>
                </c:pt>
                <c:pt idx="90">
                  <c:v>All Others</c:v>
                </c:pt>
                <c:pt idx="91">
                  <c:v>Roederer</c:v>
                </c:pt>
                <c:pt idx="92">
                  <c:v>Roederer</c:v>
                </c:pt>
                <c:pt idx="93">
                  <c:v>Patriarche</c:v>
                </c:pt>
                <c:pt idx="94">
                  <c:v>Ayala</c:v>
                </c:pt>
                <c:pt idx="95">
                  <c:v>Nicolas</c:v>
                </c:pt>
                <c:pt idx="96">
                  <c:v>De Venoge</c:v>
                </c:pt>
                <c:pt idx="97">
                  <c:v>Ruinart</c:v>
                </c:pt>
                <c:pt idx="98">
                  <c:v>Canard Duch</c:v>
                </c:pt>
                <c:pt idx="99">
                  <c:v>Roederer</c:v>
                </c:pt>
                <c:pt idx="100">
                  <c:v>Laurent Per</c:v>
                </c:pt>
                <c:pt idx="101">
                  <c:v>Henriot</c:v>
                </c:pt>
                <c:pt idx="102">
                  <c:v>Roederer</c:v>
                </c:pt>
                <c:pt idx="103">
                  <c:v>De Venoge</c:v>
                </c:pt>
                <c:pt idx="104">
                  <c:v>Deutz</c:v>
                </c:pt>
                <c:pt idx="105">
                  <c:v>Perrier Jou</c:v>
                </c:pt>
                <c:pt idx="106">
                  <c:v>De Venoge</c:v>
                </c:pt>
                <c:pt idx="107">
                  <c:v>Malard</c:v>
                </c:pt>
                <c:pt idx="108">
                  <c:v>Ruinart</c:v>
                </c:pt>
                <c:pt idx="109">
                  <c:v>Roederer</c:v>
                </c:pt>
                <c:pt idx="110">
                  <c:v>Ruinart</c:v>
                </c:pt>
                <c:pt idx="111">
                  <c:v>Ruinart</c:v>
                </c:pt>
                <c:pt idx="112">
                  <c:v>Roederer</c:v>
                </c:pt>
                <c:pt idx="113">
                  <c:v>Dom Perigno</c:v>
                </c:pt>
                <c:pt idx="114">
                  <c:v>Bollinger</c:v>
                </c:pt>
                <c:pt idx="115">
                  <c:v>Deutz</c:v>
                </c:pt>
                <c:pt idx="116">
                  <c:v>Vranken</c:v>
                </c:pt>
                <c:pt idx="117">
                  <c:v>Canard Duch</c:v>
                </c:pt>
                <c:pt idx="118">
                  <c:v>Bottega</c:v>
                </c:pt>
                <c:pt idx="119">
                  <c:v>Cru La Maqu</c:v>
                </c:pt>
                <c:pt idx="120">
                  <c:v>Moët &amp; Chan</c:v>
                </c:pt>
                <c:pt idx="121">
                  <c:v>Nicolas</c:v>
                </c:pt>
                <c:pt idx="122">
                  <c:v>Canard Duch</c:v>
                </c:pt>
                <c:pt idx="123">
                  <c:v>Nicolas Feu</c:v>
                </c:pt>
                <c:pt idx="124">
                  <c:v>Bollinger</c:v>
                </c:pt>
                <c:pt idx="125">
                  <c:v>Veuve Clicq</c:v>
                </c:pt>
                <c:pt idx="126">
                  <c:v>All Others</c:v>
                </c:pt>
                <c:pt idx="127">
                  <c:v>All Others</c:v>
                </c:pt>
                <c:pt idx="128">
                  <c:v>All Others</c:v>
                </c:pt>
                <c:pt idx="129">
                  <c:v>Nicolas</c:v>
                </c:pt>
                <c:pt idx="130">
                  <c:v>Nicolas</c:v>
                </c:pt>
                <c:pt idx="131">
                  <c:v>All Others</c:v>
                </c:pt>
                <c:pt idx="132">
                  <c:v>Contarini</c:v>
                </c:pt>
                <c:pt idx="133">
                  <c:v>Nicolas</c:v>
                </c:pt>
                <c:pt idx="134">
                  <c:v>Taittinger</c:v>
                </c:pt>
                <c:pt idx="135">
                  <c:v>All Others</c:v>
                </c:pt>
                <c:pt idx="136">
                  <c:v>All Others</c:v>
                </c:pt>
                <c:pt idx="137">
                  <c:v>Roederer</c:v>
                </c:pt>
                <c:pt idx="138">
                  <c:v>Laurent Per</c:v>
                </c:pt>
                <c:pt idx="139">
                  <c:v>Nicolas</c:v>
                </c:pt>
                <c:pt idx="140">
                  <c:v>All Others</c:v>
                </c:pt>
                <c:pt idx="141">
                  <c:v>Nicolas</c:v>
                </c:pt>
                <c:pt idx="142">
                  <c:v>Moët &amp; Chan</c:v>
                </c:pt>
                <c:pt idx="143">
                  <c:v>Ruinart</c:v>
                </c:pt>
                <c:pt idx="144">
                  <c:v>Besserat De</c:v>
                </c:pt>
                <c:pt idx="145">
                  <c:v>Delamotte</c:v>
                </c:pt>
                <c:pt idx="146">
                  <c:v>All Others</c:v>
                </c:pt>
                <c:pt idx="147">
                  <c:v>Nicolas</c:v>
                </c:pt>
                <c:pt idx="148">
                  <c:v>Demoiselle</c:v>
                </c:pt>
                <c:pt idx="149">
                  <c:v>Ruinart</c:v>
                </c:pt>
                <c:pt idx="150">
                  <c:v>Pommery</c:v>
                </c:pt>
                <c:pt idx="151">
                  <c:v>All Others</c:v>
                </c:pt>
                <c:pt idx="152">
                  <c:v>Nicolas</c:v>
                </c:pt>
                <c:pt idx="153">
                  <c:v>All Others</c:v>
                </c:pt>
                <c:pt idx="154">
                  <c:v>Louis Marti</c:v>
                </c:pt>
                <c:pt idx="155">
                  <c:v>Nicolas</c:v>
                </c:pt>
                <c:pt idx="156">
                  <c:v>Nicolas</c:v>
                </c:pt>
                <c:pt idx="157">
                  <c:v>Lanson</c:v>
                </c:pt>
                <c:pt idx="158">
                  <c:v>Vranken</c:v>
                </c:pt>
                <c:pt idx="159">
                  <c:v>All Others</c:v>
                </c:pt>
                <c:pt idx="160">
                  <c:v>All Others</c:v>
                </c:pt>
                <c:pt idx="161">
                  <c:v>Roederer</c:v>
                </c:pt>
                <c:pt idx="162">
                  <c:v>Pommery</c:v>
                </c:pt>
                <c:pt idx="163">
                  <c:v>Contarini</c:v>
                </c:pt>
                <c:pt idx="164">
                  <c:v>Deutz</c:v>
                </c:pt>
                <c:pt idx="165">
                  <c:v>Ruinart</c:v>
                </c:pt>
                <c:pt idx="166">
                  <c:v>Canard Duch</c:v>
                </c:pt>
                <c:pt idx="167">
                  <c:v>Pommery</c:v>
                </c:pt>
                <c:pt idx="168">
                  <c:v>Vesselle</c:v>
                </c:pt>
                <c:pt idx="169">
                  <c:v>Ruinart</c:v>
                </c:pt>
                <c:pt idx="170">
                  <c:v>Ayala</c:v>
                </c:pt>
                <c:pt idx="171">
                  <c:v>All Others</c:v>
                </c:pt>
                <c:pt idx="172">
                  <c:v>Laurent Per</c:v>
                </c:pt>
                <c:pt idx="173">
                  <c:v>Pommery</c:v>
                </c:pt>
                <c:pt idx="174">
                  <c:v>Perrier Jou</c:v>
                </c:pt>
                <c:pt idx="175">
                  <c:v>Laurent Per</c:v>
                </c:pt>
                <c:pt idx="176">
                  <c:v>Nicolas</c:v>
                </c:pt>
                <c:pt idx="177">
                  <c:v>All Others</c:v>
                </c:pt>
                <c:pt idx="178">
                  <c:v>Deutz</c:v>
                </c:pt>
                <c:pt idx="179">
                  <c:v>Nicolas</c:v>
                </c:pt>
                <c:pt idx="180">
                  <c:v>Piper Heids</c:v>
                </c:pt>
                <c:pt idx="181">
                  <c:v>Roederer</c:v>
                </c:pt>
                <c:pt idx="182">
                  <c:v>Piper Heids</c:v>
                </c:pt>
                <c:pt idx="183">
                  <c:v>All Others</c:v>
                </c:pt>
                <c:pt idx="184">
                  <c:v>All Others</c:v>
                </c:pt>
                <c:pt idx="185">
                  <c:v>Vesselle</c:v>
                </c:pt>
                <c:pt idx="186">
                  <c:v>Roederer</c:v>
                </c:pt>
                <c:pt idx="187">
                  <c:v>Ruinart</c:v>
                </c:pt>
                <c:pt idx="188">
                  <c:v>All Others</c:v>
                </c:pt>
                <c:pt idx="189">
                  <c:v>All Others</c:v>
                </c:pt>
                <c:pt idx="190">
                  <c:v>Taittinger</c:v>
                </c:pt>
                <c:pt idx="191">
                  <c:v>Pommery</c:v>
                </c:pt>
                <c:pt idx="192">
                  <c:v>Bollinger</c:v>
                </c:pt>
                <c:pt idx="193">
                  <c:v>Demoiselle</c:v>
                </c:pt>
                <c:pt idx="194">
                  <c:v>Deutz</c:v>
                </c:pt>
                <c:pt idx="195">
                  <c:v>Canard Duch</c:v>
                </c:pt>
                <c:pt idx="196">
                  <c:v>Laurent Per</c:v>
                </c:pt>
                <c:pt idx="197">
                  <c:v>Roederer</c:v>
                </c:pt>
                <c:pt idx="198">
                  <c:v>Ruinart</c:v>
                </c:pt>
                <c:pt idx="199">
                  <c:v>All Others</c:v>
                </c:pt>
                <c:pt idx="200">
                  <c:v>Mure</c:v>
                </c:pt>
                <c:pt idx="201">
                  <c:v>Besserat De</c:v>
                </c:pt>
                <c:pt idx="202">
                  <c:v>All Others</c:v>
                </c:pt>
                <c:pt idx="203">
                  <c:v>Laurent Per</c:v>
                </c:pt>
                <c:pt idx="204">
                  <c:v>All Others</c:v>
                </c:pt>
                <c:pt idx="205">
                  <c:v>Roederer</c:v>
                </c:pt>
                <c:pt idx="206">
                  <c:v>All Others</c:v>
                </c:pt>
                <c:pt idx="207">
                  <c:v>De Venoge</c:v>
                </c:pt>
                <c:pt idx="208">
                  <c:v>Dom Perigno</c:v>
                </c:pt>
                <c:pt idx="209">
                  <c:v>Nicolas</c:v>
                </c:pt>
                <c:pt idx="210">
                  <c:v>Bouvet-Ladu</c:v>
                </c:pt>
                <c:pt idx="211">
                  <c:v>Roederer</c:v>
                </c:pt>
                <c:pt idx="212">
                  <c:v>Roederer</c:v>
                </c:pt>
                <c:pt idx="213">
                  <c:v>Laurent Per</c:v>
                </c:pt>
                <c:pt idx="214">
                  <c:v>All Others</c:v>
                </c:pt>
                <c:pt idx="215">
                  <c:v>Bollinger</c:v>
                </c:pt>
                <c:pt idx="216">
                  <c:v>Taittinger</c:v>
                </c:pt>
                <c:pt idx="217">
                  <c:v>Bouvet-Ladu</c:v>
                </c:pt>
                <c:pt idx="218">
                  <c:v>All Others</c:v>
                </c:pt>
                <c:pt idx="219">
                  <c:v>De Venoge</c:v>
                </c:pt>
                <c:pt idx="220">
                  <c:v>Bollinger</c:v>
                </c:pt>
                <c:pt idx="221">
                  <c:v>Roederer</c:v>
                </c:pt>
                <c:pt idx="222">
                  <c:v>Dom Perigno</c:v>
                </c:pt>
                <c:pt idx="223">
                  <c:v>Mure</c:v>
                </c:pt>
                <c:pt idx="224">
                  <c:v>Piper Heids</c:v>
                </c:pt>
                <c:pt idx="225">
                  <c:v>Nicolas</c:v>
                </c:pt>
                <c:pt idx="226">
                  <c:v>All Others</c:v>
                </c:pt>
                <c:pt idx="227">
                  <c:v>All Others</c:v>
                </c:pt>
                <c:pt idx="228">
                  <c:v>Henriot</c:v>
                </c:pt>
                <c:pt idx="229">
                  <c:v>Bollinger</c:v>
                </c:pt>
                <c:pt idx="230">
                  <c:v>Bouvet-Ladu</c:v>
                </c:pt>
                <c:pt idx="231">
                  <c:v>Nicolas</c:v>
                </c:pt>
                <c:pt idx="232">
                  <c:v>Ruinart</c:v>
                </c:pt>
                <c:pt idx="233">
                  <c:v>De Bligny</c:v>
                </c:pt>
                <c:pt idx="234">
                  <c:v>All Others</c:v>
                </c:pt>
                <c:pt idx="235">
                  <c:v>Henriot</c:v>
                </c:pt>
                <c:pt idx="236">
                  <c:v>Canard Duch</c:v>
                </c:pt>
                <c:pt idx="237">
                  <c:v>Demoiselle</c:v>
                </c:pt>
                <c:pt idx="238">
                  <c:v>Dom Perigno</c:v>
                </c:pt>
                <c:pt idx="239">
                  <c:v>De Venoge</c:v>
                </c:pt>
                <c:pt idx="240">
                  <c:v>Nicolas</c:v>
                </c:pt>
                <c:pt idx="241">
                  <c:v>Laurent Per</c:v>
                </c:pt>
                <c:pt idx="242">
                  <c:v>Malard</c:v>
                </c:pt>
                <c:pt idx="243">
                  <c:v>Roederer</c:v>
                </c:pt>
                <c:pt idx="244">
                  <c:v>All Others</c:v>
                </c:pt>
                <c:pt idx="245">
                  <c:v>Laurent Per</c:v>
                </c:pt>
                <c:pt idx="246">
                  <c:v>All Others</c:v>
                </c:pt>
                <c:pt idx="247">
                  <c:v>Bollinger</c:v>
                </c:pt>
                <c:pt idx="248">
                  <c:v>De Venoge</c:v>
                </c:pt>
                <c:pt idx="249">
                  <c:v>All Others</c:v>
                </c:pt>
                <c:pt idx="250">
                  <c:v>All Others</c:v>
                </c:pt>
                <c:pt idx="251">
                  <c:v>De Venoge</c:v>
                </c:pt>
                <c:pt idx="252">
                  <c:v>Ruinart</c:v>
                </c:pt>
                <c:pt idx="253">
                  <c:v>All Others</c:v>
                </c:pt>
                <c:pt idx="254">
                  <c:v>Moët &amp; Chan</c:v>
                </c:pt>
                <c:pt idx="255">
                  <c:v>All Others</c:v>
                </c:pt>
                <c:pt idx="256">
                  <c:v>All Others</c:v>
                </c:pt>
                <c:pt idx="257">
                  <c:v>Veuve Clicq</c:v>
                </c:pt>
                <c:pt idx="258">
                  <c:v>Roederer</c:v>
                </c:pt>
                <c:pt idx="259">
                  <c:v>All Others</c:v>
                </c:pt>
                <c:pt idx="260">
                  <c:v>Pommery</c:v>
                </c:pt>
                <c:pt idx="261">
                  <c:v>Celene</c:v>
                </c:pt>
                <c:pt idx="262">
                  <c:v>Taittinger</c:v>
                </c:pt>
                <c:pt idx="263">
                  <c:v>All Others</c:v>
                </c:pt>
                <c:pt idx="264">
                  <c:v>Nicolas Feu</c:v>
                </c:pt>
                <c:pt idx="265">
                  <c:v>Perrier Jou</c:v>
                </c:pt>
                <c:pt idx="266">
                  <c:v>Bouvet-Ladu</c:v>
                </c:pt>
                <c:pt idx="267">
                  <c:v>All Others</c:v>
                </c:pt>
                <c:pt idx="268">
                  <c:v>Ruinart</c:v>
                </c:pt>
                <c:pt idx="269">
                  <c:v>All Others</c:v>
                </c:pt>
                <c:pt idx="270">
                  <c:v>Celene</c:v>
                </c:pt>
                <c:pt idx="271">
                  <c:v>Piper Heids</c:v>
                </c:pt>
                <c:pt idx="272">
                  <c:v>Veuve Clicq</c:v>
                </c:pt>
                <c:pt idx="273">
                  <c:v>Veuve Clicq</c:v>
                </c:pt>
                <c:pt idx="274">
                  <c:v>Canard Duch</c:v>
                </c:pt>
                <c:pt idx="275">
                  <c:v>Roederer</c:v>
                </c:pt>
                <c:pt idx="276">
                  <c:v>Perrier Jou</c:v>
                </c:pt>
                <c:pt idx="277">
                  <c:v>All Others</c:v>
                </c:pt>
                <c:pt idx="278">
                  <c:v>All Others</c:v>
                </c:pt>
                <c:pt idx="279">
                  <c:v>Bottega</c:v>
                </c:pt>
                <c:pt idx="280">
                  <c:v>Deutz</c:v>
                </c:pt>
                <c:pt idx="281">
                  <c:v>All Others</c:v>
                </c:pt>
                <c:pt idx="282">
                  <c:v>Deutz</c:v>
                </c:pt>
                <c:pt idx="283">
                  <c:v>Laurent Per</c:v>
                </c:pt>
                <c:pt idx="284">
                  <c:v>Martel</c:v>
                </c:pt>
                <c:pt idx="285">
                  <c:v>Pommery</c:v>
                </c:pt>
                <c:pt idx="286">
                  <c:v>Ruinart</c:v>
                </c:pt>
                <c:pt idx="287">
                  <c:v>Ayala</c:v>
                </c:pt>
                <c:pt idx="288">
                  <c:v>Roederer</c:v>
                </c:pt>
                <c:pt idx="289">
                  <c:v>Demoiselle</c:v>
                </c:pt>
                <c:pt idx="290">
                  <c:v>Besserat De</c:v>
                </c:pt>
                <c:pt idx="291">
                  <c:v>Lanson</c:v>
                </c:pt>
                <c:pt idx="292">
                  <c:v>Bollinger</c:v>
                </c:pt>
                <c:pt idx="293">
                  <c:v>Demoiselle</c:v>
                </c:pt>
                <c:pt idx="294">
                  <c:v>Bollinger</c:v>
                </c:pt>
                <c:pt idx="295">
                  <c:v>Moët &amp; Chan</c:v>
                </c:pt>
                <c:pt idx="296">
                  <c:v>Roederer</c:v>
                </c:pt>
                <c:pt idx="297">
                  <c:v>Jaillance</c:v>
                </c:pt>
                <c:pt idx="298">
                  <c:v>Ruinart</c:v>
                </c:pt>
                <c:pt idx="299">
                  <c:v>All Others</c:v>
                </c:pt>
                <c:pt idx="300">
                  <c:v>All Others</c:v>
                </c:pt>
                <c:pt idx="301">
                  <c:v>Besserat De</c:v>
                </c:pt>
                <c:pt idx="302">
                  <c:v>De Venoge</c:v>
                </c:pt>
                <c:pt idx="303">
                  <c:v>All Others</c:v>
                </c:pt>
                <c:pt idx="304">
                  <c:v>All Others</c:v>
                </c:pt>
                <c:pt idx="305">
                  <c:v>Laurent Per</c:v>
                </c:pt>
                <c:pt idx="306">
                  <c:v>Nicolas</c:v>
                </c:pt>
                <c:pt idx="307">
                  <c:v>Malard</c:v>
                </c:pt>
                <c:pt idx="308">
                  <c:v>Bouvet-Ladu</c:v>
                </c:pt>
                <c:pt idx="309">
                  <c:v>All Others</c:v>
                </c:pt>
                <c:pt idx="310">
                  <c:v>Nicolas</c:v>
                </c:pt>
                <c:pt idx="311">
                  <c:v>All Others</c:v>
                </c:pt>
                <c:pt idx="312">
                  <c:v>All Others</c:v>
                </c:pt>
              </c:strCache>
            </c:strRef>
          </c:cat>
          <c:val>
            <c:numRef>
              <c:f>Sheet1!$C$2:$C$314</c:f>
              <c:numCache>
                <c:formatCode>General</c:formatCode>
                <c:ptCount val="313"/>
                <c:pt idx="0">
                  <c:v>9.9354909065816482E-2</c:v>
                </c:pt>
                <c:pt idx="1">
                  <c:v>0.16393773068300654</c:v>
                </c:pt>
                <c:pt idx="2">
                  <c:v>0.21631925419100656</c:v>
                </c:pt>
                <c:pt idx="3">
                  <c:v>0.25483289370242068</c:v>
                </c:pt>
                <c:pt idx="4">
                  <c:v>0.28786107307183306</c:v>
                </c:pt>
                <c:pt idx="5">
                  <c:v>0.31912788782470192</c:v>
                </c:pt>
                <c:pt idx="6">
                  <c:v>0.34932810814674009</c:v>
                </c:pt>
                <c:pt idx="7">
                  <c:v>0.37519263802370639</c:v>
                </c:pt>
                <c:pt idx="8">
                  <c:v>0.39755867244881948</c:v>
                </c:pt>
                <c:pt idx="9">
                  <c:v>0.41886047420991712</c:v>
                </c:pt>
                <c:pt idx="10">
                  <c:v>0.43867066619896838</c:v>
                </c:pt>
                <c:pt idx="11">
                  <c:v>0.45771533768336553</c:v>
                </c:pt>
                <c:pt idx="12">
                  <c:v>0.47579610025063479</c:v>
                </c:pt>
                <c:pt idx="13">
                  <c:v>0.49298688747064218</c:v>
                </c:pt>
                <c:pt idx="14">
                  <c:v>0.50886740753580229</c:v>
                </c:pt>
                <c:pt idx="15">
                  <c:v>0.52459348858835342</c:v>
                </c:pt>
                <c:pt idx="16">
                  <c:v>0.53760702911093228</c:v>
                </c:pt>
                <c:pt idx="17">
                  <c:v>0.54922568961537277</c:v>
                </c:pt>
                <c:pt idx="18">
                  <c:v>0.5599254174576872</c:v>
                </c:pt>
                <c:pt idx="19">
                  <c:v>0.57049514543965396</c:v>
                </c:pt>
                <c:pt idx="20">
                  <c:v>0.5810169192867215</c:v>
                </c:pt>
                <c:pt idx="21">
                  <c:v>0.59145028090649099</c:v>
                </c:pt>
                <c:pt idx="22">
                  <c:v>0.60174101234772737</c:v>
                </c:pt>
                <c:pt idx="23">
                  <c:v>0.61153741572599862</c:v>
                </c:pt>
                <c:pt idx="24">
                  <c:v>0.62107207372984152</c:v>
                </c:pt>
                <c:pt idx="25">
                  <c:v>0.63019660579195558</c:v>
                </c:pt>
                <c:pt idx="26">
                  <c:v>0.63893452689497876</c:v>
                </c:pt>
                <c:pt idx="27">
                  <c:v>0.64724168226801881</c:v>
                </c:pt>
                <c:pt idx="28">
                  <c:v>0.6555432926233189</c:v>
                </c:pt>
                <c:pt idx="29">
                  <c:v>0.66317375046105775</c:v>
                </c:pt>
                <c:pt idx="30">
                  <c:v>0.67046986426618038</c:v>
                </c:pt>
                <c:pt idx="31">
                  <c:v>0.67744703686574215</c:v>
                </c:pt>
                <c:pt idx="32">
                  <c:v>0.6843567450828012</c:v>
                </c:pt>
                <c:pt idx="33">
                  <c:v>0.69100604283711009</c:v>
                </c:pt>
                <c:pt idx="34">
                  <c:v>0.69732099655880275</c:v>
                </c:pt>
                <c:pt idx="35">
                  <c:v>0.70362342264782374</c:v>
                </c:pt>
                <c:pt idx="36">
                  <c:v>0.70988980612153496</c:v>
                </c:pt>
                <c:pt idx="37">
                  <c:v>0.71610915962997035</c:v>
                </c:pt>
                <c:pt idx="38">
                  <c:v>0.72232296812066576</c:v>
                </c:pt>
                <c:pt idx="39">
                  <c:v>0.728462226928413</c:v>
                </c:pt>
                <c:pt idx="40">
                  <c:v>0.73446275760714785</c:v>
                </c:pt>
                <c:pt idx="41">
                  <c:v>0.7403716928076598</c:v>
                </c:pt>
                <c:pt idx="42">
                  <c:v>0.74626091238954084</c:v>
                </c:pt>
                <c:pt idx="43">
                  <c:v>0.75190974518384368</c:v>
                </c:pt>
                <c:pt idx="44">
                  <c:v>0.75752058433807645</c:v>
                </c:pt>
                <c:pt idx="45">
                  <c:v>0.76264099747886482</c:v>
                </c:pt>
                <c:pt idx="46">
                  <c:v>0.76767012319797145</c:v>
                </c:pt>
                <c:pt idx="47">
                  <c:v>0.77248566304857635</c:v>
                </c:pt>
                <c:pt idx="48">
                  <c:v>0.77722234042465754</c:v>
                </c:pt>
                <c:pt idx="49">
                  <c:v>0.78192369398402495</c:v>
                </c:pt>
                <c:pt idx="50">
                  <c:v>0.78657678535195208</c:v>
                </c:pt>
                <c:pt idx="51">
                  <c:v>0.79105274420874194</c:v>
                </c:pt>
                <c:pt idx="52">
                  <c:v>0.79552243924919597</c:v>
                </c:pt>
                <c:pt idx="53">
                  <c:v>0.79994397478372337</c:v>
                </c:pt>
                <c:pt idx="54">
                  <c:v>0.80433131604218777</c:v>
                </c:pt>
                <c:pt idx="55">
                  <c:v>0.80865519765318383</c:v>
                </c:pt>
                <c:pt idx="56">
                  <c:v>0.81296316300955596</c:v>
                </c:pt>
                <c:pt idx="57">
                  <c:v>0.81714841917705328</c:v>
                </c:pt>
                <c:pt idx="58">
                  <c:v>0.82120839901783327</c:v>
                </c:pt>
                <c:pt idx="59">
                  <c:v>0.82518941369857579</c:v>
                </c:pt>
                <c:pt idx="60">
                  <c:v>0.82913849318455679</c:v>
                </c:pt>
                <c:pt idx="61">
                  <c:v>0.83306528991406426</c:v>
                </c:pt>
                <c:pt idx="62">
                  <c:v>0.83685397462764155</c:v>
                </c:pt>
                <c:pt idx="63">
                  <c:v>0.84061534499457391</c:v>
                </c:pt>
                <c:pt idx="64">
                  <c:v>0.84415039648930534</c:v>
                </c:pt>
                <c:pt idx="65">
                  <c:v>0.84762558232954799</c:v>
                </c:pt>
                <c:pt idx="66">
                  <c:v>0.85107961495396789</c:v>
                </c:pt>
                <c:pt idx="67">
                  <c:v>0.85452923210129861</c:v>
                </c:pt>
                <c:pt idx="68">
                  <c:v>0.85792514472496273</c:v>
                </c:pt>
                <c:pt idx="69">
                  <c:v>0.86129877459215343</c:v>
                </c:pt>
                <c:pt idx="70">
                  <c:v>0.86426741279330044</c:v>
                </c:pt>
                <c:pt idx="71">
                  <c:v>0.86710184102803789</c:v>
                </c:pt>
                <c:pt idx="72">
                  <c:v>0.86984775434996353</c:v>
                </c:pt>
                <c:pt idx="73">
                  <c:v>0.87259366767188917</c:v>
                </c:pt>
                <c:pt idx="74">
                  <c:v>0.8752951181663815</c:v>
                </c:pt>
                <c:pt idx="75">
                  <c:v>0.87793321169891925</c:v>
                </c:pt>
                <c:pt idx="76">
                  <c:v>0.88056442530203893</c:v>
                </c:pt>
                <c:pt idx="77">
                  <c:v>0.88305670540511871</c:v>
                </c:pt>
                <c:pt idx="78">
                  <c:v>0.88546529681453079</c:v>
                </c:pt>
                <c:pt idx="79">
                  <c:v>0.8878360999549002</c:v>
                </c:pt>
                <c:pt idx="80">
                  <c:v>0.89017383835985742</c:v>
                </c:pt>
                <c:pt idx="81">
                  <c:v>0.89245571584536032</c:v>
                </c:pt>
                <c:pt idx="82">
                  <c:v>0.89467957601562109</c:v>
                </c:pt>
                <c:pt idx="83">
                  <c:v>0.89687037145046955</c:v>
                </c:pt>
                <c:pt idx="84">
                  <c:v>0.89897388419867075</c:v>
                </c:pt>
                <c:pt idx="85">
                  <c:v>0.90106764182307009</c:v>
                </c:pt>
                <c:pt idx="86">
                  <c:v>0.90311929838685134</c:v>
                </c:pt>
                <c:pt idx="87">
                  <c:v>0.90512741629282267</c:v>
                </c:pt>
                <c:pt idx="88">
                  <c:v>0.90710647419841606</c:v>
                </c:pt>
                <c:pt idx="89">
                  <c:v>0.90905400765130273</c:v>
                </c:pt>
                <c:pt idx="90">
                  <c:v>0.91098254428415437</c:v>
                </c:pt>
                <c:pt idx="91">
                  <c:v>0.91290389293104679</c:v>
                </c:pt>
                <c:pt idx="92">
                  <c:v>0.91476054970430654</c:v>
                </c:pt>
                <c:pt idx="93">
                  <c:v>0.916544402448351</c:v>
                </c:pt>
                <c:pt idx="94">
                  <c:v>0.9183130577363674</c:v>
                </c:pt>
                <c:pt idx="95">
                  <c:v>0.91999946192790794</c:v>
                </c:pt>
                <c:pt idx="96">
                  <c:v>0.92166183770924204</c:v>
                </c:pt>
                <c:pt idx="97">
                  <c:v>0.92331805235975395</c:v>
                </c:pt>
                <c:pt idx="98">
                  <c:v>0.92493421965992173</c:v>
                </c:pt>
                <c:pt idx="99">
                  <c:v>0.92655038696008951</c:v>
                </c:pt>
                <c:pt idx="100">
                  <c:v>0.92814735206919496</c:v>
                </c:pt>
                <c:pt idx="101">
                  <c:v>0.92971669477511432</c:v>
                </c:pt>
                <c:pt idx="102">
                  <c:v>0.93126724603202604</c:v>
                </c:pt>
                <c:pt idx="103">
                  <c:v>0.93278678626379952</c:v>
                </c:pt>
                <c:pt idx="104">
                  <c:v>0.93427028388026334</c:v>
                </c:pt>
                <c:pt idx="105">
                  <c:v>0.93572451612532193</c:v>
                </c:pt>
                <c:pt idx="106">
                  <c:v>0.93716919861760617</c:v>
                </c:pt>
                <c:pt idx="107">
                  <c:v>0.93855309128577835</c:v>
                </c:pt>
                <c:pt idx="108">
                  <c:v>0.93992774225771725</c:v>
                </c:pt>
                <c:pt idx="109">
                  <c:v>0.9412551578933529</c:v>
                </c:pt>
                <c:pt idx="110">
                  <c:v>0.94254211543658961</c:v>
                </c:pt>
                <c:pt idx="111">
                  <c:v>0.94381038421633245</c:v>
                </c:pt>
                <c:pt idx="112">
                  <c:v>0.945013139638333</c:v>
                </c:pt>
                <c:pt idx="113">
                  <c:v>0.94619381767488742</c:v>
                </c:pt>
                <c:pt idx="114">
                  <c:v>0.94734790016339276</c:v>
                </c:pt>
                <c:pt idx="115">
                  <c:v>0.94848627176830158</c:v>
                </c:pt>
                <c:pt idx="116">
                  <c:v>0.94962412994564194</c:v>
                </c:pt>
                <c:pt idx="117">
                  <c:v>0.95076198812298229</c:v>
                </c:pt>
                <c:pt idx="118">
                  <c:v>0.95188454615878093</c:v>
                </c:pt>
                <c:pt idx="119">
                  <c:v>0.95295165401718007</c:v>
                </c:pt>
                <c:pt idx="120">
                  <c:v>0.95397512053225553</c:v>
                </c:pt>
                <c:pt idx="121">
                  <c:v>0.9549698351034942</c:v>
                </c:pt>
                <c:pt idx="122">
                  <c:v>0.95595458917990372</c:v>
                </c:pt>
                <c:pt idx="123">
                  <c:v>0.95693349018203222</c:v>
                </c:pt>
                <c:pt idx="124">
                  <c:v>0.95790828376361259</c:v>
                </c:pt>
                <c:pt idx="125">
                  <c:v>0.95887096045457598</c:v>
                </c:pt>
                <c:pt idx="126">
                  <c:v>0.95983076195115569</c:v>
                </c:pt>
                <c:pt idx="127">
                  <c:v>0.96076365984314527</c:v>
                </c:pt>
                <c:pt idx="128">
                  <c:v>0.96168403010246317</c:v>
                </c:pt>
                <c:pt idx="129">
                  <c:v>0.96257842092681423</c:v>
                </c:pt>
                <c:pt idx="130">
                  <c:v>0.96346973118575419</c:v>
                </c:pt>
                <c:pt idx="131">
                  <c:v>0.96434553593212502</c:v>
                </c:pt>
                <c:pt idx="132">
                  <c:v>0.9652144607490778</c:v>
                </c:pt>
                <c:pt idx="133">
                  <c:v>0.96603152938161074</c:v>
                </c:pt>
                <c:pt idx="134">
                  <c:v>0.96681430105256694</c:v>
                </c:pt>
                <c:pt idx="135">
                  <c:v>0.96759234918989279</c:v>
                </c:pt>
                <c:pt idx="136">
                  <c:v>0.96834123464132704</c:v>
                </c:pt>
                <c:pt idx="137">
                  <c:v>0.96908344553437065</c:v>
                </c:pt>
                <c:pt idx="138">
                  <c:v>0.96981949529659206</c:v>
                </c:pt>
                <c:pt idx="139">
                  <c:v>0.97051672993463389</c:v>
                </c:pt>
                <c:pt idx="140">
                  <c:v>0.97121355383062091</c:v>
                </c:pt>
                <c:pt idx="141">
                  <c:v>0.97190565419297759</c:v>
                </c:pt>
                <c:pt idx="142">
                  <c:v>0.97258214635725138</c:v>
                </c:pt>
                <c:pt idx="143">
                  <c:v>0.9732563794402237</c:v>
                </c:pt>
                <c:pt idx="144">
                  <c:v>0.97391870100360656</c:v>
                </c:pt>
                <c:pt idx="145">
                  <c:v>0.97453388991619982</c:v>
                </c:pt>
                <c:pt idx="146">
                  <c:v>0.97510174080697609</c:v>
                </c:pt>
                <c:pt idx="147">
                  <c:v>0.97565459961275181</c:v>
                </c:pt>
                <c:pt idx="148">
                  <c:v>0.97620396711106161</c:v>
                </c:pt>
                <c:pt idx="149">
                  <c:v>0.97673454316036379</c:v>
                </c:pt>
                <c:pt idx="150">
                  <c:v>0.97723996125880885</c:v>
                </c:pt>
                <c:pt idx="151">
                  <c:v>0.97774507130071275</c:v>
                </c:pt>
                <c:pt idx="152">
                  <c:v>0.97824977060056184</c:v>
                </c:pt>
                <c:pt idx="153">
                  <c:v>0.97874933562472577</c:v>
                </c:pt>
                <c:pt idx="154">
                  <c:v>0.97924787379375267</c:v>
                </c:pt>
                <c:pt idx="155">
                  <c:v>0.97974507705110148</c:v>
                </c:pt>
                <c:pt idx="156">
                  <c:v>0.98021363105012715</c:v>
                </c:pt>
                <c:pt idx="157">
                  <c:v>0.98068095282298839</c:v>
                </c:pt>
                <c:pt idx="158">
                  <c:v>0.98114478328838384</c:v>
                </c:pt>
                <c:pt idx="159">
                  <c:v>0.98159834520240896</c:v>
                </c:pt>
                <c:pt idx="160">
                  <c:v>0.98203362909499503</c:v>
                </c:pt>
                <c:pt idx="161">
                  <c:v>0.98245628266939566</c:v>
                </c:pt>
                <c:pt idx="162">
                  <c:v>0.98286158239198052</c:v>
                </c:pt>
                <c:pt idx="163">
                  <c:v>0.98324613964079732</c:v>
                </c:pt>
                <c:pt idx="164">
                  <c:v>0.98362802706625796</c:v>
                </c:pt>
                <c:pt idx="165">
                  <c:v>0.98398136791890922</c:v>
                </c:pt>
                <c:pt idx="166">
                  <c:v>0.98433234700474526</c:v>
                </c:pt>
                <c:pt idx="167">
                  <c:v>0.98468188849338945</c:v>
                </c:pt>
                <c:pt idx="168">
                  <c:v>0.98500452637744351</c:v>
                </c:pt>
                <c:pt idx="169">
                  <c:v>0.98532346758300426</c:v>
                </c:pt>
                <c:pt idx="170">
                  <c:v>0.98563665839979775</c:v>
                </c:pt>
                <c:pt idx="171">
                  <c:v>0.98594286660165942</c:v>
                </c:pt>
                <c:pt idx="172">
                  <c:v>0.98624897211800733</c:v>
                </c:pt>
                <c:pt idx="173">
                  <c:v>0.98655364003716339</c:v>
                </c:pt>
                <c:pt idx="174">
                  <c:v>0.98685635693155915</c:v>
                </c:pt>
                <c:pt idx="175">
                  <c:v>0.98715506909092054</c:v>
                </c:pt>
                <c:pt idx="176">
                  <c:v>0.98745213828206269</c:v>
                </c:pt>
                <c:pt idx="177">
                  <c:v>0.98774468931060189</c:v>
                </c:pt>
                <c:pt idx="178">
                  <c:v>0.98803713765362733</c:v>
                </c:pt>
                <c:pt idx="179">
                  <c:v>0.98832660811675543</c:v>
                </c:pt>
                <c:pt idx="180">
                  <c:v>0.98860878790841067</c:v>
                </c:pt>
                <c:pt idx="181">
                  <c:v>0.98888963278838771</c:v>
                </c:pt>
                <c:pt idx="182">
                  <c:v>0.98916637024781662</c:v>
                </c:pt>
                <c:pt idx="183">
                  <c:v>0.98942092763628575</c:v>
                </c:pt>
                <c:pt idx="184">
                  <c:v>0.98967024806355608</c:v>
                </c:pt>
                <c:pt idx="185">
                  <c:v>0.98991895237774419</c:v>
                </c:pt>
                <c:pt idx="186">
                  <c:v>0.99016437075549379</c:v>
                </c:pt>
                <c:pt idx="187">
                  <c:v>0.99040547634166787</c:v>
                </c:pt>
                <c:pt idx="188">
                  <c:v>0.99064627387130089</c:v>
                </c:pt>
                <c:pt idx="189">
                  <c:v>0.99088470963411868</c:v>
                </c:pt>
                <c:pt idx="190">
                  <c:v>0.99112191317077203</c:v>
                </c:pt>
                <c:pt idx="191">
                  <c:v>0.99135901402191173</c:v>
                </c:pt>
                <c:pt idx="192">
                  <c:v>0.99159519070342805</c:v>
                </c:pt>
                <c:pt idx="193">
                  <c:v>0.99182869756158809</c:v>
                </c:pt>
                <c:pt idx="194">
                  <c:v>0.99206015070947418</c:v>
                </c:pt>
                <c:pt idx="195">
                  <c:v>0.99228965283259984</c:v>
                </c:pt>
                <c:pt idx="196">
                  <c:v>0.9925187442136707</c:v>
                </c:pt>
                <c:pt idx="197">
                  <c:v>0.99274146909289196</c:v>
                </c:pt>
                <c:pt idx="198">
                  <c:v>0.99296409128659957</c:v>
                </c:pt>
                <c:pt idx="199">
                  <c:v>0.99318116846256721</c:v>
                </c:pt>
                <c:pt idx="200">
                  <c:v>0.9933966026703156</c:v>
                </c:pt>
                <c:pt idx="201">
                  <c:v>0.99360618380378296</c:v>
                </c:pt>
                <c:pt idx="202">
                  <c:v>0.99381555956622292</c:v>
                </c:pt>
                <c:pt idx="203">
                  <c:v>0.99402041716605993</c:v>
                </c:pt>
                <c:pt idx="204">
                  <c:v>0.9942188055785337</c:v>
                </c:pt>
                <c:pt idx="205">
                  <c:v>0.99441380536905521</c:v>
                </c:pt>
                <c:pt idx="206">
                  <c:v>0.99460777830443969</c:v>
                </c:pt>
                <c:pt idx="207">
                  <c:v>0.99479199611602243</c:v>
                </c:pt>
                <c:pt idx="208">
                  <c:v>0.99496450777904311</c:v>
                </c:pt>
                <c:pt idx="209">
                  <c:v>0.99512510792247422</c:v>
                </c:pt>
                <c:pt idx="210">
                  <c:v>0.99527923887854208</c:v>
                </c:pt>
                <c:pt idx="211">
                  <c:v>0.99543049464022626</c:v>
                </c:pt>
                <c:pt idx="212">
                  <c:v>0.99557938863509532</c:v>
                </c:pt>
                <c:pt idx="213">
                  <c:v>0.99572314835427922</c:v>
                </c:pt>
                <c:pt idx="214">
                  <c:v>0.99586013082955871</c:v>
                </c:pt>
                <c:pt idx="215">
                  <c:v>0.99599310856980383</c:v>
                </c:pt>
                <c:pt idx="216">
                  <c:v>0.99612536751145297</c:v>
                </c:pt>
                <c:pt idx="217">
                  <c:v>0.99625156800779369</c:v>
                </c:pt>
                <c:pt idx="218">
                  <c:v>0.99637684433451101</c:v>
                </c:pt>
                <c:pt idx="219">
                  <c:v>0.99650027232198168</c:v>
                </c:pt>
                <c:pt idx="220">
                  <c:v>0.99662000363095915</c:v>
                </c:pt>
                <c:pt idx="221">
                  <c:v>0.99673295769603221</c:v>
                </c:pt>
                <c:pt idx="222">
                  <c:v>0.99684570639007786</c:v>
                </c:pt>
                <c:pt idx="223">
                  <c:v>0.9969532181229247</c:v>
                </c:pt>
                <c:pt idx="224">
                  <c:v>0.99705405529738078</c:v>
                </c:pt>
                <c:pt idx="225">
                  <c:v>0.99714708837279553</c:v>
                </c:pt>
                <c:pt idx="226">
                  <c:v>0.99723673282625802</c:v>
                </c:pt>
                <c:pt idx="227">
                  <c:v>0.99732524773906983</c:v>
                </c:pt>
                <c:pt idx="228">
                  <c:v>0.99741150357058017</c:v>
                </c:pt>
                <c:pt idx="229">
                  <c:v>0.99749457615116566</c:v>
                </c:pt>
                <c:pt idx="230">
                  <c:v>0.99757610844904565</c:v>
                </c:pt>
                <c:pt idx="231">
                  <c:v>0.99765507360908312</c:v>
                </c:pt>
                <c:pt idx="232">
                  <c:v>0.99773167700230536</c:v>
                </c:pt>
                <c:pt idx="233">
                  <c:v>0.99780355686189726</c:v>
                </c:pt>
                <c:pt idx="234">
                  <c:v>0.99787389643878366</c:v>
                </c:pt>
                <c:pt idx="235">
                  <c:v>0.9979439279591289</c:v>
                </c:pt>
                <c:pt idx="236">
                  <c:v>0.99800861983276168</c:v>
                </c:pt>
                <c:pt idx="237">
                  <c:v>0.99807228485125743</c:v>
                </c:pt>
                <c:pt idx="238">
                  <c:v>0.99813389615947912</c:v>
                </c:pt>
                <c:pt idx="239">
                  <c:v>0.99819386449948155</c:v>
                </c:pt>
                <c:pt idx="240">
                  <c:v>0.99825383283948399</c:v>
                </c:pt>
                <c:pt idx="241">
                  <c:v>0.99831308238089045</c:v>
                </c:pt>
                <c:pt idx="242">
                  <c:v>0.99837058626856401</c:v>
                </c:pt>
                <c:pt idx="243">
                  <c:v>0.99842798747072381</c:v>
                </c:pt>
                <c:pt idx="244">
                  <c:v>0.99848282153504109</c:v>
                </c:pt>
                <c:pt idx="245">
                  <c:v>0.99853406160637881</c:v>
                </c:pt>
                <c:pt idx="246">
                  <c:v>0.99858068082959983</c:v>
                </c:pt>
                <c:pt idx="247">
                  <c:v>0.99862658125422499</c:v>
                </c:pt>
                <c:pt idx="248">
                  <c:v>0.99867114676717195</c:v>
                </c:pt>
                <c:pt idx="249">
                  <c:v>0.99871560959460526</c:v>
                </c:pt>
                <c:pt idx="250">
                  <c:v>0.99875966167998376</c:v>
                </c:pt>
                <c:pt idx="251">
                  <c:v>0.9988036110798485</c:v>
                </c:pt>
                <c:pt idx="252">
                  <c:v>0.99884560945495293</c:v>
                </c:pt>
                <c:pt idx="253">
                  <c:v>0.99888750514454361</c:v>
                </c:pt>
                <c:pt idx="254">
                  <c:v>0.9989280659224562</c:v>
                </c:pt>
                <c:pt idx="255">
                  <c:v>0.99896677836112213</c:v>
                </c:pt>
                <c:pt idx="256">
                  <c:v>0.99900436125913739</c:v>
                </c:pt>
                <c:pt idx="257">
                  <c:v>0.99904030118893339</c:v>
                </c:pt>
                <c:pt idx="258">
                  <c:v>0.99907531694910601</c:v>
                </c:pt>
                <c:pt idx="259">
                  <c:v>0.99911023002376498</c:v>
                </c:pt>
                <c:pt idx="260">
                  <c:v>0.99914504041291019</c:v>
                </c:pt>
                <c:pt idx="261">
                  <c:v>0.99917892663243213</c:v>
                </c:pt>
                <c:pt idx="262">
                  <c:v>0.9992122994243855</c:v>
                </c:pt>
                <c:pt idx="263">
                  <c:v>0.99924413193363337</c:v>
                </c:pt>
                <c:pt idx="264">
                  <c:v>0.99927555370082644</c:v>
                </c:pt>
                <c:pt idx="265">
                  <c:v>0.99930635935493728</c:v>
                </c:pt>
                <c:pt idx="266">
                  <c:v>0.99933583009736993</c:v>
                </c:pt>
                <c:pt idx="267">
                  <c:v>0.99936499278326152</c:v>
                </c:pt>
                <c:pt idx="268">
                  <c:v>0.99939271787196127</c:v>
                </c:pt>
                <c:pt idx="269">
                  <c:v>0.9994180811938459</c:v>
                </c:pt>
                <c:pt idx="270">
                  <c:v>0.99944334183021677</c:v>
                </c:pt>
                <c:pt idx="271">
                  <c:v>0.99946849978107399</c:v>
                </c:pt>
                <c:pt idx="272">
                  <c:v>0.99949314430436265</c:v>
                </c:pt>
                <c:pt idx="273">
                  <c:v>0.9995177888276513</c:v>
                </c:pt>
                <c:pt idx="274">
                  <c:v>0.99954191992337149</c:v>
                </c:pt>
                <c:pt idx="275">
                  <c:v>0.99956605101909168</c:v>
                </c:pt>
                <c:pt idx="276">
                  <c:v>0.99958833377556522</c:v>
                </c:pt>
                <c:pt idx="277">
                  <c:v>0.99960938430587432</c:v>
                </c:pt>
                <c:pt idx="278">
                  <c:v>0.99962920261001897</c:v>
                </c:pt>
                <c:pt idx="279">
                  <c:v>0.99964902091416363</c:v>
                </c:pt>
                <c:pt idx="280">
                  <c:v>0.99966853116176713</c:v>
                </c:pt>
                <c:pt idx="281">
                  <c:v>0.99968783603834321</c:v>
                </c:pt>
                <c:pt idx="282">
                  <c:v>0.99970693554389189</c:v>
                </c:pt>
                <c:pt idx="283">
                  <c:v>0.99972531625084471</c:v>
                </c:pt>
                <c:pt idx="284">
                  <c:v>0.9997430808447153</c:v>
                </c:pt>
                <c:pt idx="285">
                  <c:v>0.99976074275307214</c:v>
                </c:pt>
                <c:pt idx="286">
                  <c:v>0.99977830197591533</c:v>
                </c:pt>
                <c:pt idx="287">
                  <c:v>0.9997952450856763</c:v>
                </c:pt>
                <c:pt idx="288">
                  <c:v>0.9998118801388961</c:v>
                </c:pt>
                <c:pt idx="289">
                  <c:v>0.99982769370800628</c:v>
                </c:pt>
                <c:pt idx="290">
                  <c:v>0.99984309653506165</c:v>
                </c:pt>
                <c:pt idx="291">
                  <c:v>0.99985778056352115</c:v>
                </c:pt>
                <c:pt idx="292">
                  <c:v>0.99987164310787102</c:v>
                </c:pt>
                <c:pt idx="293">
                  <c:v>0.99988509491016608</c:v>
                </c:pt>
                <c:pt idx="294">
                  <c:v>0.99989793059937893</c:v>
                </c:pt>
                <c:pt idx="295">
                  <c:v>0.99990819915074924</c:v>
                </c:pt>
                <c:pt idx="296">
                  <c:v>0.99991723547595512</c:v>
                </c:pt>
                <c:pt idx="297">
                  <c:v>0.99992565568807878</c:v>
                </c:pt>
                <c:pt idx="298">
                  <c:v>0.99993387052917504</c:v>
                </c:pt>
                <c:pt idx="299">
                  <c:v>0.99994187999924389</c:v>
                </c:pt>
                <c:pt idx="300">
                  <c:v>0.99994906798520311</c:v>
                </c:pt>
                <c:pt idx="301">
                  <c:v>0.99995625597116233</c:v>
                </c:pt>
                <c:pt idx="302">
                  <c:v>0.99996293052955298</c:v>
                </c:pt>
                <c:pt idx="303">
                  <c:v>0.99996939971691623</c:v>
                </c:pt>
                <c:pt idx="304">
                  <c:v>0.99997525279119726</c:v>
                </c:pt>
                <c:pt idx="305">
                  <c:v>0.99998038706688241</c:v>
                </c:pt>
                <c:pt idx="306">
                  <c:v>0.99998459717294419</c:v>
                </c:pt>
                <c:pt idx="307">
                  <c:v>0.99998849922246491</c:v>
                </c:pt>
                <c:pt idx="308">
                  <c:v>0.99999240127198563</c:v>
                </c:pt>
                <c:pt idx="309">
                  <c:v>0.99999537915188297</c:v>
                </c:pt>
                <c:pt idx="310">
                  <c:v>0.99999753554767068</c:v>
                </c:pt>
                <c:pt idx="311">
                  <c:v>0.99999887045934877</c:v>
                </c:pt>
                <c:pt idx="312">
                  <c:v>0.9999999999999994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377</c:f>
              <c:strCache>
                <c:ptCount val="376"/>
                <c:pt idx="0">
                  <c:v>Ruinart</c:v>
                </c:pt>
                <c:pt idx="1">
                  <c:v>Nicolas</c:v>
                </c:pt>
                <c:pt idx="2">
                  <c:v>Deutz</c:v>
                </c:pt>
                <c:pt idx="3">
                  <c:v>Ruinart</c:v>
                </c:pt>
                <c:pt idx="4">
                  <c:v>Heidsieck &amp;</c:v>
                </c:pt>
                <c:pt idx="5">
                  <c:v>Malard</c:v>
                </c:pt>
                <c:pt idx="6">
                  <c:v>Ayala</c:v>
                </c:pt>
                <c:pt idx="7">
                  <c:v>Laurent Per</c:v>
                </c:pt>
                <c:pt idx="8">
                  <c:v>De Bligny</c:v>
                </c:pt>
                <c:pt idx="9">
                  <c:v>Nicolas Feu</c:v>
                </c:pt>
                <c:pt idx="10">
                  <c:v>Canard Duch</c:v>
                </c:pt>
                <c:pt idx="11">
                  <c:v>Ruinart</c:v>
                </c:pt>
                <c:pt idx="12">
                  <c:v>Ruinart</c:v>
                </c:pt>
                <c:pt idx="13">
                  <c:v>Taittinger</c:v>
                </c:pt>
                <c:pt idx="14">
                  <c:v>Bollinger</c:v>
                </c:pt>
                <c:pt idx="15">
                  <c:v>Besserat De</c:v>
                </c:pt>
                <c:pt idx="16">
                  <c:v>Demoiselle</c:v>
                </c:pt>
                <c:pt idx="17">
                  <c:v>Ruinart</c:v>
                </c:pt>
                <c:pt idx="18">
                  <c:v>Deutz</c:v>
                </c:pt>
                <c:pt idx="19">
                  <c:v>All Others</c:v>
                </c:pt>
                <c:pt idx="20">
                  <c:v>Perrier Jou</c:v>
                </c:pt>
                <c:pt idx="21">
                  <c:v>Ruinart</c:v>
                </c:pt>
                <c:pt idx="22">
                  <c:v>All Others</c:v>
                </c:pt>
                <c:pt idx="23">
                  <c:v>Campari: Al</c:v>
                </c:pt>
                <c:pt idx="24">
                  <c:v>Bottega</c:v>
                </c:pt>
                <c:pt idx="25">
                  <c:v>Laurent Per</c:v>
                </c:pt>
                <c:pt idx="26">
                  <c:v>Deutz</c:v>
                </c:pt>
                <c:pt idx="27">
                  <c:v>Savian</c:v>
                </c:pt>
                <c:pt idx="28">
                  <c:v>Pommery</c:v>
                </c:pt>
                <c:pt idx="29">
                  <c:v>Vesselle</c:v>
                </c:pt>
                <c:pt idx="30">
                  <c:v>Dom Perigno</c:v>
                </c:pt>
                <c:pt idx="31">
                  <c:v>Malard</c:v>
                </c:pt>
                <c:pt idx="32">
                  <c:v>Demoiselle</c:v>
                </c:pt>
                <c:pt idx="33">
                  <c:v>Roederer</c:v>
                </c:pt>
                <c:pt idx="34">
                  <c:v>Veuve Clicq</c:v>
                </c:pt>
                <c:pt idx="35">
                  <c:v>Ruinart</c:v>
                </c:pt>
                <c:pt idx="36">
                  <c:v>Moët &amp; Chan</c:v>
                </c:pt>
                <c:pt idx="37">
                  <c:v>Dom Perigno</c:v>
                </c:pt>
                <c:pt idx="38">
                  <c:v>Savian</c:v>
                </c:pt>
                <c:pt idx="39">
                  <c:v>Taittinger</c:v>
                </c:pt>
                <c:pt idx="40">
                  <c:v>Patriarche</c:v>
                </c:pt>
                <c:pt idx="41">
                  <c:v>Nicolas</c:v>
                </c:pt>
                <c:pt idx="42">
                  <c:v>Laurent Per</c:v>
                </c:pt>
                <c:pt idx="43">
                  <c:v>All Others</c:v>
                </c:pt>
                <c:pt idx="44">
                  <c:v>Veuve Clicq</c:v>
                </c:pt>
                <c:pt idx="45">
                  <c:v>Henriot</c:v>
                </c:pt>
                <c:pt idx="46">
                  <c:v>Ruinart</c:v>
                </c:pt>
                <c:pt idx="47">
                  <c:v>Roederer</c:v>
                </c:pt>
                <c:pt idx="48">
                  <c:v>All Others</c:v>
                </c:pt>
                <c:pt idx="49">
                  <c:v>Mure</c:v>
                </c:pt>
                <c:pt idx="50">
                  <c:v>De Chanceny</c:v>
                </c:pt>
                <c:pt idx="51">
                  <c:v>Veuve Clicq</c:v>
                </c:pt>
                <c:pt idx="52">
                  <c:v>French Bloo</c:v>
                </c:pt>
                <c:pt idx="53">
                  <c:v>Besserat De</c:v>
                </c:pt>
                <c:pt idx="54">
                  <c:v>Bouvet-Ladu</c:v>
                </c:pt>
                <c:pt idx="55">
                  <c:v>Malard</c:v>
                </c:pt>
                <c:pt idx="56">
                  <c:v>De Venoge</c:v>
                </c:pt>
                <c:pt idx="57">
                  <c:v>Nicolas</c:v>
                </c:pt>
                <c:pt idx="58">
                  <c:v>Nicolas</c:v>
                </c:pt>
                <c:pt idx="59">
                  <c:v>Piper Heids</c:v>
                </c:pt>
                <c:pt idx="60">
                  <c:v>Ruinart</c:v>
                </c:pt>
                <c:pt idx="61">
                  <c:v>Deutz</c:v>
                </c:pt>
                <c:pt idx="62">
                  <c:v>Louis Marti</c:v>
                </c:pt>
                <c:pt idx="63">
                  <c:v>Nicolas Feu</c:v>
                </c:pt>
                <c:pt idx="64">
                  <c:v>Nicolas Feu</c:v>
                </c:pt>
                <c:pt idx="65">
                  <c:v>Moët &amp; Chan</c:v>
                </c:pt>
                <c:pt idx="66">
                  <c:v>Moët &amp; Chan</c:v>
                </c:pt>
                <c:pt idx="67">
                  <c:v>Lanson</c:v>
                </c:pt>
                <c:pt idx="68">
                  <c:v>Campari: Al</c:v>
                </c:pt>
                <c:pt idx="69">
                  <c:v>Lyre's</c:v>
                </c:pt>
                <c:pt idx="70">
                  <c:v>Nicolas Feu</c:v>
                </c:pt>
                <c:pt idx="71">
                  <c:v>Canard Duch</c:v>
                </c:pt>
                <c:pt idx="72">
                  <c:v>De Chanceny</c:v>
                </c:pt>
                <c:pt idx="73">
                  <c:v>Malard</c:v>
                </c:pt>
                <c:pt idx="74">
                  <c:v>Roederer</c:v>
                </c:pt>
                <c:pt idx="75">
                  <c:v>De Bligny</c:v>
                </c:pt>
                <c:pt idx="76">
                  <c:v>Henriot</c:v>
                </c:pt>
                <c:pt idx="77">
                  <c:v>Malard</c:v>
                </c:pt>
                <c:pt idx="78">
                  <c:v>Henriot</c:v>
                </c:pt>
                <c:pt idx="79">
                  <c:v>Bollinger</c:v>
                </c:pt>
                <c:pt idx="80">
                  <c:v>Besserat De</c:v>
                </c:pt>
                <c:pt idx="81">
                  <c:v>Laurent Per</c:v>
                </c:pt>
                <c:pt idx="82">
                  <c:v>Ruinart</c:v>
                </c:pt>
                <c:pt idx="83">
                  <c:v>Pommery</c:v>
                </c:pt>
                <c:pt idx="84">
                  <c:v>Delamotte</c:v>
                </c:pt>
                <c:pt idx="85">
                  <c:v>Krug</c:v>
                </c:pt>
                <c:pt idx="86">
                  <c:v>Ayala</c:v>
                </c:pt>
                <c:pt idx="87">
                  <c:v>Roederer</c:v>
                </c:pt>
                <c:pt idx="88">
                  <c:v>Ruinart</c:v>
                </c:pt>
                <c:pt idx="89">
                  <c:v>Canard Duch</c:v>
                </c:pt>
                <c:pt idx="90">
                  <c:v>All Others</c:v>
                </c:pt>
                <c:pt idx="91">
                  <c:v>Roederer</c:v>
                </c:pt>
                <c:pt idx="92">
                  <c:v>Patriarche</c:v>
                </c:pt>
                <c:pt idx="93">
                  <c:v>De Venoge</c:v>
                </c:pt>
                <c:pt idx="94">
                  <c:v>Ruinart</c:v>
                </c:pt>
                <c:pt idx="95">
                  <c:v>Roederer</c:v>
                </c:pt>
                <c:pt idx="96">
                  <c:v>Henriot</c:v>
                </c:pt>
                <c:pt idx="97">
                  <c:v>Deutz</c:v>
                </c:pt>
                <c:pt idx="98">
                  <c:v>Bottega</c:v>
                </c:pt>
                <c:pt idx="99">
                  <c:v>Vranken</c:v>
                </c:pt>
                <c:pt idx="100">
                  <c:v>Perrier Jou</c:v>
                </c:pt>
                <c:pt idx="101">
                  <c:v>Vranken</c:v>
                </c:pt>
                <c:pt idx="102">
                  <c:v>Malard</c:v>
                </c:pt>
                <c:pt idx="103">
                  <c:v>Nicolas</c:v>
                </c:pt>
                <c:pt idx="104">
                  <c:v>Ruinart</c:v>
                </c:pt>
                <c:pt idx="105">
                  <c:v>Nicolas</c:v>
                </c:pt>
                <c:pt idx="106">
                  <c:v>Bollinger</c:v>
                </c:pt>
                <c:pt idx="107">
                  <c:v>De Venoge</c:v>
                </c:pt>
                <c:pt idx="108">
                  <c:v>Ruinart</c:v>
                </c:pt>
                <c:pt idx="109">
                  <c:v>Kriter</c:v>
                </c:pt>
                <c:pt idx="110">
                  <c:v>Roederer</c:v>
                </c:pt>
                <c:pt idx="111">
                  <c:v>Roederer</c:v>
                </c:pt>
                <c:pt idx="112">
                  <c:v>Deutz</c:v>
                </c:pt>
                <c:pt idx="113">
                  <c:v>Canard Duch</c:v>
                </c:pt>
                <c:pt idx="114">
                  <c:v>All Others</c:v>
                </c:pt>
                <c:pt idx="115">
                  <c:v>De Venoge</c:v>
                </c:pt>
                <c:pt idx="116">
                  <c:v>Dom Perigno</c:v>
                </c:pt>
                <c:pt idx="117">
                  <c:v>Nicolas</c:v>
                </c:pt>
                <c:pt idx="118">
                  <c:v>Nicolas</c:v>
                </c:pt>
                <c:pt idx="119">
                  <c:v>Moët &amp; Chan</c:v>
                </c:pt>
                <c:pt idx="120">
                  <c:v>Canard Duch</c:v>
                </c:pt>
                <c:pt idx="121">
                  <c:v>All Others</c:v>
                </c:pt>
                <c:pt idx="122">
                  <c:v>All Others</c:v>
                </c:pt>
                <c:pt idx="123">
                  <c:v>All Others</c:v>
                </c:pt>
                <c:pt idx="124">
                  <c:v>Cru La Maqu</c:v>
                </c:pt>
                <c:pt idx="125">
                  <c:v>All Others</c:v>
                </c:pt>
                <c:pt idx="126">
                  <c:v>All Others</c:v>
                </c:pt>
                <c:pt idx="127">
                  <c:v>Nicolas</c:v>
                </c:pt>
                <c:pt idx="128">
                  <c:v>Contarini</c:v>
                </c:pt>
                <c:pt idx="129">
                  <c:v>Roederer</c:v>
                </c:pt>
                <c:pt idx="130">
                  <c:v>All Others</c:v>
                </c:pt>
                <c:pt idx="131">
                  <c:v>Nicolas</c:v>
                </c:pt>
                <c:pt idx="132">
                  <c:v>All Others</c:v>
                </c:pt>
                <c:pt idx="133">
                  <c:v>All Others</c:v>
                </c:pt>
                <c:pt idx="134">
                  <c:v>Ruinart</c:v>
                </c:pt>
                <c:pt idx="135">
                  <c:v>Veuve Clicq</c:v>
                </c:pt>
                <c:pt idx="136">
                  <c:v>All Others</c:v>
                </c:pt>
                <c:pt idx="137">
                  <c:v>Nicolas</c:v>
                </c:pt>
                <c:pt idx="138">
                  <c:v>Nicolas Feu</c:v>
                </c:pt>
                <c:pt idx="139">
                  <c:v>Roederer</c:v>
                </c:pt>
                <c:pt idx="140">
                  <c:v>Demoiselle</c:v>
                </c:pt>
                <c:pt idx="141">
                  <c:v>All Others</c:v>
                </c:pt>
                <c:pt idx="142">
                  <c:v>Roederer</c:v>
                </c:pt>
                <c:pt idx="143">
                  <c:v>Nicolas</c:v>
                </c:pt>
                <c:pt idx="144">
                  <c:v>Laurent Per</c:v>
                </c:pt>
                <c:pt idx="145">
                  <c:v>Besserat De</c:v>
                </c:pt>
                <c:pt idx="146">
                  <c:v>Bollinger</c:v>
                </c:pt>
                <c:pt idx="147">
                  <c:v>Nicolas</c:v>
                </c:pt>
                <c:pt idx="148">
                  <c:v>Laurent Per</c:v>
                </c:pt>
                <c:pt idx="149">
                  <c:v>All Others</c:v>
                </c:pt>
                <c:pt idx="150">
                  <c:v>All Others</c:v>
                </c:pt>
                <c:pt idx="151">
                  <c:v>Ruinart</c:v>
                </c:pt>
                <c:pt idx="152">
                  <c:v>Roederer</c:v>
                </c:pt>
                <c:pt idx="153">
                  <c:v>Dom Perigno</c:v>
                </c:pt>
                <c:pt idx="154">
                  <c:v>Moët &amp; Chan</c:v>
                </c:pt>
                <c:pt idx="155">
                  <c:v>Nicolas</c:v>
                </c:pt>
                <c:pt idx="156">
                  <c:v>Ruinart</c:v>
                </c:pt>
                <c:pt idx="157">
                  <c:v>Canard Duch</c:v>
                </c:pt>
                <c:pt idx="158">
                  <c:v>All Others</c:v>
                </c:pt>
                <c:pt idx="159">
                  <c:v>Laurent Per</c:v>
                </c:pt>
                <c:pt idx="160">
                  <c:v>Pommery</c:v>
                </c:pt>
                <c:pt idx="161">
                  <c:v>Pommery</c:v>
                </c:pt>
                <c:pt idx="162">
                  <c:v>All Others</c:v>
                </c:pt>
                <c:pt idx="163">
                  <c:v>Ruinart</c:v>
                </c:pt>
                <c:pt idx="164">
                  <c:v>Ruinart</c:v>
                </c:pt>
                <c:pt idx="165">
                  <c:v>Vesselle</c:v>
                </c:pt>
                <c:pt idx="166">
                  <c:v>Lanson-Bcc:</c:v>
                </c:pt>
                <c:pt idx="167">
                  <c:v>Piper Heids</c:v>
                </c:pt>
                <c:pt idx="168">
                  <c:v>Lanson</c:v>
                </c:pt>
                <c:pt idx="169">
                  <c:v>Pommery</c:v>
                </c:pt>
                <c:pt idx="170">
                  <c:v>All Others</c:v>
                </c:pt>
                <c:pt idx="171">
                  <c:v>Laurent Per</c:v>
                </c:pt>
                <c:pt idx="172">
                  <c:v>Taittinger</c:v>
                </c:pt>
                <c:pt idx="173">
                  <c:v>Nicolas</c:v>
                </c:pt>
                <c:pt idx="174">
                  <c:v>Contarini</c:v>
                </c:pt>
                <c:pt idx="175">
                  <c:v>Nicolas</c:v>
                </c:pt>
                <c:pt idx="176">
                  <c:v>All Others</c:v>
                </c:pt>
                <c:pt idx="177">
                  <c:v>Perrier Jou</c:v>
                </c:pt>
                <c:pt idx="178">
                  <c:v>All Others</c:v>
                </c:pt>
                <c:pt idx="179">
                  <c:v>Demoiselle</c:v>
                </c:pt>
                <c:pt idx="180">
                  <c:v>Laurent Per</c:v>
                </c:pt>
                <c:pt idx="181">
                  <c:v>Ayala</c:v>
                </c:pt>
                <c:pt idx="182">
                  <c:v>Vranken</c:v>
                </c:pt>
                <c:pt idx="183">
                  <c:v>Piper Heids</c:v>
                </c:pt>
                <c:pt idx="184">
                  <c:v>Deutz</c:v>
                </c:pt>
                <c:pt idx="185">
                  <c:v>All Others</c:v>
                </c:pt>
                <c:pt idx="186">
                  <c:v>Delamotte</c:v>
                </c:pt>
                <c:pt idx="187">
                  <c:v>Dom Perigno</c:v>
                </c:pt>
                <c:pt idx="188">
                  <c:v>Louis Marti</c:v>
                </c:pt>
                <c:pt idx="189">
                  <c:v>Canard Duch</c:v>
                </c:pt>
                <c:pt idx="190">
                  <c:v>Roederer</c:v>
                </c:pt>
                <c:pt idx="191">
                  <c:v>Deutz</c:v>
                </c:pt>
                <c:pt idx="192">
                  <c:v>Roederer</c:v>
                </c:pt>
                <c:pt idx="193">
                  <c:v>All Others</c:v>
                </c:pt>
                <c:pt idx="194">
                  <c:v>Vesselle</c:v>
                </c:pt>
                <c:pt idx="195">
                  <c:v>Nicolas</c:v>
                </c:pt>
                <c:pt idx="196">
                  <c:v>All Others</c:v>
                </c:pt>
                <c:pt idx="197">
                  <c:v>All Others</c:v>
                </c:pt>
                <c:pt idx="198">
                  <c:v>Pommery</c:v>
                </c:pt>
                <c:pt idx="199">
                  <c:v>Malard</c:v>
                </c:pt>
                <c:pt idx="200">
                  <c:v>Pommery</c:v>
                </c:pt>
                <c:pt idx="201">
                  <c:v>All Others</c:v>
                </c:pt>
                <c:pt idx="202">
                  <c:v>All Others</c:v>
                </c:pt>
                <c:pt idx="203">
                  <c:v>Deutz</c:v>
                </c:pt>
                <c:pt idx="204">
                  <c:v>All Others</c:v>
                </c:pt>
                <c:pt idx="205">
                  <c:v>Nicolas</c:v>
                </c:pt>
                <c:pt idx="206">
                  <c:v>Taittinger</c:v>
                </c:pt>
                <c:pt idx="207">
                  <c:v>Bouvet-Ladu</c:v>
                </c:pt>
                <c:pt idx="208">
                  <c:v>Piper Heids</c:v>
                </c:pt>
                <c:pt idx="209">
                  <c:v>All Others</c:v>
                </c:pt>
                <c:pt idx="210">
                  <c:v>Nicolas</c:v>
                </c:pt>
                <c:pt idx="211">
                  <c:v>Bollinger</c:v>
                </c:pt>
                <c:pt idx="212">
                  <c:v>Krug</c:v>
                </c:pt>
                <c:pt idx="213">
                  <c:v>All Others</c:v>
                </c:pt>
                <c:pt idx="214">
                  <c:v>Besserat De</c:v>
                </c:pt>
                <c:pt idx="215">
                  <c:v>All Others</c:v>
                </c:pt>
                <c:pt idx="216">
                  <c:v>Ruinart</c:v>
                </c:pt>
                <c:pt idx="217">
                  <c:v>All Others</c:v>
                </c:pt>
                <c:pt idx="218">
                  <c:v>All Others</c:v>
                </c:pt>
                <c:pt idx="219">
                  <c:v>All Others</c:v>
                </c:pt>
                <c:pt idx="220">
                  <c:v>Taittinger</c:v>
                </c:pt>
                <c:pt idx="221">
                  <c:v>All Others</c:v>
                </c:pt>
                <c:pt idx="222">
                  <c:v>Henriot</c:v>
                </c:pt>
                <c:pt idx="223">
                  <c:v>Roederer</c:v>
                </c:pt>
                <c:pt idx="224">
                  <c:v>Ruinart</c:v>
                </c:pt>
                <c:pt idx="225">
                  <c:v>Roederer</c:v>
                </c:pt>
                <c:pt idx="226">
                  <c:v>Canard Duch</c:v>
                </c:pt>
                <c:pt idx="227">
                  <c:v>Ruinart</c:v>
                </c:pt>
                <c:pt idx="228">
                  <c:v>All Others</c:v>
                </c:pt>
                <c:pt idx="229">
                  <c:v>All Others</c:v>
                </c:pt>
                <c:pt idx="230">
                  <c:v>All Others</c:v>
                </c:pt>
                <c:pt idx="231">
                  <c:v>Bouvet-Ladu</c:v>
                </c:pt>
                <c:pt idx="232">
                  <c:v>De Venoge</c:v>
                </c:pt>
                <c:pt idx="233">
                  <c:v>All Others</c:v>
                </c:pt>
                <c:pt idx="234">
                  <c:v>All Others</c:v>
                </c:pt>
                <c:pt idx="235">
                  <c:v>Veuve Clicq</c:v>
                </c:pt>
                <c:pt idx="236">
                  <c:v>All Others</c:v>
                </c:pt>
                <c:pt idx="237">
                  <c:v>Bouvet-Ladu</c:v>
                </c:pt>
                <c:pt idx="238">
                  <c:v>All Others</c:v>
                </c:pt>
                <c:pt idx="239">
                  <c:v>Celene</c:v>
                </c:pt>
                <c:pt idx="240">
                  <c:v>Deutz</c:v>
                </c:pt>
                <c:pt idx="241">
                  <c:v>De Venoge</c:v>
                </c:pt>
                <c:pt idx="242">
                  <c:v>All Others</c:v>
                </c:pt>
                <c:pt idx="243">
                  <c:v>All Others</c:v>
                </c:pt>
                <c:pt idx="244">
                  <c:v>De Venoge</c:v>
                </c:pt>
                <c:pt idx="245">
                  <c:v>Nicolas</c:v>
                </c:pt>
                <c:pt idx="246">
                  <c:v>Bollinger</c:v>
                </c:pt>
                <c:pt idx="247">
                  <c:v>Moët &amp; Chan</c:v>
                </c:pt>
                <c:pt idx="248">
                  <c:v>All Others</c:v>
                </c:pt>
                <c:pt idx="249">
                  <c:v>Nicolas</c:v>
                </c:pt>
                <c:pt idx="250">
                  <c:v>Ruinart</c:v>
                </c:pt>
                <c:pt idx="251">
                  <c:v>All Others</c:v>
                </c:pt>
                <c:pt idx="252">
                  <c:v>Piper Heids</c:v>
                </c:pt>
                <c:pt idx="253">
                  <c:v>Henriot</c:v>
                </c:pt>
                <c:pt idx="254">
                  <c:v>De Venoge</c:v>
                </c:pt>
                <c:pt idx="255">
                  <c:v>Pommery</c:v>
                </c:pt>
                <c:pt idx="256">
                  <c:v>Moët &amp; Chan</c:v>
                </c:pt>
                <c:pt idx="257">
                  <c:v>Dom Perigno</c:v>
                </c:pt>
                <c:pt idx="258">
                  <c:v>All Others</c:v>
                </c:pt>
                <c:pt idx="259">
                  <c:v>Lanson</c:v>
                </c:pt>
                <c:pt idx="260">
                  <c:v>Bollinger</c:v>
                </c:pt>
                <c:pt idx="261">
                  <c:v>Roederer</c:v>
                </c:pt>
                <c:pt idx="262">
                  <c:v>All Others</c:v>
                </c:pt>
                <c:pt idx="263">
                  <c:v>Nicolas Feu</c:v>
                </c:pt>
                <c:pt idx="264">
                  <c:v>Celene</c:v>
                </c:pt>
                <c:pt idx="265">
                  <c:v>All Others</c:v>
                </c:pt>
                <c:pt idx="266">
                  <c:v>All Others</c:v>
                </c:pt>
                <c:pt idx="267">
                  <c:v>Taittinger</c:v>
                </c:pt>
                <c:pt idx="268">
                  <c:v>Bollinger</c:v>
                </c:pt>
                <c:pt idx="269">
                  <c:v>Dom Perigno</c:v>
                </c:pt>
                <c:pt idx="270">
                  <c:v>All Others</c:v>
                </c:pt>
                <c:pt idx="271">
                  <c:v>Laurent Per</c:v>
                </c:pt>
                <c:pt idx="272">
                  <c:v>All Others</c:v>
                </c:pt>
                <c:pt idx="273">
                  <c:v>All Others</c:v>
                </c:pt>
                <c:pt idx="274">
                  <c:v>Bottega</c:v>
                </c:pt>
                <c:pt idx="275">
                  <c:v>Laurent Per</c:v>
                </c:pt>
                <c:pt idx="276">
                  <c:v>All Others</c:v>
                </c:pt>
                <c:pt idx="277">
                  <c:v>Dom Perigno</c:v>
                </c:pt>
                <c:pt idx="278">
                  <c:v>Ruinart</c:v>
                </c:pt>
                <c:pt idx="279">
                  <c:v>Roederer</c:v>
                </c:pt>
                <c:pt idx="280">
                  <c:v>Dom Perigno</c:v>
                </c:pt>
                <c:pt idx="281">
                  <c:v>Moët &amp; Chan</c:v>
                </c:pt>
                <c:pt idx="282">
                  <c:v>All Others</c:v>
                </c:pt>
                <c:pt idx="283">
                  <c:v>Laurent Per</c:v>
                </c:pt>
                <c:pt idx="284">
                  <c:v>Laurent Per</c:v>
                </c:pt>
                <c:pt idx="285">
                  <c:v>Bollinger</c:v>
                </c:pt>
                <c:pt idx="286">
                  <c:v>Ruinart</c:v>
                </c:pt>
                <c:pt idx="287">
                  <c:v>Bollinger</c:v>
                </c:pt>
                <c:pt idx="288">
                  <c:v>Besserat De</c:v>
                </c:pt>
                <c:pt idx="289">
                  <c:v>Laurent Per</c:v>
                </c:pt>
                <c:pt idx="290">
                  <c:v>All Others</c:v>
                </c:pt>
                <c:pt idx="291">
                  <c:v>Martel</c:v>
                </c:pt>
                <c:pt idx="292">
                  <c:v>Roederer</c:v>
                </c:pt>
                <c:pt idx="293">
                  <c:v>Lanson</c:v>
                </c:pt>
                <c:pt idx="294">
                  <c:v>Perrier Jou</c:v>
                </c:pt>
                <c:pt idx="295">
                  <c:v>All Others</c:v>
                </c:pt>
                <c:pt idx="296">
                  <c:v>Veuve Clicq</c:v>
                </c:pt>
                <c:pt idx="297">
                  <c:v>All Others</c:v>
                </c:pt>
                <c:pt idx="298">
                  <c:v>De Venoge</c:v>
                </c:pt>
                <c:pt idx="299">
                  <c:v>Demoiselle</c:v>
                </c:pt>
                <c:pt idx="300">
                  <c:v>All Others</c:v>
                </c:pt>
                <c:pt idx="301">
                  <c:v>Bollinger</c:v>
                </c:pt>
                <c:pt idx="302">
                  <c:v>All Others</c:v>
                </c:pt>
                <c:pt idx="303">
                  <c:v>All Others</c:v>
                </c:pt>
                <c:pt idx="304">
                  <c:v>Besserat De</c:v>
                </c:pt>
                <c:pt idx="305">
                  <c:v>De Bligny</c:v>
                </c:pt>
                <c:pt idx="306">
                  <c:v>Ayala</c:v>
                </c:pt>
                <c:pt idx="307">
                  <c:v>All Others</c:v>
                </c:pt>
                <c:pt idx="308">
                  <c:v>All Others</c:v>
                </c:pt>
                <c:pt idx="309">
                  <c:v>All Others</c:v>
                </c:pt>
                <c:pt idx="310">
                  <c:v>Perrier Jou</c:v>
                </c:pt>
                <c:pt idx="311">
                  <c:v>Lanson</c:v>
                </c:pt>
                <c:pt idx="312">
                  <c:v>Jaillance</c:v>
                </c:pt>
                <c:pt idx="313">
                  <c:v>Besserat De</c:v>
                </c:pt>
                <c:pt idx="314">
                  <c:v>All Others</c:v>
                </c:pt>
                <c:pt idx="315">
                  <c:v>Veuve Clicq</c:v>
                </c:pt>
                <c:pt idx="316">
                  <c:v>Canard Duch</c:v>
                </c:pt>
                <c:pt idx="317">
                  <c:v>All Others</c:v>
                </c:pt>
                <c:pt idx="318">
                  <c:v>Ruinart</c:v>
                </c:pt>
                <c:pt idx="319">
                  <c:v>Bollinger</c:v>
                </c:pt>
                <c:pt idx="320">
                  <c:v>All Others</c:v>
                </c:pt>
                <c:pt idx="321">
                  <c:v>Roederer</c:v>
                </c:pt>
                <c:pt idx="322">
                  <c:v>Lanson</c:v>
                </c:pt>
                <c:pt idx="323">
                  <c:v>All Others</c:v>
                </c:pt>
                <c:pt idx="324">
                  <c:v>Perrier Jou</c:v>
                </c:pt>
                <c:pt idx="325">
                  <c:v>Malard</c:v>
                </c:pt>
                <c:pt idx="326">
                  <c:v>Roederer</c:v>
                </c:pt>
                <c:pt idx="327">
                  <c:v>Veuve Clicq</c:v>
                </c:pt>
                <c:pt idx="328">
                  <c:v>All Others</c:v>
                </c:pt>
                <c:pt idx="329">
                  <c:v>All Others</c:v>
                </c:pt>
                <c:pt idx="330">
                  <c:v>All Others</c:v>
                </c:pt>
                <c:pt idx="331">
                  <c:v>Pommery</c:v>
                </c:pt>
                <c:pt idx="332">
                  <c:v>Taittinger</c:v>
                </c:pt>
                <c:pt idx="333">
                  <c:v>Pommery</c:v>
                </c:pt>
                <c:pt idx="334">
                  <c:v>All Others</c:v>
                </c:pt>
                <c:pt idx="335">
                  <c:v>All Others</c:v>
                </c:pt>
                <c:pt idx="336">
                  <c:v>All Others</c:v>
                </c:pt>
                <c:pt idx="337">
                  <c:v>Bouvet-Ladu</c:v>
                </c:pt>
                <c:pt idx="338">
                  <c:v>Roederer</c:v>
                </c:pt>
                <c:pt idx="339">
                  <c:v>Laurent Per</c:v>
                </c:pt>
                <c:pt idx="340">
                  <c:v>Pommery</c:v>
                </c:pt>
                <c:pt idx="341">
                  <c:v>De Venoge</c:v>
                </c:pt>
                <c:pt idx="342">
                  <c:v>Nicolas Feu</c:v>
                </c:pt>
                <c:pt idx="343">
                  <c:v>Laurent Per</c:v>
                </c:pt>
                <c:pt idx="344">
                  <c:v>Mure</c:v>
                </c:pt>
                <c:pt idx="345">
                  <c:v>All Others</c:v>
                </c:pt>
                <c:pt idx="346">
                  <c:v>Laurent Per</c:v>
                </c:pt>
                <c:pt idx="347">
                  <c:v>Demoiselle</c:v>
                </c:pt>
                <c:pt idx="348">
                  <c:v>All Others</c:v>
                </c:pt>
                <c:pt idx="349">
                  <c:v>Roederer</c:v>
                </c:pt>
                <c:pt idx="350">
                  <c:v>Besserat De</c:v>
                </c:pt>
                <c:pt idx="351">
                  <c:v>Ayala</c:v>
                </c:pt>
                <c:pt idx="352">
                  <c:v>Roederer</c:v>
                </c:pt>
                <c:pt idx="353">
                  <c:v>Deutz</c:v>
                </c:pt>
                <c:pt idx="354">
                  <c:v>Moët &amp; Chan</c:v>
                </c:pt>
                <c:pt idx="355">
                  <c:v>De Venoge</c:v>
                </c:pt>
                <c:pt idx="356">
                  <c:v>Bottega</c:v>
                </c:pt>
                <c:pt idx="357">
                  <c:v>Henriot</c:v>
                </c:pt>
                <c:pt idx="358">
                  <c:v>Ayala</c:v>
                </c:pt>
                <c:pt idx="359">
                  <c:v>All Others</c:v>
                </c:pt>
                <c:pt idx="360">
                  <c:v>Ayala</c:v>
                </c:pt>
                <c:pt idx="361">
                  <c:v>Pommery</c:v>
                </c:pt>
                <c:pt idx="362">
                  <c:v>Perrier Jou</c:v>
                </c:pt>
                <c:pt idx="363">
                  <c:v>Nicolas</c:v>
                </c:pt>
                <c:pt idx="364">
                  <c:v>All Others</c:v>
                </c:pt>
                <c:pt idx="365">
                  <c:v>Bouvet-Ladu</c:v>
                </c:pt>
                <c:pt idx="366">
                  <c:v>Malard</c:v>
                </c:pt>
                <c:pt idx="367">
                  <c:v>Demoiselle</c:v>
                </c:pt>
                <c:pt idx="368">
                  <c:v>All Others</c:v>
                </c:pt>
                <c:pt idx="369">
                  <c:v>All Others</c:v>
                </c:pt>
                <c:pt idx="370">
                  <c:v>Vesselle</c:v>
                </c:pt>
                <c:pt idx="371">
                  <c:v>Nicolas</c:v>
                </c:pt>
                <c:pt idx="372">
                  <c:v>All Others</c:v>
                </c:pt>
                <c:pt idx="373">
                  <c:v>All Others</c:v>
                </c:pt>
                <c:pt idx="374">
                  <c:v>Bottega</c:v>
                </c:pt>
                <c:pt idx="375">
                  <c:v>All Others</c:v>
                </c:pt>
              </c:strCache>
            </c:strRef>
          </c:cat>
          <c:val>
            <c:numRef>
              <c:f>Sheet1!$B$2:$B$377</c:f>
              <c:numCache>
                <c:formatCode>General</c:formatCode>
                <c:ptCount val="376"/>
                <c:pt idx="0">
                  <c:v>1</c:v>
                </c:pt>
                <c:pt idx="1">
                  <c:v>1</c:v>
                </c:pt>
                <c:pt idx="2">
                  <c:v>1</c:v>
                </c:pt>
                <c:pt idx="3">
                  <c:v>0.82</c:v>
                </c:pt>
                <c:pt idx="4">
                  <c:v>0.94</c:v>
                </c:pt>
                <c:pt idx="5">
                  <c:v>0.97</c:v>
                </c:pt>
                <c:pt idx="6">
                  <c:v>0.97</c:v>
                </c:pt>
                <c:pt idx="7">
                  <c:v>0.98</c:v>
                </c:pt>
                <c:pt idx="8">
                  <c:v>0.98</c:v>
                </c:pt>
                <c:pt idx="9">
                  <c:v>0.95</c:v>
                </c:pt>
                <c:pt idx="10">
                  <c:v>0.97</c:v>
                </c:pt>
                <c:pt idx="11">
                  <c:v>0.66</c:v>
                </c:pt>
                <c:pt idx="12">
                  <c:v>0.66</c:v>
                </c:pt>
                <c:pt idx="13">
                  <c:v>0.92</c:v>
                </c:pt>
                <c:pt idx="14">
                  <c:v>0.92</c:v>
                </c:pt>
                <c:pt idx="15">
                  <c:v>0.84</c:v>
                </c:pt>
                <c:pt idx="16">
                  <c:v>0.93</c:v>
                </c:pt>
                <c:pt idx="17">
                  <c:v>0.52</c:v>
                </c:pt>
                <c:pt idx="18">
                  <c:v>0.67</c:v>
                </c:pt>
                <c:pt idx="19">
                  <c:v>0.94</c:v>
                </c:pt>
                <c:pt idx="20">
                  <c:v>0.83</c:v>
                </c:pt>
                <c:pt idx="21">
                  <c:v>0.64</c:v>
                </c:pt>
                <c:pt idx="22">
                  <c:v>0.78</c:v>
                </c:pt>
                <c:pt idx="23">
                  <c:v>0.66</c:v>
                </c:pt>
                <c:pt idx="24">
                  <c:v>0.85</c:v>
                </c:pt>
                <c:pt idx="25">
                  <c:v>0.69</c:v>
                </c:pt>
                <c:pt idx="26">
                  <c:v>0.69</c:v>
                </c:pt>
                <c:pt idx="27">
                  <c:v>0.71</c:v>
                </c:pt>
                <c:pt idx="28">
                  <c:v>0.68</c:v>
                </c:pt>
                <c:pt idx="29">
                  <c:v>0.74</c:v>
                </c:pt>
                <c:pt idx="30">
                  <c:v>0.26</c:v>
                </c:pt>
                <c:pt idx="31">
                  <c:v>0.67</c:v>
                </c:pt>
                <c:pt idx="32">
                  <c:v>0.88</c:v>
                </c:pt>
                <c:pt idx="33">
                  <c:v>0.53</c:v>
                </c:pt>
                <c:pt idx="34">
                  <c:v>0.62</c:v>
                </c:pt>
                <c:pt idx="35">
                  <c:v>0.32</c:v>
                </c:pt>
                <c:pt idx="36">
                  <c:v>0.64</c:v>
                </c:pt>
                <c:pt idx="37">
                  <c:v>0.31</c:v>
                </c:pt>
                <c:pt idx="38">
                  <c:v>0.8</c:v>
                </c:pt>
                <c:pt idx="39">
                  <c:v>0.45</c:v>
                </c:pt>
                <c:pt idx="40">
                  <c:v>0.86</c:v>
                </c:pt>
                <c:pt idx="41">
                  <c:v>0.51</c:v>
                </c:pt>
                <c:pt idx="42">
                  <c:v>0.5</c:v>
                </c:pt>
                <c:pt idx="43">
                  <c:v>0.62</c:v>
                </c:pt>
                <c:pt idx="44">
                  <c:v>0.42</c:v>
                </c:pt>
                <c:pt idx="45">
                  <c:v>0.62</c:v>
                </c:pt>
                <c:pt idx="46">
                  <c:v>0.47</c:v>
                </c:pt>
                <c:pt idx="47">
                  <c:v>0.49</c:v>
                </c:pt>
                <c:pt idx="48">
                  <c:v>0.49</c:v>
                </c:pt>
                <c:pt idx="49">
                  <c:v>0.77</c:v>
                </c:pt>
                <c:pt idx="50">
                  <c:v>0.73</c:v>
                </c:pt>
                <c:pt idx="51">
                  <c:v>0.56000000000000005</c:v>
                </c:pt>
                <c:pt idx="52">
                  <c:v>0.68</c:v>
                </c:pt>
                <c:pt idx="53">
                  <c:v>0.43</c:v>
                </c:pt>
                <c:pt idx="54">
                  <c:v>0.64</c:v>
                </c:pt>
                <c:pt idx="55">
                  <c:v>0.62</c:v>
                </c:pt>
                <c:pt idx="56">
                  <c:v>0.53</c:v>
                </c:pt>
                <c:pt idx="57">
                  <c:v>0.56000000000000005</c:v>
                </c:pt>
                <c:pt idx="58">
                  <c:v>0.77</c:v>
                </c:pt>
                <c:pt idx="59">
                  <c:v>0.56000000000000005</c:v>
                </c:pt>
                <c:pt idx="60">
                  <c:v>0.55000000000000004</c:v>
                </c:pt>
                <c:pt idx="61">
                  <c:v>0.72</c:v>
                </c:pt>
                <c:pt idx="62">
                  <c:v>0.43</c:v>
                </c:pt>
                <c:pt idx="63">
                  <c:v>0.46</c:v>
                </c:pt>
                <c:pt idx="64">
                  <c:v>0.54</c:v>
                </c:pt>
                <c:pt idx="65">
                  <c:v>0.5</c:v>
                </c:pt>
                <c:pt idx="66">
                  <c:v>0.52</c:v>
                </c:pt>
                <c:pt idx="67">
                  <c:v>0.53</c:v>
                </c:pt>
                <c:pt idx="68">
                  <c:v>0.41</c:v>
                </c:pt>
                <c:pt idx="69">
                  <c:v>0.83</c:v>
                </c:pt>
                <c:pt idx="70">
                  <c:v>0.38</c:v>
                </c:pt>
                <c:pt idx="71">
                  <c:v>0.78</c:v>
                </c:pt>
                <c:pt idx="72">
                  <c:v>0.52</c:v>
                </c:pt>
                <c:pt idx="73">
                  <c:v>0.44</c:v>
                </c:pt>
                <c:pt idx="74">
                  <c:v>0.12</c:v>
                </c:pt>
                <c:pt idx="75">
                  <c:v>0.56000000000000005</c:v>
                </c:pt>
                <c:pt idx="76">
                  <c:v>0.59</c:v>
                </c:pt>
                <c:pt idx="77">
                  <c:v>0.48</c:v>
                </c:pt>
                <c:pt idx="78">
                  <c:v>0.37</c:v>
                </c:pt>
                <c:pt idx="79">
                  <c:v>0.16</c:v>
                </c:pt>
                <c:pt idx="80">
                  <c:v>0.3</c:v>
                </c:pt>
                <c:pt idx="81">
                  <c:v>0.23</c:v>
                </c:pt>
                <c:pt idx="82">
                  <c:v>0.36</c:v>
                </c:pt>
                <c:pt idx="83">
                  <c:v>0.45</c:v>
                </c:pt>
                <c:pt idx="84">
                  <c:v>0.22</c:v>
                </c:pt>
                <c:pt idx="85">
                  <c:v>0.12</c:v>
                </c:pt>
                <c:pt idx="86">
                  <c:v>0.38</c:v>
                </c:pt>
                <c:pt idx="87">
                  <c:v>0.24</c:v>
                </c:pt>
                <c:pt idx="88">
                  <c:v>0.17</c:v>
                </c:pt>
                <c:pt idx="89">
                  <c:v>0.35</c:v>
                </c:pt>
                <c:pt idx="90">
                  <c:v>0.38</c:v>
                </c:pt>
                <c:pt idx="91">
                  <c:v>0.08</c:v>
                </c:pt>
                <c:pt idx="92">
                  <c:v>0.61</c:v>
                </c:pt>
                <c:pt idx="93">
                  <c:v>0.25</c:v>
                </c:pt>
                <c:pt idx="94">
                  <c:v>0.13</c:v>
                </c:pt>
                <c:pt idx="95">
                  <c:v>0.21</c:v>
                </c:pt>
                <c:pt idx="96">
                  <c:v>0.28000000000000003</c:v>
                </c:pt>
                <c:pt idx="97">
                  <c:v>0.09</c:v>
                </c:pt>
                <c:pt idx="98">
                  <c:v>0.48</c:v>
                </c:pt>
                <c:pt idx="99">
                  <c:v>0.24</c:v>
                </c:pt>
                <c:pt idx="100">
                  <c:v>0.11</c:v>
                </c:pt>
                <c:pt idx="101">
                  <c:v>0.2</c:v>
                </c:pt>
                <c:pt idx="102">
                  <c:v>0.42</c:v>
                </c:pt>
                <c:pt idx="103">
                  <c:v>0.36</c:v>
                </c:pt>
                <c:pt idx="104">
                  <c:v>0.26</c:v>
                </c:pt>
                <c:pt idx="105">
                  <c:v>0.17</c:v>
                </c:pt>
                <c:pt idx="106">
                  <c:v>0.2</c:v>
                </c:pt>
                <c:pt idx="107">
                  <c:v>0.4</c:v>
                </c:pt>
                <c:pt idx="108">
                  <c:v>0.22</c:v>
                </c:pt>
                <c:pt idx="109">
                  <c:v>0.39</c:v>
                </c:pt>
                <c:pt idx="110">
                  <c:v>0.17</c:v>
                </c:pt>
                <c:pt idx="111">
                  <c:v>0.13</c:v>
                </c:pt>
                <c:pt idx="112">
                  <c:v>0.44</c:v>
                </c:pt>
                <c:pt idx="113">
                  <c:v>0.22</c:v>
                </c:pt>
                <c:pt idx="114">
                  <c:v>0.03</c:v>
                </c:pt>
                <c:pt idx="115">
                  <c:v>0.15</c:v>
                </c:pt>
                <c:pt idx="116">
                  <c:v>7.0000000000000007E-2</c:v>
                </c:pt>
                <c:pt idx="117">
                  <c:v>0.32</c:v>
                </c:pt>
                <c:pt idx="118">
                  <c:v>0.25</c:v>
                </c:pt>
                <c:pt idx="119">
                  <c:v>0.21</c:v>
                </c:pt>
                <c:pt idx="120">
                  <c:v>0.17</c:v>
                </c:pt>
                <c:pt idx="121">
                  <c:v>0.28000000000000003</c:v>
                </c:pt>
                <c:pt idx="122">
                  <c:v>0.17</c:v>
                </c:pt>
                <c:pt idx="123">
                  <c:v>0.03</c:v>
                </c:pt>
                <c:pt idx="124">
                  <c:v>0.32</c:v>
                </c:pt>
                <c:pt idx="125">
                  <c:v>0.48</c:v>
                </c:pt>
                <c:pt idx="126">
                  <c:v>0.08</c:v>
                </c:pt>
                <c:pt idx="127">
                  <c:v>0.18</c:v>
                </c:pt>
                <c:pt idx="128">
                  <c:v>0.82</c:v>
                </c:pt>
                <c:pt idx="129">
                  <c:v>0.26</c:v>
                </c:pt>
                <c:pt idx="130">
                  <c:v>0.39</c:v>
                </c:pt>
                <c:pt idx="131">
                  <c:v>0.13</c:v>
                </c:pt>
                <c:pt idx="132">
                  <c:v>0.03</c:v>
                </c:pt>
                <c:pt idx="133">
                  <c:v>0.25</c:v>
                </c:pt>
                <c:pt idx="134">
                  <c:v>0.05</c:v>
                </c:pt>
                <c:pt idx="135">
                  <c:v>0.16</c:v>
                </c:pt>
                <c:pt idx="136">
                  <c:v>0.19</c:v>
                </c:pt>
                <c:pt idx="137">
                  <c:v>0.23</c:v>
                </c:pt>
                <c:pt idx="138">
                  <c:v>0.16</c:v>
                </c:pt>
                <c:pt idx="139">
                  <c:v>0.04</c:v>
                </c:pt>
                <c:pt idx="140">
                  <c:v>0.21</c:v>
                </c:pt>
                <c:pt idx="141">
                  <c:v>0.13</c:v>
                </c:pt>
                <c:pt idx="142">
                  <c:v>0.19</c:v>
                </c:pt>
                <c:pt idx="143">
                  <c:v>0.17</c:v>
                </c:pt>
                <c:pt idx="144">
                  <c:v>0.1</c:v>
                </c:pt>
                <c:pt idx="145">
                  <c:v>0.23</c:v>
                </c:pt>
                <c:pt idx="146">
                  <c:v>0.05</c:v>
                </c:pt>
                <c:pt idx="147">
                  <c:v>0.06</c:v>
                </c:pt>
                <c:pt idx="148">
                  <c:v>0.06</c:v>
                </c:pt>
                <c:pt idx="149">
                  <c:v>0.03</c:v>
                </c:pt>
                <c:pt idx="150">
                  <c:v>0.21</c:v>
                </c:pt>
                <c:pt idx="151">
                  <c:v>0.12</c:v>
                </c:pt>
                <c:pt idx="152">
                  <c:v>0.15</c:v>
                </c:pt>
                <c:pt idx="153">
                  <c:v>0.04</c:v>
                </c:pt>
                <c:pt idx="154">
                  <c:v>0.1</c:v>
                </c:pt>
                <c:pt idx="155">
                  <c:v>0.28000000000000003</c:v>
                </c:pt>
                <c:pt idx="156">
                  <c:v>0.03</c:v>
                </c:pt>
                <c:pt idx="157">
                  <c:v>0.12</c:v>
                </c:pt>
                <c:pt idx="158">
                  <c:v>0.27</c:v>
                </c:pt>
                <c:pt idx="159">
                  <c:v>0.08</c:v>
                </c:pt>
                <c:pt idx="160">
                  <c:v>0.12</c:v>
                </c:pt>
                <c:pt idx="161">
                  <c:v>0.09</c:v>
                </c:pt>
                <c:pt idx="162">
                  <c:v>0.19</c:v>
                </c:pt>
                <c:pt idx="163">
                  <c:v>0.03</c:v>
                </c:pt>
                <c:pt idx="164">
                  <c:v>7.0000000000000007E-2</c:v>
                </c:pt>
                <c:pt idx="165">
                  <c:v>0.13</c:v>
                </c:pt>
                <c:pt idx="166">
                  <c:v>0.03</c:v>
                </c:pt>
                <c:pt idx="167">
                  <c:v>0.02</c:v>
                </c:pt>
                <c:pt idx="168">
                  <c:v>0.09</c:v>
                </c:pt>
                <c:pt idx="169">
                  <c:v>0.06</c:v>
                </c:pt>
                <c:pt idx="170">
                  <c:v>0.19</c:v>
                </c:pt>
                <c:pt idx="171">
                  <c:v>0.04</c:v>
                </c:pt>
                <c:pt idx="172">
                  <c:v>0.04</c:v>
                </c:pt>
                <c:pt idx="173">
                  <c:v>0.19</c:v>
                </c:pt>
                <c:pt idx="174">
                  <c:v>0.11</c:v>
                </c:pt>
                <c:pt idx="175">
                  <c:v>0.06</c:v>
                </c:pt>
                <c:pt idx="176">
                  <c:v>0.1</c:v>
                </c:pt>
                <c:pt idx="177">
                  <c:v>0.02</c:v>
                </c:pt>
                <c:pt idx="178">
                  <c:v>0.11</c:v>
                </c:pt>
                <c:pt idx="179">
                  <c:v>0.17</c:v>
                </c:pt>
                <c:pt idx="180">
                  <c:v>0.03</c:v>
                </c:pt>
                <c:pt idx="181">
                  <c:v>7.0000000000000007E-2</c:v>
                </c:pt>
                <c:pt idx="182">
                  <c:v>0.06</c:v>
                </c:pt>
                <c:pt idx="183">
                  <c:v>0.03</c:v>
                </c:pt>
                <c:pt idx="184">
                  <c:v>0.04</c:v>
                </c:pt>
                <c:pt idx="185">
                  <c:v>0.04</c:v>
                </c:pt>
                <c:pt idx="186">
                  <c:v>0.1</c:v>
                </c:pt>
                <c:pt idx="187">
                  <c:v>0.03</c:v>
                </c:pt>
                <c:pt idx="188">
                  <c:v>0.14000000000000001</c:v>
                </c:pt>
                <c:pt idx="189">
                  <c:v>0.08</c:v>
                </c:pt>
                <c:pt idx="190">
                  <c:v>0.05</c:v>
                </c:pt>
                <c:pt idx="191">
                  <c:v>0.03</c:v>
                </c:pt>
                <c:pt idx="192">
                  <c:v>0.05</c:v>
                </c:pt>
                <c:pt idx="193">
                  <c:v>0.03</c:v>
                </c:pt>
                <c:pt idx="194">
                  <c:v>7.0000000000000007E-2</c:v>
                </c:pt>
                <c:pt idx="195">
                  <c:v>0.09</c:v>
                </c:pt>
                <c:pt idx="196">
                  <c:v>0.05</c:v>
                </c:pt>
                <c:pt idx="197">
                  <c:v>0.02</c:v>
                </c:pt>
                <c:pt idx="198">
                  <c:v>0.08</c:v>
                </c:pt>
                <c:pt idx="199">
                  <c:v>7.0000000000000007E-2</c:v>
                </c:pt>
                <c:pt idx="200">
                  <c:v>0.1</c:v>
                </c:pt>
                <c:pt idx="201">
                  <c:v>0.03</c:v>
                </c:pt>
                <c:pt idx="202">
                  <c:v>0.03</c:v>
                </c:pt>
                <c:pt idx="203">
                  <c:v>0.03</c:v>
                </c:pt>
                <c:pt idx="204">
                  <c:v>0.05</c:v>
                </c:pt>
                <c:pt idx="205">
                  <c:v>0.16</c:v>
                </c:pt>
                <c:pt idx="206">
                  <c:v>0.03</c:v>
                </c:pt>
                <c:pt idx="207">
                  <c:v>0.05</c:v>
                </c:pt>
                <c:pt idx="208">
                  <c:v>0.06</c:v>
                </c:pt>
                <c:pt idx="209">
                  <c:v>0.22</c:v>
                </c:pt>
                <c:pt idx="210">
                  <c:v>0.06</c:v>
                </c:pt>
                <c:pt idx="211">
                  <c:v>0.03</c:v>
                </c:pt>
                <c:pt idx="212">
                  <c:v>0.02</c:v>
                </c:pt>
                <c:pt idx="213">
                  <c:v>0.03</c:v>
                </c:pt>
                <c:pt idx="214">
                  <c:v>7.0000000000000007E-2</c:v>
                </c:pt>
                <c:pt idx="215">
                  <c:v>0.02</c:v>
                </c:pt>
                <c:pt idx="216">
                  <c:v>0.02</c:v>
                </c:pt>
                <c:pt idx="217">
                  <c:v>0.03</c:v>
                </c:pt>
                <c:pt idx="218">
                  <c:v>0.02</c:v>
                </c:pt>
                <c:pt idx="219">
                  <c:v>0.04</c:v>
                </c:pt>
                <c:pt idx="220">
                  <c:v>0.01</c:v>
                </c:pt>
                <c:pt idx="221">
                  <c:v>0.02</c:v>
                </c:pt>
                <c:pt idx="222">
                  <c:v>0.04</c:v>
                </c:pt>
                <c:pt idx="223">
                  <c:v>0.03</c:v>
                </c:pt>
                <c:pt idx="224">
                  <c:v>0.02</c:v>
                </c:pt>
                <c:pt idx="225">
                  <c:v>0.02</c:v>
                </c:pt>
                <c:pt idx="226">
                  <c:v>0.09</c:v>
                </c:pt>
                <c:pt idx="227">
                  <c:v>0.03</c:v>
                </c:pt>
                <c:pt idx="228">
                  <c:v>0.03</c:v>
                </c:pt>
                <c:pt idx="229">
                  <c:v>0.02</c:v>
                </c:pt>
                <c:pt idx="230">
                  <c:v>0.09</c:v>
                </c:pt>
                <c:pt idx="231">
                  <c:v>0.05</c:v>
                </c:pt>
                <c:pt idx="232">
                  <c:v>0.02</c:v>
                </c:pt>
                <c:pt idx="233">
                  <c:v>0.02</c:v>
                </c:pt>
                <c:pt idx="234">
                  <c:v>0.02</c:v>
                </c:pt>
                <c:pt idx="235">
                  <c:v>0.01</c:v>
                </c:pt>
                <c:pt idx="236">
                  <c:v>0.03</c:v>
                </c:pt>
                <c:pt idx="237">
                  <c:v>0.05</c:v>
                </c:pt>
                <c:pt idx="238">
                  <c:v>0.03</c:v>
                </c:pt>
                <c:pt idx="239">
                  <c:v>0.1</c:v>
                </c:pt>
                <c:pt idx="240">
                  <c:v>0.04</c:v>
                </c:pt>
                <c:pt idx="241">
                  <c:v>0.02</c:v>
                </c:pt>
                <c:pt idx="242">
                  <c:v>0.03</c:v>
                </c:pt>
                <c:pt idx="243">
                  <c:v>0.03</c:v>
                </c:pt>
                <c:pt idx="244">
                  <c:v>0.02</c:v>
                </c:pt>
                <c:pt idx="245">
                  <c:v>0.03</c:v>
                </c:pt>
                <c:pt idx="246">
                  <c:v>0.01</c:v>
                </c:pt>
                <c:pt idx="247">
                  <c:v>0.05</c:v>
                </c:pt>
                <c:pt idx="248">
                  <c:v>0.02</c:v>
                </c:pt>
                <c:pt idx="249">
                  <c:v>0.05</c:v>
                </c:pt>
                <c:pt idx="250">
                  <c:v>0.01</c:v>
                </c:pt>
                <c:pt idx="251">
                  <c:v>0.02</c:v>
                </c:pt>
                <c:pt idx="252">
                  <c:v>0.02</c:v>
                </c:pt>
                <c:pt idx="253">
                  <c:v>0.04</c:v>
                </c:pt>
                <c:pt idx="254">
                  <c:v>0.03</c:v>
                </c:pt>
                <c:pt idx="255">
                  <c:v>0.01</c:v>
                </c:pt>
                <c:pt idx="256">
                  <c:v>0.02</c:v>
                </c:pt>
                <c:pt idx="257">
                  <c:v>0.01</c:v>
                </c:pt>
                <c:pt idx="258">
                  <c:v>0.02</c:v>
                </c:pt>
                <c:pt idx="259">
                  <c:v>0.02</c:v>
                </c:pt>
                <c:pt idx="260">
                  <c:v>0.02</c:v>
                </c:pt>
                <c:pt idx="261">
                  <c:v>0.02</c:v>
                </c:pt>
                <c:pt idx="262">
                  <c:v>0.04</c:v>
                </c:pt>
                <c:pt idx="263">
                  <c:v>0.03</c:v>
                </c:pt>
                <c:pt idx="264">
                  <c:v>0.05</c:v>
                </c:pt>
                <c:pt idx="265">
                  <c:v>0.04</c:v>
                </c:pt>
                <c:pt idx="266">
                  <c:v>0.01</c:v>
                </c:pt>
                <c:pt idx="267">
                  <c:v>0.03</c:v>
                </c:pt>
                <c:pt idx="268">
                  <c:v>0.03</c:v>
                </c:pt>
                <c:pt idx="269">
                  <c:v>0.01</c:v>
                </c:pt>
                <c:pt idx="270">
                  <c:v>0.02</c:v>
                </c:pt>
                <c:pt idx="271">
                  <c:v>0.01</c:v>
                </c:pt>
                <c:pt idx="272">
                  <c:v>0.01</c:v>
                </c:pt>
                <c:pt idx="273">
                  <c:v>0.01</c:v>
                </c:pt>
                <c:pt idx="274">
                  <c:v>0.06</c:v>
                </c:pt>
                <c:pt idx="275">
                  <c:v>0.02</c:v>
                </c:pt>
                <c:pt idx="276">
                  <c:v>0.01</c:v>
                </c:pt>
                <c:pt idx="277">
                  <c:v>0.01</c:v>
                </c:pt>
                <c:pt idx="278">
                  <c:v>0.01</c:v>
                </c:pt>
                <c:pt idx="279">
                  <c:v>0.02</c:v>
                </c:pt>
                <c:pt idx="280">
                  <c:v>0.02</c:v>
                </c:pt>
                <c:pt idx="281">
                  <c:v>0.03</c:v>
                </c:pt>
                <c:pt idx="282">
                  <c:v>0.02</c:v>
                </c:pt>
                <c:pt idx="283">
                  <c:v>0.02</c:v>
                </c:pt>
                <c:pt idx="284">
                  <c:v>0.01</c:v>
                </c:pt>
                <c:pt idx="285">
                  <c:v>0.04</c:v>
                </c:pt>
                <c:pt idx="286">
                  <c:v>0.02</c:v>
                </c:pt>
                <c:pt idx="287">
                  <c:v>0.02</c:v>
                </c:pt>
                <c:pt idx="288">
                  <c:v>0.01</c:v>
                </c:pt>
                <c:pt idx="289">
                  <c:v>0.02</c:v>
                </c:pt>
                <c:pt idx="290">
                  <c:v>7.0000000000000007E-2</c:v>
                </c:pt>
                <c:pt idx="291">
                  <c:v>0.04</c:v>
                </c:pt>
                <c:pt idx="292">
                  <c:v>0.01</c:v>
                </c:pt>
                <c:pt idx="293">
                  <c:v>0.02</c:v>
                </c:pt>
                <c:pt idx="294">
                  <c:v>0.01</c:v>
                </c:pt>
                <c:pt idx="295">
                  <c:v>0.03</c:v>
                </c:pt>
                <c:pt idx="296">
                  <c:v>0.01</c:v>
                </c:pt>
                <c:pt idx="297">
                  <c:v>0.01</c:v>
                </c:pt>
                <c:pt idx="298">
                  <c:v>0.01</c:v>
                </c:pt>
                <c:pt idx="299">
                  <c:v>0.02</c:v>
                </c:pt>
                <c:pt idx="300">
                  <c:v>0.01</c:v>
                </c:pt>
                <c:pt idx="301">
                  <c:v>0.01</c:v>
                </c:pt>
                <c:pt idx="302">
                  <c:v>0.04</c:v>
                </c:pt>
                <c:pt idx="303">
                  <c:v>0.05</c:v>
                </c:pt>
                <c:pt idx="304">
                  <c:v>0.02</c:v>
                </c:pt>
                <c:pt idx="305">
                  <c:v>0.02</c:v>
                </c:pt>
                <c:pt idx="306">
                  <c:v>0.02</c:v>
                </c:pt>
                <c:pt idx="307">
                  <c:v>0.01</c:v>
                </c:pt>
                <c:pt idx="308">
                  <c:v>0.02</c:v>
                </c:pt>
                <c:pt idx="309">
                  <c:v>0.01</c:v>
                </c:pt>
                <c:pt idx="310">
                  <c:v>0.02</c:v>
                </c:pt>
                <c:pt idx="311">
                  <c:v>0.01</c:v>
                </c:pt>
                <c:pt idx="312">
                  <c:v>0.02</c:v>
                </c:pt>
                <c:pt idx="313">
                  <c:v>0.01</c:v>
                </c:pt>
                <c:pt idx="314">
                  <c:v>0.01</c:v>
                </c:pt>
                <c:pt idx="315">
                  <c:v>0.02</c:v>
                </c:pt>
                <c:pt idx="316">
                  <c:v>0.01</c:v>
                </c:pt>
                <c:pt idx="317">
                  <c:v>0.02</c:v>
                </c:pt>
                <c:pt idx="318">
                  <c:v>0.01</c:v>
                </c:pt>
                <c:pt idx="319">
                  <c:v>0.01</c:v>
                </c:pt>
                <c:pt idx="320">
                  <c:v>0.01</c:v>
                </c:pt>
                <c:pt idx="321">
                  <c:v>0.02</c:v>
                </c:pt>
                <c:pt idx="322">
                  <c:v>0.01</c:v>
                </c:pt>
                <c:pt idx="323">
                  <c:v>0.01</c:v>
                </c:pt>
                <c:pt idx="324">
                  <c:v>0.01</c:v>
                </c:pt>
                <c:pt idx="325">
                  <c:v>0.01</c:v>
                </c:pt>
                <c:pt idx="326">
                  <c:v>0.01</c:v>
                </c:pt>
                <c:pt idx="327">
                  <c:v>0.01</c:v>
                </c:pt>
                <c:pt idx="328">
                  <c:v>0.01</c:v>
                </c:pt>
                <c:pt idx="329">
                  <c:v>0.01</c:v>
                </c:pt>
                <c:pt idx="330">
                  <c:v>0.02</c:v>
                </c:pt>
                <c:pt idx="331">
                  <c:v>0.01</c:v>
                </c:pt>
                <c:pt idx="332">
                  <c:v>0.01</c:v>
                </c:pt>
                <c:pt idx="333">
                  <c:v>0.01</c:v>
                </c:pt>
                <c:pt idx="334">
                  <c:v>0.04</c:v>
                </c:pt>
                <c:pt idx="335">
                  <c:v>0.01</c:v>
                </c:pt>
                <c:pt idx="336">
                  <c:v>0.01</c:v>
                </c:pt>
                <c:pt idx="337">
                  <c:v>0.01</c:v>
                </c:pt>
                <c:pt idx="338">
                  <c:v>0.01</c:v>
                </c:pt>
                <c:pt idx="339">
                  <c:v>0.01</c:v>
                </c:pt>
                <c:pt idx="340">
                  <c:v>0.01</c:v>
                </c:pt>
                <c:pt idx="341">
                  <c:v>0.03</c:v>
                </c:pt>
                <c:pt idx="342">
                  <c:v>0.01</c:v>
                </c:pt>
                <c:pt idx="343">
                  <c:v>0.01</c:v>
                </c:pt>
                <c:pt idx="344">
                  <c:v>0.01</c:v>
                </c:pt>
                <c:pt idx="345">
                  <c:v>0.01</c:v>
                </c:pt>
                <c:pt idx="346">
                  <c:v>0.01</c:v>
                </c:pt>
                <c:pt idx="347">
                  <c:v>0.02</c:v>
                </c:pt>
                <c:pt idx="348">
                  <c:v>0.03</c:v>
                </c:pt>
                <c:pt idx="349">
                  <c:v>0.01</c:v>
                </c:pt>
                <c:pt idx="350">
                  <c:v>0.02</c:v>
                </c:pt>
                <c:pt idx="351">
                  <c:v>0.01</c:v>
                </c:pt>
                <c:pt idx="352">
                  <c:v>0.02</c:v>
                </c:pt>
                <c:pt idx="353">
                  <c:v>0.01</c:v>
                </c:pt>
                <c:pt idx="354">
                  <c:v>0.01</c:v>
                </c:pt>
                <c:pt idx="355">
                  <c:v>0.01</c:v>
                </c:pt>
                <c:pt idx="356">
                  <c:v>0.01</c:v>
                </c:pt>
                <c:pt idx="357">
                  <c:v>0.01</c:v>
                </c:pt>
                <c:pt idx="358">
                  <c:v>0.02</c:v>
                </c:pt>
                <c:pt idx="359">
                  <c:v>0.03</c:v>
                </c:pt>
                <c:pt idx="360">
                  <c:v>0.01</c:v>
                </c:pt>
                <c:pt idx="361">
                  <c:v>0.01</c:v>
                </c:pt>
                <c:pt idx="362">
                  <c:v>0.01</c:v>
                </c:pt>
                <c:pt idx="363">
                  <c:v>0.02</c:v>
                </c:pt>
                <c:pt idx="364">
                  <c:v>0.02</c:v>
                </c:pt>
                <c:pt idx="365">
                  <c:v>0.01</c:v>
                </c:pt>
                <c:pt idx="366">
                  <c:v>0.01</c:v>
                </c:pt>
                <c:pt idx="367">
                  <c:v>0.01</c:v>
                </c:pt>
                <c:pt idx="368">
                  <c:v>0.01</c:v>
                </c:pt>
                <c:pt idx="369">
                  <c:v>0.03</c:v>
                </c:pt>
                <c:pt idx="370">
                  <c:v>0.01</c:v>
                </c:pt>
                <c:pt idx="371">
                  <c:v>0.01</c:v>
                </c:pt>
                <c:pt idx="372">
                  <c:v>0.01</c:v>
                </c:pt>
                <c:pt idx="373">
                  <c:v>0.02</c:v>
                </c:pt>
                <c:pt idx="374">
                  <c:v>0.01</c:v>
                </c:pt>
                <c:pt idx="375">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7ECAC4"/>
              </a:solidFill>
            </c:spPr>
            <c:extLst>
              <c:ext xmlns:c16="http://schemas.microsoft.com/office/drawing/2014/chart" uri="{C3380CC4-5D6E-409C-BE32-E72D297353CC}">
                <c16:uniqueId val="{00000074-C76F-4230-900D-40618C09729F}"/>
              </c:ext>
            </c:extLst>
          </c:dPt>
          <c:dPt>
            <c:idx val="56"/>
            <c:invertIfNegative val="0"/>
            <c:bubble3D val="0"/>
            <c:spPr>
              <a:solidFill>
                <a:srgbClr val="7ECAC4"/>
              </a:solidFill>
            </c:spPr>
            <c:extLst>
              <c:ext xmlns:c16="http://schemas.microsoft.com/office/drawing/2014/chart" uri="{C3380CC4-5D6E-409C-BE32-E72D297353CC}">
                <c16:uniqueId val="{00000076-C76F-4230-900D-40618C09729F}"/>
              </c:ext>
            </c:extLst>
          </c:dPt>
          <c:dPt>
            <c:idx val="57"/>
            <c:invertIfNegative val="0"/>
            <c:bubble3D val="0"/>
            <c:spPr>
              <a:solidFill>
                <a:srgbClr val="7ECAC4"/>
              </a:solidFill>
            </c:spPr>
            <c:extLst>
              <c:ext xmlns:c16="http://schemas.microsoft.com/office/drawing/2014/chart" uri="{C3380CC4-5D6E-409C-BE32-E72D297353CC}">
                <c16:uniqueId val="{00000078-C76F-4230-900D-40618C09729F}"/>
              </c:ext>
            </c:extLst>
          </c:dPt>
          <c:dPt>
            <c:idx val="58"/>
            <c:invertIfNegative val="0"/>
            <c:bubble3D val="0"/>
            <c:spPr>
              <a:solidFill>
                <a:srgbClr val="7ECAC4"/>
              </a:solidFill>
            </c:spPr>
            <c:extLst>
              <c:ext xmlns:c16="http://schemas.microsoft.com/office/drawing/2014/chart" uri="{C3380CC4-5D6E-409C-BE32-E72D297353CC}">
                <c16:uniqueId val="{0000007A-C76F-4230-900D-40618C09729F}"/>
              </c:ext>
            </c:extLst>
          </c:dPt>
          <c:dPt>
            <c:idx val="59"/>
            <c:invertIfNegative val="0"/>
            <c:bubble3D val="0"/>
            <c:spPr>
              <a:solidFill>
                <a:srgbClr val="7ECAC4"/>
              </a:solidFill>
            </c:spPr>
            <c:extLst>
              <c:ext xmlns:c16="http://schemas.microsoft.com/office/drawing/2014/chart" uri="{C3380CC4-5D6E-409C-BE32-E72D297353CC}">
                <c16:uniqueId val="{0000007C-C76F-4230-900D-40618C09729F}"/>
              </c:ext>
            </c:extLst>
          </c:dPt>
          <c:dPt>
            <c:idx val="60"/>
            <c:invertIfNegative val="0"/>
            <c:bubble3D val="0"/>
            <c:spPr>
              <a:solidFill>
                <a:srgbClr val="7ECAC4"/>
              </a:solidFill>
            </c:spPr>
            <c:extLst>
              <c:ext xmlns:c16="http://schemas.microsoft.com/office/drawing/2014/chart" uri="{C3380CC4-5D6E-409C-BE32-E72D297353CC}">
                <c16:uniqueId val="{0000007E-C76F-4230-900D-40618C09729F}"/>
              </c:ext>
            </c:extLst>
          </c:dPt>
          <c:dPt>
            <c:idx val="61"/>
            <c:invertIfNegative val="0"/>
            <c:bubble3D val="0"/>
            <c:spPr>
              <a:solidFill>
                <a:srgbClr val="7ECAC4"/>
              </a:solidFill>
            </c:spPr>
            <c:extLst>
              <c:ext xmlns:c16="http://schemas.microsoft.com/office/drawing/2014/chart" uri="{C3380CC4-5D6E-409C-BE32-E72D297353CC}">
                <c16:uniqueId val="{00000080-C76F-4230-900D-40618C09729F}"/>
              </c:ext>
            </c:extLst>
          </c:dPt>
          <c:dPt>
            <c:idx val="62"/>
            <c:invertIfNegative val="0"/>
            <c:bubble3D val="0"/>
            <c:spPr>
              <a:solidFill>
                <a:srgbClr val="7ECAC4"/>
              </a:solidFill>
            </c:spPr>
            <c:extLst>
              <c:ext xmlns:c16="http://schemas.microsoft.com/office/drawing/2014/chart" uri="{C3380CC4-5D6E-409C-BE32-E72D297353CC}">
                <c16:uniqueId val="{00000082-C76F-4230-900D-40618C09729F}"/>
              </c:ext>
            </c:extLst>
          </c:dPt>
          <c:dPt>
            <c:idx val="63"/>
            <c:invertIfNegative val="0"/>
            <c:bubble3D val="0"/>
            <c:spPr>
              <a:solidFill>
                <a:srgbClr val="7ECAC4"/>
              </a:solidFill>
            </c:spPr>
            <c:extLst>
              <c:ext xmlns:c16="http://schemas.microsoft.com/office/drawing/2014/chart" uri="{C3380CC4-5D6E-409C-BE32-E72D297353CC}">
                <c16:uniqueId val="{00000084-C76F-4230-900D-40618C09729F}"/>
              </c:ext>
            </c:extLst>
          </c:dPt>
          <c:dPt>
            <c:idx val="64"/>
            <c:invertIfNegative val="0"/>
            <c:bubble3D val="0"/>
            <c:spPr>
              <a:solidFill>
                <a:srgbClr val="7ECAC4"/>
              </a:solidFill>
            </c:spPr>
            <c:extLst>
              <c:ext xmlns:c16="http://schemas.microsoft.com/office/drawing/2014/chart" uri="{C3380CC4-5D6E-409C-BE32-E72D297353CC}">
                <c16:uniqueId val="{00000086-C76F-4230-900D-40618C09729F}"/>
              </c:ext>
            </c:extLst>
          </c:dPt>
          <c:dPt>
            <c:idx val="65"/>
            <c:invertIfNegative val="0"/>
            <c:bubble3D val="0"/>
            <c:spPr>
              <a:solidFill>
                <a:srgbClr val="7ECAC4"/>
              </a:solidFill>
            </c:spPr>
            <c:extLst>
              <c:ext xmlns:c16="http://schemas.microsoft.com/office/drawing/2014/chart" uri="{C3380CC4-5D6E-409C-BE32-E72D297353CC}">
                <c16:uniqueId val="{00000088-C76F-4230-900D-40618C09729F}"/>
              </c:ext>
            </c:extLst>
          </c:dPt>
          <c:dPt>
            <c:idx val="66"/>
            <c:invertIfNegative val="0"/>
            <c:bubble3D val="0"/>
            <c:spPr>
              <a:solidFill>
                <a:srgbClr val="7ECAC4"/>
              </a:solidFill>
            </c:spPr>
            <c:extLst>
              <c:ext xmlns:c16="http://schemas.microsoft.com/office/drawing/2014/chart" uri="{C3380CC4-5D6E-409C-BE32-E72D297353CC}">
                <c16:uniqueId val="{0000008A-C76F-4230-900D-40618C09729F}"/>
              </c:ext>
            </c:extLst>
          </c:dPt>
          <c:dPt>
            <c:idx val="67"/>
            <c:invertIfNegative val="0"/>
            <c:bubble3D val="0"/>
            <c:spPr>
              <a:solidFill>
                <a:srgbClr val="7ECAC4"/>
              </a:solidFill>
            </c:spPr>
            <c:extLst>
              <c:ext xmlns:c16="http://schemas.microsoft.com/office/drawing/2014/chart" uri="{C3380CC4-5D6E-409C-BE32-E72D297353CC}">
                <c16:uniqueId val="{0000008C-C76F-4230-900D-40618C09729F}"/>
              </c:ext>
            </c:extLst>
          </c:dPt>
          <c:dPt>
            <c:idx val="68"/>
            <c:invertIfNegative val="0"/>
            <c:bubble3D val="0"/>
            <c:spPr>
              <a:solidFill>
                <a:srgbClr val="7ECAC4"/>
              </a:solidFill>
            </c:spPr>
            <c:extLst>
              <c:ext xmlns:c16="http://schemas.microsoft.com/office/drawing/2014/chart" uri="{C3380CC4-5D6E-409C-BE32-E72D297353CC}">
                <c16:uniqueId val="{0000008E-C76F-4230-900D-40618C09729F}"/>
              </c:ext>
            </c:extLst>
          </c:dPt>
          <c:dPt>
            <c:idx val="69"/>
            <c:invertIfNegative val="0"/>
            <c:bubble3D val="0"/>
            <c:spPr>
              <a:solidFill>
                <a:srgbClr val="7ECAC4"/>
              </a:solidFill>
            </c:spPr>
            <c:extLst>
              <c:ext xmlns:c16="http://schemas.microsoft.com/office/drawing/2014/chart" uri="{C3380CC4-5D6E-409C-BE32-E72D297353CC}">
                <c16:uniqueId val="{00000090-C76F-4230-900D-40618C09729F}"/>
              </c:ext>
            </c:extLst>
          </c:dPt>
          <c:dPt>
            <c:idx val="70"/>
            <c:invertIfNegative val="0"/>
            <c:bubble3D val="0"/>
            <c:spPr>
              <a:solidFill>
                <a:srgbClr val="7ECAC4"/>
              </a:solidFill>
            </c:spPr>
            <c:extLst>
              <c:ext xmlns:c16="http://schemas.microsoft.com/office/drawing/2014/chart" uri="{C3380CC4-5D6E-409C-BE32-E72D297353CC}">
                <c16:uniqueId val="{00000092-C76F-4230-900D-40618C09729F}"/>
              </c:ext>
            </c:extLst>
          </c:dPt>
          <c:dPt>
            <c:idx val="71"/>
            <c:invertIfNegative val="0"/>
            <c:bubble3D val="0"/>
            <c:spPr>
              <a:solidFill>
                <a:srgbClr val="7ECAC4"/>
              </a:solidFill>
            </c:spPr>
            <c:extLst>
              <c:ext xmlns:c16="http://schemas.microsoft.com/office/drawing/2014/chart" uri="{C3380CC4-5D6E-409C-BE32-E72D297353CC}">
                <c16:uniqueId val="{00000094-C76F-4230-900D-40618C09729F}"/>
              </c:ext>
            </c:extLst>
          </c:dPt>
          <c:dPt>
            <c:idx val="72"/>
            <c:invertIfNegative val="0"/>
            <c:bubble3D val="0"/>
            <c:spPr>
              <a:solidFill>
                <a:srgbClr val="7ECAC4"/>
              </a:solidFill>
            </c:spPr>
            <c:extLst>
              <c:ext xmlns:c16="http://schemas.microsoft.com/office/drawing/2014/chart" uri="{C3380CC4-5D6E-409C-BE32-E72D297353CC}">
                <c16:uniqueId val="{00000096-C76F-4230-900D-40618C09729F}"/>
              </c:ext>
            </c:extLst>
          </c:dPt>
          <c:dPt>
            <c:idx val="73"/>
            <c:invertIfNegative val="0"/>
            <c:bubble3D val="0"/>
            <c:spPr>
              <a:solidFill>
                <a:srgbClr val="7ECAC4"/>
              </a:solidFill>
            </c:spPr>
            <c:extLst>
              <c:ext xmlns:c16="http://schemas.microsoft.com/office/drawing/2014/chart" uri="{C3380CC4-5D6E-409C-BE32-E72D297353CC}">
                <c16:uniqueId val="{00000098-C76F-4230-900D-40618C09729F}"/>
              </c:ext>
            </c:extLst>
          </c:dPt>
          <c:dPt>
            <c:idx val="74"/>
            <c:invertIfNegative val="0"/>
            <c:bubble3D val="0"/>
            <c:spPr>
              <a:solidFill>
                <a:srgbClr val="7ECAC4"/>
              </a:solidFill>
            </c:spPr>
            <c:extLst>
              <c:ext xmlns:c16="http://schemas.microsoft.com/office/drawing/2014/chart" uri="{C3380CC4-5D6E-409C-BE32-E72D297353CC}">
                <c16:uniqueId val="{0000009A-C76F-4230-900D-40618C09729F}"/>
              </c:ext>
            </c:extLst>
          </c:dPt>
          <c:dPt>
            <c:idx val="75"/>
            <c:invertIfNegative val="0"/>
            <c:bubble3D val="0"/>
            <c:spPr>
              <a:solidFill>
                <a:srgbClr val="7ECAC4"/>
              </a:solidFill>
            </c:spPr>
            <c:extLst>
              <c:ext xmlns:c16="http://schemas.microsoft.com/office/drawing/2014/chart" uri="{C3380CC4-5D6E-409C-BE32-E72D297353CC}">
                <c16:uniqueId val="{0000009C-C76F-4230-900D-40618C09729F}"/>
              </c:ext>
            </c:extLst>
          </c:dPt>
          <c:dPt>
            <c:idx val="76"/>
            <c:invertIfNegative val="0"/>
            <c:bubble3D val="0"/>
            <c:spPr>
              <a:solidFill>
                <a:srgbClr val="7ECAC4"/>
              </a:solidFill>
            </c:spPr>
            <c:extLst>
              <c:ext xmlns:c16="http://schemas.microsoft.com/office/drawing/2014/chart" uri="{C3380CC4-5D6E-409C-BE32-E72D297353CC}">
                <c16:uniqueId val="{0000009E-C76F-4230-900D-40618C09729F}"/>
              </c:ext>
            </c:extLst>
          </c:dPt>
          <c:dPt>
            <c:idx val="77"/>
            <c:invertIfNegative val="0"/>
            <c:bubble3D val="0"/>
            <c:spPr>
              <a:solidFill>
                <a:srgbClr val="7ECAC4"/>
              </a:solidFill>
            </c:spPr>
            <c:extLst>
              <c:ext xmlns:c16="http://schemas.microsoft.com/office/drawing/2014/chart" uri="{C3380CC4-5D6E-409C-BE32-E72D297353CC}">
                <c16:uniqueId val="{000000A0-C76F-4230-900D-40618C09729F}"/>
              </c:ext>
            </c:extLst>
          </c:dPt>
          <c:dPt>
            <c:idx val="78"/>
            <c:invertIfNegative val="0"/>
            <c:bubble3D val="0"/>
            <c:spPr>
              <a:solidFill>
                <a:srgbClr val="7ECAC4"/>
              </a:solidFill>
            </c:spPr>
            <c:extLst>
              <c:ext xmlns:c16="http://schemas.microsoft.com/office/drawing/2014/chart" uri="{C3380CC4-5D6E-409C-BE32-E72D297353CC}">
                <c16:uniqueId val="{000000A2-C76F-4230-900D-40618C09729F}"/>
              </c:ext>
            </c:extLst>
          </c:dPt>
          <c:dPt>
            <c:idx val="79"/>
            <c:invertIfNegative val="0"/>
            <c:bubble3D val="0"/>
            <c:spPr>
              <a:solidFill>
                <a:srgbClr val="7ECAC4"/>
              </a:solidFill>
            </c:spPr>
            <c:extLst>
              <c:ext xmlns:c16="http://schemas.microsoft.com/office/drawing/2014/chart" uri="{C3380CC4-5D6E-409C-BE32-E72D297353CC}">
                <c16:uniqueId val="{000000A4-C76F-4230-900D-40618C09729F}"/>
              </c:ext>
            </c:extLst>
          </c:dPt>
          <c:dPt>
            <c:idx val="80"/>
            <c:invertIfNegative val="0"/>
            <c:bubble3D val="0"/>
            <c:spPr>
              <a:solidFill>
                <a:srgbClr val="7ECAC4"/>
              </a:solidFill>
            </c:spPr>
            <c:extLst>
              <c:ext xmlns:c16="http://schemas.microsoft.com/office/drawing/2014/chart" uri="{C3380CC4-5D6E-409C-BE32-E72D297353CC}">
                <c16:uniqueId val="{000000A6-C76F-4230-900D-40618C09729F}"/>
              </c:ext>
            </c:extLst>
          </c:dPt>
          <c:dPt>
            <c:idx val="81"/>
            <c:invertIfNegative val="1"/>
            <c:bubble3D val="0"/>
            <c:spPr>
              <a:solidFill>
                <a:srgbClr val="7ECAC4"/>
              </a:solidFill>
            </c:spPr>
            <c:extLst>
              <c:ext xmlns:c16="http://schemas.microsoft.com/office/drawing/2014/chart" uri="{C3380CC4-5D6E-409C-BE32-E72D297353CC}">
                <c16:uniqueId val="{000000A5-2993-41DE-A2CB-63102DE87051}"/>
              </c:ext>
            </c:extLst>
          </c:dPt>
          <c:dPt>
            <c:idx val="82"/>
            <c:invertIfNegative val="1"/>
            <c:bubble3D val="0"/>
            <c:spPr>
              <a:solidFill>
                <a:srgbClr val="7ECAC4"/>
              </a:solidFill>
            </c:spPr>
            <c:extLst>
              <c:ext xmlns:c16="http://schemas.microsoft.com/office/drawing/2014/chart" uri="{C3380CC4-5D6E-409C-BE32-E72D297353CC}">
                <c16:uniqueId val="{000000A7-2993-41DE-A2CB-63102DE87051}"/>
              </c:ext>
            </c:extLst>
          </c:dPt>
          <c:dPt>
            <c:idx val="83"/>
            <c:invertIfNegative val="1"/>
            <c:bubble3D val="0"/>
            <c:spPr>
              <a:solidFill>
                <a:srgbClr val="7ECAC4"/>
              </a:solidFill>
            </c:spPr>
            <c:extLst>
              <c:ext xmlns:c16="http://schemas.microsoft.com/office/drawing/2014/chart" uri="{C3380CC4-5D6E-409C-BE32-E72D297353CC}">
                <c16:uniqueId val="{000000A9-2993-41DE-A2CB-63102DE87051}"/>
              </c:ext>
            </c:extLst>
          </c:dPt>
          <c:dPt>
            <c:idx val="84"/>
            <c:invertIfNegative val="1"/>
            <c:bubble3D val="0"/>
            <c:spPr>
              <a:solidFill>
                <a:srgbClr val="7ECAC4"/>
              </a:solidFill>
            </c:spPr>
            <c:extLst>
              <c:ext xmlns:c16="http://schemas.microsoft.com/office/drawing/2014/chart" uri="{C3380CC4-5D6E-409C-BE32-E72D297353CC}">
                <c16:uniqueId val="{000000AB-2993-41DE-A2CB-63102DE87051}"/>
              </c:ext>
            </c:extLst>
          </c:dPt>
          <c:dPt>
            <c:idx val="85"/>
            <c:invertIfNegative val="1"/>
            <c:bubble3D val="0"/>
            <c:spPr>
              <a:solidFill>
                <a:srgbClr val="7ECAC4"/>
              </a:solidFill>
            </c:spPr>
            <c:extLst>
              <c:ext xmlns:c16="http://schemas.microsoft.com/office/drawing/2014/chart" uri="{C3380CC4-5D6E-409C-BE32-E72D297353CC}">
                <c16:uniqueId val="{000000AD-2993-41DE-A2CB-63102DE87051}"/>
              </c:ext>
            </c:extLst>
          </c:dPt>
          <c:dPt>
            <c:idx val="86"/>
            <c:invertIfNegative val="1"/>
            <c:bubble3D val="0"/>
            <c:spPr>
              <a:solidFill>
                <a:srgbClr val="7ECAC4"/>
              </a:solidFill>
            </c:spPr>
            <c:extLst>
              <c:ext xmlns:c16="http://schemas.microsoft.com/office/drawing/2014/chart" uri="{C3380CC4-5D6E-409C-BE32-E72D297353CC}">
                <c16:uniqueId val="{000000AF-2993-41DE-A2CB-63102DE87051}"/>
              </c:ext>
            </c:extLst>
          </c:dPt>
          <c:dPt>
            <c:idx val="87"/>
            <c:invertIfNegative val="1"/>
            <c:bubble3D val="0"/>
            <c:spPr>
              <a:solidFill>
                <a:srgbClr val="7ECAC4"/>
              </a:solidFill>
            </c:spPr>
            <c:extLst>
              <c:ext xmlns:c16="http://schemas.microsoft.com/office/drawing/2014/chart" uri="{C3380CC4-5D6E-409C-BE32-E72D297353CC}">
                <c16:uniqueId val="{000000B1-2993-41DE-A2CB-63102DE87051}"/>
              </c:ext>
            </c:extLst>
          </c:dPt>
          <c:dPt>
            <c:idx val="88"/>
            <c:invertIfNegative val="1"/>
            <c:bubble3D val="0"/>
            <c:spPr>
              <a:solidFill>
                <a:srgbClr val="7ECAC4"/>
              </a:solidFill>
            </c:spPr>
            <c:extLst>
              <c:ext xmlns:c16="http://schemas.microsoft.com/office/drawing/2014/chart" uri="{C3380CC4-5D6E-409C-BE32-E72D297353CC}">
                <c16:uniqueId val="{000000B3-2993-41DE-A2CB-63102DE87051}"/>
              </c:ext>
            </c:extLst>
          </c:dPt>
          <c:dPt>
            <c:idx val="89"/>
            <c:invertIfNegative val="1"/>
            <c:bubble3D val="0"/>
            <c:spPr>
              <a:solidFill>
                <a:srgbClr val="7ECAC4"/>
              </a:solidFill>
            </c:spPr>
            <c:extLst>
              <c:ext xmlns:c16="http://schemas.microsoft.com/office/drawing/2014/chart" uri="{C3380CC4-5D6E-409C-BE32-E72D297353CC}">
                <c16:uniqueId val="{000000B5-2993-41DE-A2CB-63102DE87051}"/>
              </c:ext>
            </c:extLst>
          </c:dPt>
          <c:dPt>
            <c:idx val="90"/>
            <c:invertIfNegative val="1"/>
            <c:bubble3D val="0"/>
            <c:spPr>
              <a:solidFill>
                <a:srgbClr val="7ECAC4"/>
              </a:solidFill>
            </c:spPr>
            <c:extLst>
              <c:ext xmlns:c16="http://schemas.microsoft.com/office/drawing/2014/chart" uri="{C3380CC4-5D6E-409C-BE32-E72D297353CC}">
                <c16:uniqueId val="{000000B7-2993-41DE-A2CB-63102DE87051}"/>
              </c:ext>
            </c:extLst>
          </c:dPt>
          <c:dPt>
            <c:idx val="91"/>
            <c:invertIfNegative val="1"/>
            <c:bubble3D val="0"/>
            <c:spPr>
              <a:solidFill>
                <a:srgbClr val="7ECAC4"/>
              </a:solidFill>
            </c:spPr>
            <c:extLst>
              <c:ext xmlns:c16="http://schemas.microsoft.com/office/drawing/2014/chart" uri="{C3380CC4-5D6E-409C-BE32-E72D297353CC}">
                <c16:uniqueId val="{000000B9-2993-41DE-A2CB-63102DE87051}"/>
              </c:ext>
            </c:extLst>
          </c:dPt>
          <c:dPt>
            <c:idx val="92"/>
            <c:invertIfNegative val="1"/>
            <c:bubble3D val="0"/>
            <c:spPr>
              <a:solidFill>
                <a:srgbClr val="7ECAC4"/>
              </a:solidFill>
            </c:spPr>
            <c:extLst>
              <c:ext xmlns:c16="http://schemas.microsoft.com/office/drawing/2014/chart" uri="{C3380CC4-5D6E-409C-BE32-E72D297353CC}">
                <c16:uniqueId val="{000000BB-2993-41DE-A2CB-63102DE87051}"/>
              </c:ext>
            </c:extLst>
          </c:dPt>
          <c:dPt>
            <c:idx val="93"/>
            <c:invertIfNegative val="1"/>
            <c:bubble3D val="0"/>
            <c:spPr>
              <a:solidFill>
                <a:srgbClr val="7ECAC4"/>
              </a:solidFill>
            </c:spPr>
            <c:extLst>
              <c:ext xmlns:c16="http://schemas.microsoft.com/office/drawing/2014/chart" uri="{C3380CC4-5D6E-409C-BE32-E72D297353CC}">
                <c16:uniqueId val="{000000BD-2993-41DE-A2CB-63102DE87051}"/>
              </c:ext>
            </c:extLst>
          </c:dPt>
          <c:dPt>
            <c:idx val="94"/>
            <c:invertIfNegative val="1"/>
            <c:bubble3D val="0"/>
            <c:spPr>
              <a:solidFill>
                <a:srgbClr val="7ECAC4"/>
              </a:solidFill>
            </c:spPr>
            <c:extLst>
              <c:ext xmlns:c16="http://schemas.microsoft.com/office/drawing/2014/chart" uri="{C3380CC4-5D6E-409C-BE32-E72D297353CC}">
                <c16:uniqueId val="{000000BF-2993-41DE-A2CB-63102DE87051}"/>
              </c:ext>
            </c:extLst>
          </c:dPt>
          <c:dPt>
            <c:idx val="95"/>
            <c:invertIfNegative val="1"/>
            <c:bubble3D val="0"/>
            <c:spPr>
              <a:solidFill>
                <a:srgbClr val="7ECAC4"/>
              </a:solidFill>
            </c:spPr>
            <c:extLst>
              <c:ext xmlns:c16="http://schemas.microsoft.com/office/drawing/2014/chart" uri="{C3380CC4-5D6E-409C-BE32-E72D297353CC}">
                <c16:uniqueId val="{000000C1-2993-41DE-A2CB-63102DE87051}"/>
              </c:ext>
            </c:extLst>
          </c:dPt>
          <c:dPt>
            <c:idx val="96"/>
            <c:invertIfNegative val="1"/>
            <c:bubble3D val="0"/>
            <c:spPr>
              <a:solidFill>
                <a:srgbClr val="7ECAC4"/>
              </a:solidFill>
            </c:spPr>
            <c:extLst>
              <c:ext xmlns:c16="http://schemas.microsoft.com/office/drawing/2014/chart" uri="{C3380CC4-5D6E-409C-BE32-E72D297353CC}">
                <c16:uniqueId val="{000000C3-2993-41DE-A2CB-63102DE87051}"/>
              </c:ext>
            </c:extLst>
          </c:dPt>
          <c:dPt>
            <c:idx val="97"/>
            <c:invertIfNegative val="1"/>
            <c:bubble3D val="0"/>
            <c:spPr>
              <a:solidFill>
                <a:srgbClr val="7ECAC4"/>
              </a:solidFill>
            </c:spPr>
            <c:extLst>
              <c:ext xmlns:c16="http://schemas.microsoft.com/office/drawing/2014/chart" uri="{C3380CC4-5D6E-409C-BE32-E72D297353CC}">
                <c16:uniqueId val="{000000C5-2993-41DE-A2CB-63102DE87051}"/>
              </c:ext>
            </c:extLst>
          </c:dPt>
          <c:dPt>
            <c:idx val="98"/>
            <c:invertIfNegative val="1"/>
            <c:bubble3D val="0"/>
            <c:spPr>
              <a:solidFill>
                <a:srgbClr val="7ECAC4"/>
              </a:solidFill>
            </c:spPr>
            <c:extLst>
              <c:ext xmlns:c16="http://schemas.microsoft.com/office/drawing/2014/chart" uri="{C3380CC4-5D6E-409C-BE32-E72D297353CC}">
                <c16:uniqueId val="{000000C7-2993-41DE-A2CB-63102DE87051}"/>
              </c:ext>
            </c:extLst>
          </c:dPt>
          <c:dPt>
            <c:idx val="99"/>
            <c:invertIfNegative val="1"/>
            <c:bubble3D val="0"/>
            <c:spPr>
              <a:solidFill>
                <a:srgbClr val="7ECAC4"/>
              </a:solidFill>
            </c:spPr>
            <c:extLst>
              <c:ext xmlns:c16="http://schemas.microsoft.com/office/drawing/2014/chart" uri="{C3380CC4-5D6E-409C-BE32-E72D297353CC}">
                <c16:uniqueId val="{000000C9-2993-41DE-A2CB-63102DE87051}"/>
              </c:ext>
            </c:extLst>
          </c:dPt>
          <c:dPt>
            <c:idx val="100"/>
            <c:invertIfNegative val="1"/>
            <c:bubble3D val="0"/>
            <c:spPr>
              <a:solidFill>
                <a:srgbClr val="7ECAC4"/>
              </a:solidFill>
            </c:spPr>
            <c:extLst>
              <c:ext xmlns:c16="http://schemas.microsoft.com/office/drawing/2014/chart" uri="{C3380CC4-5D6E-409C-BE32-E72D297353CC}">
                <c16:uniqueId val="{000000CB-2993-41DE-A2CB-63102DE87051}"/>
              </c:ext>
            </c:extLst>
          </c:dPt>
          <c:dPt>
            <c:idx val="101"/>
            <c:invertIfNegative val="1"/>
            <c:bubble3D val="0"/>
            <c:spPr>
              <a:solidFill>
                <a:srgbClr val="7ECAC4"/>
              </a:solidFill>
            </c:spPr>
            <c:extLst>
              <c:ext xmlns:c16="http://schemas.microsoft.com/office/drawing/2014/chart" uri="{C3380CC4-5D6E-409C-BE32-E72D297353CC}">
                <c16:uniqueId val="{000000CD-2993-41DE-A2CB-63102DE87051}"/>
              </c:ext>
            </c:extLst>
          </c:dPt>
          <c:dPt>
            <c:idx val="102"/>
            <c:invertIfNegative val="1"/>
            <c:bubble3D val="0"/>
            <c:spPr>
              <a:solidFill>
                <a:srgbClr val="7ECAC4"/>
              </a:solidFill>
            </c:spPr>
            <c:extLst>
              <c:ext xmlns:c16="http://schemas.microsoft.com/office/drawing/2014/chart" uri="{C3380CC4-5D6E-409C-BE32-E72D297353CC}">
                <c16:uniqueId val="{000000CF-2993-41DE-A2CB-63102DE87051}"/>
              </c:ext>
            </c:extLst>
          </c:dPt>
          <c:dPt>
            <c:idx val="103"/>
            <c:invertIfNegative val="1"/>
            <c:bubble3D val="0"/>
            <c:spPr>
              <a:solidFill>
                <a:srgbClr val="7ECAC4"/>
              </a:solidFill>
            </c:spPr>
            <c:extLst>
              <c:ext xmlns:c16="http://schemas.microsoft.com/office/drawing/2014/chart" uri="{C3380CC4-5D6E-409C-BE32-E72D297353CC}">
                <c16:uniqueId val="{000000D1-2993-41DE-A2CB-63102DE87051}"/>
              </c:ext>
            </c:extLst>
          </c:dPt>
          <c:dPt>
            <c:idx val="104"/>
            <c:invertIfNegative val="1"/>
            <c:bubble3D val="0"/>
            <c:spPr>
              <a:solidFill>
                <a:srgbClr val="7ECAC4"/>
              </a:solidFill>
            </c:spPr>
            <c:extLst>
              <c:ext xmlns:c16="http://schemas.microsoft.com/office/drawing/2014/chart" uri="{C3380CC4-5D6E-409C-BE32-E72D297353CC}">
                <c16:uniqueId val="{000000D3-2993-41DE-A2CB-63102DE87051}"/>
              </c:ext>
            </c:extLst>
          </c:dPt>
          <c:dPt>
            <c:idx val="105"/>
            <c:invertIfNegative val="1"/>
            <c:bubble3D val="0"/>
            <c:spPr>
              <a:solidFill>
                <a:srgbClr val="7ECAC4"/>
              </a:solidFill>
            </c:spPr>
            <c:extLst>
              <c:ext xmlns:c16="http://schemas.microsoft.com/office/drawing/2014/chart" uri="{C3380CC4-5D6E-409C-BE32-E72D297353CC}">
                <c16:uniqueId val="{000000D5-2993-41DE-A2CB-63102DE87051}"/>
              </c:ext>
            </c:extLst>
          </c:dPt>
          <c:dPt>
            <c:idx val="106"/>
            <c:invertIfNegative val="1"/>
            <c:bubble3D val="0"/>
            <c:spPr>
              <a:solidFill>
                <a:srgbClr val="7ECAC4"/>
              </a:solidFill>
            </c:spPr>
            <c:extLst>
              <c:ext xmlns:c16="http://schemas.microsoft.com/office/drawing/2014/chart" uri="{C3380CC4-5D6E-409C-BE32-E72D297353CC}">
                <c16:uniqueId val="{000000D7-2993-41DE-A2CB-63102DE87051}"/>
              </c:ext>
            </c:extLst>
          </c:dPt>
          <c:dPt>
            <c:idx val="107"/>
            <c:invertIfNegative val="1"/>
            <c:bubble3D val="0"/>
            <c:spPr>
              <a:solidFill>
                <a:srgbClr val="7ECAC4"/>
              </a:solidFill>
            </c:spPr>
            <c:extLst>
              <c:ext xmlns:c16="http://schemas.microsoft.com/office/drawing/2014/chart" uri="{C3380CC4-5D6E-409C-BE32-E72D297353CC}">
                <c16:uniqueId val="{000000D9-2993-41DE-A2CB-63102DE87051}"/>
              </c:ext>
            </c:extLst>
          </c:dPt>
          <c:dPt>
            <c:idx val="108"/>
            <c:invertIfNegative val="1"/>
            <c:bubble3D val="0"/>
            <c:spPr>
              <a:solidFill>
                <a:srgbClr val="7ECAC4"/>
              </a:solidFill>
            </c:spPr>
            <c:extLst>
              <c:ext xmlns:c16="http://schemas.microsoft.com/office/drawing/2014/chart" uri="{C3380CC4-5D6E-409C-BE32-E72D297353CC}">
                <c16:uniqueId val="{000000DB-2993-41DE-A2CB-63102DE87051}"/>
              </c:ext>
            </c:extLst>
          </c:dPt>
          <c:dPt>
            <c:idx val="109"/>
            <c:invertIfNegative val="1"/>
            <c:bubble3D val="0"/>
            <c:spPr>
              <a:solidFill>
                <a:srgbClr val="7ECAC4"/>
              </a:solidFill>
            </c:spPr>
            <c:extLst>
              <c:ext xmlns:c16="http://schemas.microsoft.com/office/drawing/2014/chart" uri="{C3380CC4-5D6E-409C-BE32-E72D297353CC}">
                <c16:uniqueId val="{000000DD-2993-41DE-A2CB-63102DE87051}"/>
              </c:ext>
            </c:extLst>
          </c:dPt>
          <c:dPt>
            <c:idx val="110"/>
            <c:invertIfNegative val="1"/>
            <c:bubble3D val="0"/>
            <c:spPr>
              <a:solidFill>
                <a:srgbClr val="7ECAC4"/>
              </a:solidFill>
            </c:spPr>
            <c:extLst>
              <c:ext xmlns:c16="http://schemas.microsoft.com/office/drawing/2014/chart" uri="{C3380CC4-5D6E-409C-BE32-E72D297353CC}">
                <c16:uniqueId val="{000000DF-2993-41DE-A2CB-63102DE87051}"/>
              </c:ext>
            </c:extLst>
          </c:dPt>
          <c:dPt>
            <c:idx val="111"/>
            <c:invertIfNegative val="1"/>
            <c:bubble3D val="0"/>
            <c:spPr>
              <a:solidFill>
                <a:srgbClr val="7ECAC4"/>
              </a:solidFill>
            </c:spPr>
            <c:extLst>
              <c:ext xmlns:c16="http://schemas.microsoft.com/office/drawing/2014/chart" uri="{C3380CC4-5D6E-409C-BE32-E72D297353CC}">
                <c16:uniqueId val="{000000E1-2993-41DE-A2CB-63102DE87051}"/>
              </c:ext>
            </c:extLst>
          </c:dPt>
          <c:dPt>
            <c:idx val="112"/>
            <c:invertIfNegative val="1"/>
            <c:bubble3D val="0"/>
            <c:spPr>
              <a:solidFill>
                <a:srgbClr val="7ECAC4"/>
              </a:solidFill>
            </c:spPr>
            <c:extLst>
              <c:ext xmlns:c16="http://schemas.microsoft.com/office/drawing/2014/chart" uri="{C3380CC4-5D6E-409C-BE32-E72D297353CC}">
                <c16:uniqueId val="{000000E3-2993-41DE-A2CB-63102DE87051}"/>
              </c:ext>
            </c:extLst>
          </c:dPt>
          <c:dPt>
            <c:idx val="113"/>
            <c:invertIfNegative val="1"/>
            <c:bubble3D val="0"/>
            <c:spPr>
              <a:solidFill>
                <a:srgbClr val="7ECAC4"/>
              </a:solidFill>
            </c:spPr>
            <c:extLst>
              <c:ext xmlns:c16="http://schemas.microsoft.com/office/drawing/2014/chart" uri="{C3380CC4-5D6E-409C-BE32-E72D297353CC}">
                <c16:uniqueId val="{000000E5-2993-41DE-A2CB-63102DE87051}"/>
              </c:ext>
            </c:extLst>
          </c:dPt>
          <c:dPt>
            <c:idx val="114"/>
            <c:invertIfNegative val="1"/>
            <c:bubble3D val="0"/>
            <c:spPr>
              <a:solidFill>
                <a:srgbClr val="7ECAC4"/>
              </a:solidFill>
            </c:spPr>
            <c:extLst>
              <c:ext xmlns:c16="http://schemas.microsoft.com/office/drawing/2014/chart" uri="{C3380CC4-5D6E-409C-BE32-E72D297353CC}">
                <c16:uniqueId val="{000000E7-2993-41DE-A2CB-63102DE87051}"/>
              </c:ext>
            </c:extLst>
          </c:dPt>
          <c:dPt>
            <c:idx val="115"/>
            <c:invertIfNegative val="1"/>
            <c:bubble3D val="0"/>
            <c:spPr>
              <a:solidFill>
                <a:srgbClr val="7ECAC4"/>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AEABAB"/>
              </a:solidFill>
            </c:spPr>
            <c:extLst>
              <c:ext xmlns:c16="http://schemas.microsoft.com/office/drawing/2014/chart" uri="{C3380CC4-5D6E-409C-BE32-E72D297353CC}">
                <c16:uniqueId val="{000000F3-2993-41DE-A2CB-63102DE87051}"/>
              </c:ext>
            </c:extLst>
          </c:dPt>
          <c:dPt>
            <c:idx val="121"/>
            <c:invertIfNegative val="1"/>
            <c:bubble3D val="0"/>
            <c:spPr>
              <a:solidFill>
                <a:srgbClr val="AEABAB"/>
              </a:solidFill>
            </c:spPr>
            <c:extLst>
              <c:ext xmlns:c16="http://schemas.microsoft.com/office/drawing/2014/chart" uri="{C3380CC4-5D6E-409C-BE32-E72D297353CC}">
                <c16:uniqueId val="{000000F5-2993-41DE-A2CB-63102DE87051}"/>
              </c:ext>
            </c:extLst>
          </c:dPt>
          <c:dPt>
            <c:idx val="122"/>
            <c:invertIfNegative val="1"/>
            <c:bubble3D val="0"/>
            <c:spPr>
              <a:solidFill>
                <a:srgbClr val="AEABAB"/>
              </a:solidFill>
            </c:spPr>
            <c:extLst>
              <c:ext xmlns:c16="http://schemas.microsoft.com/office/drawing/2014/chart" uri="{C3380CC4-5D6E-409C-BE32-E72D297353CC}">
                <c16:uniqueId val="{000000F7-2993-41DE-A2CB-63102DE87051}"/>
              </c:ext>
            </c:extLst>
          </c:dPt>
          <c:dPt>
            <c:idx val="123"/>
            <c:invertIfNegative val="1"/>
            <c:bubble3D val="0"/>
            <c:spPr>
              <a:solidFill>
                <a:srgbClr val="AEABAB"/>
              </a:solidFill>
            </c:spPr>
            <c:extLst>
              <c:ext xmlns:c16="http://schemas.microsoft.com/office/drawing/2014/chart" uri="{C3380CC4-5D6E-409C-BE32-E72D297353CC}">
                <c16:uniqueId val="{000000F9-2993-41DE-A2CB-63102DE87051}"/>
              </c:ext>
            </c:extLst>
          </c:dPt>
          <c:dPt>
            <c:idx val="124"/>
            <c:invertIfNegative val="1"/>
            <c:bubble3D val="0"/>
            <c:spPr>
              <a:solidFill>
                <a:srgbClr val="AEABAB"/>
              </a:solidFill>
            </c:spPr>
            <c:extLst>
              <c:ext xmlns:c16="http://schemas.microsoft.com/office/drawing/2014/chart" uri="{C3380CC4-5D6E-409C-BE32-E72D297353CC}">
                <c16:uniqueId val="{000000FB-2993-41DE-A2CB-63102DE87051}"/>
              </c:ext>
            </c:extLst>
          </c:dPt>
          <c:dPt>
            <c:idx val="125"/>
            <c:invertIfNegative val="1"/>
            <c:bubble3D val="0"/>
            <c:spPr>
              <a:solidFill>
                <a:srgbClr val="AEABAB"/>
              </a:solidFill>
            </c:spPr>
            <c:extLst>
              <c:ext xmlns:c16="http://schemas.microsoft.com/office/drawing/2014/chart" uri="{C3380CC4-5D6E-409C-BE32-E72D297353CC}">
                <c16:uniqueId val="{000000FD-2993-41DE-A2CB-63102DE87051}"/>
              </c:ext>
            </c:extLst>
          </c:dPt>
          <c:dPt>
            <c:idx val="126"/>
            <c:invertIfNegative val="1"/>
            <c:bubble3D val="0"/>
            <c:spPr>
              <a:solidFill>
                <a:srgbClr val="AEABAB"/>
              </a:solidFill>
            </c:spPr>
            <c:extLst>
              <c:ext xmlns:c16="http://schemas.microsoft.com/office/drawing/2014/chart" uri="{C3380CC4-5D6E-409C-BE32-E72D297353CC}">
                <c16:uniqueId val="{000000FF-2993-41DE-A2CB-63102DE87051}"/>
              </c:ext>
            </c:extLst>
          </c:dPt>
          <c:dPt>
            <c:idx val="127"/>
            <c:invertIfNegative val="1"/>
            <c:bubble3D val="0"/>
            <c:spPr>
              <a:solidFill>
                <a:srgbClr val="AEABAB"/>
              </a:solidFill>
            </c:spPr>
            <c:extLst>
              <c:ext xmlns:c16="http://schemas.microsoft.com/office/drawing/2014/chart" uri="{C3380CC4-5D6E-409C-BE32-E72D297353CC}">
                <c16:uniqueId val="{00000101-2993-41DE-A2CB-63102DE87051}"/>
              </c:ext>
            </c:extLst>
          </c:dPt>
          <c:dPt>
            <c:idx val="128"/>
            <c:invertIfNegative val="1"/>
            <c:bubble3D val="0"/>
            <c:spPr>
              <a:solidFill>
                <a:srgbClr val="AEABAB"/>
              </a:solidFill>
            </c:spPr>
            <c:extLst>
              <c:ext xmlns:c16="http://schemas.microsoft.com/office/drawing/2014/chart" uri="{C3380CC4-5D6E-409C-BE32-E72D297353CC}">
                <c16:uniqueId val="{00000103-2993-41DE-A2CB-63102DE87051}"/>
              </c:ext>
            </c:extLst>
          </c:dPt>
          <c:dPt>
            <c:idx val="129"/>
            <c:invertIfNegative val="1"/>
            <c:bubble3D val="0"/>
            <c:spPr>
              <a:solidFill>
                <a:srgbClr val="AEABAB"/>
              </a:solidFill>
            </c:spPr>
            <c:extLst>
              <c:ext xmlns:c16="http://schemas.microsoft.com/office/drawing/2014/chart" uri="{C3380CC4-5D6E-409C-BE32-E72D297353CC}">
                <c16:uniqueId val="{00000105-2993-41DE-A2CB-63102DE87051}"/>
              </c:ext>
            </c:extLst>
          </c:dPt>
          <c:dPt>
            <c:idx val="130"/>
            <c:invertIfNegative val="1"/>
            <c:bubble3D val="0"/>
            <c:spPr>
              <a:solidFill>
                <a:srgbClr val="AEABAB"/>
              </a:solidFill>
            </c:spPr>
            <c:extLst>
              <c:ext xmlns:c16="http://schemas.microsoft.com/office/drawing/2014/chart" uri="{C3380CC4-5D6E-409C-BE32-E72D297353CC}">
                <c16:uniqueId val="{00000107-2993-41DE-A2CB-63102DE87051}"/>
              </c:ext>
            </c:extLst>
          </c:dPt>
          <c:dPt>
            <c:idx val="131"/>
            <c:invertIfNegative val="1"/>
            <c:bubble3D val="0"/>
            <c:spPr>
              <a:solidFill>
                <a:srgbClr val="AEABAB"/>
              </a:solidFill>
            </c:spPr>
            <c:extLst>
              <c:ext xmlns:c16="http://schemas.microsoft.com/office/drawing/2014/chart" uri="{C3380CC4-5D6E-409C-BE32-E72D297353CC}">
                <c16:uniqueId val="{00000109-2993-41DE-A2CB-63102DE87051}"/>
              </c:ext>
            </c:extLst>
          </c:dPt>
          <c:dPt>
            <c:idx val="132"/>
            <c:invertIfNegative val="1"/>
            <c:bubble3D val="0"/>
            <c:spPr>
              <a:solidFill>
                <a:srgbClr val="AEABAB"/>
              </a:solidFill>
            </c:spPr>
            <c:extLst>
              <c:ext xmlns:c16="http://schemas.microsoft.com/office/drawing/2014/chart" uri="{C3380CC4-5D6E-409C-BE32-E72D297353CC}">
                <c16:uniqueId val="{0000010B-2993-41DE-A2CB-63102DE87051}"/>
              </c:ext>
            </c:extLst>
          </c:dPt>
          <c:dPt>
            <c:idx val="133"/>
            <c:invertIfNegative val="1"/>
            <c:bubble3D val="0"/>
            <c:spPr>
              <a:solidFill>
                <a:srgbClr val="AEABAB"/>
              </a:solidFill>
            </c:spPr>
            <c:extLst>
              <c:ext xmlns:c16="http://schemas.microsoft.com/office/drawing/2014/chart" uri="{C3380CC4-5D6E-409C-BE32-E72D297353CC}">
                <c16:uniqueId val="{0000010D-2993-41DE-A2CB-63102DE87051}"/>
              </c:ext>
            </c:extLst>
          </c:dPt>
          <c:dPt>
            <c:idx val="134"/>
            <c:invertIfNegative val="1"/>
            <c:bubble3D val="0"/>
            <c:spPr>
              <a:solidFill>
                <a:srgbClr val="AEABAB"/>
              </a:solidFill>
            </c:spPr>
            <c:extLst>
              <c:ext xmlns:c16="http://schemas.microsoft.com/office/drawing/2014/chart" uri="{C3380CC4-5D6E-409C-BE32-E72D297353CC}">
                <c16:uniqueId val="{0000010F-2993-41DE-A2CB-63102DE87051}"/>
              </c:ext>
            </c:extLst>
          </c:dPt>
          <c:dPt>
            <c:idx val="135"/>
            <c:invertIfNegative val="1"/>
            <c:bubble3D val="0"/>
            <c:spPr>
              <a:solidFill>
                <a:srgbClr val="AEABAB"/>
              </a:solidFill>
            </c:spPr>
            <c:extLst>
              <c:ext xmlns:c16="http://schemas.microsoft.com/office/drawing/2014/chart" uri="{C3380CC4-5D6E-409C-BE32-E72D297353CC}">
                <c16:uniqueId val="{00000111-2993-41DE-A2CB-63102DE87051}"/>
              </c:ext>
            </c:extLst>
          </c:dPt>
          <c:dPt>
            <c:idx val="136"/>
            <c:invertIfNegative val="1"/>
            <c:bubble3D val="0"/>
            <c:spPr>
              <a:solidFill>
                <a:srgbClr val="AEABAB"/>
              </a:solidFill>
            </c:spPr>
            <c:extLst>
              <c:ext xmlns:c16="http://schemas.microsoft.com/office/drawing/2014/chart" uri="{C3380CC4-5D6E-409C-BE32-E72D297353CC}">
                <c16:uniqueId val="{00000113-2993-41DE-A2CB-63102DE87051}"/>
              </c:ext>
            </c:extLst>
          </c:dPt>
          <c:dPt>
            <c:idx val="137"/>
            <c:invertIfNegative val="1"/>
            <c:bubble3D val="0"/>
            <c:spPr>
              <a:solidFill>
                <a:srgbClr val="AEABAB"/>
              </a:solidFill>
            </c:spPr>
            <c:extLst>
              <c:ext xmlns:c16="http://schemas.microsoft.com/office/drawing/2014/chart" uri="{C3380CC4-5D6E-409C-BE32-E72D297353CC}">
                <c16:uniqueId val="{00000115-2993-41DE-A2CB-63102DE87051}"/>
              </c:ext>
            </c:extLst>
          </c:dPt>
          <c:dPt>
            <c:idx val="138"/>
            <c:invertIfNegative val="1"/>
            <c:bubble3D val="0"/>
            <c:spPr>
              <a:solidFill>
                <a:srgbClr val="AEABAB"/>
              </a:solidFill>
            </c:spPr>
            <c:extLst>
              <c:ext xmlns:c16="http://schemas.microsoft.com/office/drawing/2014/chart" uri="{C3380CC4-5D6E-409C-BE32-E72D297353CC}">
                <c16:uniqueId val="{00000117-2993-41DE-A2CB-63102DE87051}"/>
              </c:ext>
            </c:extLst>
          </c:dPt>
          <c:dPt>
            <c:idx val="139"/>
            <c:invertIfNegative val="1"/>
            <c:bubble3D val="0"/>
            <c:spPr>
              <a:solidFill>
                <a:srgbClr val="AEABAB"/>
              </a:solidFill>
            </c:spPr>
            <c:extLst>
              <c:ext xmlns:c16="http://schemas.microsoft.com/office/drawing/2014/chart" uri="{C3380CC4-5D6E-409C-BE32-E72D297353CC}">
                <c16:uniqueId val="{00000119-2993-41DE-A2CB-63102DE87051}"/>
              </c:ext>
            </c:extLst>
          </c:dPt>
          <c:dPt>
            <c:idx val="140"/>
            <c:invertIfNegative val="1"/>
            <c:bubble3D val="0"/>
            <c:spPr>
              <a:solidFill>
                <a:srgbClr val="AEABAB"/>
              </a:solidFill>
            </c:spPr>
            <c:extLst>
              <c:ext xmlns:c16="http://schemas.microsoft.com/office/drawing/2014/chart" uri="{C3380CC4-5D6E-409C-BE32-E72D297353CC}">
                <c16:uniqueId val="{0000011B-2993-41DE-A2CB-63102DE87051}"/>
              </c:ext>
            </c:extLst>
          </c:dPt>
          <c:dPt>
            <c:idx val="141"/>
            <c:invertIfNegative val="1"/>
            <c:bubble3D val="0"/>
            <c:spPr>
              <a:solidFill>
                <a:srgbClr val="AEABAB"/>
              </a:solidFill>
            </c:spPr>
            <c:extLst>
              <c:ext xmlns:c16="http://schemas.microsoft.com/office/drawing/2014/chart" uri="{C3380CC4-5D6E-409C-BE32-E72D297353CC}">
                <c16:uniqueId val="{0000011D-2993-41DE-A2CB-63102DE87051}"/>
              </c:ext>
            </c:extLst>
          </c:dPt>
          <c:dPt>
            <c:idx val="142"/>
            <c:invertIfNegative val="1"/>
            <c:bubble3D val="0"/>
            <c:spPr>
              <a:solidFill>
                <a:srgbClr val="AEABAB"/>
              </a:solidFill>
            </c:spPr>
            <c:extLst>
              <c:ext xmlns:c16="http://schemas.microsoft.com/office/drawing/2014/chart" uri="{C3380CC4-5D6E-409C-BE32-E72D297353CC}">
                <c16:uniqueId val="{0000011F-2993-41DE-A2CB-63102DE87051}"/>
              </c:ext>
            </c:extLst>
          </c:dPt>
          <c:dPt>
            <c:idx val="143"/>
            <c:invertIfNegative val="1"/>
            <c:bubble3D val="0"/>
            <c:spPr>
              <a:solidFill>
                <a:srgbClr val="AEABAB"/>
              </a:solidFill>
            </c:spPr>
            <c:extLst>
              <c:ext xmlns:c16="http://schemas.microsoft.com/office/drawing/2014/chart" uri="{C3380CC4-5D6E-409C-BE32-E72D297353CC}">
                <c16:uniqueId val="{00000121-2993-41DE-A2CB-63102DE87051}"/>
              </c:ext>
            </c:extLst>
          </c:dPt>
          <c:dPt>
            <c:idx val="144"/>
            <c:invertIfNegative val="1"/>
            <c:bubble3D val="0"/>
            <c:spPr>
              <a:solidFill>
                <a:srgbClr val="AEABAB"/>
              </a:solidFill>
            </c:spPr>
            <c:extLst>
              <c:ext xmlns:c16="http://schemas.microsoft.com/office/drawing/2014/chart" uri="{C3380CC4-5D6E-409C-BE32-E72D297353CC}">
                <c16:uniqueId val="{00000123-2993-41DE-A2CB-63102DE87051}"/>
              </c:ext>
            </c:extLst>
          </c:dPt>
          <c:dPt>
            <c:idx val="145"/>
            <c:invertIfNegative val="1"/>
            <c:bubble3D val="0"/>
            <c:spPr>
              <a:solidFill>
                <a:srgbClr val="AEABAB"/>
              </a:solidFill>
            </c:spPr>
            <c:extLst>
              <c:ext xmlns:c16="http://schemas.microsoft.com/office/drawing/2014/chart" uri="{C3380CC4-5D6E-409C-BE32-E72D297353CC}">
                <c16:uniqueId val="{00000125-2993-41DE-A2CB-63102DE87051}"/>
              </c:ext>
            </c:extLst>
          </c:dPt>
          <c:dPt>
            <c:idx val="146"/>
            <c:invertIfNegative val="1"/>
            <c:bubble3D val="0"/>
            <c:spPr>
              <a:solidFill>
                <a:srgbClr val="AEABAB"/>
              </a:solidFill>
            </c:spPr>
            <c:extLst>
              <c:ext xmlns:c16="http://schemas.microsoft.com/office/drawing/2014/chart" uri="{C3380CC4-5D6E-409C-BE32-E72D297353CC}">
                <c16:uniqueId val="{00000127-2993-41DE-A2CB-63102DE87051}"/>
              </c:ext>
            </c:extLst>
          </c:dPt>
          <c:dPt>
            <c:idx val="147"/>
            <c:invertIfNegative val="1"/>
            <c:bubble3D val="0"/>
            <c:spPr>
              <a:solidFill>
                <a:srgbClr val="AEABAB"/>
              </a:solidFill>
            </c:spPr>
            <c:extLst>
              <c:ext xmlns:c16="http://schemas.microsoft.com/office/drawing/2014/chart" uri="{C3380CC4-5D6E-409C-BE32-E72D297353CC}">
                <c16:uniqueId val="{00000129-2993-41DE-A2CB-63102DE87051}"/>
              </c:ext>
            </c:extLst>
          </c:dPt>
          <c:dPt>
            <c:idx val="148"/>
            <c:invertIfNegative val="1"/>
            <c:bubble3D val="0"/>
            <c:spPr>
              <a:solidFill>
                <a:srgbClr val="AEABAB"/>
              </a:solidFill>
            </c:spPr>
            <c:extLst>
              <c:ext xmlns:c16="http://schemas.microsoft.com/office/drawing/2014/chart" uri="{C3380CC4-5D6E-409C-BE32-E72D297353CC}">
                <c16:uniqueId val="{0000012B-2993-41DE-A2CB-63102DE87051}"/>
              </c:ext>
            </c:extLst>
          </c:dPt>
          <c:dPt>
            <c:idx val="149"/>
            <c:invertIfNegative val="1"/>
            <c:bubble3D val="0"/>
            <c:spPr>
              <a:solidFill>
                <a:srgbClr val="AEABAB"/>
              </a:solidFill>
            </c:spPr>
            <c:extLst>
              <c:ext xmlns:c16="http://schemas.microsoft.com/office/drawing/2014/chart" uri="{C3380CC4-5D6E-409C-BE32-E72D297353CC}">
                <c16:uniqueId val="{0000012D-2993-41DE-A2CB-63102DE87051}"/>
              </c:ext>
            </c:extLst>
          </c:dPt>
          <c:dPt>
            <c:idx val="150"/>
            <c:invertIfNegative val="1"/>
            <c:bubble3D val="0"/>
            <c:spPr>
              <a:solidFill>
                <a:srgbClr val="AEABAB"/>
              </a:solidFill>
            </c:spPr>
            <c:extLst>
              <c:ext xmlns:c16="http://schemas.microsoft.com/office/drawing/2014/chart" uri="{C3380CC4-5D6E-409C-BE32-E72D297353CC}">
                <c16:uniqueId val="{0000012F-2993-41DE-A2CB-63102DE87051}"/>
              </c:ext>
            </c:extLst>
          </c:dPt>
          <c:dPt>
            <c:idx val="151"/>
            <c:invertIfNegative val="1"/>
            <c:bubble3D val="0"/>
            <c:spPr>
              <a:solidFill>
                <a:srgbClr val="AEABAB"/>
              </a:solidFill>
            </c:spPr>
            <c:extLst>
              <c:ext xmlns:c16="http://schemas.microsoft.com/office/drawing/2014/chart" uri="{C3380CC4-5D6E-409C-BE32-E72D297353CC}">
                <c16:uniqueId val="{00000131-2993-41DE-A2CB-63102DE87051}"/>
              </c:ext>
            </c:extLst>
          </c:dPt>
          <c:dPt>
            <c:idx val="152"/>
            <c:invertIfNegative val="1"/>
            <c:bubble3D val="0"/>
            <c:spPr>
              <a:solidFill>
                <a:srgbClr val="AEABAB"/>
              </a:solidFill>
            </c:spPr>
            <c:extLst>
              <c:ext xmlns:c16="http://schemas.microsoft.com/office/drawing/2014/chart" uri="{C3380CC4-5D6E-409C-BE32-E72D297353CC}">
                <c16:uniqueId val="{00000133-2993-41DE-A2CB-63102DE87051}"/>
              </c:ext>
            </c:extLst>
          </c:dPt>
          <c:dPt>
            <c:idx val="153"/>
            <c:invertIfNegative val="1"/>
            <c:bubble3D val="0"/>
            <c:spPr>
              <a:solidFill>
                <a:srgbClr val="AEABAB"/>
              </a:solidFill>
            </c:spPr>
            <c:extLst>
              <c:ext xmlns:c16="http://schemas.microsoft.com/office/drawing/2014/chart" uri="{C3380CC4-5D6E-409C-BE32-E72D297353CC}">
                <c16:uniqueId val="{00000135-2993-41DE-A2CB-63102DE87051}"/>
              </c:ext>
            </c:extLst>
          </c:dPt>
          <c:dPt>
            <c:idx val="154"/>
            <c:invertIfNegative val="1"/>
            <c:bubble3D val="0"/>
            <c:spPr>
              <a:solidFill>
                <a:srgbClr val="AEABAB"/>
              </a:solidFill>
            </c:spPr>
            <c:extLst>
              <c:ext xmlns:c16="http://schemas.microsoft.com/office/drawing/2014/chart" uri="{C3380CC4-5D6E-409C-BE32-E72D297353CC}">
                <c16:uniqueId val="{00000137-2993-41DE-A2CB-63102DE87051}"/>
              </c:ext>
            </c:extLst>
          </c:dPt>
          <c:dPt>
            <c:idx val="155"/>
            <c:invertIfNegative val="1"/>
            <c:bubble3D val="0"/>
            <c:spPr>
              <a:solidFill>
                <a:srgbClr val="AEABAB"/>
              </a:solidFill>
            </c:spPr>
            <c:extLst>
              <c:ext xmlns:c16="http://schemas.microsoft.com/office/drawing/2014/chart" uri="{C3380CC4-5D6E-409C-BE32-E72D297353CC}">
                <c16:uniqueId val="{00000139-2993-41DE-A2CB-63102DE87051}"/>
              </c:ext>
            </c:extLst>
          </c:dPt>
          <c:dPt>
            <c:idx val="156"/>
            <c:invertIfNegative val="1"/>
            <c:bubble3D val="0"/>
            <c:spPr>
              <a:solidFill>
                <a:srgbClr val="AEABAB"/>
              </a:solidFill>
            </c:spPr>
            <c:extLst>
              <c:ext xmlns:c16="http://schemas.microsoft.com/office/drawing/2014/chart" uri="{C3380CC4-5D6E-409C-BE32-E72D297353CC}">
                <c16:uniqueId val="{0000013B-2993-41DE-A2CB-63102DE87051}"/>
              </c:ext>
            </c:extLst>
          </c:dPt>
          <c:dPt>
            <c:idx val="157"/>
            <c:invertIfNegative val="1"/>
            <c:bubble3D val="0"/>
            <c:spPr>
              <a:solidFill>
                <a:srgbClr val="AEABAB"/>
              </a:solidFill>
            </c:spPr>
            <c:extLst>
              <c:ext xmlns:c16="http://schemas.microsoft.com/office/drawing/2014/chart" uri="{C3380CC4-5D6E-409C-BE32-E72D297353CC}">
                <c16:uniqueId val="{0000013D-2993-41DE-A2CB-63102DE87051}"/>
              </c:ext>
            </c:extLst>
          </c:dPt>
          <c:dPt>
            <c:idx val="158"/>
            <c:invertIfNegative val="1"/>
            <c:bubble3D val="0"/>
            <c:spPr>
              <a:solidFill>
                <a:srgbClr val="AEABAB"/>
              </a:solidFill>
            </c:spPr>
            <c:extLst>
              <c:ext xmlns:c16="http://schemas.microsoft.com/office/drawing/2014/chart" uri="{C3380CC4-5D6E-409C-BE32-E72D297353CC}">
                <c16:uniqueId val="{0000013F-2993-41DE-A2CB-63102DE87051}"/>
              </c:ext>
            </c:extLst>
          </c:dPt>
          <c:dPt>
            <c:idx val="159"/>
            <c:invertIfNegative val="1"/>
            <c:bubble3D val="0"/>
            <c:spPr>
              <a:solidFill>
                <a:srgbClr val="AEABAB"/>
              </a:solidFill>
            </c:spPr>
            <c:extLst>
              <c:ext xmlns:c16="http://schemas.microsoft.com/office/drawing/2014/chart" uri="{C3380CC4-5D6E-409C-BE32-E72D297353CC}">
                <c16:uniqueId val="{00000141-2993-41DE-A2CB-63102DE87051}"/>
              </c:ext>
            </c:extLst>
          </c:dPt>
          <c:dPt>
            <c:idx val="160"/>
            <c:invertIfNegative val="1"/>
            <c:bubble3D val="0"/>
            <c:spPr>
              <a:solidFill>
                <a:srgbClr val="AEABAB"/>
              </a:solidFill>
            </c:spPr>
            <c:extLst>
              <c:ext xmlns:c16="http://schemas.microsoft.com/office/drawing/2014/chart" uri="{C3380CC4-5D6E-409C-BE32-E72D297353CC}">
                <c16:uniqueId val="{00000143-2993-41DE-A2CB-63102DE87051}"/>
              </c:ext>
            </c:extLst>
          </c:dPt>
          <c:dPt>
            <c:idx val="161"/>
            <c:invertIfNegative val="1"/>
            <c:bubble3D val="0"/>
            <c:spPr>
              <a:solidFill>
                <a:srgbClr val="AEABAB"/>
              </a:solidFill>
            </c:spPr>
            <c:extLst>
              <c:ext xmlns:c16="http://schemas.microsoft.com/office/drawing/2014/chart" uri="{C3380CC4-5D6E-409C-BE32-E72D297353CC}">
                <c16:uniqueId val="{00000145-2993-41DE-A2CB-63102DE87051}"/>
              </c:ext>
            </c:extLst>
          </c:dPt>
          <c:dPt>
            <c:idx val="162"/>
            <c:invertIfNegative val="1"/>
            <c:bubble3D val="0"/>
            <c:spPr>
              <a:solidFill>
                <a:srgbClr val="AEABAB"/>
              </a:solidFill>
            </c:spPr>
            <c:extLst>
              <c:ext xmlns:c16="http://schemas.microsoft.com/office/drawing/2014/chart" uri="{C3380CC4-5D6E-409C-BE32-E72D297353CC}">
                <c16:uniqueId val="{00000147-2993-41DE-A2CB-63102DE87051}"/>
              </c:ext>
            </c:extLst>
          </c:dPt>
          <c:dPt>
            <c:idx val="163"/>
            <c:invertIfNegative val="1"/>
            <c:bubble3D val="0"/>
            <c:spPr>
              <a:solidFill>
                <a:srgbClr val="AEABAB"/>
              </a:solidFill>
            </c:spPr>
            <c:extLst>
              <c:ext xmlns:c16="http://schemas.microsoft.com/office/drawing/2014/chart" uri="{C3380CC4-5D6E-409C-BE32-E72D297353CC}">
                <c16:uniqueId val="{00000149-2993-41DE-A2CB-63102DE87051}"/>
              </c:ext>
            </c:extLst>
          </c:dPt>
          <c:dPt>
            <c:idx val="164"/>
            <c:invertIfNegative val="1"/>
            <c:bubble3D val="0"/>
            <c:spPr>
              <a:solidFill>
                <a:srgbClr val="AEABAB"/>
              </a:solidFill>
            </c:spPr>
            <c:extLst>
              <c:ext xmlns:c16="http://schemas.microsoft.com/office/drawing/2014/chart" uri="{C3380CC4-5D6E-409C-BE32-E72D297353CC}">
                <c16:uniqueId val="{0000014B-2993-41DE-A2CB-63102DE87051}"/>
              </c:ext>
            </c:extLst>
          </c:dPt>
          <c:dPt>
            <c:idx val="165"/>
            <c:invertIfNegative val="1"/>
            <c:bubble3D val="0"/>
            <c:spPr>
              <a:solidFill>
                <a:srgbClr val="AEABAB"/>
              </a:solidFill>
            </c:spPr>
            <c:extLst>
              <c:ext xmlns:c16="http://schemas.microsoft.com/office/drawing/2014/chart" uri="{C3380CC4-5D6E-409C-BE32-E72D297353CC}">
                <c16:uniqueId val="{0000014D-2993-41DE-A2CB-63102DE87051}"/>
              </c:ext>
            </c:extLst>
          </c:dPt>
          <c:dPt>
            <c:idx val="166"/>
            <c:invertIfNegative val="1"/>
            <c:bubble3D val="0"/>
            <c:spPr>
              <a:solidFill>
                <a:srgbClr val="AEABAB"/>
              </a:solidFill>
            </c:spPr>
            <c:extLst>
              <c:ext xmlns:c16="http://schemas.microsoft.com/office/drawing/2014/chart" uri="{C3380CC4-5D6E-409C-BE32-E72D297353CC}">
                <c16:uniqueId val="{0000014F-2993-41DE-A2CB-63102DE87051}"/>
              </c:ext>
            </c:extLst>
          </c:dPt>
          <c:dPt>
            <c:idx val="167"/>
            <c:invertIfNegative val="1"/>
            <c:bubble3D val="0"/>
            <c:spPr>
              <a:solidFill>
                <a:srgbClr val="AEABAB"/>
              </a:solidFill>
            </c:spPr>
            <c:extLst>
              <c:ext xmlns:c16="http://schemas.microsoft.com/office/drawing/2014/chart" uri="{C3380CC4-5D6E-409C-BE32-E72D297353CC}">
                <c16:uniqueId val="{00000151-2993-41DE-A2CB-63102DE87051}"/>
              </c:ext>
            </c:extLst>
          </c:dPt>
          <c:dPt>
            <c:idx val="168"/>
            <c:invertIfNegative val="1"/>
            <c:bubble3D val="0"/>
            <c:spPr>
              <a:solidFill>
                <a:srgbClr val="AEABAB"/>
              </a:solidFill>
            </c:spPr>
            <c:extLst>
              <c:ext xmlns:c16="http://schemas.microsoft.com/office/drawing/2014/chart" uri="{C3380CC4-5D6E-409C-BE32-E72D297353CC}">
                <c16:uniqueId val="{00000153-2993-41DE-A2CB-63102DE87051}"/>
              </c:ext>
            </c:extLst>
          </c:dPt>
          <c:dPt>
            <c:idx val="169"/>
            <c:invertIfNegative val="1"/>
            <c:bubble3D val="0"/>
            <c:spPr>
              <a:solidFill>
                <a:srgbClr val="AEABAB"/>
              </a:solidFill>
            </c:spPr>
            <c:extLst>
              <c:ext xmlns:c16="http://schemas.microsoft.com/office/drawing/2014/chart" uri="{C3380CC4-5D6E-409C-BE32-E72D297353CC}">
                <c16:uniqueId val="{00000155-2993-41DE-A2CB-63102DE87051}"/>
              </c:ext>
            </c:extLst>
          </c:dPt>
          <c:dPt>
            <c:idx val="170"/>
            <c:invertIfNegative val="1"/>
            <c:bubble3D val="0"/>
            <c:spPr>
              <a:solidFill>
                <a:srgbClr val="AEABAB"/>
              </a:solidFill>
            </c:spPr>
            <c:extLst>
              <c:ext xmlns:c16="http://schemas.microsoft.com/office/drawing/2014/chart" uri="{C3380CC4-5D6E-409C-BE32-E72D297353CC}">
                <c16:uniqueId val="{00000157-2993-41DE-A2CB-63102DE87051}"/>
              </c:ext>
            </c:extLst>
          </c:dPt>
          <c:dPt>
            <c:idx val="171"/>
            <c:invertIfNegative val="1"/>
            <c:bubble3D val="0"/>
            <c:spPr>
              <a:solidFill>
                <a:srgbClr val="AEABAB"/>
              </a:solidFill>
            </c:spPr>
            <c:extLst>
              <c:ext xmlns:c16="http://schemas.microsoft.com/office/drawing/2014/chart" uri="{C3380CC4-5D6E-409C-BE32-E72D297353CC}">
                <c16:uniqueId val="{00000159-2993-41DE-A2CB-63102DE87051}"/>
              </c:ext>
            </c:extLst>
          </c:dPt>
          <c:dPt>
            <c:idx val="172"/>
            <c:invertIfNegative val="1"/>
            <c:bubble3D val="0"/>
            <c:spPr>
              <a:solidFill>
                <a:srgbClr val="AEABAB"/>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dPt>
            <c:idx val="210"/>
            <c:invertIfNegative val="1"/>
            <c:bubble3D val="0"/>
            <c:spPr>
              <a:solidFill>
                <a:srgbClr val="AEABAB"/>
              </a:solidFill>
            </c:spPr>
            <c:extLst>
              <c:ext xmlns:c16="http://schemas.microsoft.com/office/drawing/2014/chart" uri="{C3380CC4-5D6E-409C-BE32-E72D297353CC}">
                <c16:uniqueId val="{000001A7-1E2F-46B8-A04A-F4DEF51D5756}"/>
              </c:ext>
            </c:extLst>
          </c:dPt>
          <c:dPt>
            <c:idx val="211"/>
            <c:invertIfNegative val="1"/>
            <c:bubble3D val="0"/>
            <c:spPr>
              <a:solidFill>
                <a:srgbClr val="AEABAB"/>
              </a:solidFill>
            </c:spPr>
            <c:extLst>
              <c:ext xmlns:c16="http://schemas.microsoft.com/office/drawing/2014/chart" uri="{C3380CC4-5D6E-409C-BE32-E72D297353CC}">
                <c16:uniqueId val="{000001A9-1E2F-46B8-A04A-F4DEF51D5756}"/>
              </c:ext>
            </c:extLst>
          </c:dPt>
          <c:dPt>
            <c:idx val="212"/>
            <c:invertIfNegative val="1"/>
            <c:bubble3D val="0"/>
            <c:spPr>
              <a:solidFill>
                <a:srgbClr val="AEABAB"/>
              </a:solidFill>
            </c:spPr>
            <c:extLst>
              <c:ext xmlns:c16="http://schemas.microsoft.com/office/drawing/2014/chart" uri="{C3380CC4-5D6E-409C-BE32-E72D297353CC}">
                <c16:uniqueId val="{000001AB-1E2F-46B8-A04A-F4DEF51D5756}"/>
              </c:ext>
            </c:extLst>
          </c:dPt>
          <c:dPt>
            <c:idx val="213"/>
            <c:invertIfNegative val="1"/>
            <c:bubble3D val="0"/>
            <c:spPr>
              <a:solidFill>
                <a:srgbClr val="AEABAB"/>
              </a:solidFill>
            </c:spPr>
            <c:extLst>
              <c:ext xmlns:c16="http://schemas.microsoft.com/office/drawing/2014/chart" uri="{C3380CC4-5D6E-409C-BE32-E72D297353CC}">
                <c16:uniqueId val="{000001AD-1E2F-46B8-A04A-F4DEF51D5756}"/>
              </c:ext>
            </c:extLst>
          </c:dPt>
          <c:dPt>
            <c:idx val="214"/>
            <c:invertIfNegative val="1"/>
            <c:bubble3D val="0"/>
            <c:spPr>
              <a:solidFill>
                <a:srgbClr val="AEABAB"/>
              </a:solidFill>
            </c:spPr>
            <c:extLst>
              <c:ext xmlns:c16="http://schemas.microsoft.com/office/drawing/2014/chart" uri="{C3380CC4-5D6E-409C-BE32-E72D297353CC}">
                <c16:uniqueId val="{000001AF-1E2F-46B8-A04A-F4DEF51D5756}"/>
              </c:ext>
            </c:extLst>
          </c:dPt>
          <c:dPt>
            <c:idx val="215"/>
            <c:invertIfNegative val="1"/>
            <c:bubble3D val="0"/>
            <c:spPr>
              <a:solidFill>
                <a:srgbClr val="AEABAB"/>
              </a:solidFill>
            </c:spPr>
            <c:extLst>
              <c:ext xmlns:c16="http://schemas.microsoft.com/office/drawing/2014/chart" uri="{C3380CC4-5D6E-409C-BE32-E72D297353CC}">
                <c16:uniqueId val="{000001B1-1E2F-46B8-A04A-F4DEF51D5756}"/>
              </c:ext>
            </c:extLst>
          </c:dPt>
          <c:dPt>
            <c:idx val="216"/>
            <c:invertIfNegative val="1"/>
            <c:bubble3D val="0"/>
            <c:spPr>
              <a:solidFill>
                <a:srgbClr val="AEABAB"/>
              </a:solidFill>
            </c:spPr>
            <c:extLst>
              <c:ext xmlns:c16="http://schemas.microsoft.com/office/drawing/2014/chart" uri="{C3380CC4-5D6E-409C-BE32-E72D297353CC}">
                <c16:uniqueId val="{000001B3-1E2F-46B8-A04A-F4DEF51D5756}"/>
              </c:ext>
            </c:extLst>
          </c:dPt>
          <c:dPt>
            <c:idx val="217"/>
            <c:invertIfNegative val="1"/>
            <c:bubble3D val="0"/>
            <c:spPr>
              <a:solidFill>
                <a:srgbClr val="AEABAB"/>
              </a:solidFill>
            </c:spPr>
            <c:extLst>
              <c:ext xmlns:c16="http://schemas.microsoft.com/office/drawing/2014/chart" uri="{C3380CC4-5D6E-409C-BE32-E72D297353CC}">
                <c16:uniqueId val="{000001B5-1E2F-46B8-A04A-F4DEF51D5756}"/>
              </c:ext>
            </c:extLst>
          </c:dPt>
          <c:dPt>
            <c:idx val="218"/>
            <c:invertIfNegative val="1"/>
            <c:bubble3D val="0"/>
            <c:spPr>
              <a:solidFill>
                <a:srgbClr val="AEABAB"/>
              </a:solidFill>
            </c:spPr>
            <c:extLst>
              <c:ext xmlns:c16="http://schemas.microsoft.com/office/drawing/2014/chart" uri="{C3380CC4-5D6E-409C-BE32-E72D297353CC}">
                <c16:uniqueId val="{000001B7-1E2F-46B8-A04A-F4DEF51D5756}"/>
              </c:ext>
            </c:extLst>
          </c:dPt>
          <c:dPt>
            <c:idx val="219"/>
            <c:invertIfNegative val="1"/>
            <c:bubble3D val="0"/>
            <c:spPr>
              <a:solidFill>
                <a:srgbClr val="AEABAB"/>
              </a:solidFill>
            </c:spPr>
            <c:extLst>
              <c:ext xmlns:c16="http://schemas.microsoft.com/office/drawing/2014/chart" uri="{C3380CC4-5D6E-409C-BE32-E72D297353CC}">
                <c16:uniqueId val="{000001B9-1E2F-46B8-A04A-F4DEF51D5756}"/>
              </c:ext>
            </c:extLst>
          </c:dPt>
          <c:dPt>
            <c:idx val="220"/>
            <c:invertIfNegative val="1"/>
            <c:bubble3D val="0"/>
            <c:spPr>
              <a:solidFill>
                <a:srgbClr val="AEABAB"/>
              </a:solidFill>
            </c:spPr>
            <c:extLst>
              <c:ext xmlns:c16="http://schemas.microsoft.com/office/drawing/2014/chart" uri="{C3380CC4-5D6E-409C-BE32-E72D297353CC}">
                <c16:uniqueId val="{000001BB-1E2F-46B8-A04A-F4DEF51D5756}"/>
              </c:ext>
            </c:extLst>
          </c:dPt>
          <c:dPt>
            <c:idx val="221"/>
            <c:invertIfNegative val="1"/>
            <c:bubble3D val="0"/>
            <c:spPr>
              <a:solidFill>
                <a:srgbClr val="AEABAB"/>
              </a:solidFill>
            </c:spPr>
            <c:extLst>
              <c:ext xmlns:c16="http://schemas.microsoft.com/office/drawing/2014/chart" uri="{C3380CC4-5D6E-409C-BE32-E72D297353CC}">
                <c16:uniqueId val="{000001BD-1E2F-46B8-A04A-F4DEF51D5756}"/>
              </c:ext>
            </c:extLst>
          </c:dPt>
          <c:dPt>
            <c:idx val="222"/>
            <c:invertIfNegative val="1"/>
            <c:bubble3D val="0"/>
            <c:spPr>
              <a:solidFill>
                <a:srgbClr val="AEABAB"/>
              </a:solidFill>
            </c:spPr>
            <c:extLst>
              <c:ext xmlns:c16="http://schemas.microsoft.com/office/drawing/2014/chart" uri="{C3380CC4-5D6E-409C-BE32-E72D297353CC}">
                <c16:uniqueId val="{000001BF-1E2F-46B8-A04A-F4DEF51D5756}"/>
              </c:ext>
            </c:extLst>
          </c:dPt>
          <c:dPt>
            <c:idx val="223"/>
            <c:invertIfNegative val="1"/>
            <c:bubble3D val="0"/>
            <c:spPr>
              <a:solidFill>
                <a:srgbClr val="AEABAB"/>
              </a:solidFill>
            </c:spPr>
            <c:extLst>
              <c:ext xmlns:c16="http://schemas.microsoft.com/office/drawing/2014/chart" uri="{C3380CC4-5D6E-409C-BE32-E72D297353CC}">
                <c16:uniqueId val="{000001C1-1E2F-46B8-A04A-F4DEF51D5756}"/>
              </c:ext>
            </c:extLst>
          </c:dPt>
          <c:dPt>
            <c:idx val="224"/>
            <c:invertIfNegative val="1"/>
            <c:bubble3D val="0"/>
            <c:spPr>
              <a:solidFill>
                <a:srgbClr val="AEABAB"/>
              </a:solidFill>
            </c:spPr>
            <c:extLst>
              <c:ext xmlns:c16="http://schemas.microsoft.com/office/drawing/2014/chart" uri="{C3380CC4-5D6E-409C-BE32-E72D297353CC}">
                <c16:uniqueId val="{000001C3-1E2F-46B8-A04A-F4DEF51D5756}"/>
              </c:ext>
            </c:extLst>
          </c:dPt>
          <c:dPt>
            <c:idx val="225"/>
            <c:invertIfNegative val="1"/>
            <c:bubble3D val="0"/>
            <c:spPr>
              <a:solidFill>
                <a:srgbClr val="AEABAB"/>
              </a:solidFill>
            </c:spPr>
            <c:extLst>
              <c:ext xmlns:c16="http://schemas.microsoft.com/office/drawing/2014/chart" uri="{C3380CC4-5D6E-409C-BE32-E72D297353CC}">
                <c16:uniqueId val="{000001C5-1E2F-46B8-A04A-F4DEF51D5756}"/>
              </c:ext>
            </c:extLst>
          </c:dPt>
          <c:dPt>
            <c:idx val="226"/>
            <c:invertIfNegative val="1"/>
            <c:bubble3D val="0"/>
            <c:spPr>
              <a:solidFill>
                <a:srgbClr val="AEABAB"/>
              </a:solidFill>
            </c:spPr>
            <c:extLst>
              <c:ext xmlns:c16="http://schemas.microsoft.com/office/drawing/2014/chart" uri="{C3380CC4-5D6E-409C-BE32-E72D297353CC}">
                <c16:uniqueId val="{000001C7-1E2F-46B8-A04A-F4DEF51D5756}"/>
              </c:ext>
            </c:extLst>
          </c:dPt>
          <c:dPt>
            <c:idx val="227"/>
            <c:invertIfNegative val="1"/>
            <c:bubble3D val="0"/>
            <c:spPr>
              <a:solidFill>
                <a:srgbClr val="AEABAB"/>
              </a:solidFill>
            </c:spPr>
            <c:extLst>
              <c:ext xmlns:c16="http://schemas.microsoft.com/office/drawing/2014/chart" uri="{C3380CC4-5D6E-409C-BE32-E72D297353CC}">
                <c16:uniqueId val="{000001C9-1E2F-46B8-A04A-F4DEF51D5756}"/>
              </c:ext>
            </c:extLst>
          </c:dPt>
          <c:dPt>
            <c:idx val="228"/>
            <c:invertIfNegative val="1"/>
            <c:bubble3D val="0"/>
            <c:spPr>
              <a:solidFill>
                <a:srgbClr val="AEABAB"/>
              </a:solidFill>
            </c:spPr>
            <c:extLst>
              <c:ext xmlns:c16="http://schemas.microsoft.com/office/drawing/2014/chart" uri="{C3380CC4-5D6E-409C-BE32-E72D297353CC}">
                <c16:uniqueId val="{000001CB-1E2F-46B8-A04A-F4DEF51D5756}"/>
              </c:ext>
            </c:extLst>
          </c:dPt>
          <c:dPt>
            <c:idx val="229"/>
            <c:invertIfNegative val="1"/>
            <c:bubble3D val="0"/>
            <c:spPr>
              <a:solidFill>
                <a:srgbClr val="AEABAB"/>
              </a:solidFill>
            </c:spPr>
            <c:extLst>
              <c:ext xmlns:c16="http://schemas.microsoft.com/office/drawing/2014/chart" uri="{C3380CC4-5D6E-409C-BE32-E72D297353CC}">
                <c16:uniqueId val="{000001CD-1E2F-46B8-A04A-F4DEF51D5756}"/>
              </c:ext>
            </c:extLst>
          </c:dPt>
          <c:dPt>
            <c:idx val="230"/>
            <c:invertIfNegative val="1"/>
            <c:bubble3D val="0"/>
            <c:spPr>
              <a:solidFill>
                <a:srgbClr val="AEABAB"/>
              </a:solidFill>
            </c:spPr>
            <c:extLst>
              <c:ext xmlns:c16="http://schemas.microsoft.com/office/drawing/2014/chart" uri="{C3380CC4-5D6E-409C-BE32-E72D297353CC}">
                <c16:uniqueId val="{000001CF-1E2F-46B8-A04A-F4DEF51D5756}"/>
              </c:ext>
            </c:extLst>
          </c:dPt>
          <c:dPt>
            <c:idx val="231"/>
            <c:invertIfNegative val="1"/>
            <c:bubble3D val="0"/>
            <c:spPr>
              <a:solidFill>
                <a:srgbClr val="AEABAB"/>
              </a:solidFill>
            </c:spPr>
            <c:extLst>
              <c:ext xmlns:c16="http://schemas.microsoft.com/office/drawing/2014/chart" uri="{C3380CC4-5D6E-409C-BE32-E72D297353CC}">
                <c16:uniqueId val="{000001D1-1E2F-46B8-A04A-F4DEF51D5756}"/>
              </c:ext>
            </c:extLst>
          </c:dPt>
          <c:dPt>
            <c:idx val="232"/>
            <c:invertIfNegative val="1"/>
            <c:bubble3D val="0"/>
            <c:spPr>
              <a:solidFill>
                <a:srgbClr val="AEABAB"/>
              </a:solidFill>
            </c:spPr>
            <c:extLst>
              <c:ext xmlns:c16="http://schemas.microsoft.com/office/drawing/2014/chart" uri="{C3380CC4-5D6E-409C-BE32-E72D297353CC}">
                <c16:uniqueId val="{000001D3-1E2F-46B8-A04A-F4DEF51D5756}"/>
              </c:ext>
            </c:extLst>
          </c:dPt>
          <c:dPt>
            <c:idx val="233"/>
            <c:invertIfNegative val="1"/>
            <c:bubble3D val="0"/>
            <c:spPr>
              <a:solidFill>
                <a:srgbClr val="AEABAB"/>
              </a:solidFill>
            </c:spPr>
            <c:extLst>
              <c:ext xmlns:c16="http://schemas.microsoft.com/office/drawing/2014/chart" uri="{C3380CC4-5D6E-409C-BE32-E72D297353CC}">
                <c16:uniqueId val="{000001D5-1E2F-46B8-A04A-F4DEF51D5756}"/>
              </c:ext>
            </c:extLst>
          </c:dPt>
          <c:dPt>
            <c:idx val="234"/>
            <c:invertIfNegative val="1"/>
            <c:bubble3D val="0"/>
            <c:spPr>
              <a:solidFill>
                <a:srgbClr val="AEABAB"/>
              </a:solidFill>
            </c:spPr>
            <c:extLst>
              <c:ext xmlns:c16="http://schemas.microsoft.com/office/drawing/2014/chart" uri="{C3380CC4-5D6E-409C-BE32-E72D297353CC}">
                <c16:uniqueId val="{000001D7-1E2F-46B8-A04A-F4DEF51D5756}"/>
              </c:ext>
            </c:extLst>
          </c:dPt>
          <c:dPt>
            <c:idx val="235"/>
            <c:invertIfNegative val="1"/>
            <c:bubble3D val="0"/>
            <c:spPr>
              <a:solidFill>
                <a:srgbClr val="AEABAB"/>
              </a:solidFill>
            </c:spPr>
            <c:extLst>
              <c:ext xmlns:c16="http://schemas.microsoft.com/office/drawing/2014/chart" uri="{C3380CC4-5D6E-409C-BE32-E72D297353CC}">
                <c16:uniqueId val="{000001D9-1E2F-46B8-A04A-F4DEF51D5756}"/>
              </c:ext>
            </c:extLst>
          </c:dPt>
          <c:dPt>
            <c:idx val="236"/>
            <c:invertIfNegative val="1"/>
            <c:bubble3D val="0"/>
            <c:spPr>
              <a:solidFill>
                <a:srgbClr val="AEABAB"/>
              </a:solidFill>
            </c:spPr>
            <c:extLst>
              <c:ext xmlns:c16="http://schemas.microsoft.com/office/drawing/2014/chart" uri="{C3380CC4-5D6E-409C-BE32-E72D297353CC}">
                <c16:uniqueId val="{000001DB-1E2F-46B8-A04A-F4DEF51D5756}"/>
              </c:ext>
            </c:extLst>
          </c:dPt>
          <c:dPt>
            <c:idx val="237"/>
            <c:invertIfNegative val="1"/>
            <c:bubble3D val="0"/>
            <c:spPr>
              <a:solidFill>
                <a:srgbClr val="AEABAB"/>
              </a:solidFill>
            </c:spPr>
            <c:extLst>
              <c:ext xmlns:c16="http://schemas.microsoft.com/office/drawing/2014/chart" uri="{C3380CC4-5D6E-409C-BE32-E72D297353CC}">
                <c16:uniqueId val="{000001DD-1E2F-46B8-A04A-F4DEF51D5756}"/>
              </c:ext>
            </c:extLst>
          </c:dPt>
          <c:dPt>
            <c:idx val="238"/>
            <c:invertIfNegative val="1"/>
            <c:bubble3D val="0"/>
            <c:spPr>
              <a:solidFill>
                <a:srgbClr val="AEABAB"/>
              </a:solidFill>
            </c:spPr>
            <c:extLst>
              <c:ext xmlns:c16="http://schemas.microsoft.com/office/drawing/2014/chart" uri="{C3380CC4-5D6E-409C-BE32-E72D297353CC}">
                <c16:uniqueId val="{000001DF-1E2F-46B8-A04A-F4DEF51D5756}"/>
              </c:ext>
            </c:extLst>
          </c:dPt>
          <c:dPt>
            <c:idx val="239"/>
            <c:invertIfNegative val="1"/>
            <c:bubble3D val="0"/>
            <c:spPr>
              <a:solidFill>
                <a:srgbClr val="AEABAB"/>
              </a:solidFill>
            </c:spPr>
            <c:extLst>
              <c:ext xmlns:c16="http://schemas.microsoft.com/office/drawing/2014/chart" uri="{C3380CC4-5D6E-409C-BE32-E72D297353CC}">
                <c16:uniqueId val="{000001E1-1E2F-46B8-A04A-F4DEF51D5756}"/>
              </c:ext>
            </c:extLst>
          </c:dPt>
          <c:dPt>
            <c:idx val="240"/>
            <c:invertIfNegative val="1"/>
            <c:bubble3D val="0"/>
            <c:spPr>
              <a:solidFill>
                <a:srgbClr val="AEABAB"/>
              </a:solidFill>
            </c:spPr>
            <c:extLst>
              <c:ext xmlns:c16="http://schemas.microsoft.com/office/drawing/2014/chart" uri="{C3380CC4-5D6E-409C-BE32-E72D297353CC}">
                <c16:uniqueId val="{000001E3-1E2F-46B8-A04A-F4DEF51D5756}"/>
              </c:ext>
            </c:extLst>
          </c:dPt>
          <c:dPt>
            <c:idx val="241"/>
            <c:invertIfNegative val="1"/>
            <c:bubble3D val="0"/>
            <c:spPr>
              <a:solidFill>
                <a:srgbClr val="AEABAB"/>
              </a:solidFill>
            </c:spPr>
            <c:extLst>
              <c:ext xmlns:c16="http://schemas.microsoft.com/office/drawing/2014/chart" uri="{C3380CC4-5D6E-409C-BE32-E72D297353CC}">
                <c16:uniqueId val="{000001E5-1E2F-46B8-A04A-F4DEF51D5756}"/>
              </c:ext>
            </c:extLst>
          </c:dPt>
          <c:dPt>
            <c:idx val="242"/>
            <c:invertIfNegative val="1"/>
            <c:bubble3D val="0"/>
            <c:spPr>
              <a:solidFill>
                <a:srgbClr val="AEABAB"/>
              </a:solidFill>
            </c:spPr>
            <c:extLst>
              <c:ext xmlns:c16="http://schemas.microsoft.com/office/drawing/2014/chart" uri="{C3380CC4-5D6E-409C-BE32-E72D297353CC}">
                <c16:uniqueId val="{000001E7-1E2F-46B8-A04A-F4DEF51D5756}"/>
              </c:ext>
            </c:extLst>
          </c:dPt>
          <c:dPt>
            <c:idx val="243"/>
            <c:invertIfNegative val="1"/>
            <c:bubble3D val="0"/>
            <c:spPr>
              <a:solidFill>
                <a:srgbClr val="AEABAB"/>
              </a:solidFill>
            </c:spPr>
            <c:extLst>
              <c:ext xmlns:c16="http://schemas.microsoft.com/office/drawing/2014/chart" uri="{C3380CC4-5D6E-409C-BE32-E72D297353CC}">
                <c16:uniqueId val="{000001E9-1E2F-46B8-A04A-F4DEF51D5756}"/>
              </c:ext>
            </c:extLst>
          </c:dPt>
          <c:dPt>
            <c:idx val="244"/>
            <c:invertIfNegative val="1"/>
            <c:bubble3D val="0"/>
            <c:spPr>
              <a:solidFill>
                <a:srgbClr val="AEABAB"/>
              </a:solidFill>
            </c:spPr>
            <c:extLst>
              <c:ext xmlns:c16="http://schemas.microsoft.com/office/drawing/2014/chart" uri="{C3380CC4-5D6E-409C-BE32-E72D297353CC}">
                <c16:uniqueId val="{000001EB-1E2F-46B8-A04A-F4DEF51D5756}"/>
              </c:ext>
            </c:extLst>
          </c:dPt>
          <c:dPt>
            <c:idx val="245"/>
            <c:invertIfNegative val="1"/>
            <c:bubble3D val="0"/>
            <c:spPr>
              <a:solidFill>
                <a:srgbClr val="AEABAB"/>
              </a:solidFill>
            </c:spPr>
            <c:extLst>
              <c:ext xmlns:c16="http://schemas.microsoft.com/office/drawing/2014/chart" uri="{C3380CC4-5D6E-409C-BE32-E72D297353CC}">
                <c16:uniqueId val="{000001ED-1E2F-46B8-A04A-F4DEF51D5756}"/>
              </c:ext>
            </c:extLst>
          </c:dPt>
          <c:dPt>
            <c:idx val="246"/>
            <c:invertIfNegative val="1"/>
            <c:bubble3D val="0"/>
            <c:spPr>
              <a:solidFill>
                <a:srgbClr val="AEABAB"/>
              </a:solidFill>
            </c:spPr>
            <c:extLst>
              <c:ext xmlns:c16="http://schemas.microsoft.com/office/drawing/2014/chart" uri="{C3380CC4-5D6E-409C-BE32-E72D297353CC}">
                <c16:uniqueId val="{000001EF-1E2F-46B8-A04A-F4DEF51D5756}"/>
              </c:ext>
            </c:extLst>
          </c:dPt>
          <c:dPt>
            <c:idx val="247"/>
            <c:invertIfNegative val="1"/>
            <c:bubble3D val="0"/>
            <c:spPr>
              <a:solidFill>
                <a:srgbClr val="AEABAB"/>
              </a:solidFill>
            </c:spPr>
            <c:extLst>
              <c:ext xmlns:c16="http://schemas.microsoft.com/office/drawing/2014/chart" uri="{C3380CC4-5D6E-409C-BE32-E72D297353CC}">
                <c16:uniqueId val="{000001F1-1E2F-46B8-A04A-F4DEF51D5756}"/>
              </c:ext>
            </c:extLst>
          </c:dPt>
          <c:dPt>
            <c:idx val="248"/>
            <c:invertIfNegative val="1"/>
            <c:bubble3D val="0"/>
            <c:spPr>
              <a:solidFill>
                <a:srgbClr val="AEABAB"/>
              </a:solidFill>
            </c:spPr>
            <c:extLst>
              <c:ext xmlns:c16="http://schemas.microsoft.com/office/drawing/2014/chart" uri="{C3380CC4-5D6E-409C-BE32-E72D297353CC}">
                <c16:uniqueId val="{000001F3-1E2F-46B8-A04A-F4DEF51D5756}"/>
              </c:ext>
            </c:extLst>
          </c:dPt>
          <c:dPt>
            <c:idx val="249"/>
            <c:invertIfNegative val="1"/>
            <c:bubble3D val="0"/>
            <c:spPr>
              <a:solidFill>
                <a:srgbClr val="AEABAB"/>
              </a:solidFill>
            </c:spPr>
            <c:extLst>
              <c:ext xmlns:c16="http://schemas.microsoft.com/office/drawing/2014/chart" uri="{C3380CC4-5D6E-409C-BE32-E72D297353CC}">
                <c16:uniqueId val="{000001F5-1E2F-46B8-A04A-F4DEF51D5756}"/>
              </c:ext>
            </c:extLst>
          </c:dPt>
          <c:dPt>
            <c:idx val="250"/>
            <c:invertIfNegative val="1"/>
            <c:bubble3D val="0"/>
            <c:spPr>
              <a:solidFill>
                <a:srgbClr val="AEABAB"/>
              </a:solidFill>
            </c:spPr>
            <c:extLst>
              <c:ext xmlns:c16="http://schemas.microsoft.com/office/drawing/2014/chart" uri="{C3380CC4-5D6E-409C-BE32-E72D297353CC}">
                <c16:uniqueId val="{000001F7-1E2F-46B8-A04A-F4DEF51D5756}"/>
              </c:ext>
            </c:extLst>
          </c:dPt>
          <c:dPt>
            <c:idx val="251"/>
            <c:invertIfNegative val="1"/>
            <c:bubble3D val="0"/>
            <c:spPr>
              <a:solidFill>
                <a:srgbClr val="AEABAB"/>
              </a:solidFill>
            </c:spPr>
            <c:extLst>
              <c:ext xmlns:c16="http://schemas.microsoft.com/office/drawing/2014/chart" uri="{C3380CC4-5D6E-409C-BE32-E72D297353CC}">
                <c16:uniqueId val="{000001F9-1E2F-46B8-A04A-F4DEF51D5756}"/>
              </c:ext>
            </c:extLst>
          </c:dPt>
          <c:dPt>
            <c:idx val="252"/>
            <c:invertIfNegative val="1"/>
            <c:bubble3D val="0"/>
            <c:spPr>
              <a:solidFill>
                <a:srgbClr val="AEABAB"/>
              </a:solidFill>
            </c:spPr>
            <c:extLst>
              <c:ext xmlns:c16="http://schemas.microsoft.com/office/drawing/2014/chart" uri="{C3380CC4-5D6E-409C-BE32-E72D297353CC}">
                <c16:uniqueId val="{000001FB-1E2F-46B8-A04A-F4DEF51D5756}"/>
              </c:ext>
            </c:extLst>
          </c:dPt>
          <c:dPt>
            <c:idx val="253"/>
            <c:invertIfNegative val="1"/>
            <c:bubble3D val="0"/>
            <c:spPr>
              <a:solidFill>
                <a:srgbClr val="AEABAB"/>
              </a:solidFill>
            </c:spPr>
            <c:extLst>
              <c:ext xmlns:c16="http://schemas.microsoft.com/office/drawing/2014/chart" uri="{C3380CC4-5D6E-409C-BE32-E72D297353CC}">
                <c16:uniqueId val="{000001FD-1E2F-46B8-A04A-F4DEF51D5756}"/>
              </c:ext>
            </c:extLst>
          </c:dPt>
          <c:dPt>
            <c:idx val="254"/>
            <c:invertIfNegative val="1"/>
            <c:bubble3D val="0"/>
            <c:spPr>
              <a:solidFill>
                <a:srgbClr val="AEABAB"/>
              </a:solidFill>
            </c:spPr>
            <c:extLst>
              <c:ext xmlns:c16="http://schemas.microsoft.com/office/drawing/2014/chart" uri="{C3380CC4-5D6E-409C-BE32-E72D297353CC}">
                <c16:uniqueId val="{000001FF-1E2F-46B8-A04A-F4DEF51D5756}"/>
              </c:ext>
            </c:extLst>
          </c:dPt>
          <c:dPt>
            <c:idx val="255"/>
            <c:invertIfNegative val="1"/>
            <c:bubble3D val="0"/>
            <c:spPr>
              <a:solidFill>
                <a:srgbClr val="AEABAB"/>
              </a:solidFill>
            </c:spPr>
            <c:extLst>
              <c:ext xmlns:c16="http://schemas.microsoft.com/office/drawing/2014/chart" uri="{C3380CC4-5D6E-409C-BE32-E72D297353CC}">
                <c16:uniqueId val="{00000201-1E2F-46B8-A04A-F4DEF51D5756}"/>
              </c:ext>
            </c:extLst>
          </c:dPt>
          <c:dPt>
            <c:idx val="256"/>
            <c:invertIfNegative val="1"/>
            <c:bubble3D val="0"/>
            <c:spPr>
              <a:solidFill>
                <a:srgbClr val="AEABAB"/>
              </a:solidFill>
            </c:spPr>
            <c:extLst>
              <c:ext xmlns:c16="http://schemas.microsoft.com/office/drawing/2014/chart" uri="{C3380CC4-5D6E-409C-BE32-E72D297353CC}">
                <c16:uniqueId val="{00000203-1E2F-46B8-A04A-F4DEF51D5756}"/>
              </c:ext>
            </c:extLst>
          </c:dPt>
          <c:dPt>
            <c:idx val="257"/>
            <c:invertIfNegative val="1"/>
            <c:bubble3D val="0"/>
            <c:spPr>
              <a:solidFill>
                <a:srgbClr val="AEABAB"/>
              </a:solidFill>
            </c:spPr>
            <c:extLst>
              <c:ext xmlns:c16="http://schemas.microsoft.com/office/drawing/2014/chart" uri="{C3380CC4-5D6E-409C-BE32-E72D297353CC}">
                <c16:uniqueId val="{00000205-1E2F-46B8-A04A-F4DEF51D5756}"/>
              </c:ext>
            </c:extLst>
          </c:dPt>
          <c:dPt>
            <c:idx val="258"/>
            <c:invertIfNegative val="1"/>
            <c:bubble3D val="0"/>
            <c:spPr>
              <a:solidFill>
                <a:srgbClr val="AEABAB"/>
              </a:solidFill>
            </c:spPr>
            <c:extLst>
              <c:ext xmlns:c16="http://schemas.microsoft.com/office/drawing/2014/chart" uri="{C3380CC4-5D6E-409C-BE32-E72D297353CC}">
                <c16:uniqueId val="{00000207-1E2F-46B8-A04A-F4DEF51D5756}"/>
              </c:ext>
            </c:extLst>
          </c:dPt>
          <c:dPt>
            <c:idx val="259"/>
            <c:invertIfNegative val="1"/>
            <c:bubble3D val="0"/>
            <c:spPr>
              <a:solidFill>
                <a:srgbClr val="AEABAB"/>
              </a:solidFill>
            </c:spPr>
            <c:extLst>
              <c:ext xmlns:c16="http://schemas.microsoft.com/office/drawing/2014/chart" uri="{C3380CC4-5D6E-409C-BE32-E72D297353CC}">
                <c16:uniqueId val="{00000209-1E2F-46B8-A04A-F4DEF51D5756}"/>
              </c:ext>
            </c:extLst>
          </c:dPt>
          <c:dPt>
            <c:idx val="260"/>
            <c:invertIfNegative val="1"/>
            <c:bubble3D val="0"/>
            <c:spPr>
              <a:solidFill>
                <a:srgbClr val="AEABAB"/>
              </a:solidFill>
            </c:spPr>
            <c:extLst>
              <c:ext xmlns:c16="http://schemas.microsoft.com/office/drawing/2014/chart" uri="{C3380CC4-5D6E-409C-BE32-E72D297353CC}">
                <c16:uniqueId val="{0000020B-1E2F-46B8-A04A-F4DEF51D5756}"/>
              </c:ext>
            </c:extLst>
          </c:dPt>
          <c:dPt>
            <c:idx val="261"/>
            <c:invertIfNegative val="1"/>
            <c:bubble3D val="0"/>
            <c:spPr>
              <a:solidFill>
                <a:srgbClr val="AEABAB"/>
              </a:solidFill>
            </c:spPr>
            <c:extLst>
              <c:ext xmlns:c16="http://schemas.microsoft.com/office/drawing/2014/chart" uri="{C3380CC4-5D6E-409C-BE32-E72D297353CC}">
                <c16:uniqueId val="{0000020D-1E2F-46B8-A04A-F4DEF51D5756}"/>
              </c:ext>
            </c:extLst>
          </c:dPt>
          <c:dPt>
            <c:idx val="262"/>
            <c:invertIfNegative val="1"/>
            <c:bubble3D val="0"/>
            <c:spPr>
              <a:solidFill>
                <a:srgbClr val="AEABAB"/>
              </a:solidFill>
            </c:spPr>
            <c:extLst>
              <c:ext xmlns:c16="http://schemas.microsoft.com/office/drawing/2014/chart" uri="{C3380CC4-5D6E-409C-BE32-E72D297353CC}">
                <c16:uniqueId val="{0000020F-1E2F-46B8-A04A-F4DEF51D5756}"/>
              </c:ext>
            </c:extLst>
          </c:dPt>
          <c:dPt>
            <c:idx val="263"/>
            <c:invertIfNegative val="1"/>
            <c:bubble3D val="0"/>
            <c:spPr>
              <a:solidFill>
                <a:srgbClr val="AEABAB"/>
              </a:solidFill>
            </c:spPr>
            <c:extLst>
              <c:ext xmlns:c16="http://schemas.microsoft.com/office/drawing/2014/chart" uri="{C3380CC4-5D6E-409C-BE32-E72D297353CC}">
                <c16:uniqueId val="{00000211-1E2F-46B8-A04A-F4DEF51D5756}"/>
              </c:ext>
            </c:extLst>
          </c:dPt>
          <c:dPt>
            <c:idx val="264"/>
            <c:invertIfNegative val="1"/>
            <c:bubble3D val="0"/>
            <c:spPr>
              <a:solidFill>
                <a:srgbClr val="AEABAB"/>
              </a:solidFill>
            </c:spPr>
            <c:extLst>
              <c:ext xmlns:c16="http://schemas.microsoft.com/office/drawing/2014/chart" uri="{C3380CC4-5D6E-409C-BE32-E72D297353CC}">
                <c16:uniqueId val="{00000213-1E2F-46B8-A04A-F4DEF51D5756}"/>
              </c:ext>
            </c:extLst>
          </c:dPt>
          <c:dPt>
            <c:idx val="265"/>
            <c:invertIfNegative val="1"/>
            <c:bubble3D val="0"/>
            <c:spPr>
              <a:solidFill>
                <a:srgbClr val="AEABAB"/>
              </a:solidFill>
            </c:spPr>
            <c:extLst>
              <c:ext xmlns:c16="http://schemas.microsoft.com/office/drawing/2014/chart" uri="{C3380CC4-5D6E-409C-BE32-E72D297353CC}">
                <c16:uniqueId val="{00000215-1E2F-46B8-A04A-F4DEF51D5756}"/>
              </c:ext>
            </c:extLst>
          </c:dPt>
          <c:dPt>
            <c:idx val="266"/>
            <c:invertIfNegative val="1"/>
            <c:bubble3D val="0"/>
            <c:spPr>
              <a:solidFill>
                <a:srgbClr val="AEABAB"/>
              </a:solidFill>
            </c:spPr>
            <c:extLst>
              <c:ext xmlns:c16="http://schemas.microsoft.com/office/drawing/2014/chart" uri="{C3380CC4-5D6E-409C-BE32-E72D297353CC}">
                <c16:uniqueId val="{00000217-1E2F-46B8-A04A-F4DEF51D5756}"/>
              </c:ext>
            </c:extLst>
          </c:dPt>
          <c:dPt>
            <c:idx val="267"/>
            <c:invertIfNegative val="1"/>
            <c:bubble3D val="0"/>
            <c:spPr>
              <a:solidFill>
                <a:srgbClr val="AEABAB"/>
              </a:solidFill>
            </c:spPr>
            <c:extLst>
              <c:ext xmlns:c16="http://schemas.microsoft.com/office/drawing/2014/chart" uri="{C3380CC4-5D6E-409C-BE32-E72D297353CC}">
                <c16:uniqueId val="{00000219-1E2F-46B8-A04A-F4DEF51D5756}"/>
              </c:ext>
            </c:extLst>
          </c:dPt>
          <c:dPt>
            <c:idx val="268"/>
            <c:invertIfNegative val="1"/>
            <c:bubble3D val="0"/>
            <c:spPr>
              <a:solidFill>
                <a:srgbClr val="AEABAB"/>
              </a:solidFill>
            </c:spPr>
            <c:extLst>
              <c:ext xmlns:c16="http://schemas.microsoft.com/office/drawing/2014/chart" uri="{C3380CC4-5D6E-409C-BE32-E72D297353CC}">
                <c16:uniqueId val="{0000021B-1E2F-46B8-A04A-F4DEF51D5756}"/>
              </c:ext>
            </c:extLst>
          </c:dPt>
          <c:dPt>
            <c:idx val="269"/>
            <c:invertIfNegative val="1"/>
            <c:bubble3D val="0"/>
            <c:spPr>
              <a:solidFill>
                <a:srgbClr val="AEABAB"/>
              </a:solidFill>
            </c:spPr>
            <c:extLst>
              <c:ext xmlns:c16="http://schemas.microsoft.com/office/drawing/2014/chart" uri="{C3380CC4-5D6E-409C-BE32-E72D297353CC}">
                <c16:uniqueId val="{0000021D-1E2F-46B8-A04A-F4DEF51D5756}"/>
              </c:ext>
            </c:extLst>
          </c:dPt>
          <c:dPt>
            <c:idx val="270"/>
            <c:invertIfNegative val="1"/>
            <c:bubble3D val="0"/>
            <c:spPr>
              <a:solidFill>
                <a:srgbClr val="AEABAB"/>
              </a:solidFill>
            </c:spPr>
            <c:extLst>
              <c:ext xmlns:c16="http://schemas.microsoft.com/office/drawing/2014/chart" uri="{C3380CC4-5D6E-409C-BE32-E72D297353CC}">
                <c16:uniqueId val="{0000021F-1E2F-46B8-A04A-F4DEF51D5756}"/>
              </c:ext>
            </c:extLst>
          </c:dPt>
          <c:dPt>
            <c:idx val="271"/>
            <c:invertIfNegative val="1"/>
            <c:bubble3D val="0"/>
            <c:spPr>
              <a:solidFill>
                <a:srgbClr val="AEABAB"/>
              </a:solidFill>
            </c:spPr>
            <c:extLst>
              <c:ext xmlns:c16="http://schemas.microsoft.com/office/drawing/2014/chart" uri="{C3380CC4-5D6E-409C-BE32-E72D297353CC}">
                <c16:uniqueId val="{00000221-1E2F-46B8-A04A-F4DEF51D5756}"/>
              </c:ext>
            </c:extLst>
          </c:dPt>
          <c:dPt>
            <c:idx val="272"/>
            <c:invertIfNegative val="1"/>
            <c:bubble3D val="0"/>
            <c:spPr>
              <a:solidFill>
                <a:srgbClr val="AEABAB"/>
              </a:solidFill>
            </c:spPr>
            <c:extLst>
              <c:ext xmlns:c16="http://schemas.microsoft.com/office/drawing/2014/chart" uri="{C3380CC4-5D6E-409C-BE32-E72D297353CC}">
                <c16:uniqueId val="{00000223-1E2F-46B8-A04A-F4DEF51D5756}"/>
              </c:ext>
            </c:extLst>
          </c:dPt>
          <c:dPt>
            <c:idx val="273"/>
            <c:invertIfNegative val="1"/>
            <c:bubble3D val="0"/>
            <c:spPr>
              <a:solidFill>
                <a:srgbClr val="AEABAB"/>
              </a:solidFill>
            </c:spPr>
            <c:extLst>
              <c:ext xmlns:c16="http://schemas.microsoft.com/office/drawing/2014/chart" uri="{C3380CC4-5D6E-409C-BE32-E72D297353CC}">
                <c16:uniqueId val="{00000225-1E2F-46B8-A04A-F4DEF51D5756}"/>
              </c:ext>
            </c:extLst>
          </c:dPt>
          <c:dPt>
            <c:idx val="274"/>
            <c:invertIfNegative val="1"/>
            <c:bubble3D val="0"/>
            <c:spPr>
              <a:solidFill>
                <a:srgbClr val="AEABAB"/>
              </a:solidFill>
            </c:spPr>
            <c:extLst>
              <c:ext xmlns:c16="http://schemas.microsoft.com/office/drawing/2014/chart" uri="{C3380CC4-5D6E-409C-BE32-E72D297353CC}">
                <c16:uniqueId val="{00000227-1E2F-46B8-A04A-F4DEF51D5756}"/>
              </c:ext>
            </c:extLst>
          </c:dPt>
          <c:dPt>
            <c:idx val="275"/>
            <c:invertIfNegative val="1"/>
            <c:bubble3D val="0"/>
            <c:spPr>
              <a:solidFill>
                <a:srgbClr val="AEABAB"/>
              </a:solidFill>
            </c:spPr>
            <c:extLst>
              <c:ext xmlns:c16="http://schemas.microsoft.com/office/drawing/2014/chart" uri="{C3380CC4-5D6E-409C-BE32-E72D297353CC}">
                <c16:uniqueId val="{00000229-1E2F-46B8-A04A-F4DEF51D5756}"/>
              </c:ext>
            </c:extLst>
          </c:dPt>
          <c:dPt>
            <c:idx val="276"/>
            <c:invertIfNegative val="1"/>
            <c:bubble3D val="0"/>
            <c:spPr>
              <a:solidFill>
                <a:srgbClr val="AEABAB"/>
              </a:solidFill>
            </c:spPr>
            <c:extLst>
              <c:ext xmlns:c16="http://schemas.microsoft.com/office/drawing/2014/chart" uri="{C3380CC4-5D6E-409C-BE32-E72D297353CC}">
                <c16:uniqueId val="{0000022B-1E2F-46B8-A04A-F4DEF51D5756}"/>
              </c:ext>
            </c:extLst>
          </c:dPt>
          <c:dPt>
            <c:idx val="277"/>
            <c:invertIfNegative val="1"/>
            <c:bubble3D val="0"/>
            <c:spPr>
              <a:solidFill>
                <a:srgbClr val="AEABAB"/>
              </a:solidFill>
            </c:spPr>
            <c:extLst>
              <c:ext xmlns:c16="http://schemas.microsoft.com/office/drawing/2014/chart" uri="{C3380CC4-5D6E-409C-BE32-E72D297353CC}">
                <c16:uniqueId val="{0000022D-1E2F-46B8-A04A-F4DEF51D5756}"/>
              </c:ext>
            </c:extLst>
          </c:dPt>
          <c:dPt>
            <c:idx val="278"/>
            <c:invertIfNegative val="1"/>
            <c:bubble3D val="0"/>
            <c:spPr>
              <a:solidFill>
                <a:srgbClr val="AEABAB"/>
              </a:solidFill>
            </c:spPr>
            <c:extLst>
              <c:ext xmlns:c16="http://schemas.microsoft.com/office/drawing/2014/chart" uri="{C3380CC4-5D6E-409C-BE32-E72D297353CC}">
                <c16:uniqueId val="{0000022F-1E2F-46B8-A04A-F4DEF51D5756}"/>
              </c:ext>
            </c:extLst>
          </c:dPt>
          <c:dPt>
            <c:idx val="279"/>
            <c:invertIfNegative val="1"/>
            <c:bubble3D val="0"/>
            <c:spPr>
              <a:solidFill>
                <a:srgbClr val="AEABAB"/>
              </a:solidFill>
            </c:spPr>
            <c:extLst>
              <c:ext xmlns:c16="http://schemas.microsoft.com/office/drawing/2014/chart" uri="{C3380CC4-5D6E-409C-BE32-E72D297353CC}">
                <c16:uniqueId val="{00000231-1E2F-46B8-A04A-F4DEF51D5756}"/>
              </c:ext>
            </c:extLst>
          </c:dPt>
          <c:dPt>
            <c:idx val="280"/>
            <c:invertIfNegative val="1"/>
            <c:bubble3D val="0"/>
            <c:spPr>
              <a:solidFill>
                <a:srgbClr val="AEABAB"/>
              </a:solidFill>
            </c:spPr>
            <c:extLst>
              <c:ext xmlns:c16="http://schemas.microsoft.com/office/drawing/2014/chart" uri="{C3380CC4-5D6E-409C-BE32-E72D297353CC}">
                <c16:uniqueId val="{00000233-1E2F-46B8-A04A-F4DEF51D5756}"/>
              </c:ext>
            </c:extLst>
          </c:dPt>
          <c:dPt>
            <c:idx val="281"/>
            <c:invertIfNegative val="1"/>
            <c:bubble3D val="0"/>
            <c:spPr>
              <a:solidFill>
                <a:srgbClr val="AEABAB"/>
              </a:solidFill>
            </c:spPr>
            <c:extLst>
              <c:ext xmlns:c16="http://schemas.microsoft.com/office/drawing/2014/chart" uri="{C3380CC4-5D6E-409C-BE32-E72D297353CC}">
                <c16:uniqueId val="{00000235-1E2F-46B8-A04A-F4DEF51D5756}"/>
              </c:ext>
            </c:extLst>
          </c:dPt>
          <c:dPt>
            <c:idx val="282"/>
            <c:invertIfNegative val="1"/>
            <c:bubble3D val="0"/>
            <c:spPr>
              <a:solidFill>
                <a:srgbClr val="AEABAB"/>
              </a:solidFill>
            </c:spPr>
            <c:extLst>
              <c:ext xmlns:c16="http://schemas.microsoft.com/office/drawing/2014/chart" uri="{C3380CC4-5D6E-409C-BE32-E72D297353CC}">
                <c16:uniqueId val="{00000237-1E2F-46B8-A04A-F4DEF51D5756}"/>
              </c:ext>
            </c:extLst>
          </c:dPt>
          <c:dPt>
            <c:idx val="283"/>
            <c:invertIfNegative val="1"/>
            <c:bubble3D val="0"/>
            <c:spPr>
              <a:solidFill>
                <a:srgbClr val="AEABAB"/>
              </a:solidFill>
            </c:spPr>
            <c:extLst>
              <c:ext xmlns:c16="http://schemas.microsoft.com/office/drawing/2014/chart" uri="{C3380CC4-5D6E-409C-BE32-E72D297353CC}">
                <c16:uniqueId val="{00000239-1E2F-46B8-A04A-F4DEF51D5756}"/>
              </c:ext>
            </c:extLst>
          </c:dPt>
          <c:dPt>
            <c:idx val="284"/>
            <c:invertIfNegative val="1"/>
            <c:bubble3D val="0"/>
            <c:spPr>
              <a:solidFill>
                <a:srgbClr val="AEABAB"/>
              </a:solidFill>
            </c:spPr>
            <c:extLst>
              <c:ext xmlns:c16="http://schemas.microsoft.com/office/drawing/2014/chart" uri="{C3380CC4-5D6E-409C-BE32-E72D297353CC}">
                <c16:uniqueId val="{0000023B-1E2F-46B8-A04A-F4DEF51D5756}"/>
              </c:ext>
            </c:extLst>
          </c:dPt>
          <c:dPt>
            <c:idx val="285"/>
            <c:invertIfNegative val="1"/>
            <c:bubble3D val="0"/>
            <c:spPr>
              <a:solidFill>
                <a:srgbClr val="AEABAB"/>
              </a:solidFill>
            </c:spPr>
            <c:extLst>
              <c:ext xmlns:c16="http://schemas.microsoft.com/office/drawing/2014/chart" uri="{C3380CC4-5D6E-409C-BE32-E72D297353CC}">
                <c16:uniqueId val="{0000023D-1E2F-46B8-A04A-F4DEF51D5756}"/>
              </c:ext>
            </c:extLst>
          </c:dPt>
          <c:dPt>
            <c:idx val="286"/>
            <c:invertIfNegative val="1"/>
            <c:bubble3D val="0"/>
            <c:spPr>
              <a:solidFill>
                <a:srgbClr val="AEABAB"/>
              </a:solidFill>
            </c:spPr>
            <c:extLst>
              <c:ext xmlns:c16="http://schemas.microsoft.com/office/drawing/2014/chart" uri="{C3380CC4-5D6E-409C-BE32-E72D297353CC}">
                <c16:uniqueId val="{0000023F-1E2F-46B8-A04A-F4DEF51D5756}"/>
              </c:ext>
            </c:extLst>
          </c:dPt>
          <c:dPt>
            <c:idx val="287"/>
            <c:invertIfNegative val="1"/>
            <c:bubble3D val="0"/>
            <c:spPr>
              <a:solidFill>
                <a:srgbClr val="AEABAB"/>
              </a:solidFill>
            </c:spPr>
            <c:extLst>
              <c:ext xmlns:c16="http://schemas.microsoft.com/office/drawing/2014/chart" uri="{C3380CC4-5D6E-409C-BE32-E72D297353CC}">
                <c16:uniqueId val="{00000241-1E2F-46B8-A04A-F4DEF51D5756}"/>
              </c:ext>
            </c:extLst>
          </c:dPt>
          <c:dPt>
            <c:idx val="288"/>
            <c:invertIfNegative val="1"/>
            <c:bubble3D val="0"/>
            <c:spPr>
              <a:solidFill>
                <a:srgbClr val="AEABAB"/>
              </a:solidFill>
            </c:spPr>
            <c:extLst>
              <c:ext xmlns:c16="http://schemas.microsoft.com/office/drawing/2014/chart" uri="{C3380CC4-5D6E-409C-BE32-E72D297353CC}">
                <c16:uniqueId val="{00000243-1E2F-46B8-A04A-F4DEF51D5756}"/>
              </c:ext>
            </c:extLst>
          </c:dPt>
          <c:dPt>
            <c:idx val="289"/>
            <c:invertIfNegative val="1"/>
            <c:bubble3D val="0"/>
            <c:spPr>
              <a:solidFill>
                <a:srgbClr val="AEABAB"/>
              </a:solidFill>
            </c:spPr>
            <c:extLst>
              <c:ext xmlns:c16="http://schemas.microsoft.com/office/drawing/2014/chart" uri="{C3380CC4-5D6E-409C-BE32-E72D297353CC}">
                <c16:uniqueId val="{00000245-1E2F-46B8-A04A-F4DEF51D5756}"/>
              </c:ext>
            </c:extLst>
          </c:dPt>
          <c:dPt>
            <c:idx val="290"/>
            <c:invertIfNegative val="1"/>
            <c:bubble3D val="0"/>
            <c:spPr>
              <a:solidFill>
                <a:srgbClr val="AEABAB"/>
              </a:solidFill>
            </c:spPr>
            <c:extLst>
              <c:ext xmlns:c16="http://schemas.microsoft.com/office/drawing/2014/chart" uri="{C3380CC4-5D6E-409C-BE32-E72D297353CC}">
                <c16:uniqueId val="{00000247-1E2F-46B8-A04A-F4DEF51D5756}"/>
              </c:ext>
            </c:extLst>
          </c:dPt>
          <c:dPt>
            <c:idx val="291"/>
            <c:invertIfNegative val="1"/>
            <c:bubble3D val="0"/>
            <c:spPr>
              <a:solidFill>
                <a:srgbClr val="AEABAB"/>
              </a:solidFill>
            </c:spPr>
            <c:extLst>
              <c:ext xmlns:c16="http://schemas.microsoft.com/office/drawing/2014/chart" uri="{C3380CC4-5D6E-409C-BE32-E72D297353CC}">
                <c16:uniqueId val="{00000249-1E2F-46B8-A04A-F4DEF51D5756}"/>
              </c:ext>
            </c:extLst>
          </c:dPt>
          <c:dPt>
            <c:idx val="292"/>
            <c:invertIfNegative val="1"/>
            <c:bubble3D val="0"/>
            <c:spPr>
              <a:solidFill>
                <a:srgbClr val="AEABAB"/>
              </a:solidFill>
            </c:spPr>
            <c:extLst>
              <c:ext xmlns:c16="http://schemas.microsoft.com/office/drawing/2014/chart" uri="{C3380CC4-5D6E-409C-BE32-E72D297353CC}">
                <c16:uniqueId val="{0000024B-1E2F-46B8-A04A-F4DEF51D5756}"/>
              </c:ext>
            </c:extLst>
          </c:dPt>
          <c:dPt>
            <c:idx val="293"/>
            <c:invertIfNegative val="1"/>
            <c:bubble3D val="0"/>
            <c:spPr>
              <a:solidFill>
                <a:srgbClr val="AEABAB"/>
              </a:solidFill>
            </c:spPr>
            <c:extLst>
              <c:ext xmlns:c16="http://schemas.microsoft.com/office/drawing/2014/chart" uri="{C3380CC4-5D6E-409C-BE32-E72D297353CC}">
                <c16:uniqueId val="{0000024D-1E2F-46B8-A04A-F4DEF51D5756}"/>
              </c:ext>
            </c:extLst>
          </c:dPt>
          <c:dPt>
            <c:idx val="294"/>
            <c:invertIfNegative val="1"/>
            <c:bubble3D val="0"/>
            <c:spPr>
              <a:solidFill>
                <a:srgbClr val="AEABAB"/>
              </a:solidFill>
            </c:spPr>
            <c:extLst>
              <c:ext xmlns:c16="http://schemas.microsoft.com/office/drawing/2014/chart" uri="{C3380CC4-5D6E-409C-BE32-E72D297353CC}">
                <c16:uniqueId val="{0000024F-1E2F-46B8-A04A-F4DEF51D5756}"/>
              </c:ext>
            </c:extLst>
          </c:dPt>
          <c:dPt>
            <c:idx val="295"/>
            <c:invertIfNegative val="1"/>
            <c:bubble3D val="0"/>
            <c:spPr>
              <a:solidFill>
                <a:srgbClr val="AEABAB"/>
              </a:solidFill>
            </c:spPr>
            <c:extLst>
              <c:ext xmlns:c16="http://schemas.microsoft.com/office/drawing/2014/chart" uri="{C3380CC4-5D6E-409C-BE32-E72D297353CC}">
                <c16:uniqueId val="{00000251-1E2F-46B8-A04A-F4DEF51D5756}"/>
              </c:ext>
            </c:extLst>
          </c:dPt>
          <c:dPt>
            <c:idx val="296"/>
            <c:invertIfNegative val="1"/>
            <c:bubble3D val="0"/>
            <c:spPr>
              <a:solidFill>
                <a:srgbClr val="AEABAB"/>
              </a:solidFill>
            </c:spPr>
            <c:extLst>
              <c:ext xmlns:c16="http://schemas.microsoft.com/office/drawing/2014/chart" uri="{C3380CC4-5D6E-409C-BE32-E72D297353CC}">
                <c16:uniqueId val="{00000253-1E2F-46B8-A04A-F4DEF51D5756}"/>
              </c:ext>
            </c:extLst>
          </c:dPt>
          <c:dPt>
            <c:idx val="297"/>
            <c:invertIfNegative val="1"/>
            <c:bubble3D val="0"/>
            <c:spPr>
              <a:solidFill>
                <a:srgbClr val="AEABAB"/>
              </a:solidFill>
            </c:spPr>
            <c:extLst>
              <c:ext xmlns:c16="http://schemas.microsoft.com/office/drawing/2014/chart" uri="{C3380CC4-5D6E-409C-BE32-E72D297353CC}">
                <c16:uniqueId val="{00000255-1E2F-46B8-A04A-F4DEF51D5756}"/>
              </c:ext>
            </c:extLst>
          </c:dPt>
          <c:dPt>
            <c:idx val="298"/>
            <c:invertIfNegative val="1"/>
            <c:bubble3D val="0"/>
            <c:spPr>
              <a:solidFill>
                <a:srgbClr val="AEABAB"/>
              </a:solidFill>
            </c:spPr>
            <c:extLst>
              <c:ext xmlns:c16="http://schemas.microsoft.com/office/drawing/2014/chart" uri="{C3380CC4-5D6E-409C-BE32-E72D297353CC}">
                <c16:uniqueId val="{00000257-1E2F-46B8-A04A-F4DEF51D5756}"/>
              </c:ext>
            </c:extLst>
          </c:dPt>
          <c:dPt>
            <c:idx val="299"/>
            <c:invertIfNegative val="1"/>
            <c:bubble3D val="0"/>
            <c:spPr>
              <a:solidFill>
                <a:srgbClr val="AEABAB"/>
              </a:solidFill>
            </c:spPr>
            <c:extLst>
              <c:ext xmlns:c16="http://schemas.microsoft.com/office/drawing/2014/chart" uri="{C3380CC4-5D6E-409C-BE32-E72D297353CC}">
                <c16:uniqueId val="{00000259-1E2F-46B8-A04A-F4DEF51D5756}"/>
              </c:ext>
            </c:extLst>
          </c:dPt>
          <c:dPt>
            <c:idx val="300"/>
            <c:invertIfNegative val="1"/>
            <c:bubble3D val="0"/>
            <c:spPr>
              <a:solidFill>
                <a:srgbClr val="AEABAB"/>
              </a:solidFill>
            </c:spPr>
            <c:extLst>
              <c:ext xmlns:c16="http://schemas.microsoft.com/office/drawing/2014/chart" uri="{C3380CC4-5D6E-409C-BE32-E72D297353CC}">
                <c16:uniqueId val="{0000025B-1E2F-46B8-A04A-F4DEF51D5756}"/>
              </c:ext>
            </c:extLst>
          </c:dPt>
          <c:dPt>
            <c:idx val="301"/>
            <c:invertIfNegative val="1"/>
            <c:bubble3D val="0"/>
            <c:spPr>
              <a:solidFill>
                <a:srgbClr val="AEABAB"/>
              </a:solidFill>
            </c:spPr>
            <c:extLst>
              <c:ext xmlns:c16="http://schemas.microsoft.com/office/drawing/2014/chart" uri="{C3380CC4-5D6E-409C-BE32-E72D297353CC}">
                <c16:uniqueId val="{0000025D-1E2F-46B8-A04A-F4DEF51D5756}"/>
              </c:ext>
            </c:extLst>
          </c:dPt>
          <c:dPt>
            <c:idx val="302"/>
            <c:invertIfNegative val="1"/>
            <c:bubble3D val="0"/>
            <c:spPr>
              <a:solidFill>
                <a:srgbClr val="AEABAB"/>
              </a:solidFill>
            </c:spPr>
            <c:extLst>
              <c:ext xmlns:c16="http://schemas.microsoft.com/office/drawing/2014/chart" uri="{C3380CC4-5D6E-409C-BE32-E72D297353CC}">
                <c16:uniqueId val="{0000025F-1E2F-46B8-A04A-F4DEF51D5756}"/>
              </c:ext>
            </c:extLst>
          </c:dPt>
          <c:dPt>
            <c:idx val="303"/>
            <c:invertIfNegative val="1"/>
            <c:bubble3D val="0"/>
            <c:spPr>
              <a:solidFill>
                <a:srgbClr val="AEABAB"/>
              </a:solidFill>
            </c:spPr>
            <c:extLst>
              <c:ext xmlns:c16="http://schemas.microsoft.com/office/drawing/2014/chart" uri="{C3380CC4-5D6E-409C-BE32-E72D297353CC}">
                <c16:uniqueId val="{00000261-1E2F-46B8-A04A-F4DEF51D5756}"/>
              </c:ext>
            </c:extLst>
          </c:dPt>
          <c:dPt>
            <c:idx val="304"/>
            <c:invertIfNegative val="1"/>
            <c:bubble3D val="0"/>
            <c:spPr>
              <a:solidFill>
                <a:srgbClr val="AEABAB"/>
              </a:solidFill>
            </c:spPr>
            <c:extLst>
              <c:ext xmlns:c16="http://schemas.microsoft.com/office/drawing/2014/chart" uri="{C3380CC4-5D6E-409C-BE32-E72D297353CC}">
                <c16:uniqueId val="{00000263-1E2F-46B8-A04A-F4DEF51D5756}"/>
              </c:ext>
            </c:extLst>
          </c:dPt>
          <c:dPt>
            <c:idx val="305"/>
            <c:invertIfNegative val="1"/>
            <c:bubble3D val="0"/>
            <c:spPr>
              <a:solidFill>
                <a:srgbClr val="AEABAB"/>
              </a:solidFill>
            </c:spPr>
            <c:extLst>
              <c:ext xmlns:c16="http://schemas.microsoft.com/office/drawing/2014/chart" uri="{C3380CC4-5D6E-409C-BE32-E72D297353CC}">
                <c16:uniqueId val="{00000265-1E2F-46B8-A04A-F4DEF51D5756}"/>
              </c:ext>
            </c:extLst>
          </c:dPt>
          <c:dPt>
            <c:idx val="306"/>
            <c:invertIfNegative val="1"/>
            <c:bubble3D val="0"/>
            <c:spPr>
              <a:solidFill>
                <a:srgbClr val="AEABAB"/>
              </a:solidFill>
            </c:spPr>
            <c:extLst>
              <c:ext xmlns:c16="http://schemas.microsoft.com/office/drawing/2014/chart" uri="{C3380CC4-5D6E-409C-BE32-E72D297353CC}">
                <c16:uniqueId val="{00000267-1E2F-46B8-A04A-F4DEF51D5756}"/>
              </c:ext>
            </c:extLst>
          </c:dPt>
          <c:dPt>
            <c:idx val="307"/>
            <c:invertIfNegative val="1"/>
            <c:bubble3D val="0"/>
            <c:spPr>
              <a:solidFill>
                <a:srgbClr val="AEABAB"/>
              </a:solidFill>
            </c:spPr>
            <c:extLst>
              <c:ext xmlns:c16="http://schemas.microsoft.com/office/drawing/2014/chart" uri="{C3380CC4-5D6E-409C-BE32-E72D297353CC}">
                <c16:uniqueId val="{00000269-1E2F-46B8-A04A-F4DEF51D5756}"/>
              </c:ext>
            </c:extLst>
          </c:dPt>
          <c:dPt>
            <c:idx val="308"/>
            <c:invertIfNegative val="1"/>
            <c:bubble3D val="0"/>
            <c:spPr>
              <a:solidFill>
                <a:srgbClr val="AEABAB"/>
              </a:solidFill>
            </c:spPr>
            <c:extLst>
              <c:ext xmlns:c16="http://schemas.microsoft.com/office/drawing/2014/chart" uri="{C3380CC4-5D6E-409C-BE32-E72D297353CC}">
                <c16:uniqueId val="{0000026B-1E2F-46B8-A04A-F4DEF51D5756}"/>
              </c:ext>
            </c:extLst>
          </c:dPt>
          <c:dPt>
            <c:idx val="309"/>
            <c:invertIfNegative val="1"/>
            <c:bubble3D val="0"/>
            <c:spPr>
              <a:solidFill>
                <a:srgbClr val="AEABAB"/>
              </a:solidFill>
            </c:spPr>
            <c:extLst>
              <c:ext xmlns:c16="http://schemas.microsoft.com/office/drawing/2014/chart" uri="{C3380CC4-5D6E-409C-BE32-E72D297353CC}">
                <c16:uniqueId val="{0000026D-1E2F-46B8-A04A-F4DEF51D5756}"/>
              </c:ext>
            </c:extLst>
          </c:dPt>
          <c:dPt>
            <c:idx val="310"/>
            <c:invertIfNegative val="1"/>
            <c:bubble3D val="0"/>
            <c:spPr>
              <a:solidFill>
                <a:srgbClr val="AEABAB"/>
              </a:solidFill>
            </c:spPr>
            <c:extLst>
              <c:ext xmlns:c16="http://schemas.microsoft.com/office/drawing/2014/chart" uri="{C3380CC4-5D6E-409C-BE32-E72D297353CC}">
                <c16:uniqueId val="{0000026F-1E2F-46B8-A04A-F4DEF51D5756}"/>
              </c:ext>
            </c:extLst>
          </c:dPt>
          <c:dPt>
            <c:idx val="311"/>
            <c:invertIfNegative val="1"/>
            <c:bubble3D val="0"/>
            <c:spPr>
              <a:solidFill>
                <a:srgbClr val="AEABAB"/>
              </a:solidFill>
            </c:spPr>
            <c:extLst>
              <c:ext xmlns:c16="http://schemas.microsoft.com/office/drawing/2014/chart" uri="{C3380CC4-5D6E-409C-BE32-E72D297353CC}">
                <c16:uniqueId val="{00000271-1E2F-46B8-A04A-F4DEF51D5756}"/>
              </c:ext>
            </c:extLst>
          </c:dPt>
          <c:dPt>
            <c:idx val="312"/>
            <c:invertIfNegative val="1"/>
            <c:bubble3D val="0"/>
            <c:spPr>
              <a:solidFill>
                <a:srgbClr val="AEABAB"/>
              </a:solidFill>
            </c:spPr>
            <c:extLst>
              <c:ext xmlns:c16="http://schemas.microsoft.com/office/drawing/2014/chart" uri="{C3380CC4-5D6E-409C-BE32-E72D297353CC}">
                <c16:uniqueId val="{00000273-1E2F-46B8-A04A-F4DEF51D5756}"/>
              </c:ext>
            </c:extLst>
          </c:dPt>
          <c:dPt>
            <c:idx val="313"/>
            <c:invertIfNegative val="1"/>
            <c:bubble3D val="0"/>
            <c:spPr>
              <a:solidFill>
                <a:srgbClr val="AEABAB"/>
              </a:solidFill>
            </c:spPr>
            <c:extLst>
              <c:ext xmlns:c16="http://schemas.microsoft.com/office/drawing/2014/chart" uri="{C3380CC4-5D6E-409C-BE32-E72D297353CC}">
                <c16:uniqueId val="{00000275-1E2F-46B8-A04A-F4DEF51D5756}"/>
              </c:ext>
            </c:extLst>
          </c:dPt>
          <c:dPt>
            <c:idx val="314"/>
            <c:invertIfNegative val="1"/>
            <c:bubble3D val="0"/>
            <c:spPr>
              <a:solidFill>
                <a:srgbClr val="AEABAB"/>
              </a:solidFill>
            </c:spPr>
            <c:extLst>
              <c:ext xmlns:c16="http://schemas.microsoft.com/office/drawing/2014/chart" uri="{C3380CC4-5D6E-409C-BE32-E72D297353CC}">
                <c16:uniqueId val="{00000277-1E2F-46B8-A04A-F4DEF51D5756}"/>
              </c:ext>
            </c:extLst>
          </c:dPt>
          <c:dPt>
            <c:idx val="315"/>
            <c:invertIfNegative val="1"/>
            <c:bubble3D val="0"/>
            <c:spPr>
              <a:solidFill>
                <a:srgbClr val="AEABAB"/>
              </a:solidFill>
            </c:spPr>
            <c:extLst>
              <c:ext xmlns:c16="http://schemas.microsoft.com/office/drawing/2014/chart" uri="{C3380CC4-5D6E-409C-BE32-E72D297353CC}">
                <c16:uniqueId val="{00000279-1E2F-46B8-A04A-F4DEF51D5756}"/>
              </c:ext>
            </c:extLst>
          </c:dPt>
          <c:dPt>
            <c:idx val="316"/>
            <c:invertIfNegative val="1"/>
            <c:bubble3D val="0"/>
            <c:spPr>
              <a:solidFill>
                <a:srgbClr val="AEABAB"/>
              </a:solidFill>
            </c:spPr>
            <c:extLst>
              <c:ext xmlns:c16="http://schemas.microsoft.com/office/drawing/2014/chart" uri="{C3380CC4-5D6E-409C-BE32-E72D297353CC}">
                <c16:uniqueId val="{0000027B-1E2F-46B8-A04A-F4DEF51D5756}"/>
              </c:ext>
            </c:extLst>
          </c:dPt>
          <c:dPt>
            <c:idx val="317"/>
            <c:invertIfNegative val="1"/>
            <c:bubble3D val="0"/>
            <c:spPr>
              <a:solidFill>
                <a:srgbClr val="AEABAB"/>
              </a:solidFill>
            </c:spPr>
            <c:extLst>
              <c:ext xmlns:c16="http://schemas.microsoft.com/office/drawing/2014/chart" uri="{C3380CC4-5D6E-409C-BE32-E72D297353CC}">
                <c16:uniqueId val="{0000027D-1E2F-46B8-A04A-F4DEF51D5756}"/>
              </c:ext>
            </c:extLst>
          </c:dPt>
          <c:dPt>
            <c:idx val="318"/>
            <c:invertIfNegative val="1"/>
            <c:bubble3D val="0"/>
            <c:spPr>
              <a:solidFill>
                <a:srgbClr val="AEABAB"/>
              </a:solidFill>
            </c:spPr>
            <c:extLst>
              <c:ext xmlns:c16="http://schemas.microsoft.com/office/drawing/2014/chart" uri="{C3380CC4-5D6E-409C-BE32-E72D297353CC}">
                <c16:uniqueId val="{0000027F-1E2F-46B8-A04A-F4DEF51D5756}"/>
              </c:ext>
            </c:extLst>
          </c:dPt>
          <c:dPt>
            <c:idx val="319"/>
            <c:invertIfNegative val="1"/>
            <c:bubble3D val="0"/>
            <c:spPr>
              <a:solidFill>
                <a:srgbClr val="AEABAB"/>
              </a:solidFill>
            </c:spPr>
            <c:extLst>
              <c:ext xmlns:c16="http://schemas.microsoft.com/office/drawing/2014/chart" uri="{C3380CC4-5D6E-409C-BE32-E72D297353CC}">
                <c16:uniqueId val="{00000281-1E2F-46B8-A04A-F4DEF51D5756}"/>
              </c:ext>
            </c:extLst>
          </c:dPt>
          <c:dPt>
            <c:idx val="320"/>
            <c:invertIfNegative val="1"/>
            <c:bubble3D val="0"/>
            <c:spPr>
              <a:solidFill>
                <a:srgbClr val="AEABAB"/>
              </a:solidFill>
            </c:spPr>
            <c:extLst>
              <c:ext xmlns:c16="http://schemas.microsoft.com/office/drawing/2014/chart" uri="{C3380CC4-5D6E-409C-BE32-E72D297353CC}">
                <c16:uniqueId val="{00000283-1E2F-46B8-A04A-F4DEF51D5756}"/>
              </c:ext>
            </c:extLst>
          </c:dPt>
          <c:dPt>
            <c:idx val="321"/>
            <c:invertIfNegative val="1"/>
            <c:bubble3D val="0"/>
            <c:spPr>
              <a:solidFill>
                <a:srgbClr val="AEABAB"/>
              </a:solidFill>
            </c:spPr>
            <c:extLst>
              <c:ext xmlns:c16="http://schemas.microsoft.com/office/drawing/2014/chart" uri="{C3380CC4-5D6E-409C-BE32-E72D297353CC}">
                <c16:uniqueId val="{00000285-1E2F-46B8-A04A-F4DEF51D5756}"/>
              </c:ext>
            </c:extLst>
          </c:dPt>
          <c:dPt>
            <c:idx val="322"/>
            <c:invertIfNegative val="1"/>
            <c:bubble3D val="0"/>
            <c:spPr>
              <a:solidFill>
                <a:srgbClr val="AEABAB"/>
              </a:solidFill>
            </c:spPr>
            <c:extLst>
              <c:ext xmlns:c16="http://schemas.microsoft.com/office/drawing/2014/chart" uri="{C3380CC4-5D6E-409C-BE32-E72D297353CC}">
                <c16:uniqueId val="{00000287-1E2F-46B8-A04A-F4DEF51D5756}"/>
              </c:ext>
            </c:extLst>
          </c:dPt>
          <c:dPt>
            <c:idx val="323"/>
            <c:invertIfNegative val="1"/>
            <c:bubble3D val="0"/>
            <c:spPr>
              <a:solidFill>
                <a:srgbClr val="AEABAB"/>
              </a:solidFill>
            </c:spPr>
            <c:extLst>
              <c:ext xmlns:c16="http://schemas.microsoft.com/office/drawing/2014/chart" uri="{C3380CC4-5D6E-409C-BE32-E72D297353CC}">
                <c16:uniqueId val="{00000289-1E2F-46B8-A04A-F4DEF51D5756}"/>
              </c:ext>
            </c:extLst>
          </c:dPt>
          <c:dPt>
            <c:idx val="324"/>
            <c:invertIfNegative val="1"/>
            <c:bubble3D val="0"/>
            <c:spPr>
              <a:solidFill>
                <a:srgbClr val="AEABAB"/>
              </a:solidFill>
            </c:spPr>
            <c:extLst>
              <c:ext xmlns:c16="http://schemas.microsoft.com/office/drawing/2014/chart" uri="{C3380CC4-5D6E-409C-BE32-E72D297353CC}">
                <c16:uniqueId val="{0000028B-1E2F-46B8-A04A-F4DEF51D5756}"/>
              </c:ext>
            </c:extLst>
          </c:dPt>
          <c:dPt>
            <c:idx val="325"/>
            <c:invertIfNegative val="1"/>
            <c:bubble3D val="0"/>
            <c:spPr>
              <a:solidFill>
                <a:srgbClr val="AEABAB"/>
              </a:solidFill>
            </c:spPr>
            <c:extLst>
              <c:ext xmlns:c16="http://schemas.microsoft.com/office/drawing/2014/chart" uri="{C3380CC4-5D6E-409C-BE32-E72D297353CC}">
                <c16:uniqueId val="{0000028D-1E2F-46B8-A04A-F4DEF51D5756}"/>
              </c:ext>
            </c:extLst>
          </c:dPt>
          <c:dPt>
            <c:idx val="326"/>
            <c:invertIfNegative val="1"/>
            <c:bubble3D val="0"/>
            <c:spPr>
              <a:solidFill>
                <a:srgbClr val="AEABAB"/>
              </a:solidFill>
            </c:spPr>
            <c:extLst>
              <c:ext xmlns:c16="http://schemas.microsoft.com/office/drawing/2014/chart" uri="{C3380CC4-5D6E-409C-BE32-E72D297353CC}">
                <c16:uniqueId val="{0000028F-1E2F-46B8-A04A-F4DEF51D5756}"/>
              </c:ext>
            </c:extLst>
          </c:dPt>
          <c:dPt>
            <c:idx val="327"/>
            <c:invertIfNegative val="1"/>
            <c:bubble3D val="0"/>
            <c:spPr>
              <a:solidFill>
                <a:srgbClr val="AEABAB"/>
              </a:solidFill>
            </c:spPr>
            <c:extLst>
              <c:ext xmlns:c16="http://schemas.microsoft.com/office/drawing/2014/chart" uri="{C3380CC4-5D6E-409C-BE32-E72D297353CC}">
                <c16:uniqueId val="{00000291-1E2F-46B8-A04A-F4DEF51D5756}"/>
              </c:ext>
            </c:extLst>
          </c:dPt>
          <c:dPt>
            <c:idx val="328"/>
            <c:invertIfNegative val="1"/>
            <c:bubble3D val="0"/>
            <c:spPr>
              <a:solidFill>
                <a:srgbClr val="AEABAB"/>
              </a:solidFill>
            </c:spPr>
            <c:extLst>
              <c:ext xmlns:c16="http://schemas.microsoft.com/office/drawing/2014/chart" uri="{C3380CC4-5D6E-409C-BE32-E72D297353CC}">
                <c16:uniqueId val="{00000293-1E2F-46B8-A04A-F4DEF51D5756}"/>
              </c:ext>
            </c:extLst>
          </c:dPt>
          <c:dPt>
            <c:idx val="329"/>
            <c:invertIfNegative val="1"/>
            <c:bubble3D val="0"/>
            <c:spPr>
              <a:solidFill>
                <a:srgbClr val="AEABAB"/>
              </a:solidFill>
            </c:spPr>
            <c:extLst>
              <c:ext xmlns:c16="http://schemas.microsoft.com/office/drawing/2014/chart" uri="{C3380CC4-5D6E-409C-BE32-E72D297353CC}">
                <c16:uniqueId val="{00000295-1E2F-46B8-A04A-F4DEF51D5756}"/>
              </c:ext>
            </c:extLst>
          </c:dPt>
          <c:dPt>
            <c:idx val="330"/>
            <c:invertIfNegative val="1"/>
            <c:bubble3D val="0"/>
            <c:spPr>
              <a:solidFill>
                <a:srgbClr val="AEABAB"/>
              </a:solidFill>
            </c:spPr>
            <c:extLst>
              <c:ext xmlns:c16="http://schemas.microsoft.com/office/drawing/2014/chart" uri="{C3380CC4-5D6E-409C-BE32-E72D297353CC}">
                <c16:uniqueId val="{00000297-1E2F-46B8-A04A-F4DEF51D5756}"/>
              </c:ext>
            </c:extLst>
          </c:dPt>
          <c:dPt>
            <c:idx val="331"/>
            <c:invertIfNegative val="1"/>
            <c:bubble3D val="0"/>
            <c:spPr>
              <a:solidFill>
                <a:srgbClr val="AEABAB"/>
              </a:solidFill>
            </c:spPr>
            <c:extLst>
              <c:ext xmlns:c16="http://schemas.microsoft.com/office/drawing/2014/chart" uri="{C3380CC4-5D6E-409C-BE32-E72D297353CC}">
                <c16:uniqueId val="{00000299-1E2F-46B8-A04A-F4DEF51D5756}"/>
              </c:ext>
            </c:extLst>
          </c:dPt>
          <c:dPt>
            <c:idx val="332"/>
            <c:invertIfNegative val="1"/>
            <c:bubble3D val="0"/>
            <c:spPr>
              <a:solidFill>
                <a:srgbClr val="AEABAB"/>
              </a:solidFill>
            </c:spPr>
            <c:extLst>
              <c:ext xmlns:c16="http://schemas.microsoft.com/office/drawing/2014/chart" uri="{C3380CC4-5D6E-409C-BE32-E72D297353CC}">
                <c16:uniqueId val="{0000029B-1E2F-46B8-A04A-F4DEF51D5756}"/>
              </c:ext>
            </c:extLst>
          </c:dPt>
          <c:dPt>
            <c:idx val="333"/>
            <c:invertIfNegative val="1"/>
            <c:bubble3D val="0"/>
            <c:spPr>
              <a:solidFill>
                <a:srgbClr val="AEABAB"/>
              </a:solidFill>
            </c:spPr>
            <c:extLst>
              <c:ext xmlns:c16="http://schemas.microsoft.com/office/drawing/2014/chart" uri="{C3380CC4-5D6E-409C-BE32-E72D297353CC}">
                <c16:uniqueId val="{0000029D-1E2F-46B8-A04A-F4DEF51D5756}"/>
              </c:ext>
            </c:extLst>
          </c:dPt>
          <c:dPt>
            <c:idx val="334"/>
            <c:invertIfNegative val="1"/>
            <c:bubble3D val="0"/>
            <c:spPr>
              <a:solidFill>
                <a:srgbClr val="AEABAB"/>
              </a:solidFill>
            </c:spPr>
            <c:extLst>
              <c:ext xmlns:c16="http://schemas.microsoft.com/office/drawing/2014/chart" uri="{C3380CC4-5D6E-409C-BE32-E72D297353CC}">
                <c16:uniqueId val="{0000029F-1E2F-46B8-A04A-F4DEF51D5756}"/>
              </c:ext>
            </c:extLst>
          </c:dPt>
          <c:dPt>
            <c:idx val="335"/>
            <c:invertIfNegative val="1"/>
            <c:bubble3D val="0"/>
            <c:spPr>
              <a:solidFill>
                <a:srgbClr val="AEABAB"/>
              </a:solidFill>
            </c:spPr>
            <c:extLst>
              <c:ext xmlns:c16="http://schemas.microsoft.com/office/drawing/2014/chart" uri="{C3380CC4-5D6E-409C-BE32-E72D297353CC}">
                <c16:uniqueId val="{000002A1-1E2F-46B8-A04A-F4DEF51D5756}"/>
              </c:ext>
            </c:extLst>
          </c:dPt>
          <c:dPt>
            <c:idx val="336"/>
            <c:invertIfNegative val="1"/>
            <c:bubble3D val="0"/>
            <c:spPr>
              <a:solidFill>
                <a:srgbClr val="AEABAB"/>
              </a:solidFill>
            </c:spPr>
            <c:extLst>
              <c:ext xmlns:c16="http://schemas.microsoft.com/office/drawing/2014/chart" uri="{C3380CC4-5D6E-409C-BE32-E72D297353CC}">
                <c16:uniqueId val="{000002A3-1E2F-46B8-A04A-F4DEF51D5756}"/>
              </c:ext>
            </c:extLst>
          </c:dPt>
          <c:dPt>
            <c:idx val="337"/>
            <c:invertIfNegative val="1"/>
            <c:bubble3D val="0"/>
            <c:spPr>
              <a:solidFill>
                <a:srgbClr val="AEABAB"/>
              </a:solidFill>
            </c:spPr>
            <c:extLst>
              <c:ext xmlns:c16="http://schemas.microsoft.com/office/drawing/2014/chart" uri="{C3380CC4-5D6E-409C-BE32-E72D297353CC}">
                <c16:uniqueId val="{000002A5-1E2F-46B8-A04A-F4DEF51D5756}"/>
              </c:ext>
            </c:extLst>
          </c:dPt>
          <c:dPt>
            <c:idx val="338"/>
            <c:invertIfNegative val="1"/>
            <c:bubble3D val="0"/>
            <c:spPr>
              <a:solidFill>
                <a:srgbClr val="AEABAB"/>
              </a:solidFill>
            </c:spPr>
            <c:extLst>
              <c:ext xmlns:c16="http://schemas.microsoft.com/office/drawing/2014/chart" uri="{C3380CC4-5D6E-409C-BE32-E72D297353CC}">
                <c16:uniqueId val="{000002A7-1E2F-46B8-A04A-F4DEF51D5756}"/>
              </c:ext>
            </c:extLst>
          </c:dPt>
          <c:dPt>
            <c:idx val="339"/>
            <c:invertIfNegative val="1"/>
            <c:bubble3D val="0"/>
            <c:spPr>
              <a:solidFill>
                <a:srgbClr val="AEABAB"/>
              </a:solidFill>
            </c:spPr>
            <c:extLst>
              <c:ext xmlns:c16="http://schemas.microsoft.com/office/drawing/2014/chart" uri="{C3380CC4-5D6E-409C-BE32-E72D297353CC}">
                <c16:uniqueId val="{000002A9-1E2F-46B8-A04A-F4DEF51D5756}"/>
              </c:ext>
            </c:extLst>
          </c:dPt>
          <c:dPt>
            <c:idx val="340"/>
            <c:invertIfNegative val="1"/>
            <c:bubble3D val="0"/>
            <c:spPr>
              <a:solidFill>
                <a:srgbClr val="AEABAB"/>
              </a:solidFill>
            </c:spPr>
            <c:extLst>
              <c:ext xmlns:c16="http://schemas.microsoft.com/office/drawing/2014/chart" uri="{C3380CC4-5D6E-409C-BE32-E72D297353CC}">
                <c16:uniqueId val="{000002AB-1E2F-46B8-A04A-F4DEF51D5756}"/>
              </c:ext>
            </c:extLst>
          </c:dPt>
          <c:dPt>
            <c:idx val="341"/>
            <c:invertIfNegative val="1"/>
            <c:bubble3D val="0"/>
            <c:spPr>
              <a:solidFill>
                <a:srgbClr val="AEABAB"/>
              </a:solidFill>
            </c:spPr>
            <c:extLst>
              <c:ext xmlns:c16="http://schemas.microsoft.com/office/drawing/2014/chart" uri="{C3380CC4-5D6E-409C-BE32-E72D297353CC}">
                <c16:uniqueId val="{000002AD-1E2F-46B8-A04A-F4DEF51D5756}"/>
              </c:ext>
            </c:extLst>
          </c:dPt>
          <c:dPt>
            <c:idx val="342"/>
            <c:invertIfNegative val="1"/>
            <c:bubble3D val="0"/>
            <c:spPr>
              <a:solidFill>
                <a:srgbClr val="AEABAB"/>
              </a:solidFill>
            </c:spPr>
            <c:extLst>
              <c:ext xmlns:c16="http://schemas.microsoft.com/office/drawing/2014/chart" uri="{C3380CC4-5D6E-409C-BE32-E72D297353CC}">
                <c16:uniqueId val="{000002AF-1E2F-46B8-A04A-F4DEF51D5756}"/>
              </c:ext>
            </c:extLst>
          </c:dPt>
          <c:dPt>
            <c:idx val="343"/>
            <c:invertIfNegative val="1"/>
            <c:bubble3D val="0"/>
            <c:spPr>
              <a:solidFill>
                <a:srgbClr val="AEABAB"/>
              </a:solidFill>
            </c:spPr>
            <c:extLst>
              <c:ext xmlns:c16="http://schemas.microsoft.com/office/drawing/2014/chart" uri="{C3380CC4-5D6E-409C-BE32-E72D297353CC}">
                <c16:uniqueId val="{000002B1-1E2F-46B8-A04A-F4DEF51D5756}"/>
              </c:ext>
            </c:extLst>
          </c:dPt>
          <c:dPt>
            <c:idx val="344"/>
            <c:invertIfNegative val="1"/>
            <c:bubble3D val="0"/>
            <c:spPr>
              <a:solidFill>
                <a:srgbClr val="AEABAB"/>
              </a:solidFill>
            </c:spPr>
            <c:extLst>
              <c:ext xmlns:c16="http://schemas.microsoft.com/office/drawing/2014/chart" uri="{C3380CC4-5D6E-409C-BE32-E72D297353CC}">
                <c16:uniqueId val="{000002B3-1E2F-46B8-A04A-F4DEF51D5756}"/>
              </c:ext>
            </c:extLst>
          </c:dPt>
          <c:dPt>
            <c:idx val="345"/>
            <c:invertIfNegative val="1"/>
            <c:bubble3D val="0"/>
            <c:spPr>
              <a:solidFill>
                <a:srgbClr val="AEABAB"/>
              </a:solidFill>
            </c:spPr>
            <c:extLst>
              <c:ext xmlns:c16="http://schemas.microsoft.com/office/drawing/2014/chart" uri="{C3380CC4-5D6E-409C-BE32-E72D297353CC}">
                <c16:uniqueId val="{000002B5-1E2F-46B8-A04A-F4DEF51D5756}"/>
              </c:ext>
            </c:extLst>
          </c:dPt>
          <c:dPt>
            <c:idx val="346"/>
            <c:invertIfNegative val="1"/>
            <c:bubble3D val="0"/>
            <c:spPr>
              <a:solidFill>
                <a:srgbClr val="AEABAB"/>
              </a:solidFill>
            </c:spPr>
            <c:extLst>
              <c:ext xmlns:c16="http://schemas.microsoft.com/office/drawing/2014/chart" uri="{C3380CC4-5D6E-409C-BE32-E72D297353CC}">
                <c16:uniqueId val="{000002B7-1E2F-46B8-A04A-F4DEF51D5756}"/>
              </c:ext>
            </c:extLst>
          </c:dPt>
          <c:dPt>
            <c:idx val="347"/>
            <c:invertIfNegative val="1"/>
            <c:bubble3D val="0"/>
            <c:spPr>
              <a:solidFill>
                <a:srgbClr val="AEABAB"/>
              </a:solidFill>
            </c:spPr>
            <c:extLst>
              <c:ext xmlns:c16="http://schemas.microsoft.com/office/drawing/2014/chart" uri="{C3380CC4-5D6E-409C-BE32-E72D297353CC}">
                <c16:uniqueId val="{000002B9-1E2F-46B8-A04A-F4DEF51D5756}"/>
              </c:ext>
            </c:extLst>
          </c:dPt>
          <c:dPt>
            <c:idx val="348"/>
            <c:invertIfNegative val="1"/>
            <c:bubble3D val="0"/>
            <c:spPr>
              <a:solidFill>
                <a:srgbClr val="AEABAB"/>
              </a:solidFill>
            </c:spPr>
            <c:extLst>
              <c:ext xmlns:c16="http://schemas.microsoft.com/office/drawing/2014/chart" uri="{C3380CC4-5D6E-409C-BE32-E72D297353CC}">
                <c16:uniqueId val="{000002BB-1E2F-46B8-A04A-F4DEF51D5756}"/>
              </c:ext>
            </c:extLst>
          </c:dPt>
          <c:dPt>
            <c:idx val="349"/>
            <c:invertIfNegative val="1"/>
            <c:bubble3D val="0"/>
            <c:spPr>
              <a:solidFill>
                <a:srgbClr val="AEABAB"/>
              </a:solidFill>
            </c:spPr>
            <c:extLst>
              <c:ext xmlns:c16="http://schemas.microsoft.com/office/drawing/2014/chart" uri="{C3380CC4-5D6E-409C-BE32-E72D297353CC}">
                <c16:uniqueId val="{000002BD-1E2F-46B8-A04A-F4DEF51D5756}"/>
              </c:ext>
            </c:extLst>
          </c:dPt>
          <c:dPt>
            <c:idx val="350"/>
            <c:invertIfNegative val="1"/>
            <c:bubble3D val="0"/>
            <c:spPr>
              <a:solidFill>
                <a:srgbClr val="AEABAB"/>
              </a:solidFill>
            </c:spPr>
            <c:extLst>
              <c:ext xmlns:c16="http://schemas.microsoft.com/office/drawing/2014/chart" uri="{C3380CC4-5D6E-409C-BE32-E72D297353CC}">
                <c16:uniqueId val="{000002BF-1E2F-46B8-A04A-F4DEF51D5756}"/>
              </c:ext>
            </c:extLst>
          </c:dPt>
          <c:dPt>
            <c:idx val="351"/>
            <c:invertIfNegative val="1"/>
            <c:bubble3D val="0"/>
            <c:spPr>
              <a:solidFill>
                <a:srgbClr val="AEABAB"/>
              </a:solidFill>
            </c:spPr>
            <c:extLst>
              <c:ext xmlns:c16="http://schemas.microsoft.com/office/drawing/2014/chart" uri="{C3380CC4-5D6E-409C-BE32-E72D297353CC}">
                <c16:uniqueId val="{000002C1-1E2F-46B8-A04A-F4DEF51D5756}"/>
              </c:ext>
            </c:extLst>
          </c:dPt>
          <c:dPt>
            <c:idx val="352"/>
            <c:invertIfNegative val="1"/>
            <c:bubble3D val="0"/>
            <c:spPr>
              <a:solidFill>
                <a:srgbClr val="AEABAB"/>
              </a:solidFill>
            </c:spPr>
            <c:extLst>
              <c:ext xmlns:c16="http://schemas.microsoft.com/office/drawing/2014/chart" uri="{C3380CC4-5D6E-409C-BE32-E72D297353CC}">
                <c16:uniqueId val="{000002C3-1E2F-46B8-A04A-F4DEF51D5756}"/>
              </c:ext>
            </c:extLst>
          </c:dPt>
          <c:dPt>
            <c:idx val="353"/>
            <c:invertIfNegative val="1"/>
            <c:bubble3D val="0"/>
            <c:spPr>
              <a:solidFill>
                <a:srgbClr val="AEABAB"/>
              </a:solidFill>
            </c:spPr>
            <c:extLst>
              <c:ext xmlns:c16="http://schemas.microsoft.com/office/drawing/2014/chart" uri="{C3380CC4-5D6E-409C-BE32-E72D297353CC}">
                <c16:uniqueId val="{000002C5-1E2F-46B8-A04A-F4DEF51D5756}"/>
              </c:ext>
            </c:extLst>
          </c:dPt>
          <c:dPt>
            <c:idx val="354"/>
            <c:invertIfNegative val="1"/>
            <c:bubble3D val="0"/>
            <c:spPr>
              <a:solidFill>
                <a:srgbClr val="AEABAB"/>
              </a:solidFill>
            </c:spPr>
            <c:extLst>
              <c:ext xmlns:c16="http://schemas.microsoft.com/office/drawing/2014/chart" uri="{C3380CC4-5D6E-409C-BE32-E72D297353CC}">
                <c16:uniqueId val="{000002C7-1E2F-46B8-A04A-F4DEF51D5756}"/>
              </c:ext>
            </c:extLst>
          </c:dPt>
          <c:dPt>
            <c:idx val="355"/>
            <c:invertIfNegative val="1"/>
            <c:bubble3D val="0"/>
            <c:spPr>
              <a:solidFill>
                <a:srgbClr val="AEABAB"/>
              </a:solidFill>
            </c:spPr>
            <c:extLst>
              <c:ext xmlns:c16="http://schemas.microsoft.com/office/drawing/2014/chart" uri="{C3380CC4-5D6E-409C-BE32-E72D297353CC}">
                <c16:uniqueId val="{000002C9-1E2F-46B8-A04A-F4DEF51D5756}"/>
              </c:ext>
            </c:extLst>
          </c:dPt>
          <c:dPt>
            <c:idx val="356"/>
            <c:invertIfNegative val="1"/>
            <c:bubble3D val="0"/>
            <c:spPr>
              <a:solidFill>
                <a:srgbClr val="AEABAB"/>
              </a:solidFill>
            </c:spPr>
            <c:extLst>
              <c:ext xmlns:c16="http://schemas.microsoft.com/office/drawing/2014/chart" uri="{C3380CC4-5D6E-409C-BE32-E72D297353CC}">
                <c16:uniqueId val="{000002CB-1E2F-46B8-A04A-F4DEF51D5756}"/>
              </c:ext>
            </c:extLst>
          </c:dPt>
          <c:dPt>
            <c:idx val="357"/>
            <c:invertIfNegative val="1"/>
            <c:bubble3D val="0"/>
            <c:spPr>
              <a:solidFill>
                <a:srgbClr val="AEABAB"/>
              </a:solidFill>
            </c:spPr>
            <c:extLst>
              <c:ext xmlns:c16="http://schemas.microsoft.com/office/drawing/2014/chart" uri="{C3380CC4-5D6E-409C-BE32-E72D297353CC}">
                <c16:uniqueId val="{000002CD-1E2F-46B8-A04A-F4DEF51D5756}"/>
              </c:ext>
            </c:extLst>
          </c:dPt>
          <c:dPt>
            <c:idx val="358"/>
            <c:invertIfNegative val="1"/>
            <c:bubble3D val="0"/>
            <c:spPr>
              <a:solidFill>
                <a:srgbClr val="AEABAB"/>
              </a:solidFill>
            </c:spPr>
            <c:extLst>
              <c:ext xmlns:c16="http://schemas.microsoft.com/office/drawing/2014/chart" uri="{C3380CC4-5D6E-409C-BE32-E72D297353CC}">
                <c16:uniqueId val="{000002CF-1E2F-46B8-A04A-F4DEF51D5756}"/>
              </c:ext>
            </c:extLst>
          </c:dPt>
          <c:dPt>
            <c:idx val="359"/>
            <c:invertIfNegative val="1"/>
            <c:bubble3D val="0"/>
            <c:spPr>
              <a:solidFill>
                <a:srgbClr val="AEABAB"/>
              </a:solidFill>
            </c:spPr>
            <c:extLst>
              <c:ext xmlns:c16="http://schemas.microsoft.com/office/drawing/2014/chart" uri="{C3380CC4-5D6E-409C-BE32-E72D297353CC}">
                <c16:uniqueId val="{000002D1-1E2F-46B8-A04A-F4DEF51D5756}"/>
              </c:ext>
            </c:extLst>
          </c:dPt>
          <c:dPt>
            <c:idx val="360"/>
            <c:invertIfNegative val="1"/>
            <c:bubble3D val="0"/>
            <c:spPr>
              <a:solidFill>
                <a:srgbClr val="AEABAB"/>
              </a:solidFill>
            </c:spPr>
            <c:extLst>
              <c:ext xmlns:c16="http://schemas.microsoft.com/office/drawing/2014/chart" uri="{C3380CC4-5D6E-409C-BE32-E72D297353CC}">
                <c16:uniqueId val="{000002D3-1E2F-46B8-A04A-F4DEF51D5756}"/>
              </c:ext>
            </c:extLst>
          </c:dPt>
          <c:dPt>
            <c:idx val="361"/>
            <c:invertIfNegative val="1"/>
            <c:bubble3D val="0"/>
            <c:spPr>
              <a:solidFill>
                <a:srgbClr val="AEABAB"/>
              </a:solidFill>
            </c:spPr>
            <c:extLst>
              <c:ext xmlns:c16="http://schemas.microsoft.com/office/drawing/2014/chart" uri="{C3380CC4-5D6E-409C-BE32-E72D297353CC}">
                <c16:uniqueId val="{000002D5-1E2F-46B8-A04A-F4DEF51D5756}"/>
              </c:ext>
            </c:extLst>
          </c:dPt>
          <c:dPt>
            <c:idx val="362"/>
            <c:invertIfNegative val="1"/>
            <c:bubble3D val="0"/>
            <c:spPr>
              <a:solidFill>
                <a:srgbClr val="AEABAB"/>
              </a:solidFill>
            </c:spPr>
            <c:extLst>
              <c:ext xmlns:c16="http://schemas.microsoft.com/office/drawing/2014/chart" uri="{C3380CC4-5D6E-409C-BE32-E72D297353CC}">
                <c16:uniqueId val="{000002D7-1E2F-46B8-A04A-F4DEF51D5756}"/>
              </c:ext>
            </c:extLst>
          </c:dPt>
          <c:dPt>
            <c:idx val="363"/>
            <c:invertIfNegative val="1"/>
            <c:bubble3D val="0"/>
            <c:spPr>
              <a:solidFill>
                <a:srgbClr val="AEABAB"/>
              </a:solidFill>
            </c:spPr>
            <c:extLst>
              <c:ext xmlns:c16="http://schemas.microsoft.com/office/drawing/2014/chart" uri="{C3380CC4-5D6E-409C-BE32-E72D297353CC}">
                <c16:uniqueId val="{000002D9-1E2F-46B8-A04A-F4DEF51D5756}"/>
              </c:ext>
            </c:extLst>
          </c:dPt>
          <c:dPt>
            <c:idx val="364"/>
            <c:invertIfNegative val="1"/>
            <c:bubble3D val="0"/>
            <c:spPr>
              <a:solidFill>
                <a:srgbClr val="AEABAB"/>
              </a:solidFill>
            </c:spPr>
            <c:extLst>
              <c:ext xmlns:c16="http://schemas.microsoft.com/office/drawing/2014/chart" uri="{C3380CC4-5D6E-409C-BE32-E72D297353CC}">
                <c16:uniqueId val="{000002DB-1E2F-46B8-A04A-F4DEF51D5756}"/>
              </c:ext>
            </c:extLst>
          </c:dPt>
          <c:dPt>
            <c:idx val="365"/>
            <c:invertIfNegative val="1"/>
            <c:bubble3D val="0"/>
            <c:spPr>
              <a:solidFill>
                <a:srgbClr val="AEABAB"/>
              </a:solidFill>
            </c:spPr>
            <c:extLst>
              <c:ext xmlns:c16="http://schemas.microsoft.com/office/drawing/2014/chart" uri="{C3380CC4-5D6E-409C-BE32-E72D297353CC}">
                <c16:uniqueId val="{000002DD-1E2F-46B8-A04A-F4DEF51D5756}"/>
              </c:ext>
            </c:extLst>
          </c:dPt>
          <c:dPt>
            <c:idx val="366"/>
            <c:invertIfNegative val="1"/>
            <c:bubble3D val="0"/>
            <c:spPr>
              <a:solidFill>
                <a:srgbClr val="AEABAB"/>
              </a:solidFill>
            </c:spPr>
            <c:extLst>
              <c:ext xmlns:c16="http://schemas.microsoft.com/office/drawing/2014/chart" uri="{C3380CC4-5D6E-409C-BE32-E72D297353CC}">
                <c16:uniqueId val="{000002DF-1E2F-46B8-A04A-F4DEF51D5756}"/>
              </c:ext>
            </c:extLst>
          </c:dPt>
          <c:dPt>
            <c:idx val="367"/>
            <c:invertIfNegative val="1"/>
            <c:bubble3D val="0"/>
            <c:spPr>
              <a:solidFill>
                <a:srgbClr val="AEABAB"/>
              </a:solidFill>
            </c:spPr>
            <c:extLst>
              <c:ext xmlns:c16="http://schemas.microsoft.com/office/drawing/2014/chart" uri="{C3380CC4-5D6E-409C-BE32-E72D297353CC}">
                <c16:uniqueId val="{000002E1-1E2F-46B8-A04A-F4DEF51D5756}"/>
              </c:ext>
            </c:extLst>
          </c:dPt>
          <c:dPt>
            <c:idx val="368"/>
            <c:invertIfNegative val="1"/>
            <c:bubble3D val="0"/>
            <c:spPr>
              <a:solidFill>
                <a:srgbClr val="AEABAB"/>
              </a:solidFill>
            </c:spPr>
            <c:extLst>
              <c:ext xmlns:c16="http://schemas.microsoft.com/office/drawing/2014/chart" uri="{C3380CC4-5D6E-409C-BE32-E72D297353CC}">
                <c16:uniqueId val="{000002E3-1E2F-46B8-A04A-F4DEF51D5756}"/>
              </c:ext>
            </c:extLst>
          </c:dPt>
          <c:dPt>
            <c:idx val="369"/>
            <c:invertIfNegative val="1"/>
            <c:bubble3D val="0"/>
            <c:spPr>
              <a:solidFill>
                <a:srgbClr val="AEABAB"/>
              </a:solidFill>
            </c:spPr>
            <c:extLst>
              <c:ext xmlns:c16="http://schemas.microsoft.com/office/drawing/2014/chart" uri="{C3380CC4-5D6E-409C-BE32-E72D297353CC}">
                <c16:uniqueId val="{000002E5-1E2F-46B8-A04A-F4DEF51D5756}"/>
              </c:ext>
            </c:extLst>
          </c:dPt>
          <c:dPt>
            <c:idx val="370"/>
            <c:invertIfNegative val="1"/>
            <c:bubble3D val="0"/>
            <c:spPr>
              <a:solidFill>
                <a:srgbClr val="AEABAB"/>
              </a:solidFill>
            </c:spPr>
            <c:extLst>
              <c:ext xmlns:c16="http://schemas.microsoft.com/office/drawing/2014/chart" uri="{C3380CC4-5D6E-409C-BE32-E72D297353CC}">
                <c16:uniqueId val="{000002E7-1E2F-46B8-A04A-F4DEF51D5756}"/>
              </c:ext>
            </c:extLst>
          </c:dPt>
          <c:dPt>
            <c:idx val="371"/>
            <c:invertIfNegative val="1"/>
            <c:bubble3D val="0"/>
            <c:spPr>
              <a:solidFill>
                <a:srgbClr val="AEABAB"/>
              </a:solidFill>
            </c:spPr>
            <c:extLst>
              <c:ext xmlns:c16="http://schemas.microsoft.com/office/drawing/2014/chart" uri="{C3380CC4-5D6E-409C-BE32-E72D297353CC}">
                <c16:uniqueId val="{000002E9-1E2F-46B8-A04A-F4DEF51D5756}"/>
              </c:ext>
            </c:extLst>
          </c:dPt>
          <c:dPt>
            <c:idx val="372"/>
            <c:invertIfNegative val="1"/>
            <c:bubble3D val="0"/>
            <c:spPr>
              <a:solidFill>
                <a:srgbClr val="AEABAB"/>
              </a:solidFill>
            </c:spPr>
            <c:extLst>
              <c:ext xmlns:c16="http://schemas.microsoft.com/office/drawing/2014/chart" uri="{C3380CC4-5D6E-409C-BE32-E72D297353CC}">
                <c16:uniqueId val="{000002EB-1E2F-46B8-A04A-F4DEF51D5756}"/>
              </c:ext>
            </c:extLst>
          </c:dPt>
          <c:dPt>
            <c:idx val="373"/>
            <c:invertIfNegative val="1"/>
            <c:bubble3D val="0"/>
            <c:spPr>
              <a:solidFill>
                <a:srgbClr val="AEABAB"/>
              </a:solidFill>
            </c:spPr>
            <c:extLst>
              <c:ext xmlns:c16="http://schemas.microsoft.com/office/drawing/2014/chart" uri="{C3380CC4-5D6E-409C-BE32-E72D297353CC}">
                <c16:uniqueId val="{000002ED-1E2F-46B8-A04A-F4DEF51D5756}"/>
              </c:ext>
            </c:extLst>
          </c:dPt>
          <c:dPt>
            <c:idx val="374"/>
            <c:invertIfNegative val="1"/>
            <c:bubble3D val="0"/>
            <c:spPr>
              <a:solidFill>
                <a:srgbClr val="AEABAB"/>
              </a:solidFill>
            </c:spPr>
            <c:extLst>
              <c:ext xmlns:c16="http://schemas.microsoft.com/office/drawing/2014/chart" uri="{C3380CC4-5D6E-409C-BE32-E72D297353CC}">
                <c16:uniqueId val="{000002EF-1E2F-46B8-A04A-F4DEF51D5756}"/>
              </c:ext>
            </c:extLst>
          </c:dPt>
          <c:dPt>
            <c:idx val="375"/>
            <c:invertIfNegative val="1"/>
            <c:bubble3D val="0"/>
            <c:spPr>
              <a:solidFill>
                <a:srgbClr val="AEABAB"/>
              </a:solidFill>
            </c:spPr>
            <c:extLst>
              <c:ext xmlns:c16="http://schemas.microsoft.com/office/drawing/2014/chart" uri="{C3380CC4-5D6E-409C-BE32-E72D297353CC}">
                <c16:uniqueId val="{000002F1-1E2F-46B8-A04A-F4DEF51D5756}"/>
              </c:ext>
            </c:extLst>
          </c:dPt>
          <c:cat>
            <c:strRef>
              <c:f>Sheet1!$A$2:$A$377</c:f>
              <c:strCache>
                <c:ptCount val="376"/>
                <c:pt idx="0">
                  <c:v>Ruinart</c:v>
                </c:pt>
                <c:pt idx="1">
                  <c:v>Nicolas</c:v>
                </c:pt>
                <c:pt idx="2">
                  <c:v>Deutz</c:v>
                </c:pt>
                <c:pt idx="3">
                  <c:v>Ruinart</c:v>
                </c:pt>
                <c:pt idx="4">
                  <c:v>Heidsieck &amp;</c:v>
                </c:pt>
                <c:pt idx="5">
                  <c:v>Malard</c:v>
                </c:pt>
                <c:pt idx="6">
                  <c:v>Ayala</c:v>
                </c:pt>
                <c:pt idx="7">
                  <c:v>Laurent Per</c:v>
                </c:pt>
                <c:pt idx="8">
                  <c:v>De Bligny</c:v>
                </c:pt>
                <c:pt idx="9">
                  <c:v>Nicolas Feu</c:v>
                </c:pt>
                <c:pt idx="10">
                  <c:v>Canard Duch</c:v>
                </c:pt>
                <c:pt idx="11">
                  <c:v>Ruinart</c:v>
                </c:pt>
                <c:pt idx="12">
                  <c:v>Ruinart</c:v>
                </c:pt>
                <c:pt idx="13">
                  <c:v>Taittinger</c:v>
                </c:pt>
                <c:pt idx="14">
                  <c:v>Bollinger</c:v>
                </c:pt>
                <c:pt idx="15">
                  <c:v>Besserat De</c:v>
                </c:pt>
                <c:pt idx="16">
                  <c:v>Demoiselle</c:v>
                </c:pt>
                <c:pt idx="17">
                  <c:v>Ruinart</c:v>
                </c:pt>
                <c:pt idx="18">
                  <c:v>Deutz</c:v>
                </c:pt>
                <c:pt idx="19">
                  <c:v>All Others</c:v>
                </c:pt>
                <c:pt idx="20">
                  <c:v>Perrier Jou</c:v>
                </c:pt>
                <c:pt idx="21">
                  <c:v>Ruinart</c:v>
                </c:pt>
                <c:pt idx="22">
                  <c:v>All Others</c:v>
                </c:pt>
                <c:pt idx="23">
                  <c:v>Campari: Al</c:v>
                </c:pt>
                <c:pt idx="24">
                  <c:v>Bottega</c:v>
                </c:pt>
                <c:pt idx="25">
                  <c:v>Laurent Per</c:v>
                </c:pt>
                <c:pt idx="26">
                  <c:v>Deutz</c:v>
                </c:pt>
                <c:pt idx="27">
                  <c:v>Savian</c:v>
                </c:pt>
                <c:pt idx="28">
                  <c:v>Pommery</c:v>
                </c:pt>
                <c:pt idx="29">
                  <c:v>Vesselle</c:v>
                </c:pt>
                <c:pt idx="30">
                  <c:v>Dom Perigno</c:v>
                </c:pt>
                <c:pt idx="31">
                  <c:v>Malard</c:v>
                </c:pt>
                <c:pt idx="32">
                  <c:v>Demoiselle</c:v>
                </c:pt>
                <c:pt idx="33">
                  <c:v>Roederer</c:v>
                </c:pt>
                <c:pt idx="34">
                  <c:v>Veuve Clicq</c:v>
                </c:pt>
                <c:pt idx="35">
                  <c:v>Ruinart</c:v>
                </c:pt>
                <c:pt idx="36">
                  <c:v>Moët &amp; Chan</c:v>
                </c:pt>
                <c:pt idx="37">
                  <c:v>Dom Perigno</c:v>
                </c:pt>
                <c:pt idx="38">
                  <c:v>Savian</c:v>
                </c:pt>
                <c:pt idx="39">
                  <c:v>Taittinger</c:v>
                </c:pt>
                <c:pt idx="40">
                  <c:v>Patriarche</c:v>
                </c:pt>
                <c:pt idx="41">
                  <c:v>Nicolas</c:v>
                </c:pt>
                <c:pt idx="42">
                  <c:v>Laurent Per</c:v>
                </c:pt>
                <c:pt idx="43">
                  <c:v>All Others</c:v>
                </c:pt>
                <c:pt idx="44">
                  <c:v>Veuve Clicq</c:v>
                </c:pt>
                <c:pt idx="45">
                  <c:v>Henriot</c:v>
                </c:pt>
                <c:pt idx="46">
                  <c:v>Ruinart</c:v>
                </c:pt>
                <c:pt idx="47">
                  <c:v>Roederer</c:v>
                </c:pt>
                <c:pt idx="48">
                  <c:v>All Others</c:v>
                </c:pt>
                <c:pt idx="49">
                  <c:v>Mure</c:v>
                </c:pt>
                <c:pt idx="50">
                  <c:v>De Chanceny</c:v>
                </c:pt>
                <c:pt idx="51">
                  <c:v>Veuve Clicq</c:v>
                </c:pt>
                <c:pt idx="52">
                  <c:v>French Bloo</c:v>
                </c:pt>
                <c:pt idx="53">
                  <c:v>Besserat De</c:v>
                </c:pt>
                <c:pt idx="54">
                  <c:v>Bouvet-Ladu</c:v>
                </c:pt>
                <c:pt idx="55">
                  <c:v>Malard</c:v>
                </c:pt>
                <c:pt idx="56">
                  <c:v>De Venoge</c:v>
                </c:pt>
                <c:pt idx="57">
                  <c:v>Nicolas</c:v>
                </c:pt>
                <c:pt idx="58">
                  <c:v>Nicolas</c:v>
                </c:pt>
                <c:pt idx="59">
                  <c:v>Piper Heids</c:v>
                </c:pt>
                <c:pt idx="60">
                  <c:v>Ruinart</c:v>
                </c:pt>
                <c:pt idx="61">
                  <c:v>Deutz</c:v>
                </c:pt>
                <c:pt idx="62">
                  <c:v>Louis Marti</c:v>
                </c:pt>
                <c:pt idx="63">
                  <c:v>Nicolas Feu</c:v>
                </c:pt>
                <c:pt idx="64">
                  <c:v>Nicolas Feu</c:v>
                </c:pt>
                <c:pt idx="65">
                  <c:v>Moët &amp; Chan</c:v>
                </c:pt>
                <c:pt idx="66">
                  <c:v>Moët &amp; Chan</c:v>
                </c:pt>
                <c:pt idx="67">
                  <c:v>Lanson</c:v>
                </c:pt>
                <c:pt idx="68">
                  <c:v>Campari: Al</c:v>
                </c:pt>
                <c:pt idx="69">
                  <c:v>Lyre's</c:v>
                </c:pt>
                <c:pt idx="70">
                  <c:v>Nicolas Feu</c:v>
                </c:pt>
                <c:pt idx="71">
                  <c:v>Canard Duch</c:v>
                </c:pt>
                <c:pt idx="72">
                  <c:v>De Chanceny</c:v>
                </c:pt>
                <c:pt idx="73">
                  <c:v>Malard</c:v>
                </c:pt>
                <c:pt idx="74">
                  <c:v>Roederer</c:v>
                </c:pt>
                <c:pt idx="75">
                  <c:v>De Bligny</c:v>
                </c:pt>
                <c:pt idx="76">
                  <c:v>Henriot</c:v>
                </c:pt>
                <c:pt idx="77">
                  <c:v>Malard</c:v>
                </c:pt>
                <c:pt idx="78">
                  <c:v>Henriot</c:v>
                </c:pt>
                <c:pt idx="79">
                  <c:v>Bollinger</c:v>
                </c:pt>
                <c:pt idx="80">
                  <c:v>Besserat De</c:v>
                </c:pt>
                <c:pt idx="81">
                  <c:v>Laurent Per</c:v>
                </c:pt>
                <c:pt idx="82">
                  <c:v>Ruinart</c:v>
                </c:pt>
                <c:pt idx="83">
                  <c:v>Pommery</c:v>
                </c:pt>
                <c:pt idx="84">
                  <c:v>Delamotte</c:v>
                </c:pt>
                <c:pt idx="85">
                  <c:v>Krug</c:v>
                </c:pt>
                <c:pt idx="86">
                  <c:v>Ayala</c:v>
                </c:pt>
                <c:pt idx="87">
                  <c:v>Roederer</c:v>
                </c:pt>
                <c:pt idx="88">
                  <c:v>Ruinart</c:v>
                </c:pt>
                <c:pt idx="89">
                  <c:v>Canard Duch</c:v>
                </c:pt>
                <c:pt idx="90">
                  <c:v>All Others</c:v>
                </c:pt>
                <c:pt idx="91">
                  <c:v>Roederer</c:v>
                </c:pt>
                <c:pt idx="92">
                  <c:v>Patriarche</c:v>
                </c:pt>
                <c:pt idx="93">
                  <c:v>De Venoge</c:v>
                </c:pt>
                <c:pt idx="94">
                  <c:v>Ruinart</c:v>
                </c:pt>
                <c:pt idx="95">
                  <c:v>Roederer</c:v>
                </c:pt>
                <c:pt idx="96">
                  <c:v>Henriot</c:v>
                </c:pt>
                <c:pt idx="97">
                  <c:v>Deutz</c:v>
                </c:pt>
                <c:pt idx="98">
                  <c:v>Bottega</c:v>
                </c:pt>
                <c:pt idx="99">
                  <c:v>Vranken</c:v>
                </c:pt>
                <c:pt idx="100">
                  <c:v>Perrier Jou</c:v>
                </c:pt>
                <c:pt idx="101">
                  <c:v>Vranken</c:v>
                </c:pt>
                <c:pt idx="102">
                  <c:v>Malard</c:v>
                </c:pt>
                <c:pt idx="103">
                  <c:v>Nicolas</c:v>
                </c:pt>
                <c:pt idx="104">
                  <c:v>Ruinart</c:v>
                </c:pt>
                <c:pt idx="105">
                  <c:v>Nicolas</c:v>
                </c:pt>
                <c:pt idx="106">
                  <c:v>Bollinger</c:v>
                </c:pt>
                <c:pt idx="107">
                  <c:v>De Venoge</c:v>
                </c:pt>
                <c:pt idx="108">
                  <c:v>Ruinart</c:v>
                </c:pt>
                <c:pt idx="109">
                  <c:v>Kriter</c:v>
                </c:pt>
                <c:pt idx="110">
                  <c:v>Roederer</c:v>
                </c:pt>
                <c:pt idx="111">
                  <c:v>Roederer</c:v>
                </c:pt>
                <c:pt idx="112">
                  <c:v>Deutz</c:v>
                </c:pt>
                <c:pt idx="113">
                  <c:v>Canard Duch</c:v>
                </c:pt>
                <c:pt idx="114">
                  <c:v>All Others</c:v>
                </c:pt>
                <c:pt idx="115">
                  <c:v>De Venoge</c:v>
                </c:pt>
                <c:pt idx="116">
                  <c:v>Dom Perigno</c:v>
                </c:pt>
                <c:pt idx="117">
                  <c:v>Nicolas</c:v>
                </c:pt>
                <c:pt idx="118">
                  <c:v>Nicolas</c:v>
                </c:pt>
                <c:pt idx="119">
                  <c:v>Moët &amp; Chan</c:v>
                </c:pt>
                <c:pt idx="120">
                  <c:v>Canard Duch</c:v>
                </c:pt>
                <c:pt idx="121">
                  <c:v>All Others</c:v>
                </c:pt>
                <c:pt idx="122">
                  <c:v>All Others</c:v>
                </c:pt>
                <c:pt idx="123">
                  <c:v>All Others</c:v>
                </c:pt>
                <c:pt idx="124">
                  <c:v>Cru La Maqu</c:v>
                </c:pt>
                <c:pt idx="125">
                  <c:v>All Others</c:v>
                </c:pt>
                <c:pt idx="126">
                  <c:v>All Others</c:v>
                </c:pt>
                <c:pt idx="127">
                  <c:v>Nicolas</c:v>
                </c:pt>
                <c:pt idx="128">
                  <c:v>Contarini</c:v>
                </c:pt>
                <c:pt idx="129">
                  <c:v>Roederer</c:v>
                </c:pt>
                <c:pt idx="130">
                  <c:v>All Others</c:v>
                </c:pt>
                <c:pt idx="131">
                  <c:v>Nicolas</c:v>
                </c:pt>
                <c:pt idx="132">
                  <c:v>All Others</c:v>
                </c:pt>
                <c:pt idx="133">
                  <c:v>All Others</c:v>
                </c:pt>
                <c:pt idx="134">
                  <c:v>Ruinart</c:v>
                </c:pt>
                <c:pt idx="135">
                  <c:v>Veuve Clicq</c:v>
                </c:pt>
                <c:pt idx="136">
                  <c:v>All Others</c:v>
                </c:pt>
                <c:pt idx="137">
                  <c:v>Nicolas</c:v>
                </c:pt>
                <c:pt idx="138">
                  <c:v>Nicolas Feu</c:v>
                </c:pt>
                <c:pt idx="139">
                  <c:v>Roederer</c:v>
                </c:pt>
                <c:pt idx="140">
                  <c:v>Demoiselle</c:v>
                </c:pt>
                <c:pt idx="141">
                  <c:v>All Others</c:v>
                </c:pt>
                <c:pt idx="142">
                  <c:v>Roederer</c:v>
                </c:pt>
                <c:pt idx="143">
                  <c:v>Nicolas</c:v>
                </c:pt>
                <c:pt idx="144">
                  <c:v>Laurent Per</c:v>
                </c:pt>
                <c:pt idx="145">
                  <c:v>Besserat De</c:v>
                </c:pt>
                <c:pt idx="146">
                  <c:v>Bollinger</c:v>
                </c:pt>
                <c:pt idx="147">
                  <c:v>Nicolas</c:v>
                </c:pt>
                <c:pt idx="148">
                  <c:v>Laurent Per</c:v>
                </c:pt>
                <c:pt idx="149">
                  <c:v>All Others</c:v>
                </c:pt>
                <c:pt idx="150">
                  <c:v>All Others</c:v>
                </c:pt>
                <c:pt idx="151">
                  <c:v>Ruinart</c:v>
                </c:pt>
                <c:pt idx="152">
                  <c:v>Roederer</c:v>
                </c:pt>
                <c:pt idx="153">
                  <c:v>Dom Perigno</c:v>
                </c:pt>
                <c:pt idx="154">
                  <c:v>Moët &amp; Chan</c:v>
                </c:pt>
                <c:pt idx="155">
                  <c:v>Nicolas</c:v>
                </c:pt>
                <c:pt idx="156">
                  <c:v>Ruinart</c:v>
                </c:pt>
                <c:pt idx="157">
                  <c:v>Canard Duch</c:v>
                </c:pt>
                <c:pt idx="158">
                  <c:v>All Others</c:v>
                </c:pt>
                <c:pt idx="159">
                  <c:v>Laurent Per</c:v>
                </c:pt>
                <c:pt idx="160">
                  <c:v>Pommery</c:v>
                </c:pt>
                <c:pt idx="161">
                  <c:v>Pommery</c:v>
                </c:pt>
                <c:pt idx="162">
                  <c:v>All Others</c:v>
                </c:pt>
                <c:pt idx="163">
                  <c:v>Ruinart</c:v>
                </c:pt>
                <c:pt idx="164">
                  <c:v>Ruinart</c:v>
                </c:pt>
                <c:pt idx="165">
                  <c:v>Vesselle</c:v>
                </c:pt>
                <c:pt idx="166">
                  <c:v>Lanson-Bcc:</c:v>
                </c:pt>
                <c:pt idx="167">
                  <c:v>Piper Heids</c:v>
                </c:pt>
                <c:pt idx="168">
                  <c:v>Lanson</c:v>
                </c:pt>
                <c:pt idx="169">
                  <c:v>Pommery</c:v>
                </c:pt>
                <c:pt idx="170">
                  <c:v>All Others</c:v>
                </c:pt>
                <c:pt idx="171">
                  <c:v>Laurent Per</c:v>
                </c:pt>
                <c:pt idx="172">
                  <c:v>Taittinger</c:v>
                </c:pt>
                <c:pt idx="173">
                  <c:v>Nicolas</c:v>
                </c:pt>
                <c:pt idx="174">
                  <c:v>Contarini</c:v>
                </c:pt>
                <c:pt idx="175">
                  <c:v>Nicolas</c:v>
                </c:pt>
                <c:pt idx="176">
                  <c:v>All Others</c:v>
                </c:pt>
                <c:pt idx="177">
                  <c:v>Perrier Jou</c:v>
                </c:pt>
                <c:pt idx="178">
                  <c:v>All Others</c:v>
                </c:pt>
                <c:pt idx="179">
                  <c:v>Demoiselle</c:v>
                </c:pt>
                <c:pt idx="180">
                  <c:v>Laurent Per</c:v>
                </c:pt>
                <c:pt idx="181">
                  <c:v>Ayala</c:v>
                </c:pt>
                <c:pt idx="182">
                  <c:v>Vranken</c:v>
                </c:pt>
                <c:pt idx="183">
                  <c:v>Piper Heids</c:v>
                </c:pt>
                <c:pt idx="184">
                  <c:v>Deutz</c:v>
                </c:pt>
                <c:pt idx="185">
                  <c:v>All Others</c:v>
                </c:pt>
                <c:pt idx="186">
                  <c:v>Delamotte</c:v>
                </c:pt>
                <c:pt idx="187">
                  <c:v>Dom Perigno</c:v>
                </c:pt>
                <c:pt idx="188">
                  <c:v>Louis Marti</c:v>
                </c:pt>
                <c:pt idx="189">
                  <c:v>Canard Duch</c:v>
                </c:pt>
                <c:pt idx="190">
                  <c:v>Roederer</c:v>
                </c:pt>
                <c:pt idx="191">
                  <c:v>Deutz</c:v>
                </c:pt>
                <c:pt idx="192">
                  <c:v>Roederer</c:v>
                </c:pt>
                <c:pt idx="193">
                  <c:v>All Others</c:v>
                </c:pt>
                <c:pt idx="194">
                  <c:v>Vesselle</c:v>
                </c:pt>
                <c:pt idx="195">
                  <c:v>Nicolas</c:v>
                </c:pt>
                <c:pt idx="196">
                  <c:v>All Others</c:v>
                </c:pt>
                <c:pt idx="197">
                  <c:v>All Others</c:v>
                </c:pt>
                <c:pt idx="198">
                  <c:v>Pommery</c:v>
                </c:pt>
                <c:pt idx="199">
                  <c:v>Malard</c:v>
                </c:pt>
                <c:pt idx="200">
                  <c:v>Pommery</c:v>
                </c:pt>
                <c:pt idx="201">
                  <c:v>All Others</c:v>
                </c:pt>
                <c:pt idx="202">
                  <c:v>All Others</c:v>
                </c:pt>
                <c:pt idx="203">
                  <c:v>Deutz</c:v>
                </c:pt>
                <c:pt idx="204">
                  <c:v>All Others</c:v>
                </c:pt>
                <c:pt idx="205">
                  <c:v>Nicolas</c:v>
                </c:pt>
                <c:pt idx="206">
                  <c:v>Taittinger</c:v>
                </c:pt>
                <c:pt idx="207">
                  <c:v>Bouvet-Ladu</c:v>
                </c:pt>
                <c:pt idx="208">
                  <c:v>Piper Heids</c:v>
                </c:pt>
                <c:pt idx="209">
                  <c:v>All Others</c:v>
                </c:pt>
                <c:pt idx="210">
                  <c:v>Nicolas</c:v>
                </c:pt>
                <c:pt idx="211">
                  <c:v>Bollinger</c:v>
                </c:pt>
                <c:pt idx="212">
                  <c:v>Krug</c:v>
                </c:pt>
                <c:pt idx="213">
                  <c:v>All Others</c:v>
                </c:pt>
                <c:pt idx="214">
                  <c:v>Besserat De</c:v>
                </c:pt>
                <c:pt idx="215">
                  <c:v>All Others</c:v>
                </c:pt>
                <c:pt idx="216">
                  <c:v>Ruinart</c:v>
                </c:pt>
                <c:pt idx="217">
                  <c:v>All Others</c:v>
                </c:pt>
                <c:pt idx="218">
                  <c:v>All Others</c:v>
                </c:pt>
                <c:pt idx="219">
                  <c:v>All Others</c:v>
                </c:pt>
                <c:pt idx="220">
                  <c:v>Taittinger</c:v>
                </c:pt>
                <c:pt idx="221">
                  <c:v>All Others</c:v>
                </c:pt>
                <c:pt idx="222">
                  <c:v>Henriot</c:v>
                </c:pt>
                <c:pt idx="223">
                  <c:v>Roederer</c:v>
                </c:pt>
                <c:pt idx="224">
                  <c:v>Ruinart</c:v>
                </c:pt>
                <c:pt idx="225">
                  <c:v>Roederer</c:v>
                </c:pt>
                <c:pt idx="226">
                  <c:v>Canard Duch</c:v>
                </c:pt>
                <c:pt idx="227">
                  <c:v>Ruinart</c:v>
                </c:pt>
                <c:pt idx="228">
                  <c:v>All Others</c:v>
                </c:pt>
                <c:pt idx="229">
                  <c:v>All Others</c:v>
                </c:pt>
                <c:pt idx="230">
                  <c:v>All Others</c:v>
                </c:pt>
                <c:pt idx="231">
                  <c:v>Bouvet-Ladu</c:v>
                </c:pt>
                <c:pt idx="232">
                  <c:v>De Venoge</c:v>
                </c:pt>
                <c:pt idx="233">
                  <c:v>All Others</c:v>
                </c:pt>
                <c:pt idx="234">
                  <c:v>All Others</c:v>
                </c:pt>
                <c:pt idx="235">
                  <c:v>Veuve Clicq</c:v>
                </c:pt>
                <c:pt idx="236">
                  <c:v>All Others</c:v>
                </c:pt>
                <c:pt idx="237">
                  <c:v>Bouvet-Ladu</c:v>
                </c:pt>
                <c:pt idx="238">
                  <c:v>All Others</c:v>
                </c:pt>
                <c:pt idx="239">
                  <c:v>Celene</c:v>
                </c:pt>
                <c:pt idx="240">
                  <c:v>Deutz</c:v>
                </c:pt>
                <c:pt idx="241">
                  <c:v>De Venoge</c:v>
                </c:pt>
                <c:pt idx="242">
                  <c:v>All Others</c:v>
                </c:pt>
                <c:pt idx="243">
                  <c:v>All Others</c:v>
                </c:pt>
                <c:pt idx="244">
                  <c:v>De Venoge</c:v>
                </c:pt>
                <c:pt idx="245">
                  <c:v>Nicolas</c:v>
                </c:pt>
                <c:pt idx="246">
                  <c:v>Bollinger</c:v>
                </c:pt>
                <c:pt idx="247">
                  <c:v>Moët &amp; Chan</c:v>
                </c:pt>
                <c:pt idx="248">
                  <c:v>All Others</c:v>
                </c:pt>
                <c:pt idx="249">
                  <c:v>Nicolas</c:v>
                </c:pt>
                <c:pt idx="250">
                  <c:v>Ruinart</c:v>
                </c:pt>
                <c:pt idx="251">
                  <c:v>All Others</c:v>
                </c:pt>
                <c:pt idx="252">
                  <c:v>Piper Heids</c:v>
                </c:pt>
                <c:pt idx="253">
                  <c:v>Henriot</c:v>
                </c:pt>
                <c:pt idx="254">
                  <c:v>De Venoge</c:v>
                </c:pt>
                <c:pt idx="255">
                  <c:v>Pommery</c:v>
                </c:pt>
                <c:pt idx="256">
                  <c:v>Moët &amp; Chan</c:v>
                </c:pt>
                <c:pt idx="257">
                  <c:v>Dom Perigno</c:v>
                </c:pt>
                <c:pt idx="258">
                  <c:v>All Others</c:v>
                </c:pt>
                <c:pt idx="259">
                  <c:v>Lanson</c:v>
                </c:pt>
                <c:pt idx="260">
                  <c:v>Bollinger</c:v>
                </c:pt>
                <c:pt idx="261">
                  <c:v>Roederer</c:v>
                </c:pt>
                <c:pt idx="262">
                  <c:v>All Others</c:v>
                </c:pt>
                <c:pt idx="263">
                  <c:v>Nicolas Feu</c:v>
                </c:pt>
                <c:pt idx="264">
                  <c:v>Celene</c:v>
                </c:pt>
                <c:pt idx="265">
                  <c:v>All Others</c:v>
                </c:pt>
                <c:pt idx="266">
                  <c:v>All Others</c:v>
                </c:pt>
                <c:pt idx="267">
                  <c:v>Taittinger</c:v>
                </c:pt>
                <c:pt idx="268">
                  <c:v>Bollinger</c:v>
                </c:pt>
                <c:pt idx="269">
                  <c:v>Dom Perigno</c:v>
                </c:pt>
                <c:pt idx="270">
                  <c:v>All Others</c:v>
                </c:pt>
                <c:pt idx="271">
                  <c:v>Laurent Per</c:v>
                </c:pt>
                <c:pt idx="272">
                  <c:v>All Others</c:v>
                </c:pt>
                <c:pt idx="273">
                  <c:v>All Others</c:v>
                </c:pt>
                <c:pt idx="274">
                  <c:v>Bottega</c:v>
                </c:pt>
                <c:pt idx="275">
                  <c:v>Laurent Per</c:v>
                </c:pt>
                <c:pt idx="276">
                  <c:v>All Others</c:v>
                </c:pt>
                <c:pt idx="277">
                  <c:v>Dom Perigno</c:v>
                </c:pt>
                <c:pt idx="278">
                  <c:v>Ruinart</c:v>
                </c:pt>
                <c:pt idx="279">
                  <c:v>Roederer</c:v>
                </c:pt>
                <c:pt idx="280">
                  <c:v>Dom Perigno</c:v>
                </c:pt>
                <c:pt idx="281">
                  <c:v>Moët &amp; Chan</c:v>
                </c:pt>
                <c:pt idx="282">
                  <c:v>All Others</c:v>
                </c:pt>
                <c:pt idx="283">
                  <c:v>Laurent Per</c:v>
                </c:pt>
                <c:pt idx="284">
                  <c:v>Laurent Per</c:v>
                </c:pt>
                <c:pt idx="285">
                  <c:v>Bollinger</c:v>
                </c:pt>
                <c:pt idx="286">
                  <c:v>Ruinart</c:v>
                </c:pt>
                <c:pt idx="287">
                  <c:v>Bollinger</c:v>
                </c:pt>
                <c:pt idx="288">
                  <c:v>Besserat De</c:v>
                </c:pt>
                <c:pt idx="289">
                  <c:v>Laurent Per</c:v>
                </c:pt>
                <c:pt idx="290">
                  <c:v>All Others</c:v>
                </c:pt>
                <c:pt idx="291">
                  <c:v>Martel</c:v>
                </c:pt>
                <c:pt idx="292">
                  <c:v>Roederer</c:v>
                </c:pt>
                <c:pt idx="293">
                  <c:v>Lanson</c:v>
                </c:pt>
                <c:pt idx="294">
                  <c:v>Perrier Jou</c:v>
                </c:pt>
                <c:pt idx="295">
                  <c:v>All Others</c:v>
                </c:pt>
                <c:pt idx="296">
                  <c:v>Veuve Clicq</c:v>
                </c:pt>
                <c:pt idx="297">
                  <c:v>All Others</c:v>
                </c:pt>
                <c:pt idx="298">
                  <c:v>De Venoge</c:v>
                </c:pt>
                <c:pt idx="299">
                  <c:v>Demoiselle</c:v>
                </c:pt>
                <c:pt idx="300">
                  <c:v>All Others</c:v>
                </c:pt>
                <c:pt idx="301">
                  <c:v>Bollinger</c:v>
                </c:pt>
                <c:pt idx="302">
                  <c:v>All Others</c:v>
                </c:pt>
                <c:pt idx="303">
                  <c:v>All Others</c:v>
                </c:pt>
                <c:pt idx="304">
                  <c:v>Besserat De</c:v>
                </c:pt>
                <c:pt idx="305">
                  <c:v>De Bligny</c:v>
                </c:pt>
                <c:pt idx="306">
                  <c:v>Ayala</c:v>
                </c:pt>
                <c:pt idx="307">
                  <c:v>All Others</c:v>
                </c:pt>
                <c:pt idx="308">
                  <c:v>All Others</c:v>
                </c:pt>
                <c:pt idx="309">
                  <c:v>All Others</c:v>
                </c:pt>
                <c:pt idx="310">
                  <c:v>Perrier Jou</c:v>
                </c:pt>
                <c:pt idx="311">
                  <c:v>Lanson</c:v>
                </c:pt>
                <c:pt idx="312">
                  <c:v>Jaillance</c:v>
                </c:pt>
                <c:pt idx="313">
                  <c:v>Besserat De</c:v>
                </c:pt>
                <c:pt idx="314">
                  <c:v>All Others</c:v>
                </c:pt>
                <c:pt idx="315">
                  <c:v>Veuve Clicq</c:v>
                </c:pt>
                <c:pt idx="316">
                  <c:v>Canard Duch</c:v>
                </c:pt>
                <c:pt idx="317">
                  <c:v>All Others</c:v>
                </c:pt>
                <c:pt idx="318">
                  <c:v>Ruinart</c:v>
                </c:pt>
                <c:pt idx="319">
                  <c:v>Bollinger</c:v>
                </c:pt>
                <c:pt idx="320">
                  <c:v>All Others</c:v>
                </c:pt>
                <c:pt idx="321">
                  <c:v>Roederer</c:v>
                </c:pt>
                <c:pt idx="322">
                  <c:v>Lanson</c:v>
                </c:pt>
                <c:pt idx="323">
                  <c:v>All Others</c:v>
                </c:pt>
                <c:pt idx="324">
                  <c:v>Perrier Jou</c:v>
                </c:pt>
                <c:pt idx="325">
                  <c:v>Malard</c:v>
                </c:pt>
                <c:pt idx="326">
                  <c:v>Roederer</c:v>
                </c:pt>
                <c:pt idx="327">
                  <c:v>Veuve Clicq</c:v>
                </c:pt>
                <c:pt idx="328">
                  <c:v>All Others</c:v>
                </c:pt>
                <c:pt idx="329">
                  <c:v>All Others</c:v>
                </c:pt>
                <c:pt idx="330">
                  <c:v>All Others</c:v>
                </c:pt>
                <c:pt idx="331">
                  <c:v>Pommery</c:v>
                </c:pt>
                <c:pt idx="332">
                  <c:v>Taittinger</c:v>
                </c:pt>
                <c:pt idx="333">
                  <c:v>Pommery</c:v>
                </c:pt>
                <c:pt idx="334">
                  <c:v>All Others</c:v>
                </c:pt>
                <c:pt idx="335">
                  <c:v>All Others</c:v>
                </c:pt>
                <c:pt idx="336">
                  <c:v>All Others</c:v>
                </c:pt>
                <c:pt idx="337">
                  <c:v>Bouvet-Ladu</c:v>
                </c:pt>
                <c:pt idx="338">
                  <c:v>Roederer</c:v>
                </c:pt>
                <c:pt idx="339">
                  <c:v>Laurent Per</c:v>
                </c:pt>
                <c:pt idx="340">
                  <c:v>Pommery</c:v>
                </c:pt>
                <c:pt idx="341">
                  <c:v>De Venoge</c:v>
                </c:pt>
                <c:pt idx="342">
                  <c:v>Nicolas Feu</c:v>
                </c:pt>
                <c:pt idx="343">
                  <c:v>Laurent Per</c:v>
                </c:pt>
                <c:pt idx="344">
                  <c:v>Mure</c:v>
                </c:pt>
                <c:pt idx="345">
                  <c:v>All Others</c:v>
                </c:pt>
                <c:pt idx="346">
                  <c:v>Laurent Per</c:v>
                </c:pt>
                <c:pt idx="347">
                  <c:v>Demoiselle</c:v>
                </c:pt>
                <c:pt idx="348">
                  <c:v>All Others</c:v>
                </c:pt>
                <c:pt idx="349">
                  <c:v>Roederer</c:v>
                </c:pt>
                <c:pt idx="350">
                  <c:v>Besserat De</c:v>
                </c:pt>
                <c:pt idx="351">
                  <c:v>Ayala</c:v>
                </c:pt>
                <c:pt idx="352">
                  <c:v>Roederer</c:v>
                </c:pt>
                <c:pt idx="353">
                  <c:v>Deutz</c:v>
                </c:pt>
                <c:pt idx="354">
                  <c:v>Moët &amp; Chan</c:v>
                </c:pt>
                <c:pt idx="355">
                  <c:v>De Venoge</c:v>
                </c:pt>
                <c:pt idx="356">
                  <c:v>Bottega</c:v>
                </c:pt>
                <c:pt idx="357">
                  <c:v>Henriot</c:v>
                </c:pt>
                <c:pt idx="358">
                  <c:v>Ayala</c:v>
                </c:pt>
                <c:pt idx="359">
                  <c:v>All Others</c:v>
                </c:pt>
                <c:pt idx="360">
                  <c:v>Ayala</c:v>
                </c:pt>
                <c:pt idx="361">
                  <c:v>Pommery</c:v>
                </c:pt>
                <c:pt idx="362">
                  <c:v>Perrier Jou</c:v>
                </c:pt>
                <c:pt idx="363">
                  <c:v>Nicolas</c:v>
                </c:pt>
                <c:pt idx="364">
                  <c:v>All Others</c:v>
                </c:pt>
                <c:pt idx="365">
                  <c:v>Bouvet-Ladu</c:v>
                </c:pt>
                <c:pt idx="366">
                  <c:v>Malard</c:v>
                </c:pt>
                <c:pt idx="367">
                  <c:v>Demoiselle</c:v>
                </c:pt>
                <c:pt idx="368">
                  <c:v>All Others</c:v>
                </c:pt>
                <c:pt idx="369">
                  <c:v>All Others</c:v>
                </c:pt>
                <c:pt idx="370">
                  <c:v>Vesselle</c:v>
                </c:pt>
                <c:pt idx="371">
                  <c:v>Nicolas</c:v>
                </c:pt>
                <c:pt idx="372">
                  <c:v>All Others</c:v>
                </c:pt>
                <c:pt idx="373">
                  <c:v>All Others</c:v>
                </c:pt>
                <c:pt idx="374">
                  <c:v>Bottega</c:v>
                </c:pt>
                <c:pt idx="375">
                  <c:v>All Others</c:v>
                </c:pt>
              </c:strCache>
            </c:strRef>
          </c:cat>
          <c:val>
            <c:numRef>
              <c:f>Sheet1!$C$2:$C$377</c:f>
              <c:numCache>
                <c:formatCode>General</c:formatCode>
                <c:ptCount val="376"/>
                <c:pt idx="0">
                  <c:v>9.8873879923966082E-2</c:v>
                </c:pt>
                <c:pt idx="1">
                  <c:v>0.16207088963246638</c:v>
                </c:pt>
                <c:pt idx="2">
                  <c:v>0.20904606264898995</c:v>
                </c:pt>
                <c:pt idx="3">
                  <c:v>0.25463270176528585</c:v>
                </c:pt>
                <c:pt idx="4">
                  <c:v>0.2857911684376796</c:v>
                </c:pt>
                <c:pt idx="5">
                  <c:v>0.31588431450721705</c:v>
                </c:pt>
                <c:pt idx="6">
                  <c:v>0.34455740988924971</c:v>
                </c:pt>
                <c:pt idx="7">
                  <c:v>0.3714151649205657</c:v>
                </c:pt>
                <c:pt idx="8">
                  <c:v>0.39816407400088455</c:v>
                </c:pt>
                <c:pt idx="9">
                  <c:v>0.4219895683423579</c:v>
                </c:pt>
                <c:pt idx="10">
                  <c:v>0.44221430298297743</c:v>
                </c:pt>
                <c:pt idx="11">
                  <c:v>0.4606989652121159</c:v>
                </c:pt>
                <c:pt idx="12">
                  <c:v>0.47861812053030112</c:v>
                </c:pt>
                <c:pt idx="13">
                  <c:v>0.49632044833095329</c:v>
                </c:pt>
                <c:pt idx="14">
                  <c:v>0.51295898482433433</c:v>
                </c:pt>
                <c:pt idx="15">
                  <c:v>0.52823166088681572</c:v>
                </c:pt>
                <c:pt idx="16">
                  <c:v>0.54169996763212636</c:v>
                </c:pt>
                <c:pt idx="17">
                  <c:v>0.55289128623333417</c:v>
                </c:pt>
                <c:pt idx="18">
                  <c:v>0.56399969041738052</c:v>
                </c:pt>
                <c:pt idx="19">
                  <c:v>0.574284668665478</c:v>
                </c:pt>
                <c:pt idx="20">
                  <c:v>0.58451326245026114</c:v>
                </c:pt>
                <c:pt idx="21">
                  <c:v>0.59448293984336276</c:v>
                </c:pt>
                <c:pt idx="22">
                  <c:v>0.60369149347283335</c:v>
                </c:pt>
                <c:pt idx="23">
                  <c:v>0.61264452175735462</c:v>
                </c:pt>
                <c:pt idx="24">
                  <c:v>0.62099015373011135</c:v>
                </c:pt>
                <c:pt idx="25">
                  <c:v>0.62913491605231076</c:v>
                </c:pt>
                <c:pt idx="26">
                  <c:v>0.63719204308836841</c:v>
                </c:pt>
                <c:pt idx="27">
                  <c:v>0.64497609112580345</c:v>
                </c:pt>
                <c:pt idx="28">
                  <c:v>0.65267150651041062</c:v>
                </c:pt>
                <c:pt idx="29">
                  <c:v>0.66012502722811039</c:v>
                </c:pt>
                <c:pt idx="30">
                  <c:v>0.66738712003321354</c:v>
                </c:pt>
                <c:pt idx="31">
                  <c:v>0.67459734977064545</c:v>
                </c:pt>
                <c:pt idx="32">
                  <c:v>0.6817244656175786</c:v>
                </c:pt>
                <c:pt idx="33">
                  <c:v>0.68870782767950522</c:v>
                </c:pt>
                <c:pt idx="34">
                  <c:v>0.69537469204641278</c:v>
                </c:pt>
                <c:pt idx="35">
                  <c:v>0.70184620552509214</c:v>
                </c:pt>
                <c:pt idx="36">
                  <c:v>0.70809710149283167</c:v>
                </c:pt>
                <c:pt idx="37">
                  <c:v>0.7140702640840807</c:v>
                </c:pt>
                <c:pt idx="38">
                  <c:v>0.71980718375297625</c:v>
                </c:pt>
                <c:pt idx="39">
                  <c:v>0.72551358400128063</c:v>
                </c:pt>
                <c:pt idx="40">
                  <c:v>0.73115043454601569</c:v>
                </c:pt>
                <c:pt idx="41">
                  <c:v>0.73674373341212951</c:v>
                </c:pt>
                <c:pt idx="42">
                  <c:v>0.74216083083038598</c:v>
                </c:pt>
                <c:pt idx="43">
                  <c:v>0.74752280711646368</c:v>
                </c:pt>
                <c:pt idx="44">
                  <c:v>0.7527522001244179</c:v>
                </c:pt>
                <c:pt idx="45">
                  <c:v>0.75796231070977638</c:v>
                </c:pt>
                <c:pt idx="46">
                  <c:v>0.76309017178909733</c:v>
                </c:pt>
                <c:pt idx="47">
                  <c:v>0.76815167473824408</c:v>
                </c:pt>
                <c:pt idx="48">
                  <c:v>0.77319881560711268</c:v>
                </c:pt>
                <c:pt idx="49">
                  <c:v>0.7782456240204193</c:v>
                </c:pt>
                <c:pt idx="50">
                  <c:v>0.78319103348731745</c:v>
                </c:pt>
                <c:pt idx="51">
                  <c:v>0.78801443176296349</c:v>
                </c:pt>
                <c:pt idx="52">
                  <c:v>0.79268443504230512</c:v>
                </c:pt>
                <c:pt idx="53">
                  <c:v>0.79734266939475218</c:v>
                </c:pt>
                <c:pt idx="54">
                  <c:v>0.80191360091661934</c:v>
                </c:pt>
                <c:pt idx="55">
                  <c:v>0.80637455613857867</c:v>
                </c:pt>
                <c:pt idx="56">
                  <c:v>0.81067899128195076</c:v>
                </c:pt>
                <c:pt idx="57">
                  <c:v>0.81466972135702453</c:v>
                </c:pt>
                <c:pt idx="58">
                  <c:v>0.81865892213651315</c:v>
                </c:pt>
                <c:pt idx="59">
                  <c:v>0.82256321376546826</c:v>
                </c:pt>
                <c:pt idx="60">
                  <c:v>0.82642395371580202</c:v>
                </c:pt>
                <c:pt idx="61">
                  <c:v>0.83024646127650636</c:v>
                </c:pt>
                <c:pt idx="62">
                  <c:v>0.83391896488763873</c:v>
                </c:pt>
                <c:pt idx="63">
                  <c:v>0.83745263505608203</c:v>
                </c:pt>
                <c:pt idx="64">
                  <c:v>0.84093524005020293</c:v>
                </c:pt>
                <c:pt idx="65">
                  <c:v>0.84427023477479812</c:v>
                </c:pt>
                <c:pt idx="66">
                  <c:v>0.84755908466738838</c:v>
                </c:pt>
                <c:pt idx="67">
                  <c:v>0.85076934206512311</c:v>
                </c:pt>
                <c:pt idx="68">
                  <c:v>0.85396523738257957</c:v>
                </c:pt>
                <c:pt idx="69">
                  <c:v>0.85715435060657141</c:v>
                </c:pt>
                <c:pt idx="70">
                  <c:v>0.8601941247921151</c:v>
                </c:pt>
                <c:pt idx="71">
                  <c:v>0.86310902866857353</c:v>
                </c:pt>
                <c:pt idx="72">
                  <c:v>0.86592525973423196</c:v>
                </c:pt>
                <c:pt idx="73">
                  <c:v>0.8686738028474682</c:v>
                </c:pt>
                <c:pt idx="74">
                  <c:v>0.87123630382821216</c:v>
                </c:pt>
                <c:pt idx="75">
                  <c:v>0.87377486800849247</c:v>
                </c:pt>
                <c:pt idx="76">
                  <c:v>0.87631110499983877</c:v>
                </c:pt>
                <c:pt idx="77">
                  <c:v>0.87880019979249424</c:v>
                </c:pt>
                <c:pt idx="78">
                  <c:v>0.88123989168863726</c:v>
                </c:pt>
                <c:pt idx="79">
                  <c:v>0.88367426429578833</c:v>
                </c:pt>
                <c:pt idx="80">
                  <c:v>0.88607951379570871</c:v>
                </c:pt>
                <c:pt idx="81">
                  <c:v>0.88843017409234948</c:v>
                </c:pt>
                <c:pt idx="82">
                  <c:v>0.8907244499256759</c:v>
                </c:pt>
                <c:pt idx="83">
                  <c:v>0.89299086598290722</c:v>
                </c:pt>
                <c:pt idx="84">
                  <c:v>0.89523487453526007</c:v>
                </c:pt>
                <c:pt idx="85">
                  <c:v>0.89739676656380019</c:v>
                </c:pt>
                <c:pt idx="86">
                  <c:v>0.89946317735493542</c:v>
                </c:pt>
                <c:pt idx="87">
                  <c:v>0.90141668623721716</c:v>
                </c:pt>
                <c:pt idx="88">
                  <c:v>0.90335643145923228</c:v>
                </c:pt>
                <c:pt idx="89">
                  <c:v>0.90528979353445715</c:v>
                </c:pt>
                <c:pt idx="90">
                  <c:v>0.90719070794683132</c:v>
                </c:pt>
                <c:pt idx="91">
                  <c:v>0.90907486659888093</c:v>
                </c:pt>
                <c:pt idx="92">
                  <c:v>0.91086593769357194</c:v>
                </c:pt>
                <c:pt idx="93">
                  <c:v>0.9126284841010438</c:v>
                </c:pt>
                <c:pt idx="94">
                  <c:v>0.91438238666390381</c:v>
                </c:pt>
                <c:pt idx="95">
                  <c:v>0.91611075663960262</c:v>
                </c:pt>
                <c:pt idx="96">
                  <c:v>0.91782735768840684</c:v>
                </c:pt>
                <c:pt idx="97">
                  <c:v>0.91951197651214711</c:v>
                </c:pt>
                <c:pt idx="98">
                  <c:v>0.92115510488175045</c:v>
                </c:pt>
                <c:pt idx="99">
                  <c:v>0.92274876386372895</c:v>
                </c:pt>
                <c:pt idx="100">
                  <c:v>0.92429355187809425</c:v>
                </c:pt>
                <c:pt idx="101">
                  <c:v>0.92583747550799833</c:v>
                </c:pt>
                <c:pt idx="102">
                  <c:v>0.92737960387786766</c:v>
                </c:pt>
                <c:pt idx="103">
                  <c:v>0.92890358017405206</c:v>
                </c:pt>
                <c:pt idx="104">
                  <c:v>0.930402489320862</c:v>
                </c:pt>
                <c:pt idx="105">
                  <c:v>0.93186908378704614</c:v>
                </c:pt>
                <c:pt idx="106">
                  <c:v>0.93331233987277817</c:v>
                </c:pt>
                <c:pt idx="107">
                  <c:v>0.9347127091910129</c:v>
                </c:pt>
                <c:pt idx="108">
                  <c:v>0.93610902255139128</c:v>
                </c:pt>
                <c:pt idx="109">
                  <c:v>0.93738784611616066</c:v>
                </c:pt>
                <c:pt idx="110">
                  <c:v>0.93865111076062868</c:v>
                </c:pt>
                <c:pt idx="111">
                  <c:v>0.93991065190280232</c:v>
                </c:pt>
                <c:pt idx="112">
                  <c:v>0.94112511207076954</c:v>
                </c:pt>
                <c:pt idx="113">
                  <c:v>0.94232760383850489</c:v>
                </c:pt>
                <c:pt idx="114">
                  <c:v>0.94352663806839554</c:v>
                </c:pt>
                <c:pt idx="115">
                  <c:v>0.9447255393160614</c:v>
                </c:pt>
                <c:pt idx="116">
                  <c:v>0.94586380066921938</c:v>
                </c:pt>
                <c:pt idx="117">
                  <c:v>0.94696542541944551</c:v>
                </c:pt>
                <c:pt idx="118">
                  <c:v>0.94800368413955538</c:v>
                </c:pt>
                <c:pt idx="119">
                  <c:v>0.94902299289263159</c:v>
                </c:pt>
                <c:pt idx="120">
                  <c:v>0.95003684937449107</c:v>
                </c:pt>
                <c:pt idx="121">
                  <c:v>0.9510117420644848</c:v>
                </c:pt>
                <c:pt idx="122">
                  <c:v>0.95197958669656424</c:v>
                </c:pt>
                <c:pt idx="123">
                  <c:v>0.95294171309297737</c:v>
                </c:pt>
                <c:pt idx="124">
                  <c:v>0.95387159129987698</c:v>
                </c:pt>
                <c:pt idx="125">
                  <c:v>0.95479083092879269</c:v>
                </c:pt>
                <c:pt idx="126">
                  <c:v>0.95567915219044297</c:v>
                </c:pt>
                <c:pt idx="127">
                  <c:v>0.95656634310318245</c:v>
                </c:pt>
                <c:pt idx="128">
                  <c:v>0.95744548859132161</c:v>
                </c:pt>
                <c:pt idx="129">
                  <c:v>0.95831944777269362</c:v>
                </c:pt>
                <c:pt idx="130">
                  <c:v>0.95917472295148154</c:v>
                </c:pt>
                <c:pt idx="131">
                  <c:v>0.95999316205400043</c:v>
                </c:pt>
                <c:pt idx="132">
                  <c:v>0.96080548397417864</c:v>
                </c:pt>
                <c:pt idx="133">
                  <c:v>0.96160869661195825</c:v>
                </c:pt>
                <c:pt idx="134">
                  <c:v>0.96240705539853266</c:v>
                </c:pt>
                <c:pt idx="135">
                  <c:v>0.96317888423125986</c:v>
                </c:pt>
                <c:pt idx="136">
                  <c:v>0.96394479535498356</c:v>
                </c:pt>
                <c:pt idx="137">
                  <c:v>0.96470990858535854</c:v>
                </c:pt>
                <c:pt idx="138">
                  <c:v>0.96541431543011325</c:v>
                </c:pt>
                <c:pt idx="139">
                  <c:v>0.96610695334797336</c:v>
                </c:pt>
                <c:pt idx="140">
                  <c:v>0.96679360706571749</c:v>
                </c:pt>
                <c:pt idx="141">
                  <c:v>0.9674675609809934</c:v>
                </c:pt>
                <c:pt idx="142">
                  <c:v>0.9681347992939171</c:v>
                </c:pt>
                <c:pt idx="143">
                  <c:v>0.96878202378200873</c:v>
                </c:pt>
                <c:pt idx="144">
                  <c:v>0.96940963339194264</c:v>
                </c:pt>
                <c:pt idx="145">
                  <c:v>0.9700145030414361</c:v>
                </c:pt>
                <c:pt idx="146">
                  <c:v>0.97061724497533275</c:v>
                </c:pt>
                <c:pt idx="147">
                  <c:v>0.97121732726473342</c:v>
                </c:pt>
                <c:pt idx="148">
                  <c:v>0.97180344642053029</c:v>
                </c:pt>
                <c:pt idx="149">
                  <c:v>0.97236456491806522</c:v>
                </c:pt>
                <c:pt idx="150">
                  <c:v>0.97290826274415165</c:v>
                </c:pt>
                <c:pt idx="151">
                  <c:v>0.9734459098790097</c:v>
                </c:pt>
                <c:pt idx="152">
                  <c:v>0.97398003298491065</c:v>
                </c:pt>
                <c:pt idx="153">
                  <c:v>0.97449859717051024</c:v>
                </c:pt>
                <c:pt idx="154">
                  <c:v>0.9750093154048467</c:v>
                </c:pt>
                <c:pt idx="155">
                  <c:v>0.97550753331005213</c:v>
                </c:pt>
                <c:pt idx="156">
                  <c:v>0.97600209420407569</c:v>
                </c:pt>
                <c:pt idx="157">
                  <c:v>0.97648860967349893</c:v>
                </c:pt>
                <c:pt idx="158">
                  <c:v>0.97696914094280629</c:v>
                </c:pt>
                <c:pt idx="159">
                  <c:v>0.97744727853206725</c:v>
                </c:pt>
                <c:pt idx="160">
                  <c:v>0.9779117189521741</c:v>
                </c:pt>
                <c:pt idx="161">
                  <c:v>0.97836239571201433</c:v>
                </c:pt>
                <c:pt idx="162">
                  <c:v>0.9788102798451338</c:v>
                </c:pt>
                <c:pt idx="163">
                  <c:v>0.97925424100262171</c:v>
                </c:pt>
                <c:pt idx="164">
                  <c:v>0.97969687233786162</c:v>
                </c:pt>
                <c:pt idx="165">
                  <c:v>0.98013584666191966</c:v>
                </c:pt>
                <c:pt idx="166">
                  <c:v>0.98056271960352104</c:v>
                </c:pt>
                <c:pt idx="167">
                  <c:v>0.9809862679895025</c:v>
                </c:pt>
                <c:pt idx="168">
                  <c:v>0.98140516199761596</c:v>
                </c:pt>
                <c:pt idx="169">
                  <c:v>0.98181647601891597</c:v>
                </c:pt>
                <c:pt idx="170">
                  <c:v>0.98222659320019279</c:v>
                </c:pt>
                <c:pt idx="171">
                  <c:v>0.98262893092131898</c:v>
                </c:pt>
                <c:pt idx="172">
                  <c:v>0.98302827654238722</c:v>
                </c:pt>
                <c:pt idx="173">
                  <c:v>0.98342197041890156</c:v>
                </c:pt>
                <c:pt idx="174">
                  <c:v>0.98381293815980753</c:v>
                </c:pt>
                <c:pt idx="175">
                  <c:v>0.98418828048929974</c:v>
                </c:pt>
                <c:pt idx="176">
                  <c:v>0.98455777160090086</c:v>
                </c:pt>
                <c:pt idx="177">
                  <c:v>0.98490684994099542</c:v>
                </c:pt>
                <c:pt idx="178">
                  <c:v>0.9852488137320633</c:v>
                </c:pt>
                <c:pt idx="179">
                  <c:v>0.98558838384308489</c:v>
                </c:pt>
                <c:pt idx="180">
                  <c:v>0.98592409746958731</c:v>
                </c:pt>
                <c:pt idx="181">
                  <c:v>0.98625768338049291</c:v>
                </c:pt>
                <c:pt idx="182">
                  <c:v>0.98658063071341473</c:v>
                </c:pt>
                <c:pt idx="183">
                  <c:v>0.98689646349730986</c:v>
                </c:pt>
                <c:pt idx="184">
                  <c:v>0.98721209680786781</c:v>
                </c:pt>
                <c:pt idx="185">
                  <c:v>0.98750771629359368</c:v>
                </c:pt>
                <c:pt idx="186">
                  <c:v>0.98780167350150949</c:v>
                </c:pt>
                <c:pt idx="187">
                  <c:v>0.98809250562714257</c:v>
                </c:pt>
                <c:pt idx="188">
                  <c:v>0.98838187494830287</c:v>
                </c:pt>
                <c:pt idx="189">
                  <c:v>0.98865448850913862</c:v>
                </c:pt>
                <c:pt idx="190">
                  <c:v>0.98890243386727439</c:v>
                </c:pt>
                <c:pt idx="191">
                  <c:v>0.98914964782317372</c:v>
                </c:pt>
                <c:pt idx="192">
                  <c:v>0.98939573143016235</c:v>
                </c:pt>
                <c:pt idx="193">
                  <c:v>0.98963948784821698</c:v>
                </c:pt>
                <c:pt idx="194">
                  <c:v>0.98988257935514756</c:v>
                </c:pt>
                <c:pt idx="195">
                  <c:v>0.99011722649080358</c:v>
                </c:pt>
                <c:pt idx="196">
                  <c:v>0.99034622188190569</c:v>
                </c:pt>
                <c:pt idx="197">
                  <c:v>0.990572757101849</c:v>
                </c:pt>
                <c:pt idx="198">
                  <c:v>0.99079344110390122</c:v>
                </c:pt>
                <c:pt idx="199">
                  <c:v>0.9910121303725814</c:v>
                </c:pt>
                <c:pt idx="200">
                  <c:v>0.99122962280123839</c:v>
                </c:pt>
                <c:pt idx="201">
                  <c:v>0.99144106453866709</c:v>
                </c:pt>
                <c:pt idx="202">
                  <c:v>0.99164858330046424</c:v>
                </c:pt>
                <c:pt idx="203">
                  <c:v>0.99185237855996711</c:v>
                </c:pt>
                <c:pt idx="204">
                  <c:v>0.99204739699263333</c:v>
                </c:pt>
                <c:pt idx="205">
                  <c:v>0.99223430350958686</c:v>
                </c:pt>
                <c:pt idx="206">
                  <c:v>0.9924186168731568</c:v>
                </c:pt>
                <c:pt idx="207">
                  <c:v>0.99260186637892833</c:v>
                </c:pt>
                <c:pt idx="208">
                  <c:v>0.99277673800453758</c:v>
                </c:pt>
                <c:pt idx="209">
                  <c:v>0.99294821858341453</c:v>
                </c:pt>
                <c:pt idx="210">
                  <c:v>0.99310447269755209</c:v>
                </c:pt>
                <c:pt idx="211">
                  <c:v>0.99325972944500374</c:v>
                </c:pt>
                <c:pt idx="212">
                  <c:v>0.99341332391464532</c:v>
                </c:pt>
                <c:pt idx="213">
                  <c:v>0.9935658545264886</c:v>
                </c:pt>
                <c:pt idx="214">
                  <c:v>0.99371831864721949</c:v>
                </c:pt>
                <c:pt idx="215">
                  <c:v>0.99386267085223767</c:v>
                </c:pt>
                <c:pt idx="216">
                  <c:v>0.99400622516390702</c:v>
                </c:pt>
                <c:pt idx="217">
                  <c:v>0.99414286439988686</c:v>
                </c:pt>
                <c:pt idx="218">
                  <c:v>0.99427292101573927</c:v>
                </c:pt>
                <c:pt idx="219">
                  <c:v>0.99439486571587898</c:v>
                </c:pt>
                <c:pt idx="220">
                  <c:v>0.99451587954044507</c:v>
                </c:pt>
                <c:pt idx="221">
                  <c:v>0.99463629494499961</c:v>
                </c:pt>
                <c:pt idx="222">
                  <c:v>0.99475358526727142</c:v>
                </c:pt>
                <c:pt idx="223">
                  <c:v>0.99487087558954324</c:v>
                </c:pt>
                <c:pt idx="224">
                  <c:v>0.99498663661622988</c:v>
                </c:pt>
                <c:pt idx="225">
                  <c:v>0.99510199869624205</c:v>
                </c:pt>
                <c:pt idx="226">
                  <c:v>0.99521443516730868</c:v>
                </c:pt>
                <c:pt idx="227">
                  <c:v>0.99532554181612731</c:v>
                </c:pt>
                <c:pt idx="228">
                  <c:v>0.99543392232933758</c:v>
                </c:pt>
                <c:pt idx="229">
                  <c:v>0.99554157144031152</c:v>
                </c:pt>
                <c:pt idx="230">
                  <c:v>0.99563984530443717</c:v>
                </c:pt>
                <c:pt idx="231">
                  <c:v>0.99573439566626853</c:v>
                </c:pt>
                <c:pt idx="232">
                  <c:v>0.99582861357253782</c:v>
                </c:pt>
                <c:pt idx="233">
                  <c:v>0.99592143516544673</c:v>
                </c:pt>
                <c:pt idx="234">
                  <c:v>0.99601425675835564</c:v>
                </c:pt>
                <c:pt idx="235">
                  <c:v>0.99610681238681498</c:v>
                </c:pt>
                <c:pt idx="236">
                  <c:v>0.99619431469073205</c:v>
                </c:pt>
                <c:pt idx="237">
                  <c:v>0.99628115208352508</c:v>
                </c:pt>
                <c:pt idx="238">
                  <c:v>0.99636606123405858</c:v>
                </c:pt>
                <c:pt idx="239">
                  <c:v>0.99645083740236728</c:v>
                </c:pt>
                <c:pt idx="240">
                  <c:v>0.99653262147061805</c:v>
                </c:pt>
                <c:pt idx="241">
                  <c:v>0.99661167940326045</c:v>
                </c:pt>
                <c:pt idx="242">
                  <c:v>0.99668455366244968</c:v>
                </c:pt>
                <c:pt idx="243">
                  <c:v>0.99675563266160416</c:v>
                </c:pt>
                <c:pt idx="244">
                  <c:v>0.99682644569630907</c:v>
                </c:pt>
                <c:pt idx="245">
                  <c:v>0.99689619487321557</c:v>
                </c:pt>
                <c:pt idx="246">
                  <c:v>0.99696507966566095</c:v>
                </c:pt>
                <c:pt idx="247">
                  <c:v>0.99703276761808313</c:v>
                </c:pt>
                <c:pt idx="248">
                  <c:v>0.99710032258828052</c:v>
                </c:pt>
                <c:pt idx="249">
                  <c:v>0.99716574984288109</c:v>
                </c:pt>
                <c:pt idx="250">
                  <c:v>0.99722878341743526</c:v>
                </c:pt>
                <c:pt idx="251">
                  <c:v>0.99729168400976465</c:v>
                </c:pt>
                <c:pt idx="252">
                  <c:v>0.99735258986872211</c:v>
                </c:pt>
                <c:pt idx="253">
                  <c:v>0.99741303028989281</c:v>
                </c:pt>
                <c:pt idx="254">
                  <c:v>0.99747140948657909</c:v>
                </c:pt>
                <c:pt idx="255">
                  <c:v>0.99752859184324216</c:v>
                </c:pt>
                <c:pt idx="256">
                  <c:v>0.99758497630655651</c:v>
                </c:pt>
                <c:pt idx="257">
                  <c:v>0.99764016392984767</c:v>
                </c:pt>
                <c:pt idx="258">
                  <c:v>0.9976944206775652</c:v>
                </c:pt>
                <c:pt idx="259">
                  <c:v>0.99774827847860836</c:v>
                </c:pt>
                <c:pt idx="260">
                  <c:v>0.99780193680631435</c:v>
                </c:pt>
                <c:pt idx="261">
                  <c:v>0.99785340092731112</c:v>
                </c:pt>
                <c:pt idx="262">
                  <c:v>0.9979001441793276</c:v>
                </c:pt>
                <c:pt idx="263">
                  <c:v>0.99794682094023168</c:v>
                </c:pt>
                <c:pt idx="264">
                  <c:v>0.99799250033444975</c:v>
                </c:pt>
                <c:pt idx="265">
                  <c:v>0.99803704937975701</c:v>
                </c:pt>
                <c:pt idx="266">
                  <c:v>0.99808066754949076</c:v>
                </c:pt>
                <c:pt idx="267">
                  <c:v>0.99812388677255004</c:v>
                </c:pt>
                <c:pt idx="268">
                  <c:v>0.9981661751200358</c:v>
                </c:pt>
                <c:pt idx="269">
                  <c:v>0.99820839697640917</c:v>
                </c:pt>
                <c:pt idx="270">
                  <c:v>0.99825055234167015</c:v>
                </c:pt>
                <c:pt idx="271">
                  <c:v>0.99829171034024511</c:v>
                </c:pt>
                <c:pt idx="272">
                  <c:v>0.9983324693921457</c:v>
                </c:pt>
                <c:pt idx="273">
                  <c:v>0.99837236405958507</c:v>
                </c:pt>
                <c:pt idx="274">
                  <c:v>0.99841205925368726</c:v>
                </c:pt>
                <c:pt idx="275">
                  <c:v>0.99845055760776624</c:v>
                </c:pt>
                <c:pt idx="276">
                  <c:v>0.99848852403294608</c:v>
                </c:pt>
                <c:pt idx="277">
                  <c:v>0.99852575905588947</c:v>
                </c:pt>
                <c:pt idx="278">
                  <c:v>0.99856299407883287</c:v>
                </c:pt>
                <c:pt idx="279">
                  <c:v>0.99859989664621429</c:v>
                </c:pt>
                <c:pt idx="280">
                  <c:v>0.99863613430247178</c:v>
                </c:pt>
                <c:pt idx="281">
                  <c:v>0.99867203950316719</c:v>
                </c:pt>
                <c:pt idx="282">
                  <c:v>0.99870734628385105</c:v>
                </c:pt>
                <c:pt idx="283">
                  <c:v>0.9987415892067365</c:v>
                </c:pt>
                <c:pt idx="284">
                  <c:v>0.99877576563850956</c:v>
                </c:pt>
                <c:pt idx="285">
                  <c:v>0.99880927715915868</c:v>
                </c:pt>
                <c:pt idx="286">
                  <c:v>0.99884232324202094</c:v>
                </c:pt>
                <c:pt idx="287">
                  <c:v>0.9988752363426584</c:v>
                </c:pt>
                <c:pt idx="288">
                  <c:v>0.9989078169877339</c:v>
                </c:pt>
                <c:pt idx="289">
                  <c:v>0.99893993219502264</c:v>
                </c:pt>
                <c:pt idx="290">
                  <c:v>0.99897198091119899</c:v>
                </c:pt>
                <c:pt idx="291">
                  <c:v>0.99900343120736368</c:v>
                </c:pt>
                <c:pt idx="292">
                  <c:v>0.99903474852130358</c:v>
                </c:pt>
                <c:pt idx="293">
                  <c:v>0.99906553390634434</c:v>
                </c:pt>
                <c:pt idx="294">
                  <c:v>0.99909439104912545</c:v>
                </c:pt>
                <c:pt idx="295">
                  <c:v>0.99912198486077097</c:v>
                </c:pt>
                <c:pt idx="296">
                  <c:v>0.99914924621685453</c:v>
                </c:pt>
                <c:pt idx="297">
                  <c:v>0.99917537722402727</c:v>
                </c:pt>
                <c:pt idx="298">
                  <c:v>0.99920130875786284</c:v>
                </c:pt>
                <c:pt idx="299">
                  <c:v>0.99922704081836122</c:v>
                </c:pt>
                <c:pt idx="300">
                  <c:v>0.99925263989663482</c:v>
                </c:pt>
                <c:pt idx="301">
                  <c:v>0.99927777353712166</c:v>
                </c:pt>
                <c:pt idx="302">
                  <c:v>0.99930284068649611</c:v>
                </c:pt>
                <c:pt idx="303">
                  <c:v>0.99932784134475816</c:v>
                </c:pt>
                <c:pt idx="304">
                  <c:v>0.99935157867188462</c:v>
                </c:pt>
                <c:pt idx="305">
                  <c:v>0.99937485056122422</c:v>
                </c:pt>
                <c:pt idx="306">
                  <c:v>0.99939798946833902</c:v>
                </c:pt>
                <c:pt idx="307">
                  <c:v>0.99942059644655468</c:v>
                </c:pt>
                <c:pt idx="308">
                  <c:v>0.9994424055314215</c:v>
                </c:pt>
                <c:pt idx="309">
                  <c:v>0.99946394865183874</c:v>
                </c:pt>
                <c:pt idx="310">
                  <c:v>0.99948389598555842</c:v>
                </c:pt>
                <c:pt idx="311">
                  <c:v>0.99950184858590618</c:v>
                </c:pt>
                <c:pt idx="312">
                  <c:v>0.99951926925735468</c:v>
                </c:pt>
                <c:pt idx="313">
                  <c:v>0.99953589203545445</c:v>
                </c:pt>
                <c:pt idx="314">
                  <c:v>0.99955224884910465</c:v>
                </c:pt>
                <c:pt idx="315">
                  <c:v>0.99956820671608038</c:v>
                </c:pt>
                <c:pt idx="316">
                  <c:v>0.99958383212749413</c:v>
                </c:pt>
                <c:pt idx="317">
                  <c:v>0.99959846017222187</c:v>
                </c:pt>
                <c:pt idx="318">
                  <c:v>0.99961275576138764</c:v>
                </c:pt>
                <c:pt idx="319">
                  <c:v>0.99962671889499144</c:v>
                </c:pt>
                <c:pt idx="320">
                  <c:v>0.99964015009969598</c:v>
                </c:pt>
                <c:pt idx="321">
                  <c:v>0.99965324884883855</c:v>
                </c:pt>
                <c:pt idx="322">
                  <c:v>0.99966621461575633</c:v>
                </c:pt>
                <c:pt idx="323">
                  <c:v>0.99967891441822454</c:v>
                </c:pt>
                <c:pt idx="324">
                  <c:v>0.99969148123846796</c:v>
                </c:pt>
                <c:pt idx="325">
                  <c:v>0.99970358262092462</c:v>
                </c:pt>
                <c:pt idx="326">
                  <c:v>0.99971528505670681</c:v>
                </c:pt>
                <c:pt idx="327">
                  <c:v>0.99972692100137661</c:v>
                </c:pt>
                <c:pt idx="328">
                  <c:v>0.99973855694604641</c:v>
                </c:pt>
                <c:pt idx="329">
                  <c:v>0.99974999341737902</c:v>
                </c:pt>
                <c:pt idx="330">
                  <c:v>0.99976136339759925</c:v>
                </c:pt>
                <c:pt idx="331">
                  <c:v>0.99977273337781947</c:v>
                </c:pt>
                <c:pt idx="332">
                  <c:v>0.99978403686692729</c:v>
                </c:pt>
                <c:pt idx="333">
                  <c:v>0.99979527386492273</c:v>
                </c:pt>
                <c:pt idx="334">
                  <c:v>0.99980651086291816</c:v>
                </c:pt>
                <c:pt idx="335">
                  <c:v>0.99981741540535163</c:v>
                </c:pt>
                <c:pt idx="336">
                  <c:v>0.99982752205443626</c:v>
                </c:pt>
                <c:pt idx="337">
                  <c:v>0.99983722975684652</c:v>
                </c:pt>
                <c:pt idx="338">
                  <c:v>0.99984667149480722</c:v>
                </c:pt>
                <c:pt idx="339">
                  <c:v>0.99985531533941907</c:v>
                </c:pt>
                <c:pt idx="340">
                  <c:v>0.99986395918403093</c:v>
                </c:pt>
                <c:pt idx="341">
                  <c:v>0.99987253653753039</c:v>
                </c:pt>
                <c:pt idx="342">
                  <c:v>0.99988051547101831</c:v>
                </c:pt>
                <c:pt idx="343">
                  <c:v>0.99988836142228144</c:v>
                </c:pt>
                <c:pt idx="344">
                  <c:v>0.99989547597130812</c:v>
                </c:pt>
                <c:pt idx="345">
                  <c:v>0.99990192560921087</c:v>
                </c:pt>
                <c:pt idx="346">
                  <c:v>0.99990757735376479</c:v>
                </c:pt>
                <c:pt idx="347">
                  <c:v>0.99991289664275673</c:v>
                </c:pt>
                <c:pt idx="348">
                  <c:v>0.99991821593174868</c:v>
                </c:pt>
                <c:pt idx="349">
                  <c:v>0.99992293680072897</c:v>
                </c:pt>
                <c:pt idx="350">
                  <c:v>0.99992759117859686</c:v>
                </c:pt>
                <c:pt idx="351">
                  <c:v>0.999931780118678</c:v>
                </c:pt>
                <c:pt idx="352">
                  <c:v>0.99993590256764675</c:v>
                </c:pt>
                <c:pt idx="353">
                  <c:v>0.9999399585255031</c:v>
                </c:pt>
                <c:pt idx="354">
                  <c:v>0.99994394799224706</c:v>
                </c:pt>
                <c:pt idx="355">
                  <c:v>0.99994793745899102</c:v>
                </c:pt>
                <c:pt idx="356">
                  <c:v>0.9999517274523978</c:v>
                </c:pt>
                <c:pt idx="357">
                  <c:v>0.99995545095469218</c:v>
                </c:pt>
                <c:pt idx="358">
                  <c:v>0.99995910796587417</c:v>
                </c:pt>
                <c:pt idx="359">
                  <c:v>0.99996269848594377</c:v>
                </c:pt>
                <c:pt idx="360">
                  <c:v>0.99996608953267607</c:v>
                </c:pt>
                <c:pt idx="361">
                  <c:v>0.99996941408829598</c:v>
                </c:pt>
                <c:pt idx="362">
                  <c:v>0.9999726721528035</c:v>
                </c:pt>
                <c:pt idx="363">
                  <c:v>0.99997898880848135</c:v>
                </c:pt>
                <c:pt idx="364">
                  <c:v>0.99998198090853929</c:v>
                </c:pt>
                <c:pt idx="365">
                  <c:v>0.99998450757081048</c:v>
                </c:pt>
                <c:pt idx="366">
                  <c:v>0.99998703423308166</c:v>
                </c:pt>
                <c:pt idx="367">
                  <c:v>0.99998942791312806</c:v>
                </c:pt>
                <c:pt idx="368">
                  <c:v>0.99999175510206206</c:v>
                </c:pt>
                <c:pt idx="369">
                  <c:v>0.99999408229099607</c:v>
                </c:pt>
                <c:pt idx="370">
                  <c:v>0.99999561158658123</c:v>
                </c:pt>
                <c:pt idx="371">
                  <c:v>0.99999700789994161</c:v>
                </c:pt>
                <c:pt idx="372">
                  <c:v>0.99999820473996481</c:v>
                </c:pt>
                <c:pt idx="373">
                  <c:v>0.99999906912442604</c:v>
                </c:pt>
                <c:pt idx="374">
                  <c:v>0.9999995345622128</c:v>
                </c:pt>
                <c:pt idx="375">
                  <c:v>0.99999999999999956</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400</c:f>
              <c:strCache>
                <c:ptCount val="399"/>
                <c:pt idx="0">
                  <c:v>Ruinart</c:v>
                </c:pt>
                <c:pt idx="1">
                  <c:v>Nicolas</c:v>
                </c:pt>
                <c:pt idx="2">
                  <c:v>Deutz</c:v>
                </c:pt>
                <c:pt idx="3">
                  <c:v>Ruinart</c:v>
                </c:pt>
                <c:pt idx="4">
                  <c:v>Heidsieck &amp;</c:v>
                </c:pt>
                <c:pt idx="5">
                  <c:v>Malard</c:v>
                </c:pt>
                <c:pt idx="6">
                  <c:v>De Bligny</c:v>
                </c:pt>
                <c:pt idx="7">
                  <c:v>Ayala</c:v>
                </c:pt>
                <c:pt idx="8">
                  <c:v>Laurent Per</c:v>
                </c:pt>
                <c:pt idx="9">
                  <c:v>Nicolas Feu</c:v>
                </c:pt>
                <c:pt idx="10">
                  <c:v>Ruinart</c:v>
                </c:pt>
                <c:pt idx="11">
                  <c:v>Besserat De</c:v>
                </c:pt>
                <c:pt idx="12">
                  <c:v>Canard Duch</c:v>
                </c:pt>
                <c:pt idx="13">
                  <c:v>Taittinger</c:v>
                </c:pt>
                <c:pt idx="14">
                  <c:v>Ruinart</c:v>
                </c:pt>
                <c:pt idx="15">
                  <c:v>Bollinger</c:v>
                </c:pt>
                <c:pt idx="16">
                  <c:v>Demoiselle</c:v>
                </c:pt>
                <c:pt idx="17">
                  <c:v>Deutz</c:v>
                </c:pt>
                <c:pt idx="18">
                  <c:v>Ruinart</c:v>
                </c:pt>
                <c:pt idx="19">
                  <c:v>All Others</c:v>
                </c:pt>
                <c:pt idx="20">
                  <c:v>Perrier Jou</c:v>
                </c:pt>
                <c:pt idx="21">
                  <c:v>Ruinart</c:v>
                </c:pt>
                <c:pt idx="22">
                  <c:v>All Others</c:v>
                </c:pt>
                <c:pt idx="23">
                  <c:v>Vesselle</c:v>
                </c:pt>
                <c:pt idx="24">
                  <c:v>Laurent Per</c:v>
                </c:pt>
                <c:pt idx="25">
                  <c:v>Savian</c:v>
                </c:pt>
                <c:pt idx="26">
                  <c:v>Pommery</c:v>
                </c:pt>
                <c:pt idx="27">
                  <c:v>Roederer</c:v>
                </c:pt>
                <c:pt idx="28">
                  <c:v>Ruinart</c:v>
                </c:pt>
                <c:pt idx="29">
                  <c:v>Bottega</c:v>
                </c:pt>
                <c:pt idx="30">
                  <c:v>Moët &amp; Chan</c:v>
                </c:pt>
                <c:pt idx="31">
                  <c:v>Malard</c:v>
                </c:pt>
                <c:pt idx="32">
                  <c:v>Taittinger</c:v>
                </c:pt>
                <c:pt idx="33">
                  <c:v>Patriarche</c:v>
                </c:pt>
                <c:pt idx="34">
                  <c:v>Deutz</c:v>
                </c:pt>
                <c:pt idx="35">
                  <c:v>Mure</c:v>
                </c:pt>
                <c:pt idx="36">
                  <c:v>Dom Perigno</c:v>
                </c:pt>
                <c:pt idx="37">
                  <c:v>Henriot</c:v>
                </c:pt>
                <c:pt idx="38">
                  <c:v>All Others</c:v>
                </c:pt>
                <c:pt idx="39">
                  <c:v>Veuve Clicq</c:v>
                </c:pt>
                <c:pt idx="40">
                  <c:v>De Venoge</c:v>
                </c:pt>
                <c:pt idx="41">
                  <c:v>Dom Perigno</c:v>
                </c:pt>
                <c:pt idx="42">
                  <c:v>All Others</c:v>
                </c:pt>
                <c:pt idx="43">
                  <c:v>Nicolas</c:v>
                </c:pt>
                <c:pt idx="44">
                  <c:v>Veuve Clicq</c:v>
                </c:pt>
                <c:pt idx="45">
                  <c:v>Roederer</c:v>
                </c:pt>
                <c:pt idx="46">
                  <c:v>Malard</c:v>
                </c:pt>
                <c:pt idx="47">
                  <c:v>Demoiselle</c:v>
                </c:pt>
                <c:pt idx="48">
                  <c:v>Campari: Al</c:v>
                </c:pt>
                <c:pt idx="49">
                  <c:v>Besserat De</c:v>
                </c:pt>
                <c:pt idx="50">
                  <c:v>Savian</c:v>
                </c:pt>
                <c:pt idx="51">
                  <c:v>Veuve Clicq</c:v>
                </c:pt>
                <c:pt idx="52">
                  <c:v>Ruinart</c:v>
                </c:pt>
                <c:pt idx="53">
                  <c:v>Laurent Per</c:v>
                </c:pt>
                <c:pt idx="54">
                  <c:v>French Bloo</c:v>
                </c:pt>
                <c:pt idx="55">
                  <c:v>Nicolas</c:v>
                </c:pt>
                <c:pt idx="56">
                  <c:v>De Chanceny</c:v>
                </c:pt>
                <c:pt idx="57">
                  <c:v>Moët &amp; Chan</c:v>
                </c:pt>
                <c:pt idx="58">
                  <c:v>Bouvet-Ladu</c:v>
                </c:pt>
                <c:pt idx="59">
                  <c:v>Deutz</c:v>
                </c:pt>
                <c:pt idx="60">
                  <c:v>Piper Heids</c:v>
                </c:pt>
                <c:pt idx="61">
                  <c:v>Nicolas</c:v>
                </c:pt>
                <c:pt idx="62">
                  <c:v>Ruinart</c:v>
                </c:pt>
                <c:pt idx="63">
                  <c:v>Lyre's</c:v>
                </c:pt>
                <c:pt idx="64">
                  <c:v>Nicolas Feu</c:v>
                </c:pt>
                <c:pt idx="65">
                  <c:v>De Bligny</c:v>
                </c:pt>
                <c:pt idx="66">
                  <c:v>Nicolas Feu</c:v>
                </c:pt>
                <c:pt idx="67">
                  <c:v>Lanson</c:v>
                </c:pt>
                <c:pt idx="68">
                  <c:v>Nicolas Feu</c:v>
                </c:pt>
                <c:pt idx="69">
                  <c:v>Louis Marti</c:v>
                </c:pt>
                <c:pt idx="70">
                  <c:v>Moët &amp; Chan</c:v>
                </c:pt>
                <c:pt idx="71">
                  <c:v>Henriot</c:v>
                </c:pt>
                <c:pt idx="72">
                  <c:v>Canard Duch</c:v>
                </c:pt>
                <c:pt idx="73">
                  <c:v>Malard</c:v>
                </c:pt>
                <c:pt idx="74">
                  <c:v>Bollinger</c:v>
                </c:pt>
                <c:pt idx="75">
                  <c:v>Campari: Al</c:v>
                </c:pt>
                <c:pt idx="76">
                  <c:v>Henriot</c:v>
                </c:pt>
                <c:pt idx="77">
                  <c:v>Malard</c:v>
                </c:pt>
                <c:pt idx="78">
                  <c:v>Delamotte</c:v>
                </c:pt>
                <c:pt idx="79">
                  <c:v>Pommery</c:v>
                </c:pt>
                <c:pt idx="80">
                  <c:v>Besserat De</c:v>
                </c:pt>
                <c:pt idx="81">
                  <c:v>De Chanceny</c:v>
                </c:pt>
                <c:pt idx="82">
                  <c:v>All Others</c:v>
                </c:pt>
                <c:pt idx="83">
                  <c:v>De Venoge</c:v>
                </c:pt>
                <c:pt idx="84">
                  <c:v>Roederer</c:v>
                </c:pt>
                <c:pt idx="85">
                  <c:v>Ayala</c:v>
                </c:pt>
                <c:pt idx="86">
                  <c:v>Krug</c:v>
                </c:pt>
                <c:pt idx="87">
                  <c:v>Canard Duch</c:v>
                </c:pt>
                <c:pt idx="88">
                  <c:v>De Venoge</c:v>
                </c:pt>
                <c:pt idx="89">
                  <c:v>Patriarche</c:v>
                </c:pt>
                <c:pt idx="90">
                  <c:v>Laurent Per</c:v>
                </c:pt>
                <c:pt idx="91">
                  <c:v>Ruinart</c:v>
                </c:pt>
                <c:pt idx="92">
                  <c:v>Roederer</c:v>
                </c:pt>
                <c:pt idx="93">
                  <c:v>Henriot</c:v>
                </c:pt>
                <c:pt idx="94">
                  <c:v>Vranken</c:v>
                </c:pt>
                <c:pt idx="95">
                  <c:v>Roederer</c:v>
                </c:pt>
                <c:pt idx="96">
                  <c:v>Malard</c:v>
                </c:pt>
                <c:pt idx="97">
                  <c:v>Nicolas</c:v>
                </c:pt>
                <c:pt idx="98">
                  <c:v>All Others</c:v>
                </c:pt>
                <c:pt idx="99">
                  <c:v>De Venoge</c:v>
                </c:pt>
                <c:pt idx="100">
                  <c:v>Ruinart</c:v>
                </c:pt>
                <c:pt idx="101">
                  <c:v>Vranken</c:v>
                </c:pt>
                <c:pt idx="102">
                  <c:v>Ruinart</c:v>
                </c:pt>
                <c:pt idx="103">
                  <c:v>Canard Duch</c:v>
                </c:pt>
                <c:pt idx="104">
                  <c:v>Nicolas</c:v>
                </c:pt>
                <c:pt idx="105">
                  <c:v>Bottega</c:v>
                </c:pt>
                <c:pt idx="106">
                  <c:v>Veuve Clicq</c:v>
                </c:pt>
                <c:pt idx="107">
                  <c:v>Ruinart</c:v>
                </c:pt>
                <c:pt idx="108">
                  <c:v>Kriter</c:v>
                </c:pt>
                <c:pt idx="109">
                  <c:v>Ruinart</c:v>
                </c:pt>
                <c:pt idx="110">
                  <c:v>Roederer</c:v>
                </c:pt>
                <c:pt idx="111">
                  <c:v>Roederer</c:v>
                </c:pt>
                <c:pt idx="112">
                  <c:v>Roederer</c:v>
                </c:pt>
                <c:pt idx="113">
                  <c:v>All Others</c:v>
                </c:pt>
                <c:pt idx="114">
                  <c:v>All Others</c:v>
                </c:pt>
                <c:pt idx="115">
                  <c:v>Nicolas</c:v>
                </c:pt>
                <c:pt idx="116">
                  <c:v>Deutz</c:v>
                </c:pt>
                <c:pt idx="117">
                  <c:v>Nicolas</c:v>
                </c:pt>
                <c:pt idx="118">
                  <c:v>Canard Duch</c:v>
                </c:pt>
                <c:pt idx="119">
                  <c:v>All Others</c:v>
                </c:pt>
                <c:pt idx="120">
                  <c:v>All Others</c:v>
                </c:pt>
                <c:pt idx="121">
                  <c:v>All Others</c:v>
                </c:pt>
                <c:pt idx="122">
                  <c:v>All Others</c:v>
                </c:pt>
                <c:pt idx="123">
                  <c:v>Roederer</c:v>
                </c:pt>
                <c:pt idx="124">
                  <c:v>Roederer</c:v>
                </c:pt>
                <c:pt idx="125">
                  <c:v>Contarini</c:v>
                </c:pt>
                <c:pt idx="126">
                  <c:v>Bollinger</c:v>
                </c:pt>
                <c:pt idx="127">
                  <c:v>Moët &amp; Chan</c:v>
                </c:pt>
                <c:pt idx="128">
                  <c:v>Bollinger</c:v>
                </c:pt>
                <c:pt idx="129">
                  <c:v>Cru La Maqu</c:v>
                </c:pt>
                <c:pt idx="130">
                  <c:v>All Others</c:v>
                </c:pt>
                <c:pt idx="131">
                  <c:v>Nicolas</c:v>
                </c:pt>
                <c:pt idx="132">
                  <c:v>Dom Perigno</c:v>
                </c:pt>
                <c:pt idx="133">
                  <c:v>Bollinger</c:v>
                </c:pt>
                <c:pt idx="134">
                  <c:v>All Others</c:v>
                </c:pt>
                <c:pt idx="135">
                  <c:v>All Others</c:v>
                </c:pt>
                <c:pt idx="136">
                  <c:v>Nicolas Feu</c:v>
                </c:pt>
                <c:pt idx="137">
                  <c:v>Perrier Jou</c:v>
                </c:pt>
                <c:pt idx="138">
                  <c:v>Laurent Per</c:v>
                </c:pt>
                <c:pt idx="139">
                  <c:v>All Others</c:v>
                </c:pt>
                <c:pt idx="140">
                  <c:v>Pommery</c:v>
                </c:pt>
                <c:pt idx="141">
                  <c:v>Nicolas</c:v>
                </c:pt>
                <c:pt idx="142">
                  <c:v>Roederer</c:v>
                </c:pt>
                <c:pt idx="143">
                  <c:v>Nicolas</c:v>
                </c:pt>
                <c:pt idx="144">
                  <c:v>Nicolas</c:v>
                </c:pt>
                <c:pt idx="145">
                  <c:v>All Others</c:v>
                </c:pt>
                <c:pt idx="146">
                  <c:v>Demoiselle</c:v>
                </c:pt>
                <c:pt idx="147">
                  <c:v>Deutz</c:v>
                </c:pt>
                <c:pt idx="148">
                  <c:v>Besserat De</c:v>
                </c:pt>
                <c:pt idx="149">
                  <c:v>Pommery</c:v>
                </c:pt>
                <c:pt idx="150">
                  <c:v>All Others</c:v>
                </c:pt>
                <c:pt idx="151">
                  <c:v>Ruinart</c:v>
                </c:pt>
                <c:pt idx="152">
                  <c:v>Canard Duch</c:v>
                </c:pt>
                <c:pt idx="153">
                  <c:v>Dom Perigno</c:v>
                </c:pt>
                <c:pt idx="154">
                  <c:v>Nicolas</c:v>
                </c:pt>
                <c:pt idx="155">
                  <c:v>Mure</c:v>
                </c:pt>
                <c:pt idx="156">
                  <c:v>Lanson</c:v>
                </c:pt>
                <c:pt idx="157">
                  <c:v>All Others</c:v>
                </c:pt>
                <c:pt idx="158">
                  <c:v>All Others</c:v>
                </c:pt>
                <c:pt idx="159">
                  <c:v>Roederer</c:v>
                </c:pt>
                <c:pt idx="160">
                  <c:v>Nicolas</c:v>
                </c:pt>
                <c:pt idx="161">
                  <c:v>All Others</c:v>
                </c:pt>
                <c:pt idx="162">
                  <c:v>All Others</c:v>
                </c:pt>
                <c:pt idx="163">
                  <c:v>Laurent Per</c:v>
                </c:pt>
                <c:pt idx="164">
                  <c:v>Laurent Per</c:v>
                </c:pt>
                <c:pt idx="165">
                  <c:v>Roederer</c:v>
                </c:pt>
                <c:pt idx="166">
                  <c:v>Taittinger</c:v>
                </c:pt>
                <c:pt idx="167">
                  <c:v>All Others</c:v>
                </c:pt>
                <c:pt idx="168">
                  <c:v>All Others</c:v>
                </c:pt>
                <c:pt idx="169">
                  <c:v>All Others</c:v>
                </c:pt>
                <c:pt idx="170">
                  <c:v>Nicolas</c:v>
                </c:pt>
                <c:pt idx="171">
                  <c:v>Contarini</c:v>
                </c:pt>
                <c:pt idx="172">
                  <c:v>All Others</c:v>
                </c:pt>
                <c:pt idx="173">
                  <c:v>Laurent Per</c:v>
                </c:pt>
                <c:pt idx="174">
                  <c:v>Vesselle</c:v>
                </c:pt>
                <c:pt idx="175">
                  <c:v>Ruinart</c:v>
                </c:pt>
                <c:pt idx="176">
                  <c:v>Deutz</c:v>
                </c:pt>
                <c:pt idx="177">
                  <c:v>Pommery</c:v>
                </c:pt>
                <c:pt idx="178">
                  <c:v>Ruinart</c:v>
                </c:pt>
                <c:pt idx="179">
                  <c:v>Demoiselle</c:v>
                </c:pt>
                <c:pt idx="180">
                  <c:v>All Others</c:v>
                </c:pt>
                <c:pt idx="181">
                  <c:v>Roederer</c:v>
                </c:pt>
                <c:pt idx="182">
                  <c:v>Louis Marti</c:v>
                </c:pt>
                <c:pt idx="183">
                  <c:v>Ayala</c:v>
                </c:pt>
                <c:pt idx="184">
                  <c:v>Vranken</c:v>
                </c:pt>
                <c:pt idx="185">
                  <c:v>Piper Heids</c:v>
                </c:pt>
                <c:pt idx="186">
                  <c:v>Nicolas</c:v>
                </c:pt>
                <c:pt idx="187">
                  <c:v>All Others</c:v>
                </c:pt>
                <c:pt idx="188">
                  <c:v>Nicolas</c:v>
                </c:pt>
                <c:pt idx="189">
                  <c:v>All Others</c:v>
                </c:pt>
                <c:pt idx="190">
                  <c:v>Perrier Jou</c:v>
                </c:pt>
                <c:pt idx="191">
                  <c:v>Canard Duch</c:v>
                </c:pt>
                <c:pt idx="192">
                  <c:v>Besserat De</c:v>
                </c:pt>
                <c:pt idx="193">
                  <c:v>All Others</c:v>
                </c:pt>
                <c:pt idx="194">
                  <c:v>Roederer</c:v>
                </c:pt>
                <c:pt idx="195">
                  <c:v>Ruinart</c:v>
                </c:pt>
                <c:pt idx="196">
                  <c:v>Nicolas</c:v>
                </c:pt>
                <c:pt idx="197">
                  <c:v>Ruinart</c:v>
                </c:pt>
                <c:pt idx="198">
                  <c:v>All Others</c:v>
                </c:pt>
                <c:pt idx="199">
                  <c:v>All Others</c:v>
                </c:pt>
                <c:pt idx="200">
                  <c:v>Vesselle</c:v>
                </c:pt>
                <c:pt idx="201">
                  <c:v>Moët &amp; Chan</c:v>
                </c:pt>
                <c:pt idx="202">
                  <c:v>Piper Heids</c:v>
                </c:pt>
                <c:pt idx="203">
                  <c:v>Delamotte</c:v>
                </c:pt>
                <c:pt idx="204">
                  <c:v>Bouvet-Ladu</c:v>
                </c:pt>
                <c:pt idx="205">
                  <c:v>Henriot</c:v>
                </c:pt>
                <c:pt idx="206">
                  <c:v>Pommery</c:v>
                </c:pt>
                <c:pt idx="207">
                  <c:v>All Others</c:v>
                </c:pt>
                <c:pt idx="208">
                  <c:v>Moët &amp; Chan</c:v>
                </c:pt>
                <c:pt idx="209">
                  <c:v>Ruinart</c:v>
                </c:pt>
                <c:pt idx="210">
                  <c:v>All Others</c:v>
                </c:pt>
                <c:pt idx="211">
                  <c:v>Malard</c:v>
                </c:pt>
                <c:pt idx="212">
                  <c:v>Bollinger</c:v>
                </c:pt>
                <c:pt idx="213">
                  <c:v>Taittinger</c:v>
                </c:pt>
                <c:pt idx="214">
                  <c:v>All Others</c:v>
                </c:pt>
                <c:pt idx="215">
                  <c:v>All Others</c:v>
                </c:pt>
                <c:pt idx="216">
                  <c:v>All Others</c:v>
                </c:pt>
                <c:pt idx="217">
                  <c:v>All Others</c:v>
                </c:pt>
                <c:pt idx="218">
                  <c:v>Bouvet-Ladu</c:v>
                </c:pt>
                <c:pt idx="219">
                  <c:v>All Others</c:v>
                </c:pt>
                <c:pt idx="220">
                  <c:v>All Others</c:v>
                </c:pt>
                <c:pt idx="221">
                  <c:v>Nicolas</c:v>
                </c:pt>
                <c:pt idx="222">
                  <c:v>Roederer</c:v>
                </c:pt>
                <c:pt idx="223">
                  <c:v>All Others</c:v>
                </c:pt>
                <c:pt idx="224">
                  <c:v>Moët &amp; Chan</c:v>
                </c:pt>
                <c:pt idx="225">
                  <c:v>All Others</c:v>
                </c:pt>
                <c:pt idx="226">
                  <c:v>Nicolas</c:v>
                </c:pt>
                <c:pt idx="227">
                  <c:v>Taittinger</c:v>
                </c:pt>
                <c:pt idx="228">
                  <c:v>Henriot</c:v>
                </c:pt>
                <c:pt idx="229">
                  <c:v>Ruinart</c:v>
                </c:pt>
                <c:pt idx="230">
                  <c:v>Deutz</c:v>
                </c:pt>
                <c:pt idx="231">
                  <c:v>All Others</c:v>
                </c:pt>
                <c:pt idx="232">
                  <c:v>Veuve Clicq</c:v>
                </c:pt>
                <c:pt idx="233">
                  <c:v>Mure</c:v>
                </c:pt>
                <c:pt idx="234">
                  <c:v>De Venoge</c:v>
                </c:pt>
                <c:pt idx="235">
                  <c:v>Nicolas Feu</c:v>
                </c:pt>
                <c:pt idx="236">
                  <c:v>Bouvet-Ladu</c:v>
                </c:pt>
                <c:pt idx="237">
                  <c:v>All Others</c:v>
                </c:pt>
                <c:pt idx="238">
                  <c:v>All Others</c:v>
                </c:pt>
                <c:pt idx="239">
                  <c:v>All Others</c:v>
                </c:pt>
                <c:pt idx="240">
                  <c:v>Canard Duch</c:v>
                </c:pt>
                <c:pt idx="241">
                  <c:v>All Others</c:v>
                </c:pt>
                <c:pt idx="242">
                  <c:v>Laurent Per</c:v>
                </c:pt>
                <c:pt idx="243">
                  <c:v>Piper Heids</c:v>
                </c:pt>
                <c:pt idx="244">
                  <c:v>Ruinart</c:v>
                </c:pt>
                <c:pt idx="245">
                  <c:v>Roederer</c:v>
                </c:pt>
                <c:pt idx="246">
                  <c:v>Veuve Clicq</c:v>
                </c:pt>
                <c:pt idx="247">
                  <c:v>Canard Duch</c:v>
                </c:pt>
                <c:pt idx="248">
                  <c:v>Nicolas</c:v>
                </c:pt>
                <c:pt idx="249">
                  <c:v>Ruinart</c:v>
                </c:pt>
                <c:pt idx="250">
                  <c:v>All Others</c:v>
                </c:pt>
                <c:pt idx="251">
                  <c:v>Celene</c:v>
                </c:pt>
                <c:pt idx="252">
                  <c:v>All Others</c:v>
                </c:pt>
                <c:pt idx="253">
                  <c:v>Piper Heids</c:v>
                </c:pt>
                <c:pt idx="254">
                  <c:v>All Others</c:v>
                </c:pt>
                <c:pt idx="255">
                  <c:v>Laurent Per</c:v>
                </c:pt>
                <c:pt idx="256">
                  <c:v>All Others</c:v>
                </c:pt>
                <c:pt idx="257">
                  <c:v>De Venoge</c:v>
                </c:pt>
                <c:pt idx="258">
                  <c:v>Roederer</c:v>
                </c:pt>
                <c:pt idx="259">
                  <c:v>Deutz</c:v>
                </c:pt>
                <c:pt idx="260">
                  <c:v>Roederer</c:v>
                </c:pt>
                <c:pt idx="261">
                  <c:v>All Others</c:v>
                </c:pt>
                <c:pt idx="262">
                  <c:v>All Others</c:v>
                </c:pt>
                <c:pt idx="263">
                  <c:v>Perrier Jou</c:v>
                </c:pt>
                <c:pt idx="264">
                  <c:v>Ruinart</c:v>
                </c:pt>
                <c:pt idx="265">
                  <c:v>All Others</c:v>
                </c:pt>
                <c:pt idx="266">
                  <c:v>Pommery</c:v>
                </c:pt>
                <c:pt idx="267">
                  <c:v>Laurent Per</c:v>
                </c:pt>
                <c:pt idx="268">
                  <c:v>Dom Perigno</c:v>
                </c:pt>
                <c:pt idx="269">
                  <c:v>Celene</c:v>
                </c:pt>
                <c:pt idx="270">
                  <c:v>All Others</c:v>
                </c:pt>
                <c:pt idx="271">
                  <c:v>Bollinger</c:v>
                </c:pt>
                <c:pt idx="272">
                  <c:v>De Venoge</c:v>
                </c:pt>
                <c:pt idx="273">
                  <c:v>De Venoge</c:v>
                </c:pt>
                <c:pt idx="274">
                  <c:v>Malard</c:v>
                </c:pt>
                <c:pt idx="275">
                  <c:v>All Others</c:v>
                </c:pt>
                <c:pt idx="276">
                  <c:v>All Others</c:v>
                </c:pt>
                <c:pt idx="277">
                  <c:v>All Others</c:v>
                </c:pt>
                <c:pt idx="278">
                  <c:v>All Others</c:v>
                </c:pt>
                <c:pt idx="279">
                  <c:v>All Others</c:v>
                </c:pt>
                <c:pt idx="280">
                  <c:v>Bollinger</c:v>
                </c:pt>
                <c:pt idx="281">
                  <c:v>All Others</c:v>
                </c:pt>
                <c:pt idx="282">
                  <c:v>De Bligny</c:v>
                </c:pt>
                <c:pt idx="283">
                  <c:v>Dom Perigno</c:v>
                </c:pt>
                <c:pt idx="284">
                  <c:v>All Others</c:v>
                </c:pt>
                <c:pt idx="285">
                  <c:v>Laurent Per</c:v>
                </c:pt>
                <c:pt idx="286">
                  <c:v>Martel</c:v>
                </c:pt>
                <c:pt idx="287">
                  <c:v>Bollinger</c:v>
                </c:pt>
                <c:pt idx="288">
                  <c:v>Roederer</c:v>
                </c:pt>
                <c:pt idx="289">
                  <c:v>Bollinger</c:v>
                </c:pt>
                <c:pt idx="290">
                  <c:v>All Others</c:v>
                </c:pt>
                <c:pt idx="291">
                  <c:v>Perrier Jou</c:v>
                </c:pt>
                <c:pt idx="292">
                  <c:v>De Venoge</c:v>
                </c:pt>
                <c:pt idx="293">
                  <c:v>De Venoge</c:v>
                </c:pt>
                <c:pt idx="294">
                  <c:v>All Others</c:v>
                </c:pt>
                <c:pt idx="295">
                  <c:v>Besserat De</c:v>
                </c:pt>
                <c:pt idx="296">
                  <c:v>Ayala</c:v>
                </c:pt>
                <c:pt idx="297">
                  <c:v>Bollinger</c:v>
                </c:pt>
                <c:pt idx="298">
                  <c:v>De Bligny</c:v>
                </c:pt>
                <c:pt idx="299">
                  <c:v>All Others</c:v>
                </c:pt>
                <c:pt idx="300">
                  <c:v>All Others</c:v>
                </c:pt>
                <c:pt idx="301">
                  <c:v>All Others</c:v>
                </c:pt>
                <c:pt idx="302">
                  <c:v>Moët &amp; Chan</c:v>
                </c:pt>
                <c:pt idx="303">
                  <c:v>All Others</c:v>
                </c:pt>
                <c:pt idx="304">
                  <c:v>Pommery</c:v>
                </c:pt>
                <c:pt idx="305">
                  <c:v>Deutz</c:v>
                </c:pt>
                <c:pt idx="306">
                  <c:v>Bollinger</c:v>
                </c:pt>
                <c:pt idx="307">
                  <c:v>Pommery</c:v>
                </c:pt>
                <c:pt idx="308">
                  <c:v>All Others</c:v>
                </c:pt>
                <c:pt idx="309">
                  <c:v>Bollinger</c:v>
                </c:pt>
                <c:pt idx="310">
                  <c:v>Bottega</c:v>
                </c:pt>
                <c:pt idx="311">
                  <c:v>Roederer</c:v>
                </c:pt>
                <c:pt idx="312">
                  <c:v>Veuve Clicq</c:v>
                </c:pt>
                <c:pt idx="313">
                  <c:v>De Venoge</c:v>
                </c:pt>
                <c:pt idx="314">
                  <c:v>All Others</c:v>
                </c:pt>
                <c:pt idx="315">
                  <c:v>Dom Perigno</c:v>
                </c:pt>
                <c:pt idx="316">
                  <c:v>Taittinger</c:v>
                </c:pt>
                <c:pt idx="317">
                  <c:v>Roederer</c:v>
                </c:pt>
                <c:pt idx="318">
                  <c:v>All Others</c:v>
                </c:pt>
                <c:pt idx="319">
                  <c:v>Ruinart</c:v>
                </c:pt>
                <c:pt idx="320">
                  <c:v>All Others</c:v>
                </c:pt>
                <c:pt idx="321">
                  <c:v>Roederer</c:v>
                </c:pt>
                <c:pt idx="322">
                  <c:v>Besserat De</c:v>
                </c:pt>
                <c:pt idx="323">
                  <c:v>Roederer</c:v>
                </c:pt>
                <c:pt idx="324">
                  <c:v>Jaillance</c:v>
                </c:pt>
                <c:pt idx="325">
                  <c:v>All Others</c:v>
                </c:pt>
                <c:pt idx="326">
                  <c:v>Ruinart</c:v>
                </c:pt>
                <c:pt idx="327">
                  <c:v>Roederer</c:v>
                </c:pt>
                <c:pt idx="328">
                  <c:v>Besserat De</c:v>
                </c:pt>
                <c:pt idx="329">
                  <c:v>Veuve Clicq</c:v>
                </c:pt>
                <c:pt idx="330">
                  <c:v>Ruinart</c:v>
                </c:pt>
                <c:pt idx="331">
                  <c:v>Veuve Clicq</c:v>
                </c:pt>
                <c:pt idx="332">
                  <c:v>All Others</c:v>
                </c:pt>
                <c:pt idx="333">
                  <c:v>All Others</c:v>
                </c:pt>
                <c:pt idx="334">
                  <c:v>All Others</c:v>
                </c:pt>
                <c:pt idx="335">
                  <c:v>All Others</c:v>
                </c:pt>
                <c:pt idx="336">
                  <c:v>Malard</c:v>
                </c:pt>
                <c:pt idx="337">
                  <c:v>Ruinart</c:v>
                </c:pt>
                <c:pt idx="338">
                  <c:v>All Others</c:v>
                </c:pt>
                <c:pt idx="339">
                  <c:v>Demoiselle</c:v>
                </c:pt>
                <c:pt idx="340">
                  <c:v>Perrier Jou</c:v>
                </c:pt>
                <c:pt idx="341">
                  <c:v>Perrier Jou</c:v>
                </c:pt>
                <c:pt idx="342">
                  <c:v>Bouvet-Ladu</c:v>
                </c:pt>
                <c:pt idx="343">
                  <c:v>Veuve Clicq</c:v>
                </c:pt>
                <c:pt idx="344">
                  <c:v>Pommery</c:v>
                </c:pt>
                <c:pt idx="345">
                  <c:v>All Others</c:v>
                </c:pt>
                <c:pt idx="346">
                  <c:v>All Others</c:v>
                </c:pt>
                <c:pt idx="347">
                  <c:v>Malard</c:v>
                </c:pt>
                <c:pt idx="348">
                  <c:v>All Others</c:v>
                </c:pt>
                <c:pt idx="349">
                  <c:v>Ruinart</c:v>
                </c:pt>
                <c:pt idx="350">
                  <c:v>Bouvet-Ladu</c:v>
                </c:pt>
                <c:pt idx="351">
                  <c:v>All Others</c:v>
                </c:pt>
                <c:pt idx="352">
                  <c:v>Ruinart</c:v>
                </c:pt>
                <c:pt idx="353">
                  <c:v>Nicolas</c:v>
                </c:pt>
                <c:pt idx="354">
                  <c:v>Roederer</c:v>
                </c:pt>
                <c:pt idx="355">
                  <c:v>Laurent Per</c:v>
                </c:pt>
                <c:pt idx="356">
                  <c:v>Roederer</c:v>
                </c:pt>
                <c:pt idx="357">
                  <c:v>Lanson</c:v>
                </c:pt>
                <c:pt idx="358">
                  <c:v>Roederer</c:v>
                </c:pt>
                <c:pt idx="359">
                  <c:v>Veuve Clicq</c:v>
                </c:pt>
                <c:pt idx="360">
                  <c:v>Roederer</c:v>
                </c:pt>
                <c:pt idx="361">
                  <c:v>Moët &amp; Chan</c:v>
                </c:pt>
                <c:pt idx="362">
                  <c:v>Delamotte</c:v>
                </c:pt>
                <c:pt idx="363">
                  <c:v>Roederer</c:v>
                </c:pt>
                <c:pt idx="364">
                  <c:v>Laurent Per</c:v>
                </c:pt>
                <c:pt idx="365">
                  <c:v>All Others</c:v>
                </c:pt>
                <c:pt idx="366">
                  <c:v>All Others</c:v>
                </c:pt>
                <c:pt idx="367">
                  <c:v>Roederer</c:v>
                </c:pt>
                <c:pt idx="368">
                  <c:v>Veuve Clicq</c:v>
                </c:pt>
                <c:pt idx="369">
                  <c:v>Bottega</c:v>
                </c:pt>
                <c:pt idx="370">
                  <c:v>Roederer</c:v>
                </c:pt>
                <c:pt idx="371">
                  <c:v>All Others</c:v>
                </c:pt>
                <c:pt idx="372">
                  <c:v>Demoiselle</c:v>
                </c:pt>
                <c:pt idx="373">
                  <c:v>Besserat De</c:v>
                </c:pt>
                <c:pt idx="374">
                  <c:v>Besserat De</c:v>
                </c:pt>
                <c:pt idx="375">
                  <c:v>Roederer</c:v>
                </c:pt>
                <c:pt idx="376">
                  <c:v>Laurent Per</c:v>
                </c:pt>
                <c:pt idx="377">
                  <c:v>Malard</c:v>
                </c:pt>
                <c:pt idx="378">
                  <c:v>Ayala</c:v>
                </c:pt>
                <c:pt idx="379">
                  <c:v>Vranken Pom</c:v>
                </c:pt>
                <c:pt idx="380">
                  <c:v>Laurent Per</c:v>
                </c:pt>
                <c:pt idx="381">
                  <c:v>All Others</c:v>
                </c:pt>
                <c:pt idx="382">
                  <c:v>Roederer</c:v>
                </c:pt>
                <c:pt idx="383">
                  <c:v>Delamotte</c:v>
                </c:pt>
                <c:pt idx="384">
                  <c:v>Bouvet-Ladu</c:v>
                </c:pt>
                <c:pt idx="385">
                  <c:v>Demoiselle</c:v>
                </c:pt>
                <c:pt idx="386">
                  <c:v>Pommery</c:v>
                </c:pt>
                <c:pt idx="387">
                  <c:v>Lanson</c:v>
                </c:pt>
                <c:pt idx="388">
                  <c:v>Malard</c:v>
                </c:pt>
                <c:pt idx="389">
                  <c:v>Pommery</c:v>
                </c:pt>
                <c:pt idx="390">
                  <c:v>All Others</c:v>
                </c:pt>
                <c:pt idx="391">
                  <c:v>All Others</c:v>
                </c:pt>
                <c:pt idx="392">
                  <c:v>Lanson</c:v>
                </c:pt>
                <c:pt idx="393">
                  <c:v>Roederer</c:v>
                </c:pt>
                <c:pt idx="394">
                  <c:v>All Others</c:v>
                </c:pt>
                <c:pt idx="395">
                  <c:v>All Others</c:v>
                </c:pt>
                <c:pt idx="396">
                  <c:v>French Bloo</c:v>
                </c:pt>
                <c:pt idx="397">
                  <c:v>All Others</c:v>
                </c:pt>
                <c:pt idx="398">
                  <c:v>All Others</c:v>
                </c:pt>
              </c:strCache>
            </c:strRef>
          </c:cat>
          <c:val>
            <c:numRef>
              <c:f>Sheet1!$B$2:$B$400</c:f>
              <c:numCache>
                <c:formatCode>General</c:formatCode>
                <c:ptCount val="399"/>
                <c:pt idx="0">
                  <c:v>1</c:v>
                </c:pt>
                <c:pt idx="1">
                  <c:v>0.99</c:v>
                </c:pt>
                <c:pt idx="2">
                  <c:v>0.98</c:v>
                </c:pt>
                <c:pt idx="3">
                  <c:v>0.87</c:v>
                </c:pt>
                <c:pt idx="4">
                  <c:v>0.92</c:v>
                </c:pt>
                <c:pt idx="5">
                  <c:v>0.94</c:v>
                </c:pt>
                <c:pt idx="6">
                  <c:v>0.93</c:v>
                </c:pt>
                <c:pt idx="7">
                  <c:v>0.89</c:v>
                </c:pt>
                <c:pt idx="8">
                  <c:v>0.98</c:v>
                </c:pt>
                <c:pt idx="9">
                  <c:v>0.96</c:v>
                </c:pt>
                <c:pt idx="10">
                  <c:v>0.55000000000000004</c:v>
                </c:pt>
                <c:pt idx="11">
                  <c:v>0.86</c:v>
                </c:pt>
                <c:pt idx="12">
                  <c:v>0.93</c:v>
                </c:pt>
                <c:pt idx="13">
                  <c:v>0.88</c:v>
                </c:pt>
                <c:pt idx="14">
                  <c:v>0.61</c:v>
                </c:pt>
                <c:pt idx="15">
                  <c:v>0.8</c:v>
                </c:pt>
                <c:pt idx="16">
                  <c:v>0.88</c:v>
                </c:pt>
                <c:pt idx="17">
                  <c:v>0.59</c:v>
                </c:pt>
                <c:pt idx="18">
                  <c:v>0.62</c:v>
                </c:pt>
                <c:pt idx="19">
                  <c:v>0.71</c:v>
                </c:pt>
                <c:pt idx="20">
                  <c:v>0.69</c:v>
                </c:pt>
                <c:pt idx="21">
                  <c:v>0.43</c:v>
                </c:pt>
                <c:pt idx="22">
                  <c:v>0.85</c:v>
                </c:pt>
                <c:pt idx="23">
                  <c:v>0.6</c:v>
                </c:pt>
                <c:pt idx="24">
                  <c:v>0.61</c:v>
                </c:pt>
                <c:pt idx="25">
                  <c:v>0.71</c:v>
                </c:pt>
                <c:pt idx="26">
                  <c:v>0.59</c:v>
                </c:pt>
                <c:pt idx="27">
                  <c:v>0.59</c:v>
                </c:pt>
                <c:pt idx="28">
                  <c:v>0.31</c:v>
                </c:pt>
                <c:pt idx="29">
                  <c:v>0.69</c:v>
                </c:pt>
                <c:pt idx="30">
                  <c:v>0.56000000000000005</c:v>
                </c:pt>
                <c:pt idx="31">
                  <c:v>0.5</c:v>
                </c:pt>
                <c:pt idx="32">
                  <c:v>0.4</c:v>
                </c:pt>
                <c:pt idx="33">
                  <c:v>0.81</c:v>
                </c:pt>
                <c:pt idx="34">
                  <c:v>0.6</c:v>
                </c:pt>
                <c:pt idx="35">
                  <c:v>0.63</c:v>
                </c:pt>
                <c:pt idx="36">
                  <c:v>0.23</c:v>
                </c:pt>
                <c:pt idx="37">
                  <c:v>0.55000000000000004</c:v>
                </c:pt>
                <c:pt idx="38">
                  <c:v>0.37</c:v>
                </c:pt>
                <c:pt idx="39">
                  <c:v>0.45</c:v>
                </c:pt>
                <c:pt idx="40">
                  <c:v>0.46</c:v>
                </c:pt>
                <c:pt idx="41">
                  <c:v>0.23</c:v>
                </c:pt>
                <c:pt idx="42">
                  <c:v>0.54</c:v>
                </c:pt>
                <c:pt idx="43">
                  <c:v>0.51</c:v>
                </c:pt>
                <c:pt idx="44">
                  <c:v>0.38</c:v>
                </c:pt>
                <c:pt idx="45">
                  <c:v>0.4</c:v>
                </c:pt>
                <c:pt idx="46">
                  <c:v>0.52</c:v>
                </c:pt>
                <c:pt idx="47">
                  <c:v>0.66</c:v>
                </c:pt>
                <c:pt idx="48">
                  <c:v>0.39</c:v>
                </c:pt>
                <c:pt idx="49">
                  <c:v>0.37</c:v>
                </c:pt>
                <c:pt idx="50">
                  <c:v>0.7</c:v>
                </c:pt>
                <c:pt idx="51">
                  <c:v>0.48</c:v>
                </c:pt>
                <c:pt idx="52">
                  <c:v>0.42</c:v>
                </c:pt>
                <c:pt idx="53">
                  <c:v>0.46</c:v>
                </c:pt>
                <c:pt idx="54">
                  <c:v>0.56999999999999995</c:v>
                </c:pt>
                <c:pt idx="55">
                  <c:v>0.53</c:v>
                </c:pt>
                <c:pt idx="56">
                  <c:v>0.66</c:v>
                </c:pt>
                <c:pt idx="57">
                  <c:v>0.42</c:v>
                </c:pt>
                <c:pt idx="58">
                  <c:v>0.63</c:v>
                </c:pt>
                <c:pt idx="59">
                  <c:v>0.66</c:v>
                </c:pt>
                <c:pt idx="60">
                  <c:v>0.49</c:v>
                </c:pt>
                <c:pt idx="61">
                  <c:v>0.62</c:v>
                </c:pt>
                <c:pt idx="62">
                  <c:v>0.49</c:v>
                </c:pt>
                <c:pt idx="63">
                  <c:v>0.73</c:v>
                </c:pt>
                <c:pt idx="64">
                  <c:v>0.44</c:v>
                </c:pt>
                <c:pt idx="65">
                  <c:v>0.51</c:v>
                </c:pt>
                <c:pt idx="66">
                  <c:v>0.35</c:v>
                </c:pt>
                <c:pt idx="67">
                  <c:v>0.45</c:v>
                </c:pt>
                <c:pt idx="68">
                  <c:v>0.36</c:v>
                </c:pt>
                <c:pt idx="69">
                  <c:v>0.38</c:v>
                </c:pt>
                <c:pt idx="70">
                  <c:v>0.37</c:v>
                </c:pt>
                <c:pt idx="71">
                  <c:v>0.33</c:v>
                </c:pt>
                <c:pt idx="72">
                  <c:v>0.67</c:v>
                </c:pt>
                <c:pt idx="73">
                  <c:v>0.33</c:v>
                </c:pt>
                <c:pt idx="74">
                  <c:v>0.15</c:v>
                </c:pt>
                <c:pt idx="75">
                  <c:v>0.28000000000000003</c:v>
                </c:pt>
                <c:pt idx="76">
                  <c:v>0.46</c:v>
                </c:pt>
                <c:pt idx="77">
                  <c:v>0.49</c:v>
                </c:pt>
                <c:pt idx="78">
                  <c:v>0.21</c:v>
                </c:pt>
                <c:pt idx="79">
                  <c:v>0.3</c:v>
                </c:pt>
                <c:pt idx="80">
                  <c:v>0.26</c:v>
                </c:pt>
                <c:pt idx="81">
                  <c:v>0.37</c:v>
                </c:pt>
                <c:pt idx="82">
                  <c:v>0.36</c:v>
                </c:pt>
                <c:pt idx="83">
                  <c:v>0.17</c:v>
                </c:pt>
                <c:pt idx="84">
                  <c:v>0.13</c:v>
                </c:pt>
                <c:pt idx="85">
                  <c:v>0.23</c:v>
                </c:pt>
                <c:pt idx="86">
                  <c:v>0.08</c:v>
                </c:pt>
                <c:pt idx="87">
                  <c:v>0.25</c:v>
                </c:pt>
                <c:pt idx="88">
                  <c:v>0.2</c:v>
                </c:pt>
                <c:pt idx="89">
                  <c:v>0.53</c:v>
                </c:pt>
                <c:pt idx="90">
                  <c:v>0.18</c:v>
                </c:pt>
                <c:pt idx="91">
                  <c:v>0.25</c:v>
                </c:pt>
                <c:pt idx="92">
                  <c:v>0.08</c:v>
                </c:pt>
                <c:pt idx="93">
                  <c:v>0.18</c:v>
                </c:pt>
                <c:pt idx="94">
                  <c:v>0.21</c:v>
                </c:pt>
                <c:pt idx="95">
                  <c:v>0.13</c:v>
                </c:pt>
                <c:pt idx="96">
                  <c:v>0.33</c:v>
                </c:pt>
                <c:pt idx="97">
                  <c:v>0.25</c:v>
                </c:pt>
                <c:pt idx="98">
                  <c:v>0.08</c:v>
                </c:pt>
                <c:pt idx="99">
                  <c:v>0.36</c:v>
                </c:pt>
                <c:pt idx="100">
                  <c:v>0.25</c:v>
                </c:pt>
                <c:pt idx="101">
                  <c:v>0.2</c:v>
                </c:pt>
                <c:pt idx="102">
                  <c:v>0.11</c:v>
                </c:pt>
                <c:pt idx="103">
                  <c:v>0.19</c:v>
                </c:pt>
                <c:pt idx="104">
                  <c:v>0.15</c:v>
                </c:pt>
                <c:pt idx="105">
                  <c:v>0.38</c:v>
                </c:pt>
                <c:pt idx="106">
                  <c:v>0.15</c:v>
                </c:pt>
                <c:pt idx="107">
                  <c:v>0.08</c:v>
                </c:pt>
                <c:pt idx="108">
                  <c:v>0.31</c:v>
                </c:pt>
                <c:pt idx="109">
                  <c:v>0.23</c:v>
                </c:pt>
                <c:pt idx="110">
                  <c:v>0.13</c:v>
                </c:pt>
                <c:pt idx="111">
                  <c:v>0.04</c:v>
                </c:pt>
                <c:pt idx="112">
                  <c:v>0.05</c:v>
                </c:pt>
                <c:pt idx="113">
                  <c:v>0.17</c:v>
                </c:pt>
                <c:pt idx="114">
                  <c:v>0.3</c:v>
                </c:pt>
                <c:pt idx="115">
                  <c:v>0.28000000000000003</c:v>
                </c:pt>
                <c:pt idx="116">
                  <c:v>0.24</c:v>
                </c:pt>
                <c:pt idx="117">
                  <c:v>0.18</c:v>
                </c:pt>
                <c:pt idx="118">
                  <c:v>0.15</c:v>
                </c:pt>
                <c:pt idx="119">
                  <c:v>0.09</c:v>
                </c:pt>
                <c:pt idx="120">
                  <c:v>0.03</c:v>
                </c:pt>
                <c:pt idx="121">
                  <c:v>0.02</c:v>
                </c:pt>
                <c:pt idx="122">
                  <c:v>0.45</c:v>
                </c:pt>
                <c:pt idx="123">
                  <c:v>0.13</c:v>
                </c:pt>
                <c:pt idx="124">
                  <c:v>0.25</c:v>
                </c:pt>
                <c:pt idx="125">
                  <c:v>0.76</c:v>
                </c:pt>
                <c:pt idx="126">
                  <c:v>0.11</c:v>
                </c:pt>
                <c:pt idx="127">
                  <c:v>0.14000000000000001</c:v>
                </c:pt>
                <c:pt idx="128">
                  <c:v>0.03</c:v>
                </c:pt>
                <c:pt idx="129">
                  <c:v>0.32</c:v>
                </c:pt>
                <c:pt idx="130">
                  <c:v>0.09</c:v>
                </c:pt>
                <c:pt idx="131">
                  <c:v>0.15</c:v>
                </c:pt>
                <c:pt idx="132">
                  <c:v>0.06</c:v>
                </c:pt>
                <c:pt idx="133">
                  <c:v>0.05</c:v>
                </c:pt>
                <c:pt idx="134">
                  <c:v>0.3</c:v>
                </c:pt>
                <c:pt idx="135">
                  <c:v>0.15</c:v>
                </c:pt>
                <c:pt idx="136">
                  <c:v>0.21</c:v>
                </c:pt>
                <c:pt idx="137">
                  <c:v>0.11</c:v>
                </c:pt>
                <c:pt idx="138">
                  <c:v>0.08</c:v>
                </c:pt>
                <c:pt idx="139">
                  <c:v>0.02</c:v>
                </c:pt>
                <c:pt idx="140">
                  <c:v>0.1</c:v>
                </c:pt>
                <c:pt idx="141">
                  <c:v>0.28000000000000003</c:v>
                </c:pt>
                <c:pt idx="142">
                  <c:v>0.14000000000000001</c:v>
                </c:pt>
                <c:pt idx="143">
                  <c:v>0.08</c:v>
                </c:pt>
                <c:pt idx="144">
                  <c:v>0.18</c:v>
                </c:pt>
                <c:pt idx="145">
                  <c:v>0.18</c:v>
                </c:pt>
                <c:pt idx="146">
                  <c:v>0.16</c:v>
                </c:pt>
                <c:pt idx="147">
                  <c:v>0.05</c:v>
                </c:pt>
                <c:pt idx="148">
                  <c:v>0.15</c:v>
                </c:pt>
                <c:pt idx="149">
                  <c:v>0.12</c:v>
                </c:pt>
                <c:pt idx="150">
                  <c:v>0.16</c:v>
                </c:pt>
                <c:pt idx="151">
                  <c:v>0.04</c:v>
                </c:pt>
                <c:pt idx="152">
                  <c:v>7.0000000000000007E-2</c:v>
                </c:pt>
                <c:pt idx="153">
                  <c:v>0.08</c:v>
                </c:pt>
                <c:pt idx="154">
                  <c:v>0.06</c:v>
                </c:pt>
                <c:pt idx="155">
                  <c:v>7.0000000000000007E-2</c:v>
                </c:pt>
                <c:pt idx="156">
                  <c:v>0.1</c:v>
                </c:pt>
                <c:pt idx="157">
                  <c:v>0.04</c:v>
                </c:pt>
                <c:pt idx="158">
                  <c:v>0.08</c:v>
                </c:pt>
                <c:pt idx="159">
                  <c:v>0.09</c:v>
                </c:pt>
                <c:pt idx="160">
                  <c:v>0.13</c:v>
                </c:pt>
                <c:pt idx="161">
                  <c:v>0.2</c:v>
                </c:pt>
                <c:pt idx="162">
                  <c:v>0.08</c:v>
                </c:pt>
                <c:pt idx="163">
                  <c:v>7.0000000000000007E-2</c:v>
                </c:pt>
                <c:pt idx="164">
                  <c:v>0.04</c:v>
                </c:pt>
                <c:pt idx="165">
                  <c:v>0.09</c:v>
                </c:pt>
                <c:pt idx="166">
                  <c:v>0.03</c:v>
                </c:pt>
                <c:pt idx="167">
                  <c:v>0.12</c:v>
                </c:pt>
                <c:pt idx="168">
                  <c:v>0.19</c:v>
                </c:pt>
                <c:pt idx="169">
                  <c:v>0.05</c:v>
                </c:pt>
                <c:pt idx="170">
                  <c:v>0.1</c:v>
                </c:pt>
                <c:pt idx="171">
                  <c:v>0.11</c:v>
                </c:pt>
                <c:pt idx="172">
                  <c:v>0.14000000000000001</c:v>
                </c:pt>
                <c:pt idx="173">
                  <c:v>0.06</c:v>
                </c:pt>
                <c:pt idx="174">
                  <c:v>0.13</c:v>
                </c:pt>
                <c:pt idx="175">
                  <c:v>0.05</c:v>
                </c:pt>
                <c:pt idx="176">
                  <c:v>0.04</c:v>
                </c:pt>
                <c:pt idx="177">
                  <c:v>0.06</c:v>
                </c:pt>
                <c:pt idx="178">
                  <c:v>0.06</c:v>
                </c:pt>
                <c:pt idx="179">
                  <c:v>0.12</c:v>
                </c:pt>
                <c:pt idx="180">
                  <c:v>0.03</c:v>
                </c:pt>
                <c:pt idx="181">
                  <c:v>0.05</c:v>
                </c:pt>
                <c:pt idx="182">
                  <c:v>0.11</c:v>
                </c:pt>
                <c:pt idx="183">
                  <c:v>0.05</c:v>
                </c:pt>
                <c:pt idx="184">
                  <c:v>0.06</c:v>
                </c:pt>
                <c:pt idx="185">
                  <c:v>0.05</c:v>
                </c:pt>
                <c:pt idx="186">
                  <c:v>0.15</c:v>
                </c:pt>
                <c:pt idx="187">
                  <c:v>0.03</c:v>
                </c:pt>
                <c:pt idx="188">
                  <c:v>0.03</c:v>
                </c:pt>
                <c:pt idx="189">
                  <c:v>0.02</c:v>
                </c:pt>
                <c:pt idx="190">
                  <c:v>0.03</c:v>
                </c:pt>
                <c:pt idx="191">
                  <c:v>0.08</c:v>
                </c:pt>
                <c:pt idx="192">
                  <c:v>0.06</c:v>
                </c:pt>
                <c:pt idx="193">
                  <c:v>0.06</c:v>
                </c:pt>
                <c:pt idx="194">
                  <c:v>0.04</c:v>
                </c:pt>
                <c:pt idx="195">
                  <c:v>0.02</c:v>
                </c:pt>
                <c:pt idx="196">
                  <c:v>0.05</c:v>
                </c:pt>
                <c:pt idx="197">
                  <c:v>0.03</c:v>
                </c:pt>
                <c:pt idx="198">
                  <c:v>0.04</c:v>
                </c:pt>
                <c:pt idx="199">
                  <c:v>7.0000000000000007E-2</c:v>
                </c:pt>
                <c:pt idx="200">
                  <c:v>7.0000000000000007E-2</c:v>
                </c:pt>
                <c:pt idx="201">
                  <c:v>0.06</c:v>
                </c:pt>
                <c:pt idx="202">
                  <c:v>0.08</c:v>
                </c:pt>
                <c:pt idx="203">
                  <c:v>0.06</c:v>
                </c:pt>
                <c:pt idx="204">
                  <c:v>0.06</c:v>
                </c:pt>
                <c:pt idx="205">
                  <c:v>0.04</c:v>
                </c:pt>
                <c:pt idx="206">
                  <c:v>0.09</c:v>
                </c:pt>
                <c:pt idx="207">
                  <c:v>0.02</c:v>
                </c:pt>
                <c:pt idx="208">
                  <c:v>7.0000000000000007E-2</c:v>
                </c:pt>
                <c:pt idx="209">
                  <c:v>0.02</c:v>
                </c:pt>
                <c:pt idx="210">
                  <c:v>0.1</c:v>
                </c:pt>
                <c:pt idx="211">
                  <c:v>0.04</c:v>
                </c:pt>
                <c:pt idx="212">
                  <c:v>0.03</c:v>
                </c:pt>
                <c:pt idx="213">
                  <c:v>0.01</c:v>
                </c:pt>
                <c:pt idx="214">
                  <c:v>0.05</c:v>
                </c:pt>
                <c:pt idx="215">
                  <c:v>0.08</c:v>
                </c:pt>
                <c:pt idx="216">
                  <c:v>0.06</c:v>
                </c:pt>
                <c:pt idx="217">
                  <c:v>0.15</c:v>
                </c:pt>
                <c:pt idx="218">
                  <c:v>0.06</c:v>
                </c:pt>
                <c:pt idx="219">
                  <c:v>0.03</c:v>
                </c:pt>
                <c:pt idx="220">
                  <c:v>0.02</c:v>
                </c:pt>
                <c:pt idx="221">
                  <c:v>7.0000000000000007E-2</c:v>
                </c:pt>
                <c:pt idx="222">
                  <c:v>0.03</c:v>
                </c:pt>
                <c:pt idx="223">
                  <c:v>0.05</c:v>
                </c:pt>
                <c:pt idx="224">
                  <c:v>0.03</c:v>
                </c:pt>
                <c:pt idx="225">
                  <c:v>0.02</c:v>
                </c:pt>
                <c:pt idx="226">
                  <c:v>0.03</c:v>
                </c:pt>
                <c:pt idx="227">
                  <c:v>0.02</c:v>
                </c:pt>
                <c:pt idx="228">
                  <c:v>0.03</c:v>
                </c:pt>
                <c:pt idx="229">
                  <c:v>0.01</c:v>
                </c:pt>
                <c:pt idx="230">
                  <c:v>0.02</c:v>
                </c:pt>
                <c:pt idx="231">
                  <c:v>7.0000000000000007E-2</c:v>
                </c:pt>
                <c:pt idx="232">
                  <c:v>0.02</c:v>
                </c:pt>
                <c:pt idx="233">
                  <c:v>0.03</c:v>
                </c:pt>
                <c:pt idx="234">
                  <c:v>0.03</c:v>
                </c:pt>
                <c:pt idx="235">
                  <c:v>0.05</c:v>
                </c:pt>
                <c:pt idx="236">
                  <c:v>0.04</c:v>
                </c:pt>
                <c:pt idx="237">
                  <c:v>0.05</c:v>
                </c:pt>
                <c:pt idx="238">
                  <c:v>0.02</c:v>
                </c:pt>
                <c:pt idx="239">
                  <c:v>0.01</c:v>
                </c:pt>
                <c:pt idx="240">
                  <c:v>7.0000000000000007E-2</c:v>
                </c:pt>
                <c:pt idx="241">
                  <c:v>0.03</c:v>
                </c:pt>
                <c:pt idx="242">
                  <c:v>0.03</c:v>
                </c:pt>
                <c:pt idx="243">
                  <c:v>0.02</c:v>
                </c:pt>
                <c:pt idx="244">
                  <c:v>0.02</c:v>
                </c:pt>
                <c:pt idx="245">
                  <c:v>0.05</c:v>
                </c:pt>
                <c:pt idx="246">
                  <c:v>0.03</c:v>
                </c:pt>
                <c:pt idx="247">
                  <c:v>0.01</c:v>
                </c:pt>
                <c:pt idx="248">
                  <c:v>0.04</c:v>
                </c:pt>
                <c:pt idx="249">
                  <c:v>0.02</c:v>
                </c:pt>
                <c:pt idx="250">
                  <c:v>0.02</c:v>
                </c:pt>
                <c:pt idx="251">
                  <c:v>0.06</c:v>
                </c:pt>
                <c:pt idx="252">
                  <c:v>0.02</c:v>
                </c:pt>
                <c:pt idx="253">
                  <c:v>0.03</c:v>
                </c:pt>
                <c:pt idx="254">
                  <c:v>0.02</c:v>
                </c:pt>
                <c:pt idx="255">
                  <c:v>0.02</c:v>
                </c:pt>
                <c:pt idx="256">
                  <c:v>7.0000000000000007E-2</c:v>
                </c:pt>
                <c:pt idx="257">
                  <c:v>0.02</c:v>
                </c:pt>
                <c:pt idx="258">
                  <c:v>0.01</c:v>
                </c:pt>
                <c:pt idx="259">
                  <c:v>0.02</c:v>
                </c:pt>
                <c:pt idx="260">
                  <c:v>0.02</c:v>
                </c:pt>
                <c:pt idx="261">
                  <c:v>0.02</c:v>
                </c:pt>
                <c:pt idx="262">
                  <c:v>0.03</c:v>
                </c:pt>
                <c:pt idx="263">
                  <c:v>0.02</c:v>
                </c:pt>
                <c:pt idx="264">
                  <c:v>0.01</c:v>
                </c:pt>
                <c:pt idx="265">
                  <c:v>0.02</c:v>
                </c:pt>
                <c:pt idx="266">
                  <c:v>0.01</c:v>
                </c:pt>
                <c:pt idx="267">
                  <c:v>0.02</c:v>
                </c:pt>
                <c:pt idx="268">
                  <c:v>0.01</c:v>
                </c:pt>
                <c:pt idx="269">
                  <c:v>0.05</c:v>
                </c:pt>
                <c:pt idx="270">
                  <c:v>0.02</c:v>
                </c:pt>
                <c:pt idx="271">
                  <c:v>0.01</c:v>
                </c:pt>
                <c:pt idx="272">
                  <c:v>0.02</c:v>
                </c:pt>
                <c:pt idx="273">
                  <c:v>0.03</c:v>
                </c:pt>
                <c:pt idx="274">
                  <c:v>0.03</c:v>
                </c:pt>
                <c:pt idx="275">
                  <c:v>0.05</c:v>
                </c:pt>
                <c:pt idx="276">
                  <c:v>0.02</c:v>
                </c:pt>
                <c:pt idx="277">
                  <c:v>0.01</c:v>
                </c:pt>
                <c:pt idx="278">
                  <c:v>0.02</c:v>
                </c:pt>
                <c:pt idx="279">
                  <c:v>0.02</c:v>
                </c:pt>
                <c:pt idx="280">
                  <c:v>0.01</c:v>
                </c:pt>
                <c:pt idx="281">
                  <c:v>0.03</c:v>
                </c:pt>
                <c:pt idx="282">
                  <c:v>0.02</c:v>
                </c:pt>
                <c:pt idx="283">
                  <c:v>0.02</c:v>
                </c:pt>
                <c:pt idx="284">
                  <c:v>0.05</c:v>
                </c:pt>
                <c:pt idx="285">
                  <c:v>0.02</c:v>
                </c:pt>
                <c:pt idx="286">
                  <c:v>0.02</c:v>
                </c:pt>
                <c:pt idx="287">
                  <c:v>0.04</c:v>
                </c:pt>
                <c:pt idx="288">
                  <c:v>0.02</c:v>
                </c:pt>
                <c:pt idx="289">
                  <c:v>0.02</c:v>
                </c:pt>
                <c:pt idx="290">
                  <c:v>0.02</c:v>
                </c:pt>
                <c:pt idx="291">
                  <c:v>0.01</c:v>
                </c:pt>
                <c:pt idx="292">
                  <c:v>0.02</c:v>
                </c:pt>
                <c:pt idx="293">
                  <c:v>0.02</c:v>
                </c:pt>
                <c:pt idx="294">
                  <c:v>0.02</c:v>
                </c:pt>
                <c:pt idx="295">
                  <c:v>0.02</c:v>
                </c:pt>
                <c:pt idx="296">
                  <c:v>0.02</c:v>
                </c:pt>
                <c:pt idx="297">
                  <c:v>0.02</c:v>
                </c:pt>
                <c:pt idx="298">
                  <c:v>0.02</c:v>
                </c:pt>
                <c:pt idx="299">
                  <c:v>0.05</c:v>
                </c:pt>
                <c:pt idx="300">
                  <c:v>0.02</c:v>
                </c:pt>
                <c:pt idx="301">
                  <c:v>0.02</c:v>
                </c:pt>
                <c:pt idx="302">
                  <c:v>0.02</c:v>
                </c:pt>
                <c:pt idx="303">
                  <c:v>0.01</c:v>
                </c:pt>
                <c:pt idx="304">
                  <c:v>0.02</c:v>
                </c:pt>
                <c:pt idx="305">
                  <c:v>0.02</c:v>
                </c:pt>
                <c:pt idx="306">
                  <c:v>0.02</c:v>
                </c:pt>
                <c:pt idx="307">
                  <c:v>0.01</c:v>
                </c:pt>
                <c:pt idx="308">
                  <c:v>0.02</c:v>
                </c:pt>
                <c:pt idx="309">
                  <c:v>0.01</c:v>
                </c:pt>
                <c:pt idx="310">
                  <c:v>0.03</c:v>
                </c:pt>
                <c:pt idx="311">
                  <c:v>0.02</c:v>
                </c:pt>
                <c:pt idx="312">
                  <c:v>0.01</c:v>
                </c:pt>
                <c:pt idx="313">
                  <c:v>0.01</c:v>
                </c:pt>
                <c:pt idx="314">
                  <c:v>0.01</c:v>
                </c:pt>
                <c:pt idx="315">
                  <c:v>0.01</c:v>
                </c:pt>
                <c:pt idx="316">
                  <c:v>0.02</c:v>
                </c:pt>
                <c:pt idx="317">
                  <c:v>0.01</c:v>
                </c:pt>
                <c:pt idx="318">
                  <c:v>0.04</c:v>
                </c:pt>
                <c:pt idx="319">
                  <c:v>0.02</c:v>
                </c:pt>
                <c:pt idx="320">
                  <c:v>0.02</c:v>
                </c:pt>
                <c:pt idx="321">
                  <c:v>0.01</c:v>
                </c:pt>
                <c:pt idx="322">
                  <c:v>0.02</c:v>
                </c:pt>
                <c:pt idx="323">
                  <c:v>0.01</c:v>
                </c:pt>
                <c:pt idx="324">
                  <c:v>0.04</c:v>
                </c:pt>
                <c:pt idx="325">
                  <c:v>0.02</c:v>
                </c:pt>
                <c:pt idx="326">
                  <c:v>0.01</c:v>
                </c:pt>
                <c:pt idx="327">
                  <c:v>0.01</c:v>
                </c:pt>
                <c:pt idx="328">
                  <c:v>0.01</c:v>
                </c:pt>
                <c:pt idx="329">
                  <c:v>0.01</c:v>
                </c:pt>
                <c:pt idx="330">
                  <c:v>0.02</c:v>
                </c:pt>
                <c:pt idx="331">
                  <c:v>0.01</c:v>
                </c:pt>
                <c:pt idx="332">
                  <c:v>0.03</c:v>
                </c:pt>
                <c:pt idx="333">
                  <c:v>0.03</c:v>
                </c:pt>
                <c:pt idx="334">
                  <c:v>0.02</c:v>
                </c:pt>
                <c:pt idx="335">
                  <c:v>0.01</c:v>
                </c:pt>
                <c:pt idx="336">
                  <c:v>0.01</c:v>
                </c:pt>
                <c:pt idx="337">
                  <c:v>0.01</c:v>
                </c:pt>
                <c:pt idx="338">
                  <c:v>0.01</c:v>
                </c:pt>
                <c:pt idx="339">
                  <c:v>0.04</c:v>
                </c:pt>
                <c:pt idx="340">
                  <c:v>0.01</c:v>
                </c:pt>
                <c:pt idx="341">
                  <c:v>0.01</c:v>
                </c:pt>
                <c:pt idx="342">
                  <c:v>0.02</c:v>
                </c:pt>
                <c:pt idx="343">
                  <c:v>0.02</c:v>
                </c:pt>
                <c:pt idx="344">
                  <c:v>0.01</c:v>
                </c:pt>
                <c:pt idx="345">
                  <c:v>0.01</c:v>
                </c:pt>
                <c:pt idx="346">
                  <c:v>0.01</c:v>
                </c:pt>
                <c:pt idx="347">
                  <c:v>0.01</c:v>
                </c:pt>
                <c:pt idx="348">
                  <c:v>0.01</c:v>
                </c:pt>
                <c:pt idx="349">
                  <c:v>0.01</c:v>
                </c:pt>
                <c:pt idx="350">
                  <c:v>0.02</c:v>
                </c:pt>
                <c:pt idx="351">
                  <c:v>0.01</c:v>
                </c:pt>
                <c:pt idx="352">
                  <c:v>0.01</c:v>
                </c:pt>
                <c:pt idx="353">
                  <c:v>0.01</c:v>
                </c:pt>
                <c:pt idx="354">
                  <c:v>0.01</c:v>
                </c:pt>
                <c:pt idx="355">
                  <c:v>0.01</c:v>
                </c:pt>
                <c:pt idx="356">
                  <c:v>0.02</c:v>
                </c:pt>
                <c:pt idx="357">
                  <c:v>0.02</c:v>
                </c:pt>
                <c:pt idx="358">
                  <c:v>0.01</c:v>
                </c:pt>
                <c:pt idx="359">
                  <c:v>0.02</c:v>
                </c:pt>
                <c:pt idx="360">
                  <c:v>0.02</c:v>
                </c:pt>
                <c:pt idx="361">
                  <c:v>0.01</c:v>
                </c:pt>
                <c:pt idx="362">
                  <c:v>0.01</c:v>
                </c:pt>
                <c:pt idx="363">
                  <c:v>0.01</c:v>
                </c:pt>
                <c:pt idx="364">
                  <c:v>0.01</c:v>
                </c:pt>
                <c:pt idx="365">
                  <c:v>0.04</c:v>
                </c:pt>
                <c:pt idx="366">
                  <c:v>0.02</c:v>
                </c:pt>
                <c:pt idx="367">
                  <c:v>0.01</c:v>
                </c:pt>
                <c:pt idx="368">
                  <c:v>0.02</c:v>
                </c:pt>
                <c:pt idx="369">
                  <c:v>0.01</c:v>
                </c:pt>
                <c:pt idx="370">
                  <c:v>0.01</c:v>
                </c:pt>
                <c:pt idx="371">
                  <c:v>0.01</c:v>
                </c:pt>
                <c:pt idx="372">
                  <c:v>0.01</c:v>
                </c:pt>
                <c:pt idx="373">
                  <c:v>0.02</c:v>
                </c:pt>
                <c:pt idx="374">
                  <c:v>0.02</c:v>
                </c:pt>
                <c:pt idx="375">
                  <c:v>0.01</c:v>
                </c:pt>
                <c:pt idx="376">
                  <c:v>0.01</c:v>
                </c:pt>
                <c:pt idx="377">
                  <c:v>0.01</c:v>
                </c:pt>
                <c:pt idx="378">
                  <c:v>0.01</c:v>
                </c:pt>
                <c:pt idx="379">
                  <c:v>0.01</c:v>
                </c:pt>
                <c:pt idx="380">
                  <c:v>0.01</c:v>
                </c:pt>
                <c:pt idx="381">
                  <c:v>0.03</c:v>
                </c:pt>
                <c:pt idx="382">
                  <c:v>0.01</c:v>
                </c:pt>
                <c:pt idx="383">
                  <c:v>0.01</c:v>
                </c:pt>
                <c:pt idx="384">
                  <c:v>0.02</c:v>
                </c:pt>
                <c:pt idx="385">
                  <c:v>0.01</c:v>
                </c:pt>
                <c:pt idx="386">
                  <c:v>0.01</c:v>
                </c:pt>
                <c:pt idx="387">
                  <c:v>0.01</c:v>
                </c:pt>
                <c:pt idx="388">
                  <c:v>0.01</c:v>
                </c:pt>
                <c:pt idx="389">
                  <c:v>0.01</c:v>
                </c:pt>
                <c:pt idx="390">
                  <c:v>0.02</c:v>
                </c:pt>
                <c:pt idx="391">
                  <c:v>0.01</c:v>
                </c:pt>
                <c:pt idx="392">
                  <c:v>0.02</c:v>
                </c:pt>
                <c:pt idx="393">
                  <c:v>0.01</c:v>
                </c:pt>
                <c:pt idx="394">
                  <c:v>0.01</c:v>
                </c:pt>
                <c:pt idx="395">
                  <c:v>0.03</c:v>
                </c:pt>
                <c:pt idx="396">
                  <c:v>0.01</c:v>
                </c:pt>
                <c:pt idx="397">
                  <c:v>0.01</c:v>
                </c:pt>
                <c:pt idx="398">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7ECAC4"/>
              </a:solidFill>
            </c:spPr>
            <c:extLst>
              <c:ext xmlns:c16="http://schemas.microsoft.com/office/drawing/2014/chart" uri="{C3380CC4-5D6E-409C-BE32-E72D297353CC}">
                <c16:uniqueId val="{00000076-C76F-4230-900D-40618C09729F}"/>
              </c:ext>
            </c:extLst>
          </c:dPt>
          <c:dPt>
            <c:idx val="57"/>
            <c:invertIfNegative val="0"/>
            <c:bubble3D val="0"/>
            <c:spPr>
              <a:solidFill>
                <a:srgbClr val="7ECAC4"/>
              </a:solidFill>
            </c:spPr>
            <c:extLst>
              <c:ext xmlns:c16="http://schemas.microsoft.com/office/drawing/2014/chart" uri="{C3380CC4-5D6E-409C-BE32-E72D297353CC}">
                <c16:uniqueId val="{00000078-C76F-4230-900D-40618C09729F}"/>
              </c:ext>
            </c:extLst>
          </c:dPt>
          <c:dPt>
            <c:idx val="58"/>
            <c:invertIfNegative val="0"/>
            <c:bubble3D val="0"/>
            <c:spPr>
              <a:solidFill>
                <a:srgbClr val="7ECAC4"/>
              </a:solidFill>
            </c:spPr>
            <c:extLst>
              <c:ext xmlns:c16="http://schemas.microsoft.com/office/drawing/2014/chart" uri="{C3380CC4-5D6E-409C-BE32-E72D297353CC}">
                <c16:uniqueId val="{0000007A-C76F-4230-900D-40618C09729F}"/>
              </c:ext>
            </c:extLst>
          </c:dPt>
          <c:dPt>
            <c:idx val="59"/>
            <c:invertIfNegative val="0"/>
            <c:bubble3D val="0"/>
            <c:spPr>
              <a:solidFill>
                <a:srgbClr val="7ECAC4"/>
              </a:solidFill>
            </c:spPr>
            <c:extLst>
              <c:ext xmlns:c16="http://schemas.microsoft.com/office/drawing/2014/chart" uri="{C3380CC4-5D6E-409C-BE32-E72D297353CC}">
                <c16:uniqueId val="{0000007C-C76F-4230-900D-40618C09729F}"/>
              </c:ext>
            </c:extLst>
          </c:dPt>
          <c:dPt>
            <c:idx val="60"/>
            <c:invertIfNegative val="0"/>
            <c:bubble3D val="0"/>
            <c:spPr>
              <a:solidFill>
                <a:srgbClr val="7ECAC4"/>
              </a:solidFill>
            </c:spPr>
            <c:extLst>
              <c:ext xmlns:c16="http://schemas.microsoft.com/office/drawing/2014/chart" uri="{C3380CC4-5D6E-409C-BE32-E72D297353CC}">
                <c16:uniqueId val="{0000007E-C76F-4230-900D-40618C09729F}"/>
              </c:ext>
            </c:extLst>
          </c:dPt>
          <c:dPt>
            <c:idx val="61"/>
            <c:invertIfNegative val="0"/>
            <c:bubble3D val="0"/>
            <c:spPr>
              <a:solidFill>
                <a:srgbClr val="7ECAC4"/>
              </a:solidFill>
            </c:spPr>
            <c:extLst>
              <c:ext xmlns:c16="http://schemas.microsoft.com/office/drawing/2014/chart" uri="{C3380CC4-5D6E-409C-BE32-E72D297353CC}">
                <c16:uniqueId val="{00000080-C76F-4230-900D-40618C09729F}"/>
              </c:ext>
            </c:extLst>
          </c:dPt>
          <c:dPt>
            <c:idx val="62"/>
            <c:invertIfNegative val="0"/>
            <c:bubble3D val="0"/>
            <c:spPr>
              <a:solidFill>
                <a:srgbClr val="7ECAC4"/>
              </a:solidFill>
            </c:spPr>
            <c:extLst>
              <c:ext xmlns:c16="http://schemas.microsoft.com/office/drawing/2014/chart" uri="{C3380CC4-5D6E-409C-BE32-E72D297353CC}">
                <c16:uniqueId val="{00000082-C76F-4230-900D-40618C09729F}"/>
              </c:ext>
            </c:extLst>
          </c:dPt>
          <c:dPt>
            <c:idx val="63"/>
            <c:invertIfNegative val="0"/>
            <c:bubble3D val="0"/>
            <c:spPr>
              <a:solidFill>
                <a:srgbClr val="7ECAC4"/>
              </a:solidFill>
            </c:spPr>
            <c:extLst>
              <c:ext xmlns:c16="http://schemas.microsoft.com/office/drawing/2014/chart" uri="{C3380CC4-5D6E-409C-BE32-E72D297353CC}">
                <c16:uniqueId val="{00000084-C76F-4230-900D-40618C09729F}"/>
              </c:ext>
            </c:extLst>
          </c:dPt>
          <c:dPt>
            <c:idx val="64"/>
            <c:invertIfNegative val="0"/>
            <c:bubble3D val="0"/>
            <c:spPr>
              <a:solidFill>
                <a:srgbClr val="7ECAC4"/>
              </a:solidFill>
            </c:spPr>
            <c:extLst>
              <c:ext xmlns:c16="http://schemas.microsoft.com/office/drawing/2014/chart" uri="{C3380CC4-5D6E-409C-BE32-E72D297353CC}">
                <c16:uniqueId val="{00000086-C76F-4230-900D-40618C09729F}"/>
              </c:ext>
            </c:extLst>
          </c:dPt>
          <c:dPt>
            <c:idx val="65"/>
            <c:invertIfNegative val="0"/>
            <c:bubble3D val="0"/>
            <c:spPr>
              <a:solidFill>
                <a:srgbClr val="7ECAC4"/>
              </a:solidFill>
            </c:spPr>
            <c:extLst>
              <c:ext xmlns:c16="http://schemas.microsoft.com/office/drawing/2014/chart" uri="{C3380CC4-5D6E-409C-BE32-E72D297353CC}">
                <c16:uniqueId val="{00000088-C76F-4230-900D-40618C09729F}"/>
              </c:ext>
            </c:extLst>
          </c:dPt>
          <c:dPt>
            <c:idx val="66"/>
            <c:invertIfNegative val="0"/>
            <c:bubble3D val="0"/>
            <c:spPr>
              <a:solidFill>
                <a:srgbClr val="7ECAC4"/>
              </a:solidFill>
            </c:spPr>
            <c:extLst>
              <c:ext xmlns:c16="http://schemas.microsoft.com/office/drawing/2014/chart" uri="{C3380CC4-5D6E-409C-BE32-E72D297353CC}">
                <c16:uniqueId val="{0000008A-C76F-4230-900D-40618C09729F}"/>
              </c:ext>
            </c:extLst>
          </c:dPt>
          <c:dPt>
            <c:idx val="67"/>
            <c:invertIfNegative val="0"/>
            <c:bubble3D val="0"/>
            <c:spPr>
              <a:solidFill>
                <a:srgbClr val="7ECAC4"/>
              </a:solidFill>
            </c:spPr>
            <c:extLst>
              <c:ext xmlns:c16="http://schemas.microsoft.com/office/drawing/2014/chart" uri="{C3380CC4-5D6E-409C-BE32-E72D297353CC}">
                <c16:uniqueId val="{0000008C-C76F-4230-900D-40618C09729F}"/>
              </c:ext>
            </c:extLst>
          </c:dPt>
          <c:dPt>
            <c:idx val="68"/>
            <c:invertIfNegative val="0"/>
            <c:bubble3D val="0"/>
            <c:spPr>
              <a:solidFill>
                <a:srgbClr val="7ECAC4"/>
              </a:solidFill>
            </c:spPr>
            <c:extLst>
              <c:ext xmlns:c16="http://schemas.microsoft.com/office/drawing/2014/chart" uri="{C3380CC4-5D6E-409C-BE32-E72D297353CC}">
                <c16:uniqueId val="{0000008E-C76F-4230-900D-40618C09729F}"/>
              </c:ext>
            </c:extLst>
          </c:dPt>
          <c:dPt>
            <c:idx val="69"/>
            <c:invertIfNegative val="0"/>
            <c:bubble3D val="0"/>
            <c:spPr>
              <a:solidFill>
                <a:srgbClr val="7ECAC4"/>
              </a:solidFill>
            </c:spPr>
            <c:extLst>
              <c:ext xmlns:c16="http://schemas.microsoft.com/office/drawing/2014/chart" uri="{C3380CC4-5D6E-409C-BE32-E72D297353CC}">
                <c16:uniqueId val="{00000090-C76F-4230-900D-40618C09729F}"/>
              </c:ext>
            </c:extLst>
          </c:dPt>
          <c:dPt>
            <c:idx val="70"/>
            <c:invertIfNegative val="0"/>
            <c:bubble3D val="0"/>
            <c:spPr>
              <a:solidFill>
                <a:srgbClr val="7ECAC4"/>
              </a:solidFill>
            </c:spPr>
            <c:extLst>
              <c:ext xmlns:c16="http://schemas.microsoft.com/office/drawing/2014/chart" uri="{C3380CC4-5D6E-409C-BE32-E72D297353CC}">
                <c16:uniqueId val="{00000092-C76F-4230-900D-40618C09729F}"/>
              </c:ext>
            </c:extLst>
          </c:dPt>
          <c:dPt>
            <c:idx val="71"/>
            <c:invertIfNegative val="0"/>
            <c:bubble3D val="0"/>
            <c:spPr>
              <a:solidFill>
                <a:srgbClr val="7ECAC4"/>
              </a:solidFill>
            </c:spPr>
            <c:extLst>
              <c:ext xmlns:c16="http://schemas.microsoft.com/office/drawing/2014/chart" uri="{C3380CC4-5D6E-409C-BE32-E72D297353CC}">
                <c16:uniqueId val="{00000094-C76F-4230-900D-40618C09729F}"/>
              </c:ext>
            </c:extLst>
          </c:dPt>
          <c:dPt>
            <c:idx val="72"/>
            <c:invertIfNegative val="0"/>
            <c:bubble3D val="0"/>
            <c:spPr>
              <a:solidFill>
                <a:srgbClr val="7ECAC4"/>
              </a:solidFill>
            </c:spPr>
            <c:extLst>
              <c:ext xmlns:c16="http://schemas.microsoft.com/office/drawing/2014/chart" uri="{C3380CC4-5D6E-409C-BE32-E72D297353CC}">
                <c16:uniqueId val="{00000096-C76F-4230-900D-40618C09729F}"/>
              </c:ext>
            </c:extLst>
          </c:dPt>
          <c:dPt>
            <c:idx val="73"/>
            <c:invertIfNegative val="0"/>
            <c:bubble3D val="0"/>
            <c:spPr>
              <a:solidFill>
                <a:srgbClr val="7ECAC4"/>
              </a:solidFill>
            </c:spPr>
            <c:extLst>
              <c:ext xmlns:c16="http://schemas.microsoft.com/office/drawing/2014/chart" uri="{C3380CC4-5D6E-409C-BE32-E72D297353CC}">
                <c16:uniqueId val="{00000098-C76F-4230-900D-40618C09729F}"/>
              </c:ext>
            </c:extLst>
          </c:dPt>
          <c:dPt>
            <c:idx val="74"/>
            <c:invertIfNegative val="0"/>
            <c:bubble3D val="0"/>
            <c:spPr>
              <a:solidFill>
                <a:srgbClr val="7ECAC4"/>
              </a:solidFill>
            </c:spPr>
            <c:extLst>
              <c:ext xmlns:c16="http://schemas.microsoft.com/office/drawing/2014/chart" uri="{C3380CC4-5D6E-409C-BE32-E72D297353CC}">
                <c16:uniqueId val="{0000009A-C76F-4230-900D-40618C09729F}"/>
              </c:ext>
            </c:extLst>
          </c:dPt>
          <c:dPt>
            <c:idx val="75"/>
            <c:invertIfNegative val="0"/>
            <c:bubble3D val="0"/>
            <c:spPr>
              <a:solidFill>
                <a:srgbClr val="7ECAC4"/>
              </a:solidFill>
            </c:spPr>
            <c:extLst>
              <c:ext xmlns:c16="http://schemas.microsoft.com/office/drawing/2014/chart" uri="{C3380CC4-5D6E-409C-BE32-E72D297353CC}">
                <c16:uniqueId val="{0000009C-C76F-4230-900D-40618C09729F}"/>
              </c:ext>
            </c:extLst>
          </c:dPt>
          <c:dPt>
            <c:idx val="76"/>
            <c:invertIfNegative val="0"/>
            <c:bubble3D val="0"/>
            <c:spPr>
              <a:solidFill>
                <a:srgbClr val="7ECAC4"/>
              </a:solidFill>
            </c:spPr>
            <c:extLst>
              <c:ext xmlns:c16="http://schemas.microsoft.com/office/drawing/2014/chart" uri="{C3380CC4-5D6E-409C-BE32-E72D297353CC}">
                <c16:uniqueId val="{0000009E-C76F-4230-900D-40618C09729F}"/>
              </c:ext>
            </c:extLst>
          </c:dPt>
          <c:dPt>
            <c:idx val="77"/>
            <c:invertIfNegative val="0"/>
            <c:bubble3D val="0"/>
            <c:spPr>
              <a:solidFill>
                <a:srgbClr val="7ECAC4"/>
              </a:solidFill>
            </c:spPr>
            <c:extLst>
              <c:ext xmlns:c16="http://schemas.microsoft.com/office/drawing/2014/chart" uri="{C3380CC4-5D6E-409C-BE32-E72D297353CC}">
                <c16:uniqueId val="{000000A0-C76F-4230-900D-40618C09729F}"/>
              </c:ext>
            </c:extLst>
          </c:dPt>
          <c:dPt>
            <c:idx val="78"/>
            <c:invertIfNegative val="0"/>
            <c:bubble3D val="0"/>
            <c:spPr>
              <a:solidFill>
                <a:srgbClr val="7ECAC4"/>
              </a:solidFill>
            </c:spPr>
            <c:extLst>
              <c:ext xmlns:c16="http://schemas.microsoft.com/office/drawing/2014/chart" uri="{C3380CC4-5D6E-409C-BE32-E72D297353CC}">
                <c16:uniqueId val="{000000A2-C76F-4230-900D-40618C09729F}"/>
              </c:ext>
            </c:extLst>
          </c:dPt>
          <c:dPt>
            <c:idx val="79"/>
            <c:invertIfNegative val="0"/>
            <c:bubble3D val="0"/>
            <c:spPr>
              <a:solidFill>
                <a:srgbClr val="7ECAC4"/>
              </a:solidFill>
            </c:spPr>
            <c:extLst>
              <c:ext xmlns:c16="http://schemas.microsoft.com/office/drawing/2014/chart" uri="{C3380CC4-5D6E-409C-BE32-E72D297353CC}">
                <c16:uniqueId val="{000000A4-C76F-4230-900D-40618C09729F}"/>
              </c:ext>
            </c:extLst>
          </c:dPt>
          <c:dPt>
            <c:idx val="80"/>
            <c:invertIfNegative val="0"/>
            <c:bubble3D val="0"/>
            <c:spPr>
              <a:solidFill>
                <a:srgbClr val="7ECAC4"/>
              </a:solidFill>
            </c:spPr>
            <c:extLst>
              <c:ext xmlns:c16="http://schemas.microsoft.com/office/drawing/2014/chart" uri="{C3380CC4-5D6E-409C-BE32-E72D297353CC}">
                <c16:uniqueId val="{000000A6-C76F-4230-900D-40618C09729F}"/>
              </c:ext>
            </c:extLst>
          </c:dPt>
          <c:dPt>
            <c:idx val="81"/>
            <c:invertIfNegative val="1"/>
            <c:bubble3D val="0"/>
            <c:spPr>
              <a:solidFill>
                <a:srgbClr val="7ECAC4"/>
              </a:solidFill>
            </c:spPr>
            <c:extLst>
              <c:ext xmlns:c16="http://schemas.microsoft.com/office/drawing/2014/chart" uri="{C3380CC4-5D6E-409C-BE32-E72D297353CC}">
                <c16:uniqueId val="{000000A5-2993-41DE-A2CB-63102DE87051}"/>
              </c:ext>
            </c:extLst>
          </c:dPt>
          <c:dPt>
            <c:idx val="82"/>
            <c:invertIfNegative val="1"/>
            <c:bubble3D val="0"/>
            <c:spPr>
              <a:solidFill>
                <a:srgbClr val="7ECAC4"/>
              </a:solidFill>
            </c:spPr>
            <c:extLst>
              <c:ext xmlns:c16="http://schemas.microsoft.com/office/drawing/2014/chart" uri="{C3380CC4-5D6E-409C-BE32-E72D297353CC}">
                <c16:uniqueId val="{000000A7-2993-41DE-A2CB-63102DE87051}"/>
              </c:ext>
            </c:extLst>
          </c:dPt>
          <c:dPt>
            <c:idx val="83"/>
            <c:invertIfNegative val="1"/>
            <c:bubble3D val="0"/>
            <c:spPr>
              <a:solidFill>
                <a:srgbClr val="7ECAC4"/>
              </a:solidFill>
            </c:spPr>
            <c:extLst>
              <c:ext xmlns:c16="http://schemas.microsoft.com/office/drawing/2014/chart" uri="{C3380CC4-5D6E-409C-BE32-E72D297353CC}">
                <c16:uniqueId val="{000000A9-2993-41DE-A2CB-63102DE87051}"/>
              </c:ext>
            </c:extLst>
          </c:dPt>
          <c:dPt>
            <c:idx val="84"/>
            <c:invertIfNegative val="1"/>
            <c:bubble3D val="0"/>
            <c:spPr>
              <a:solidFill>
                <a:srgbClr val="7ECAC4"/>
              </a:solidFill>
            </c:spPr>
            <c:extLst>
              <c:ext xmlns:c16="http://schemas.microsoft.com/office/drawing/2014/chart" uri="{C3380CC4-5D6E-409C-BE32-E72D297353CC}">
                <c16:uniqueId val="{000000AB-2993-41DE-A2CB-63102DE87051}"/>
              </c:ext>
            </c:extLst>
          </c:dPt>
          <c:dPt>
            <c:idx val="85"/>
            <c:invertIfNegative val="1"/>
            <c:bubble3D val="0"/>
            <c:spPr>
              <a:solidFill>
                <a:srgbClr val="7ECAC4"/>
              </a:solidFill>
            </c:spPr>
            <c:extLst>
              <c:ext xmlns:c16="http://schemas.microsoft.com/office/drawing/2014/chart" uri="{C3380CC4-5D6E-409C-BE32-E72D297353CC}">
                <c16:uniqueId val="{000000AD-2993-41DE-A2CB-63102DE87051}"/>
              </c:ext>
            </c:extLst>
          </c:dPt>
          <c:dPt>
            <c:idx val="86"/>
            <c:invertIfNegative val="1"/>
            <c:bubble3D val="0"/>
            <c:spPr>
              <a:solidFill>
                <a:srgbClr val="7ECAC4"/>
              </a:solidFill>
            </c:spPr>
            <c:extLst>
              <c:ext xmlns:c16="http://schemas.microsoft.com/office/drawing/2014/chart" uri="{C3380CC4-5D6E-409C-BE32-E72D297353CC}">
                <c16:uniqueId val="{000000AF-2993-41DE-A2CB-63102DE87051}"/>
              </c:ext>
            </c:extLst>
          </c:dPt>
          <c:dPt>
            <c:idx val="87"/>
            <c:invertIfNegative val="1"/>
            <c:bubble3D val="0"/>
            <c:spPr>
              <a:solidFill>
                <a:srgbClr val="7ECAC4"/>
              </a:solidFill>
            </c:spPr>
            <c:extLst>
              <c:ext xmlns:c16="http://schemas.microsoft.com/office/drawing/2014/chart" uri="{C3380CC4-5D6E-409C-BE32-E72D297353CC}">
                <c16:uniqueId val="{000000B1-2993-41DE-A2CB-63102DE87051}"/>
              </c:ext>
            </c:extLst>
          </c:dPt>
          <c:dPt>
            <c:idx val="88"/>
            <c:invertIfNegative val="1"/>
            <c:bubble3D val="0"/>
            <c:spPr>
              <a:solidFill>
                <a:srgbClr val="7ECAC4"/>
              </a:solidFill>
            </c:spPr>
            <c:extLst>
              <c:ext xmlns:c16="http://schemas.microsoft.com/office/drawing/2014/chart" uri="{C3380CC4-5D6E-409C-BE32-E72D297353CC}">
                <c16:uniqueId val="{000000B3-2993-41DE-A2CB-63102DE87051}"/>
              </c:ext>
            </c:extLst>
          </c:dPt>
          <c:dPt>
            <c:idx val="89"/>
            <c:invertIfNegative val="1"/>
            <c:bubble3D val="0"/>
            <c:spPr>
              <a:solidFill>
                <a:srgbClr val="7ECAC4"/>
              </a:solidFill>
            </c:spPr>
            <c:extLst>
              <c:ext xmlns:c16="http://schemas.microsoft.com/office/drawing/2014/chart" uri="{C3380CC4-5D6E-409C-BE32-E72D297353CC}">
                <c16:uniqueId val="{000000B5-2993-41DE-A2CB-63102DE87051}"/>
              </c:ext>
            </c:extLst>
          </c:dPt>
          <c:dPt>
            <c:idx val="90"/>
            <c:invertIfNegative val="1"/>
            <c:bubble3D val="0"/>
            <c:spPr>
              <a:solidFill>
                <a:srgbClr val="7ECAC4"/>
              </a:solidFill>
            </c:spPr>
            <c:extLst>
              <c:ext xmlns:c16="http://schemas.microsoft.com/office/drawing/2014/chart" uri="{C3380CC4-5D6E-409C-BE32-E72D297353CC}">
                <c16:uniqueId val="{000000B7-2993-41DE-A2CB-63102DE87051}"/>
              </c:ext>
            </c:extLst>
          </c:dPt>
          <c:dPt>
            <c:idx val="91"/>
            <c:invertIfNegative val="1"/>
            <c:bubble3D val="0"/>
            <c:spPr>
              <a:solidFill>
                <a:srgbClr val="7ECAC4"/>
              </a:solidFill>
            </c:spPr>
            <c:extLst>
              <c:ext xmlns:c16="http://schemas.microsoft.com/office/drawing/2014/chart" uri="{C3380CC4-5D6E-409C-BE32-E72D297353CC}">
                <c16:uniqueId val="{000000B9-2993-41DE-A2CB-63102DE87051}"/>
              </c:ext>
            </c:extLst>
          </c:dPt>
          <c:dPt>
            <c:idx val="92"/>
            <c:invertIfNegative val="1"/>
            <c:bubble3D val="0"/>
            <c:spPr>
              <a:solidFill>
                <a:srgbClr val="7ECAC4"/>
              </a:solidFill>
            </c:spPr>
            <c:extLst>
              <c:ext xmlns:c16="http://schemas.microsoft.com/office/drawing/2014/chart" uri="{C3380CC4-5D6E-409C-BE32-E72D297353CC}">
                <c16:uniqueId val="{000000BB-2993-41DE-A2CB-63102DE87051}"/>
              </c:ext>
            </c:extLst>
          </c:dPt>
          <c:dPt>
            <c:idx val="93"/>
            <c:invertIfNegative val="1"/>
            <c:bubble3D val="0"/>
            <c:spPr>
              <a:solidFill>
                <a:srgbClr val="7ECAC4"/>
              </a:solidFill>
            </c:spPr>
            <c:extLst>
              <c:ext xmlns:c16="http://schemas.microsoft.com/office/drawing/2014/chart" uri="{C3380CC4-5D6E-409C-BE32-E72D297353CC}">
                <c16:uniqueId val="{000000BD-2993-41DE-A2CB-63102DE87051}"/>
              </c:ext>
            </c:extLst>
          </c:dPt>
          <c:dPt>
            <c:idx val="94"/>
            <c:invertIfNegative val="1"/>
            <c:bubble3D val="0"/>
            <c:spPr>
              <a:solidFill>
                <a:srgbClr val="7ECAC4"/>
              </a:solidFill>
            </c:spPr>
            <c:extLst>
              <c:ext xmlns:c16="http://schemas.microsoft.com/office/drawing/2014/chart" uri="{C3380CC4-5D6E-409C-BE32-E72D297353CC}">
                <c16:uniqueId val="{000000BF-2993-41DE-A2CB-63102DE87051}"/>
              </c:ext>
            </c:extLst>
          </c:dPt>
          <c:dPt>
            <c:idx val="95"/>
            <c:invertIfNegative val="1"/>
            <c:bubble3D val="0"/>
            <c:spPr>
              <a:solidFill>
                <a:srgbClr val="7ECAC4"/>
              </a:solidFill>
            </c:spPr>
            <c:extLst>
              <c:ext xmlns:c16="http://schemas.microsoft.com/office/drawing/2014/chart" uri="{C3380CC4-5D6E-409C-BE32-E72D297353CC}">
                <c16:uniqueId val="{000000C1-2993-41DE-A2CB-63102DE87051}"/>
              </c:ext>
            </c:extLst>
          </c:dPt>
          <c:dPt>
            <c:idx val="96"/>
            <c:invertIfNegative val="1"/>
            <c:bubble3D val="0"/>
            <c:spPr>
              <a:solidFill>
                <a:srgbClr val="7ECAC4"/>
              </a:solidFill>
            </c:spPr>
            <c:extLst>
              <c:ext xmlns:c16="http://schemas.microsoft.com/office/drawing/2014/chart" uri="{C3380CC4-5D6E-409C-BE32-E72D297353CC}">
                <c16:uniqueId val="{000000C3-2993-41DE-A2CB-63102DE87051}"/>
              </c:ext>
            </c:extLst>
          </c:dPt>
          <c:dPt>
            <c:idx val="97"/>
            <c:invertIfNegative val="1"/>
            <c:bubble3D val="0"/>
            <c:spPr>
              <a:solidFill>
                <a:srgbClr val="7ECAC4"/>
              </a:solidFill>
            </c:spPr>
            <c:extLst>
              <c:ext xmlns:c16="http://schemas.microsoft.com/office/drawing/2014/chart" uri="{C3380CC4-5D6E-409C-BE32-E72D297353CC}">
                <c16:uniqueId val="{000000C5-2993-41DE-A2CB-63102DE87051}"/>
              </c:ext>
            </c:extLst>
          </c:dPt>
          <c:dPt>
            <c:idx val="98"/>
            <c:invertIfNegative val="1"/>
            <c:bubble3D val="0"/>
            <c:spPr>
              <a:solidFill>
                <a:srgbClr val="7ECAC4"/>
              </a:solidFill>
            </c:spPr>
            <c:extLst>
              <c:ext xmlns:c16="http://schemas.microsoft.com/office/drawing/2014/chart" uri="{C3380CC4-5D6E-409C-BE32-E72D297353CC}">
                <c16:uniqueId val="{000000C7-2993-41DE-A2CB-63102DE87051}"/>
              </c:ext>
            </c:extLst>
          </c:dPt>
          <c:dPt>
            <c:idx val="99"/>
            <c:invertIfNegative val="1"/>
            <c:bubble3D val="0"/>
            <c:spPr>
              <a:solidFill>
                <a:srgbClr val="7ECAC4"/>
              </a:solidFill>
            </c:spPr>
            <c:extLst>
              <c:ext xmlns:c16="http://schemas.microsoft.com/office/drawing/2014/chart" uri="{C3380CC4-5D6E-409C-BE32-E72D297353CC}">
                <c16:uniqueId val="{000000C9-2993-41DE-A2CB-63102DE87051}"/>
              </c:ext>
            </c:extLst>
          </c:dPt>
          <c:dPt>
            <c:idx val="100"/>
            <c:invertIfNegative val="1"/>
            <c:bubble3D val="0"/>
            <c:spPr>
              <a:solidFill>
                <a:srgbClr val="7ECAC4"/>
              </a:solidFill>
            </c:spPr>
            <c:extLst>
              <c:ext xmlns:c16="http://schemas.microsoft.com/office/drawing/2014/chart" uri="{C3380CC4-5D6E-409C-BE32-E72D297353CC}">
                <c16:uniqueId val="{000000CB-2993-41DE-A2CB-63102DE87051}"/>
              </c:ext>
            </c:extLst>
          </c:dPt>
          <c:dPt>
            <c:idx val="101"/>
            <c:invertIfNegative val="1"/>
            <c:bubble3D val="0"/>
            <c:spPr>
              <a:solidFill>
                <a:srgbClr val="7ECAC4"/>
              </a:solidFill>
            </c:spPr>
            <c:extLst>
              <c:ext xmlns:c16="http://schemas.microsoft.com/office/drawing/2014/chart" uri="{C3380CC4-5D6E-409C-BE32-E72D297353CC}">
                <c16:uniqueId val="{000000CD-2993-41DE-A2CB-63102DE87051}"/>
              </c:ext>
            </c:extLst>
          </c:dPt>
          <c:dPt>
            <c:idx val="102"/>
            <c:invertIfNegative val="1"/>
            <c:bubble3D val="0"/>
            <c:spPr>
              <a:solidFill>
                <a:srgbClr val="7ECAC4"/>
              </a:solidFill>
            </c:spPr>
            <c:extLst>
              <c:ext xmlns:c16="http://schemas.microsoft.com/office/drawing/2014/chart" uri="{C3380CC4-5D6E-409C-BE32-E72D297353CC}">
                <c16:uniqueId val="{000000CF-2993-41DE-A2CB-63102DE87051}"/>
              </c:ext>
            </c:extLst>
          </c:dPt>
          <c:dPt>
            <c:idx val="103"/>
            <c:invertIfNegative val="1"/>
            <c:bubble3D val="0"/>
            <c:spPr>
              <a:solidFill>
                <a:srgbClr val="7ECAC4"/>
              </a:solidFill>
            </c:spPr>
            <c:extLst>
              <c:ext xmlns:c16="http://schemas.microsoft.com/office/drawing/2014/chart" uri="{C3380CC4-5D6E-409C-BE32-E72D297353CC}">
                <c16:uniqueId val="{000000D1-2993-41DE-A2CB-63102DE87051}"/>
              </c:ext>
            </c:extLst>
          </c:dPt>
          <c:dPt>
            <c:idx val="104"/>
            <c:invertIfNegative val="1"/>
            <c:bubble3D val="0"/>
            <c:spPr>
              <a:solidFill>
                <a:srgbClr val="7ECAC4"/>
              </a:solidFill>
            </c:spPr>
            <c:extLst>
              <c:ext xmlns:c16="http://schemas.microsoft.com/office/drawing/2014/chart" uri="{C3380CC4-5D6E-409C-BE32-E72D297353CC}">
                <c16:uniqueId val="{000000D3-2993-41DE-A2CB-63102DE87051}"/>
              </c:ext>
            </c:extLst>
          </c:dPt>
          <c:dPt>
            <c:idx val="105"/>
            <c:invertIfNegative val="1"/>
            <c:bubble3D val="0"/>
            <c:spPr>
              <a:solidFill>
                <a:srgbClr val="7ECAC4"/>
              </a:solidFill>
            </c:spPr>
            <c:extLst>
              <c:ext xmlns:c16="http://schemas.microsoft.com/office/drawing/2014/chart" uri="{C3380CC4-5D6E-409C-BE32-E72D297353CC}">
                <c16:uniqueId val="{000000D5-2993-41DE-A2CB-63102DE87051}"/>
              </c:ext>
            </c:extLst>
          </c:dPt>
          <c:dPt>
            <c:idx val="106"/>
            <c:invertIfNegative val="1"/>
            <c:bubble3D val="0"/>
            <c:spPr>
              <a:solidFill>
                <a:srgbClr val="7ECAC4"/>
              </a:solidFill>
            </c:spPr>
            <c:extLst>
              <c:ext xmlns:c16="http://schemas.microsoft.com/office/drawing/2014/chart" uri="{C3380CC4-5D6E-409C-BE32-E72D297353CC}">
                <c16:uniqueId val="{000000D7-2993-41DE-A2CB-63102DE87051}"/>
              </c:ext>
            </c:extLst>
          </c:dPt>
          <c:dPt>
            <c:idx val="107"/>
            <c:invertIfNegative val="1"/>
            <c:bubble3D val="0"/>
            <c:spPr>
              <a:solidFill>
                <a:srgbClr val="7ECAC4"/>
              </a:solidFill>
            </c:spPr>
            <c:extLst>
              <c:ext xmlns:c16="http://schemas.microsoft.com/office/drawing/2014/chart" uri="{C3380CC4-5D6E-409C-BE32-E72D297353CC}">
                <c16:uniqueId val="{000000D9-2993-41DE-A2CB-63102DE87051}"/>
              </c:ext>
            </c:extLst>
          </c:dPt>
          <c:dPt>
            <c:idx val="108"/>
            <c:invertIfNegative val="1"/>
            <c:bubble3D val="0"/>
            <c:spPr>
              <a:solidFill>
                <a:srgbClr val="7ECAC4"/>
              </a:solidFill>
            </c:spPr>
            <c:extLst>
              <c:ext xmlns:c16="http://schemas.microsoft.com/office/drawing/2014/chart" uri="{C3380CC4-5D6E-409C-BE32-E72D297353CC}">
                <c16:uniqueId val="{000000DB-2993-41DE-A2CB-63102DE87051}"/>
              </c:ext>
            </c:extLst>
          </c:dPt>
          <c:dPt>
            <c:idx val="109"/>
            <c:invertIfNegative val="1"/>
            <c:bubble3D val="0"/>
            <c:spPr>
              <a:solidFill>
                <a:srgbClr val="7ECAC4"/>
              </a:solidFill>
            </c:spPr>
            <c:extLst>
              <c:ext xmlns:c16="http://schemas.microsoft.com/office/drawing/2014/chart" uri="{C3380CC4-5D6E-409C-BE32-E72D297353CC}">
                <c16:uniqueId val="{000000DD-2993-41DE-A2CB-63102DE87051}"/>
              </c:ext>
            </c:extLst>
          </c:dPt>
          <c:dPt>
            <c:idx val="110"/>
            <c:invertIfNegative val="1"/>
            <c:bubble3D val="0"/>
            <c:spPr>
              <a:solidFill>
                <a:srgbClr val="7ECAC4"/>
              </a:solidFill>
            </c:spPr>
            <c:extLst>
              <c:ext xmlns:c16="http://schemas.microsoft.com/office/drawing/2014/chart" uri="{C3380CC4-5D6E-409C-BE32-E72D297353CC}">
                <c16:uniqueId val="{000000DF-2993-41DE-A2CB-63102DE87051}"/>
              </c:ext>
            </c:extLst>
          </c:dPt>
          <c:dPt>
            <c:idx val="111"/>
            <c:invertIfNegative val="1"/>
            <c:bubble3D val="0"/>
            <c:spPr>
              <a:solidFill>
                <a:srgbClr val="7ECAC4"/>
              </a:solidFill>
            </c:spPr>
            <c:extLst>
              <c:ext xmlns:c16="http://schemas.microsoft.com/office/drawing/2014/chart" uri="{C3380CC4-5D6E-409C-BE32-E72D297353CC}">
                <c16:uniqueId val="{000000E1-2993-41DE-A2CB-63102DE87051}"/>
              </c:ext>
            </c:extLst>
          </c:dPt>
          <c:dPt>
            <c:idx val="112"/>
            <c:invertIfNegative val="1"/>
            <c:bubble3D val="0"/>
            <c:spPr>
              <a:solidFill>
                <a:srgbClr val="7ECAC4"/>
              </a:solidFill>
            </c:spPr>
            <c:extLst>
              <c:ext xmlns:c16="http://schemas.microsoft.com/office/drawing/2014/chart" uri="{C3380CC4-5D6E-409C-BE32-E72D297353CC}">
                <c16:uniqueId val="{000000E3-2993-41DE-A2CB-63102DE87051}"/>
              </c:ext>
            </c:extLst>
          </c:dPt>
          <c:dPt>
            <c:idx val="113"/>
            <c:invertIfNegative val="1"/>
            <c:bubble3D val="0"/>
            <c:spPr>
              <a:solidFill>
                <a:srgbClr val="7ECAC4"/>
              </a:solidFill>
            </c:spPr>
            <c:extLst>
              <c:ext xmlns:c16="http://schemas.microsoft.com/office/drawing/2014/chart" uri="{C3380CC4-5D6E-409C-BE32-E72D297353CC}">
                <c16:uniqueId val="{000000E5-2993-41DE-A2CB-63102DE87051}"/>
              </c:ext>
            </c:extLst>
          </c:dPt>
          <c:dPt>
            <c:idx val="114"/>
            <c:invertIfNegative val="1"/>
            <c:bubble3D val="0"/>
            <c:spPr>
              <a:solidFill>
                <a:srgbClr val="7ECAC4"/>
              </a:solidFill>
            </c:spPr>
            <c:extLst>
              <c:ext xmlns:c16="http://schemas.microsoft.com/office/drawing/2014/chart" uri="{C3380CC4-5D6E-409C-BE32-E72D297353CC}">
                <c16:uniqueId val="{000000E7-2993-41DE-A2CB-63102DE87051}"/>
              </c:ext>
            </c:extLst>
          </c:dPt>
          <c:dPt>
            <c:idx val="115"/>
            <c:invertIfNegative val="1"/>
            <c:bubble3D val="0"/>
            <c:spPr>
              <a:solidFill>
                <a:srgbClr val="7ECAC4"/>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AEABAB"/>
              </a:solidFill>
            </c:spPr>
            <c:extLst>
              <c:ext xmlns:c16="http://schemas.microsoft.com/office/drawing/2014/chart" uri="{C3380CC4-5D6E-409C-BE32-E72D297353CC}">
                <c16:uniqueId val="{000000FF-2993-41DE-A2CB-63102DE87051}"/>
              </c:ext>
            </c:extLst>
          </c:dPt>
          <c:dPt>
            <c:idx val="127"/>
            <c:invertIfNegative val="1"/>
            <c:bubble3D val="0"/>
            <c:spPr>
              <a:solidFill>
                <a:srgbClr val="AEABAB"/>
              </a:solidFill>
            </c:spPr>
            <c:extLst>
              <c:ext xmlns:c16="http://schemas.microsoft.com/office/drawing/2014/chart" uri="{C3380CC4-5D6E-409C-BE32-E72D297353CC}">
                <c16:uniqueId val="{00000101-2993-41DE-A2CB-63102DE87051}"/>
              </c:ext>
            </c:extLst>
          </c:dPt>
          <c:dPt>
            <c:idx val="128"/>
            <c:invertIfNegative val="1"/>
            <c:bubble3D val="0"/>
            <c:spPr>
              <a:solidFill>
                <a:srgbClr val="AEABAB"/>
              </a:solidFill>
            </c:spPr>
            <c:extLst>
              <c:ext xmlns:c16="http://schemas.microsoft.com/office/drawing/2014/chart" uri="{C3380CC4-5D6E-409C-BE32-E72D297353CC}">
                <c16:uniqueId val="{00000103-2993-41DE-A2CB-63102DE87051}"/>
              </c:ext>
            </c:extLst>
          </c:dPt>
          <c:dPt>
            <c:idx val="129"/>
            <c:invertIfNegative val="1"/>
            <c:bubble3D val="0"/>
            <c:spPr>
              <a:solidFill>
                <a:srgbClr val="AEABAB"/>
              </a:solidFill>
            </c:spPr>
            <c:extLst>
              <c:ext xmlns:c16="http://schemas.microsoft.com/office/drawing/2014/chart" uri="{C3380CC4-5D6E-409C-BE32-E72D297353CC}">
                <c16:uniqueId val="{00000105-2993-41DE-A2CB-63102DE87051}"/>
              </c:ext>
            </c:extLst>
          </c:dPt>
          <c:dPt>
            <c:idx val="130"/>
            <c:invertIfNegative val="1"/>
            <c:bubble3D val="0"/>
            <c:spPr>
              <a:solidFill>
                <a:srgbClr val="AEABAB"/>
              </a:solidFill>
            </c:spPr>
            <c:extLst>
              <c:ext xmlns:c16="http://schemas.microsoft.com/office/drawing/2014/chart" uri="{C3380CC4-5D6E-409C-BE32-E72D297353CC}">
                <c16:uniqueId val="{00000107-2993-41DE-A2CB-63102DE87051}"/>
              </c:ext>
            </c:extLst>
          </c:dPt>
          <c:dPt>
            <c:idx val="131"/>
            <c:invertIfNegative val="1"/>
            <c:bubble3D val="0"/>
            <c:spPr>
              <a:solidFill>
                <a:srgbClr val="AEABAB"/>
              </a:solidFill>
            </c:spPr>
            <c:extLst>
              <c:ext xmlns:c16="http://schemas.microsoft.com/office/drawing/2014/chart" uri="{C3380CC4-5D6E-409C-BE32-E72D297353CC}">
                <c16:uniqueId val="{00000109-2993-41DE-A2CB-63102DE87051}"/>
              </c:ext>
            </c:extLst>
          </c:dPt>
          <c:dPt>
            <c:idx val="132"/>
            <c:invertIfNegative val="1"/>
            <c:bubble3D val="0"/>
            <c:spPr>
              <a:solidFill>
                <a:srgbClr val="AEABAB"/>
              </a:solidFill>
            </c:spPr>
            <c:extLst>
              <c:ext xmlns:c16="http://schemas.microsoft.com/office/drawing/2014/chart" uri="{C3380CC4-5D6E-409C-BE32-E72D297353CC}">
                <c16:uniqueId val="{0000010B-2993-41DE-A2CB-63102DE87051}"/>
              </c:ext>
            </c:extLst>
          </c:dPt>
          <c:dPt>
            <c:idx val="133"/>
            <c:invertIfNegative val="1"/>
            <c:bubble3D val="0"/>
            <c:spPr>
              <a:solidFill>
                <a:srgbClr val="AEABAB"/>
              </a:solidFill>
            </c:spPr>
            <c:extLst>
              <c:ext xmlns:c16="http://schemas.microsoft.com/office/drawing/2014/chart" uri="{C3380CC4-5D6E-409C-BE32-E72D297353CC}">
                <c16:uniqueId val="{0000010D-2993-41DE-A2CB-63102DE87051}"/>
              </c:ext>
            </c:extLst>
          </c:dPt>
          <c:dPt>
            <c:idx val="134"/>
            <c:invertIfNegative val="1"/>
            <c:bubble3D val="0"/>
            <c:spPr>
              <a:solidFill>
                <a:srgbClr val="AEABAB"/>
              </a:solidFill>
            </c:spPr>
            <c:extLst>
              <c:ext xmlns:c16="http://schemas.microsoft.com/office/drawing/2014/chart" uri="{C3380CC4-5D6E-409C-BE32-E72D297353CC}">
                <c16:uniqueId val="{0000010F-2993-41DE-A2CB-63102DE87051}"/>
              </c:ext>
            </c:extLst>
          </c:dPt>
          <c:dPt>
            <c:idx val="135"/>
            <c:invertIfNegative val="1"/>
            <c:bubble3D val="0"/>
            <c:spPr>
              <a:solidFill>
                <a:srgbClr val="AEABAB"/>
              </a:solidFill>
            </c:spPr>
            <c:extLst>
              <c:ext xmlns:c16="http://schemas.microsoft.com/office/drawing/2014/chart" uri="{C3380CC4-5D6E-409C-BE32-E72D297353CC}">
                <c16:uniqueId val="{00000111-2993-41DE-A2CB-63102DE87051}"/>
              </c:ext>
            </c:extLst>
          </c:dPt>
          <c:dPt>
            <c:idx val="136"/>
            <c:invertIfNegative val="1"/>
            <c:bubble3D val="0"/>
            <c:spPr>
              <a:solidFill>
                <a:srgbClr val="AEABAB"/>
              </a:solidFill>
            </c:spPr>
            <c:extLst>
              <c:ext xmlns:c16="http://schemas.microsoft.com/office/drawing/2014/chart" uri="{C3380CC4-5D6E-409C-BE32-E72D297353CC}">
                <c16:uniqueId val="{00000113-2993-41DE-A2CB-63102DE87051}"/>
              </c:ext>
            </c:extLst>
          </c:dPt>
          <c:dPt>
            <c:idx val="137"/>
            <c:invertIfNegative val="1"/>
            <c:bubble3D val="0"/>
            <c:spPr>
              <a:solidFill>
                <a:srgbClr val="AEABAB"/>
              </a:solidFill>
            </c:spPr>
            <c:extLst>
              <c:ext xmlns:c16="http://schemas.microsoft.com/office/drawing/2014/chart" uri="{C3380CC4-5D6E-409C-BE32-E72D297353CC}">
                <c16:uniqueId val="{00000115-2993-41DE-A2CB-63102DE87051}"/>
              </c:ext>
            </c:extLst>
          </c:dPt>
          <c:dPt>
            <c:idx val="138"/>
            <c:invertIfNegative val="1"/>
            <c:bubble3D val="0"/>
            <c:spPr>
              <a:solidFill>
                <a:srgbClr val="AEABAB"/>
              </a:solidFill>
            </c:spPr>
            <c:extLst>
              <c:ext xmlns:c16="http://schemas.microsoft.com/office/drawing/2014/chart" uri="{C3380CC4-5D6E-409C-BE32-E72D297353CC}">
                <c16:uniqueId val="{00000117-2993-41DE-A2CB-63102DE87051}"/>
              </c:ext>
            </c:extLst>
          </c:dPt>
          <c:dPt>
            <c:idx val="139"/>
            <c:invertIfNegative val="1"/>
            <c:bubble3D val="0"/>
            <c:spPr>
              <a:solidFill>
                <a:srgbClr val="AEABAB"/>
              </a:solidFill>
            </c:spPr>
            <c:extLst>
              <c:ext xmlns:c16="http://schemas.microsoft.com/office/drawing/2014/chart" uri="{C3380CC4-5D6E-409C-BE32-E72D297353CC}">
                <c16:uniqueId val="{00000119-2993-41DE-A2CB-63102DE87051}"/>
              </c:ext>
            </c:extLst>
          </c:dPt>
          <c:dPt>
            <c:idx val="140"/>
            <c:invertIfNegative val="1"/>
            <c:bubble3D val="0"/>
            <c:spPr>
              <a:solidFill>
                <a:srgbClr val="AEABAB"/>
              </a:solidFill>
            </c:spPr>
            <c:extLst>
              <c:ext xmlns:c16="http://schemas.microsoft.com/office/drawing/2014/chart" uri="{C3380CC4-5D6E-409C-BE32-E72D297353CC}">
                <c16:uniqueId val="{0000011B-2993-41DE-A2CB-63102DE87051}"/>
              </c:ext>
            </c:extLst>
          </c:dPt>
          <c:dPt>
            <c:idx val="141"/>
            <c:invertIfNegative val="1"/>
            <c:bubble3D val="0"/>
            <c:spPr>
              <a:solidFill>
                <a:srgbClr val="AEABAB"/>
              </a:solidFill>
            </c:spPr>
            <c:extLst>
              <c:ext xmlns:c16="http://schemas.microsoft.com/office/drawing/2014/chart" uri="{C3380CC4-5D6E-409C-BE32-E72D297353CC}">
                <c16:uniqueId val="{0000011D-2993-41DE-A2CB-63102DE87051}"/>
              </c:ext>
            </c:extLst>
          </c:dPt>
          <c:dPt>
            <c:idx val="142"/>
            <c:invertIfNegative val="1"/>
            <c:bubble3D val="0"/>
            <c:spPr>
              <a:solidFill>
                <a:srgbClr val="AEABAB"/>
              </a:solidFill>
            </c:spPr>
            <c:extLst>
              <c:ext xmlns:c16="http://schemas.microsoft.com/office/drawing/2014/chart" uri="{C3380CC4-5D6E-409C-BE32-E72D297353CC}">
                <c16:uniqueId val="{0000011F-2993-41DE-A2CB-63102DE87051}"/>
              </c:ext>
            </c:extLst>
          </c:dPt>
          <c:dPt>
            <c:idx val="143"/>
            <c:invertIfNegative val="1"/>
            <c:bubble3D val="0"/>
            <c:spPr>
              <a:solidFill>
                <a:srgbClr val="AEABAB"/>
              </a:solidFill>
            </c:spPr>
            <c:extLst>
              <c:ext xmlns:c16="http://schemas.microsoft.com/office/drawing/2014/chart" uri="{C3380CC4-5D6E-409C-BE32-E72D297353CC}">
                <c16:uniqueId val="{00000121-2993-41DE-A2CB-63102DE87051}"/>
              </c:ext>
            </c:extLst>
          </c:dPt>
          <c:dPt>
            <c:idx val="144"/>
            <c:invertIfNegative val="1"/>
            <c:bubble3D val="0"/>
            <c:spPr>
              <a:solidFill>
                <a:srgbClr val="AEABAB"/>
              </a:solidFill>
            </c:spPr>
            <c:extLst>
              <c:ext xmlns:c16="http://schemas.microsoft.com/office/drawing/2014/chart" uri="{C3380CC4-5D6E-409C-BE32-E72D297353CC}">
                <c16:uniqueId val="{00000123-2993-41DE-A2CB-63102DE87051}"/>
              </c:ext>
            </c:extLst>
          </c:dPt>
          <c:dPt>
            <c:idx val="145"/>
            <c:invertIfNegative val="1"/>
            <c:bubble3D val="0"/>
            <c:spPr>
              <a:solidFill>
                <a:srgbClr val="AEABAB"/>
              </a:solidFill>
            </c:spPr>
            <c:extLst>
              <c:ext xmlns:c16="http://schemas.microsoft.com/office/drawing/2014/chart" uri="{C3380CC4-5D6E-409C-BE32-E72D297353CC}">
                <c16:uniqueId val="{00000125-2993-41DE-A2CB-63102DE87051}"/>
              </c:ext>
            </c:extLst>
          </c:dPt>
          <c:dPt>
            <c:idx val="146"/>
            <c:invertIfNegative val="1"/>
            <c:bubble3D val="0"/>
            <c:spPr>
              <a:solidFill>
                <a:srgbClr val="AEABAB"/>
              </a:solidFill>
            </c:spPr>
            <c:extLst>
              <c:ext xmlns:c16="http://schemas.microsoft.com/office/drawing/2014/chart" uri="{C3380CC4-5D6E-409C-BE32-E72D297353CC}">
                <c16:uniqueId val="{00000127-2993-41DE-A2CB-63102DE87051}"/>
              </c:ext>
            </c:extLst>
          </c:dPt>
          <c:dPt>
            <c:idx val="147"/>
            <c:invertIfNegative val="1"/>
            <c:bubble3D val="0"/>
            <c:spPr>
              <a:solidFill>
                <a:srgbClr val="AEABAB"/>
              </a:solidFill>
            </c:spPr>
            <c:extLst>
              <c:ext xmlns:c16="http://schemas.microsoft.com/office/drawing/2014/chart" uri="{C3380CC4-5D6E-409C-BE32-E72D297353CC}">
                <c16:uniqueId val="{00000129-2993-41DE-A2CB-63102DE87051}"/>
              </c:ext>
            </c:extLst>
          </c:dPt>
          <c:dPt>
            <c:idx val="148"/>
            <c:invertIfNegative val="1"/>
            <c:bubble3D val="0"/>
            <c:spPr>
              <a:solidFill>
                <a:srgbClr val="AEABAB"/>
              </a:solidFill>
            </c:spPr>
            <c:extLst>
              <c:ext xmlns:c16="http://schemas.microsoft.com/office/drawing/2014/chart" uri="{C3380CC4-5D6E-409C-BE32-E72D297353CC}">
                <c16:uniqueId val="{0000012B-2993-41DE-A2CB-63102DE87051}"/>
              </c:ext>
            </c:extLst>
          </c:dPt>
          <c:dPt>
            <c:idx val="149"/>
            <c:invertIfNegative val="1"/>
            <c:bubble3D val="0"/>
            <c:spPr>
              <a:solidFill>
                <a:srgbClr val="AEABAB"/>
              </a:solidFill>
            </c:spPr>
            <c:extLst>
              <c:ext xmlns:c16="http://schemas.microsoft.com/office/drawing/2014/chart" uri="{C3380CC4-5D6E-409C-BE32-E72D297353CC}">
                <c16:uniqueId val="{0000012D-2993-41DE-A2CB-63102DE87051}"/>
              </c:ext>
            </c:extLst>
          </c:dPt>
          <c:dPt>
            <c:idx val="150"/>
            <c:invertIfNegative val="1"/>
            <c:bubble3D val="0"/>
            <c:spPr>
              <a:solidFill>
                <a:srgbClr val="AEABAB"/>
              </a:solidFill>
            </c:spPr>
            <c:extLst>
              <c:ext xmlns:c16="http://schemas.microsoft.com/office/drawing/2014/chart" uri="{C3380CC4-5D6E-409C-BE32-E72D297353CC}">
                <c16:uniqueId val="{0000012F-2993-41DE-A2CB-63102DE87051}"/>
              </c:ext>
            </c:extLst>
          </c:dPt>
          <c:dPt>
            <c:idx val="151"/>
            <c:invertIfNegative val="1"/>
            <c:bubble3D val="0"/>
            <c:spPr>
              <a:solidFill>
                <a:srgbClr val="AEABAB"/>
              </a:solidFill>
            </c:spPr>
            <c:extLst>
              <c:ext xmlns:c16="http://schemas.microsoft.com/office/drawing/2014/chart" uri="{C3380CC4-5D6E-409C-BE32-E72D297353CC}">
                <c16:uniqueId val="{00000131-2993-41DE-A2CB-63102DE87051}"/>
              </c:ext>
            </c:extLst>
          </c:dPt>
          <c:dPt>
            <c:idx val="152"/>
            <c:invertIfNegative val="1"/>
            <c:bubble3D val="0"/>
            <c:spPr>
              <a:solidFill>
                <a:srgbClr val="AEABAB"/>
              </a:solidFill>
            </c:spPr>
            <c:extLst>
              <c:ext xmlns:c16="http://schemas.microsoft.com/office/drawing/2014/chart" uri="{C3380CC4-5D6E-409C-BE32-E72D297353CC}">
                <c16:uniqueId val="{00000133-2993-41DE-A2CB-63102DE87051}"/>
              </c:ext>
            </c:extLst>
          </c:dPt>
          <c:dPt>
            <c:idx val="153"/>
            <c:invertIfNegative val="1"/>
            <c:bubble3D val="0"/>
            <c:spPr>
              <a:solidFill>
                <a:srgbClr val="AEABAB"/>
              </a:solidFill>
            </c:spPr>
            <c:extLst>
              <c:ext xmlns:c16="http://schemas.microsoft.com/office/drawing/2014/chart" uri="{C3380CC4-5D6E-409C-BE32-E72D297353CC}">
                <c16:uniqueId val="{00000135-2993-41DE-A2CB-63102DE87051}"/>
              </c:ext>
            </c:extLst>
          </c:dPt>
          <c:dPt>
            <c:idx val="154"/>
            <c:invertIfNegative val="1"/>
            <c:bubble3D val="0"/>
            <c:spPr>
              <a:solidFill>
                <a:srgbClr val="AEABAB"/>
              </a:solidFill>
            </c:spPr>
            <c:extLst>
              <c:ext xmlns:c16="http://schemas.microsoft.com/office/drawing/2014/chart" uri="{C3380CC4-5D6E-409C-BE32-E72D297353CC}">
                <c16:uniqueId val="{00000137-2993-41DE-A2CB-63102DE87051}"/>
              </c:ext>
            </c:extLst>
          </c:dPt>
          <c:dPt>
            <c:idx val="155"/>
            <c:invertIfNegative val="1"/>
            <c:bubble3D val="0"/>
            <c:spPr>
              <a:solidFill>
                <a:srgbClr val="AEABAB"/>
              </a:solidFill>
            </c:spPr>
            <c:extLst>
              <c:ext xmlns:c16="http://schemas.microsoft.com/office/drawing/2014/chart" uri="{C3380CC4-5D6E-409C-BE32-E72D297353CC}">
                <c16:uniqueId val="{00000139-2993-41DE-A2CB-63102DE87051}"/>
              </c:ext>
            </c:extLst>
          </c:dPt>
          <c:dPt>
            <c:idx val="156"/>
            <c:invertIfNegative val="1"/>
            <c:bubble3D val="0"/>
            <c:spPr>
              <a:solidFill>
                <a:srgbClr val="AEABAB"/>
              </a:solidFill>
            </c:spPr>
            <c:extLst>
              <c:ext xmlns:c16="http://schemas.microsoft.com/office/drawing/2014/chart" uri="{C3380CC4-5D6E-409C-BE32-E72D297353CC}">
                <c16:uniqueId val="{0000013B-2993-41DE-A2CB-63102DE87051}"/>
              </c:ext>
            </c:extLst>
          </c:dPt>
          <c:dPt>
            <c:idx val="157"/>
            <c:invertIfNegative val="1"/>
            <c:bubble3D val="0"/>
            <c:spPr>
              <a:solidFill>
                <a:srgbClr val="AEABAB"/>
              </a:solidFill>
            </c:spPr>
            <c:extLst>
              <c:ext xmlns:c16="http://schemas.microsoft.com/office/drawing/2014/chart" uri="{C3380CC4-5D6E-409C-BE32-E72D297353CC}">
                <c16:uniqueId val="{0000013D-2993-41DE-A2CB-63102DE87051}"/>
              </c:ext>
            </c:extLst>
          </c:dPt>
          <c:dPt>
            <c:idx val="158"/>
            <c:invertIfNegative val="1"/>
            <c:bubble3D val="0"/>
            <c:spPr>
              <a:solidFill>
                <a:srgbClr val="AEABAB"/>
              </a:solidFill>
            </c:spPr>
            <c:extLst>
              <c:ext xmlns:c16="http://schemas.microsoft.com/office/drawing/2014/chart" uri="{C3380CC4-5D6E-409C-BE32-E72D297353CC}">
                <c16:uniqueId val="{0000013F-2993-41DE-A2CB-63102DE87051}"/>
              </c:ext>
            </c:extLst>
          </c:dPt>
          <c:dPt>
            <c:idx val="159"/>
            <c:invertIfNegative val="1"/>
            <c:bubble3D val="0"/>
            <c:spPr>
              <a:solidFill>
                <a:srgbClr val="AEABAB"/>
              </a:solidFill>
            </c:spPr>
            <c:extLst>
              <c:ext xmlns:c16="http://schemas.microsoft.com/office/drawing/2014/chart" uri="{C3380CC4-5D6E-409C-BE32-E72D297353CC}">
                <c16:uniqueId val="{00000141-2993-41DE-A2CB-63102DE87051}"/>
              </c:ext>
            </c:extLst>
          </c:dPt>
          <c:dPt>
            <c:idx val="160"/>
            <c:invertIfNegative val="1"/>
            <c:bubble3D val="0"/>
            <c:spPr>
              <a:solidFill>
                <a:srgbClr val="AEABAB"/>
              </a:solidFill>
            </c:spPr>
            <c:extLst>
              <c:ext xmlns:c16="http://schemas.microsoft.com/office/drawing/2014/chart" uri="{C3380CC4-5D6E-409C-BE32-E72D297353CC}">
                <c16:uniqueId val="{00000143-2993-41DE-A2CB-63102DE87051}"/>
              </c:ext>
            </c:extLst>
          </c:dPt>
          <c:dPt>
            <c:idx val="161"/>
            <c:invertIfNegative val="1"/>
            <c:bubble3D val="0"/>
            <c:spPr>
              <a:solidFill>
                <a:srgbClr val="AEABAB"/>
              </a:solidFill>
            </c:spPr>
            <c:extLst>
              <c:ext xmlns:c16="http://schemas.microsoft.com/office/drawing/2014/chart" uri="{C3380CC4-5D6E-409C-BE32-E72D297353CC}">
                <c16:uniqueId val="{00000145-2993-41DE-A2CB-63102DE87051}"/>
              </c:ext>
            </c:extLst>
          </c:dPt>
          <c:dPt>
            <c:idx val="162"/>
            <c:invertIfNegative val="1"/>
            <c:bubble3D val="0"/>
            <c:spPr>
              <a:solidFill>
                <a:srgbClr val="AEABAB"/>
              </a:solidFill>
            </c:spPr>
            <c:extLst>
              <c:ext xmlns:c16="http://schemas.microsoft.com/office/drawing/2014/chart" uri="{C3380CC4-5D6E-409C-BE32-E72D297353CC}">
                <c16:uniqueId val="{00000147-2993-41DE-A2CB-63102DE87051}"/>
              </c:ext>
            </c:extLst>
          </c:dPt>
          <c:dPt>
            <c:idx val="163"/>
            <c:invertIfNegative val="1"/>
            <c:bubble3D val="0"/>
            <c:spPr>
              <a:solidFill>
                <a:srgbClr val="AEABAB"/>
              </a:solidFill>
            </c:spPr>
            <c:extLst>
              <c:ext xmlns:c16="http://schemas.microsoft.com/office/drawing/2014/chart" uri="{C3380CC4-5D6E-409C-BE32-E72D297353CC}">
                <c16:uniqueId val="{00000149-2993-41DE-A2CB-63102DE87051}"/>
              </c:ext>
            </c:extLst>
          </c:dPt>
          <c:dPt>
            <c:idx val="164"/>
            <c:invertIfNegative val="1"/>
            <c:bubble3D val="0"/>
            <c:spPr>
              <a:solidFill>
                <a:srgbClr val="AEABAB"/>
              </a:solidFill>
            </c:spPr>
            <c:extLst>
              <c:ext xmlns:c16="http://schemas.microsoft.com/office/drawing/2014/chart" uri="{C3380CC4-5D6E-409C-BE32-E72D297353CC}">
                <c16:uniqueId val="{0000014B-2993-41DE-A2CB-63102DE87051}"/>
              </c:ext>
            </c:extLst>
          </c:dPt>
          <c:dPt>
            <c:idx val="165"/>
            <c:invertIfNegative val="1"/>
            <c:bubble3D val="0"/>
            <c:spPr>
              <a:solidFill>
                <a:srgbClr val="AEABAB"/>
              </a:solidFill>
            </c:spPr>
            <c:extLst>
              <c:ext xmlns:c16="http://schemas.microsoft.com/office/drawing/2014/chart" uri="{C3380CC4-5D6E-409C-BE32-E72D297353CC}">
                <c16:uniqueId val="{0000014D-2993-41DE-A2CB-63102DE87051}"/>
              </c:ext>
            </c:extLst>
          </c:dPt>
          <c:dPt>
            <c:idx val="166"/>
            <c:invertIfNegative val="1"/>
            <c:bubble3D val="0"/>
            <c:spPr>
              <a:solidFill>
                <a:srgbClr val="AEABAB"/>
              </a:solidFill>
            </c:spPr>
            <c:extLst>
              <c:ext xmlns:c16="http://schemas.microsoft.com/office/drawing/2014/chart" uri="{C3380CC4-5D6E-409C-BE32-E72D297353CC}">
                <c16:uniqueId val="{0000014F-2993-41DE-A2CB-63102DE87051}"/>
              </c:ext>
            </c:extLst>
          </c:dPt>
          <c:dPt>
            <c:idx val="167"/>
            <c:invertIfNegative val="1"/>
            <c:bubble3D val="0"/>
            <c:spPr>
              <a:solidFill>
                <a:srgbClr val="AEABAB"/>
              </a:solidFill>
            </c:spPr>
            <c:extLst>
              <c:ext xmlns:c16="http://schemas.microsoft.com/office/drawing/2014/chart" uri="{C3380CC4-5D6E-409C-BE32-E72D297353CC}">
                <c16:uniqueId val="{00000151-2993-41DE-A2CB-63102DE87051}"/>
              </c:ext>
            </c:extLst>
          </c:dPt>
          <c:dPt>
            <c:idx val="168"/>
            <c:invertIfNegative val="1"/>
            <c:bubble3D val="0"/>
            <c:spPr>
              <a:solidFill>
                <a:srgbClr val="AEABAB"/>
              </a:solidFill>
            </c:spPr>
            <c:extLst>
              <c:ext xmlns:c16="http://schemas.microsoft.com/office/drawing/2014/chart" uri="{C3380CC4-5D6E-409C-BE32-E72D297353CC}">
                <c16:uniqueId val="{00000153-2993-41DE-A2CB-63102DE87051}"/>
              </c:ext>
            </c:extLst>
          </c:dPt>
          <c:dPt>
            <c:idx val="169"/>
            <c:invertIfNegative val="1"/>
            <c:bubble3D val="0"/>
            <c:spPr>
              <a:solidFill>
                <a:srgbClr val="AEABAB"/>
              </a:solidFill>
            </c:spPr>
            <c:extLst>
              <c:ext xmlns:c16="http://schemas.microsoft.com/office/drawing/2014/chart" uri="{C3380CC4-5D6E-409C-BE32-E72D297353CC}">
                <c16:uniqueId val="{00000155-2993-41DE-A2CB-63102DE87051}"/>
              </c:ext>
            </c:extLst>
          </c:dPt>
          <c:dPt>
            <c:idx val="170"/>
            <c:invertIfNegative val="1"/>
            <c:bubble3D val="0"/>
            <c:spPr>
              <a:solidFill>
                <a:srgbClr val="AEABAB"/>
              </a:solidFill>
            </c:spPr>
            <c:extLst>
              <c:ext xmlns:c16="http://schemas.microsoft.com/office/drawing/2014/chart" uri="{C3380CC4-5D6E-409C-BE32-E72D297353CC}">
                <c16:uniqueId val="{00000157-2993-41DE-A2CB-63102DE87051}"/>
              </c:ext>
            </c:extLst>
          </c:dPt>
          <c:dPt>
            <c:idx val="171"/>
            <c:invertIfNegative val="1"/>
            <c:bubble3D val="0"/>
            <c:spPr>
              <a:solidFill>
                <a:srgbClr val="AEABAB"/>
              </a:solidFill>
            </c:spPr>
            <c:extLst>
              <c:ext xmlns:c16="http://schemas.microsoft.com/office/drawing/2014/chart" uri="{C3380CC4-5D6E-409C-BE32-E72D297353CC}">
                <c16:uniqueId val="{00000159-2993-41DE-A2CB-63102DE87051}"/>
              </c:ext>
            </c:extLst>
          </c:dPt>
          <c:dPt>
            <c:idx val="172"/>
            <c:invertIfNegative val="1"/>
            <c:bubble3D val="0"/>
            <c:spPr>
              <a:solidFill>
                <a:srgbClr val="AEABAB"/>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dPt>
            <c:idx val="210"/>
            <c:invertIfNegative val="1"/>
            <c:bubble3D val="0"/>
            <c:spPr>
              <a:solidFill>
                <a:srgbClr val="AEABAB"/>
              </a:solidFill>
            </c:spPr>
            <c:extLst>
              <c:ext xmlns:c16="http://schemas.microsoft.com/office/drawing/2014/chart" uri="{C3380CC4-5D6E-409C-BE32-E72D297353CC}">
                <c16:uniqueId val="{000001A7-435A-4C9B-8B76-95D3D664B946}"/>
              </c:ext>
            </c:extLst>
          </c:dPt>
          <c:dPt>
            <c:idx val="211"/>
            <c:invertIfNegative val="1"/>
            <c:bubble3D val="0"/>
            <c:spPr>
              <a:solidFill>
                <a:srgbClr val="AEABAB"/>
              </a:solidFill>
            </c:spPr>
            <c:extLst>
              <c:ext xmlns:c16="http://schemas.microsoft.com/office/drawing/2014/chart" uri="{C3380CC4-5D6E-409C-BE32-E72D297353CC}">
                <c16:uniqueId val="{000001A9-435A-4C9B-8B76-95D3D664B946}"/>
              </c:ext>
            </c:extLst>
          </c:dPt>
          <c:dPt>
            <c:idx val="212"/>
            <c:invertIfNegative val="1"/>
            <c:bubble3D val="0"/>
            <c:spPr>
              <a:solidFill>
                <a:srgbClr val="AEABAB"/>
              </a:solidFill>
            </c:spPr>
            <c:extLst>
              <c:ext xmlns:c16="http://schemas.microsoft.com/office/drawing/2014/chart" uri="{C3380CC4-5D6E-409C-BE32-E72D297353CC}">
                <c16:uniqueId val="{000001AB-435A-4C9B-8B76-95D3D664B946}"/>
              </c:ext>
            </c:extLst>
          </c:dPt>
          <c:dPt>
            <c:idx val="213"/>
            <c:invertIfNegative val="1"/>
            <c:bubble3D val="0"/>
            <c:spPr>
              <a:solidFill>
                <a:srgbClr val="AEABAB"/>
              </a:solidFill>
            </c:spPr>
            <c:extLst>
              <c:ext xmlns:c16="http://schemas.microsoft.com/office/drawing/2014/chart" uri="{C3380CC4-5D6E-409C-BE32-E72D297353CC}">
                <c16:uniqueId val="{000001AD-435A-4C9B-8B76-95D3D664B946}"/>
              </c:ext>
            </c:extLst>
          </c:dPt>
          <c:dPt>
            <c:idx val="214"/>
            <c:invertIfNegative val="1"/>
            <c:bubble3D val="0"/>
            <c:spPr>
              <a:solidFill>
                <a:srgbClr val="AEABAB"/>
              </a:solidFill>
            </c:spPr>
            <c:extLst>
              <c:ext xmlns:c16="http://schemas.microsoft.com/office/drawing/2014/chart" uri="{C3380CC4-5D6E-409C-BE32-E72D297353CC}">
                <c16:uniqueId val="{000001AF-435A-4C9B-8B76-95D3D664B946}"/>
              </c:ext>
            </c:extLst>
          </c:dPt>
          <c:dPt>
            <c:idx val="215"/>
            <c:invertIfNegative val="1"/>
            <c:bubble3D val="0"/>
            <c:spPr>
              <a:solidFill>
                <a:srgbClr val="AEABAB"/>
              </a:solidFill>
            </c:spPr>
            <c:extLst>
              <c:ext xmlns:c16="http://schemas.microsoft.com/office/drawing/2014/chart" uri="{C3380CC4-5D6E-409C-BE32-E72D297353CC}">
                <c16:uniqueId val="{000001B1-435A-4C9B-8B76-95D3D664B946}"/>
              </c:ext>
            </c:extLst>
          </c:dPt>
          <c:dPt>
            <c:idx val="216"/>
            <c:invertIfNegative val="1"/>
            <c:bubble3D val="0"/>
            <c:spPr>
              <a:solidFill>
                <a:srgbClr val="AEABAB"/>
              </a:solidFill>
            </c:spPr>
            <c:extLst>
              <c:ext xmlns:c16="http://schemas.microsoft.com/office/drawing/2014/chart" uri="{C3380CC4-5D6E-409C-BE32-E72D297353CC}">
                <c16:uniqueId val="{000001B3-435A-4C9B-8B76-95D3D664B946}"/>
              </c:ext>
            </c:extLst>
          </c:dPt>
          <c:dPt>
            <c:idx val="217"/>
            <c:invertIfNegative val="1"/>
            <c:bubble3D val="0"/>
            <c:spPr>
              <a:solidFill>
                <a:srgbClr val="AEABAB"/>
              </a:solidFill>
            </c:spPr>
            <c:extLst>
              <c:ext xmlns:c16="http://schemas.microsoft.com/office/drawing/2014/chart" uri="{C3380CC4-5D6E-409C-BE32-E72D297353CC}">
                <c16:uniqueId val="{000001B5-435A-4C9B-8B76-95D3D664B946}"/>
              </c:ext>
            </c:extLst>
          </c:dPt>
          <c:dPt>
            <c:idx val="218"/>
            <c:invertIfNegative val="1"/>
            <c:bubble3D val="0"/>
            <c:spPr>
              <a:solidFill>
                <a:srgbClr val="AEABAB"/>
              </a:solidFill>
            </c:spPr>
            <c:extLst>
              <c:ext xmlns:c16="http://schemas.microsoft.com/office/drawing/2014/chart" uri="{C3380CC4-5D6E-409C-BE32-E72D297353CC}">
                <c16:uniqueId val="{000001B7-435A-4C9B-8B76-95D3D664B946}"/>
              </c:ext>
            </c:extLst>
          </c:dPt>
          <c:dPt>
            <c:idx val="219"/>
            <c:invertIfNegative val="1"/>
            <c:bubble3D val="0"/>
            <c:spPr>
              <a:solidFill>
                <a:srgbClr val="AEABAB"/>
              </a:solidFill>
            </c:spPr>
            <c:extLst>
              <c:ext xmlns:c16="http://schemas.microsoft.com/office/drawing/2014/chart" uri="{C3380CC4-5D6E-409C-BE32-E72D297353CC}">
                <c16:uniqueId val="{000001B9-435A-4C9B-8B76-95D3D664B946}"/>
              </c:ext>
            </c:extLst>
          </c:dPt>
          <c:dPt>
            <c:idx val="220"/>
            <c:invertIfNegative val="1"/>
            <c:bubble3D val="0"/>
            <c:spPr>
              <a:solidFill>
                <a:srgbClr val="AEABAB"/>
              </a:solidFill>
            </c:spPr>
            <c:extLst>
              <c:ext xmlns:c16="http://schemas.microsoft.com/office/drawing/2014/chart" uri="{C3380CC4-5D6E-409C-BE32-E72D297353CC}">
                <c16:uniqueId val="{000001BB-435A-4C9B-8B76-95D3D664B946}"/>
              </c:ext>
            </c:extLst>
          </c:dPt>
          <c:dPt>
            <c:idx val="221"/>
            <c:invertIfNegative val="1"/>
            <c:bubble3D val="0"/>
            <c:spPr>
              <a:solidFill>
                <a:srgbClr val="AEABAB"/>
              </a:solidFill>
            </c:spPr>
            <c:extLst>
              <c:ext xmlns:c16="http://schemas.microsoft.com/office/drawing/2014/chart" uri="{C3380CC4-5D6E-409C-BE32-E72D297353CC}">
                <c16:uniqueId val="{000001BD-435A-4C9B-8B76-95D3D664B946}"/>
              </c:ext>
            </c:extLst>
          </c:dPt>
          <c:dPt>
            <c:idx val="222"/>
            <c:invertIfNegative val="1"/>
            <c:bubble3D val="0"/>
            <c:spPr>
              <a:solidFill>
                <a:srgbClr val="AEABAB"/>
              </a:solidFill>
            </c:spPr>
            <c:extLst>
              <c:ext xmlns:c16="http://schemas.microsoft.com/office/drawing/2014/chart" uri="{C3380CC4-5D6E-409C-BE32-E72D297353CC}">
                <c16:uniqueId val="{000001BF-435A-4C9B-8B76-95D3D664B946}"/>
              </c:ext>
            </c:extLst>
          </c:dPt>
          <c:dPt>
            <c:idx val="223"/>
            <c:invertIfNegative val="1"/>
            <c:bubble3D val="0"/>
            <c:spPr>
              <a:solidFill>
                <a:srgbClr val="AEABAB"/>
              </a:solidFill>
            </c:spPr>
            <c:extLst>
              <c:ext xmlns:c16="http://schemas.microsoft.com/office/drawing/2014/chart" uri="{C3380CC4-5D6E-409C-BE32-E72D297353CC}">
                <c16:uniqueId val="{000001C1-435A-4C9B-8B76-95D3D664B946}"/>
              </c:ext>
            </c:extLst>
          </c:dPt>
          <c:dPt>
            <c:idx val="224"/>
            <c:invertIfNegative val="1"/>
            <c:bubble3D val="0"/>
            <c:spPr>
              <a:solidFill>
                <a:srgbClr val="AEABAB"/>
              </a:solidFill>
            </c:spPr>
            <c:extLst>
              <c:ext xmlns:c16="http://schemas.microsoft.com/office/drawing/2014/chart" uri="{C3380CC4-5D6E-409C-BE32-E72D297353CC}">
                <c16:uniqueId val="{000001C3-435A-4C9B-8B76-95D3D664B946}"/>
              </c:ext>
            </c:extLst>
          </c:dPt>
          <c:dPt>
            <c:idx val="225"/>
            <c:invertIfNegative val="1"/>
            <c:bubble3D val="0"/>
            <c:spPr>
              <a:solidFill>
                <a:srgbClr val="AEABAB"/>
              </a:solidFill>
            </c:spPr>
            <c:extLst>
              <c:ext xmlns:c16="http://schemas.microsoft.com/office/drawing/2014/chart" uri="{C3380CC4-5D6E-409C-BE32-E72D297353CC}">
                <c16:uniqueId val="{000001C5-435A-4C9B-8B76-95D3D664B946}"/>
              </c:ext>
            </c:extLst>
          </c:dPt>
          <c:dPt>
            <c:idx val="226"/>
            <c:invertIfNegative val="1"/>
            <c:bubble3D val="0"/>
            <c:spPr>
              <a:solidFill>
                <a:srgbClr val="AEABAB"/>
              </a:solidFill>
            </c:spPr>
            <c:extLst>
              <c:ext xmlns:c16="http://schemas.microsoft.com/office/drawing/2014/chart" uri="{C3380CC4-5D6E-409C-BE32-E72D297353CC}">
                <c16:uniqueId val="{000001C7-435A-4C9B-8B76-95D3D664B946}"/>
              </c:ext>
            </c:extLst>
          </c:dPt>
          <c:dPt>
            <c:idx val="227"/>
            <c:invertIfNegative val="1"/>
            <c:bubble3D val="0"/>
            <c:spPr>
              <a:solidFill>
                <a:srgbClr val="AEABAB"/>
              </a:solidFill>
            </c:spPr>
            <c:extLst>
              <c:ext xmlns:c16="http://schemas.microsoft.com/office/drawing/2014/chart" uri="{C3380CC4-5D6E-409C-BE32-E72D297353CC}">
                <c16:uniqueId val="{000001C9-435A-4C9B-8B76-95D3D664B946}"/>
              </c:ext>
            </c:extLst>
          </c:dPt>
          <c:dPt>
            <c:idx val="228"/>
            <c:invertIfNegative val="1"/>
            <c:bubble3D val="0"/>
            <c:spPr>
              <a:solidFill>
                <a:srgbClr val="AEABAB"/>
              </a:solidFill>
            </c:spPr>
            <c:extLst>
              <c:ext xmlns:c16="http://schemas.microsoft.com/office/drawing/2014/chart" uri="{C3380CC4-5D6E-409C-BE32-E72D297353CC}">
                <c16:uniqueId val="{000001CB-435A-4C9B-8B76-95D3D664B946}"/>
              </c:ext>
            </c:extLst>
          </c:dPt>
          <c:dPt>
            <c:idx val="229"/>
            <c:invertIfNegative val="1"/>
            <c:bubble3D val="0"/>
            <c:spPr>
              <a:solidFill>
                <a:srgbClr val="AEABAB"/>
              </a:solidFill>
            </c:spPr>
            <c:extLst>
              <c:ext xmlns:c16="http://schemas.microsoft.com/office/drawing/2014/chart" uri="{C3380CC4-5D6E-409C-BE32-E72D297353CC}">
                <c16:uniqueId val="{000001CD-435A-4C9B-8B76-95D3D664B946}"/>
              </c:ext>
            </c:extLst>
          </c:dPt>
          <c:dPt>
            <c:idx val="230"/>
            <c:invertIfNegative val="1"/>
            <c:bubble3D val="0"/>
            <c:spPr>
              <a:solidFill>
                <a:srgbClr val="AEABAB"/>
              </a:solidFill>
            </c:spPr>
            <c:extLst>
              <c:ext xmlns:c16="http://schemas.microsoft.com/office/drawing/2014/chart" uri="{C3380CC4-5D6E-409C-BE32-E72D297353CC}">
                <c16:uniqueId val="{000001CF-435A-4C9B-8B76-95D3D664B946}"/>
              </c:ext>
            </c:extLst>
          </c:dPt>
          <c:dPt>
            <c:idx val="231"/>
            <c:invertIfNegative val="1"/>
            <c:bubble3D val="0"/>
            <c:spPr>
              <a:solidFill>
                <a:srgbClr val="AEABAB"/>
              </a:solidFill>
            </c:spPr>
            <c:extLst>
              <c:ext xmlns:c16="http://schemas.microsoft.com/office/drawing/2014/chart" uri="{C3380CC4-5D6E-409C-BE32-E72D297353CC}">
                <c16:uniqueId val="{000001D1-435A-4C9B-8B76-95D3D664B946}"/>
              </c:ext>
            </c:extLst>
          </c:dPt>
          <c:dPt>
            <c:idx val="232"/>
            <c:invertIfNegative val="1"/>
            <c:bubble3D val="0"/>
            <c:spPr>
              <a:solidFill>
                <a:srgbClr val="AEABAB"/>
              </a:solidFill>
            </c:spPr>
            <c:extLst>
              <c:ext xmlns:c16="http://schemas.microsoft.com/office/drawing/2014/chart" uri="{C3380CC4-5D6E-409C-BE32-E72D297353CC}">
                <c16:uniqueId val="{000001D3-435A-4C9B-8B76-95D3D664B946}"/>
              </c:ext>
            </c:extLst>
          </c:dPt>
          <c:dPt>
            <c:idx val="233"/>
            <c:invertIfNegative val="1"/>
            <c:bubble3D val="0"/>
            <c:spPr>
              <a:solidFill>
                <a:srgbClr val="AEABAB"/>
              </a:solidFill>
            </c:spPr>
            <c:extLst>
              <c:ext xmlns:c16="http://schemas.microsoft.com/office/drawing/2014/chart" uri="{C3380CC4-5D6E-409C-BE32-E72D297353CC}">
                <c16:uniqueId val="{000001D5-435A-4C9B-8B76-95D3D664B946}"/>
              </c:ext>
            </c:extLst>
          </c:dPt>
          <c:dPt>
            <c:idx val="234"/>
            <c:invertIfNegative val="1"/>
            <c:bubble3D val="0"/>
            <c:spPr>
              <a:solidFill>
                <a:srgbClr val="AEABAB"/>
              </a:solidFill>
            </c:spPr>
            <c:extLst>
              <c:ext xmlns:c16="http://schemas.microsoft.com/office/drawing/2014/chart" uri="{C3380CC4-5D6E-409C-BE32-E72D297353CC}">
                <c16:uniqueId val="{000001D7-435A-4C9B-8B76-95D3D664B946}"/>
              </c:ext>
            </c:extLst>
          </c:dPt>
          <c:dPt>
            <c:idx val="235"/>
            <c:invertIfNegative val="1"/>
            <c:bubble3D val="0"/>
            <c:spPr>
              <a:solidFill>
                <a:srgbClr val="AEABAB"/>
              </a:solidFill>
            </c:spPr>
            <c:extLst>
              <c:ext xmlns:c16="http://schemas.microsoft.com/office/drawing/2014/chart" uri="{C3380CC4-5D6E-409C-BE32-E72D297353CC}">
                <c16:uniqueId val="{000001D9-435A-4C9B-8B76-95D3D664B946}"/>
              </c:ext>
            </c:extLst>
          </c:dPt>
          <c:dPt>
            <c:idx val="236"/>
            <c:invertIfNegative val="1"/>
            <c:bubble3D val="0"/>
            <c:spPr>
              <a:solidFill>
                <a:srgbClr val="AEABAB"/>
              </a:solidFill>
            </c:spPr>
            <c:extLst>
              <c:ext xmlns:c16="http://schemas.microsoft.com/office/drawing/2014/chart" uri="{C3380CC4-5D6E-409C-BE32-E72D297353CC}">
                <c16:uniqueId val="{000001DB-435A-4C9B-8B76-95D3D664B946}"/>
              </c:ext>
            </c:extLst>
          </c:dPt>
          <c:dPt>
            <c:idx val="237"/>
            <c:invertIfNegative val="1"/>
            <c:bubble3D val="0"/>
            <c:spPr>
              <a:solidFill>
                <a:srgbClr val="AEABAB"/>
              </a:solidFill>
            </c:spPr>
            <c:extLst>
              <c:ext xmlns:c16="http://schemas.microsoft.com/office/drawing/2014/chart" uri="{C3380CC4-5D6E-409C-BE32-E72D297353CC}">
                <c16:uniqueId val="{000001DD-435A-4C9B-8B76-95D3D664B946}"/>
              </c:ext>
            </c:extLst>
          </c:dPt>
          <c:dPt>
            <c:idx val="238"/>
            <c:invertIfNegative val="1"/>
            <c:bubble3D val="0"/>
            <c:spPr>
              <a:solidFill>
                <a:srgbClr val="AEABAB"/>
              </a:solidFill>
            </c:spPr>
            <c:extLst>
              <c:ext xmlns:c16="http://schemas.microsoft.com/office/drawing/2014/chart" uri="{C3380CC4-5D6E-409C-BE32-E72D297353CC}">
                <c16:uniqueId val="{000001DF-435A-4C9B-8B76-95D3D664B946}"/>
              </c:ext>
            </c:extLst>
          </c:dPt>
          <c:dPt>
            <c:idx val="239"/>
            <c:invertIfNegative val="1"/>
            <c:bubble3D val="0"/>
            <c:spPr>
              <a:solidFill>
                <a:srgbClr val="AEABAB"/>
              </a:solidFill>
            </c:spPr>
            <c:extLst>
              <c:ext xmlns:c16="http://schemas.microsoft.com/office/drawing/2014/chart" uri="{C3380CC4-5D6E-409C-BE32-E72D297353CC}">
                <c16:uniqueId val="{000001E1-435A-4C9B-8B76-95D3D664B946}"/>
              </c:ext>
            </c:extLst>
          </c:dPt>
          <c:dPt>
            <c:idx val="240"/>
            <c:invertIfNegative val="1"/>
            <c:bubble3D val="0"/>
            <c:spPr>
              <a:solidFill>
                <a:srgbClr val="AEABAB"/>
              </a:solidFill>
            </c:spPr>
            <c:extLst>
              <c:ext xmlns:c16="http://schemas.microsoft.com/office/drawing/2014/chart" uri="{C3380CC4-5D6E-409C-BE32-E72D297353CC}">
                <c16:uniqueId val="{000001E3-435A-4C9B-8B76-95D3D664B946}"/>
              </c:ext>
            </c:extLst>
          </c:dPt>
          <c:dPt>
            <c:idx val="241"/>
            <c:invertIfNegative val="1"/>
            <c:bubble3D val="0"/>
            <c:spPr>
              <a:solidFill>
                <a:srgbClr val="AEABAB"/>
              </a:solidFill>
            </c:spPr>
            <c:extLst>
              <c:ext xmlns:c16="http://schemas.microsoft.com/office/drawing/2014/chart" uri="{C3380CC4-5D6E-409C-BE32-E72D297353CC}">
                <c16:uniqueId val="{000001E5-435A-4C9B-8B76-95D3D664B946}"/>
              </c:ext>
            </c:extLst>
          </c:dPt>
          <c:dPt>
            <c:idx val="242"/>
            <c:invertIfNegative val="1"/>
            <c:bubble3D val="0"/>
            <c:spPr>
              <a:solidFill>
                <a:srgbClr val="AEABAB"/>
              </a:solidFill>
            </c:spPr>
            <c:extLst>
              <c:ext xmlns:c16="http://schemas.microsoft.com/office/drawing/2014/chart" uri="{C3380CC4-5D6E-409C-BE32-E72D297353CC}">
                <c16:uniqueId val="{000001E7-435A-4C9B-8B76-95D3D664B946}"/>
              </c:ext>
            </c:extLst>
          </c:dPt>
          <c:dPt>
            <c:idx val="243"/>
            <c:invertIfNegative val="1"/>
            <c:bubble3D val="0"/>
            <c:spPr>
              <a:solidFill>
                <a:srgbClr val="AEABAB"/>
              </a:solidFill>
            </c:spPr>
            <c:extLst>
              <c:ext xmlns:c16="http://schemas.microsoft.com/office/drawing/2014/chart" uri="{C3380CC4-5D6E-409C-BE32-E72D297353CC}">
                <c16:uniqueId val="{000001E9-435A-4C9B-8B76-95D3D664B946}"/>
              </c:ext>
            </c:extLst>
          </c:dPt>
          <c:dPt>
            <c:idx val="244"/>
            <c:invertIfNegative val="1"/>
            <c:bubble3D val="0"/>
            <c:spPr>
              <a:solidFill>
                <a:srgbClr val="AEABAB"/>
              </a:solidFill>
            </c:spPr>
            <c:extLst>
              <c:ext xmlns:c16="http://schemas.microsoft.com/office/drawing/2014/chart" uri="{C3380CC4-5D6E-409C-BE32-E72D297353CC}">
                <c16:uniqueId val="{000001EB-435A-4C9B-8B76-95D3D664B946}"/>
              </c:ext>
            </c:extLst>
          </c:dPt>
          <c:dPt>
            <c:idx val="245"/>
            <c:invertIfNegative val="1"/>
            <c:bubble3D val="0"/>
            <c:spPr>
              <a:solidFill>
                <a:srgbClr val="AEABAB"/>
              </a:solidFill>
            </c:spPr>
            <c:extLst>
              <c:ext xmlns:c16="http://schemas.microsoft.com/office/drawing/2014/chart" uri="{C3380CC4-5D6E-409C-BE32-E72D297353CC}">
                <c16:uniqueId val="{000001ED-435A-4C9B-8B76-95D3D664B946}"/>
              </c:ext>
            </c:extLst>
          </c:dPt>
          <c:dPt>
            <c:idx val="246"/>
            <c:invertIfNegative val="1"/>
            <c:bubble3D val="0"/>
            <c:spPr>
              <a:solidFill>
                <a:srgbClr val="AEABAB"/>
              </a:solidFill>
            </c:spPr>
            <c:extLst>
              <c:ext xmlns:c16="http://schemas.microsoft.com/office/drawing/2014/chart" uri="{C3380CC4-5D6E-409C-BE32-E72D297353CC}">
                <c16:uniqueId val="{000001EF-435A-4C9B-8B76-95D3D664B946}"/>
              </c:ext>
            </c:extLst>
          </c:dPt>
          <c:dPt>
            <c:idx val="247"/>
            <c:invertIfNegative val="1"/>
            <c:bubble3D val="0"/>
            <c:spPr>
              <a:solidFill>
                <a:srgbClr val="AEABAB"/>
              </a:solidFill>
            </c:spPr>
            <c:extLst>
              <c:ext xmlns:c16="http://schemas.microsoft.com/office/drawing/2014/chart" uri="{C3380CC4-5D6E-409C-BE32-E72D297353CC}">
                <c16:uniqueId val="{000001F1-435A-4C9B-8B76-95D3D664B946}"/>
              </c:ext>
            </c:extLst>
          </c:dPt>
          <c:dPt>
            <c:idx val="248"/>
            <c:invertIfNegative val="1"/>
            <c:bubble3D val="0"/>
            <c:spPr>
              <a:solidFill>
                <a:srgbClr val="AEABAB"/>
              </a:solidFill>
            </c:spPr>
            <c:extLst>
              <c:ext xmlns:c16="http://schemas.microsoft.com/office/drawing/2014/chart" uri="{C3380CC4-5D6E-409C-BE32-E72D297353CC}">
                <c16:uniqueId val="{000001F3-435A-4C9B-8B76-95D3D664B946}"/>
              </c:ext>
            </c:extLst>
          </c:dPt>
          <c:dPt>
            <c:idx val="249"/>
            <c:invertIfNegative val="1"/>
            <c:bubble3D val="0"/>
            <c:spPr>
              <a:solidFill>
                <a:srgbClr val="AEABAB"/>
              </a:solidFill>
            </c:spPr>
            <c:extLst>
              <c:ext xmlns:c16="http://schemas.microsoft.com/office/drawing/2014/chart" uri="{C3380CC4-5D6E-409C-BE32-E72D297353CC}">
                <c16:uniqueId val="{000001F5-435A-4C9B-8B76-95D3D664B946}"/>
              </c:ext>
            </c:extLst>
          </c:dPt>
          <c:dPt>
            <c:idx val="250"/>
            <c:invertIfNegative val="1"/>
            <c:bubble3D val="0"/>
            <c:spPr>
              <a:solidFill>
                <a:srgbClr val="AEABAB"/>
              </a:solidFill>
            </c:spPr>
            <c:extLst>
              <c:ext xmlns:c16="http://schemas.microsoft.com/office/drawing/2014/chart" uri="{C3380CC4-5D6E-409C-BE32-E72D297353CC}">
                <c16:uniqueId val="{000001F7-435A-4C9B-8B76-95D3D664B946}"/>
              </c:ext>
            </c:extLst>
          </c:dPt>
          <c:dPt>
            <c:idx val="251"/>
            <c:invertIfNegative val="1"/>
            <c:bubble3D val="0"/>
            <c:spPr>
              <a:solidFill>
                <a:srgbClr val="AEABAB"/>
              </a:solidFill>
            </c:spPr>
            <c:extLst>
              <c:ext xmlns:c16="http://schemas.microsoft.com/office/drawing/2014/chart" uri="{C3380CC4-5D6E-409C-BE32-E72D297353CC}">
                <c16:uniqueId val="{000001F9-435A-4C9B-8B76-95D3D664B946}"/>
              </c:ext>
            </c:extLst>
          </c:dPt>
          <c:dPt>
            <c:idx val="252"/>
            <c:invertIfNegative val="1"/>
            <c:bubble3D val="0"/>
            <c:spPr>
              <a:solidFill>
                <a:srgbClr val="AEABAB"/>
              </a:solidFill>
            </c:spPr>
            <c:extLst>
              <c:ext xmlns:c16="http://schemas.microsoft.com/office/drawing/2014/chart" uri="{C3380CC4-5D6E-409C-BE32-E72D297353CC}">
                <c16:uniqueId val="{000001FB-435A-4C9B-8B76-95D3D664B946}"/>
              </c:ext>
            </c:extLst>
          </c:dPt>
          <c:dPt>
            <c:idx val="253"/>
            <c:invertIfNegative val="1"/>
            <c:bubble3D val="0"/>
            <c:spPr>
              <a:solidFill>
                <a:srgbClr val="AEABAB"/>
              </a:solidFill>
            </c:spPr>
            <c:extLst>
              <c:ext xmlns:c16="http://schemas.microsoft.com/office/drawing/2014/chart" uri="{C3380CC4-5D6E-409C-BE32-E72D297353CC}">
                <c16:uniqueId val="{000001FD-435A-4C9B-8B76-95D3D664B946}"/>
              </c:ext>
            </c:extLst>
          </c:dPt>
          <c:dPt>
            <c:idx val="254"/>
            <c:invertIfNegative val="1"/>
            <c:bubble3D val="0"/>
            <c:spPr>
              <a:solidFill>
                <a:srgbClr val="AEABAB"/>
              </a:solidFill>
            </c:spPr>
            <c:extLst>
              <c:ext xmlns:c16="http://schemas.microsoft.com/office/drawing/2014/chart" uri="{C3380CC4-5D6E-409C-BE32-E72D297353CC}">
                <c16:uniqueId val="{000001FF-435A-4C9B-8B76-95D3D664B946}"/>
              </c:ext>
            </c:extLst>
          </c:dPt>
          <c:dPt>
            <c:idx val="255"/>
            <c:invertIfNegative val="1"/>
            <c:bubble3D val="0"/>
            <c:spPr>
              <a:solidFill>
                <a:srgbClr val="AEABAB"/>
              </a:solidFill>
            </c:spPr>
            <c:extLst>
              <c:ext xmlns:c16="http://schemas.microsoft.com/office/drawing/2014/chart" uri="{C3380CC4-5D6E-409C-BE32-E72D297353CC}">
                <c16:uniqueId val="{00000201-435A-4C9B-8B76-95D3D664B946}"/>
              </c:ext>
            </c:extLst>
          </c:dPt>
          <c:dPt>
            <c:idx val="256"/>
            <c:invertIfNegative val="1"/>
            <c:bubble3D val="0"/>
            <c:spPr>
              <a:solidFill>
                <a:srgbClr val="AEABAB"/>
              </a:solidFill>
            </c:spPr>
            <c:extLst>
              <c:ext xmlns:c16="http://schemas.microsoft.com/office/drawing/2014/chart" uri="{C3380CC4-5D6E-409C-BE32-E72D297353CC}">
                <c16:uniqueId val="{00000203-435A-4C9B-8B76-95D3D664B946}"/>
              </c:ext>
            </c:extLst>
          </c:dPt>
          <c:dPt>
            <c:idx val="257"/>
            <c:invertIfNegative val="1"/>
            <c:bubble3D val="0"/>
            <c:spPr>
              <a:solidFill>
                <a:srgbClr val="AEABAB"/>
              </a:solidFill>
            </c:spPr>
            <c:extLst>
              <c:ext xmlns:c16="http://schemas.microsoft.com/office/drawing/2014/chart" uri="{C3380CC4-5D6E-409C-BE32-E72D297353CC}">
                <c16:uniqueId val="{00000205-435A-4C9B-8B76-95D3D664B946}"/>
              </c:ext>
            </c:extLst>
          </c:dPt>
          <c:dPt>
            <c:idx val="258"/>
            <c:invertIfNegative val="1"/>
            <c:bubble3D val="0"/>
            <c:spPr>
              <a:solidFill>
                <a:srgbClr val="AEABAB"/>
              </a:solidFill>
            </c:spPr>
            <c:extLst>
              <c:ext xmlns:c16="http://schemas.microsoft.com/office/drawing/2014/chart" uri="{C3380CC4-5D6E-409C-BE32-E72D297353CC}">
                <c16:uniqueId val="{00000207-435A-4C9B-8B76-95D3D664B946}"/>
              </c:ext>
            </c:extLst>
          </c:dPt>
          <c:dPt>
            <c:idx val="259"/>
            <c:invertIfNegative val="1"/>
            <c:bubble3D val="0"/>
            <c:spPr>
              <a:solidFill>
                <a:srgbClr val="AEABAB"/>
              </a:solidFill>
            </c:spPr>
            <c:extLst>
              <c:ext xmlns:c16="http://schemas.microsoft.com/office/drawing/2014/chart" uri="{C3380CC4-5D6E-409C-BE32-E72D297353CC}">
                <c16:uniqueId val="{00000209-435A-4C9B-8B76-95D3D664B946}"/>
              </c:ext>
            </c:extLst>
          </c:dPt>
          <c:dPt>
            <c:idx val="260"/>
            <c:invertIfNegative val="1"/>
            <c:bubble3D val="0"/>
            <c:spPr>
              <a:solidFill>
                <a:srgbClr val="AEABAB"/>
              </a:solidFill>
            </c:spPr>
            <c:extLst>
              <c:ext xmlns:c16="http://schemas.microsoft.com/office/drawing/2014/chart" uri="{C3380CC4-5D6E-409C-BE32-E72D297353CC}">
                <c16:uniqueId val="{0000020B-435A-4C9B-8B76-95D3D664B946}"/>
              </c:ext>
            </c:extLst>
          </c:dPt>
          <c:dPt>
            <c:idx val="261"/>
            <c:invertIfNegative val="1"/>
            <c:bubble3D val="0"/>
            <c:spPr>
              <a:solidFill>
                <a:srgbClr val="AEABAB"/>
              </a:solidFill>
            </c:spPr>
            <c:extLst>
              <c:ext xmlns:c16="http://schemas.microsoft.com/office/drawing/2014/chart" uri="{C3380CC4-5D6E-409C-BE32-E72D297353CC}">
                <c16:uniqueId val="{0000020D-435A-4C9B-8B76-95D3D664B946}"/>
              </c:ext>
            </c:extLst>
          </c:dPt>
          <c:dPt>
            <c:idx val="262"/>
            <c:invertIfNegative val="1"/>
            <c:bubble3D val="0"/>
            <c:spPr>
              <a:solidFill>
                <a:srgbClr val="AEABAB"/>
              </a:solidFill>
            </c:spPr>
            <c:extLst>
              <c:ext xmlns:c16="http://schemas.microsoft.com/office/drawing/2014/chart" uri="{C3380CC4-5D6E-409C-BE32-E72D297353CC}">
                <c16:uniqueId val="{0000020F-435A-4C9B-8B76-95D3D664B946}"/>
              </c:ext>
            </c:extLst>
          </c:dPt>
          <c:dPt>
            <c:idx val="263"/>
            <c:invertIfNegative val="1"/>
            <c:bubble3D val="0"/>
            <c:spPr>
              <a:solidFill>
                <a:srgbClr val="AEABAB"/>
              </a:solidFill>
            </c:spPr>
            <c:extLst>
              <c:ext xmlns:c16="http://schemas.microsoft.com/office/drawing/2014/chart" uri="{C3380CC4-5D6E-409C-BE32-E72D297353CC}">
                <c16:uniqueId val="{00000211-435A-4C9B-8B76-95D3D664B946}"/>
              </c:ext>
            </c:extLst>
          </c:dPt>
          <c:dPt>
            <c:idx val="264"/>
            <c:invertIfNegative val="1"/>
            <c:bubble3D val="0"/>
            <c:spPr>
              <a:solidFill>
                <a:srgbClr val="AEABAB"/>
              </a:solidFill>
            </c:spPr>
            <c:extLst>
              <c:ext xmlns:c16="http://schemas.microsoft.com/office/drawing/2014/chart" uri="{C3380CC4-5D6E-409C-BE32-E72D297353CC}">
                <c16:uniqueId val="{00000213-435A-4C9B-8B76-95D3D664B946}"/>
              </c:ext>
            </c:extLst>
          </c:dPt>
          <c:dPt>
            <c:idx val="265"/>
            <c:invertIfNegative val="1"/>
            <c:bubble3D val="0"/>
            <c:spPr>
              <a:solidFill>
                <a:srgbClr val="AEABAB"/>
              </a:solidFill>
            </c:spPr>
            <c:extLst>
              <c:ext xmlns:c16="http://schemas.microsoft.com/office/drawing/2014/chart" uri="{C3380CC4-5D6E-409C-BE32-E72D297353CC}">
                <c16:uniqueId val="{00000215-435A-4C9B-8B76-95D3D664B946}"/>
              </c:ext>
            </c:extLst>
          </c:dPt>
          <c:dPt>
            <c:idx val="266"/>
            <c:invertIfNegative val="1"/>
            <c:bubble3D val="0"/>
            <c:spPr>
              <a:solidFill>
                <a:srgbClr val="AEABAB"/>
              </a:solidFill>
            </c:spPr>
            <c:extLst>
              <c:ext xmlns:c16="http://schemas.microsoft.com/office/drawing/2014/chart" uri="{C3380CC4-5D6E-409C-BE32-E72D297353CC}">
                <c16:uniqueId val="{00000217-435A-4C9B-8B76-95D3D664B946}"/>
              </c:ext>
            </c:extLst>
          </c:dPt>
          <c:dPt>
            <c:idx val="267"/>
            <c:invertIfNegative val="1"/>
            <c:bubble3D val="0"/>
            <c:spPr>
              <a:solidFill>
                <a:srgbClr val="AEABAB"/>
              </a:solidFill>
            </c:spPr>
            <c:extLst>
              <c:ext xmlns:c16="http://schemas.microsoft.com/office/drawing/2014/chart" uri="{C3380CC4-5D6E-409C-BE32-E72D297353CC}">
                <c16:uniqueId val="{00000219-435A-4C9B-8B76-95D3D664B946}"/>
              </c:ext>
            </c:extLst>
          </c:dPt>
          <c:dPt>
            <c:idx val="268"/>
            <c:invertIfNegative val="1"/>
            <c:bubble3D val="0"/>
            <c:spPr>
              <a:solidFill>
                <a:srgbClr val="AEABAB"/>
              </a:solidFill>
            </c:spPr>
            <c:extLst>
              <c:ext xmlns:c16="http://schemas.microsoft.com/office/drawing/2014/chart" uri="{C3380CC4-5D6E-409C-BE32-E72D297353CC}">
                <c16:uniqueId val="{0000021B-435A-4C9B-8B76-95D3D664B946}"/>
              </c:ext>
            </c:extLst>
          </c:dPt>
          <c:dPt>
            <c:idx val="269"/>
            <c:invertIfNegative val="1"/>
            <c:bubble3D val="0"/>
            <c:spPr>
              <a:solidFill>
                <a:srgbClr val="AEABAB"/>
              </a:solidFill>
            </c:spPr>
            <c:extLst>
              <c:ext xmlns:c16="http://schemas.microsoft.com/office/drawing/2014/chart" uri="{C3380CC4-5D6E-409C-BE32-E72D297353CC}">
                <c16:uniqueId val="{0000021D-435A-4C9B-8B76-95D3D664B946}"/>
              </c:ext>
            </c:extLst>
          </c:dPt>
          <c:dPt>
            <c:idx val="270"/>
            <c:invertIfNegative val="1"/>
            <c:bubble3D val="0"/>
            <c:spPr>
              <a:solidFill>
                <a:srgbClr val="AEABAB"/>
              </a:solidFill>
            </c:spPr>
            <c:extLst>
              <c:ext xmlns:c16="http://schemas.microsoft.com/office/drawing/2014/chart" uri="{C3380CC4-5D6E-409C-BE32-E72D297353CC}">
                <c16:uniqueId val="{0000021F-435A-4C9B-8B76-95D3D664B946}"/>
              </c:ext>
            </c:extLst>
          </c:dPt>
          <c:dPt>
            <c:idx val="271"/>
            <c:invertIfNegative val="1"/>
            <c:bubble3D val="0"/>
            <c:spPr>
              <a:solidFill>
                <a:srgbClr val="AEABAB"/>
              </a:solidFill>
            </c:spPr>
            <c:extLst>
              <c:ext xmlns:c16="http://schemas.microsoft.com/office/drawing/2014/chart" uri="{C3380CC4-5D6E-409C-BE32-E72D297353CC}">
                <c16:uniqueId val="{00000221-435A-4C9B-8B76-95D3D664B946}"/>
              </c:ext>
            </c:extLst>
          </c:dPt>
          <c:dPt>
            <c:idx val="272"/>
            <c:invertIfNegative val="1"/>
            <c:bubble3D val="0"/>
            <c:spPr>
              <a:solidFill>
                <a:srgbClr val="AEABAB"/>
              </a:solidFill>
            </c:spPr>
            <c:extLst>
              <c:ext xmlns:c16="http://schemas.microsoft.com/office/drawing/2014/chart" uri="{C3380CC4-5D6E-409C-BE32-E72D297353CC}">
                <c16:uniqueId val="{00000223-435A-4C9B-8B76-95D3D664B946}"/>
              </c:ext>
            </c:extLst>
          </c:dPt>
          <c:dPt>
            <c:idx val="273"/>
            <c:invertIfNegative val="1"/>
            <c:bubble3D val="0"/>
            <c:spPr>
              <a:solidFill>
                <a:srgbClr val="AEABAB"/>
              </a:solidFill>
            </c:spPr>
            <c:extLst>
              <c:ext xmlns:c16="http://schemas.microsoft.com/office/drawing/2014/chart" uri="{C3380CC4-5D6E-409C-BE32-E72D297353CC}">
                <c16:uniqueId val="{00000225-435A-4C9B-8B76-95D3D664B946}"/>
              </c:ext>
            </c:extLst>
          </c:dPt>
          <c:dPt>
            <c:idx val="274"/>
            <c:invertIfNegative val="1"/>
            <c:bubble3D val="0"/>
            <c:spPr>
              <a:solidFill>
                <a:srgbClr val="AEABAB"/>
              </a:solidFill>
            </c:spPr>
            <c:extLst>
              <c:ext xmlns:c16="http://schemas.microsoft.com/office/drawing/2014/chart" uri="{C3380CC4-5D6E-409C-BE32-E72D297353CC}">
                <c16:uniqueId val="{00000227-435A-4C9B-8B76-95D3D664B946}"/>
              </c:ext>
            </c:extLst>
          </c:dPt>
          <c:dPt>
            <c:idx val="275"/>
            <c:invertIfNegative val="1"/>
            <c:bubble3D val="0"/>
            <c:spPr>
              <a:solidFill>
                <a:srgbClr val="AEABAB"/>
              </a:solidFill>
            </c:spPr>
            <c:extLst>
              <c:ext xmlns:c16="http://schemas.microsoft.com/office/drawing/2014/chart" uri="{C3380CC4-5D6E-409C-BE32-E72D297353CC}">
                <c16:uniqueId val="{00000229-435A-4C9B-8B76-95D3D664B946}"/>
              </c:ext>
            </c:extLst>
          </c:dPt>
          <c:dPt>
            <c:idx val="276"/>
            <c:invertIfNegative val="1"/>
            <c:bubble3D val="0"/>
            <c:spPr>
              <a:solidFill>
                <a:srgbClr val="AEABAB"/>
              </a:solidFill>
            </c:spPr>
            <c:extLst>
              <c:ext xmlns:c16="http://schemas.microsoft.com/office/drawing/2014/chart" uri="{C3380CC4-5D6E-409C-BE32-E72D297353CC}">
                <c16:uniqueId val="{0000022B-435A-4C9B-8B76-95D3D664B946}"/>
              </c:ext>
            </c:extLst>
          </c:dPt>
          <c:dPt>
            <c:idx val="277"/>
            <c:invertIfNegative val="1"/>
            <c:bubble3D val="0"/>
            <c:spPr>
              <a:solidFill>
                <a:srgbClr val="AEABAB"/>
              </a:solidFill>
            </c:spPr>
            <c:extLst>
              <c:ext xmlns:c16="http://schemas.microsoft.com/office/drawing/2014/chart" uri="{C3380CC4-5D6E-409C-BE32-E72D297353CC}">
                <c16:uniqueId val="{0000022D-435A-4C9B-8B76-95D3D664B946}"/>
              </c:ext>
            </c:extLst>
          </c:dPt>
          <c:dPt>
            <c:idx val="278"/>
            <c:invertIfNegative val="1"/>
            <c:bubble3D val="0"/>
            <c:spPr>
              <a:solidFill>
                <a:srgbClr val="AEABAB"/>
              </a:solidFill>
            </c:spPr>
            <c:extLst>
              <c:ext xmlns:c16="http://schemas.microsoft.com/office/drawing/2014/chart" uri="{C3380CC4-5D6E-409C-BE32-E72D297353CC}">
                <c16:uniqueId val="{0000022F-435A-4C9B-8B76-95D3D664B946}"/>
              </c:ext>
            </c:extLst>
          </c:dPt>
          <c:dPt>
            <c:idx val="279"/>
            <c:invertIfNegative val="1"/>
            <c:bubble3D val="0"/>
            <c:spPr>
              <a:solidFill>
                <a:srgbClr val="AEABAB"/>
              </a:solidFill>
            </c:spPr>
            <c:extLst>
              <c:ext xmlns:c16="http://schemas.microsoft.com/office/drawing/2014/chart" uri="{C3380CC4-5D6E-409C-BE32-E72D297353CC}">
                <c16:uniqueId val="{00000231-435A-4C9B-8B76-95D3D664B946}"/>
              </c:ext>
            </c:extLst>
          </c:dPt>
          <c:dPt>
            <c:idx val="280"/>
            <c:invertIfNegative val="1"/>
            <c:bubble3D val="0"/>
            <c:spPr>
              <a:solidFill>
                <a:srgbClr val="AEABAB"/>
              </a:solidFill>
            </c:spPr>
            <c:extLst>
              <c:ext xmlns:c16="http://schemas.microsoft.com/office/drawing/2014/chart" uri="{C3380CC4-5D6E-409C-BE32-E72D297353CC}">
                <c16:uniqueId val="{00000233-435A-4C9B-8B76-95D3D664B946}"/>
              </c:ext>
            </c:extLst>
          </c:dPt>
          <c:dPt>
            <c:idx val="281"/>
            <c:invertIfNegative val="1"/>
            <c:bubble3D val="0"/>
            <c:spPr>
              <a:solidFill>
                <a:srgbClr val="AEABAB"/>
              </a:solidFill>
            </c:spPr>
            <c:extLst>
              <c:ext xmlns:c16="http://schemas.microsoft.com/office/drawing/2014/chart" uri="{C3380CC4-5D6E-409C-BE32-E72D297353CC}">
                <c16:uniqueId val="{00000235-435A-4C9B-8B76-95D3D664B946}"/>
              </c:ext>
            </c:extLst>
          </c:dPt>
          <c:dPt>
            <c:idx val="282"/>
            <c:invertIfNegative val="1"/>
            <c:bubble3D val="0"/>
            <c:spPr>
              <a:solidFill>
                <a:srgbClr val="AEABAB"/>
              </a:solidFill>
            </c:spPr>
            <c:extLst>
              <c:ext xmlns:c16="http://schemas.microsoft.com/office/drawing/2014/chart" uri="{C3380CC4-5D6E-409C-BE32-E72D297353CC}">
                <c16:uniqueId val="{00000237-435A-4C9B-8B76-95D3D664B946}"/>
              </c:ext>
            </c:extLst>
          </c:dPt>
          <c:dPt>
            <c:idx val="283"/>
            <c:invertIfNegative val="1"/>
            <c:bubble3D val="0"/>
            <c:spPr>
              <a:solidFill>
                <a:srgbClr val="AEABAB"/>
              </a:solidFill>
            </c:spPr>
            <c:extLst>
              <c:ext xmlns:c16="http://schemas.microsoft.com/office/drawing/2014/chart" uri="{C3380CC4-5D6E-409C-BE32-E72D297353CC}">
                <c16:uniqueId val="{00000239-435A-4C9B-8B76-95D3D664B946}"/>
              </c:ext>
            </c:extLst>
          </c:dPt>
          <c:dPt>
            <c:idx val="284"/>
            <c:invertIfNegative val="1"/>
            <c:bubble3D val="0"/>
            <c:spPr>
              <a:solidFill>
                <a:srgbClr val="AEABAB"/>
              </a:solidFill>
            </c:spPr>
            <c:extLst>
              <c:ext xmlns:c16="http://schemas.microsoft.com/office/drawing/2014/chart" uri="{C3380CC4-5D6E-409C-BE32-E72D297353CC}">
                <c16:uniqueId val="{0000023B-435A-4C9B-8B76-95D3D664B946}"/>
              </c:ext>
            </c:extLst>
          </c:dPt>
          <c:dPt>
            <c:idx val="285"/>
            <c:invertIfNegative val="1"/>
            <c:bubble3D val="0"/>
            <c:spPr>
              <a:solidFill>
                <a:srgbClr val="AEABAB"/>
              </a:solidFill>
            </c:spPr>
            <c:extLst>
              <c:ext xmlns:c16="http://schemas.microsoft.com/office/drawing/2014/chart" uri="{C3380CC4-5D6E-409C-BE32-E72D297353CC}">
                <c16:uniqueId val="{0000023D-435A-4C9B-8B76-95D3D664B946}"/>
              </c:ext>
            </c:extLst>
          </c:dPt>
          <c:dPt>
            <c:idx val="286"/>
            <c:invertIfNegative val="1"/>
            <c:bubble3D val="0"/>
            <c:spPr>
              <a:solidFill>
                <a:srgbClr val="AEABAB"/>
              </a:solidFill>
            </c:spPr>
            <c:extLst>
              <c:ext xmlns:c16="http://schemas.microsoft.com/office/drawing/2014/chart" uri="{C3380CC4-5D6E-409C-BE32-E72D297353CC}">
                <c16:uniqueId val="{0000023F-435A-4C9B-8B76-95D3D664B946}"/>
              </c:ext>
            </c:extLst>
          </c:dPt>
          <c:dPt>
            <c:idx val="287"/>
            <c:invertIfNegative val="1"/>
            <c:bubble3D val="0"/>
            <c:spPr>
              <a:solidFill>
                <a:srgbClr val="AEABAB"/>
              </a:solidFill>
            </c:spPr>
            <c:extLst>
              <c:ext xmlns:c16="http://schemas.microsoft.com/office/drawing/2014/chart" uri="{C3380CC4-5D6E-409C-BE32-E72D297353CC}">
                <c16:uniqueId val="{00000241-435A-4C9B-8B76-95D3D664B946}"/>
              </c:ext>
            </c:extLst>
          </c:dPt>
          <c:dPt>
            <c:idx val="288"/>
            <c:invertIfNegative val="1"/>
            <c:bubble3D val="0"/>
            <c:spPr>
              <a:solidFill>
                <a:srgbClr val="AEABAB"/>
              </a:solidFill>
            </c:spPr>
            <c:extLst>
              <c:ext xmlns:c16="http://schemas.microsoft.com/office/drawing/2014/chart" uri="{C3380CC4-5D6E-409C-BE32-E72D297353CC}">
                <c16:uniqueId val="{00000243-435A-4C9B-8B76-95D3D664B946}"/>
              </c:ext>
            </c:extLst>
          </c:dPt>
          <c:dPt>
            <c:idx val="289"/>
            <c:invertIfNegative val="1"/>
            <c:bubble3D val="0"/>
            <c:spPr>
              <a:solidFill>
                <a:srgbClr val="AEABAB"/>
              </a:solidFill>
            </c:spPr>
            <c:extLst>
              <c:ext xmlns:c16="http://schemas.microsoft.com/office/drawing/2014/chart" uri="{C3380CC4-5D6E-409C-BE32-E72D297353CC}">
                <c16:uniqueId val="{00000245-435A-4C9B-8B76-95D3D664B946}"/>
              </c:ext>
            </c:extLst>
          </c:dPt>
          <c:dPt>
            <c:idx val="290"/>
            <c:invertIfNegative val="1"/>
            <c:bubble3D val="0"/>
            <c:spPr>
              <a:solidFill>
                <a:srgbClr val="AEABAB"/>
              </a:solidFill>
            </c:spPr>
            <c:extLst>
              <c:ext xmlns:c16="http://schemas.microsoft.com/office/drawing/2014/chart" uri="{C3380CC4-5D6E-409C-BE32-E72D297353CC}">
                <c16:uniqueId val="{00000247-435A-4C9B-8B76-95D3D664B946}"/>
              </c:ext>
            </c:extLst>
          </c:dPt>
          <c:dPt>
            <c:idx val="291"/>
            <c:invertIfNegative val="1"/>
            <c:bubble3D val="0"/>
            <c:spPr>
              <a:solidFill>
                <a:srgbClr val="AEABAB"/>
              </a:solidFill>
            </c:spPr>
            <c:extLst>
              <c:ext xmlns:c16="http://schemas.microsoft.com/office/drawing/2014/chart" uri="{C3380CC4-5D6E-409C-BE32-E72D297353CC}">
                <c16:uniqueId val="{00000249-435A-4C9B-8B76-95D3D664B946}"/>
              </c:ext>
            </c:extLst>
          </c:dPt>
          <c:dPt>
            <c:idx val="292"/>
            <c:invertIfNegative val="1"/>
            <c:bubble3D val="0"/>
            <c:spPr>
              <a:solidFill>
                <a:srgbClr val="AEABAB"/>
              </a:solidFill>
            </c:spPr>
            <c:extLst>
              <c:ext xmlns:c16="http://schemas.microsoft.com/office/drawing/2014/chart" uri="{C3380CC4-5D6E-409C-BE32-E72D297353CC}">
                <c16:uniqueId val="{0000024B-435A-4C9B-8B76-95D3D664B946}"/>
              </c:ext>
            </c:extLst>
          </c:dPt>
          <c:dPt>
            <c:idx val="293"/>
            <c:invertIfNegative val="1"/>
            <c:bubble3D val="0"/>
            <c:spPr>
              <a:solidFill>
                <a:srgbClr val="AEABAB"/>
              </a:solidFill>
            </c:spPr>
            <c:extLst>
              <c:ext xmlns:c16="http://schemas.microsoft.com/office/drawing/2014/chart" uri="{C3380CC4-5D6E-409C-BE32-E72D297353CC}">
                <c16:uniqueId val="{0000024D-435A-4C9B-8B76-95D3D664B946}"/>
              </c:ext>
            </c:extLst>
          </c:dPt>
          <c:dPt>
            <c:idx val="294"/>
            <c:invertIfNegative val="1"/>
            <c:bubble3D val="0"/>
            <c:spPr>
              <a:solidFill>
                <a:srgbClr val="AEABAB"/>
              </a:solidFill>
            </c:spPr>
            <c:extLst>
              <c:ext xmlns:c16="http://schemas.microsoft.com/office/drawing/2014/chart" uri="{C3380CC4-5D6E-409C-BE32-E72D297353CC}">
                <c16:uniqueId val="{0000024F-435A-4C9B-8B76-95D3D664B946}"/>
              </c:ext>
            </c:extLst>
          </c:dPt>
          <c:dPt>
            <c:idx val="295"/>
            <c:invertIfNegative val="1"/>
            <c:bubble3D val="0"/>
            <c:spPr>
              <a:solidFill>
                <a:srgbClr val="AEABAB"/>
              </a:solidFill>
            </c:spPr>
            <c:extLst>
              <c:ext xmlns:c16="http://schemas.microsoft.com/office/drawing/2014/chart" uri="{C3380CC4-5D6E-409C-BE32-E72D297353CC}">
                <c16:uniqueId val="{00000251-435A-4C9B-8B76-95D3D664B946}"/>
              </c:ext>
            </c:extLst>
          </c:dPt>
          <c:dPt>
            <c:idx val="296"/>
            <c:invertIfNegative val="1"/>
            <c:bubble3D val="0"/>
            <c:spPr>
              <a:solidFill>
                <a:srgbClr val="AEABAB"/>
              </a:solidFill>
            </c:spPr>
            <c:extLst>
              <c:ext xmlns:c16="http://schemas.microsoft.com/office/drawing/2014/chart" uri="{C3380CC4-5D6E-409C-BE32-E72D297353CC}">
                <c16:uniqueId val="{00000253-435A-4C9B-8B76-95D3D664B946}"/>
              </c:ext>
            </c:extLst>
          </c:dPt>
          <c:dPt>
            <c:idx val="297"/>
            <c:invertIfNegative val="1"/>
            <c:bubble3D val="0"/>
            <c:spPr>
              <a:solidFill>
                <a:srgbClr val="AEABAB"/>
              </a:solidFill>
            </c:spPr>
            <c:extLst>
              <c:ext xmlns:c16="http://schemas.microsoft.com/office/drawing/2014/chart" uri="{C3380CC4-5D6E-409C-BE32-E72D297353CC}">
                <c16:uniqueId val="{00000255-435A-4C9B-8B76-95D3D664B946}"/>
              </c:ext>
            </c:extLst>
          </c:dPt>
          <c:dPt>
            <c:idx val="298"/>
            <c:invertIfNegative val="1"/>
            <c:bubble3D val="0"/>
            <c:spPr>
              <a:solidFill>
                <a:srgbClr val="AEABAB"/>
              </a:solidFill>
            </c:spPr>
            <c:extLst>
              <c:ext xmlns:c16="http://schemas.microsoft.com/office/drawing/2014/chart" uri="{C3380CC4-5D6E-409C-BE32-E72D297353CC}">
                <c16:uniqueId val="{00000257-435A-4C9B-8B76-95D3D664B946}"/>
              </c:ext>
            </c:extLst>
          </c:dPt>
          <c:dPt>
            <c:idx val="299"/>
            <c:invertIfNegative val="1"/>
            <c:bubble3D val="0"/>
            <c:spPr>
              <a:solidFill>
                <a:srgbClr val="AEABAB"/>
              </a:solidFill>
            </c:spPr>
            <c:extLst>
              <c:ext xmlns:c16="http://schemas.microsoft.com/office/drawing/2014/chart" uri="{C3380CC4-5D6E-409C-BE32-E72D297353CC}">
                <c16:uniqueId val="{00000259-435A-4C9B-8B76-95D3D664B946}"/>
              </c:ext>
            </c:extLst>
          </c:dPt>
          <c:dPt>
            <c:idx val="300"/>
            <c:invertIfNegative val="1"/>
            <c:bubble3D val="0"/>
            <c:spPr>
              <a:solidFill>
                <a:srgbClr val="AEABAB"/>
              </a:solidFill>
            </c:spPr>
            <c:extLst>
              <c:ext xmlns:c16="http://schemas.microsoft.com/office/drawing/2014/chart" uri="{C3380CC4-5D6E-409C-BE32-E72D297353CC}">
                <c16:uniqueId val="{0000025B-435A-4C9B-8B76-95D3D664B946}"/>
              </c:ext>
            </c:extLst>
          </c:dPt>
          <c:dPt>
            <c:idx val="301"/>
            <c:invertIfNegative val="1"/>
            <c:bubble3D val="0"/>
            <c:spPr>
              <a:solidFill>
                <a:srgbClr val="AEABAB"/>
              </a:solidFill>
            </c:spPr>
            <c:extLst>
              <c:ext xmlns:c16="http://schemas.microsoft.com/office/drawing/2014/chart" uri="{C3380CC4-5D6E-409C-BE32-E72D297353CC}">
                <c16:uniqueId val="{0000025D-435A-4C9B-8B76-95D3D664B946}"/>
              </c:ext>
            </c:extLst>
          </c:dPt>
          <c:dPt>
            <c:idx val="302"/>
            <c:invertIfNegative val="1"/>
            <c:bubble3D val="0"/>
            <c:spPr>
              <a:solidFill>
                <a:srgbClr val="AEABAB"/>
              </a:solidFill>
            </c:spPr>
            <c:extLst>
              <c:ext xmlns:c16="http://schemas.microsoft.com/office/drawing/2014/chart" uri="{C3380CC4-5D6E-409C-BE32-E72D297353CC}">
                <c16:uniqueId val="{0000025F-435A-4C9B-8B76-95D3D664B946}"/>
              </c:ext>
            </c:extLst>
          </c:dPt>
          <c:dPt>
            <c:idx val="303"/>
            <c:invertIfNegative val="1"/>
            <c:bubble3D val="0"/>
            <c:spPr>
              <a:solidFill>
                <a:srgbClr val="AEABAB"/>
              </a:solidFill>
            </c:spPr>
            <c:extLst>
              <c:ext xmlns:c16="http://schemas.microsoft.com/office/drawing/2014/chart" uri="{C3380CC4-5D6E-409C-BE32-E72D297353CC}">
                <c16:uniqueId val="{00000261-435A-4C9B-8B76-95D3D664B946}"/>
              </c:ext>
            </c:extLst>
          </c:dPt>
          <c:dPt>
            <c:idx val="304"/>
            <c:invertIfNegative val="1"/>
            <c:bubble3D val="0"/>
            <c:spPr>
              <a:solidFill>
                <a:srgbClr val="AEABAB"/>
              </a:solidFill>
            </c:spPr>
            <c:extLst>
              <c:ext xmlns:c16="http://schemas.microsoft.com/office/drawing/2014/chart" uri="{C3380CC4-5D6E-409C-BE32-E72D297353CC}">
                <c16:uniqueId val="{00000263-435A-4C9B-8B76-95D3D664B946}"/>
              </c:ext>
            </c:extLst>
          </c:dPt>
          <c:dPt>
            <c:idx val="305"/>
            <c:invertIfNegative val="1"/>
            <c:bubble3D val="0"/>
            <c:spPr>
              <a:solidFill>
                <a:srgbClr val="AEABAB"/>
              </a:solidFill>
            </c:spPr>
            <c:extLst>
              <c:ext xmlns:c16="http://schemas.microsoft.com/office/drawing/2014/chart" uri="{C3380CC4-5D6E-409C-BE32-E72D297353CC}">
                <c16:uniqueId val="{00000265-435A-4C9B-8B76-95D3D664B946}"/>
              </c:ext>
            </c:extLst>
          </c:dPt>
          <c:dPt>
            <c:idx val="306"/>
            <c:invertIfNegative val="1"/>
            <c:bubble3D val="0"/>
            <c:spPr>
              <a:solidFill>
                <a:srgbClr val="AEABAB"/>
              </a:solidFill>
            </c:spPr>
            <c:extLst>
              <c:ext xmlns:c16="http://schemas.microsoft.com/office/drawing/2014/chart" uri="{C3380CC4-5D6E-409C-BE32-E72D297353CC}">
                <c16:uniqueId val="{00000267-435A-4C9B-8B76-95D3D664B946}"/>
              </c:ext>
            </c:extLst>
          </c:dPt>
          <c:dPt>
            <c:idx val="307"/>
            <c:invertIfNegative val="1"/>
            <c:bubble3D val="0"/>
            <c:spPr>
              <a:solidFill>
                <a:srgbClr val="AEABAB"/>
              </a:solidFill>
            </c:spPr>
            <c:extLst>
              <c:ext xmlns:c16="http://schemas.microsoft.com/office/drawing/2014/chart" uri="{C3380CC4-5D6E-409C-BE32-E72D297353CC}">
                <c16:uniqueId val="{00000269-435A-4C9B-8B76-95D3D664B946}"/>
              </c:ext>
            </c:extLst>
          </c:dPt>
          <c:dPt>
            <c:idx val="308"/>
            <c:invertIfNegative val="1"/>
            <c:bubble3D val="0"/>
            <c:spPr>
              <a:solidFill>
                <a:srgbClr val="AEABAB"/>
              </a:solidFill>
            </c:spPr>
            <c:extLst>
              <c:ext xmlns:c16="http://schemas.microsoft.com/office/drawing/2014/chart" uri="{C3380CC4-5D6E-409C-BE32-E72D297353CC}">
                <c16:uniqueId val="{0000026B-435A-4C9B-8B76-95D3D664B946}"/>
              </c:ext>
            </c:extLst>
          </c:dPt>
          <c:dPt>
            <c:idx val="309"/>
            <c:invertIfNegative val="1"/>
            <c:bubble3D val="0"/>
            <c:spPr>
              <a:solidFill>
                <a:srgbClr val="AEABAB"/>
              </a:solidFill>
            </c:spPr>
            <c:extLst>
              <c:ext xmlns:c16="http://schemas.microsoft.com/office/drawing/2014/chart" uri="{C3380CC4-5D6E-409C-BE32-E72D297353CC}">
                <c16:uniqueId val="{0000026D-435A-4C9B-8B76-95D3D664B946}"/>
              </c:ext>
            </c:extLst>
          </c:dPt>
          <c:dPt>
            <c:idx val="310"/>
            <c:invertIfNegative val="1"/>
            <c:bubble3D val="0"/>
            <c:spPr>
              <a:solidFill>
                <a:srgbClr val="AEABAB"/>
              </a:solidFill>
            </c:spPr>
            <c:extLst>
              <c:ext xmlns:c16="http://schemas.microsoft.com/office/drawing/2014/chart" uri="{C3380CC4-5D6E-409C-BE32-E72D297353CC}">
                <c16:uniqueId val="{0000026F-435A-4C9B-8B76-95D3D664B946}"/>
              </c:ext>
            </c:extLst>
          </c:dPt>
          <c:dPt>
            <c:idx val="311"/>
            <c:invertIfNegative val="1"/>
            <c:bubble3D val="0"/>
            <c:spPr>
              <a:solidFill>
                <a:srgbClr val="AEABAB"/>
              </a:solidFill>
            </c:spPr>
            <c:extLst>
              <c:ext xmlns:c16="http://schemas.microsoft.com/office/drawing/2014/chart" uri="{C3380CC4-5D6E-409C-BE32-E72D297353CC}">
                <c16:uniqueId val="{00000271-435A-4C9B-8B76-95D3D664B946}"/>
              </c:ext>
            </c:extLst>
          </c:dPt>
          <c:dPt>
            <c:idx val="312"/>
            <c:invertIfNegative val="1"/>
            <c:bubble3D val="0"/>
            <c:spPr>
              <a:solidFill>
                <a:srgbClr val="AEABAB"/>
              </a:solidFill>
            </c:spPr>
            <c:extLst>
              <c:ext xmlns:c16="http://schemas.microsoft.com/office/drawing/2014/chart" uri="{C3380CC4-5D6E-409C-BE32-E72D297353CC}">
                <c16:uniqueId val="{00000273-435A-4C9B-8B76-95D3D664B946}"/>
              </c:ext>
            </c:extLst>
          </c:dPt>
          <c:dPt>
            <c:idx val="313"/>
            <c:invertIfNegative val="1"/>
            <c:bubble3D val="0"/>
            <c:spPr>
              <a:solidFill>
                <a:srgbClr val="AEABAB"/>
              </a:solidFill>
            </c:spPr>
            <c:extLst>
              <c:ext xmlns:c16="http://schemas.microsoft.com/office/drawing/2014/chart" uri="{C3380CC4-5D6E-409C-BE32-E72D297353CC}">
                <c16:uniqueId val="{00000275-435A-4C9B-8B76-95D3D664B946}"/>
              </c:ext>
            </c:extLst>
          </c:dPt>
          <c:dPt>
            <c:idx val="314"/>
            <c:invertIfNegative val="1"/>
            <c:bubble3D val="0"/>
            <c:spPr>
              <a:solidFill>
                <a:srgbClr val="AEABAB"/>
              </a:solidFill>
            </c:spPr>
            <c:extLst>
              <c:ext xmlns:c16="http://schemas.microsoft.com/office/drawing/2014/chart" uri="{C3380CC4-5D6E-409C-BE32-E72D297353CC}">
                <c16:uniqueId val="{00000277-435A-4C9B-8B76-95D3D664B946}"/>
              </c:ext>
            </c:extLst>
          </c:dPt>
          <c:dPt>
            <c:idx val="315"/>
            <c:invertIfNegative val="1"/>
            <c:bubble3D val="0"/>
            <c:spPr>
              <a:solidFill>
                <a:srgbClr val="AEABAB"/>
              </a:solidFill>
            </c:spPr>
            <c:extLst>
              <c:ext xmlns:c16="http://schemas.microsoft.com/office/drawing/2014/chart" uri="{C3380CC4-5D6E-409C-BE32-E72D297353CC}">
                <c16:uniqueId val="{00000279-435A-4C9B-8B76-95D3D664B946}"/>
              </c:ext>
            </c:extLst>
          </c:dPt>
          <c:dPt>
            <c:idx val="316"/>
            <c:invertIfNegative val="1"/>
            <c:bubble3D val="0"/>
            <c:spPr>
              <a:solidFill>
                <a:srgbClr val="AEABAB"/>
              </a:solidFill>
            </c:spPr>
            <c:extLst>
              <c:ext xmlns:c16="http://schemas.microsoft.com/office/drawing/2014/chart" uri="{C3380CC4-5D6E-409C-BE32-E72D297353CC}">
                <c16:uniqueId val="{0000027B-435A-4C9B-8B76-95D3D664B946}"/>
              </c:ext>
            </c:extLst>
          </c:dPt>
          <c:dPt>
            <c:idx val="317"/>
            <c:invertIfNegative val="1"/>
            <c:bubble3D val="0"/>
            <c:spPr>
              <a:solidFill>
                <a:srgbClr val="AEABAB"/>
              </a:solidFill>
            </c:spPr>
            <c:extLst>
              <c:ext xmlns:c16="http://schemas.microsoft.com/office/drawing/2014/chart" uri="{C3380CC4-5D6E-409C-BE32-E72D297353CC}">
                <c16:uniqueId val="{0000027D-435A-4C9B-8B76-95D3D664B946}"/>
              </c:ext>
            </c:extLst>
          </c:dPt>
          <c:dPt>
            <c:idx val="318"/>
            <c:invertIfNegative val="1"/>
            <c:bubble3D val="0"/>
            <c:spPr>
              <a:solidFill>
                <a:srgbClr val="AEABAB"/>
              </a:solidFill>
            </c:spPr>
            <c:extLst>
              <c:ext xmlns:c16="http://schemas.microsoft.com/office/drawing/2014/chart" uri="{C3380CC4-5D6E-409C-BE32-E72D297353CC}">
                <c16:uniqueId val="{0000027F-435A-4C9B-8B76-95D3D664B946}"/>
              </c:ext>
            </c:extLst>
          </c:dPt>
          <c:dPt>
            <c:idx val="319"/>
            <c:invertIfNegative val="1"/>
            <c:bubble3D val="0"/>
            <c:spPr>
              <a:solidFill>
                <a:srgbClr val="AEABAB"/>
              </a:solidFill>
            </c:spPr>
            <c:extLst>
              <c:ext xmlns:c16="http://schemas.microsoft.com/office/drawing/2014/chart" uri="{C3380CC4-5D6E-409C-BE32-E72D297353CC}">
                <c16:uniqueId val="{00000281-435A-4C9B-8B76-95D3D664B946}"/>
              </c:ext>
            </c:extLst>
          </c:dPt>
          <c:dPt>
            <c:idx val="320"/>
            <c:invertIfNegative val="1"/>
            <c:bubble3D val="0"/>
            <c:spPr>
              <a:solidFill>
                <a:srgbClr val="AEABAB"/>
              </a:solidFill>
            </c:spPr>
            <c:extLst>
              <c:ext xmlns:c16="http://schemas.microsoft.com/office/drawing/2014/chart" uri="{C3380CC4-5D6E-409C-BE32-E72D297353CC}">
                <c16:uniqueId val="{00000283-435A-4C9B-8B76-95D3D664B946}"/>
              </c:ext>
            </c:extLst>
          </c:dPt>
          <c:dPt>
            <c:idx val="321"/>
            <c:invertIfNegative val="1"/>
            <c:bubble3D val="0"/>
            <c:spPr>
              <a:solidFill>
                <a:srgbClr val="AEABAB"/>
              </a:solidFill>
            </c:spPr>
            <c:extLst>
              <c:ext xmlns:c16="http://schemas.microsoft.com/office/drawing/2014/chart" uri="{C3380CC4-5D6E-409C-BE32-E72D297353CC}">
                <c16:uniqueId val="{00000285-435A-4C9B-8B76-95D3D664B946}"/>
              </c:ext>
            </c:extLst>
          </c:dPt>
          <c:dPt>
            <c:idx val="322"/>
            <c:invertIfNegative val="1"/>
            <c:bubble3D val="0"/>
            <c:spPr>
              <a:solidFill>
                <a:srgbClr val="AEABAB"/>
              </a:solidFill>
            </c:spPr>
            <c:extLst>
              <c:ext xmlns:c16="http://schemas.microsoft.com/office/drawing/2014/chart" uri="{C3380CC4-5D6E-409C-BE32-E72D297353CC}">
                <c16:uniqueId val="{00000287-435A-4C9B-8B76-95D3D664B946}"/>
              </c:ext>
            </c:extLst>
          </c:dPt>
          <c:dPt>
            <c:idx val="323"/>
            <c:invertIfNegative val="1"/>
            <c:bubble3D val="0"/>
            <c:spPr>
              <a:solidFill>
                <a:srgbClr val="AEABAB"/>
              </a:solidFill>
            </c:spPr>
            <c:extLst>
              <c:ext xmlns:c16="http://schemas.microsoft.com/office/drawing/2014/chart" uri="{C3380CC4-5D6E-409C-BE32-E72D297353CC}">
                <c16:uniqueId val="{00000289-435A-4C9B-8B76-95D3D664B946}"/>
              </c:ext>
            </c:extLst>
          </c:dPt>
          <c:dPt>
            <c:idx val="324"/>
            <c:invertIfNegative val="1"/>
            <c:bubble3D val="0"/>
            <c:spPr>
              <a:solidFill>
                <a:srgbClr val="AEABAB"/>
              </a:solidFill>
            </c:spPr>
            <c:extLst>
              <c:ext xmlns:c16="http://schemas.microsoft.com/office/drawing/2014/chart" uri="{C3380CC4-5D6E-409C-BE32-E72D297353CC}">
                <c16:uniqueId val="{0000028B-435A-4C9B-8B76-95D3D664B946}"/>
              </c:ext>
            </c:extLst>
          </c:dPt>
          <c:dPt>
            <c:idx val="325"/>
            <c:invertIfNegative val="1"/>
            <c:bubble3D val="0"/>
            <c:spPr>
              <a:solidFill>
                <a:srgbClr val="AEABAB"/>
              </a:solidFill>
            </c:spPr>
            <c:extLst>
              <c:ext xmlns:c16="http://schemas.microsoft.com/office/drawing/2014/chart" uri="{C3380CC4-5D6E-409C-BE32-E72D297353CC}">
                <c16:uniqueId val="{0000028D-435A-4C9B-8B76-95D3D664B946}"/>
              </c:ext>
            </c:extLst>
          </c:dPt>
          <c:dPt>
            <c:idx val="326"/>
            <c:invertIfNegative val="1"/>
            <c:bubble3D val="0"/>
            <c:spPr>
              <a:solidFill>
                <a:srgbClr val="AEABAB"/>
              </a:solidFill>
            </c:spPr>
            <c:extLst>
              <c:ext xmlns:c16="http://schemas.microsoft.com/office/drawing/2014/chart" uri="{C3380CC4-5D6E-409C-BE32-E72D297353CC}">
                <c16:uniqueId val="{0000028F-435A-4C9B-8B76-95D3D664B946}"/>
              </c:ext>
            </c:extLst>
          </c:dPt>
          <c:dPt>
            <c:idx val="327"/>
            <c:invertIfNegative val="1"/>
            <c:bubble3D val="0"/>
            <c:spPr>
              <a:solidFill>
                <a:srgbClr val="AEABAB"/>
              </a:solidFill>
            </c:spPr>
            <c:extLst>
              <c:ext xmlns:c16="http://schemas.microsoft.com/office/drawing/2014/chart" uri="{C3380CC4-5D6E-409C-BE32-E72D297353CC}">
                <c16:uniqueId val="{00000291-435A-4C9B-8B76-95D3D664B946}"/>
              </c:ext>
            </c:extLst>
          </c:dPt>
          <c:dPt>
            <c:idx val="328"/>
            <c:invertIfNegative val="1"/>
            <c:bubble3D val="0"/>
            <c:spPr>
              <a:solidFill>
                <a:srgbClr val="AEABAB"/>
              </a:solidFill>
            </c:spPr>
            <c:extLst>
              <c:ext xmlns:c16="http://schemas.microsoft.com/office/drawing/2014/chart" uri="{C3380CC4-5D6E-409C-BE32-E72D297353CC}">
                <c16:uniqueId val="{00000293-435A-4C9B-8B76-95D3D664B946}"/>
              </c:ext>
            </c:extLst>
          </c:dPt>
          <c:dPt>
            <c:idx val="329"/>
            <c:invertIfNegative val="1"/>
            <c:bubble3D val="0"/>
            <c:spPr>
              <a:solidFill>
                <a:srgbClr val="AEABAB"/>
              </a:solidFill>
            </c:spPr>
            <c:extLst>
              <c:ext xmlns:c16="http://schemas.microsoft.com/office/drawing/2014/chart" uri="{C3380CC4-5D6E-409C-BE32-E72D297353CC}">
                <c16:uniqueId val="{00000295-435A-4C9B-8B76-95D3D664B946}"/>
              </c:ext>
            </c:extLst>
          </c:dPt>
          <c:dPt>
            <c:idx val="330"/>
            <c:invertIfNegative val="1"/>
            <c:bubble3D val="0"/>
            <c:spPr>
              <a:solidFill>
                <a:srgbClr val="AEABAB"/>
              </a:solidFill>
            </c:spPr>
            <c:extLst>
              <c:ext xmlns:c16="http://schemas.microsoft.com/office/drawing/2014/chart" uri="{C3380CC4-5D6E-409C-BE32-E72D297353CC}">
                <c16:uniqueId val="{00000297-435A-4C9B-8B76-95D3D664B946}"/>
              </c:ext>
            </c:extLst>
          </c:dPt>
          <c:dPt>
            <c:idx val="331"/>
            <c:invertIfNegative val="1"/>
            <c:bubble3D val="0"/>
            <c:spPr>
              <a:solidFill>
                <a:srgbClr val="AEABAB"/>
              </a:solidFill>
            </c:spPr>
            <c:extLst>
              <c:ext xmlns:c16="http://schemas.microsoft.com/office/drawing/2014/chart" uri="{C3380CC4-5D6E-409C-BE32-E72D297353CC}">
                <c16:uniqueId val="{00000299-435A-4C9B-8B76-95D3D664B946}"/>
              </c:ext>
            </c:extLst>
          </c:dPt>
          <c:dPt>
            <c:idx val="332"/>
            <c:invertIfNegative val="1"/>
            <c:bubble3D val="0"/>
            <c:spPr>
              <a:solidFill>
                <a:srgbClr val="AEABAB"/>
              </a:solidFill>
            </c:spPr>
            <c:extLst>
              <c:ext xmlns:c16="http://schemas.microsoft.com/office/drawing/2014/chart" uri="{C3380CC4-5D6E-409C-BE32-E72D297353CC}">
                <c16:uniqueId val="{0000029B-435A-4C9B-8B76-95D3D664B946}"/>
              </c:ext>
            </c:extLst>
          </c:dPt>
          <c:dPt>
            <c:idx val="333"/>
            <c:invertIfNegative val="1"/>
            <c:bubble3D val="0"/>
            <c:spPr>
              <a:solidFill>
                <a:srgbClr val="AEABAB"/>
              </a:solidFill>
            </c:spPr>
            <c:extLst>
              <c:ext xmlns:c16="http://schemas.microsoft.com/office/drawing/2014/chart" uri="{C3380CC4-5D6E-409C-BE32-E72D297353CC}">
                <c16:uniqueId val="{0000029D-435A-4C9B-8B76-95D3D664B946}"/>
              </c:ext>
            </c:extLst>
          </c:dPt>
          <c:dPt>
            <c:idx val="334"/>
            <c:invertIfNegative val="1"/>
            <c:bubble3D val="0"/>
            <c:spPr>
              <a:solidFill>
                <a:srgbClr val="AEABAB"/>
              </a:solidFill>
            </c:spPr>
            <c:extLst>
              <c:ext xmlns:c16="http://schemas.microsoft.com/office/drawing/2014/chart" uri="{C3380CC4-5D6E-409C-BE32-E72D297353CC}">
                <c16:uniqueId val="{0000029F-435A-4C9B-8B76-95D3D664B946}"/>
              </c:ext>
            </c:extLst>
          </c:dPt>
          <c:dPt>
            <c:idx val="335"/>
            <c:invertIfNegative val="1"/>
            <c:bubble3D val="0"/>
            <c:spPr>
              <a:solidFill>
                <a:srgbClr val="AEABAB"/>
              </a:solidFill>
            </c:spPr>
            <c:extLst>
              <c:ext xmlns:c16="http://schemas.microsoft.com/office/drawing/2014/chart" uri="{C3380CC4-5D6E-409C-BE32-E72D297353CC}">
                <c16:uniqueId val="{000002A1-435A-4C9B-8B76-95D3D664B946}"/>
              </c:ext>
            </c:extLst>
          </c:dPt>
          <c:dPt>
            <c:idx val="336"/>
            <c:invertIfNegative val="1"/>
            <c:bubble3D val="0"/>
            <c:spPr>
              <a:solidFill>
                <a:srgbClr val="AEABAB"/>
              </a:solidFill>
            </c:spPr>
            <c:extLst>
              <c:ext xmlns:c16="http://schemas.microsoft.com/office/drawing/2014/chart" uri="{C3380CC4-5D6E-409C-BE32-E72D297353CC}">
                <c16:uniqueId val="{000002A3-435A-4C9B-8B76-95D3D664B946}"/>
              </c:ext>
            </c:extLst>
          </c:dPt>
          <c:dPt>
            <c:idx val="337"/>
            <c:invertIfNegative val="1"/>
            <c:bubble3D val="0"/>
            <c:spPr>
              <a:solidFill>
                <a:srgbClr val="AEABAB"/>
              </a:solidFill>
            </c:spPr>
            <c:extLst>
              <c:ext xmlns:c16="http://schemas.microsoft.com/office/drawing/2014/chart" uri="{C3380CC4-5D6E-409C-BE32-E72D297353CC}">
                <c16:uniqueId val="{000002A5-435A-4C9B-8B76-95D3D664B946}"/>
              </c:ext>
            </c:extLst>
          </c:dPt>
          <c:dPt>
            <c:idx val="338"/>
            <c:invertIfNegative val="1"/>
            <c:bubble3D val="0"/>
            <c:spPr>
              <a:solidFill>
                <a:srgbClr val="AEABAB"/>
              </a:solidFill>
            </c:spPr>
            <c:extLst>
              <c:ext xmlns:c16="http://schemas.microsoft.com/office/drawing/2014/chart" uri="{C3380CC4-5D6E-409C-BE32-E72D297353CC}">
                <c16:uniqueId val="{000002A7-435A-4C9B-8B76-95D3D664B946}"/>
              </c:ext>
            </c:extLst>
          </c:dPt>
          <c:dPt>
            <c:idx val="339"/>
            <c:invertIfNegative val="1"/>
            <c:bubble3D val="0"/>
            <c:spPr>
              <a:solidFill>
                <a:srgbClr val="AEABAB"/>
              </a:solidFill>
            </c:spPr>
            <c:extLst>
              <c:ext xmlns:c16="http://schemas.microsoft.com/office/drawing/2014/chart" uri="{C3380CC4-5D6E-409C-BE32-E72D297353CC}">
                <c16:uniqueId val="{000002A9-435A-4C9B-8B76-95D3D664B946}"/>
              </c:ext>
            </c:extLst>
          </c:dPt>
          <c:dPt>
            <c:idx val="340"/>
            <c:invertIfNegative val="1"/>
            <c:bubble3D val="0"/>
            <c:spPr>
              <a:solidFill>
                <a:srgbClr val="AEABAB"/>
              </a:solidFill>
            </c:spPr>
            <c:extLst>
              <c:ext xmlns:c16="http://schemas.microsoft.com/office/drawing/2014/chart" uri="{C3380CC4-5D6E-409C-BE32-E72D297353CC}">
                <c16:uniqueId val="{000002AB-435A-4C9B-8B76-95D3D664B946}"/>
              </c:ext>
            </c:extLst>
          </c:dPt>
          <c:dPt>
            <c:idx val="341"/>
            <c:invertIfNegative val="1"/>
            <c:bubble3D val="0"/>
            <c:spPr>
              <a:solidFill>
                <a:srgbClr val="AEABAB"/>
              </a:solidFill>
            </c:spPr>
            <c:extLst>
              <c:ext xmlns:c16="http://schemas.microsoft.com/office/drawing/2014/chart" uri="{C3380CC4-5D6E-409C-BE32-E72D297353CC}">
                <c16:uniqueId val="{000002AD-435A-4C9B-8B76-95D3D664B946}"/>
              </c:ext>
            </c:extLst>
          </c:dPt>
          <c:dPt>
            <c:idx val="342"/>
            <c:invertIfNegative val="1"/>
            <c:bubble3D val="0"/>
            <c:spPr>
              <a:solidFill>
                <a:srgbClr val="AEABAB"/>
              </a:solidFill>
            </c:spPr>
            <c:extLst>
              <c:ext xmlns:c16="http://schemas.microsoft.com/office/drawing/2014/chart" uri="{C3380CC4-5D6E-409C-BE32-E72D297353CC}">
                <c16:uniqueId val="{000002AF-435A-4C9B-8B76-95D3D664B946}"/>
              </c:ext>
            </c:extLst>
          </c:dPt>
          <c:dPt>
            <c:idx val="343"/>
            <c:invertIfNegative val="1"/>
            <c:bubble3D val="0"/>
            <c:spPr>
              <a:solidFill>
                <a:srgbClr val="AEABAB"/>
              </a:solidFill>
            </c:spPr>
            <c:extLst>
              <c:ext xmlns:c16="http://schemas.microsoft.com/office/drawing/2014/chart" uri="{C3380CC4-5D6E-409C-BE32-E72D297353CC}">
                <c16:uniqueId val="{000002B1-435A-4C9B-8B76-95D3D664B946}"/>
              </c:ext>
            </c:extLst>
          </c:dPt>
          <c:dPt>
            <c:idx val="344"/>
            <c:invertIfNegative val="1"/>
            <c:bubble3D val="0"/>
            <c:spPr>
              <a:solidFill>
                <a:srgbClr val="AEABAB"/>
              </a:solidFill>
            </c:spPr>
            <c:extLst>
              <c:ext xmlns:c16="http://schemas.microsoft.com/office/drawing/2014/chart" uri="{C3380CC4-5D6E-409C-BE32-E72D297353CC}">
                <c16:uniqueId val="{000002B3-435A-4C9B-8B76-95D3D664B946}"/>
              </c:ext>
            </c:extLst>
          </c:dPt>
          <c:dPt>
            <c:idx val="345"/>
            <c:invertIfNegative val="1"/>
            <c:bubble3D val="0"/>
            <c:spPr>
              <a:solidFill>
                <a:srgbClr val="AEABAB"/>
              </a:solidFill>
            </c:spPr>
            <c:extLst>
              <c:ext xmlns:c16="http://schemas.microsoft.com/office/drawing/2014/chart" uri="{C3380CC4-5D6E-409C-BE32-E72D297353CC}">
                <c16:uniqueId val="{000002B5-435A-4C9B-8B76-95D3D664B946}"/>
              </c:ext>
            </c:extLst>
          </c:dPt>
          <c:dPt>
            <c:idx val="346"/>
            <c:invertIfNegative val="1"/>
            <c:bubble3D val="0"/>
            <c:spPr>
              <a:solidFill>
                <a:srgbClr val="AEABAB"/>
              </a:solidFill>
            </c:spPr>
            <c:extLst>
              <c:ext xmlns:c16="http://schemas.microsoft.com/office/drawing/2014/chart" uri="{C3380CC4-5D6E-409C-BE32-E72D297353CC}">
                <c16:uniqueId val="{000002B7-435A-4C9B-8B76-95D3D664B946}"/>
              </c:ext>
            </c:extLst>
          </c:dPt>
          <c:dPt>
            <c:idx val="347"/>
            <c:invertIfNegative val="1"/>
            <c:bubble3D val="0"/>
            <c:spPr>
              <a:solidFill>
                <a:srgbClr val="AEABAB"/>
              </a:solidFill>
            </c:spPr>
            <c:extLst>
              <c:ext xmlns:c16="http://schemas.microsoft.com/office/drawing/2014/chart" uri="{C3380CC4-5D6E-409C-BE32-E72D297353CC}">
                <c16:uniqueId val="{000002B9-435A-4C9B-8B76-95D3D664B946}"/>
              </c:ext>
            </c:extLst>
          </c:dPt>
          <c:dPt>
            <c:idx val="348"/>
            <c:invertIfNegative val="1"/>
            <c:bubble3D val="0"/>
            <c:spPr>
              <a:solidFill>
                <a:srgbClr val="AEABAB"/>
              </a:solidFill>
            </c:spPr>
            <c:extLst>
              <c:ext xmlns:c16="http://schemas.microsoft.com/office/drawing/2014/chart" uri="{C3380CC4-5D6E-409C-BE32-E72D297353CC}">
                <c16:uniqueId val="{000002BB-435A-4C9B-8B76-95D3D664B946}"/>
              </c:ext>
            </c:extLst>
          </c:dPt>
          <c:dPt>
            <c:idx val="349"/>
            <c:invertIfNegative val="1"/>
            <c:bubble3D val="0"/>
            <c:spPr>
              <a:solidFill>
                <a:srgbClr val="AEABAB"/>
              </a:solidFill>
            </c:spPr>
            <c:extLst>
              <c:ext xmlns:c16="http://schemas.microsoft.com/office/drawing/2014/chart" uri="{C3380CC4-5D6E-409C-BE32-E72D297353CC}">
                <c16:uniqueId val="{000002BD-435A-4C9B-8B76-95D3D664B946}"/>
              </c:ext>
            </c:extLst>
          </c:dPt>
          <c:dPt>
            <c:idx val="350"/>
            <c:invertIfNegative val="1"/>
            <c:bubble3D val="0"/>
            <c:spPr>
              <a:solidFill>
                <a:srgbClr val="AEABAB"/>
              </a:solidFill>
            </c:spPr>
            <c:extLst>
              <c:ext xmlns:c16="http://schemas.microsoft.com/office/drawing/2014/chart" uri="{C3380CC4-5D6E-409C-BE32-E72D297353CC}">
                <c16:uniqueId val="{000002BF-435A-4C9B-8B76-95D3D664B946}"/>
              </c:ext>
            </c:extLst>
          </c:dPt>
          <c:dPt>
            <c:idx val="351"/>
            <c:invertIfNegative val="1"/>
            <c:bubble3D val="0"/>
            <c:spPr>
              <a:solidFill>
                <a:srgbClr val="AEABAB"/>
              </a:solidFill>
            </c:spPr>
            <c:extLst>
              <c:ext xmlns:c16="http://schemas.microsoft.com/office/drawing/2014/chart" uri="{C3380CC4-5D6E-409C-BE32-E72D297353CC}">
                <c16:uniqueId val="{000002C1-435A-4C9B-8B76-95D3D664B946}"/>
              </c:ext>
            </c:extLst>
          </c:dPt>
          <c:dPt>
            <c:idx val="352"/>
            <c:invertIfNegative val="1"/>
            <c:bubble3D val="0"/>
            <c:spPr>
              <a:solidFill>
                <a:srgbClr val="AEABAB"/>
              </a:solidFill>
            </c:spPr>
            <c:extLst>
              <c:ext xmlns:c16="http://schemas.microsoft.com/office/drawing/2014/chart" uri="{C3380CC4-5D6E-409C-BE32-E72D297353CC}">
                <c16:uniqueId val="{000002C3-435A-4C9B-8B76-95D3D664B946}"/>
              </c:ext>
            </c:extLst>
          </c:dPt>
          <c:dPt>
            <c:idx val="353"/>
            <c:invertIfNegative val="1"/>
            <c:bubble3D val="0"/>
            <c:spPr>
              <a:solidFill>
                <a:srgbClr val="AEABAB"/>
              </a:solidFill>
            </c:spPr>
            <c:extLst>
              <c:ext xmlns:c16="http://schemas.microsoft.com/office/drawing/2014/chart" uri="{C3380CC4-5D6E-409C-BE32-E72D297353CC}">
                <c16:uniqueId val="{000002C5-435A-4C9B-8B76-95D3D664B946}"/>
              </c:ext>
            </c:extLst>
          </c:dPt>
          <c:dPt>
            <c:idx val="354"/>
            <c:invertIfNegative val="1"/>
            <c:bubble3D val="0"/>
            <c:spPr>
              <a:solidFill>
                <a:srgbClr val="AEABAB"/>
              </a:solidFill>
            </c:spPr>
            <c:extLst>
              <c:ext xmlns:c16="http://schemas.microsoft.com/office/drawing/2014/chart" uri="{C3380CC4-5D6E-409C-BE32-E72D297353CC}">
                <c16:uniqueId val="{000002C7-435A-4C9B-8B76-95D3D664B946}"/>
              </c:ext>
            </c:extLst>
          </c:dPt>
          <c:dPt>
            <c:idx val="355"/>
            <c:invertIfNegative val="1"/>
            <c:bubble3D val="0"/>
            <c:spPr>
              <a:solidFill>
                <a:srgbClr val="AEABAB"/>
              </a:solidFill>
            </c:spPr>
            <c:extLst>
              <c:ext xmlns:c16="http://schemas.microsoft.com/office/drawing/2014/chart" uri="{C3380CC4-5D6E-409C-BE32-E72D297353CC}">
                <c16:uniqueId val="{000002C9-435A-4C9B-8B76-95D3D664B946}"/>
              </c:ext>
            </c:extLst>
          </c:dPt>
          <c:dPt>
            <c:idx val="356"/>
            <c:invertIfNegative val="1"/>
            <c:bubble3D val="0"/>
            <c:spPr>
              <a:solidFill>
                <a:srgbClr val="AEABAB"/>
              </a:solidFill>
            </c:spPr>
            <c:extLst>
              <c:ext xmlns:c16="http://schemas.microsoft.com/office/drawing/2014/chart" uri="{C3380CC4-5D6E-409C-BE32-E72D297353CC}">
                <c16:uniqueId val="{000002CB-435A-4C9B-8B76-95D3D664B946}"/>
              </c:ext>
            </c:extLst>
          </c:dPt>
          <c:dPt>
            <c:idx val="357"/>
            <c:invertIfNegative val="1"/>
            <c:bubble3D val="0"/>
            <c:spPr>
              <a:solidFill>
                <a:srgbClr val="AEABAB"/>
              </a:solidFill>
            </c:spPr>
            <c:extLst>
              <c:ext xmlns:c16="http://schemas.microsoft.com/office/drawing/2014/chart" uri="{C3380CC4-5D6E-409C-BE32-E72D297353CC}">
                <c16:uniqueId val="{000002CD-435A-4C9B-8B76-95D3D664B946}"/>
              </c:ext>
            </c:extLst>
          </c:dPt>
          <c:dPt>
            <c:idx val="358"/>
            <c:invertIfNegative val="1"/>
            <c:bubble3D val="0"/>
            <c:spPr>
              <a:solidFill>
                <a:srgbClr val="AEABAB"/>
              </a:solidFill>
            </c:spPr>
            <c:extLst>
              <c:ext xmlns:c16="http://schemas.microsoft.com/office/drawing/2014/chart" uri="{C3380CC4-5D6E-409C-BE32-E72D297353CC}">
                <c16:uniqueId val="{000002CF-435A-4C9B-8B76-95D3D664B946}"/>
              </c:ext>
            </c:extLst>
          </c:dPt>
          <c:dPt>
            <c:idx val="359"/>
            <c:invertIfNegative val="1"/>
            <c:bubble3D val="0"/>
            <c:spPr>
              <a:solidFill>
                <a:srgbClr val="AEABAB"/>
              </a:solidFill>
            </c:spPr>
            <c:extLst>
              <c:ext xmlns:c16="http://schemas.microsoft.com/office/drawing/2014/chart" uri="{C3380CC4-5D6E-409C-BE32-E72D297353CC}">
                <c16:uniqueId val="{000002D1-435A-4C9B-8B76-95D3D664B946}"/>
              </c:ext>
            </c:extLst>
          </c:dPt>
          <c:dPt>
            <c:idx val="360"/>
            <c:invertIfNegative val="1"/>
            <c:bubble3D val="0"/>
            <c:spPr>
              <a:solidFill>
                <a:srgbClr val="AEABAB"/>
              </a:solidFill>
            </c:spPr>
            <c:extLst>
              <c:ext xmlns:c16="http://schemas.microsoft.com/office/drawing/2014/chart" uri="{C3380CC4-5D6E-409C-BE32-E72D297353CC}">
                <c16:uniqueId val="{000002D3-435A-4C9B-8B76-95D3D664B946}"/>
              </c:ext>
            </c:extLst>
          </c:dPt>
          <c:dPt>
            <c:idx val="361"/>
            <c:invertIfNegative val="1"/>
            <c:bubble3D val="0"/>
            <c:spPr>
              <a:solidFill>
                <a:srgbClr val="AEABAB"/>
              </a:solidFill>
            </c:spPr>
            <c:extLst>
              <c:ext xmlns:c16="http://schemas.microsoft.com/office/drawing/2014/chart" uri="{C3380CC4-5D6E-409C-BE32-E72D297353CC}">
                <c16:uniqueId val="{000002D5-435A-4C9B-8B76-95D3D664B946}"/>
              </c:ext>
            </c:extLst>
          </c:dPt>
          <c:dPt>
            <c:idx val="362"/>
            <c:invertIfNegative val="1"/>
            <c:bubble3D val="0"/>
            <c:spPr>
              <a:solidFill>
                <a:srgbClr val="AEABAB"/>
              </a:solidFill>
            </c:spPr>
            <c:extLst>
              <c:ext xmlns:c16="http://schemas.microsoft.com/office/drawing/2014/chart" uri="{C3380CC4-5D6E-409C-BE32-E72D297353CC}">
                <c16:uniqueId val="{000002D7-435A-4C9B-8B76-95D3D664B946}"/>
              </c:ext>
            </c:extLst>
          </c:dPt>
          <c:dPt>
            <c:idx val="363"/>
            <c:invertIfNegative val="1"/>
            <c:bubble3D val="0"/>
            <c:spPr>
              <a:solidFill>
                <a:srgbClr val="AEABAB"/>
              </a:solidFill>
            </c:spPr>
            <c:extLst>
              <c:ext xmlns:c16="http://schemas.microsoft.com/office/drawing/2014/chart" uri="{C3380CC4-5D6E-409C-BE32-E72D297353CC}">
                <c16:uniqueId val="{000002D9-435A-4C9B-8B76-95D3D664B946}"/>
              </c:ext>
            </c:extLst>
          </c:dPt>
          <c:dPt>
            <c:idx val="364"/>
            <c:invertIfNegative val="1"/>
            <c:bubble3D val="0"/>
            <c:spPr>
              <a:solidFill>
                <a:srgbClr val="AEABAB"/>
              </a:solidFill>
            </c:spPr>
            <c:extLst>
              <c:ext xmlns:c16="http://schemas.microsoft.com/office/drawing/2014/chart" uri="{C3380CC4-5D6E-409C-BE32-E72D297353CC}">
                <c16:uniqueId val="{000002DB-435A-4C9B-8B76-95D3D664B946}"/>
              </c:ext>
            </c:extLst>
          </c:dPt>
          <c:dPt>
            <c:idx val="365"/>
            <c:invertIfNegative val="1"/>
            <c:bubble3D val="0"/>
            <c:spPr>
              <a:solidFill>
                <a:srgbClr val="AEABAB"/>
              </a:solidFill>
            </c:spPr>
            <c:extLst>
              <c:ext xmlns:c16="http://schemas.microsoft.com/office/drawing/2014/chart" uri="{C3380CC4-5D6E-409C-BE32-E72D297353CC}">
                <c16:uniqueId val="{000002DD-435A-4C9B-8B76-95D3D664B946}"/>
              </c:ext>
            </c:extLst>
          </c:dPt>
          <c:dPt>
            <c:idx val="366"/>
            <c:invertIfNegative val="1"/>
            <c:bubble3D val="0"/>
            <c:spPr>
              <a:solidFill>
                <a:srgbClr val="AEABAB"/>
              </a:solidFill>
            </c:spPr>
            <c:extLst>
              <c:ext xmlns:c16="http://schemas.microsoft.com/office/drawing/2014/chart" uri="{C3380CC4-5D6E-409C-BE32-E72D297353CC}">
                <c16:uniqueId val="{000002DF-435A-4C9B-8B76-95D3D664B946}"/>
              </c:ext>
            </c:extLst>
          </c:dPt>
          <c:dPt>
            <c:idx val="367"/>
            <c:invertIfNegative val="1"/>
            <c:bubble3D val="0"/>
            <c:spPr>
              <a:solidFill>
                <a:srgbClr val="AEABAB"/>
              </a:solidFill>
            </c:spPr>
            <c:extLst>
              <c:ext xmlns:c16="http://schemas.microsoft.com/office/drawing/2014/chart" uri="{C3380CC4-5D6E-409C-BE32-E72D297353CC}">
                <c16:uniqueId val="{000002E1-435A-4C9B-8B76-95D3D664B946}"/>
              </c:ext>
            </c:extLst>
          </c:dPt>
          <c:dPt>
            <c:idx val="368"/>
            <c:invertIfNegative val="1"/>
            <c:bubble3D val="0"/>
            <c:spPr>
              <a:solidFill>
                <a:srgbClr val="AEABAB"/>
              </a:solidFill>
            </c:spPr>
            <c:extLst>
              <c:ext xmlns:c16="http://schemas.microsoft.com/office/drawing/2014/chart" uri="{C3380CC4-5D6E-409C-BE32-E72D297353CC}">
                <c16:uniqueId val="{000002E3-435A-4C9B-8B76-95D3D664B946}"/>
              </c:ext>
            </c:extLst>
          </c:dPt>
          <c:dPt>
            <c:idx val="369"/>
            <c:invertIfNegative val="1"/>
            <c:bubble3D val="0"/>
            <c:spPr>
              <a:solidFill>
                <a:srgbClr val="AEABAB"/>
              </a:solidFill>
            </c:spPr>
            <c:extLst>
              <c:ext xmlns:c16="http://schemas.microsoft.com/office/drawing/2014/chart" uri="{C3380CC4-5D6E-409C-BE32-E72D297353CC}">
                <c16:uniqueId val="{000002E5-435A-4C9B-8B76-95D3D664B946}"/>
              </c:ext>
            </c:extLst>
          </c:dPt>
          <c:dPt>
            <c:idx val="370"/>
            <c:invertIfNegative val="1"/>
            <c:bubble3D val="0"/>
            <c:spPr>
              <a:solidFill>
                <a:srgbClr val="AEABAB"/>
              </a:solidFill>
            </c:spPr>
            <c:extLst>
              <c:ext xmlns:c16="http://schemas.microsoft.com/office/drawing/2014/chart" uri="{C3380CC4-5D6E-409C-BE32-E72D297353CC}">
                <c16:uniqueId val="{000002E7-435A-4C9B-8B76-95D3D664B946}"/>
              </c:ext>
            </c:extLst>
          </c:dPt>
          <c:dPt>
            <c:idx val="371"/>
            <c:invertIfNegative val="1"/>
            <c:bubble3D val="0"/>
            <c:spPr>
              <a:solidFill>
                <a:srgbClr val="AEABAB"/>
              </a:solidFill>
            </c:spPr>
            <c:extLst>
              <c:ext xmlns:c16="http://schemas.microsoft.com/office/drawing/2014/chart" uri="{C3380CC4-5D6E-409C-BE32-E72D297353CC}">
                <c16:uniqueId val="{000002E9-435A-4C9B-8B76-95D3D664B946}"/>
              </c:ext>
            </c:extLst>
          </c:dPt>
          <c:dPt>
            <c:idx val="372"/>
            <c:invertIfNegative val="1"/>
            <c:bubble3D val="0"/>
            <c:spPr>
              <a:solidFill>
                <a:srgbClr val="AEABAB"/>
              </a:solidFill>
            </c:spPr>
            <c:extLst>
              <c:ext xmlns:c16="http://schemas.microsoft.com/office/drawing/2014/chart" uri="{C3380CC4-5D6E-409C-BE32-E72D297353CC}">
                <c16:uniqueId val="{000002EB-435A-4C9B-8B76-95D3D664B946}"/>
              </c:ext>
            </c:extLst>
          </c:dPt>
          <c:dPt>
            <c:idx val="373"/>
            <c:invertIfNegative val="1"/>
            <c:bubble3D val="0"/>
            <c:spPr>
              <a:solidFill>
                <a:srgbClr val="AEABAB"/>
              </a:solidFill>
            </c:spPr>
            <c:extLst>
              <c:ext xmlns:c16="http://schemas.microsoft.com/office/drawing/2014/chart" uri="{C3380CC4-5D6E-409C-BE32-E72D297353CC}">
                <c16:uniqueId val="{000002ED-435A-4C9B-8B76-95D3D664B946}"/>
              </c:ext>
            </c:extLst>
          </c:dPt>
          <c:dPt>
            <c:idx val="374"/>
            <c:invertIfNegative val="1"/>
            <c:bubble3D val="0"/>
            <c:spPr>
              <a:solidFill>
                <a:srgbClr val="AEABAB"/>
              </a:solidFill>
            </c:spPr>
            <c:extLst>
              <c:ext xmlns:c16="http://schemas.microsoft.com/office/drawing/2014/chart" uri="{C3380CC4-5D6E-409C-BE32-E72D297353CC}">
                <c16:uniqueId val="{000002EF-435A-4C9B-8B76-95D3D664B946}"/>
              </c:ext>
            </c:extLst>
          </c:dPt>
          <c:dPt>
            <c:idx val="375"/>
            <c:invertIfNegative val="1"/>
            <c:bubble3D val="0"/>
            <c:spPr>
              <a:solidFill>
                <a:srgbClr val="AEABAB"/>
              </a:solidFill>
            </c:spPr>
            <c:extLst>
              <c:ext xmlns:c16="http://schemas.microsoft.com/office/drawing/2014/chart" uri="{C3380CC4-5D6E-409C-BE32-E72D297353CC}">
                <c16:uniqueId val="{000002F1-435A-4C9B-8B76-95D3D664B946}"/>
              </c:ext>
            </c:extLst>
          </c:dPt>
          <c:dPt>
            <c:idx val="376"/>
            <c:invertIfNegative val="1"/>
            <c:bubble3D val="0"/>
            <c:spPr>
              <a:solidFill>
                <a:srgbClr val="AEABAB"/>
              </a:solidFill>
            </c:spPr>
            <c:extLst>
              <c:ext xmlns:c16="http://schemas.microsoft.com/office/drawing/2014/chart" uri="{C3380CC4-5D6E-409C-BE32-E72D297353CC}">
                <c16:uniqueId val="{000002F3-435A-4C9B-8B76-95D3D664B946}"/>
              </c:ext>
            </c:extLst>
          </c:dPt>
          <c:dPt>
            <c:idx val="377"/>
            <c:invertIfNegative val="1"/>
            <c:bubble3D val="0"/>
            <c:spPr>
              <a:solidFill>
                <a:srgbClr val="AEABAB"/>
              </a:solidFill>
            </c:spPr>
            <c:extLst>
              <c:ext xmlns:c16="http://schemas.microsoft.com/office/drawing/2014/chart" uri="{C3380CC4-5D6E-409C-BE32-E72D297353CC}">
                <c16:uniqueId val="{000002F5-435A-4C9B-8B76-95D3D664B946}"/>
              </c:ext>
            </c:extLst>
          </c:dPt>
          <c:dPt>
            <c:idx val="378"/>
            <c:invertIfNegative val="1"/>
            <c:bubble3D val="0"/>
            <c:spPr>
              <a:solidFill>
                <a:srgbClr val="AEABAB"/>
              </a:solidFill>
            </c:spPr>
            <c:extLst>
              <c:ext xmlns:c16="http://schemas.microsoft.com/office/drawing/2014/chart" uri="{C3380CC4-5D6E-409C-BE32-E72D297353CC}">
                <c16:uniqueId val="{000002F7-435A-4C9B-8B76-95D3D664B946}"/>
              </c:ext>
            </c:extLst>
          </c:dPt>
          <c:dPt>
            <c:idx val="379"/>
            <c:invertIfNegative val="1"/>
            <c:bubble3D val="0"/>
            <c:spPr>
              <a:solidFill>
                <a:srgbClr val="AEABAB"/>
              </a:solidFill>
            </c:spPr>
            <c:extLst>
              <c:ext xmlns:c16="http://schemas.microsoft.com/office/drawing/2014/chart" uri="{C3380CC4-5D6E-409C-BE32-E72D297353CC}">
                <c16:uniqueId val="{000002F9-435A-4C9B-8B76-95D3D664B946}"/>
              </c:ext>
            </c:extLst>
          </c:dPt>
          <c:dPt>
            <c:idx val="380"/>
            <c:invertIfNegative val="1"/>
            <c:bubble3D val="0"/>
            <c:spPr>
              <a:solidFill>
                <a:srgbClr val="AEABAB"/>
              </a:solidFill>
            </c:spPr>
            <c:extLst>
              <c:ext xmlns:c16="http://schemas.microsoft.com/office/drawing/2014/chart" uri="{C3380CC4-5D6E-409C-BE32-E72D297353CC}">
                <c16:uniqueId val="{000002FB-435A-4C9B-8B76-95D3D664B946}"/>
              </c:ext>
            </c:extLst>
          </c:dPt>
          <c:dPt>
            <c:idx val="381"/>
            <c:invertIfNegative val="1"/>
            <c:bubble3D val="0"/>
            <c:spPr>
              <a:solidFill>
                <a:srgbClr val="AEABAB"/>
              </a:solidFill>
            </c:spPr>
            <c:extLst>
              <c:ext xmlns:c16="http://schemas.microsoft.com/office/drawing/2014/chart" uri="{C3380CC4-5D6E-409C-BE32-E72D297353CC}">
                <c16:uniqueId val="{000002FD-435A-4C9B-8B76-95D3D664B946}"/>
              </c:ext>
            </c:extLst>
          </c:dPt>
          <c:dPt>
            <c:idx val="382"/>
            <c:invertIfNegative val="1"/>
            <c:bubble3D val="0"/>
            <c:spPr>
              <a:solidFill>
                <a:srgbClr val="AEABAB"/>
              </a:solidFill>
            </c:spPr>
            <c:extLst>
              <c:ext xmlns:c16="http://schemas.microsoft.com/office/drawing/2014/chart" uri="{C3380CC4-5D6E-409C-BE32-E72D297353CC}">
                <c16:uniqueId val="{000002FF-435A-4C9B-8B76-95D3D664B946}"/>
              </c:ext>
            </c:extLst>
          </c:dPt>
          <c:dPt>
            <c:idx val="383"/>
            <c:invertIfNegative val="1"/>
            <c:bubble3D val="0"/>
            <c:spPr>
              <a:solidFill>
                <a:srgbClr val="AEABAB"/>
              </a:solidFill>
            </c:spPr>
            <c:extLst>
              <c:ext xmlns:c16="http://schemas.microsoft.com/office/drawing/2014/chart" uri="{C3380CC4-5D6E-409C-BE32-E72D297353CC}">
                <c16:uniqueId val="{00000301-435A-4C9B-8B76-95D3D664B946}"/>
              </c:ext>
            </c:extLst>
          </c:dPt>
          <c:dPt>
            <c:idx val="384"/>
            <c:invertIfNegative val="1"/>
            <c:bubble3D val="0"/>
            <c:spPr>
              <a:solidFill>
                <a:srgbClr val="AEABAB"/>
              </a:solidFill>
            </c:spPr>
            <c:extLst>
              <c:ext xmlns:c16="http://schemas.microsoft.com/office/drawing/2014/chart" uri="{C3380CC4-5D6E-409C-BE32-E72D297353CC}">
                <c16:uniqueId val="{00000303-435A-4C9B-8B76-95D3D664B946}"/>
              </c:ext>
            </c:extLst>
          </c:dPt>
          <c:dPt>
            <c:idx val="385"/>
            <c:invertIfNegative val="1"/>
            <c:bubble3D val="0"/>
            <c:spPr>
              <a:solidFill>
                <a:srgbClr val="AEABAB"/>
              </a:solidFill>
            </c:spPr>
            <c:extLst>
              <c:ext xmlns:c16="http://schemas.microsoft.com/office/drawing/2014/chart" uri="{C3380CC4-5D6E-409C-BE32-E72D297353CC}">
                <c16:uniqueId val="{00000305-435A-4C9B-8B76-95D3D664B946}"/>
              </c:ext>
            </c:extLst>
          </c:dPt>
          <c:dPt>
            <c:idx val="386"/>
            <c:invertIfNegative val="1"/>
            <c:bubble3D val="0"/>
            <c:spPr>
              <a:solidFill>
                <a:srgbClr val="AEABAB"/>
              </a:solidFill>
            </c:spPr>
            <c:extLst>
              <c:ext xmlns:c16="http://schemas.microsoft.com/office/drawing/2014/chart" uri="{C3380CC4-5D6E-409C-BE32-E72D297353CC}">
                <c16:uniqueId val="{00000307-435A-4C9B-8B76-95D3D664B946}"/>
              </c:ext>
            </c:extLst>
          </c:dPt>
          <c:dPt>
            <c:idx val="387"/>
            <c:invertIfNegative val="1"/>
            <c:bubble3D val="0"/>
            <c:spPr>
              <a:solidFill>
                <a:srgbClr val="AEABAB"/>
              </a:solidFill>
            </c:spPr>
            <c:extLst>
              <c:ext xmlns:c16="http://schemas.microsoft.com/office/drawing/2014/chart" uri="{C3380CC4-5D6E-409C-BE32-E72D297353CC}">
                <c16:uniqueId val="{00000309-435A-4C9B-8B76-95D3D664B946}"/>
              </c:ext>
            </c:extLst>
          </c:dPt>
          <c:dPt>
            <c:idx val="388"/>
            <c:invertIfNegative val="1"/>
            <c:bubble3D val="0"/>
            <c:spPr>
              <a:solidFill>
                <a:srgbClr val="AEABAB"/>
              </a:solidFill>
            </c:spPr>
            <c:extLst>
              <c:ext xmlns:c16="http://schemas.microsoft.com/office/drawing/2014/chart" uri="{C3380CC4-5D6E-409C-BE32-E72D297353CC}">
                <c16:uniqueId val="{0000030B-435A-4C9B-8B76-95D3D664B946}"/>
              </c:ext>
            </c:extLst>
          </c:dPt>
          <c:dPt>
            <c:idx val="389"/>
            <c:invertIfNegative val="1"/>
            <c:bubble3D val="0"/>
            <c:spPr>
              <a:solidFill>
                <a:srgbClr val="AEABAB"/>
              </a:solidFill>
            </c:spPr>
            <c:extLst>
              <c:ext xmlns:c16="http://schemas.microsoft.com/office/drawing/2014/chart" uri="{C3380CC4-5D6E-409C-BE32-E72D297353CC}">
                <c16:uniqueId val="{0000030D-435A-4C9B-8B76-95D3D664B946}"/>
              </c:ext>
            </c:extLst>
          </c:dPt>
          <c:dPt>
            <c:idx val="390"/>
            <c:invertIfNegative val="1"/>
            <c:bubble3D val="0"/>
            <c:spPr>
              <a:solidFill>
                <a:srgbClr val="AEABAB"/>
              </a:solidFill>
            </c:spPr>
            <c:extLst>
              <c:ext xmlns:c16="http://schemas.microsoft.com/office/drawing/2014/chart" uri="{C3380CC4-5D6E-409C-BE32-E72D297353CC}">
                <c16:uniqueId val="{0000030F-435A-4C9B-8B76-95D3D664B946}"/>
              </c:ext>
            </c:extLst>
          </c:dPt>
          <c:dPt>
            <c:idx val="391"/>
            <c:invertIfNegative val="1"/>
            <c:bubble3D val="0"/>
            <c:spPr>
              <a:solidFill>
                <a:srgbClr val="AEABAB"/>
              </a:solidFill>
            </c:spPr>
            <c:extLst>
              <c:ext xmlns:c16="http://schemas.microsoft.com/office/drawing/2014/chart" uri="{C3380CC4-5D6E-409C-BE32-E72D297353CC}">
                <c16:uniqueId val="{00000311-435A-4C9B-8B76-95D3D664B946}"/>
              </c:ext>
            </c:extLst>
          </c:dPt>
          <c:dPt>
            <c:idx val="392"/>
            <c:invertIfNegative val="1"/>
            <c:bubble3D val="0"/>
            <c:spPr>
              <a:solidFill>
                <a:srgbClr val="AEABAB"/>
              </a:solidFill>
            </c:spPr>
            <c:extLst>
              <c:ext xmlns:c16="http://schemas.microsoft.com/office/drawing/2014/chart" uri="{C3380CC4-5D6E-409C-BE32-E72D297353CC}">
                <c16:uniqueId val="{00000313-435A-4C9B-8B76-95D3D664B946}"/>
              </c:ext>
            </c:extLst>
          </c:dPt>
          <c:dPt>
            <c:idx val="393"/>
            <c:invertIfNegative val="1"/>
            <c:bubble3D val="0"/>
            <c:spPr>
              <a:solidFill>
                <a:srgbClr val="AEABAB"/>
              </a:solidFill>
            </c:spPr>
            <c:extLst>
              <c:ext xmlns:c16="http://schemas.microsoft.com/office/drawing/2014/chart" uri="{C3380CC4-5D6E-409C-BE32-E72D297353CC}">
                <c16:uniqueId val="{00000315-435A-4C9B-8B76-95D3D664B946}"/>
              </c:ext>
            </c:extLst>
          </c:dPt>
          <c:dPt>
            <c:idx val="394"/>
            <c:invertIfNegative val="1"/>
            <c:bubble3D val="0"/>
            <c:spPr>
              <a:solidFill>
                <a:srgbClr val="AEABAB"/>
              </a:solidFill>
            </c:spPr>
            <c:extLst>
              <c:ext xmlns:c16="http://schemas.microsoft.com/office/drawing/2014/chart" uri="{C3380CC4-5D6E-409C-BE32-E72D297353CC}">
                <c16:uniqueId val="{00000317-435A-4C9B-8B76-95D3D664B946}"/>
              </c:ext>
            </c:extLst>
          </c:dPt>
          <c:dPt>
            <c:idx val="395"/>
            <c:invertIfNegative val="1"/>
            <c:bubble3D val="0"/>
            <c:spPr>
              <a:solidFill>
                <a:srgbClr val="AEABAB"/>
              </a:solidFill>
            </c:spPr>
            <c:extLst>
              <c:ext xmlns:c16="http://schemas.microsoft.com/office/drawing/2014/chart" uri="{C3380CC4-5D6E-409C-BE32-E72D297353CC}">
                <c16:uniqueId val="{00000319-435A-4C9B-8B76-95D3D664B946}"/>
              </c:ext>
            </c:extLst>
          </c:dPt>
          <c:dPt>
            <c:idx val="396"/>
            <c:invertIfNegative val="1"/>
            <c:bubble3D val="0"/>
            <c:spPr>
              <a:solidFill>
                <a:srgbClr val="AEABAB"/>
              </a:solidFill>
            </c:spPr>
            <c:extLst>
              <c:ext xmlns:c16="http://schemas.microsoft.com/office/drawing/2014/chart" uri="{C3380CC4-5D6E-409C-BE32-E72D297353CC}">
                <c16:uniqueId val="{0000031B-435A-4C9B-8B76-95D3D664B946}"/>
              </c:ext>
            </c:extLst>
          </c:dPt>
          <c:dPt>
            <c:idx val="397"/>
            <c:invertIfNegative val="1"/>
            <c:bubble3D val="0"/>
            <c:spPr>
              <a:solidFill>
                <a:srgbClr val="AEABAB"/>
              </a:solidFill>
            </c:spPr>
            <c:extLst>
              <c:ext xmlns:c16="http://schemas.microsoft.com/office/drawing/2014/chart" uri="{C3380CC4-5D6E-409C-BE32-E72D297353CC}">
                <c16:uniqueId val="{0000031D-435A-4C9B-8B76-95D3D664B946}"/>
              </c:ext>
            </c:extLst>
          </c:dPt>
          <c:dPt>
            <c:idx val="398"/>
            <c:invertIfNegative val="1"/>
            <c:bubble3D val="0"/>
            <c:spPr>
              <a:solidFill>
                <a:srgbClr val="AEABAB"/>
              </a:solidFill>
            </c:spPr>
            <c:extLst>
              <c:ext xmlns:c16="http://schemas.microsoft.com/office/drawing/2014/chart" uri="{C3380CC4-5D6E-409C-BE32-E72D297353CC}">
                <c16:uniqueId val="{0000031F-435A-4C9B-8B76-95D3D664B946}"/>
              </c:ext>
            </c:extLst>
          </c:dPt>
          <c:cat>
            <c:strRef>
              <c:f>Sheet1!$A$2:$A$400</c:f>
              <c:strCache>
                <c:ptCount val="399"/>
                <c:pt idx="0">
                  <c:v>Ruinart</c:v>
                </c:pt>
                <c:pt idx="1">
                  <c:v>Nicolas</c:v>
                </c:pt>
                <c:pt idx="2">
                  <c:v>Deutz</c:v>
                </c:pt>
                <c:pt idx="3">
                  <c:v>Ruinart</c:v>
                </c:pt>
                <c:pt idx="4">
                  <c:v>Heidsieck &amp;</c:v>
                </c:pt>
                <c:pt idx="5">
                  <c:v>Malard</c:v>
                </c:pt>
                <c:pt idx="6">
                  <c:v>De Bligny</c:v>
                </c:pt>
                <c:pt idx="7">
                  <c:v>Ayala</c:v>
                </c:pt>
                <c:pt idx="8">
                  <c:v>Laurent Per</c:v>
                </c:pt>
                <c:pt idx="9">
                  <c:v>Nicolas Feu</c:v>
                </c:pt>
                <c:pt idx="10">
                  <c:v>Ruinart</c:v>
                </c:pt>
                <c:pt idx="11">
                  <c:v>Besserat De</c:v>
                </c:pt>
                <c:pt idx="12">
                  <c:v>Canard Duch</c:v>
                </c:pt>
                <c:pt idx="13">
                  <c:v>Taittinger</c:v>
                </c:pt>
                <c:pt idx="14">
                  <c:v>Ruinart</c:v>
                </c:pt>
                <c:pt idx="15">
                  <c:v>Bollinger</c:v>
                </c:pt>
                <c:pt idx="16">
                  <c:v>Demoiselle</c:v>
                </c:pt>
                <c:pt idx="17">
                  <c:v>Deutz</c:v>
                </c:pt>
                <c:pt idx="18">
                  <c:v>Ruinart</c:v>
                </c:pt>
                <c:pt idx="19">
                  <c:v>All Others</c:v>
                </c:pt>
                <c:pt idx="20">
                  <c:v>Perrier Jou</c:v>
                </c:pt>
                <c:pt idx="21">
                  <c:v>Ruinart</c:v>
                </c:pt>
                <c:pt idx="22">
                  <c:v>All Others</c:v>
                </c:pt>
                <c:pt idx="23">
                  <c:v>Vesselle</c:v>
                </c:pt>
                <c:pt idx="24">
                  <c:v>Laurent Per</c:v>
                </c:pt>
                <c:pt idx="25">
                  <c:v>Savian</c:v>
                </c:pt>
                <c:pt idx="26">
                  <c:v>Pommery</c:v>
                </c:pt>
                <c:pt idx="27">
                  <c:v>Roederer</c:v>
                </c:pt>
                <c:pt idx="28">
                  <c:v>Ruinart</c:v>
                </c:pt>
                <c:pt idx="29">
                  <c:v>Bottega</c:v>
                </c:pt>
                <c:pt idx="30">
                  <c:v>Moët &amp; Chan</c:v>
                </c:pt>
                <c:pt idx="31">
                  <c:v>Malard</c:v>
                </c:pt>
                <c:pt idx="32">
                  <c:v>Taittinger</c:v>
                </c:pt>
                <c:pt idx="33">
                  <c:v>Patriarche</c:v>
                </c:pt>
                <c:pt idx="34">
                  <c:v>Deutz</c:v>
                </c:pt>
                <c:pt idx="35">
                  <c:v>Mure</c:v>
                </c:pt>
                <c:pt idx="36">
                  <c:v>Dom Perigno</c:v>
                </c:pt>
                <c:pt idx="37">
                  <c:v>Henriot</c:v>
                </c:pt>
                <c:pt idx="38">
                  <c:v>All Others</c:v>
                </c:pt>
                <c:pt idx="39">
                  <c:v>Veuve Clicq</c:v>
                </c:pt>
                <c:pt idx="40">
                  <c:v>De Venoge</c:v>
                </c:pt>
                <c:pt idx="41">
                  <c:v>Dom Perigno</c:v>
                </c:pt>
                <c:pt idx="42">
                  <c:v>All Others</c:v>
                </c:pt>
                <c:pt idx="43">
                  <c:v>Nicolas</c:v>
                </c:pt>
                <c:pt idx="44">
                  <c:v>Veuve Clicq</c:v>
                </c:pt>
                <c:pt idx="45">
                  <c:v>Roederer</c:v>
                </c:pt>
                <c:pt idx="46">
                  <c:v>Malard</c:v>
                </c:pt>
                <c:pt idx="47">
                  <c:v>Demoiselle</c:v>
                </c:pt>
                <c:pt idx="48">
                  <c:v>Campari: Al</c:v>
                </c:pt>
                <c:pt idx="49">
                  <c:v>Besserat De</c:v>
                </c:pt>
                <c:pt idx="50">
                  <c:v>Savian</c:v>
                </c:pt>
                <c:pt idx="51">
                  <c:v>Veuve Clicq</c:v>
                </c:pt>
                <c:pt idx="52">
                  <c:v>Ruinart</c:v>
                </c:pt>
                <c:pt idx="53">
                  <c:v>Laurent Per</c:v>
                </c:pt>
                <c:pt idx="54">
                  <c:v>French Bloo</c:v>
                </c:pt>
                <c:pt idx="55">
                  <c:v>Nicolas</c:v>
                </c:pt>
                <c:pt idx="56">
                  <c:v>De Chanceny</c:v>
                </c:pt>
                <c:pt idx="57">
                  <c:v>Moët &amp; Chan</c:v>
                </c:pt>
                <c:pt idx="58">
                  <c:v>Bouvet-Ladu</c:v>
                </c:pt>
                <c:pt idx="59">
                  <c:v>Deutz</c:v>
                </c:pt>
                <c:pt idx="60">
                  <c:v>Piper Heids</c:v>
                </c:pt>
                <c:pt idx="61">
                  <c:v>Nicolas</c:v>
                </c:pt>
                <c:pt idx="62">
                  <c:v>Ruinart</c:v>
                </c:pt>
                <c:pt idx="63">
                  <c:v>Lyre's</c:v>
                </c:pt>
                <c:pt idx="64">
                  <c:v>Nicolas Feu</c:v>
                </c:pt>
                <c:pt idx="65">
                  <c:v>De Bligny</c:v>
                </c:pt>
                <c:pt idx="66">
                  <c:v>Nicolas Feu</c:v>
                </c:pt>
                <c:pt idx="67">
                  <c:v>Lanson</c:v>
                </c:pt>
                <c:pt idx="68">
                  <c:v>Nicolas Feu</c:v>
                </c:pt>
                <c:pt idx="69">
                  <c:v>Louis Marti</c:v>
                </c:pt>
                <c:pt idx="70">
                  <c:v>Moët &amp; Chan</c:v>
                </c:pt>
                <c:pt idx="71">
                  <c:v>Henriot</c:v>
                </c:pt>
                <c:pt idx="72">
                  <c:v>Canard Duch</c:v>
                </c:pt>
                <c:pt idx="73">
                  <c:v>Malard</c:v>
                </c:pt>
                <c:pt idx="74">
                  <c:v>Bollinger</c:v>
                </c:pt>
                <c:pt idx="75">
                  <c:v>Campari: Al</c:v>
                </c:pt>
                <c:pt idx="76">
                  <c:v>Henriot</c:v>
                </c:pt>
                <c:pt idx="77">
                  <c:v>Malard</c:v>
                </c:pt>
                <c:pt idx="78">
                  <c:v>Delamotte</c:v>
                </c:pt>
                <c:pt idx="79">
                  <c:v>Pommery</c:v>
                </c:pt>
                <c:pt idx="80">
                  <c:v>Besserat De</c:v>
                </c:pt>
                <c:pt idx="81">
                  <c:v>De Chanceny</c:v>
                </c:pt>
                <c:pt idx="82">
                  <c:v>All Others</c:v>
                </c:pt>
                <c:pt idx="83">
                  <c:v>De Venoge</c:v>
                </c:pt>
                <c:pt idx="84">
                  <c:v>Roederer</c:v>
                </c:pt>
                <c:pt idx="85">
                  <c:v>Ayala</c:v>
                </c:pt>
                <c:pt idx="86">
                  <c:v>Krug</c:v>
                </c:pt>
                <c:pt idx="87">
                  <c:v>Canard Duch</c:v>
                </c:pt>
                <c:pt idx="88">
                  <c:v>De Venoge</c:v>
                </c:pt>
                <c:pt idx="89">
                  <c:v>Patriarche</c:v>
                </c:pt>
                <c:pt idx="90">
                  <c:v>Laurent Per</c:v>
                </c:pt>
                <c:pt idx="91">
                  <c:v>Ruinart</c:v>
                </c:pt>
                <c:pt idx="92">
                  <c:v>Roederer</c:v>
                </c:pt>
                <c:pt idx="93">
                  <c:v>Henriot</c:v>
                </c:pt>
                <c:pt idx="94">
                  <c:v>Vranken</c:v>
                </c:pt>
                <c:pt idx="95">
                  <c:v>Roederer</c:v>
                </c:pt>
                <c:pt idx="96">
                  <c:v>Malard</c:v>
                </c:pt>
                <c:pt idx="97">
                  <c:v>Nicolas</c:v>
                </c:pt>
                <c:pt idx="98">
                  <c:v>All Others</c:v>
                </c:pt>
                <c:pt idx="99">
                  <c:v>De Venoge</c:v>
                </c:pt>
                <c:pt idx="100">
                  <c:v>Ruinart</c:v>
                </c:pt>
                <c:pt idx="101">
                  <c:v>Vranken</c:v>
                </c:pt>
                <c:pt idx="102">
                  <c:v>Ruinart</c:v>
                </c:pt>
                <c:pt idx="103">
                  <c:v>Canard Duch</c:v>
                </c:pt>
                <c:pt idx="104">
                  <c:v>Nicolas</c:v>
                </c:pt>
                <c:pt idx="105">
                  <c:v>Bottega</c:v>
                </c:pt>
                <c:pt idx="106">
                  <c:v>Veuve Clicq</c:v>
                </c:pt>
                <c:pt idx="107">
                  <c:v>Ruinart</c:v>
                </c:pt>
                <c:pt idx="108">
                  <c:v>Kriter</c:v>
                </c:pt>
                <c:pt idx="109">
                  <c:v>Ruinart</c:v>
                </c:pt>
                <c:pt idx="110">
                  <c:v>Roederer</c:v>
                </c:pt>
                <c:pt idx="111">
                  <c:v>Roederer</c:v>
                </c:pt>
                <c:pt idx="112">
                  <c:v>Roederer</c:v>
                </c:pt>
                <c:pt idx="113">
                  <c:v>All Others</c:v>
                </c:pt>
                <c:pt idx="114">
                  <c:v>All Others</c:v>
                </c:pt>
                <c:pt idx="115">
                  <c:v>Nicolas</c:v>
                </c:pt>
                <c:pt idx="116">
                  <c:v>Deutz</c:v>
                </c:pt>
                <c:pt idx="117">
                  <c:v>Nicolas</c:v>
                </c:pt>
                <c:pt idx="118">
                  <c:v>Canard Duch</c:v>
                </c:pt>
                <c:pt idx="119">
                  <c:v>All Others</c:v>
                </c:pt>
                <c:pt idx="120">
                  <c:v>All Others</c:v>
                </c:pt>
                <c:pt idx="121">
                  <c:v>All Others</c:v>
                </c:pt>
                <c:pt idx="122">
                  <c:v>All Others</c:v>
                </c:pt>
                <c:pt idx="123">
                  <c:v>Roederer</c:v>
                </c:pt>
                <c:pt idx="124">
                  <c:v>Roederer</c:v>
                </c:pt>
                <c:pt idx="125">
                  <c:v>Contarini</c:v>
                </c:pt>
                <c:pt idx="126">
                  <c:v>Bollinger</c:v>
                </c:pt>
                <c:pt idx="127">
                  <c:v>Moët &amp; Chan</c:v>
                </c:pt>
                <c:pt idx="128">
                  <c:v>Bollinger</c:v>
                </c:pt>
                <c:pt idx="129">
                  <c:v>Cru La Maqu</c:v>
                </c:pt>
                <c:pt idx="130">
                  <c:v>All Others</c:v>
                </c:pt>
                <c:pt idx="131">
                  <c:v>Nicolas</c:v>
                </c:pt>
                <c:pt idx="132">
                  <c:v>Dom Perigno</c:v>
                </c:pt>
                <c:pt idx="133">
                  <c:v>Bollinger</c:v>
                </c:pt>
                <c:pt idx="134">
                  <c:v>All Others</c:v>
                </c:pt>
                <c:pt idx="135">
                  <c:v>All Others</c:v>
                </c:pt>
                <c:pt idx="136">
                  <c:v>Nicolas Feu</c:v>
                </c:pt>
                <c:pt idx="137">
                  <c:v>Perrier Jou</c:v>
                </c:pt>
                <c:pt idx="138">
                  <c:v>Laurent Per</c:v>
                </c:pt>
                <c:pt idx="139">
                  <c:v>All Others</c:v>
                </c:pt>
                <c:pt idx="140">
                  <c:v>Pommery</c:v>
                </c:pt>
                <c:pt idx="141">
                  <c:v>Nicolas</c:v>
                </c:pt>
                <c:pt idx="142">
                  <c:v>Roederer</c:v>
                </c:pt>
                <c:pt idx="143">
                  <c:v>Nicolas</c:v>
                </c:pt>
                <c:pt idx="144">
                  <c:v>Nicolas</c:v>
                </c:pt>
                <c:pt idx="145">
                  <c:v>All Others</c:v>
                </c:pt>
                <c:pt idx="146">
                  <c:v>Demoiselle</c:v>
                </c:pt>
                <c:pt idx="147">
                  <c:v>Deutz</c:v>
                </c:pt>
                <c:pt idx="148">
                  <c:v>Besserat De</c:v>
                </c:pt>
                <c:pt idx="149">
                  <c:v>Pommery</c:v>
                </c:pt>
                <c:pt idx="150">
                  <c:v>All Others</c:v>
                </c:pt>
                <c:pt idx="151">
                  <c:v>Ruinart</c:v>
                </c:pt>
                <c:pt idx="152">
                  <c:v>Canard Duch</c:v>
                </c:pt>
                <c:pt idx="153">
                  <c:v>Dom Perigno</c:v>
                </c:pt>
                <c:pt idx="154">
                  <c:v>Nicolas</c:v>
                </c:pt>
                <c:pt idx="155">
                  <c:v>Mure</c:v>
                </c:pt>
                <c:pt idx="156">
                  <c:v>Lanson</c:v>
                </c:pt>
                <c:pt idx="157">
                  <c:v>All Others</c:v>
                </c:pt>
                <c:pt idx="158">
                  <c:v>All Others</c:v>
                </c:pt>
                <c:pt idx="159">
                  <c:v>Roederer</c:v>
                </c:pt>
                <c:pt idx="160">
                  <c:v>Nicolas</c:v>
                </c:pt>
                <c:pt idx="161">
                  <c:v>All Others</c:v>
                </c:pt>
                <c:pt idx="162">
                  <c:v>All Others</c:v>
                </c:pt>
                <c:pt idx="163">
                  <c:v>Laurent Per</c:v>
                </c:pt>
                <c:pt idx="164">
                  <c:v>Laurent Per</c:v>
                </c:pt>
                <c:pt idx="165">
                  <c:v>Roederer</c:v>
                </c:pt>
                <c:pt idx="166">
                  <c:v>Taittinger</c:v>
                </c:pt>
                <c:pt idx="167">
                  <c:v>All Others</c:v>
                </c:pt>
                <c:pt idx="168">
                  <c:v>All Others</c:v>
                </c:pt>
                <c:pt idx="169">
                  <c:v>All Others</c:v>
                </c:pt>
                <c:pt idx="170">
                  <c:v>Nicolas</c:v>
                </c:pt>
                <c:pt idx="171">
                  <c:v>Contarini</c:v>
                </c:pt>
                <c:pt idx="172">
                  <c:v>All Others</c:v>
                </c:pt>
                <c:pt idx="173">
                  <c:v>Laurent Per</c:v>
                </c:pt>
                <c:pt idx="174">
                  <c:v>Vesselle</c:v>
                </c:pt>
                <c:pt idx="175">
                  <c:v>Ruinart</c:v>
                </c:pt>
                <c:pt idx="176">
                  <c:v>Deutz</c:v>
                </c:pt>
                <c:pt idx="177">
                  <c:v>Pommery</c:v>
                </c:pt>
                <c:pt idx="178">
                  <c:v>Ruinart</c:v>
                </c:pt>
                <c:pt idx="179">
                  <c:v>Demoiselle</c:v>
                </c:pt>
                <c:pt idx="180">
                  <c:v>All Others</c:v>
                </c:pt>
                <c:pt idx="181">
                  <c:v>Roederer</c:v>
                </c:pt>
                <c:pt idx="182">
                  <c:v>Louis Marti</c:v>
                </c:pt>
                <c:pt idx="183">
                  <c:v>Ayala</c:v>
                </c:pt>
                <c:pt idx="184">
                  <c:v>Vranken</c:v>
                </c:pt>
                <c:pt idx="185">
                  <c:v>Piper Heids</c:v>
                </c:pt>
                <c:pt idx="186">
                  <c:v>Nicolas</c:v>
                </c:pt>
                <c:pt idx="187">
                  <c:v>All Others</c:v>
                </c:pt>
                <c:pt idx="188">
                  <c:v>Nicolas</c:v>
                </c:pt>
                <c:pt idx="189">
                  <c:v>All Others</c:v>
                </c:pt>
                <c:pt idx="190">
                  <c:v>Perrier Jou</c:v>
                </c:pt>
                <c:pt idx="191">
                  <c:v>Canard Duch</c:v>
                </c:pt>
                <c:pt idx="192">
                  <c:v>Besserat De</c:v>
                </c:pt>
                <c:pt idx="193">
                  <c:v>All Others</c:v>
                </c:pt>
                <c:pt idx="194">
                  <c:v>Roederer</c:v>
                </c:pt>
                <c:pt idx="195">
                  <c:v>Ruinart</c:v>
                </c:pt>
                <c:pt idx="196">
                  <c:v>Nicolas</c:v>
                </c:pt>
                <c:pt idx="197">
                  <c:v>Ruinart</c:v>
                </c:pt>
                <c:pt idx="198">
                  <c:v>All Others</c:v>
                </c:pt>
                <c:pt idx="199">
                  <c:v>All Others</c:v>
                </c:pt>
                <c:pt idx="200">
                  <c:v>Vesselle</c:v>
                </c:pt>
                <c:pt idx="201">
                  <c:v>Moët &amp; Chan</c:v>
                </c:pt>
                <c:pt idx="202">
                  <c:v>Piper Heids</c:v>
                </c:pt>
                <c:pt idx="203">
                  <c:v>Delamotte</c:v>
                </c:pt>
                <c:pt idx="204">
                  <c:v>Bouvet-Ladu</c:v>
                </c:pt>
                <c:pt idx="205">
                  <c:v>Henriot</c:v>
                </c:pt>
                <c:pt idx="206">
                  <c:v>Pommery</c:v>
                </c:pt>
                <c:pt idx="207">
                  <c:v>All Others</c:v>
                </c:pt>
                <c:pt idx="208">
                  <c:v>Moët &amp; Chan</c:v>
                </c:pt>
                <c:pt idx="209">
                  <c:v>Ruinart</c:v>
                </c:pt>
                <c:pt idx="210">
                  <c:v>All Others</c:v>
                </c:pt>
                <c:pt idx="211">
                  <c:v>Malard</c:v>
                </c:pt>
                <c:pt idx="212">
                  <c:v>Bollinger</c:v>
                </c:pt>
                <c:pt idx="213">
                  <c:v>Taittinger</c:v>
                </c:pt>
                <c:pt idx="214">
                  <c:v>All Others</c:v>
                </c:pt>
                <c:pt idx="215">
                  <c:v>All Others</c:v>
                </c:pt>
                <c:pt idx="216">
                  <c:v>All Others</c:v>
                </c:pt>
                <c:pt idx="217">
                  <c:v>All Others</c:v>
                </c:pt>
                <c:pt idx="218">
                  <c:v>Bouvet-Ladu</c:v>
                </c:pt>
                <c:pt idx="219">
                  <c:v>All Others</c:v>
                </c:pt>
                <c:pt idx="220">
                  <c:v>All Others</c:v>
                </c:pt>
                <c:pt idx="221">
                  <c:v>Nicolas</c:v>
                </c:pt>
                <c:pt idx="222">
                  <c:v>Roederer</c:v>
                </c:pt>
                <c:pt idx="223">
                  <c:v>All Others</c:v>
                </c:pt>
                <c:pt idx="224">
                  <c:v>Moët &amp; Chan</c:v>
                </c:pt>
                <c:pt idx="225">
                  <c:v>All Others</c:v>
                </c:pt>
                <c:pt idx="226">
                  <c:v>Nicolas</c:v>
                </c:pt>
                <c:pt idx="227">
                  <c:v>Taittinger</c:v>
                </c:pt>
                <c:pt idx="228">
                  <c:v>Henriot</c:v>
                </c:pt>
                <c:pt idx="229">
                  <c:v>Ruinart</c:v>
                </c:pt>
                <c:pt idx="230">
                  <c:v>Deutz</c:v>
                </c:pt>
                <c:pt idx="231">
                  <c:v>All Others</c:v>
                </c:pt>
                <c:pt idx="232">
                  <c:v>Veuve Clicq</c:v>
                </c:pt>
                <c:pt idx="233">
                  <c:v>Mure</c:v>
                </c:pt>
                <c:pt idx="234">
                  <c:v>De Venoge</c:v>
                </c:pt>
                <c:pt idx="235">
                  <c:v>Nicolas Feu</c:v>
                </c:pt>
                <c:pt idx="236">
                  <c:v>Bouvet-Ladu</c:v>
                </c:pt>
                <c:pt idx="237">
                  <c:v>All Others</c:v>
                </c:pt>
                <c:pt idx="238">
                  <c:v>All Others</c:v>
                </c:pt>
                <c:pt idx="239">
                  <c:v>All Others</c:v>
                </c:pt>
                <c:pt idx="240">
                  <c:v>Canard Duch</c:v>
                </c:pt>
                <c:pt idx="241">
                  <c:v>All Others</c:v>
                </c:pt>
                <c:pt idx="242">
                  <c:v>Laurent Per</c:v>
                </c:pt>
                <c:pt idx="243">
                  <c:v>Piper Heids</c:v>
                </c:pt>
                <c:pt idx="244">
                  <c:v>Ruinart</c:v>
                </c:pt>
                <c:pt idx="245">
                  <c:v>Roederer</c:v>
                </c:pt>
                <c:pt idx="246">
                  <c:v>Veuve Clicq</c:v>
                </c:pt>
                <c:pt idx="247">
                  <c:v>Canard Duch</c:v>
                </c:pt>
                <c:pt idx="248">
                  <c:v>Nicolas</c:v>
                </c:pt>
                <c:pt idx="249">
                  <c:v>Ruinart</c:v>
                </c:pt>
                <c:pt idx="250">
                  <c:v>All Others</c:v>
                </c:pt>
                <c:pt idx="251">
                  <c:v>Celene</c:v>
                </c:pt>
                <c:pt idx="252">
                  <c:v>All Others</c:v>
                </c:pt>
                <c:pt idx="253">
                  <c:v>Piper Heids</c:v>
                </c:pt>
                <c:pt idx="254">
                  <c:v>All Others</c:v>
                </c:pt>
                <c:pt idx="255">
                  <c:v>Laurent Per</c:v>
                </c:pt>
                <c:pt idx="256">
                  <c:v>All Others</c:v>
                </c:pt>
                <c:pt idx="257">
                  <c:v>De Venoge</c:v>
                </c:pt>
                <c:pt idx="258">
                  <c:v>Roederer</c:v>
                </c:pt>
                <c:pt idx="259">
                  <c:v>Deutz</c:v>
                </c:pt>
                <c:pt idx="260">
                  <c:v>Roederer</c:v>
                </c:pt>
                <c:pt idx="261">
                  <c:v>All Others</c:v>
                </c:pt>
                <c:pt idx="262">
                  <c:v>All Others</c:v>
                </c:pt>
                <c:pt idx="263">
                  <c:v>Perrier Jou</c:v>
                </c:pt>
                <c:pt idx="264">
                  <c:v>Ruinart</c:v>
                </c:pt>
                <c:pt idx="265">
                  <c:v>All Others</c:v>
                </c:pt>
                <c:pt idx="266">
                  <c:v>Pommery</c:v>
                </c:pt>
                <c:pt idx="267">
                  <c:v>Laurent Per</c:v>
                </c:pt>
                <c:pt idx="268">
                  <c:v>Dom Perigno</c:v>
                </c:pt>
                <c:pt idx="269">
                  <c:v>Celene</c:v>
                </c:pt>
                <c:pt idx="270">
                  <c:v>All Others</c:v>
                </c:pt>
                <c:pt idx="271">
                  <c:v>Bollinger</c:v>
                </c:pt>
                <c:pt idx="272">
                  <c:v>De Venoge</c:v>
                </c:pt>
                <c:pt idx="273">
                  <c:v>De Venoge</c:v>
                </c:pt>
                <c:pt idx="274">
                  <c:v>Malard</c:v>
                </c:pt>
                <c:pt idx="275">
                  <c:v>All Others</c:v>
                </c:pt>
                <c:pt idx="276">
                  <c:v>All Others</c:v>
                </c:pt>
                <c:pt idx="277">
                  <c:v>All Others</c:v>
                </c:pt>
                <c:pt idx="278">
                  <c:v>All Others</c:v>
                </c:pt>
                <c:pt idx="279">
                  <c:v>All Others</c:v>
                </c:pt>
                <c:pt idx="280">
                  <c:v>Bollinger</c:v>
                </c:pt>
                <c:pt idx="281">
                  <c:v>All Others</c:v>
                </c:pt>
                <c:pt idx="282">
                  <c:v>De Bligny</c:v>
                </c:pt>
                <c:pt idx="283">
                  <c:v>Dom Perigno</c:v>
                </c:pt>
                <c:pt idx="284">
                  <c:v>All Others</c:v>
                </c:pt>
                <c:pt idx="285">
                  <c:v>Laurent Per</c:v>
                </c:pt>
                <c:pt idx="286">
                  <c:v>Martel</c:v>
                </c:pt>
                <c:pt idx="287">
                  <c:v>Bollinger</c:v>
                </c:pt>
                <c:pt idx="288">
                  <c:v>Roederer</c:v>
                </c:pt>
                <c:pt idx="289">
                  <c:v>Bollinger</c:v>
                </c:pt>
                <c:pt idx="290">
                  <c:v>All Others</c:v>
                </c:pt>
                <c:pt idx="291">
                  <c:v>Perrier Jou</c:v>
                </c:pt>
                <c:pt idx="292">
                  <c:v>De Venoge</c:v>
                </c:pt>
                <c:pt idx="293">
                  <c:v>De Venoge</c:v>
                </c:pt>
                <c:pt idx="294">
                  <c:v>All Others</c:v>
                </c:pt>
                <c:pt idx="295">
                  <c:v>Besserat De</c:v>
                </c:pt>
                <c:pt idx="296">
                  <c:v>Ayala</c:v>
                </c:pt>
                <c:pt idx="297">
                  <c:v>Bollinger</c:v>
                </c:pt>
                <c:pt idx="298">
                  <c:v>De Bligny</c:v>
                </c:pt>
                <c:pt idx="299">
                  <c:v>All Others</c:v>
                </c:pt>
                <c:pt idx="300">
                  <c:v>All Others</c:v>
                </c:pt>
                <c:pt idx="301">
                  <c:v>All Others</c:v>
                </c:pt>
                <c:pt idx="302">
                  <c:v>Moët &amp; Chan</c:v>
                </c:pt>
                <c:pt idx="303">
                  <c:v>All Others</c:v>
                </c:pt>
                <c:pt idx="304">
                  <c:v>Pommery</c:v>
                </c:pt>
                <c:pt idx="305">
                  <c:v>Deutz</c:v>
                </c:pt>
                <c:pt idx="306">
                  <c:v>Bollinger</c:v>
                </c:pt>
                <c:pt idx="307">
                  <c:v>Pommery</c:v>
                </c:pt>
                <c:pt idx="308">
                  <c:v>All Others</c:v>
                </c:pt>
                <c:pt idx="309">
                  <c:v>Bollinger</c:v>
                </c:pt>
                <c:pt idx="310">
                  <c:v>Bottega</c:v>
                </c:pt>
                <c:pt idx="311">
                  <c:v>Roederer</c:v>
                </c:pt>
                <c:pt idx="312">
                  <c:v>Veuve Clicq</c:v>
                </c:pt>
                <c:pt idx="313">
                  <c:v>De Venoge</c:v>
                </c:pt>
                <c:pt idx="314">
                  <c:v>All Others</c:v>
                </c:pt>
                <c:pt idx="315">
                  <c:v>Dom Perigno</c:v>
                </c:pt>
                <c:pt idx="316">
                  <c:v>Taittinger</c:v>
                </c:pt>
                <c:pt idx="317">
                  <c:v>Roederer</c:v>
                </c:pt>
                <c:pt idx="318">
                  <c:v>All Others</c:v>
                </c:pt>
                <c:pt idx="319">
                  <c:v>Ruinart</c:v>
                </c:pt>
                <c:pt idx="320">
                  <c:v>All Others</c:v>
                </c:pt>
                <c:pt idx="321">
                  <c:v>Roederer</c:v>
                </c:pt>
                <c:pt idx="322">
                  <c:v>Besserat De</c:v>
                </c:pt>
                <c:pt idx="323">
                  <c:v>Roederer</c:v>
                </c:pt>
                <c:pt idx="324">
                  <c:v>Jaillance</c:v>
                </c:pt>
                <c:pt idx="325">
                  <c:v>All Others</c:v>
                </c:pt>
                <c:pt idx="326">
                  <c:v>Ruinart</c:v>
                </c:pt>
                <c:pt idx="327">
                  <c:v>Roederer</c:v>
                </c:pt>
                <c:pt idx="328">
                  <c:v>Besserat De</c:v>
                </c:pt>
                <c:pt idx="329">
                  <c:v>Veuve Clicq</c:v>
                </c:pt>
                <c:pt idx="330">
                  <c:v>Ruinart</c:v>
                </c:pt>
                <c:pt idx="331">
                  <c:v>Veuve Clicq</c:v>
                </c:pt>
                <c:pt idx="332">
                  <c:v>All Others</c:v>
                </c:pt>
                <c:pt idx="333">
                  <c:v>All Others</c:v>
                </c:pt>
                <c:pt idx="334">
                  <c:v>All Others</c:v>
                </c:pt>
                <c:pt idx="335">
                  <c:v>All Others</c:v>
                </c:pt>
                <c:pt idx="336">
                  <c:v>Malard</c:v>
                </c:pt>
                <c:pt idx="337">
                  <c:v>Ruinart</c:v>
                </c:pt>
                <c:pt idx="338">
                  <c:v>All Others</c:v>
                </c:pt>
                <c:pt idx="339">
                  <c:v>Demoiselle</c:v>
                </c:pt>
                <c:pt idx="340">
                  <c:v>Perrier Jou</c:v>
                </c:pt>
                <c:pt idx="341">
                  <c:v>Perrier Jou</c:v>
                </c:pt>
                <c:pt idx="342">
                  <c:v>Bouvet-Ladu</c:v>
                </c:pt>
                <c:pt idx="343">
                  <c:v>Veuve Clicq</c:v>
                </c:pt>
                <c:pt idx="344">
                  <c:v>Pommery</c:v>
                </c:pt>
                <c:pt idx="345">
                  <c:v>All Others</c:v>
                </c:pt>
                <c:pt idx="346">
                  <c:v>All Others</c:v>
                </c:pt>
                <c:pt idx="347">
                  <c:v>Malard</c:v>
                </c:pt>
                <c:pt idx="348">
                  <c:v>All Others</c:v>
                </c:pt>
                <c:pt idx="349">
                  <c:v>Ruinart</c:v>
                </c:pt>
                <c:pt idx="350">
                  <c:v>Bouvet-Ladu</c:v>
                </c:pt>
                <c:pt idx="351">
                  <c:v>All Others</c:v>
                </c:pt>
                <c:pt idx="352">
                  <c:v>Ruinart</c:v>
                </c:pt>
                <c:pt idx="353">
                  <c:v>Nicolas</c:v>
                </c:pt>
                <c:pt idx="354">
                  <c:v>Roederer</c:v>
                </c:pt>
                <c:pt idx="355">
                  <c:v>Laurent Per</c:v>
                </c:pt>
                <c:pt idx="356">
                  <c:v>Roederer</c:v>
                </c:pt>
                <c:pt idx="357">
                  <c:v>Lanson</c:v>
                </c:pt>
                <c:pt idx="358">
                  <c:v>Roederer</c:v>
                </c:pt>
                <c:pt idx="359">
                  <c:v>Veuve Clicq</c:v>
                </c:pt>
                <c:pt idx="360">
                  <c:v>Roederer</c:v>
                </c:pt>
                <c:pt idx="361">
                  <c:v>Moët &amp; Chan</c:v>
                </c:pt>
                <c:pt idx="362">
                  <c:v>Delamotte</c:v>
                </c:pt>
                <c:pt idx="363">
                  <c:v>Roederer</c:v>
                </c:pt>
                <c:pt idx="364">
                  <c:v>Laurent Per</c:v>
                </c:pt>
                <c:pt idx="365">
                  <c:v>All Others</c:v>
                </c:pt>
                <c:pt idx="366">
                  <c:v>All Others</c:v>
                </c:pt>
                <c:pt idx="367">
                  <c:v>Roederer</c:v>
                </c:pt>
                <c:pt idx="368">
                  <c:v>Veuve Clicq</c:v>
                </c:pt>
                <c:pt idx="369">
                  <c:v>Bottega</c:v>
                </c:pt>
                <c:pt idx="370">
                  <c:v>Roederer</c:v>
                </c:pt>
                <c:pt idx="371">
                  <c:v>All Others</c:v>
                </c:pt>
                <c:pt idx="372">
                  <c:v>Demoiselle</c:v>
                </c:pt>
                <c:pt idx="373">
                  <c:v>Besserat De</c:v>
                </c:pt>
                <c:pt idx="374">
                  <c:v>Besserat De</c:v>
                </c:pt>
                <c:pt idx="375">
                  <c:v>Roederer</c:v>
                </c:pt>
                <c:pt idx="376">
                  <c:v>Laurent Per</c:v>
                </c:pt>
                <c:pt idx="377">
                  <c:v>Malard</c:v>
                </c:pt>
                <c:pt idx="378">
                  <c:v>Ayala</c:v>
                </c:pt>
                <c:pt idx="379">
                  <c:v>Vranken Pom</c:v>
                </c:pt>
                <c:pt idx="380">
                  <c:v>Laurent Per</c:v>
                </c:pt>
                <c:pt idx="381">
                  <c:v>All Others</c:v>
                </c:pt>
                <c:pt idx="382">
                  <c:v>Roederer</c:v>
                </c:pt>
                <c:pt idx="383">
                  <c:v>Delamotte</c:v>
                </c:pt>
                <c:pt idx="384">
                  <c:v>Bouvet-Ladu</c:v>
                </c:pt>
                <c:pt idx="385">
                  <c:v>Demoiselle</c:v>
                </c:pt>
                <c:pt idx="386">
                  <c:v>Pommery</c:v>
                </c:pt>
                <c:pt idx="387">
                  <c:v>Lanson</c:v>
                </c:pt>
                <c:pt idx="388">
                  <c:v>Malard</c:v>
                </c:pt>
                <c:pt idx="389">
                  <c:v>Pommery</c:v>
                </c:pt>
                <c:pt idx="390">
                  <c:v>All Others</c:v>
                </c:pt>
                <c:pt idx="391">
                  <c:v>All Others</c:v>
                </c:pt>
                <c:pt idx="392">
                  <c:v>Lanson</c:v>
                </c:pt>
                <c:pt idx="393">
                  <c:v>Roederer</c:v>
                </c:pt>
                <c:pt idx="394">
                  <c:v>All Others</c:v>
                </c:pt>
                <c:pt idx="395">
                  <c:v>All Others</c:v>
                </c:pt>
                <c:pt idx="396">
                  <c:v>French Bloo</c:v>
                </c:pt>
                <c:pt idx="397">
                  <c:v>All Others</c:v>
                </c:pt>
                <c:pt idx="398">
                  <c:v>All Others</c:v>
                </c:pt>
              </c:strCache>
            </c:strRef>
          </c:cat>
          <c:val>
            <c:numRef>
              <c:f>Sheet1!$C$2:$C$400</c:f>
              <c:numCache>
                <c:formatCode>General</c:formatCode>
                <c:ptCount val="399"/>
                <c:pt idx="0">
                  <c:v>9.8383933221229514E-2</c:v>
                </c:pt>
                <c:pt idx="1">
                  <c:v>0.1588256918105429</c:v>
                </c:pt>
                <c:pt idx="2">
                  <c:v>0.20923738769954522</c:v>
                </c:pt>
                <c:pt idx="3">
                  <c:v>0.25499139350675482</c:v>
                </c:pt>
                <c:pt idx="4">
                  <c:v>0.28854553989910658</c:v>
                </c:pt>
                <c:pt idx="5">
                  <c:v>0.32146904022076339</c:v>
                </c:pt>
                <c:pt idx="6">
                  <c:v>0.349113311790192</c:v>
                </c:pt>
                <c:pt idx="7">
                  <c:v>0.37444819503746041</c:v>
                </c:pt>
                <c:pt idx="8">
                  <c:v>0.39956847481679636</c:v>
                </c:pt>
                <c:pt idx="9">
                  <c:v>0.42463700800374893</c:v>
                </c:pt>
                <c:pt idx="10">
                  <c:v>0.44441124383077124</c:v>
                </c:pt>
                <c:pt idx="11">
                  <c:v>0.46399505219782267</c:v>
                </c:pt>
                <c:pt idx="12">
                  <c:v>0.4824563320856195</c:v>
                </c:pt>
                <c:pt idx="13">
                  <c:v>0.50005340248333963</c:v>
                </c:pt>
                <c:pt idx="14">
                  <c:v>0.51549168784137223</c:v>
                </c:pt>
                <c:pt idx="15">
                  <c:v>0.53038882803489618</c:v>
                </c:pt>
                <c:pt idx="16">
                  <c:v>0.54443682734604559</c:v>
                </c:pt>
                <c:pt idx="17">
                  <c:v>0.55613553136298866</c:v>
                </c:pt>
                <c:pt idx="18">
                  <c:v>0.56748964447193218</c:v>
                </c:pt>
                <c:pt idx="19">
                  <c:v>0.5780548911293093</c:v>
                </c:pt>
                <c:pt idx="20">
                  <c:v>0.58854504313181966</c:v>
                </c:pt>
                <c:pt idx="21">
                  <c:v>0.59864465325229399</c:v>
                </c:pt>
                <c:pt idx="22">
                  <c:v>0.6087156164592249</c:v>
                </c:pt>
                <c:pt idx="23">
                  <c:v>0.61775934771143448</c:v>
                </c:pt>
                <c:pt idx="24">
                  <c:v>0.6262143269341427</c:v>
                </c:pt>
                <c:pt idx="25">
                  <c:v>0.63390527806962849</c:v>
                </c:pt>
                <c:pt idx="26">
                  <c:v>0.64157254996443969</c:v>
                </c:pt>
                <c:pt idx="27">
                  <c:v>0.6488750290815849</c:v>
                </c:pt>
                <c:pt idx="28">
                  <c:v>0.65607219353391133</c:v>
                </c:pt>
                <c:pt idx="29">
                  <c:v>0.6630366225123342</c:v>
                </c:pt>
                <c:pt idx="30">
                  <c:v>0.66972261342646056</c:v>
                </c:pt>
                <c:pt idx="31">
                  <c:v>0.67640529255867432</c:v>
                </c:pt>
                <c:pt idx="32">
                  <c:v>0.68295417570162154</c:v>
                </c:pt>
                <c:pt idx="33">
                  <c:v>0.68923703996244423</c:v>
                </c:pt>
                <c:pt idx="34">
                  <c:v>0.69547933489483837</c:v>
                </c:pt>
                <c:pt idx="35">
                  <c:v>0.70161366573688377</c:v>
                </c:pt>
                <c:pt idx="36">
                  <c:v>0.70721935339114039</c:v>
                </c:pt>
                <c:pt idx="37">
                  <c:v>0.71274845608866955</c:v>
                </c:pt>
                <c:pt idx="38">
                  <c:v>0.71824245389792585</c:v>
                </c:pt>
                <c:pt idx="39">
                  <c:v>0.72372933137607021</c:v>
                </c:pt>
                <c:pt idx="40">
                  <c:v>0.72916744286555235</c:v>
                </c:pt>
                <c:pt idx="41">
                  <c:v>0.73458311703257706</c:v>
                </c:pt>
                <c:pt idx="42">
                  <c:v>0.73998380538644759</c:v>
                </c:pt>
                <c:pt idx="43">
                  <c:v>0.74532653755684874</c:v>
                </c:pt>
                <c:pt idx="44">
                  <c:v>0.75064443136290582</c:v>
                </c:pt>
                <c:pt idx="45">
                  <c:v>0.75579292752413663</c:v>
                </c:pt>
                <c:pt idx="46">
                  <c:v>0.76093471732699458</c:v>
                </c:pt>
                <c:pt idx="47">
                  <c:v>0.76607129107334027</c:v>
                </c:pt>
                <c:pt idx="48">
                  <c:v>0.77082237340506654</c:v>
                </c:pt>
                <c:pt idx="49">
                  <c:v>0.77554100027404993</c:v>
                </c:pt>
                <c:pt idx="50">
                  <c:v>0.78021897502005699</c:v>
                </c:pt>
                <c:pt idx="51">
                  <c:v>0.78487881776009283</c:v>
                </c:pt>
                <c:pt idx="52">
                  <c:v>0.78933134295240381</c:v>
                </c:pt>
                <c:pt idx="53">
                  <c:v>0.79377318764804694</c:v>
                </c:pt>
                <c:pt idx="54">
                  <c:v>0.79817951348267813</c:v>
                </c:pt>
                <c:pt idx="55">
                  <c:v>0.80256431273487772</c:v>
                </c:pt>
                <c:pt idx="56">
                  <c:v>0.80690821148045755</c:v>
                </c:pt>
                <c:pt idx="57">
                  <c:v>0.81099130740042502</c:v>
                </c:pt>
                <c:pt idx="58">
                  <c:v>0.81506372282372452</c:v>
                </c:pt>
                <c:pt idx="59">
                  <c:v>0.81899977562677528</c:v>
                </c:pt>
                <c:pt idx="60">
                  <c:v>0.82274498699711618</c:v>
                </c:pt>
                <c:pt idx="61">
                  <c:v>0.82641079839610398</c:v>
                </c:pt>
                <c:pt idx="62">
                  <c:v>0.83001915037890917</c:v>
                </c:pt>
                <c:pt idx="63">
                  <c:v>0.83360663813566538</c:v>
                </c:pt>
                <c:pt idx="64">
                  <c:v>0.83694077457611249</c:v>
                </c:pt>
                <c:pt idx="65">
                  <c:v>0.84016835443352367</c:v>
                </c:pt>
                <c:pt idx="66">
                  <c:v>0.84333052659816232</c:v>
                </c:pt>
                <c:pt idx="67">
                  <c:v>0.84647175174220413</c:v>
                </c:pt>
                <c:pt idx="68">
                  <c:v>0.84960809200792498</c:v>
                </c:pt>
                <c:pt idx="69">
                  <c:v>0.85265675284751141</c:v>
                </c:pt>
                <c:pt idx="70">
                  <c:v>0.85558279496178613</c:v>
                </c:pt>
                <c:pt idx="71">
                  <c:v>0.85847480851690949</c:v>
                </c:pt>
                <c:pt idx="72">
                  <c:v>0.86134355680409724</c:v>
                </c:pt>
                <c:pt idx="73">
                  <c:v>0.86412305256874211</c:v>
                </c:pt>
                <c:pt idx="74">
                  <c:v>0.86689170224762346</c:v>
                </c:pt>
                <c:pt idx="75">
                  <c:v>0.86963079427293544</c:v>
                </c:pt>
                <c:pt idx="76">
                  <c:v>0.87235663917059725</c:v>
                </c:pt>
                <c:pt idx="77">
                  <c:v>0.87505996395125374</c:v>
                </c:pt>
                <c:pt idx="78">
                  <c:v>0.87775964577180654</c:v>
                </c:pt>
                <c:pt idx="79">
                  <c:v>0.88021475249811842</c:v>
                </c:pt>
                <c:pt idx="80">
                  <c:v>0.88259277750041598</c:v>
                </c:pt>
                <c:pt idx="81">
                  <c:v>0.88490034434252429</c:v>
                </c:pt>
                <c:pt idx="82">
                  <c:v>0.88700415380246378</c:v>
                </c:pt>
                <c:pt idx="83">
                  <c:v>0.88909099038010142</c:v>
                </c:pt>
                <c:pt idx="84">
                  <c:v>0.89112177504886936</c:v>
                </c:pt>
                <c:pt idx="85">
                  <c:v>0.89314850278479452</c:v>
                </c:pt>
                <c:pt idx="86">
                  <c:v>0.89515858881660915</c:v>
                </c:pt>
                <c:pt idx="87">
                  <c:v>0.89710392951203366</c:v>
                </c:pt>
                <c:pt idx="88">
                  <c:v>0.89904686916557164</c:v>
                </c:pt>
                <c:pt idx="89">
                  <c:v>0.90097225637497313</c:v>
                </c:pt>
                <c:pt idx="90">
                  <c:v>0.90289532533703587</c:v>
                </c:pt>
                <c:pt idx="91">
                  <c:v>0.90481218470801261</c:v>
                </c:pt>
                <c:pt idx="92">
                  <c:v>0.90650616115627558</c:v>
                </c:pt>
                <c:pt idx="93">
                  <c:v>0.90817198745828198</c:v>
                </c:pt>
                <c:pt idx="94">
                  <c:v>0.90980908405219707</c:v>
                </c:pt>
                <c:pt idx="95">
                  <c:v>0.91143831516406992</c:v>
                </c:pt>
                <c:pt idx="96">
                  <c:v>0.9130215953019063</c:v>
                </c:pt>
                <c:pt idx="97">
                  <c:v>0.91459527127219631</c:v>
                </c:pt>
                <c:pt idx="98">
                  <c:v>0.91616149573318306</c:v>
                </c:pt>
                <c:pt idx="99">
                  <c:v>0.91771604616292812</c:v>
                </c:pt>
                <c:pt idx="100">
                  <c:v>0.91926852672897785</c:v>
                </c:pt>
                <c:pt idx="101">
                  <c:v>0.9208096644419772</c:v>
                </c:pt>
                <c:pt idx="102">
                  <c:v>0.92232190685778959</c:v>
                </c:pt>
                <c:pt idx="103">
                  <c:v>0.92379755408346853</c:v>
                </c:pt>
                <c:pt idx="104">
                  <c:v>0.92522832666423249</c:v>
                </c:pt>
                <c:pt idx="105">
                  <c:v>0.9266396425262603</c:v>
                </c:pt>
                <c:pt idx="106">
                  <c:v>0.92802462972208344</c:v>
                </c:pt>
                <c:pt idx="107">
                  <c:v>0.92939198167922232</c:v>
                </c:pt>
                <c:pt idx="108">
                  <c:v>0.93073490924475633</c:v>
                </c:pt>
                <c:pt idx="109">
                  <c:v>0.93206657675178761</c:v>
                </c:pt>
                <c:pt idx="110">
                  <c:v>0.93334268911723617</c:v>
                </c:pt>
                <c:pt idx="111">
                  <c:v>0.93454279608779189</c:v>
                </c:pt>
                <c:pt idx="112">
                  <c:v>0.93571723674852547</c:v>
                </c:pt>
                <c:pt idx="113">
                  <c:v>0.93688828283279868</c:v>
                </c:pt>
                <c:pt idx="114">
                  <c:v>0.93804624737851738</c:v>
                </c:pt>
                <c:pt idx="115">
                  <c:v>0.93919270348209005</c:v>
                </c:pt>
                <c:pt idx="116">
                  <c:v>0.94032019963421343</c:v>
                </c:pt>
                <c:pt idx="117">
                  <c:v>0.94143179923315667</c:v>
                </c:pt>
                <c:pt idx="118">
                  <c:v>0.9425198023859731</c:v>
                </c:pt>
                <c:pt idx="119">
                  <c:v>0.94358859720369681</c:v>
                </c:pt>
                <c:pt idx="120">
                  <c:v>0.94464207503007502</c:v>
                </c:pt>
                <c:pt idx="121">
                  <c:v>0.94568263690699428</c:v>
                </c:pt>
                <c:pt idx="122">
                  <c:v>0.9466989399814042</c:v>
                </c:pt>
                <c:pt idx="123">
                  <c:v>0.94769628310436482</c:v>
                </c:pt>
                <c:pt idx="124">
                  <c:v>0.94869155636363012</c:v>
                </c:pt>
                <c:pt idx="125">
                  <c:v>0.94967200939883689</c:v>
                </c:pt>
                <c:pt idx="126">
                  <c:v>0.95064294106104508</c:v>
                </c:pt>
                <c:pt idx="127">
                  <c:v>0.95158795802978768</c:v>
                </c:pt>
                <c:pt idx="128">
                  <c:v>0.95249844967209207</c:v>
                </c:pt>
                <c:pt idx="129">
                  <c:v>0.95336853757506346</c:v>
                </c:pt>
                <c:pt idx="130">
                  <c:v>0.9542070807553179</c:v>
                </c:pt>
                <c:pt idx="131">
                  <c:v>0.95501871570753305</c:v>
                </c:pt>
                <c:pt idx="132">
                  <c:v>0.95581155629739456</c:v>
                </c:pt>
                <c:pt idx="133">
                  <c:v>0.95660091951624793</c:v>
                </c:pt>
                <c:pt idx="134">
                  <c:v>0.95738183769122431</c:v>
                </c:pt>
                <c:pt idx="135">
                  <c:v>0.95814520342206422</c:v>
                </c:pt>
                <c:pt idx="136">
                  <c:v>0.95887975665026504</c:v>
                </c:pt>
                <c:pt idx="137">
                  <c:v>0.95958450384125304</c:v>
                </c:pt>
                <c:pt idx="138">
                  <c:v>0.96028734675764127</c:v>
                </c:pt>
                <c:pt idx="139">
                  <c:v>0.96098232419198726</c:v>
                </c:pt>
                <c:pt idx="140">
                  <c:v>0.96167266513165572</c:v>
                </c:pt>
                <c:pt idx="141">
                  <c:v>0.96236234371494167</c:v>
                </c:pt>
                <c:pt idx="142">
                  <c:v>0.96303960311605563</c:v>
                </c:pt>
                <c:pt idx="143">
                  <c:v>0.96370841747329261</c:v>
                </c:pt>
                <c:pt idx="144">
                  <c:v>0.96436845560846129</c:v>
                </c:pt>
                <c:pt idx="145">
                  <c:v>0.96501839280879675</c:v>
                </c:pt>
                <c:pt idx="146">
                  <c:v>0.96565922260887271</c:v>
                </c:pt>
                <c:pt idx="147">
                  <c:v>0.96629251810509764</c:v>
                </c:pt>
                <c:pt idx="148">
                  <c:v>0.96692266740850574</c:v>
                </c:pt>
                <c:pt idx="149">
                  <c:v>0.96753940399516802</c:v>
                </c:pt>
                <c:pt idx="150">
                  <c:v>0.96814769553795332</c:v>
                </c:pt>
                <c:pt idx="151">
                  <c:v>0.96874994307874829</c:v>
                </c:pt>
                <c:pt idx="152">
                  <c:v>0.96935078311223044</c:v>
                </c:pt>
                <c:pt idx="153">
                  <c:v>0.96993953514173181</c:v>
                </c:pt>
                <c:pt idx="154">
                  <c:v>0.97051098311074013</c:v>
                </c:pt>
                <c:pt idx="155">
                  <c:v>0.97106612055382924</c:v>
                </c:pt>
                <c:pt idx="156">
                  <c:v>0.97160676895105103</c:v>
                </c:pt>
                <c:pt idx="157">
                  <c:v>0.97214129055173459</c:v>
                </c:pt>
                <c:pt idx="158">
                  <c:v>0.97267250037050557</c:v>
                </c:pt>
                <c:pt idx="159">
                  <c:v>0.97319741780364277</c:v>
                </c:pt>
                <c:pt idx="160">
                  <c:v>0.97370826016365164</c:v>
                </c:pt>
                <c:pt idx="161">
                  <c:v>0.97420270920319352</c:v>
                </c:pt>
                <c:pt idx="162">
                  <c:v>0.97468780245883246</c:v>
                </c:pt>
                <c:pt idx="163">
                  <c:v>0.97517281291992353</c:v>
                </c:pt>
                <c:pt idx="164">
                  <c:v>0.97565318688633706</c:v>
                </c:pt>
                <c:pt idx="165">
                  <c:v>0.97613314688001152</c:v>
                </c:pt>
                <c:pt idx="166">
                  <c:v>0.97661128539363407</c:v>
                </c:pt>
                <c:pt idx="167">
                  <c:v>0.97708718845446574</c:v>
                </c:pt>
                <c:pt idx="168">
                  <c:v>0.97755994532248047</c:v>
                </c:pt>
                <c:pt idx="169">
                  <c:v>0.97802790010672203</c:v>
                </c:pt>
                <c:pt idx="170">
                  <c:v>0.97847085093752395</c:v>
                </c:pt>
                <c:pt idx="171">
                  <c:v>0.97891065557550894</c:v>
                </c:pt>
                <c:pt idx="172">
                  <c:v>0.97934102163504322</c:v>
                </c:pt>
                <c:pt idx="173">
                  <c:v>0.97975921689604895</c:v>
                </c:pt>
                <c:pt idx="174">
                  <c:v>0.98013957504870386</c:v>
                </c:pt>
                <c:pt idx="175">
                  <c:v>0.98051927084497625</c:v>
                </c:pt>
                <c:pt idx="176">
                  <c:v>0.98089631721571868</c:v>
                </c:pt>
                <c:pt idx="177">
                  <c:v>0.98127137651731355</c:v>
                </c:pt>
                <c:pt idx="178">
                  <c:v>0.98164585625707368</c:v>
                </c:pt>
                <c:pt idx="179">
                  <c:v>0.98201487155667821</c:v>
                </c:pt>
                <c:pt idx="180">
                  <c:v>0.98238363847263932</c:v>
                </c:pt>
                <c:pt idx="181">
                  <c:v>0.9827324519025773</c:v>
                </c:pt>
                <c:pt idx="182">
                  <c:v>0.9830793610579156</c:v>
                </c:pt>
                <c:pt idx="183">
                  <c:v>0.98342171651312416</c:v>
                </c:pt>
                <c:pt idx="184">
                  <c:v>0.98375446780078635</c:v>
                </c:pt>
                <c:pt idx="185">
                  <c:v>0.98407902242821499</c:v>
                </c:pt>
                <c:pt idx="186">
                  <c:v>0.98439521480631453</c:v>
                </c:pt>
                <c:pt idx="187">
                  <c:v>0.98471132438986619</c:v>
                </c:pt>
                <c:pt idx="188">
                  <c:v>0.98502321145147942</c:v>
                </c:pt>
                <c:pt idx="189">
                  <c:v>0.98532681905831132</c:v>
                </c:pt>
                <c:pt idx="190">
                  <c:v>0.98562926754147384</c:v>
                </c:pt>
                <c:pt idx="191">
                  <c:v>0.98593105366825384</c:v>
                </c:pt>
                <c:pt idx="192">
                  <c:v>0.98622836888945187</c:v>
                </c:pt>
                <c:pt idx="193">
                  <c:v>0.98652195835599832</c:v>
                </c:pt>
                <c:pt idx="194">
                  <c:v>0.98679344167827854</c:v>
                </c:pt>
                <c:pt idx="195">
                  <c:v>0.98706144762955061</c:v>
                </c:pt>
                <c:pt idx="196">
                  <c:v>0.9873214225096848</c:v>
                </c:pt>
                <c:pt idx="197">
                  <c:v>0.98757800281335861</c:v>
                </c:pt>
                <c:pt idx="198">
                  <c:v>0.98781471242555718</c:v>
                </c:pt>
                <c:pt idx="199">
                  <c:v>0.98804968335225174</c:v>
                </c:pt>
                <c:pt idx="200">
                  <c:v>0.98828324677163348</c:v>
                </c:pt>
                <c:pt idx="201">
                  <c:v>0.98850240393969568</c:v>
                </c:pt>
                <c:pt idx="202">
                  <c:v>0.98871866329858438</c:v>
                </c:pt>
                <c:pt idx="203">
                  <c:v>0.98893243882103865</c:v>
                </c:pt>
                <c:pt idx="204">
                  <c:v>0.98914273697248478</c:v>
                </c:pt>
                <c:pt idx="205">
                  <c:v>0.98935055128749649</c:v>
                </c:pt>
                <c:pt idx="206">
                  <c:v>0.98955497102604784</c:v>
                </c:pt>
                <c:pt idx="207">
                  <c:v>0.98975773487364294</c:v>
                </c:pt>
                <c:pt idx="208">
                  <c:v>0.98995784929570796</c:v>
                </c:pt>
                <c:pt idx="209">
                  <c:v>0.99014951867389611</c:v>
                </c:pt>
                <c:pt idx="210">
                  <c:v>0.99033944936658014</c:v>
                </c:pt>
                <c:pt idx="211">
                  <c:v>0.99052259090634343</c:v>
                </c:pt>
                <c:pt idx="212">
                  <c:v>0.99070540126791551</c:v>
                </c:pt>
                <c:pt idx="213">
                  <c:v>0.99087753113281962</c:v>
                </c:pt>
                <c:pt idx="214">
                  <c:v>0.99104783951767184</c:v>
                </c:pt>
                <c:pt idx="215">
                  <c:v>0.99121566406608963</c:v>
                </c:pt>
                <c:pt idx="216">
                  <c:v>0.9913824950799337</c:v>
                </c:pt>
                <c:pt idx="217">
                  <c:v>0.99154717343553467</c:v>
                </c:pt>
                <c:pt idx="218">
                  <c:v>0.99170928516015333</c:v>
                </c:pt>
                <c:pt idx="219">
                  <c:v>0.99185773578438285</c:v>
                </c:pt>
                <c:pt idx="220">
                  <c:v>0.99200221227031726</c:v>
                </c:pt>
                <c:pt idx="221">
                  <c:v>0.99214652316715612</c:v>
                </c:pt>
                <c:pt idx="222">
                  <c:v>0.99229000611851681</c:v>
                </c:pt>
                <c:pt idx="223">
                  <c:v>0.99243332348078184</c:v>
                </c:pt>
                <c:pt idx="224">
                  <c:v>0.99257606128121223</c:v>
                </c:pt>
                <c:pt idx="225">
                  <c:v>0.99271863349254696</c:v>
                </c:pt>
                <c:pt idx="226">
                  <c:v>0.99285681759284761</c:v>
                </c:pt>
                <c:pt idx="227">
                  <c:v>0.99299384256947887</c:v>
                </c:pt>
                <c:pt idx="228">
                  <c:v>0.99313037077882327</c:v>
                </c:pt>
                <c:pt idx="229">
                  <c:v>0.99326416676808982</c:v>
                </c:pt>
                <c:pt idx="230">
                  <c:v>0.99339249831720067</c:v>
                </c:pt>
                <c:pt idx="231">
                  <c:v>0.99351776646804235</c:v>
                </c:pt>
                <c:pt idx="232">
                  <c:v>0.99363831532965874</c:v>
                </c:pt>
                <c:pt idx="233">
                  <c:v>0.99375820183489261</c:v>
                </c:pt>
                <c:pt idx="234">
                  <c:v>0.99387187874904048</c:v>
                </c:pt>
                <c:pt idx="235">
                  <c:v>0.99398290623765828</c:v>
                </c:pt>
                <c:pt idx="236">
                  <c:v>0.99409294019170236</c:v>
                </c:pt>
                <c:pt idx="237">
                  <c:v>0.99420289135119855</c:v>
                </c:pt>
                <c:pt idx="238">
                  <c:v>0.99431077264699941</c:v>
                </c:pt>
                <c:pt idx="239">
                  <c:v>0.99441625290091373</c:v>
                </c:pt>
                <c:pt idx="240">
                  <c:v>0.99452098800389777</c:v>
                </c:pt>
                <c:pt idx="241">
                  <c:v>0.99462464677776019</c:v>
                </c:pt>
                <c:pt idx="242">
                  <c:v>0.99472805716797918</c:v>
                </c:pt>
                <c:pt idx="243">
                  <c:v>0.99483138476365041</c:v>
                </c:pt>
                <c:pt idx="244">
                  <c:v>0.99493446397567809</c:v>
                </c:pt>
                <c:pt idx="245">
                  <c:v>0.99503539052946266</c:v>
                </c:pt>
                <c:pt idx="246">
                  <c:v>0.9951339160413607</c:v>
                </c:pt>
                <c:pt idx="247">
                  <c:v>0.99523078566230239</c:v>
                </c:pt>
                <c:pt idx="248">
                  <c:v>0.9953242607067837</c:v>
                </c:pt>
                <c:pt idx="249">
                  <c:v>0.99541699060033473</c:v>
                </c:pt>
                <c:pt idx="250">
                  <c:v>0.99550914093205112</c:v>
                </c:pt>
                <c:pt idx="251">
                  <c:v>0.99560104288012408</c:v>
                </c:pt>
                <c:pt idx="252">
                  <c:v>0.99569277923910138</c:v>
                </c:pt>
                <c:pt idx="253">
                  <c:v>0.99578451559807868</c:v>
                </c:pt>
                <c:pt idx="254">
                  <c:v>0.99587393370971722</c:v>
                </c:pt>
                <c:pt idx="255">
                  <c:v>0.99596268946497324</c:v>
                </c:pt>
                <c:pt idx="256">
                  <c:v>0.99604995491836856</c:v>
                </c:pt>
                <c:pt idx="257">
                  <c:v>0.99613697198812046</c:v>
                </c:pt>
                <c:pt idx="258">
                  <c:v>0.99621976653593391</c:v>
                </c:pt>
                <c:pt idx="259">
                  <c:v>0.99629842135635671</c:v>
                </c:pt>
                <c:pt idx="260">
                  <c:v>0.99637707617677951</c:v>
                </c:pt>
                <c:pt idx="261">
                  <c:v>0.99645349554441132</c:v>
                </c:pt>
                <c:pt idx="262">
                  <c:v>0.99652660313013053</c:v>
                </c:pt>
                <c:pt idx="263">
                  <c:v>0.99659846879763259</c:v>
                </c:pt>
                <c:pt idx="264">
                  <c:v>0.99666967210875212</c:v>
                </c:pt>
                <c:pt idx="265">
                  <c:v>0.99673988188529794</c:v>
                </c:pt>
                <c:pt idx="266">
                  <c:v>0.99681000886729587</c:v>
                </c:pt>
                <c:pt idx="267">
                  <c:v>0.9968798046711026</c:v>
                </c:pt>
                <c:pt idx="268">
                  <c:v>0.99694852414578772</c:v>
                </c:pt>
                <c:pt idx="269">
                  <c:v>0.99701649846954254</c:v>
                </c:pt>
                <c:pt idx="270">
                  <c:v>0.99708356205327142</c:v>
                </c:pt>
                <c:pt idx="271">
                  <c:v>0.99715046004790464</c:v>
                </c:pt>
                <c:pt idx="272">
                  <c:v>0.99721661289160757</c:v>
                </c:pt>
                <c:pt idx="273">
                  <c:v>0.99728119263890203</c:v>
                </c:pt>
                <c:pt idx="274">
                  <c:v>0.99734511002981396</c:v>
                </c:pt>
                <c:pt idx="275">
                  <c:v>0.99740828226979561</c:v>
                </c:pt>
                <c:pt idx="276">
                  <c:v>0.99747095774249039</c:v>
                </c:pt>
                <c:pt idx="277">
                  <c:v>0.99753272247515923</c:v>
                </c:pt>
                <c:pt idx="278">
                  <c:v>0.99759158939865455</c:v>
                </c:pt>
                <c:pt idx="279">
                  <c:v>0.99764880043119364</c:v>
                </c:pt>
                <c:pt idx="280">
                  <c:v>0.99770468675096768</c:v>
                </c:pt>
                <c:pt idx="281">
                  <c:v>0.99775883438523771</c:v>
                </c:pt>
                <c:pt idx="282">
                  <c:v>0.99781182289583836</c:v>
                </c:pt>
                <c:pt idx="283">
                  <c:v>0.99786439743369992</c:v>
                </c:pt>
                <c:pt idx="284">
                  <c:v>0.9979139913678402</c:v>
                </c:pt>
                <c:pt idx="285">
                  <c:v>0.9979635025074326</c:v>
                </c:pt>
                <c:pt idx="286">
                  <c:v>0.99801284805792945</c:v>
                </c:pt>
                <c:pt idx="287">
                  <c:v>0.99806028933382651</c:v>
                </c:pt>
                <c:pt idx="288">
                  <c:v>0.99810698545879328</c:v>
                </c:pt>
                <c:pt idx="289">
                  <c:v>0.99815202569280381</c:v>
                </c:pt>
                <c:pt idx="290">
                  <c:v>0.99819549283040587</c:v>
                </c:pt>
                <c:pt idx="291">
                  <c:v>0.99823854599526884</c:v>
                </c:pt>
                <c:pt idx="292">
                  <c:v>0.99828143357103616</c:v>
                </c:pt>
                <c:pt idx="293">
                  <c:v>0.99832415555770793</c:v>
                </c:pt>
                <c:pt idx="294">
                  <c:v>0.99836588400980586</c:v>
                </c:pt>
                <c:pt idx="295">
                  <c:v>0.99840719848916482</c:v>
                </c:pt>
                <c:pt idx="296">
                  <c:v>0.99844818179033246</c:v>
                </c:pt>
                <c:pt idx="297">
                  <c:v>0.99848875111876101</c:v>
                </c:pt>
                <c:pt idx="298">
                  <c:v>0.99852932044718956</c:v>
                </c:pt>
                <c:pt idx="299">
                  <c:v>0.99856980698107034</c:v>
                </c:pt>
                <c:pt idx="300">
                  <c:v>0.99860872041854265</c:v>
                </c:pt>
                <c:pt idx="301">
                  <c:v>0.99864639193779781</c:v>
                </c:pt>
                <c:pt idx="302">
                  <c:v>0.99868348389521822</c:v>
                </c:pt>
                <c:pt idx="303">
                  <c:v>0.99871900275623016</c:v>
                </c:pt>
                <c:pt idx="304">
                  <c:v>0.99875327969902494</c:v>
                </c:pt>
                <c:pt idx="305">
                  <c:v>0.99878722546362841</c:v>
                </c:pt>
                <c:pt idx="306">
                  <c:v>0.99882100563913634</c:v>
                </c:pt>
                <c:pt idx="307">
                  <c:v>0.99885321271823579</c:v>
                </c:pt>
                <c:pt idx="308">
                  <c:v>0.9988845090573093</c:v>
                </c:pt>
                <c:pt idx="309">
                  <c:v>0.99891580539638281</c:v>
                </c:pt>
                <c:pt idx="310">
                  <c:v>0.99894561143359561</c:v>
                </c:pt>
                <c:pt idx="311">
                  <c:v>0.99897467231987813</c:v>
                </c:pt>
                <c:pt idx="312">
                  <c:v>0.99900365041161288</c:v>
                </c:pt>
                <c:pt idx="313">
                  <c:v>0.9990304758451044</c:v>
                </c:pt>
                <c:pt idx="314">
                  <c:v>0.99905531420944849</c:v>
                </c:pt>
                <c:pt idx="315">
                  <c:v>0.99907973860105348</c:v>
                </c:pt>
                <c:pt idx="316">
                  <c:v>0.99910408019811059</c:v>
                </c:pt>
                <c:pt idx="317">
                  <c:v>0.99912817341152427</c:v>
                </c:pt>
                <c:pt idx="318">
                  <c:v>0.99915176985765108</c:v>
                </c:pt>
                <c:pt idx="319">
                  <c:v>0.99917412438556075</c:v>
                </c:pt>
                <c:pt idx="320">
                  <c:v>0.99919631332437475</c:v>
                </c:pt>
                <c:pt idx="321">
                  <c:v>0.99921850226318876</c:v>
                </c:pt>
                <c:pt idx="322">
                  <c:v>0.99924060840745499</c:v>
                </c:pt>
                <c:pt idx="323">
                  <c:v>0.99926246616807779</c:v>
                </c:pt>
                <c:pt idx="324">
                  <c:v>0.99928399275050928</c:v>
                </c:pt>
                <c:pt idx="325">
                  <c:v>0.9993053537438451</c:v>
                </c:pt>
                <c:pt idx="326">
                  <c:v>0.99932596958625064</c:v>
                </c:pt>
                <c:pt idx="327">
                  <c:v>0.99934625425046497</c:v>
                </c:pt>
                <c:pt idx="328">
                  <c:v>0.99936645612013142</c:v>
                </c:pt>
                <c:pt idx="329">
                  <c:v>0.99938632681160666</c:v>
                </c:pt>
                <c:pt idx="330">
                  <c:v>0.99940619750308191</c:v>
                </c:pt>
                <c:pt idx="331">
                  <c:v>0.99942606819455715</c:v>
                </c:pt>
                <c:pt idx="332">
                  <c:v>0.99944585609148451</c:v>
                </c:pt>
                <c:pt idx="333">
                  <c:v>0.99946498163202946</c:v>
                </c:pt>
                <c:pt idx="334">
                  <c:v>0.99948385878893087</c:v>
                </c:pt>
                <c:pt idx="335">
                  <c:v>0.99950207358944987</c:v>
                </c:pt>
                <c:pt idx="336">
                  <c:v>0.99952028838996887</c:v>
                </c:pt>
                <c:pt idx="337">
                  <c:v>0.99953842039593999</c:v>
                </c:pt>
                <c:pt idx="338">
                  <c:v>0.99955605563462424</c:v>
                </c:pt>
                <c:pt idx="339">
                  <c:v>0.9995729457223782</c:v>
                </c:pt>
                <c:pt idx="340">
                  <c:v>0.99958917345374965</c:v>
                </c:pt>
                <c:pt idx="341">
                  <c:v>0.99960490441783423</c:v>
                </c:pt>
                <c:pt idx="342">
                  <c:v>0.99961997302553629</c:v>
                </c:pt>
                <c:pt idx="343">
                  <c:v>0.99963471045504704</c:v>
                </c:pt>
                <c:pt idx="344">
                  <c:v>0.99964895111727092</c:v>
                </c:pt>
                <c:pt idx="345">
                  <c:v>0.99966302619039926</c:v>
                </c:pt>
                <c:pt idx="346">
                  <c:v>0.99967701846897972</c:v>
                </c:pt>
                <c:pt idx="347">
                  <c:v>0.99969076236391674</c:v>
                </c:pt>
                <c:pt idx="348">
                  <c:v>0.99970442346430599</c:v>
                </c:pt>
                <c:pt idx="349">
                  <c:v>0.99971800177014736</c:v>
                </c:pt>
                <c:pt idx="350">
                  <c:v>0.99973124889779752</c:v>
                </c:pt>
                <c:pt idx="351">
                  <c:v>0.99974350249087396</c:v>
                </c:pt>
                <c:pt idx="352">
                  <c:v>0.99975559049485474</c:v>
                </c:pt>
                <c:pt idx="353">
                  <c:v>0.99976651937516614</c:v>
                </c:pt>
                <c:pt idx="354">
                  <c:v>0.99977728266638188</c:v>
                </c:pt>
                <c:pt idx="355">
                  <c:v>0.99978721801211945</c:v>
                </c:pt>
                <c:pt idx="356">
                  <c:v>0.99979698776876147</c:v>
                </c:pt>
                <c:pt idx="357">
                  <c:v>0.99980584678537754</c:v>
                </c:pt>
                <c:pt idx="358">
                  <c:v>0.9998139606510632</c:v>
                </c:pt>
                <c:pt idx="359">
                  <c:v>0.99982174333855767</c:v>
                </c:pt>
                <c:pt idx="360">
                  <c:v>0.99982936043695647</c:v>
                </c:pt>
                <c:pt idx="361">
                  <c:v>0.99983681194625973</c:v>
                </c:pt>
                <c:pt idx="362">
                  <c:v>0.99984409786646733</c:v>
                </c:pt>
                <c:pt idx="363">
                  <c:v>0.99985130099212705</c:v>
                </c:pt>
                <c:pt idx="364">
                  <c:v>0.99985833852869122</c:v>
                </c:pt>
                <c:pt idx="365">
                  <c:v>0.99986479650342064</c:v>
                </c:pt>
                <c:pt idx="366">
                  <c:v>0.99987117168360229</c:v>
                </c:pt>
                <c:pt idx="367">
                  <c:v>0.99987754686378394</c:v>
                </c:pt>
                <c:pt idx="368">
                  <c:v>0.99988342527667873</c:v>
                </c:pt>
                <c:pt idx="369">
                  <c:v>0.99988922089502563</c:v>
                </c:pt>
                <c:pt idx="370">
                  <c:v>0.99989493371882476</c:v>
                </c:pt>
                <c:pt idx="371">
                  <c:v>0.99990039815898046</c:v>
                </c:pt>
                <c:pt idx="372">
                  <c:v>0.99990586259913616</c:v>
                </c:pt>
                <c:pt idx="373">
                  <c:v>0.99991116145019621</c:v>
                </c:pt>
                <c:pt idx="374">
                  <c:v>0.99991612912306505</c:v>
                </c:pt>
                <c:pt idx="375">
                  <c:v>0.999921014001386</c:v>
                </c:pt>
                <c:pt idx="376">
                  <c:v>0.99992589887970695</c:v>
                </c:pt>
                <c:pt idx="377">
                  <c:v>0.99993070096348013</c:v>
                </c:pt>
                <c:pt idx="378">
                  <c:v>0.99993550304725332</c:v>
                </c:pt>
                <c:pt idx="379">
                  <c:v>0.99994005674738307</c:v>
                </c:pt>
                <c:pt idx="380">
                  <c:v>0.99994436206386939</c:v>
                </c:pt>
                <c:pt idx="381">
                  <c:v>0.99994850179126005</c:v>
                </c:pt>
                <c:pt idx="382">
                  <c:v>0.9999523103404595</c:v>
                </c:pt>
                <c:pt idx="383">
                  <c:v>0.99995603609511108</c:v>
                </c:pt>
                <c:pt idx="384">
                  <c:v>0.99995959626066711</c:v>
                </c:pt>
                <c:pt idx="385">
                  <c:v>0.99996282524803182</c:v>
                </c:pt>
                <c:pt idx="386">
                  <c:v>0.99996605423539653</c:v>
                </c:pt>
                <c:pt idx="387">
                  <c:v>0.99996928322276124</c:v>
                </c:pt>
                <c:pt idx="388">
                  <c:v>0.99997565840294289</c:v>
                </c:pt>
                <c:pt idx="389">
                  <c:v>0.99997872180121194</c:v>
                </c:pt>
                <c:pt idx="390">
                  <c:v>0.99998170240493323</c:v>
                </c:pt>
                <c:pt idx="391">
                  <c:v>0.99998451741955885</c:v>
                </c:pt>
                <c:pt idx="392">
                  <c:v>0.99998948509242758</c:v>
                </c:pt>
                <c:pt idx="393">
                  <c:v>0.99999180333976634</c:v>
                </c:pt>
                <c:pt idx="394">
                  <c:v>0.99999395599800944</c:v>
                </c:pt>
                <c:pt idx="395">
                  <c:v>0.99999610865625255</c:v>
                </c:pt>
                <c:pt idx="396">
                  <c:v>0.9999970193962785</c:v>
                </c:pt>
                <c:pt idx="397">
                  <c:v>0.99999793013630445</c:v>
                </c:pt>
                <c:pt idx="398">
                  <c:v>0.9999986752872347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407</c:f>
              <c:strCache>
                <c:ptCount val="406"/>
                <c:pt idx="0">
                  <c:v>Ruinart</c:v>
                </c:pt>
                <c:pt idx="1">
                  <c:v>Nicolas</c:v>
                </c:pt>
                <c:pt idx="2">
                  <c:v>Deutz</c:v>
                </c:pt>
                <c:pt idx="3">
                  <c:v>Ruinart</c:v>
                </c:pt>
                <c:pt idx="4">
                  <c:v>Heidsieck &amp;</c:v>
                </c:pt>
                <c:pt idx="5">
                  <c:v>Malard</c:v>
                </c:pt>
                <c:pt idx="6">
                  <c:v>Ayala</c:v>
                </c:pt>
                <c:pt idx="7">
                  <c:v>De Bligny</c:v>
                </c:pt>
                <c:pt idx="8">
                  <c:v>Laurent Per</c:v>
                </c:pt>
                <c:pt idx="9">
                  <c:v>Nicolas Feu</c:v>
                </c:pt>
                <c:pt idx="10">
                  <c:v>Canard Duch</c:v>
                </c:pt>
                <c:pt idx="11">
                  <c:v>Taittinger</c:v>
                </c:pt>
                <c:pt idx="12">
                  <c:v>Bollinger</c:v>
                </c:pt>
                <c:pt idx="13">
                  <c:v>Ruinart</c:v>
                </c:pt>
                <c:pt idx="14">
                  <c:v>Ruinart</c:v>
                </c:pt>
                <c:pt idx="15">
                  <c:v>Besserat De</c:v>
                </c:pt>
                <c:pt idx="16">
                  <c:v>Demoiselle</c:v>
                </c:pt>
                <c:pt idx="17">
                  <c:v>Deutz</c:v>
                </c:pt>
                <c:pt idx="18">
                  <c:v>Ruinart</c:v>
                </c:pt>
                <c:pt idx="19">
                  <c:v>Perrier Jou</c:v>
                </c:pt>
                <c:pt idx="20">
                  <c:v>Ruinart</c:v>
                </c:pt>
                <c:pt idx="21">
                  <c:v>All Others</c:v>
                </c:pt>
                <c:pt idx="22">
                  <c:v>All Others</c:v>
                </c:pt>
                <c:pt idx="23">
                  <c:v>Vesselle</c:v>
                </c:pt>
                <c:pt idx="24">
                  <c:v>Savian</c:v>
                </c:pt>
                <c:pt idx="25">
                  <c:v>Pommery</c:v>
                </c:pt>
                <c:pt idx="26">
                  <c:v>Malard</c:v>
                </c:pt>
                <c:pt idx="27">
                  <c:v>Laurent Per</c:v>
                </c:pt>
                <c:pt idx="28">
                  <c:v>Moët &amp; Chan</c:v>
                </c:pt>
                <c:pt idx="29">
                  <c:v>Nicolas</c:v>
                </c:pt>
                <c:pt idx="30">
                  <c:v>Patriarche</c:v>
                </c:pt>
                <c:pt idx="31">
                  <c:v>Mure</c:v>
                </c:pt>
                <c:pt idx="32">
                  <c:v>Deutz</c:v>
                </c:pt>
                <c:pt idx="33">
                  <c:v>Taittinger</c:v>
                </c:pt>
                <c:pt idx="34">
                  <c:v>Ruinart</c:v>
                </c:pt>
                <c:pt idx="35">
                  <c:v>Roederer</c:v>
                </c:pt>
                <c:pt idx="36">
                  <c:v>Bottega</c:v>
                </c:pt>
                <c:pt idx="37">
                  <c:v>Demoiselle</c:v>
                </c:pt>
                <c:pt idx="38">
                  <c:v>Dom Perigno</c:v>
                </c:pt>
                <c:pt idx="39">
                  <c:v>All Others</c:v>
                </c:pt>
                <c:pt idx="40">
                  <c:v>Roederer</c:v>
                </c:pt>
                <c:pt idx="41">
                  <c:v>Ruinart</c:v>
                </c:pt>
                <c:pt idx="42">
                  <c:v>Henriot</c:v>
                </c:pt>
                <c:pt idx="43">
                  <c:v>Veuve Clicq</c:v>
                </c:pt>
                <c:pt idx="44">
                  <c:v>Nicolas</c:v>
                </c:pt>
                <c:pt idx="45">
                  <c:v>Bouvet-Ladu</c:v>
                </c:pt>
                <c:pt idx="46">
                  <c:v>Besserat De</c:v>
                </c:pt>
                <c:pt idx="47">
                  <c:v>Campari: Al</c:v>
                </c:pt>
                <c:pt idx="48">
                  <c:v>De Venoge</c:v>
                </c:pt>
                <c:pt idx="49">
                  <c:v>Malard</c:v>
                </c:pt>
                <c:pt idx="50">
                  <c:v>Laurent Per</c:v>
                </c:pt>
                <c:pt idx="51">
                  <c:v>French Bloo</c:v>
                </c:pt>
                <c:pt idx="52">
                  <c:v>De Bligny</c:v>
                </c:pt>
                <c:pt idx="53">
                  <c:v>Veuve Clicq</c:v>
                </c:pt>
                <c:pt idx="54">
                  <c:v>Veuve Clicq</c:v>
                </c:pt>
                <c:pt idx="55">
                  <c:v>De Chanceny</c:v>
                </c:pt>
                <c:pt idx="56">
                  <c:v>Savian</c:v>
                </c:pt>
                <c:pt idx="57">
                  <c:v>Malard</c:v>
                </c:pt>
                <c:pt idx="58">
                  <c:v>Nicolas Feu</c:v>
                </c:pt>
                <c:pt idx="59">
                  <c:v>Lanson</c:v>
                </c:pt>
                <c:pt idx="60">
                  <c:v>Nicolas Feu</c:v>
                </c:pt>
                <c:pt idx="61">
                  <c:v>Deutz</c:v>
                </c:pt>
                <c:pt idx="62">
                  <c:v>Ruinart</c:v>
                </c:pt>
                <c:pt idx="63">
                  <c:v>Piper Heids</c:v>
                </c:pt>
                <c:pt idx="64">
                  <c:v>Dom Perigno</c:v>
                </c:pt>
                <c:pt idx="65">
                  <c:v>Lyre's</c:v>
                </c:pt>
                <c:pt idx="66">
                  <c:v>Nicolas Feu</c:v>
                </c:pt>
                <c:pt idx="67">
                  <c:v>All Others</c:v>
                </c:pt>
                <c:pt idx="68">
                  <c:v>Nicolas</c:v>
                </c:pt>
                <c:pt idx="69">
                  <c:v>Moët &amp; Chan</c:v>
                </c:pt>
                <c:pt idx="70">
                  <c:v>Canard Duch</c:v>
                </c:pt>
                <c:pt idx="71">
                  <c:v>Malard</c:v>
                </c:pt>
                <c:pt idx="72">
                  <c:v>Louis Marti</c:v>
                </c:pt>
                <c:pt idx="73">
                  <c:v>Henriot</c:v>
                </c:pt>
                <c:pt idx="74">
                  <c:v>All Others</c:v>
                </c:pt>
                <c:pt idx="75">
                  <c:v>Campari: Al</c:v>
                </c:pt>
                <c:pt idx="76">
                  <c:v>Pommery</c:v>
                </c:pt>
                <c:pt idx="77">
                  <c:v>Bollinger</c:v>
                </c:pt>
                <c:pt idx="78">
                  <c:v>Kriter</c:v>
                </c:pt>
                <c:pt idx="79">
                  <c:v>Canard Duch</c:v>
                </c:pt>
                <c:pt idx="80">
                  <c:v>De Chanceny</c:v>
                </c:pt>
                <c:pt idx="81">
                  <c:v>Moët &amp; Chan</c:v>
                </c:pt>
                <c:pt idx="82">
                  <c:v>Henriot</c:v>
                </c:pt>
                <c:pt idx="83">
                  <c:v>Delamotte</c:v>
                </c:pt>
                <c:pt idx="84">
                  <c:v>De Venoge</c:v>
                </c:pt>
                <c:pt idx="85">
                  <c:v>Besserat De</c:v>
                </c:pt>
                <c:pt idx="86">
                  <c:v>Vranken</c:v>
                </c:pt>
                <c:pt idx="87">
                  <c:v>All Others</c:v>
                </c:pt>
                <c:pt idx="88">
                  <c:v>Ayala</c:v>
                </c:pt>
                <c:pt idx="89">
                  <c:v>Ruinart</c:v>
                </c:pt>
                <c:pt idx="90">
                  <c:v>Canard Duch</c:v>
                </c:pt>
                <c:pt idx="91">
                  <c:v>Patriarche</c:v>
                </c:pt>
                <c:pt idx="92">
                  <c:v>Veuve Clicq</c:v>
                </c:pt>
                <c:pt idx="93">
                  <c:v>Krug</c:v>
                </c:pt>
                <c:pt idx="94">
                  <c:v>Ruinart</c:v>
                </c:pt>
                <c:pt idx="95">
                  <c:v>Roederer</c:v>
                </c:pt>
                <c:pt idx="96">
                  <c:v>Roederer</c:v>
                </c:pt>
                <c:pt idx="97">
                  <c:v>Nicolas</c:v>
                </c:pt>
                <c:pt idx="98">
                  <c:v>Laurent Per</c:v>
                </c:pt>
                <c:pt idx="99">
                  <c:v>Nicolas</c:v>
                </c:pt>
                <c:pt idx="100">
                  <c:v>Contarini</c:v>
                </c:pt>
                <c:pt idx="101">
                  <c:v>Ruinart</c:v>
                </c:pt>
                <c:pt idx="102">
                  <c:v>Malard</c:v>
                </c:pt>
                <c:pt idx="103">
                  <c:v>De Venoge</c:v>
                </c:pt>
                <c:pt idx="104">
                  <c:v>De Venoge</c:v>
                </c:pt>
                <c:pt idx="105">
                  <c:v>Nicolas</c:v>
                </c:pt>
                <c:pt idx="106">
                  <c:v>Vranken</c:v>
                </c:pt>
                <c:pt idx="107">
                  <c:v>Henriot</c:v>
                </c:pt>
                <c:pt idx="108">
                  <c:v>Roederer</c:v>
                </c:pt>
                <c:pt idx="109">
                  <c:v>All Others</c:v>
                </c:pt>
                <c:pt idx="110">
                  <c:v>All Others</c:v>
                </c:pt>
                <c:pt idx="111">
                  <c:v>Ruinart</c:v>
                </c:pt>
                <c:pt idx="112">
                  <c:v>All Others</c:v>
                </c:pt>
                <c:pt idx="113">
                  <c:v>Nicolas</c:v>
                </c:pt>
                <c:pt idx="114">
                  <c:v>All Others</c:v>
                </c:pt>
                <c:pt idx="115">
                  <c:v>Dom Perigno</c:v>
                </c:pt>
                <c:pt idx="116">
                  <c:v>Nicolas</c:v>
                </c:pt>
                <c:pt idx="117">
                  <c:v>Roederer</c:v>
                </c:pt>
                <c:pt idx="118">
                  <c:v>Deutz</c:v>
                </c:pt>
                <c:pt idx="119">
                  <c:v>Roederer</c:v>
                </c:pt>
                <c:pt idx="120">
                  <c:v>Bottega</c:v>
                </c:pt>
                <c:pt idx="121">
                  <c:v>Canard Duch</c:v>
                </c:pt>
                <c:pt idx="122">
                  <c:v>Cru La Maqu</c:v>
                </c:pt>
                <c:pt idx="123">
                  <c:v>Nicolas</c:v>
                </c:pt>
                <c:pt idx="124">
                  <c:v>Ruinart</c:v>
                </c:pt>
                <c:pt idx="125">
                  <c:v>All Others</c:v>
                </c:pt>
                <c:pt idx="126">
                  <c:v>All Others</c:v>
                </c:pt>
                <c:pt idx="127">
                  <c:v>All Others</c:v>
                </c:pt>
                <c:pt idx="128">
                  <c:v>Bollinger</c:v>
                </c:pt>
                <c:pt idx="129">
                  <c:v>Nicolas</c:v>
                </c:pt>
                <c:pt idx="130">
                  <c:v>Roederer</c:v>
                </c:pt>
                <c:pt idx="131">
                  <c:v>Moët &amp; Chan</c:v>
                </c:pt>
                <c:pt idx="132">
                  <c:v>Louis Marti</c:v>
                </c:pt>
                <c:pt idx="133">
                  <c:v>All Others</c:v>
                </c:pt>
                <c:pt idx="134">
                  <c:v>All Others</c:v>
                </c:pt>
                <c:pt idx="135">
                  <c:v>Nicolas</c:v>
                </c:pt>
                <c:pt idx="136">
                  <c:v>Laurent Per</c:v>
                </c:pt>
                <c:pt idx="137">
                  <c:v>Roederer</c:v>
                </c:pt>
                <c:pt idx="138">
                  <c:v>Pommery</c:v>
                </c:pt>
                <c:pt idx="139">
                  <c:v>Deutz</c:v>
                </c:pt>
                <c:pt idx="140">
                  <c:v>Nicolas</c:v>
                </c:pt>
                <c:pt idx="141">
                  <c:v>Nicolas Feu</c:v>
                </c:pt>
                <c:pt idx="142">
                  <c:v>All Others</c:v>
                </c:pt>
                <c:pt idx="143">
                  <c:v>Taittinger</c:v>
                </c:pt>
                <c:pt idx="144">
                  <c:v>Laurent Per</c:v>
                </c:pt>
                <c:pt idx="145">
                  <c:v>All Others</c:v>
                </c:pt>
                <c:pt idx="146">
                  <c:v>All Others</c:v>
                </c:pt>
                <c:pt idx="147">
                  <c:v>Dom Perigno</c:v>
                </c:pt>
                <c:pt idx="148">
                  <c:v>Besserat De</c:v>
                </c:pt>
                <c:pt idx="149">
                  <c:v>Roederer</c:v>
                </c:pt>
                <c:pt idx="150">
                  <c:v>Roederer</c:v>
                </c:pt>
                <c:pt idx="151">
                  <c:v>Bollinger</c:v>
                </c:pt>
                <c:pt idx="152">
                  <c:v>Ruinart</c:v>
                </c:pt>
                <c:pt idx="153">
                  <c:v>Roederer</c:v>
                </c:pt>
                <c:pt idx="154">
                  <c:v>Demoiselle</c:v>
                </c:pt>
                <c:pt idx="155">
                  <c:v>Ayala</c:v>
                </c:pt>
                <c:pt idx="156">
                  <c:v>Contarini</c:v>
                </c:pt>
                <c:pt idx="157">
                  <c:v>All Others</c:v>
                </c:pt>
                <c:pt idx="158">
                  <c:v>All Others</c:v>
                </c:pt>
                <c:pt idx="159">
                  <c:v>All Others</c:v>
                </c:pt>
                <c:pt idx="160">
                  <c:v>All Others</c:v>
                </c:pt>
                <c:pt idx="161">
                  <c:v>Vranken</c:v>
                </c:pt>
                <c:pt idx="162">
                  <c:v>Canard Duch</c:v>
                </c:pt>
                <c:pt idx="163">
                  <c:v>Nicolas</c:v>
                </c:pt>
                <c:pt idx="164">
                  <c:v>All Others</c:v>
                </c:pt>
                <c:pt idx="165">
                  <c:v>Pommery</c:v>
                </c:pt>
                <c:pt idx="166">
                  <c:v>All Others</c:v>
                </c:pt>
                <c:pt idx="167">
                  <c:v>Vesselle</c:v>
                </c:pt>
                <c:pt idx="168">
                  <c:v>Perrier Jou</c:v>
                </c:pt>
                <c:pt idx="169">
                  <c:v>Nicolas</c:v>
                </c:pt>
                <c:pt idx="170">
                  <c:v>Delamotte</c:v>
                </c:pt>
                <c:pt idx="171">
                  <c:v>Deutz</c:v>
                </c:pt>
                <c:pt idx="172">
                  <c:v>Nicolas</c:v>
                </c:pt>
                <c:pt idx="173">
                  <c:v>Laurent Per</c:v>
                </c:pt>
                <c:pt idx="174">
                  <c:v>All Others</c:v>
                </c:pt>
                <c:pt idx="175">
                  <c:v>All Others</c:v>
                </c:pt>
                <c:pt idx="176">
                  <c:v>Demoiselle</c:v>
                </c:pt>
                <c:pt idx="177">
                  <c:v>Roederer</c:v>
                </c:pt>
                <c:pt idx="178">
                  <c:v>All Others</c:v>
                </c:pt>
                <c:pt idx="179">
                  <c:v>Malard</c:v>
                </c:pt>
                <c:pt idx="180">
                  <c:v>Lanson</c:v>
                </c:pt>
                <c:pt idx="181">
                  <c:v>Moët &amp; Chan</c:v>
                </c:pt>
                <c:pt idx="182">
                  <c:v>Ruinart</c:v>
                </c:pt>
                <c:pt idx="183">
                  <c:v>All Others</c:v>
                </c:pt>
                <c:pt idx="184">
                  <c:v>All Others</c:v>
                </c:pt>
                <c:pt idx="185">
                  <c:v>Roederer</c:v>
                </c:pt>
                <c:pt idx="186">
                  <c:v>Mure</c:v>
                </c:pt>
                <c:pt idx="187">
                  <c:v>Deutz</c:v>
                </c:pt>
                <c:pt idx="188">
                  <c:v>All Others</c:v>
                </c:pt>
                <c:pt idx="189">
                  <c:v>All Others</c:v>
                </c:pt>
                <c:pt idx="190">
                  <c:v>Besserat De</c:v>
                </c:pt>
                <c:pt idx="191">
                  <c:v>All Others</c:v>
                </c:pt>
                <c:pt idx="192">
                  <c:v>Ruinart</c:v>
                </c:pt>
                <c:pt idx="193">
                  <c:v>Moët &amp; Chan</c:v>
                </c:pt>
                <c:pt idx="194">
                  <c:v>Nicolas</c:v>
                </c:pt>
                <c:pt idx="195">
                  <c:v>Canard Duch</c:v>
                </c:pt>
                <c:pt idx="196">
                  <c:v>Nicolas</c:v>
                </c:pt>
                <c:pt idx="197">
                  <c:v>Dom Perigno</c:v>
                </c:pt>
                <c:pt idx="198">
                  <c:v>Taittinger</c:v>
                </c:pt>
                <c:pt idx="199">
                  <c:v>Bollinger</c:v>
                </c:pt>
                <c:pt idx="200">
                  <c:v>All Others</c:v>
                </c:pt>
                <c:pt idx="201">
                  <c:v>Henriot</c:v>
                </c:pt>
                <c:pt idx="202">
                  <c:v>All Others</c:v>
                </c:pt>
                <c:pt idx="203">
                  <c:v>Piper Heids</c:v>
                </c:pt>
                <c:pt idx="204">
                  <c:v>Roederer</c:v>
                </c:pt>
                <c:pt idx="205">
                  <c:v>Laurent Per</c:v>
                </c:pt>
                <c:pt idx="206">
                  <c:v>Piper Heids</c:v>
                </c:pt>
                <c:pt idx="207">
                  <c:v>All Others</c:v>
                </c:pt>
                <c:pt idx="208">
                  <c:v>All Others</c:v>
                </c:pt>
                <c:pt idx="209">
                  <c:v>Ruinart</c:v>
                </c:pt>
                <c:pt idx="210">
                  <c:v>Pommery</c:v>
                </c:pt>
                <c:pt idx="211">
                  <c:v>All Others</c:v>
                </c:pt>
                <c:pt idx="212">
                  <c:v>Ruinart</c:v>
                </c:pt>
                <c:pt idx="213">
                  <c:v>Nicolas</c:v>
                </c:pt>
                <c:pt idx="214">
                  <c:v>Piper Heids</c:v>
                </c:pt>
                <c:pt idx="215">
                  <c:v>All Others</c:v>
                </c:pt>
                <c:pt idx="216">
                  <c:v>All Others</c:v>
                </c:pt>
                <c:pt idx="217">
                  <c:v>Celene</c:v>
                </c:pt>
                <c:pt idx="218">
                  <c:v>Laurent Per</c:v>
                </c:pt>
                <c:pt idx="219">
                  <c:v>Roederer</c:v>
                </c:pt>
                <c:pt idx="220">
                  <c:v>Vesselle</c:v>
                </c:pt>
                <c:pt idx="221">
                  <c:v>Pommery</c:v>
                </c:pt>
                <c:pt idx="222">
                  <c:v>All Others</c:v>
                </c:pt>
                <c:pt idx="223">
                  <c:v>Mure</c:v>
                </c:pt>
                <c:pt idx="224">
                  <c:v>De Venoge</c:v>
                </c:pt>
                <c:pt idx="225">
                  <c:v>De Venoge</c:v>
                </c:pt>
                <c:pt idx="226">
                  <c:v>Taittinger</c:v>
                </c:pt>
                <c:pt idx="227">
                  <c:v>Bouvet-Ladu</c:v>
                </c:pt>
                <c:pt idx="228">
                  <c:v>Roederer</c:v>
                </c:pt>
                <c:pt idx="229">
                  <c:v>Laurent Per</c:v>
                </c:pt>
                <c:pt idx="230">
                  <c:v>Bouvet-Ladu</c:v>
                </c:pt>
                <c:pt idx="231">
                  <c:v>All Others</c:v>
                </c:pt>
                <c:pt idx="232">
                  <c:v>Henriot</c:v>
                </c:pt>
                <c:pt idx="233">
                  <c:v>Bollinger</c:v>
                </c:pt>
                <c:pt idx="234">
                  <c:v>All Others</c:v>
                </c:pt>
                <c:pt idx="235">
                  <c:v>Ruinart</c:v>
                </c:pt>
                <c:pt idx="236">
                  <c:v>Celene</c:v>
                </c:pt>
                <c:pt idx="237">
                  <c:v>All Others</c:v>
                </c:pt>
                <c:pt idx="238">
                  <c:v>Roederer</c:v>
                </c:pt>
                <c:pt idx="239">
                  <c:v>Nicolas Feu</c:v>
                </c:pt>
                <c:pt idx="240">
                  <c:v>Nicolas</c:v>
                </c:pt>
                <c:pt idx="241">
                  <c:v>All Others</c:v>
                </c:pt>
                <c:pt idx="242">
                  <c:v>Bouvet-Ladu</c:v>
                </c:pt>
                <c:pt idx="243">
                  <c:v>Ruinart</c:v>
                </c:pt>
                <c:pt idx="244">
                  <c:v>Piper Heids</c:v>
                </c:pt>
                <c:pt idx="245">
                  <c:v>Malard</c:v>
                </c:pt>
                <c:pt idx="246">
                  <c:v>Perrier Jou</c:v>
                </c:pt>
                <c:pt idx="247">
                  <c:v>Deutz</c:v>
                </c:pt>
                <c:pt idx="248">
                  <c:v>All Others</c:v>
                </c:pt>
                <c:pt idx="249">
                  <c:v>Veuve Clicq</c:v>
                </c:pt>
                <c:pt idx="250">
                  <c:v>Ruinart</c:v>
                </c:pt>
                <c:pt idx="251">
                  <c:v>Pommery</c:v>
                </c:pt>
                <c:pt idx="252">
                  <c:v>Lanson</c:v>
                </c:pt>
                <c:pt idx="253">
                  <c:v>All Others</c:v>
                </c:pt>
                <c:pt idx="254">
                  <c:v>All Others</c:v>
                </c:pt>
                <c:pt idx="255">
                  <c:v>Moët &amp; Chan</c:v>
                </c:pt>
                <c:pt idx="256">
                  <c:v>Lanson</c:v>
                </c:pt>
                <c:pt idx="257">
                  <c:v>Deutz</c:v>
                </c:pt>
                <c:pt idx="258">
                  <c:v>All Others</c:v>
                </c:pt>
                <c:pt idx="259">
                  <c:v>Roederer</c:v>
                </c:pt>
                <c:pt idx="260">
                  <c:v>Jaillance</c:v>
                </c:pt>
                <c:pt idx="261">
                  <c:v>All Others</c:v>
                </c:pt>
                <c:pt idx="262">
                  <c:v>Martel</c:v>
                </c:pt>
                <c:pt idx="263">
                  <c:v>Ruinart</c:v>
                </c:pt>
                <c:pt idx="264">
                  <c:v>All Others</c:v>
                </c:pt>
                <c:pt idx="265">
                  <c:v>Bottega</c:v>
                </c:pt>
                <c:pt idx="266">
                  <c:v>Roederer</c:v>
                </c:pt>
                <c:pt idx="267">
                  <c:v>Lanson-Bcc:</c:v>
                </c:pt>
                <c:pt idx="268">
                  <c:v>Laurent Per</c:v>
                </c:pt>
                <c:pt idx="269">
                  <c:v>All Others</c:v>
                </c:pt>
                <c:pt idx="270">
                  <c:v>All Others</c:v>
                </c:pt>
                <c:pt idx="271">
                  <c:v>Laurent Per</c:v>
                </c:pt>
                <c:pt idx="272">
                  <c:v>Nicolas</c:v>
                </c:pt>
                <c:pt idx="273">
                  <c:v>De Venoge</c:v>
                </c:pt>
                <c:pt idx="274">
                  <c:v>All Others</c:v>
                </c:pt>
                <c:pt idx="275">
                  <c:v>Bollinger</c:v>
                </c:pt>
                <c:pt idx="276">
                  <c:v>Roederer</c:v>
                </c:pt>
                <c:pt idx="277">
                  <c:v>Laurent Per</c:v>
                </c:pt>
                <c:pt idx="278">
                  <c:v>Ruinart</c:v>
                </c:pt>
                <c:pt idx="279">
                  <c:v>All Others</c:v>
                </c:pt>
                <c:pt idx="280">
                  <c:v>Roederer</c:v>
                </c:pt>
                <c:pt idx="281">
                  <c:v>Ruinart</c:v>
                </c:pt>
                <c:pt idx="282">
                  <c:v>All Others</c:v>
                </c:pt>
                <c:pt idx="283">
                  <c:v>Bollinger</c:v>
                </c:pt>
                <c:pt idx="284">
                  <c:v>Laurent Per</c:v>
                </c:pt>
                <c:pt idx="285">
                  <c:v>All Others</c:v>
                </c:pt>
                <c:pt idx="286">
                  <c:v>Bouvet-Ladu</c:v>
                </c:pt>
                <c:pt idx="287">
                  <c:v>Nicolas Feu</c:v>
                </c:pt>
                <c:pt idx="288">
                  <c:v>All Others</c:v>
                </c:pt>
                <c:pt idx="289">
                  <c:v>All Others</c:v>
                </c:pt>
                <c:pt idx="290">
                  <c:v>All Others</c:v>
                </c:pt>
                <c:pt idx="291">
                  <c:v>Roederer</c:v>
                </c:pt>
                <c:pt idx="292">
                  <c:v>Roederer</c:v>
                </c:pt>
                <c:pt idx="293">
                  <c:v>All Others</c:v>
                </c:pt>
                <c:pt idx="294">
                  <c:v>Besserat De</c:v>
                </c:pt>
                <c:pt idx="295">
                  <c:v>Ruinart</c:v>
                </c:pt>
                <c:pt idx="296">
                  <c:v>All Others</c:v>
                </c:pt>
                <c:pt idx="297">
                  <c:v>All Others</c:v>
                </c:pt>
                <c:pt idx="298">
                  <c:v>Bollinger</c:v>
                </c:pt>
                <c:pt idx="299">
                  <c:v>De Bligny</c:v>
                </c:pt>
                <c:pt idx="300">
                  <c:v>Deutz</c:v>
                </c:pt>
                <c:pt idx="301">
                  <c:v>Veuve Clicq</c:v>
                </c:pt>
                <c:pt idx="302">
                  <c:v>All Others</c:v>
                </c:pt>
                <c:pt idx="303">
                  <c:v>Roederer</c:v>
                </c:pt>
                <c:pt idx="304">
                  <c:v>Roederer</c:v>
                </c:pt>
                <c:pt idx="305">
                  <c:v>Besserat De</c:v>
                </c:pt>
                <c:pt idx="306">
                  <c:v>All Others</c:v>
                </c:pt>
                <c:pt idx="307">
                  <c:v>All Others</c:v>
                </c:pt>
                <c:pt idx="308">
                  <c:v>All Others</c:v>
                </c:pt>
                <c:pt idx="309">
                  <c:v>All Others</c:v>
                </c:pt>
                <c:pt idx="310">
                  <c:v>Taittinger</c:v>
                </c:pt>
                <c:pt idx="311">
                  <c:v>Laurent Per</c:v>
                </c:pt>
                <c:pt idx="312">
                  <c:v>All Others</c:v>
                </c:pt>
                <c:pt idx="313">
                  <c:v>Vesselle</c:v>
                </c:pt>
                <c:pt idx="314">
                  <c:v>Roederer</c:v>
                </c:pt>
                <c:pt idx="315">
                  <c:v>Ayala</c:v>
                </c:pt>
                <c:pt idx="316">
                  <c:v>Malard</c:v>
                </c:pt>
                <c:pt idx="317">
                  <c:v>Laurent Per</c:v>
                </c:pt>
                <c:pt idx="318">
                  <c:v>Roederer</c:v>
                </c:pt>
                <c:pt idx="319">
                  <c:v>De Bligny</c:v>
                </c:pt>
                <c:pt idx="320">
                  <c:v>All Others</c:v>
                </c:pt>
                <c:pt idx="321">
                  <c:v>Bouvet-Ladu</c:v>
                </c:pt>
                <c:pt idx="322">
                  <c:v>Roederer</c:v>
                </c:pt>
                <c:pt idx="323">
                  <c:v>Laurent Per</c:v>
                </c:pt>
                <c:pt idx="324">
                  <c:v>De Venoge</c:v>
                </c:pt>
                <c:pt idx="325">
                  <c:v>All Others</c:v>
                </c:pt>
                <c:pt idx="326">
                  <c:v>De Venoge</c:v>
                </c:pt>
                <c:pt idx="327">
                  <c:v>Bouvet-Ladu</c:v>
                </c:pt>
                <c:pt idx="328">
                  <c:v>Canard Duch</c:v>
                </c:pt>
                <c:pt idx="329">
                  <c:v>Henriot</c:v>
                </c:pt>
                <c:pt idx="330">
                  <c:v>Ayala</c:v>
                </c:pt>
                <c:pt idx="331">
                  <c:v>All Others</c:v>
                </c:pt>
                <c:pt idx="332">
                  <c:v>Roederer</c:v>
                </c:pt>
                <c:pt idx="333">
                  <c:v>All Others</c:v>
                </c:pt>
                <c:pt idx="334">
                  <c:v>Bollinger</c:v>
                </c:pt>
                <c:pt idx="335">
                  <c:v>All Others</c:v>
                </c:pt>
                <c:pt idx="336">
                  <c:v>All Others</c:v>
                </c:pt>
                <c:pt idx="337">
                  <c:v>All Others</c:v>
                </c:pt>
                <c:pt idx="338">
                  <c:v>Vranken</c:v>
                </c:pt>
                <c:pt idx="339">
                  <c:v>Roederer</c:v>
                </c:pt>
                <c:pt idx="340">
                  <c:v>Nicolas</c:v>
                </c:pt>
                <c:pt idx="341">
                  <c:v>Lanson</c:v>
                </c:pt>
                <c:pt idx="342">
                  <c:v>De Venoge</c:v>
                </c:pt>
                <c:pt idx="343">
                  <c:v>All Others</c:v>
                </c:pt>
                <c:pt idx="344">
                  <c:v>Bouvet-Ladu</c:v>
                </c:pt>
                <c:pt idx="345">
                  <c:v>Deutz</c:v>
                </c:pt>
                <c:pt idx="346">
                  <c:v>All Others</c:v>
                </c:pt>
                <c:pt idx="347">
                  <c:v>Laurent Per</c:v>
                </c:pt>
                <c:pt idx="348">
                  <c:v>Roederer</c:v>
                </c:pt>
                <c:pt idx="349">
                  <c:v>Ruinart</c:v>
                </c:pt>
                <c:pt idx="350">
                  <c:v>Vranken</c:v>
                </c:pt>
                <c:pt idx="351">
                  <c:v>Demoiselle</c:v>
                </c:pt>
                <c:pt idx="352">
                  <c:v>Piper Heids</c:v>
                </c:pt>
                <c:pt idx="353">
                  <c:v>Taittinger</c:v>
                </c:pt>
                <c:pt idx="354">
                  <c:v>Roederer</c:v>
                </c:pt>
                <c:pt idx="355">
                  <c:v>Bollinger</c:v>
                </c:pt>
                <c:pt idx="356">
                  <c:v>Bollinger</c:v>
                </c:pt>
                <c:pt idx="357">
                  <c:v>Roederer</c:v>
                </c:pt>
                <c:pt idx="358">
                  <c:v>Demoiselle</c:v>
                </c:pt>
                <c:pt idx="359">
                  <c:v>Bottega</c:v>
                </c:pt>
                <c:pt idx="360">
                  <c:v>De Venoge</c:v>
                </c:pt>
                <c:pt idx="361">
                  <c:v>Bottega</c:v>
                </c:pt>
                <c:pt idx="362">
                  <c:v>All Others</c:v>
                </c:pt>
                <c:pt idx="363">
                  <c:v>Deutz</c:v>
                </c:pt>
                <c:pt idx="364">
                  <c:v>Laurent Per</c:v>
                </c:pt>
                <c:pt idx="365">
                  <c:v>All Others</c:v>
                </c:pt>
                <c:pt idx="366">
                  <c:v>Ruinart</c:v>
                </c:pt>
                <c:pt idx="367">
                  <c:v>All Others</c:v>
                </c:pt>
                <c:pt idx="368">
                  <c:v>Roederer</c:v>
                </c:pt>
                <c:pt idx="369">
                  <c:v>All Others</c:v>
                </c:pt>
                <c:pt idx="370">
                  <c:v>Mure</c:v>
                </c:pt>
                <c:pt idx="371">
                  <c:v>Perrier Jou</c:v>
                </c:pt>
                <c:pt idx="372">
                  <c:v>All Others</c:v>
                </c:pt>
                <c:pt idx="373">
                  <c:v>All Others</c:v>
                </c:pt>
                <c:pt idx="374">
                  <c:v>All Others</c:v>
                </c:pt>
                <c:pt idx="375">
                  <c:v>All Others</c:v>
                </c:pt>
                <c:pt idx="376">
                  <c:v>All Others</c:v>
                </c:pt>
                <c:pt idx="377">
                  <c:v>All Others</c:v>
                </c:pt>
                <c:pt idx="378">
                  <c:v>All Others</c:v>
                </c:pt>
                <c:pt idx="379">
                  <c:v>All Others</c:v>
                </c:pt>
                <c:pt idx="380">
                  <c:v>Roederer</c:v>
                </c:pt>
                <c:pt idx="381">
                  <c:v>Ruinart</c:v>
                </c:pt>
                <c:pt idx="382">
                  <c:v>Bouvet-Ladu</c:v>
                </c:pt>
                <c:pt idx="383">
                  <c:v>All Others</c:v>
                </c:pt>
                <c:pt idx="384">
                  <c:v>Nicolas Feu</c:v>
                </c:pt>
                <c:pt idx="385">
                  <c:v>All Others</c:v>
                </c:pt>
                <c:pt idx="386">
                  <c:v>De Venoge</c:v>
                </c:pt>
                <c:pt idx="387">
                  <c:v>All Others</c:v>
                </c:pt>
                <c:pt idx="388">
                  <c:v>Contarini</c:v>
                </c:pt>
                <c:pt idx="389">
                  <c:v>Ayala</c:v>
                </c:pt>
                <c:pt idx="390">
                  <c:v>Delamotte</c:v>
                </c:pt>
                <c:pt idx="391">
                  <c:v>Lanson</c:v>
                </c:pt>
                <c:pt idx="392">
                  <c:v>Laurent Per</c:v>
                </c:pt>
                <c:pt idx="393">
                  <c:v>All Others</c:v>
                </c:pt>
                <c:pt idx="394">
                  <c:v>All Others</c:v>
                </c:pt>
                <c:pt idx="395">
                  <c:v>All Others</c:v>
                </c:pt>
                <c:pt idx="396">
                  <c:v>All Others</c:v>
                </c:pt>
                <c:pt idx="397">
                  <c:v>Pommery</c:v>
                </c:pt>
                <c:pt idx="398">
                  <c:v>Lanson</c:v>
                </c:pt>
                <c:pt idx="399">
                  <c:v>Vranken</c:v>
                </c:pt>
                <c:pt idx="400">
                  <c:v>Vesselle</c:v>
                </c:pt>
                <c:pt idx="401">
                  <c:v>Besserat De</c:v>
                </c:pt>
                <c:pt idx="402">
                  <c:v>All Others</c:v>
                </c:pt>
                <c:pt idx="403">
                  <c:v>Bottega</c:v>
                </c:pt>
                <c:pt idx="404">
                  <c:v>French Bloo</c:v>
                </c:pt>
                <c:pt idx="405">
                  <c:v>All Others</c:v>
                </c:pt>
              </c:strCache>
            </c:strRef>
          </c:cat>
          <c:val>
            <c:numRef>
              <c:f>Sheet1!$B$2:$B$407</c:f>
              <c:numCache>
                <c:formatCode>General</c:formatCode>
                <c:ptCount val="406"/>
                <c:pt idx="0">
                  <c:v>0.99</c:v>
                </c:pt>
                <c:pt idx="1">
                  <c:v>0.97</c:v>
                </c:pt>
                <c:pt idx="2">
                  <c:v>0.97</c:v>
                </c:pt>
                <c:pt idx="3">
                  <c:v>0.73</c:v>
                </c:pt>
                <c:pt idx="4">
                  <c:v>0.85</c:v>
                </c:pt>
                <c:pt idx="5">
                  <c:v>0.88</c:v>
                </c:pt>
                <c:pt idx="6">
                  <c:v>0.85</c:v>
                </c:pt>
                <c:pt idx="7">
                  <c:v>0.88</c:v>
                </c:pt>
                <c:pt idx="8">
                  <c:v>0.86</c:v>
                </c:pt>
                <c:pt idx="9">
                  <c:v>0.85</c:v>
                </c:pt>
                <c:pt idx="10">
                  <c:v>0.9</c:v>
                </c:pt>
                <c:pt idx="11">
                  <c:v>0.79</c:v>
                </c:pt>
                <c:pt idx="12">
                  <c:v>0.74</c:v>
                </c:pt>
                <c:pt idx="13">
                  <c:v>0.49</c:v>
                </c:pt>
                <c:pt idx="14">
                  <c:v>0.52</c:v>
                </c:pt>
                <c:pt idx="15">
                  <c:v>0.68</c:v>
                </c:pt>
                <c:pt idx="16">
                  <c:v>0.77</c:v>
                </c:pt>
                <c:pt idx="17">
                  <c:v>0.47</c:v>
                </c:pt>
                <c:pt idx="18">
                  <c:v>0.47</c:v>
                </c:pt>
                <c:pt idx="19">
                  <c:v>0.59</c:v>
                </c:pt>
                <c:pt idx="20">
                  <c:v>0.33</c:v>
                </c:pt>
                <c:pt idx="21">
                  <c:v>0.75</c:v>
                </c:pt>
                <c:pt idx="22">
                  <c:v>0.61</c:v>
                </c:pt>
                <c:pt idx="23">
                  <c:v>0.47</c:v>
                </c:pt>
                <c:pt idx="24">
                  <c:v>0.47</c:v>
                </c:pt>
                <c:pt idx="25">
                  <c:v>0.51</c:v>
                </c:pt>
                <c:pt idx="26">
                  <c:v>0.43</c:v>
                </c:pt>
                <c:pt idx="27">
                  <c:v>0.46</c:v>
                </c:pt>
                <c:pt idx="28">
                  <c:v>0.39</c:v>
                </c:pt>
                <c:pt idx="29">
                  <c:v>0.34</c:v>
                </c:pt>
                <c:pt idx="30">
                  <c:v>0.78</c:v>
                </c:pt>
                <c:pt idx="31">
                  <c:v>0.7</c:v>
                </c:pt>
                <c:pt idx="32">
                  <c:v>0.5</c:v>
                </c:pt>
                <c:pt idx="33">
                  <c:v>0.36</c:v>
                </c:pt>
                <c:pt idx="34">
                  <c:v>0.12</c:v>
                </c:pt>
                <c:pt idx="35">
                  <c:v>0.34</c:v>
                </c:pt>
                <c:pt idx="36">
                  <c:v>0.55000000000000004</c:v>
                </c:pt>
                <c:pt idx="37">
                  <c:v>0.51</c:v>
                </c:pt>
                <c:pt idx="38">
                  <c:v>0.1</c:v>
                </c:pt>
                <c:pt idx="39">
                  <c:v>0.39</c:v>
                </c:pt>
                <c:pt idx="40">
                  <c:v>0.32</c:v>
                </c:pt>
                <c:pt idx="41">
                  <c:v>0.24</c:v>
                </c:pt>
                <c:pt idx="42">
                  <c:v>0.39</c:v>
                </c:pt>
                <c:pt idx="43">
                  <c:v>0.31</c:v>
                </c:pt>
                <c:pt idx="44">
                  <c:v>0.45</c:v>
                </c:pt>
                <c:pt idx="45">
                  <c:v>0.46</c:v>
                </c:pt>
                <c:pt idx="46">
                  <c:v>0.25</c:v>
                </c:pt>
                <c:pt idx="47">
                  <c:v>0.36</c:v>
                </c:pt>
                <c:pt idx="48">
                  <c:v>0.35</c:v>
                </c:pt>
                <c:pt idx="49">
                  <c:v>0.46</c:v>
                </c:pt>
                <c:pt idx="50">
                  <c:v>0.37</c:v>
                </c:pt>
                <c:pt idx="51">
                  <c:v>0.45</c:v>
                </c:pt>
                <c:pt idx="52">
                  <c:v>0.42</c:v>
                </c:pt>
                <c:pt idx="53">
                  <c:v>0.26</c:v>
                </c:pt>
                <c:pt idx="54">
                  <c:v>0.33</c:v>
                </c:pt>
                <c:pt idx="55">
                  <c:v>0.46</c:v>
                </c:pt>
                <c:pt idx="56">
                  <c:v>0.56999999999999995</c:v>
                </c:pt>
                <c:pt idx="57">
                  <c:v>0.33</c:v>
                </c:pt>
                <c:pt idx="58">
                  <c:v>0.4</c:v>
                </c:pt>
                <c:pt idx="59">
                  <c:v>0.37</c:v>
                </c:pt>
                <c:pt idx="60">
                  <c:v>0.32</c:v>
                </c:pt>
                <c:pt idx="61">
                  <c:v>0.54</c:v>
                </c:pt>
                <c:pt idx="62">
                  <c:v>0.31</c:v>
                </c:pt>
                <c:pt idx="63">
                  <c:v>0.42</c:v>
                </c:pt>
                <c:pt idx="64">
                  <c:v>0.11</c:v>
                </c:pt>
                <c:pt idx="65">
                  <c:v>0.66</c:v>
                </c:pt>
                <c:pt idx="66">
                  <c:v>0.28000000000000003</c:v>
                </c:pt>
                <c:pt idx="67">
                  <c:v>0.23</c:v>
                </c:pt>
                <c:pt idx="68">
                  <c:v>0.55000000000000004</c:v>
                </c:pt>
                <c:pt idx="69">
                  <c:v>0.24</c:v>
                </c:pt>
                <c:pt idx="70">
                  <c:v>0.56999999999999995</c:v>
                </c:pt>
                <c:pt idx="71">
                  <c:v>0.28000000000000003</c:v>
                </c:pt>
                <c:pt idx="72">
                  <c:v>0.26</c:v>
                </c:pt>
                <c:pt idx="73">
                  <c:v>0.25</c:v>
                </c:pt>
                <c:pt idx="74">
                  <c:v>0.08</c:v>
                </c:pt>
                <c:pt idx="75">
                  <c:v>0.22</c:v>
                </c:pt>
                <c:pt idx="76">
                  <c:v>0.31</c:v>
                </c:pt>
                <c:pt idx="77">
                  <c:v>0.13</c:v>
                </c:pt>
                <c:pt idx="78">
                  <c:v>0.36</c:v>
                </c:pt>
                <c:pt idx="79">
                  <c:v>0.24</c:v>
                </c:pt>
                <c:pt idx="80">
                  <c:v>0.33</c:v>
                </c:pt>
                <c:pt idx="81">
                  <c:v>0.34</c:v>
                </c:pt>
                <c:pt idx="82">
                  <c:v>0.35</c:v>
                </c:pt>
                <c:pt idx="83">
                  <c:v>0.15</c:v>
                </c:pt>
                <c:pt idx="84">
                  <c:v>0.14000000000000001</c:v>
                </c:pt>
                <c:pt idx="85">
                  <c:v>0.15</c:v>
                </c:pt>
                <c:pt idx="86">
                  <c:v>0.14000000000000001</c:v>
                </c:pt>
                <c:pt idx="87">
                  <c:v>0.28000000000000003</c:v>
                </c:pt>
                <c:pt idx="88">
                  <c:v>0.19</c:v>
                </c:pt>
                <c:pt idx="89">
                  <c:v>0.16</c:v>
                </c:pt>
                <c:pt idx="90">
                  <c:v>0.11</c:v>
                </c:pt>
                <c:pt idx="91">
                  <c:v>0.42</c:v>
                </c:pt>
                <c:pt idx="92">
                  <c:v>0.13</c:v>
                </c:pt>
                <c:pt idx="93">
                  <c:v>7.0000000000000007E-2</c:v>
                </c:pt>
                <c:pt idx="94">
                  <c:v>0.13</c:v>
                </c:pt>
                <c:pt idx="95">
                  <c:v>0.13</c:v>
                </c:pt>
                <c:pt idx="96">
                  <c:v>0.04</c:v>
                </c:pt>
                <c:pt idx="97">
                  <c:v>0.15</c:v>
                </c:pt>
                <c:pt idx="98">
                  <c:v>0.13</c:v>
                </c:pt>
                <c:pt idx="99">
                  <c:v>0.22</c:v>
                </c:pt>
                <c:pt idx="100">
                  <c:v>0.72</c:v>
                </c:pt>
                <c:pt idx="101">
                  <c:v>0.06</c:v>
                </c:pt>
                <c:pt idx="102">
                  <c:v>0.18</c:v>
                </c:pt>
                <c:pt idx="103">
                  <c:v>0.11</c:v>
                </c:pt>
                <c:pt idx="104">
                  <c:v>0.21</c:v>
                </c:pt>
                <c:pt idx="105">
                  <c:v>0.43</c:v>
                </c:pt>
                <c:pt idx="106">
                  <c:v>0.13</c:v>
                </c:pt>
                <c:pt idx="107">
                  <c:v>0.13</c:v>
                </c:pt>
                <c:pt idx="108">
                  <c:v>0.11</c:v>
                </c:pt>
                <c:pt idx="109">
                  <c:v>0.22</c:v>
                </c:pt>
                <c:pt idx="110">
                  <c:v>0.12</c:v>
                </c:pt>
                <c:pt idx="111">
                  <c:v>0.11</c:v>
                </c:pt>
                <c:pt idx="112">
                  <c:v>0.04</c:v>
                </c:pt>
                <c:pt idx="113">
                  <c:v>0.1</c:v>
                </c:pt>
                <c:pt idx="114">
                  <c:v>0.37</c:v>
                </c:pt>
                <c:pt idx="115">
                  <c:v>0.06</c:v>
                </c:pt>
                <c:pt idx="116">
                  <c:v>0.1</c:v>
                </c:pt>
                <c:pt idx="117">
                  <c:v>0.1</c:v>
                </c:pt>
                <c:pt idx="118">
                  <c:v>0.24</c:v>
                </c:pt>
                <c:pt idx="119">
                  <c:v>0.1</c:v>
                </c:pt>
                <c:pt idx="120">
                  <c:v>0.21</c:v>
                </c:pt>
                <c:pt idx="121">
                  <c:v>0.13</c:v>
                </c:pt>
                <c:pt idx="122">
                  <c:v>0.18</c:v>
                </c:pt>
                <c:pt idx="123">
                  <c:v>0.17</c:v>
                </c:pt>
                <c:pt idx="124">
                  <c:v>0.05</c:v>
                </c:pt>
                <c:pt idx="125">
                  <c:v>0.31</c:v>
                </c:pt>
                <c:pt idx="126">
                  <c:v>0.15</c:v>
                </c:pt>
                <c:pt idx="127">
                  <c:v>0.03</c:v>
                </c:pt>
                <c:pt idx="128">
                  <c:v>0.06</c:v>
                </c:pt>
                <c:pt idx="129">
                  <c:v>0.2</c:v>
                </c:pt>
                <c:pt idx="130">
                  <c:v>7.0000000000000007E-2</c:v>
                </c:pt>
                <c:pt idx="131">
                  <c:v>0.09</c:v>
                </c:pt>
                <c:pt idx="132">
                  <c:v>0.11</c:v>
                </c:pt>
                <c:pt idx="133">
                  <c:v>0.12</c:v>
                </c:pt>
                <c:pt idx="134">
                  <c:v>0.08</c:v>
                </c:pt>
                <c:pt idx="135">
                  <c:v>0.17</c:v>
                </c:pt>
                <c:pt idx="136">
                  <c:v>0.08</c:v>
                </c:pt>
                <c:pt idx="137">
                  <c:v>0.02</c:v>
                </c:pt>
                <c:pt idx="138">
                  <c:v>0.06</c:v>
                </c:pt>
                <c:pt idx="139">
                  <c:v>0.04</c:v>
                </c:pt>
                <c:pt idx="140">
                  <c:v>0.06</c:v>
                </c:pt>
                <c:pt idx="141">
                  <c:v>0.11</c:v>
                </c:pt>
                <c:pt idx="142">
                  <c:v>0.13</c:v>
                </c:pt>
                <c:pt idx="143">
                  <c:v>0.03</c:v>
                </c:pt>
                <c:pt idx="144">
                  <c:v>0.05</c:v>
                </c:pt>
                <c:pt idx="145">
                  <c:v>0.03</c:v>
                </c:pt>
                <c:pt idx="146">
                  <c:v>0.17</c:v>
                </c:pt>
                <c:pt idx="147">
                  <c:v>0.04</c:v>
                </c:pt>
                <c:pt idx="148">
                  <c:v>0.09</c:v>
                </c:pt>
                <c:pt idx="149">
                  <c:v>0.05</c:v>
                </c:pt>
                <c:pt idx="150">
                  <c:v>0.1</c:v>
                </c:pt>
                <c:pt idx="151">
                  <c:v>0.03</c:v>
                </c:pt>
                <c:pt idx="152">
                  <c:v>0.02</c:v>
                </c:pt>
                <c:pt idx="153">
                  <c:v>0.1</c:v>
                </c:pt>
                <c:pt idx="154">
                  <c:v>0.08</c:v>
                </c:pt>
                <c:pt idx="155">
                  <c:v>0.06</c:v>
                </c:pt>
                <c:pt idx="156">
                  <c:v>0.11</c:v>
                </c:pt>
                <c:pt idx="157">
                  <c:v>0.06</c:v>
                </c:pt>
                <c:pt idx="158">
                  <c:v>7.0000000000000007E-2</c:v>
                </c:pt>
                <c:pt idx="159">
                  <c:v>0.06</c:v>
                </c:pt>
                <c:pt idx="160">
                  <c:v>0.12</c:v>
                </c:pt>
                <c:pt idx="161">
                  <c:v>0.04</c:v>
                </c:pt>
                <c:pt idx="162">
                  <c:v>0.05</c:v>
                </c:pt>
                <c:pt idx="163">
                  <c:v>7.0000000000000007E-2</c:v>
                </c:pt>
                <c:pt idx="164">
                  <c:v>0.02</c:v>
                </c:pt>
                <c:pt idx="165">
                  <c:v>7.0000000000000007E-2</c:v>
                </c:pt>
                <c:pt idx="166">
                  <c:v>0.04</c:v>
                </c:pt>
                <c:pt idx="167">
                  <c:v>0.06</c:v>
                </c:pt>
                <c:pt idx="168">
                  <c:v>0.06</c:v>
                </c:pt>
                <c:pt idx="169">
                  <c:v>0.13</c:v>
                </c:pt>
                <c:pt idx="170">
                  <c:v>0.04</c:v>
                </c:pt>
                <c:pt idx="171">
                  <c:v>0.02</c:v>
                </c:pt>
                <c:pt idx="172">
                  <c:v>0.06</c:v>
                </c:pt>
                <c:pt idx="173">
                  <c:v>0.02</c:v>
                </c:pt>
                <c:pt idx="174">
                  <c:v>0.03</c:v>
                </c:pt>
                <c:pt idx="175">
                  <c:v>0.05</c:v>
                </c:pt>
                <c:pt idx="176">
                  <c:v>0.12</c:v>
                </c:pt>
                <c:pt idx="177">
                  <c:v>0.03</c:v>
                </c:pt>
                <c:pt idx="178">
                  <c:v>0.05</c:v>
                </c:pt>
                <c:pt idx="179">
                  <c:v>0.06</c:v>
                </c:pt>
                <c:pt idx="180">
                  <c:v>7.0000000000000007E-2</c:v>
                </c:pt>
                <c:pt idx="181">
                  <c:v>0.05</c:v>
                </c:pt>
                <c:pt idx="182">
                  <c:v>0.04</c:v>
                </c:pt>
                <c:pt idx="183">
                  <c:v>0.11</c:v>
                </c:pt>
                <c:pt idx="184">
                  <c:v>0.06</c:v>
                </c:pt>
                <c:pt idx="185">
                  <c:v>0.04</c:v>
                </c:pt>
                <c:pt idx="186">
                  <c:v>0.02</c:v>
                </c:pt>
                <c:pt idx="187">
                  <c:v>0.02</c:v>
                </c:pt>
                <c:pt idx="188">
                  <c:v>0.02</c:v>
                </c:pt>
                <c:pt idx="189">
                  <c:v>0.12</c:v>
                </c:pt>
                <c:pt idx="190">
                  <c:v>0.05</c:v>
                </c:pt>
                <c:pt idx="191">
                  <c:v>0.03</c:v>
                </c:pt>
                <c:pt idx="192">
                  <c:v>0.03</c:v>
                </c:pt>
                <c:pt idx="193">
                  <c:v>0.04</c:v>
                </c:pt>
                <c:pt idx="194">
                  <c:v>0.04</c:v>
                </c:pt>
                <c:pt idx="195">
                  <c:v>0.06</c:v>
                </c:pt>
                <c:pt idx="196">
                  <c:v>0.04</c:v>
                </c:pt>
                <c:pt idx="197">
                  <c:v>0.02</c:v>
                </c:pt>
                <c:pt idx="198">
                  <c:v>0.02</c:v>
                </c:pt>
                <c:pt idx="199">
                  <c:v>0.02</c:v>
                </c:pt>
                <c:pt idx="200">
                  <c:v>0.04</c:v>
                </c:pt>
                <c:pt idx="201">
                  <c:v>0.06</c:v>
                </c:pt>
                <c:pt idx="202">
                  <c:v>0.04</c:v>
                </c:pt>
                <c:pt idx="203">
                  <c:v>0.01</c:v>
                </c:pt>
                <c:pt idx="204">
                  <c:v>0.05</c:v>
                </c:pt>
                <c:pt idx="205">
                  <c:v>0.02</c:v>
                </c:pt>
                <c:pt idx="206">
                  <c:v>0.06</c:v>
                </c:pt>
                <c:pt idx="207">
                  <c:v>0.02</c:v>
                </c:pt>
                <c:pt idx="208">
                  <c:v>0.03</c:v>
                </c:pt>
                <c:pt idx="209">
                  <c:v>0.02</c:v>
                </c:pt>
                <c:pt idx="210">
                  <c:v>7.0000000000000007E-2</c:v>
                </c:pt>
                <c:pt idx="211">
                  <c:v>0.12</c:v>
                </c:pt>
                <c:pt idx="212">
                  <c:v>0.03</c:v>
                </c:pt>
                <c:pt idx="213">
                  <c:v>0.04</c:v>
                </c:pt>
                <c:pt idx="214">
                  <c:v>0.05</c:v>
                </c:pt>
                <c:pt idx="215">
                  <c:v>7.0000000000000007E-2</c:v>
                </c:pt>
                <c:pt idx="216">
                  <c:v>0.04</c:v>
                </c:pt>
                <c:pt idx="217">
                  <c:v>0.06</c:v>
                </c:pt>
                <c:pt idx="218">
                  <c:v>0.03</c:v>
                </c:pt>
                <c:pt idx="219">
                  <c:v>0.02</c:v>
                </c:pt>
                <c:pt idx="220">
                  <c:v>0.04</c:v>
                </c:pt>
                <c:pt idx="221">
                  <c:v>0.02</c:v>
                </c:pt>
                <c:pt idx="222">
                  <c:v>0.03</c:v>
                </c:pt>
                <c:pt idx="223">
                  <c:v>0.03</c:v>
                </c:pt>
                <c:pt idx="224">
                  <c:v>0.03</c:v>
                </c:pt>
                <c:pt idx="225">
                  <c:v>0.02</c:v>
                </c:pt>
                <c:pt idx="226">
                  <c:v>0.02</c:v>
                </c:pt>
                <c:pt idx="227">
                  <c:v>0.05</c:v>
                </c:pt>
                <c:pt idx="228">
                  <c:v>0.03</c:v>
                </c:pt>
                <c:pt idx="229">
                  <c:v>0.02</c:v>
                </c:pt>
                <c:pt idx="230">
                  <c:v>0.04</c:v>
                </c:pt>
                <c:pt idx="231">
                  <c:v>0.05</c:v>
                </c:pt>
                <c:pt idx="232">
                  <c:v>0.04</c:v>
                </c:pt>
                <c:pt idx="233">
                  <c:v>0.05</c:v>
                </c:pt>
                <c:pt idx="234">
                  <c:v>0.02</c:v>
                </c:pt>
                <c:pt idx="235">
                  <c:v>0.02</c:v>
                </c:pt>
                <c:pt idx="236">
                  <c:v>7.0000000000000007E-2</c:v>
                </c:pt>
                <c:pt idx="237">
                  <c:v>0.01</c:v>
                </c:pt>
                <c:pt idx="238">
                  <c:v>0.03</c:v>
                </c:pt>
                <c:pt idx="239">
                  <c:v>0.02</c:v>
                </c:pt>
                <c:pt idx="240">
                  <c:v>0.02</c:v>
                </c:pt>
                <c:pt idx="241">
                  <c:v>0.03</c:v>
                </c:pt>
                <c:pt idx="242">
                  <c:v>0.04</c:v>
                </c:pt>
                <c:pt idx="243">
                  <c:v>0.02</c:v>
                </c:pt>
                <c:pt idx="244">
                  <c:v>0.02</c:v>
                </c:pt>
                <c:pt idx="245">
                  <c:v>0.02</c:v>
                </c:pt>
                <c:pt idx="246">
                  <c:v>0.01</c:v>
                </c:pt>
                <c:pt idx="247">
                  <c:v>0.01</c:v>
                </c:pt>
                <c:pt idx="248">
                  <c:v>0.02</c:v>
                </c:pt>
                <c:pt idx="249">
                  <c:v>0.02</c:v>
                </c:pt>
                <c:pt idx="250">
                  <c:v>0.02</c:v>
                </c:pt>
                <c:pt idx="251">
                  <c:v>0.02</c:v>
                </c:pt>
                <c:pt idx="252">
                  <c:v>0.03</c:v>
                </c:pt>
                <c:pt idx="253">
                  <c:v>0.05</c:v>
                </c:pt>
                <c:pt idx="254">
                  <c:v>0.01</c:v>
                </c:pt>
                <c:pt idx="255">
                  <c:v>0.02</c:v>
                </c:pt>
                <c:pt idx="256">
                  <c:v>0.01</c:v>
                </c:pt>
                <c:pt idx="257">
                  <c:v>0.02</c:v>
                </c:pt>
                <c:pt idx="258">
                  <c:v>0.04</c:v>
                </c:pt>
                <c:pt idx="259">
                  <c:v>0.02</c:v>
                </c:pt>
                <c:pt idx="260">
                  <c:v>0.06</c:v>
                </c:pt>
                <c:pt idx="261">
                  <c:v>0.01</c:v>
                </c:pt>
                <c:pt idx="262">
                  <c:v>0.02</c:v>
                </c:pt>
                <c:pt idx="263">
                  <c:v>0.03</c:v>
                </c:pt>
                <c:pt idx="264">
                  <c:v>0.02</c:v>
                </c:pt>
                <c:pt idx="265">
                  <c:v>0.06</c:v>
                </c:pt>
                <c:pt idx="266">
                  <c:v>0.01</c:v>
                </c:pt>
                <c:pt idx="267">
                  <c:v>0.01</c:v>
                </c:pt>
                <c:pt idx="268">
                  <c:v>0.02</c:v>
                </c:pt>
                <c:pt idx="269">
                  <c:v>0.01</c:v>
                </c:pt>
                <c:pt idx="270">
                  <c:v>0.03</c:v>
                </c:pt>
                <c:pt idx="271">
                  <c:v>0.01</c:v>
                </c:pt>
                <c:pt idx="272">
                  <c:v>0.03</c:v>
                </c:pt>
                <c:pt idx="273">
                  <c:v>0.01</c:v>
                </c:pt>
                <c:pt idx="274">
                  <c:v>0.01</c:v>
                </c:pt>
                <c:pt idx="275">
                  <c:v>0.02</c:v>
                </c:pt>
                <c:pt idx="276">
                  <c:v>0.01</c:v>
                </c:pt>
                <c:pt idx="277">
                  <c:v>0.02</c:v>
                </c:pt>
                <c:pt idx="278">
                  <c:v>0.01</c:v>
                </c:pt>
                <c:pt idx="279">
                  <c:v>0.03</c:v>
                </c:pt>
                <c:pt idx="280">
                  <c:v>0.02</c:v>
                </c:pt>
                <c:pt idx="281">
                  <c:v>0.01</c:v>
                </c:pt>
                <c:pt idx="282">
                  <c:v>0.01</c:v>
                </c:pt>
                <c:pt idx="283">
                  <c:v>0.01</c:v>
                </c:pt>
                <c:pt idx="284">
                  <c:v>0.01</c:v>
                </c:pt>
                <c:pt idx="285">
                  <c:v>0.01</c:v>
                </c:pt>
                <c:pt idx="286">
                  <c:v>0.03</c:v>
                </c:pt>
                <c:pt idx="287">
                  <c:v>0.01</c:v>
                </c:pt>
                <c:pt idx="288">
                  <c:v>0.02</c:v>
                </c:pt>
                <c:pt idx="289">
                  <c:v>0.03</c:v>
                </c:pt>
                <c:pt idx="290">
                  <c:v>0.03</c:v>
                </c:pt>
                <c:pt idx="291">
                  <c:v>0.01</c:v>
                </c:pt>
                <c:pt idx="292">
                  <c:v>0.02</c:v>
                </c:pt>
                <c:pt idx="293">
                  <c:v>0.01</c:v>
                </c:pt>
                <c:pt idx="294">
                  <c:v>0.02</c:v>
                </c:pt>
                <c:pt idx="295">
                  <c:v>0.01</c:v>
                </c:pt>
                <c:pt idx="296">
                  <c:v>0.01</c:v>
                </c:pt>
                <c:pt idx="297">
                  <c:v>0.01</c:v>
                </c:pt>
                <c:pt idx="298">
                  <c:v>0.03</c:v>
                </c:pt>
                <c:pt idx="299">
                  <c:v>0.02</c:v>
                </c:pt>
                <c:pt idx="300">
                  <c:v>0.01</c:v>
                </c:pt>
                <c:pt idx="301">
                  <c:v>0.01</c:v>
                </c:pt>
                <c:pt idx="302">
                  <c:v>0.01</c:v>
                </c:pt>
                <c:pt idx="303">
                  <c:v>0.01</c:v>
                </c:pt>
                <c:pt idx="304">
                  <c:v>0.01</c:v>
                </c:pt>
                <c:pt idx="305">
                  <c:v>0.02</c:v>
                </c:pt>
                <c:pt idx="306">
                  <c:v>0.01</c:v>
                </c:pt>
                <c:pt idx="307">
                  <c:v>0.01</c:v>
                </c:pt>
                <c:pt idx="308">
                  <c:v>0.01</c:v>
                </c:pt>
                <c:pt idx="309">
                  <c:v>0.02</c:v>
                </c:pt>
                <c:pt idx="310">
                  <c:v>0.01</c:v>
                </c:pt>
                <c:pt idx="311">
                  <c:v>0.01</c:v>
                </c:pt>
                <c:pt idx="312">
                  <c:v>0.01</c:v>
                </c:pt>
                <c:pt idx="313">
                  <c:v>0.01</c:v>
                </c:pt>
                <c:pt idx="314">
                  <c:v>0.02</c:v>
                </c:pt>
                <c:pt idx="315">
                  <c:v>0.01</c:v>
                </c:pt>
                <c:pt idx="316">
                  <c:v>0.01</c:v>
                </c:pt>
                <c:pt idx="317">
                  <c:v>0.01</c:v>
                </c:pt>
                <c:pt idx="318">
                  <c:v>0.01</c:v>
                </c:pt>
                <c:pt idx="319">
                  <c:v>0.01</c:v>
                </c:pt>
                <c:pt idx="320">
                  <c:v>0.02</c:v>
                </c:pt>
                <c:pt idx="321">
                  <c:v>0.02</c:v>
                </c:pt>
                <c:pt idx="322">
                  <c:v>0.02</c:v>
                </c:pt>
                <c:pt idx="323">
                  <c:v>0.01</c:v>
                </c:pt>
                <c:pt idx="324">
                  <c:v>0.02</c:v>
                </c:pt>
                <c:pt idx="325">
                  <c:v>0.02</c:v>
                </c:pt>
                <c:pt idx="326">
                  <c:v>0.01</c:v>
                </c:pt>
                <c:pt idx="327">
                  <c:v>0.01</c:v>
                </c:pt>
                <c:pt idx="328">
                  <c:v>0.02</c:v>
                </c:pt>
                <c:pt idx="329">
                  <c:v>0.01</c:v>
                </c:pt>
                <c:pt idx="330">
                  <c:v>0.01</c:v>
                </c:pt>
                <c:pt idx="331">
                  <c:v>0.01</c:v>
                </c:pt>
                <c:pt idx="332">
                  <c:v>0.01</c:v>
                </c:pt>
                <c:pt idx="333">
                  <c:v>0.02</c:v>
                </c:pt>
                <c:pt idx="334">
                  <c:v>0.01</c:v>
                </c:pt>
                <c:pt idx="335">
                  <c:v>0.01</c:v>
                </c:pt>
                <c:pt idx="336">
                  <c:v>0.01</c:v>
                </c:pt>
                <c:pt idx="337">
                  <c:v>0.01</c:v>
                </c:pt>
                <c:pt idx="338">
                  <c:v>0.01</c:v>
                </c:pt>
                <c:pt idx="339">
                  <c:v>0.01</c:v>
                </c:pt>
                <c:pt idx="340">
                  <c:v>0.01</c:v>
                </c:pt>
                <c:pt idx="341">
                  <c:v>0.01</c:v>
                </c:pt>
                <c:pt idx="342">
                  <c:v>0.02</c:v>
                </c:pt>
                <c:pt idx="343">
                  <c:v>0.01</c:v>
                </c:pt>
                <c:pt idx="344">
                  <c:v>0.02</c:v>
                </c:pt>
                <c:pt idx="345">
                  <c:v>0.01</c:v>
                </c:pt>
                <c:pt idx="346">
                  <c:v>0.02</c:v>
                </c:pt>
                <c:pt idx="347">
                  <c:v>0.01</c:v>
                </c:pt>
                <c:pt idx="348">
                  <c:v>0.01</c:v>
                </c:pt>
                <c:pt idx="349">
                  <c:v>0.01</c:v>
                </c:pt>
                <c:pt idx="350">
                  <c:v>0.01</c:v>
                </c:pt>
                <c:pt idx="351">
                  <c:v>0.01</c:v>
                </c:pt>
                <c:pt idx="352">
                  <c:v>0.01</c:v>
                </c:pt>
                <c:pt idx="353">
                  <c:v>0.01</c:v>
                </c:pt>
                <c:pt idx="354">
                  <c:v>0.02</c:v>
                </c:pt>
                <c:pt idx="355">
                  <c:v>0.01</c:v>
                </c:pt>
                <c:pt idx="356">
                  <c:v>0.01</c:v>
                </c:pt>
                <c:pt idx="357">
                  <c:v>0.01</c:v>
                </c:pt>
                <c:pt idx="358">
                  <c:v>0.02</c:v>
                </c:pt>
                <c:pt idx="359">
                  <c:v>0.01</c:v>
                </c:pt>
                <c:pt idx="360">
                  <c:v>0.01</c:v>
                </c:pt>
                <c:pt idx="361">
                  <c:v>0.01</c:v>
                </c:pt>
                <c:pt idx="362">
                  <c:v>0.03</c:v>
                </c:pt>
                <c:pt idx="363">
                  <c:v>0.01</c:v>
                </c:pt>
                <c:pt idx="364">
                  <c:v>0.01</c:v>
                </c:pt>
                <c:pt idx="365">
                  <c:v>0.01</c:v>
                </c:pt>
                <c:pt idx="366">
                  <c:v>0.01</c:v>
                </c:pt>
                <c:pt idx="367">
                  <c:v>0.01</c:v>
                </c:pt>
                <c:pt idx="368">
                  <c:v>0.01</c:v>
                </c:pt>
                <c:pt idx="369">
                  <c:v>0.01</c:v>
                </c:pt>
                <c:pt idx="370">
                  <c:v>0.02</c:v>
                </c:pt>
                <c:pt idx="371">
                  <c:v>0.02</c:v>
                </c:pt>
                <c:pt idx="372">
                  <c:v>0.01</c:v>
                </c:pt>
                <c:pt idx="373">
                  <c:v>0.01</c:v>
                </c:pt>
                <c:pt idx="374">
                  <c:v>0.01</c:v>
                </c:pt>
                <c:pt idx="375">
                  <c:v>0.01</c:v>
                </c:pt>
                <c:pt idx="376">
                  <c:v>0.01</c:v>
                </c:pt>
                <c:pt idx="377">
                  <c:v>0.01</c:v>
                </c:pt>
                <c:pt idx="378">
                  <c:v>0.01</c:v>
                </c:pt>
                <c:pt idx="379">
                  <c:v>0.01</c:v>
                </c:pt>
                <c:pt idx="380">
                  <c:v>0.01</c:v>
                </c:pt>
                <c:pt idx="381">
                  <c:v>0.01</c:v>
                </c:pt>
                <c:pt idx="382">
                  <c:v>0.01</c:v>
                </c:pt>
                <c:pt idx="383">
                  <c:v>0.01</c:v>
                </c:pt>
                <c:pt idx="384">
                  <c:v>0.01</c:v>
                </c:pt>
                <c:pt idx="385">
                  <c:v>0.01</c:v>
                </c:pt>
                <c:pt idx="386">
                  <c:v>0.01</c:v>
                </c:pt>
                <c:pt idx="387">
                  <c:v>0.01</c:v>
                </c:pt>
                <c:pt idx="388">
                  <c:v>0.01</c:v>
                </c:pt>
                <c:pt idx="389">
                  <c:v>0.01</c:v>
                </c:pt>
                <c:pt idx="390">
                  <c:v>0.02</c:v>
                </c:pt>
                <c:pt idx="391">
                  <c:v>0.01</c:v>
                </c:pt>
                <c:pt idx="392">
                  <c:v>0.01</c:v>
                </c:pt>
                <c:pt idx="393">
                  <c:v>0.01</c:v>
                </c:pt>
                <c:pt idx="394">
                  <c:v>0.01</c:v>
                </c:pt>
                <c:pt idx="395">
                  <c:v>0.01</c:v>
                </c:pt>
                <c:pt idx="396">
                  <c:v>0.01</c:v>
                </c:pt>
                <c:pt idx="397">
                  <c:v>0.01</c:v>
                </c:pt>
                <c:pt idx="398">
                  <c:v>0.01</c:v>
                </c:pt>
                <c:pt idx="399">
                  <c:v>0.02</c:v>
                </c:pt>
                <c:pt idx="400">
                  <c:v>0.01</c:v>
                </c:pt>
                <c:pt idx="401">
                  <c:v>0.01</c:v>
                </c:pt>
                <c:pt idx="402">
                  <c:v>0.01</c:v>
                </c:pt>
                <c:pt idx="403">
                  <c:v>0.01</c:v>
                </c:pt>
                <c:pt idx="404">
                  <c:v>0.01</c:v>
                </c:pt>
                <c:pt idx="405">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7ECAC4"/>
              </a:solidFill>
            </c:spPr>
            <c:extLst>
              <c:ext xmlns:c16="http://schemas.microsoft.com/office/drawing/2014/chart" uri="{C3380CC4-5D6E-409C-BE32-E72D297353CC}">
                <c16:uniqueId val="{00000078-C76F-4230-900D-40618C09729F}"/>
              </c:ext>
            </c:extLst>
          </c:dPt>
          <c:dPt>
            <c:idx val="58"/>
            <c:invertIfNegative val="0"/>
            <c:bubble3D val="0"/>
            <c:spPr>
              <a:solidFill>
                <a:srgbClr val="7ECAC4"/>
              </a:solidFill>
            </c:spPr>
            <c:extLst>
              <c:ext xmlns:c16="http://schemas.microsoft.com/office/drawing/2014/chart" uri="{C3380CC4-5D6E-409C-BE32-E72D297353CC}">
                <c16:uniqueId val="{0000007A-C76F-4230-900D-40618C09729F}"/>
              </c:ext>
            </c:extLst>
          </c:dPt>
          <c:dPt>
            <c:idx val="59"/>
            <c:invertIfNegative val="0"/>
            <c:bubble3D val="0"/>
            <c:spPr>
              <a:solidFill>
                <a:srgbClr val="7ECAC4"/>
              </a:solidFill>
            </c:spPr>
            <c:extLst>
              <c:ext xmlns:c16="http://schemas.microsoft.com/office/drawing/2014/chart" uri="{C3380CC4-5D6E-409C-BE32-E72D297353CC}">
                <c16:uniqueId val="{0000007C-C76F-4230-900D-40618C09729F}"/>
              </c:ext>
            </c:extLst>
          </c:dPt>
          <c:dPt>
            <c:idx val="60"/>
            <c:invertIfNegative val="0"/>
            <c:bubble3D val="0"/>
            <c:spPr>
              <a:solidFill>
                <a:srgbClr val="7ECAC4"/>
              </a:solidFill>
            </c:spPr>
            <c:extLst>
              <c:ext xmlns:c16="http://schemas.microsoft.com/office/drawing/2014/chart" uri="{C3380CC4-5D6E-409C-BE32-E72D297353CC}">
                <c16:uniqueId val="{0000007E-C76F-4230-900D-40618C09729F}"/>
              </c:ext>
            </c:extLst>
          </c:dPt>
          <c:dPt>
            <c:idx val="61"/>
            <c:invertIfNegative val="0"/>
            <c:bubble3D val="0"/>
            <c:spPr>
              <a:solidFill>
                <a:srgbClr val="7ECAC4"/>
              </a:solidFill>
            </c:spPr>
            <c:extLst>
              <c:ext xmlns:c16="http://schemas.microsoft.com/office/drawing/2014/chart" uri="{C3380CC4-5D6E-409C-BE32-E72D297353CC}">
                <c16:uniqueId val="{00000080-C76F-4230-900D-40618C09729F}"/>
              </c:ext>
            </c:extLst>
          </c:dPt>
          <c:dPt>
            <c:idx val="62"/>
            <c:invertIfNegative val="0"/>
            <c:bubble3D val="0"/>
            <c:spPr>
              <a:solidFill>
                <a:srgbClr val="7ECAC4"/>
              </a:solidFill>
            </c:spPr>
            <c:extLst>
              <c:ext xmlns:c16="http://schemas.microsoft.com/office/drawing/2014/chart" uri="{C3380CC4-5D6E-409C-BE32-E72D297353CC}">
                <c16:uniqueId val="{00000082-C76F-4230-900D-40618C09729F}"/>
              </c:ext>
            </c:extLst>
          </c:dPt>
          <c:dPt>
            <c:idx val="63"/>
            <c:invertIfNegative val="0"/>
            <c:bubble3D val="0"/>
            <c:spPr>
              <a:solidFill>
                <a:srgbClr val="7ECAC4"/>
              </a:solidFill>
            </c:spPr>
            <c:extLst>
              <c:ext xmlns:c16="http://schemas.microsoft.com/office/drawing/2014/chart" uri="{C3380CC4-5D6E-409C-BE32-E72D297353CC}">
                <c16:uniqueId val="{00000084-C76F-4230-900D-40618C09729F}"/>
              </c:ext>
            </c:extLst>
          </c:dPt>
          <c:dPt>
            <c:idx val="64"/>
            <c:invertIfNegative val="0"/>
            <c:bubble3D val="0"/>
            <c:spPr>
              <a:solidFill>
                <a:srgbClr val="7ECAC4"/>
              </a:solidFill>
            </c:spPr>
            <c:extLst>
              <c:ext xmlns:c16="http://schemas.microsoft.com/office/drawing/2014/chart" uri="{C3380CC4-5D6E-409C-BE32-E72D297353CC}">
                <c16:uniqueId val="{00000086-C76F-4230-900D-40618C09729F}"/>
              </c:ext>
            </c:extLst>
          </c:dPt>
          <c:dPt>
            <c:idx val="65"/>
            <c:invertIfNegative val="0"/>
            <c:bubble3D val="0"/>
            <c:spPr>
              <a:solidFill>
                <a:srgbClr val="7ECAC4"/>
              </a:solidFill>
            </c:spPr>
            <c:extLst>
              <c:ext xmlns:c16="http://schemas.microsoft.com/office/drawing/2014/chart" uri="{C3380CC4-5D6E-409C-BE32-E72D297353CC}">
                <c16:uniqueId val="{00000088-C76F-4230-900D-40618C09729F}"/>
              </c:ext>
            </c:extLst>
          </c:dPt>
          <c:dPt>
            <c:idx val="66"/>
            <c:invertIfNegative val="0"/>
            <c:bubble3D val="0"/>
            <c:spPr>
              <a:solidFill>
                <a:srgbClr val="7ECAC4"/>
              </a:solidFill>
            </c:spPr>
            <c:extLst>
              <c:ext xmlns:c16="http://schemas.microsoft.com/office/drawing/2014/chart" uri="{C3380CC4-5D6E-409C-BE32-E72D297353CC}">
                <c16:uniqueId val="{0000008A-C76F-4230-900D-40618C09729F}"/>
              </c:ext>
            </c:extLst>
          </c:dPt>
          <c:dPt>
            <c:idx val="67"/>
            <c:invertIfNegative val="0"/>
            <c:bubble3D val="0"/>
            <c:spPr>
              <a:solidFill>
                <a:srgbClr val="7ECAC4"/>
              </a:solidFill>
            </c:spPr>
            <c:extLst>
              <c:ext xmlns:c16="http://schemas.microsoft.com/office/drawing/2014/chart" uri="{C3380CC4-5D6E-409C-BE32-E72D297353CC}">
                <c16:uniqueId val="{0000008C-C76F-4230-900D-40618C09729F}"/>
              </c:ext>
            </c:extLst>
          </c:dPt>
          <c:dPt>
            <c:idx val="68"/>
            <c:invertIfNegative val="0"/>
            <c:bubble3D val="0"/>
            <c:spPr>
              <a:solidFill>
                <a:srgbClr val="7ECAC4"/>
              </a:solidFill>
            </c:spPr>
            <c:extLst>
              <c:ext xmlns:c16="http://schemas.microsoft.com/office/drawing/2014/chart" uri="{C3380CC4-5D6E-409C-BE32-E72D297353CC}">
                <c16:uniqueId val="{0000008E-C76F-4230-900D-40618C09729F}"/>
              </c:ext>
            </c:extLst>
          </c:dPt>
          <c:dPt>
            <c:idx val="69"/>
            <c:invertIfNegative val="0"/>
            <c:bubble3D val="0"/>
            <c:spPr>
              <a:solidFill>
                <a:srgbClr val="7ECAC4"/>
              </a:solidFill>
            </c:spPr>
            <c:extLst>
              <c:ext xmlns:c16="http://schemas.microsoft.com/office/drawing/2014/chart" uri="{C3380CC4-5D6E-409C-BE32-E72D297353CC}">
                <c16:uniqueId val="{00000090-C76F-4230-900D-40618C09729F}"/>
              </c:ext>
            </c:extLst>
          </c:dPt>
          <c:dPt>
            <c:idx val="70"/>
            <c:invertIfNegative val="0"/>
            <c:bubble3D val="0"/>
            <c:spPr>
              <a:solidFill>
                <a:srgbClr val="7ECAC4"/>
              </a:solidFill>
            </c:spPr>
            <c:extLst>
              <c:ext xmlns:c16="http://schemas.microsoft.com/office/drawing/2014/chart" uri="{C3380CC4-5D6E-409C-BE32-E72D297353CC}">
                <c16:uniqueId val="{00000092-C76F-4230-900D-40618C09729F}"/>
              </c:ext>
            </c:extLst>
          </c:dPt>
          <c:dPt>
            <c:idx val="71"/>
            <c:invertIfNegative val="0"/>
            <c:bubble3D val="0"/>
            <c:spPr>
              <a:solidFill>
                <a:srgbClr val="7ECAC4"/>
              </a:solidFill>
            </c:spPr>
            <c:extLst>
              <c:ext xmlns:c16="http://schemas.microsoft.com/office/drawing/2014/chart" uri="{C3380CC4-5D6E-409C-BE32-E72D297353CC}">
                <c16:uniqueId val="{00000094-C76F-4230-900D-40618C09729F}"/>
              </c:ext>
            </c:extLst>
          </c:dPt>
          <c:dPt>
            <c:idx val="72"/>
            <c:invertIfNegative val="0"/>
            <c:bubble3D val="0"/>
            <c:spPr>
              <a:solidFill>
                <a:srgbClr val="7ECAC4"/>
              </a:solidFill>
            </c:spPr>
            <c:extLst>
              <c:ext xmlns:c16="http://schemas.microsoft.com/office/drawing/2014/chart" uri="{C3380CC4-5D6E-409C-BE32-E72D297353CC}">
                <c16:uniqueId val="{00000096-C76F-4230-900D-40618C09729F}"/>
              </c:ext>
            </c:extLst>
          </c:dPt>
          <c:dPt>
            <c:idx val="73"/>
            <c:invertIfNegative val="0"/>
            <c:bubble3D val="0"/>
            <c:spPr>
              <a:solidFill>
                <a:srgbClr val="7ECAC4"/>
              </a:solidFill>
            </c:spPr>
            <c:extLst>
              <c:ext xmlns:c16="http://schemas.microsoft.com/office/drawing/2014/chart" uri="{C3380CC4-5D6E-409C-BE32-E72D297353CC}">
                <c16:uniqueId val="{00000098-C76F-4230-900D-40618C09729F}"/>
              </c:ext>
            </c:extLst>
          </c:dPt>
          <c:dPt>
            <c:idx val="74"/>
            <c:invertIfNegative val="0"/>
            <c:bubble3D val="0"/>
            <c:spPr>
              <a:solidFill>
                <a:srgbClr val="7ECAC4"/>
              </a:solidFill>
            </c:spPr>
            <c:extLst>
              <c:ext xmlns:c16="http://schemas.microsoft.com/office/drawing/2014/chart" uri="{C3380CC4-5D6E-409C-BE32-E72D297353CC}">
                <c16:uniqueId val="{0000009A-C76F-4230-900D-40618C09729F}"/>
              </c:ext>
            </c:extLst>
          </c:dPt>
          <c:dPt>
            <c:idx val="75"/>
            <c:invertIfNegative val="0"/>
            <c:bubble3D val="0"/>
            <c:spPr>
              <a:solidFill>
                <a:srgbClr val="7ECAC4"/>
              </a:solidFill>
            </c:spPr>
            <c:extLst>
              <c:ext xmlns:c16="http://schemas.microsoft.com/office/drawing/2014/chart" uri="{C3380CC4-5D6E-409C-BE32-E72D297353CC}">
                <c16:uniqueId val="{0000009C-C76F-4230-900D-40618C09729F}"/>
              </c:ext>
            </c:extLst>
          </c:dPt>
          <c:dPt>
            <c:idx val="76"/>
            <c:invertIfNegative val="0"/>
            <c:bubble3D val="0"/>
            <c:spPr>
              <a:solidFill>
                <a:srgbClr val="7ECAC4"/>
              </a:solidFill>
            </c:spPr>
            <c:extLst>
              <c:ext xmlns:c16="http://schemas.microsoft.com/office/drawing/2014/chart" uri="{C3380CC4-5D6E-409C-BE32-E72D297353CC}">
                <c16:uniqueId val="{0000009E-C76F-4230-900D-40618C09729F}"/>
              </c:ext>
            </c:extLst>
          </c:dPt>
          <c:dPt>
            <c:idx val="77"/>
            <c:invertIfNegative val="0"/>
            <c:bubble3D val="0"/>
            <c:spPr>
              <a:solidFill>
                <a:srgbClr val="7ECAC4"/>
              </a:solidFill>
            </c:spPr>
            <c:extLst>
              <c:ext xmlns:c16="http://schemas.microsoft.com/office/drawing/2014/chart" uri="{C3380CC4-5D6E-409C-BE32-E72D297353CC}">
                <c16:uniqueId val="{000000A0-C76F-4230-900D-40618C09729F}"/>
              </c:ext>
            </c:extLst>
          </c:dPt>
          <c:dPt>
            <c:idx val="78"/>
            <c:invertIfNegative val="0"/>
            <c:bubble3D val="0"/>
            <c:spPr>
              <a:solidFill>
                <a:srgbClr val="7ECAC4"/>
              </a:solidFill>
            </c:spPr>
            <c:extLst>
              <c:ext xmlns:c16="http://schemas.microsoft.com/office/drawing/2014/chart" uri="{C3380CC4-5D6E-409C-BE32-E72D297353CC}">
                <c16:uniqueId val="{000000A2-C76F-4230-900D-40618C09729F}"/>
              </c:ext>
            </c:extLst>
          </c:dPt>
          <c:dPt>
            <c:idx val="79"/>
            <c:invertIfNegative val="0"/>
            <c:bubble3D val="0"/>
            <c:spPr>
              <a:solidFill>
                <a:srgbClr val="7ECAC4"/>
              </a:solidFill>
            </c:spPr>
            <c:extLst>
              <c:ext xmlns:c16="http://schemas.microsoft.com/office/drawing/2014/chart" uri="{C3380CC4-5D6E-409C-BE32-E72D297353CC}">
                <c16:uniqueId val="{000000A4-C76F-4230-900D-40618C09729F}"/>
              </c:ext>
            </c:extLst>
          </c:dPt>
          <c:dPt>
            <c:idx val="80"/>
            <c:invertIfNegative val="0"/>
            <c:bubble3D val="0"/>
            <c:spPr>
              <a:solidFill>
                <a:srgbClr val="7ECAC4"/>
              </a:solidFill>
            </c:spPr>
            <c:extLst>
              <c:ext xmlns:c16="http://schemas.microsoft.com/office/drawing/2014/chart" uri="{C3380CC4-5D6E-409C-BE32-E72D297353CC}">
                <c16:uniqueId val="{000000A6-C76F-4230-900D-40618C09729F}"/>
              </c:ext>
            </c:extLst>
          </c:dPt>
          <c:dPt>
            <c:idx val="81"/>
            <c:invertIfNegative val="1"/>
            <c:bubble3D val="0"/>
            <c:spPr>
              <a:solidFill>
                <a:srgbClr val="7ECAC4"/>
              </a:solidFill>
            </c:spPr>
            <c:extLst>
              <c:ext xmlns:c16="http://schemas.microsoft.com/office/drawing/2014/chart" uri="{C3380CC4-5D6E-409C-BE32-E72D297353CC}">
                <c16:uniqueId val="{000000A5-2993-41DE-A2CB-63102DE87051}"/>
              </c:ext>
            </c:extLst>
          </c:dPt>
          <c:dPt>
            <c:idx val="82"/>
            <c:invertIfNegative val="1"/>
            <c:bubble3D val="0"/>
            <c:spPr>
              <a:solidFill>
                <a:srgbClr val="7ECAC4"/>
              </a:solidFill>
            </c:spPr>
            <c:extLst>
              <c:ext xmlns:c16="http://schemas.microsoft.com/office/drawing/2014/chart" uri="{C3380CC4-5D6E-409C-BE32-E72D297353CC}">
                <c16:uniqueId val="{000000A7-2993-41DE-A2CB-63102DE87051}"/>
              </c:ext>
            </c:extLst>
          </c:dPt>
          <c:dPt>
            <c:idx val="83"/>
            <c:invertIfNegative val="1"/>
            <c:bubble3D val="0"/>
            <c:spPr>
              <a:solidFill>
                <a:srgbClr val="7ECAC4"/>
              </a:solidFill>
            </c:spPr>
            <c:extLst>
              <c:ext xmlns:c16="http://schemas.microsoft.com/office/drawing/2014/chart" uri="{C3380CC4-5D6E-409C-BE32-E72D297353CC}">
                <c16:uniqueId val="{000000A9-2993-41DE-A2CB-63102DE87051}"/>
              </c:ext>
            </c:extLst>
          </c:dPt>
          <c:dPt>
            <c:idx val="84"/>
            <c:invertIfNegative val="1"/>
            <c:bubble3D val="0"/>
            <c:spPr>
              <a:solidFill>
                <a:srgbClr val="7ECAC4"/>
              </a:solidFill>
            </c:spPr>
            <c:extLst>
              <c:ext xmlns:c16="http://schemas.microsoft.com/office/drawing/2014/chart" uri="{C3380CC4-5D6E-409C-BE32-E72D297353CC}">
                <c16:uniqueId val="{000000AB-2993-41DE-A2CB-63102DE87051}"/>
              </c:ext>
            </c:extLst>
          </c:dPt>
          <c:dPt>
            <c:idx val="85"/>
            <c:invertIfNegative val="1"/>
            <c:bubble3D val="0"/>
            <c:spPr>
              <a:solidFill>
                <a:srgbClr val="7ECAC4"/>
              </a:solidFill>
            </c:spPr>
            <c:extLst>
              <c:ext xmlns:c16="http://schemas.microsoft.com/office/drawing/2014/chart" uri="{C3380CC4-5D6E-409C-BE32-E72D297353CC}">
                <c16:uniqueId val="{000000AD-2993-41DE-A2CB-63102DE87051}"/>
              </c:ext>
            </c:extLst>
          </c:dPt>
          <c:dPt>
            <c:idx val="86"/>
            <c:invertIfNegative val="1"/>
            <c:bubble3D val="0"/>
            <c:spPr>
              <a:solidFill>
                <a:srgbClr val="7ECAC4"/>
              </a:solidFill>
            </c:spPr>
            <c:extLst>
              <c:ext xmlns:c16="http://schemas.microsoft.com/office/drawing/2014/chart" uri="{C3380CC4-5D6E-409C-BE32-E72D297353CC}">
                <c16:uniqueId val="{000000AF-2993-41DE-A2CB-63102DE87051}"/>
              </c:ext>
            </c:extLst>
          </c:dPt>
          <c:dPt>
            <c:idx val="87"/>
            <c:invertIfNegative val="1"/>
            <c:bubble3D val="0"/>
            <c:spPr>
              <a:solidFill>
                <a:srgbClr val="7ECAC4"/>
              </a:solidFill>
            </c:spPr>
            <c:extLst>
              <c:ext xmlns:c16="http://schemas.microsoft.com/office/drawing/2014/chart" uri="{C3380CC4-5D6E-409C-BE32-E72D297353CC}">
                <c16:uniqueId val="{000000B1-2993-41DE-A2CB-63102DE87051}"/>
              </c:ext>
            </c:extLst>
          </c:dPt>
          <c:dPt>
            <c:idx val="88"/>
            <c:invertIfNegative val="1"/>
            <c:bubble3D val="0"/>
            <c:spPr>
              <a:solidFill>
                <a:srgbClr val="7ECAC4"/>
              </a:solidFill>
            </c:spPr>
            <c:extLst>
              <c:ext xmlns:c16="http://schemas.microsoft.com/office/drawing/2014/chart" uri="{C3380CC4-5D6E-409C-BE32-E72D297353CC}">
                <c16:uniqueId val="{000000B3-2993-41DE-A2CB-63102DE87051}"/>
              </c:ext>
            </c:extLst>
          </c:dPt>
          <c:dPt>
            <c:idx val="89"/>
            <c:invertIfNegative val="1"/>
            <c:bubble3D val="0"/>
            <c:spPr>
              <a:solidFill>
                <a:srgbClr val="7ECAC4"/>
              </a:solidFill>
            </c:spPr>
            <c:extLst>
              <c:ext xmlns:c16="http://schemas.microsoft.com/office/drawing/2014/chart" uri="{C3380CC4-5D6E-409C-BE32-E72D297353CC}">
                <c16:uniqueId val="{000000B5-2993-41DE-A2CB-63102DE87051}"/>
              </c:ext>
            </c:extLst>
          </c:dPt>
          <c:dPt>
            <c:idx val="90"/>
            <c:invertIfNegative val="1"/>
            <c:bubble3D val="0"/>
            <c:spPr>
              <a:solidFill>
                <a:srgbClr val="7ECAC4"/>
              </a:solidFill>
            </c:spPr>
            <c:extLst>
              <c:ext xmlns:c16="http://schemas.microsoft.com/office/drawing/2014/chart" uri="{C3380CC4-5D6E-409C-BE32-E72D297353CC}">
                <c16:uniqueId val="{000000B7-2993-41DE-A2CB-63102DE87051}"/>
              </c:ext>
            </c:extLst>
          </c:dPt>
          <c:dPt>
            <c:idx val="91"/>
            <c:invertIfNegative val="1"/>
            <c:bubble3D val="0"/>
            <c:spPr>
              <a:solidFill>
                <a:srgbClr val="7ECAC4"/>
              </a:solidFill>
            </c:spPr>
            <c:extLst>
              <c:ext xmlns:c16="http://schemas.microsoft.com/office/drawing/2014/chart" uri="{C3380CC4-5D6E-409C-BE32-E72D297353CC}">
                <c16:uniqueId val="{000000B9-2993-41DE-A2CB-63102DE87051}"/>
              </c:ext>
            </c:extLst>
          </c:dPt>
          <c:dPt>
            <c:idx val="92"/>
            <c:invertIfNegative val="1"/>
            <c:bubble3D val="0"/>
            <c:spPr>
              <a:solidFill>
                <a:srgbClr val="7ECAC4"/>
              </a:solidFill>
            </c:spPr>
            <c:extLst>
              <c:ext xmlns:c16="http://schemas.microsoft.com/office/drawing/2014/chart" uri="{C3380CC4-5D6E-409C-BE32-E72D297353CC}">
                <c16:uniqueId val="{000000BB-2993-41DE-A2CB-63102DE87051}"/>
              </c:ext>
            </c:extLst>
          </c:dPt>
          <c:dPt>
            <c:idx val="93"/>
            <c:invertIfNegative val="1"/>
            <c:bubble3D val="0"/>
            <c:spPr>
              <a:solidFill>
                <a:srgbClr val="7ECAC4"/>
              </a:solidFill>
            </c:spPr>
            <c:extLst>
              <c:ext xmlns:c16="http://schemas.microsoft.com/office/drawing/2014/chart" uri="{C3380CC4-5D6E-409C-BE32-E72D297353CC}">
                <c16:uniqueId val="{000000BD-2993-41DE-A2CB-63102DE87051}"/>
              </c:ext>
            </c:extLst>
          </c:dPt>
          <c:dPt>
            <c:idx val="94"/>
            <c:invertIfNegative val="1"/>
            <c:bubble3D val="0"/>
            <c:spPr>
              <a:solidFill>
                <a:srgbClr val="7ECAC4"/>
              </a:solidFill>
            </c:spPr>
            <c:extLst>
              <c:ext xmlns:c16="http://schemas.microsoft.com/office/drawing/2014/chart" uri="{C3380CC4-5D6E-409C-BE32-E72D297353CC}">
                <c16:uniqueId val="{000000BF-2993-41DE-A2CB-63102DE87051}"/>
              </c:ext>
            </c:extLst>
          </c:dPt>
          <c:dPt>
            <c:idx val="95"/>
            <c:invertIfNegative val="1"/>
            <c:bubble3D val="0"/>
            <c:spPr>
              <a:solidFill>
                <a:srgbClr val="7ECAC4"/>
              </a:solidFill>
            </c:spPr>
            <c:extLst>
              <c:ext xmlns:c16="http://schemas.microsoft.com/office/drawing/2014/chart" uri="{C3380CC4-5D6E-409C-BE32-E72D297353CC}">
                <c16:uniqueId val="{000000C1-2993-41DE-A2CB-63102DE87051}"/>
              </c:ext>
            </c:extLst>
          </c:dPt>
          <c:dPt>
            <c:idx val="96"/>
            <c:invertIfNegative val="1"/>
            <c:bubble3D val="0"/>
            <c:spPr>
              <a:solidFill>
                <a:srgbClr val="7ECAC4"/>
              </a:solidFill>
            </c:spPr>
            <c:extLst>
              <c:ext xmlns:c16="http://schemas.microsoft.com/office/drawing/2014/chart" uri="{C3380CC4-5D6E-409C-BE32-E72D297353CC}">
                <c16:uniqueId val="{000000C3-2993-41DE-A2CB-63102DE87051}"/>
              </c:ext>
            </c:extLst>
          </c:dPt>
          <c:dPt>
            <c:idx val="97"/>
            <c:invertIfNegative val="1"/>
            <c:bubble3D val="0"/>
            <c:spPr>
              <a:solidFill>
                <a:srgbClr val="7ECAC4"/>
              </a:solidFill>
            </c:spPr>
            <c:extLst>
              <c:ext xmlns:c16="http://schemas.microsoft.com/office/drawing/2014/chart" uri="{C3380CC4-5D6E-409C-BE32-E72D297353CC}">
                <c16:uniqueId val="{000000C5-2993-41DE-A2CB-63102DE87051}"/>
              </c:ext>
            </c:extLst>
          </c:dPt>
          <c:dPt>
            <c:idx val="98"/>
            <c:invertIfNegative val="1"/>
            <c:bubble3D val="0"/>
            <c:spPr>
              <a:solidFill>
                <a:srgbClr val="7ECAC4"/>
              </a:solidFill>
            </c:spPr>
            <c:extLst>
              <c:ext xmlns:c16="http://schemas.microsoft.com/office/drawing/2014/chart" uri="{C3380CC4-5D6E-409C-BE32-E72D297353CC}">
                <c16:uniqueId val="{000000C7-2993-41DE-A2CB-63102DE87051}"/>
              </c:ext>
            </c:extLst>
          </c:dPt>
          <c:dPt>
            <c:idx val="99"/>
            <c:invertIfNegative val="1"/>
            <c:bubble3D val="0"/>
            <c:spPr>
              <a:solidFill>
                <a:srgbClr val="7ECAC4"/>
              </a:solidFill>
            </c:spPr>
            <c:extLst>
              <c:ext xmlns:c16="http://schemas.microsoft.com/office/drawing/2014/chart" uri="{C3380CC4-5D6E-409C-BE32-E72D297353CC}">
                <c16:uniqueId val="{000000C9-2993-41DE-A2CB-63102DE87051}"/>
              </c:ext>
            </c:extLst>
          </c:dPt>
          <c:dPt>
            <c:idx val="100"/>
            <c:invertIfNegative val="1"/>
            <c:bubble3D val="0"/>
            <c:spPr>
              <a:solidFill>
                <a:srgbClr val="7ECAC4"/>
              </a:solidFill>
            </c:spPr>
            <c:extLst>
              <c:ext xmlns:c16="http://schemas.microsoft.com/office/drawing/2014/chart" uri="{C3380CC4-5D6E-409C-BE32-E72D297353CC}">
                <c16:uniqueId val="{000000CB-2993-41DE-A2CB-63102DE87051}"/>
              </c:ext>
            </c:extLst>
          </c:dPt>
          <c:dPt>
            <c:idx val="101"/>
            <c:invertIfNegative val="1"/>
            <c:bubble3D val="0"/>
            <c:spPr>
              <a:solidFill>
                <a:srgbClr val="7ECAC4"/>
              </a:solidFill>
            </c:spPr>
            <c:extLst>
              <c:ext xmlns:c16="http://schemas.microsoft.com/office/drawing/2014/chart" uri="{C3380CC4-5D6E-409C-BE32-E72D297353CC}">
                <c16:uniqueId val="{000000CD-2993-41DE-A2CB-63102DE87051}"/>
              </c:ext>
            </c:extLst>
          </c:dPt>
          <c:dPt>
            <c:idx val="102"/>
            <c:invertIfNegative val="1"/>
            <c:bubble3D val="0"/>
            <c:spPr>
              <a:solidFill>
                <a:srgbClr val="7ECAC4"/>
              </a:solidFill>
            </c:spPr>
            <c:extLst>
              <c:ext xmlns:c16="http://schemas.microsoft.com/office/drawing/2014/chart" uri="{C3380CC4-5D6E-409C-BE32-E72D297353CC}">
                <c16:uniqueId val="{000000CF-2993-41DE-A2CB-63102DE87051}"/>
              </c:ext>
            </c:extLst>
          </c:dPt>
          <c:dPt>
            <c:idx val="103"/>
            <c:invertIfNegative val="1"/>
            <c:bubble3D val="0"/>
            <c:spPr>
              <a:solidFill>
                <a:srgbClr val="7ECAC4"/>
              </a:solidFill>
            </c:spPr>
            <c:extLst>
              <c:ext xmlns:c16="http://schemas.microsoft.com/office/drawing/2014/chart" uri="{C3380CC4-5D6E-409C-BE32-E72D297353CC}">
                <c16:uniqueId val="{000000D1-2993-41DE-A2CB-63102DE87051}"/>
              </c:ext>
            </c:extLst>
          </c:dPt>
          <c:dPt>
            <c:idx val="104"/>
            <c:invertIfNegative val="1"/>
            <c:bubble3D val="0"/>
            <c:spPr>
              <a:solidFill>
                <a:srgbClr val="7ECAC4"/>
              </a:solidFill>
            </c:spPr>
            <c:extLst>
              <c:ext xmlns:c16="http://schemas.microsoft.com/office/drawing/2014/chart" uri="{C3380CC4-5D6E-409C-BE32-E72D297353CC}">
                <c16:uniqueId val="{000000D3-2993-41DE-A2CB-63102DE87051}"/>
              </c:ext>
            </c:extLst>
          </c:dPt>
          <c:dPt>
            <c:idx val="105"/>
            <c:invertIfNegative val="1"/>
            <c:bubble3D val="0"/>
            <c:spPr>
              <a:solidFill>
                <a:srgbClr val="7ECAC4"/>
              </a:solidFill>
            </c:spPr>
            <c:extLst>
              <c:ext xmlns:c16="http://schemas.microsoft.com/office/drawing/2014/chart" uri="{C3380CC4-5D6E-409C-BE32-E72D297353CC}">
                <c16:uniqueId val="{000000D5-2993-41DE-A2CB-63102DE87051}"/>
              </c:ext>
            </c:extLst>
          </c:dPt>
          <c:dPt>
            <c:idx val="106"/>
            <c:invertIfNegative val="1"/>
            <c:bubble3D val="0"/>
            <c:spPr>
              <a:solidFill>
                <a:srgbClr val="7ECAC4"/>
              </a:solidFill>
            </c:spPr>
            <c:extLst>
              <c:ext xmlns:c16="http://schemas.microsoft.com/office/drawing/2014/chart" uri="{C3380CC4-5D6E-409C-BE32-E72D297353CC}">
                <c16:uniqueId val="{000000D7-2993-41DE-A2CB-63102DE87051}"/>
              </c:ext>
            </c:extLst>
          </c:dPt>
          <c:dPt>
            <c:idx val="107"/>
            <c:invertIfNegative val="1"/>
            <c:bubble3D val="0"/>
            <c:spPr>
              <a:solidFill>
                <a:srgbClr val="7ECAC4"/>
              </a:solidFill>
            </c:spPr>
            <c:extLst>
              <c:ext xmlns:c16="http://schemas.microsoft.com/office/drawing/2014/chart" uri="{C3380CC4-5D6E-409C-BE32-E72D297353CC}">
                <c16:uniqueId val="{000000D9-2993-41DE-A2CB-63102DE87051}"/>
              </c:ext>
            </c:extLst>
          </c:dPt>
          <c:dPt>
            <c:idx val="108"/>
            <c:invertIfNegative val="1"/>
            <c:bubble3D val="0"/>
            <c:spPr>
              <a:solidFill>
                <a:srgbClr val="7ECAC4"/>
              </a:solidFill>
            </c:spPr>
            <c:extLst>
              <c:ext xmlns:c16="http://schemas.microsoft.com/office/drawing/2014/chart" uri="{C3380CC4-5D6E-409C-BE32-E72D297353CC}">
                <c16:uniqueId val="{000000DB-2993-41DE-A2CB-63102DE87051}"/>
              </c:ext>
            </c:extLst>
          </c:dPt>
          <c:dPt>
            <c:idx val="109"/>
            <c:invertIfNegative val="1"/>
            <c:bubble3D val="0"/>
            <c:spPr>
              <a:solidFill>
                <a:srgbClr val="7ECAC4"/>
              </a:solidFill>
            </c:spPr>
            <c:extLst>
              <c:ext xmlns:c16="http://schemas.microsoft.com/office/drawing/2014/chart" uri="{C3380CC4-5D6E-409C-BE32-E72D297353CC}">
                <c16:uniqueId val="{000000DD-2993-41DE-A2CB-63102DE87051}"/>
              </c:ext>
            </c:extLst>
          </c:dPt>
          <c:dPt>
            <c:idx val="110"/>
            <c:invertIfNegative val="1"/>
            <c:bubble3D val="0"/>
            <c:spPr>
              <a:solidFill>
                <a:srgbClr val="7ECAC4"/>
              </a:solidFill>
            </c:spPr>
            <c:extLst>
              <c:ext xmlns:c16="http://schemas.microsoft.com/office/drawing/2014/chart" uri="{C3380CC4-5D6E-409C-BE32-E72D297353CC}">
                <c16:uniqueId val="{000000DF-2993-41DE-A2CB-63102DE87051}"/>
              </c:ext>
            </c:extLst>
          </c:dPt>
          <c:dPt>
            <c:idx val="111"/>
            <c:invertIfNegative val="1"/>
            <c:bubble3D val="0"/>
            <c:spPr>
              <a:solidFill>
                <a:srgbClr val="7ECAC4"/>
              </a:solidFill>
            </c:spPr>
            <c:extLst>
              <c:ext xmlns:c16="http://schemas.microsoft.com/office/drawing/2014/chart" uri="{C3380CC4-5D6E-409C-BE32-E72D297353CC}">
                <c16:uniqueId val="{000000E1-2993-41DE-A2CB-63102DE87051}"/>
              </c:ext>
            </c:extLst>
          </c:dPt>
          <c:dPt>
            <c:idx val="112"/>
            <c:invertIfNegative val="1"/>
            <c:bubble3D val="0"/>
            <c:spPr>
              <a:solidFill>
                <a:srgbClr val="7ECAC4"/>
              </a:solidFill>
            </c:spPr>
            <c:extLst>
              <c:ext xmlns:c16="http://schemas.microsoft.com/office/drawing/2014/chart" uri="{C3380CC4-5D6E-409C-BE32-E72D297353CC}">
                <c16:uniqueId val="{000000E3-2993-41DE-A2CB-63102DE87051}"/>
              </c:ext>
            </c:extLst>
          </c:dPt>
          <c:dPt>
            <c:idx val="113"/>
            <c:invertIfNegative val="1"/>
            <c:bubble3D val="0"/>
            <c:spPr>
              <a:solidFill>
                <a:srgbClr val="7ECAC4"/>
              </a:solidFill>
            </c:spPr>
            <c:extLst>
              <c:ext xmlns:c16="http://schemas.microsoft.com/office/drawing/2014/chart" uri="{C3380CC4-5D6E-409C-BE32-E72D297353CC}">
                <c16:uniqueId val="{000000E5-2993-41DE-A2CB-63102DE87051}"/>
              </c:ext>
            </c:extLst>
          </c:dPt>
          <c:dPt>
            <c:idx val="114"/>
            <c:invertIfNegative val="1"/>
            <c:bubble3D val="0"/>
            <c:spPr>
              <a:solidFill>
                <a:srgbClr val="7ECAC4"/>
              </a:solidFill>
            </c:spPr>
            <c:extLst>
              <c:ext xmlns:c16="http://schemas.microsoft.com/office/drawing/2014/chart" uri="{C3380CC4-5D6E-409C-BE32-E72D297353CC}">
                <c16:uniqueId val="{000000E7-2993-41DE-A2CB-63102DE87051}"/>
              </c:ext>
            </c:extLst>
          </c:dPt>
          <c:dPt>
            <c:idx val="115"/>
            <c:invertIfNegative val="1"/>
            <c:bubble3D val="0"/>
            <c:spPr>
              <a:solidFill>
                <a:srgbClr val="7ECAC4"/>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AEABAB"/>
              </a:solidFill>
            </c:spPr>
            <c:extLst>
              <c:ext xmlns:c16="http://schemas.microsoft.com/office/drawing/2014/chart" uri="{C3380CC4-5D6E-409C-BE32-E72D297353CC}">
                <c16:uniqueId val="{00000105-2993-41DE-A2CB-63102DE87051}"/>
              </c:ext>
            </c:extLst>
          </c:dPt>
          <c:dPt>
            <c:idx val="130"/>
            <c:invertIfNegative val="1"/>
            <c:bubble3D val="0"/>
            <c:spPr>
              <a:solidFill>
                <a:srgbClr val="AEABAB"/>
              </a:solidFill>
            </c:spPr>
            <c:extLst>
              <c:ext xmlns:c16="http://schemas.microsoft.com/office/drawing/2014/chart" uri="{C3380CC4-5D6E-409C-BE32-E72D297353CC}">
                <c16:uniqueId val="{00000107-2993-41DE-A2CB-63102DE87051}"/>
              </c:ext>
            </c:extLst>
          </c:dPt>
          <c:dPt>
            <c:idx val="131"/>
            <c:invertIfNegative val="1"/>
            <c:bubble3D val="0"/>
            <c:spPr>
              <a:solidFill>
                <a:srgbClr val="AEABAB"/>
              </a:solidFill>
            </c:spPr>
            <c:extLst>
              <c:ext xmlns:c16="http://schemas.microsoft.com/office/drawing/2014/chart" uri="{C3380CC4-5D6E-409C-BE32-E72D297353CC}">
                <c16:uniqueId val="{00000109-2993-41DE-A2CB-63102DE87051}"/>
              </c:ext>
            </c:extLst>
          </c:dPt>
          <c:dPt>
            <c:idx val="132"/>
            <c:invertIfNegative val="1"/>
            <c:bubble3D val="0"/>
            <c:spPr>
              <a:solidFill>
                <a:srgbClr val="AEABAB"/>
              </a:solidFill>
            </c:spPr>
            <c:extLst>
              <c:ext xmlns:c16="http://schemas.microsoft.com/office/drawing/2014/chart" uri="{C3380CC4-5D6E-409C-BE32-E72D297353CC}">
                <c16:uniqueId val="{0000010B-2993-41DE-A2CB-63102DE87051}"/>
              </c:ext>
            </c:extLst>
          </c:dPt>
          <c:dPt>
            <c:idx val="133"/>
            <c:invertIfNegative val="1"/>
            <c:bubble3D val="0"/>
            <c:spPr>
              <a:solidFill>
                <a:srgbClr val="AEABAB"/>
              </a:solidFill>
            </c:spPr>
            <c:extLst>
              <c:ext xmlns:c16="http://schemas.microsoft.com/office/drawing/2014/chart" uri="{C3380CC4-5D6E-409C-BE32-E72D297353CC}">
                <c16:uniqueId val="{0000010D-2993-41DE-A2CB-63102DE87051}"/>
              </c:ext>
            </c:extLst>
          </c:dPt>
          <c:dPt>
            <c:idx val="134"/>
            <c:invertIfNegative val="1"/>
            <c:bubble3D val="0"/>
            <c:spPr>
              <a:solidFill>
                <a:srgbClr val="AEABAB"/>
              </a:solidFill>
            </c:spPr>
            <c:extLst>
              <c:ext xmlns:c16="http://schemas.microsoft.com/office/drawing/2014/chart" uri="{C3380CC4-5D6E-409C-BE32-E72D297353CC}">
                <c16:uniqueId val="{0000010F-2993-41DE-A2CB-63102DE87051}"/>
              </c:ext>
            </c:extLst>
          </c:dPt>
          <c:dPt>
            <c:idx val="135"/>
            <c:invertIfNegative val="1"/>
            <c:bubble3D val="0"/>
            <c:spPr>
              <a:solidFill>
                <a:srgbClr val="AEABAB"/>
              </a:solidFill>
            </c:spPr>
            <c:extLst>
              <c:ext xmlns:c16="http://schemas.microsoft.com/office/drawing/2014/chart" uri="{C3380CC4-5D6E-409C-BE32-E72D297353CC}">
                <c16:uniqueId val="{00000111-2993-41DE-A2CB-63102DE87051}"/>
              </c:ext>
            </c:extLst>
          </c:dPt>
          <c:dPt>
            <c:idx val="136"/>
            <c:invertIfNegative val="1"/>
            <c:bubble3D val="0"/>
            <c:spPr>
              <a:solidFill>
                <a:srgbClr val="AEABAB"/>
              </a:solidFill>
            </c:spPr>
            <c:extLst>
              <c:ext xmlns:c16="http://schemas.microsoft.com/office/drawing/2014/chart" uri="{C3380CC4-5D6E-409C-BE32-E72D297353CC}">
                <c16:uniqueId val="{00000113-2993-41DE-A2CB-63102DE87051}"/>
              </c:ext>
            </c:extLst>
          </c:dPt>
          <c:dPt>
            <c:idx val="137"/>
            <c:invertIfNegative val="1"/>
            <c:bubble3D val="0"/>
            <c:spPr>
              <a:solidFill>
                <a:srgbClr val="AEABAB"/>
              </a:solidFill>
            </c:spPr>
            <c:extLst>
              <c:ext xmlns:c16="http://schemas.microsoft.com/office/drawing/2014/chart" uri="{C3380CC4-5D6E-409C-BE32-E72D297353CC}">
                <c16:uniqueId val="{00000115-2993-41DE-A2CB-63102DE87051}"/>
              </c:ext>
            </c:extLst>
          </c:dPt>
          <c:dPt>
            <c:idx val="138"/>
            <c:invertIfNegative val="1"/>
            <c:bubble3D val="0"/>
            <c:spPr>
              <a:solidFill>
                <a:srgbClr val="AEABAB"/>
              </a:solidFill>
            </c:spPr>
            <c:extLst>
              <c:ext xmlns:c16="http://schemas.microsoft.com/office/drawing/2014/chart" uri="{C3380CC4-5D6E-409C-BE32-E72D297353CC}">
                <c16:uniqueId val="{00000117-2993-41DE-A2CB-63102DE87051}"/>
              </c:ext>
            </c:extLst>
          </c:dPt>
          <c:dPt>
            <c:idx val="139"/>
            <c:invertIfNegative val="1"/>
            <c:bubble3D val="0"/>
            <c:spPr>
              <a:solidFill>
                <a:srgbClr val="AEABAB"/>
              </a:solidFill>
            </c:spPr>
            <c:extLst>
              <c:ext xmlns:c16="http://schemas.microsoft.com/office/drawing/2014/chart" uri="{C3380CC4-5D6E-409C-BE32-E72D297353CC}">
                <c16:uniqueId val="{00000119-2993-41DE-A2CB-63102DE87051}"/>
              </c:ext>
            </c:extLst>
          </c:dPt>
          <c:dPt>
            <c:idx val="140"/>
            <c:invertIfNegative val="1"/>
            <c:bubble3D val="0"/>
            <c:spPr>
              <a:solidFill>
                <a:srgbClr val="AEABAB"/>
              </a:solidFill>
            </c:spPr>
            <c:extLst>
              <c:ext xmlns:c16="http://schemas.microsoft.com/office/drawing/2014/chart" uri="{C3380CC4-5D6E-409C-BE32-E72D297353CC}">
                <c16:uniqueId val="{0000011B-2993-41DE-A2CB-63102DE87051}"/>
              </c:ext>
            </c:extLst>
          </c:dPt>
          <c:dPt>
            <c:idx val="141"/>
            <c:invertIfNegative val="1"/>
            <c:bubble3D val="0"/>
            <c:spPr>
              <a:solidFill>
                <a:srgbClr val="AEABAB"/>
              </a:solidFill>
            </c:spPr>
            <c:extLst>
              <c:ext xmlns:c16="http://schemas.microsoft.com/office/drawing/2014/chart" uri="{C3380CC4-5D6E-409C-BE32-E72D297353CC}">
                <c16:uniqueId val="{0000011D-2993-41DE-A2CB-63102DE87051}"/>
              </c:ext>
            </c:extLst>
          </c:dPt>
          <c:dPt>
            <c:idx val="142"/>
            <c:invertIfNegative val="1"/>
            <c:bubble3D val="0"/>
            <c:spPr>
              <a:solidFill>
                <a:srgbClr val="AEABAB"/>
              </a:solidFill>
            </c:spPr>
            <c:extLst>
              <c:ext xmlns:c16="http://schemas.microsoft.com/office/drawing/2014/chart" uri="{C3380CC4-5D6E-409C-BE32-E72D297353CC}">
                <c16:uniqueId val="{0000011F-2993-41DE-A2CB-63102DE87051}"/>
              </c:ext>
            </c:extLst>
          </c:dPt>
          <c:dPt>
            <c:idx val="143"/>
            <c:invertIfNegative val="1"/>
            <c:bubble3D val="0"/>
            <c:spPr>
              <a:solidFill>
                <a:srgbClr val="AEABAB"/>
              </a:solidFill>
            </c:spPr>
            <c:extLst>
              <c:ext xmlns:c16="http://schemas.microsoft.com/office/drawing/2014/chart" uri="{C3380CC4-5D6E-409C-BE32-E72D297353CC}">
                <c16:uniqueId val="{00000121-2993-41DE-A2CB-63102DE87051}"/>
              </c:ext>
            </c:extLst>
          </c:dPt>
          <c:dPt>
            <c:idx val="144"/>
            <c:invertIfNegative val="1"/>
            <c:bubble3D val="0"/>
            <c:spPr>
              <a:solidFill>
                <a:srgbClr val="AEABAB"/>
              </a:solidFill>
            </c:spPr>
            <c:extLst>
              <c:ext xmlns:c16="http://schemas.microsoft.com/office/drawing/2014/chart" uri="{C3380CC4-5D6E-409C-BE32-E72D297353CC}">
                <c16:uniqueId val="{00000123-2993-41DE-A2CB-63102DE87051}"/>
              </c:ext>
            </c:extLst>
          </c:dPt>
          <c:dPt>
            <c:idx val="145"/>
            <c:invertIfNegative val="1"/>
            <c:bubble3D val="0"/>
            <c:spPr>
              <a:solidFill>
                <a:srgbClr val="AEABAB"/>
              </a:solidFill>
            </c:spPr>
            <c:extLst>
              <c:ext xmlns:c16="http://schemas.microsoft.com/office/drawing/2014/chart" uri="{C3380CC4-5D6E-409C-BE32-E72D297353CC}">
                <c16:uniqueId val="{00000125-2993-41DE-A2CB-63102DE87051}"/>
              </c:ext>
            </c:extLst>
          </c:dPt>
          <c:dPt>
            <c:idx val="146"/>
            <c:invertIfNegative val="1"/>
            <c:bubble3D val="0"/>
            <c:spPr>
              <a:solidFill>
                <a:srgbClr val="AEABAB"/>
              </a:solidFill>
            </c:spPr>
            <c:extLst>
              <c:ext xmlns:c16="http://schemas.microsoft.com/office/drawing/2014/chart" uri="{C3380CC4-5D6E-409C-BE32-E72D297353CC}">
                <c16:uniqueId val="{00000127-2993-41DE-A2CB-63102DE87051}"/>
              </c:ext>
            </c:extLst>
          </c:dPt>
          <c:dPt>
            <c:idx val="147"/>
            <c:invertIfNegative val="1"/>
            <c:bubble3D val="0"/>
            <c:spPr>
              <a:solidFill>
                <a:srgbClr val="AEABAB"/>
              </a:solidFill>
            </c:spPr>
            <c:extLst>
              <c:ext xmlns:c16="http://schemas.microsoft.com/office/drawing/2014/chart" uri="{C3380CC4-5D6E-409C-BE32-E72D297353CC}">
                <c16:uniqueId val="{00000129-2993-41DE-A2CB-63102DE87051}"/>
              </c:ext>
            </c:extLst>
          </c:dPt>
          <c:dPt>
            <c:idx val="148"/>
            <c:invertIfNegative val="1"/>
            <c:bubble3D val="0"/>
            <c:spPr>
              <a:solidFill>
                <a:srgbClr val="AEABAB"/>
              </a:solidFill>
            </c:spPr>
            <c:extLst>
              <c:ext xmlns:c16="http://schemas.microsoft.com/office/drawing/2014/chart" uri="{C3380CC4-5D6E-409C-BE32-E72D297353CC}">
                <c16:uniqueId val="{0000012B-2993-41DE-A2CB-63102DE87051}"/>
              </c:ext>
            </c:extLst>
          </c:dPt>
          <c:dPt>
            <c:idx val="149"/>
            <c:invertIfNegative val="1"/>
            <c:bubble3D val="0"/>
            <c:spPr>
              <a:solidFill>
                <a:srgbClr val="AEABAB"/>
              </a:solidFill>
            </c:spPr>
            <c:extLst>
              <c:ext xmlns:c16="http://schemas.microsoft.com/office/drawing/2014/chart" uri="{C3380CC4-5D6E-409C-BE32-E72D297353CC}">
                <c16:uniqueId val="{0000012D-2993-41DE-A2CB-63102DE87051}"/>
              </c:ext>
            </c:extLst>
          </c:dPt>
          <c:dPt>
            <c:idx val="150"/>
            <c:invertIfNegative val="1"/>
            <c:bubble3D val="0"/>
            <c:spPr>
              <a:solidFill>
                <a:srgbClr val="AEABAB"/>
              </a:solidFill>
            </c:spPr>
            <c:extLst>
              <c:ext xmlns:c16="http://schemas.microsoft.com/office/drawing/2014/chart" uri="{C3380CC4-5D6E-409C-BE32-E72D297353CC}">
                <c16:uniqueId val="{0000012F-2993-41DE-A2CB-63102DE87051}"/>
              </c:ext>
            </c:extLst>
          </c:dPt>
          <c:dPt>
            <c:idx val="151"/>
            <c:invertIfNegative val="1"/>
            <c:bubble3D val="0"/>
            <c:spPr>
              <a:solidFill>
                <a:srgbClr val="AEABAB"/>
              </a:solidFill>
            </c:spPr>
            <c:extLst>
              <c:ext xmlns:c16="http://schemas.microsoft.com/office/drawing/2014/chart" uri="{C3380CC4-5D6E-409C-BE32-E72D297353CC}">
                <c16:uniqueId val="{00000131-2993-41DE-A2CB-63102DE87051}"/>
              </c:ext>
            </c:extLst>
          </c:dPt>
          <c:dPt>
            <c:idx val="152"/>
            <c:invertIfNegative val="1"/>
            <c:bubble3D val="0"/>
            <c:spPr>
              <a:solidFill>
                <a:srgbClr val="AEABAB"/>
              </a:solidFill>
            </c:spPr>
            <c:extLst>
              <c:ext xmlns:c16="http://schemas.microsoft.com/office/drawing/2014/chart" uri="{C3380CC4-5D6E-409C-BE32-E72D297353CC}">
                <c16:uniqueId val="{00000133-2993-41DE-A2CB-63102DE87051}"/>
              </c:ext>
            </c:extLst>
          </c:dPt>
          <c:dPt>
            <c:idx val="153"/>
            <c:invertIfNegative val="1"/>
            <c:bubble3D val="0"/>
            <c:spPr>
              <a:solidFill>
                <a:srgbClr val="AEABAB"/>
              </a:solidFill>
            </c:spPr>
            <c:extLst>
              <c:ext xmlns:c16="http://schemas.microsoft.com/office/drawing/2014/chart" uri="{C3380CC4-5D6E-409C-BE32-E72D297353CC}">
                <c16:uniqueId val="{00000135-2993-41DE-A2CB-63102DE87051}"/>
              </c:ext>
            </c:extLst>
          </c:dPt>
          <c:dPt>
            <c:idx val="154"/>
            <c:invertIfNegative val="1"/>
            <c:bubble3D val="0"/>
            <c:spPr>
              <a:solidFill>
                <a:srgbClr val="AEABAB"/>
              </a:solidFill>
            </c:spPr>
            <c:extLst>
              <c:ext xmlns:c16="http://schemas.microsoft.com/office/drawing/2014/chart" uri="{C3380CC4-5D6E-409C-BE32-E72D297353CC}">
                <c16:uniqueId val="{00000137-2993-41DE-A2CB-63102DE87051}"/>
              </c:ext>
            </c:extLst>
          </c:dPt>
          <c:dPt>
            <c:idx val="155"/>
            <c:invertIfNegative val="1"/>
            <c:bubble3D val="0"/>
            <c:spPr>
              <a:solidFill>
                <a:srgbClr val="AEABAB"/>
              </a:solidFill>
            </c:spPr>
            <c:extLst>
              <c:ext xmlns:c16="http://schemas.microsoft.com/office/drawing/2014/chart" uri="{C3380CC4-5D6E-409C-BE32-E72D297353CC}">
                <c16:uniqueId val="{00000139-2993-41DE-A2CB-63102DE87051}"/>
              </c:ext>
            </c:extLst>
          </c:dPt>
          <c:dPt>
            <c:idx val="156"/>
            <c:invertIfNegative val="1"/>
            <c:bubble3D val="0"/>
            <c:spPr>
              <a:solidFill>
                <a:srgbClr val="AEABAB"/>
              </a:solidFill>
            </c:spPr>
            <c:extLst>
              <c:ext xmlns:c16="http://schemas.microsoft.com/office/drawing/2014/chart" uri="{C3380CC4-5D6E-409C-BE32-E72D297353CC}">
                <c16:uniqueId val="{0000013B-2993-41DE-A2CB-63102DE87051}"/>
              </c:ext>
            </c:extLst>
          </c:dPt>
          <c:dPt>
            <c:idx val="157"/>
            <c:invertIfNegative val="1"/>
            <c:bubble3D val="0"/>
            <c:spPr>
              <a:solidFill>
                <a:srgbClr val="AEABAB"/>
              </a:solidFill>
            </c:spPr>
            <c:extLst>
              <c:ext xmlns:c16="http://schemas.microsoft.com/office/drawing/2014/chart" uri="{C3380CC4-5D6E-409C-BE32-E72D297353CC}">
                <c16:uniqueId val="{0000013D-2993-41DE-A2CB-63102DE87051}"/>
              </c:ext>
            </c:extLst>
          </c:dPt>
          <c:dPt>
            <c:idx val="158"/>
            <c:invertIfNegative val="1"/>
            <c:bubble3D val="0"/>
            <c:spPr>
              <a:solidFill>
                <a:srgbClr val="AEABAB"/>
              </a:solidFill>
            </c:spPr>
            <c:extLst>
              <c:ext xmlns:c16="http://schemas.microsoft.com/office/drawing/2014/chart" uri="{C3380CC4-5D6E-409C-BE32-E72D297353CC}">
                <c16:uniqueId val="{0000013F-2993-41DE-A2CB-63102DE87051}"/>
              </c:ext>
            </c:extLst>
          </c:dPt>
          <c:dPt>
            <c:idx val="159"/>
            <c:invertIfNegative val="1"/>
            <c:bubble3D val="0"/>
            <c:spPr>
              <a:solidFill>
                <a:srgbClr val="AEABAB"/>
              </a:solidFill>
            </c:spPr>
            <c:extLst>
              <c:ext xmlns:c16="http://schemas.microsoft.com/office/drawing/2014/chart" uri="{C3380CC4-5D6E-409C-BE32-E72D297353CC}">
                <c16:uniqueId val="{00000141-2993-41DE-A2CB-63102DE87051}"/>
              </c:ext>
            </c:extLst>
          </c:dPt>
          <c:dPt>
            <c:idx val="160"/>
            <c:invertIfNegative val="1"/>
            <c:bubble3D val="0"/>
            <c:spPr>
              <a:solidFill>
                <a:srgbClr val="AEABAB"/>
              </a:solidFill>
            </c:spPr>
            <c:extLst>
              <c:ext xmlns:c16="http://schemas.microsoft.com/office/drawing/2014/chart" uri="{C3380CC4-5D6E-409C-BE32-E72D297353CC}">
                <c16:uniqueId val="{00000143-2993-41DE-A2CB-63102DE87051}"/>
              </c:ext>
            </c:extLst>
          </c:dPt>
          <c:dPt>
            <c:idx val="161"/>
            <c:invertIfNegative val="1"/>
            <c:bubble3D val="0"/>
            <c:spPr>
              <a:solidFill>
                <a:srgbClr val="AEABAB"/>
              </a:solidFill>
            </c:spPr>
            <c:extLst>
              <c:ext xmlns:c16="http://schemas.microsoft.com/office/drawing/2014/chart" uri="{C3380CC4-5D6E-409C-BE32-E72D297353CC}">
                <c16:uniqueId val="{00000145-2993-41DE-A2CB-63102DE87051}"/>
              </c:ext>
            </c:extLst>
          </c:dPt>
          <c:dPt>
            <c:idx val="162"/>
            <c:invertIfNegative val="1"/>
            <c:bubble3D val="0"/>
            <c:spPr>
              <a:solidFill>
                <a:srgbClr val="AEABAB"/>
              </a:solidFill>
            </c:spPr>
            <c:extLst>
              <c:ext xmlns:c16="http://schemas.microsoft.com/office/drawing/2014/chart" uri="{C3380CC4-5D6E-409C-BE32-E72D297353CC}">
                <c16:uniqueId val="{00000147-2993-41DE-A2CB-63102DE87051}"/>
              </c:ext>
            </c:extLst>
          </c:dPt>
          <c:dPt>
            <c:idx val="163"/>
            <c:invertIfNegative val="1"/>
            <c:bubble3D val="0"/>
            <c:spPr>
              <a:solidFill>
                <a:srgbClr val="AEABAB"/>
              </a:solidFill>
            </c:spPr>
            <c:extLst>
              <c:ext xmlns:c16="http://schemas.microsoft.com/office/drawing/2014/chart" uri="{C3380CC4-5D6E-409C-BE32-E72D297353CC}">
                <c16:uniqueId val="{00000149-2993-41DE-A2CB-63102DE87051}"/>
              </c:ext>
            </c:extLst>
          </c:dPt>
          <c:dPt>
            <c:idx val="164"/>
            <c:invertIfNegative val="1"/>
            <c:bubble3D val="0"/>
            <c:spPr>
              <a:solidFill>
                <a:srgbClr val="AEABAB"/>
              </a:solidFill>
            </c:spPr>
            <c:extLst>
              <c:ext xmlns:c16="http://schemas.microsoft.com/office/drawing/2014/chart" uri="{C3380CC4-5D6E-409C-BE32-E72D297353CC}">
                <c16:uniqueId val="{0000014B-2993-41DE-A2CB-63102DE87051}"/>
              </c:ext>
            </c:extLst>
          </c:dPt>
          <c:dPt>
            <c:idx val="165"/>
            <c:invertIfNegative val="1"/>
            <c:bubble3D val="0"/>
            <c:spPr>
              <a:solidFill>
                <a:srgbClr val="AEABAB"/>
              </a:solidFill>
            </c:spPr>
            <c:extLst>
              <c:ext xmlns:c16="http://schemas.microsoft.com/office/drawing/2014/chart" uri="{C3380CC4-5D6E-409C-BE32-E72D297353CC}">
                <c16:uniqueId val="{0000014D-2993-41DE-A2CB-63102DE87051}"/>
              </c:ext>
            </c:extLst>
          </c:dPt>
          <c:dPt>
            <c:idx val="166"/>
            <c:invertIfNegative val="1"/>
            <c:bubble3D val="0"/>
            <c:spPr>
              <a:solidFill>
                <a:srgbClr val="AEABAB"/>
              </a:solidFill>
            </c:spPr>
            <c:extLst>
              <c:ext xmlns:c16="http://schemas.microsoft.com/office/drawing/2014/chart" uri="{C3380CC4-5D6E-409C-BE32-E72D297353CC}">
                <c16:uniqueId val="{0000014F-2993-41DE-A2CB-63102DE87051}"/>
              </c:ext>
            </c:extLst>
          </c:dPt>
          <c:dPt>
            <c:idx val="167"/>
            <c:invertIfNegative val="1"/>
            <c:bubble3D val="0"/>
            <c:spPr>
              <a:solidFill>
                <a:srgbClr val="AEABAB"/>
              </a:solidFill>
            </c:spPr>
            <c:extLst>
              <c:ext xmlns:c16="http://schemas.microsoft.com/office/drawing/2014/chart" uri="{C3380CC4-5D6E-409C-BE32-E72D297353CC}">
                <c16:uniqueId val="{00000151-2993-41DE-A2CB-63102DE87051}"/>
              </c:ext>
            </c:extLst>
          </c:dPt>
          <c:dPt>
            <c:idx val="168"/>
            <c:invertIfNegative val="1"/>
            <c:bubble3D val="0"/>
            <c:spPr>
              <a:solidFill>
                <a:srgbClr val="AEABAB"/>
              </a:solidFill>
            </c:spPr>
            <c:extLst>
              <c:ext xmlns:c16="http://schemas.microsoft.com/office/drawing/2014/chart" uri="{C3380CC4-5D6E-409C-BE32-E72D297353CC}">
                <c16:uniqueId val="{00000153-2993-41DE-A2CB-63102DE87051}"/>
              </c:ext>
            </c:extLst>
          </c:dPt>
          <c:dPt>
            <c:idx val="169"/>
            <c:invertIfNegative val="1"/>
            <c:bubble3D val="0"/>
            <c:spPr>
              <a:solidFill>
                <a:srgbClr val="AEABAB"/>
              </a:solidFill>
            </c:spPr>
            <c:extLst>
              <c:ext xmlns:c16="http://schemas.microsoft.com/office/drawing/2014/chart" uri="{C3380CC4-5D6E-409C-BE32-E72D297353CC}">
                <c16:uniqueId val="{00000155-2993-41DE-A2CB-63102DE87051}"/>
              </c:ext>
            </c:extLst>
          </c:dPt>
          <c:dPt>
            <c:idx val="170"/>
            <c:invertIfNegative val="1"/>
            <c:bubble3D val="0"/>
            <c:spPr>
              <a:solidFill>
                <a:srgbClr val="AEABAB"/>
              </a:solidFill>
            </c:spPr>
            <c:extLst>
              <c:ext xmlns:c16="http://schemas.microsoft.com/office/drawing/2014/chart" uri="{C3380CC4-5D6E-409C-BE32-E72D297353CC}">
                <c16:uniqueId val="{00000157-2993-41DE-A2CB-63102DE87051}"/>
              </c:ext>
            </c:extLst>
          </c:dPt>
          <c:dPt>
            <c:idx val="171"/>
            <c:invertIfNegative val="1"/>
            <c:bubble3D val="0"/>
            <c:spPr>
              <a:solidFill>
                <a:srgbClr val="AEABAB"/>
              </a:solidFill>
            </c:spPr>
            <c:extLst>
              <c:ext xmlns:c16="http://schemas.microsoft.com/office/drawing/2014/chart" uri="{C3380CC4-5D6E-409C-BE32-E72D297353CC}">
                <c16:uniqueId val="{00000159-2993-41DE-A2CB-63102DE87051}"/>
              </c:ext>
            </c:extLst>
          </c:dPt>
          <c:dPt>
            <c:idx val="172"/>
            <c:invertIfNegative val="1"/>
            <c:bubble3D val="0"/>
            <c:spPr>
              <a:solidFill>
                <a:srgbClr val="AEABAB"/>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dPt>
            <c:idx val="210"/>
            <c:invertIfNegative val="1"/>
            <c:bubble3D val="0"/>
            <c:spPr>
              <a:solidFill>
                <a:srgbClr val="AEABAB"/>
              </a:solidFill>
            </c:spPr>
            <c:extLst>
              <c:ext xmlns:c16="http://schemas.microsoft.com/office/drawing/2014/chart" uri="{C3380CC4-5D6E-409C-BE32-E72D297353CC}">
                <c16:uniqueId val="{000001A7-D272-42BA-A3FD-CA763C8B55B0}"/>
              </c:ext>
            </c:extLst>
          </c:dPt>
          <c:dPt>
            <c:idx val="211"/>
            <c:invertIfNegative val="1"/>
            <c:bubble3D val="0"/>
            <c:spPr>
              <a:solidFill>
                <a:srgbClr val="AEABAB"/>
              </a:solidFill>
            </c:spPr>
            <c:extLst>
              <c:ext xmlns:c16="http://schemas.microsoft.com/office/drawing/2014/chart" uri="{C3380CC4-5D6E-409C-BE32-E72D297353CC}">
                <c16:uniqueId val="{000001A9-D272-42BA-A3FD-CA763C8B55B0}"/>
              </c:ext>
            </c:extLst>
          </c:dPt>
          <c:dPt>
            <c:idx val="212"/>
            <c:invertIfNegative val="1"/>
            <c:bubble3D val="0"/>
            <c:spPr>
              <a:solidFill>
                <a:srgbClr val="AEABAB"/>
              </a:solidFill>
            </c:spPr>
            <c:extLst>
              <c:ext xmlns:c16="http://schemas.microsoft.com/office/drawing/2014/chart" uri="{C3380CC4-5D6E-409C-BE32-E72D297353CC}">
                <c16:uniqueId val="{000001AB-D272-42BA-A3FD-CA763C8B55B0}"/>
              </c:ext>
            </c:extLst>
          </c:dPt>
          <c:dPt>
            <c:idx val="213"/>
            <c:invertIfNegative val="1"/>
            <c:bubble3D val="0"/>
            <c:spPr>
              <a:solidFill>
                <a:srgbClr val="AEABAB"/>
              </a:solidFill>
            </c:spPr>
            <c:extLst>
              <c:ext xmlns:c16="http://schemas.microsoft.com/office/drawing/2014/chart" uri="{C3380CC4-5D6E-409C-BE32-E72D297353CC}">
                <c16:uniqueId val="{000001AD-D272-42BA-A3FD-CA763C8B55B0}"/>
              </c:ext>
            </c:extLst>
          </c:dPt>
          <c:dPt>
            <c:idx val="214"/>
            <c:invertIfNegative val="1"/>
            <c:bubble3D val="0"/>
            <c:spPr>
              <a:solidFill>
                <a:srgbClr val="AEABAB"/>
              </a:solidFill>
            </c:spPr>
            <c:extLst>
              <c:ext xmlns:c16="http://schemas.microsoft.com/office/drawing/2014/chart" uri="{C3380CC4-5D6E-409C-BE32-E72D297353CC}">
                <c16:uniqueId val="{000001AF-D272-42BA-A3FD-CA763C8B55B0}"/>
              </c:ext>
            </c:extLst>
          </c:dPt>
          <c:dPt>
            <c:idx val="215"/>
            <c:invertIfNegative val="1"/>
            <c:bubble3D val="0"/>
            <c:spPr>
              <a:solidFill>
                <a:srgbClr val="AEABAB"/>
              </a:solidFill>
            </c:spPr>
            <c:extLst>
              <c:ext xmlns:c16="http://schemas.microsoft.com/office/drawing/2014/chart" uri="{C3380CC4-5D6E-409C-BE32-E72D297353CC}">
                <c16:uniqueId val="{000001B1-D272-42BA-A3FD-CA763C8B55B0}"/>
              </c:ext>
            </c:extLst>
          </c:dPt>
          <c:dPt>
            <c:idx val="216"/>
            <c:invertIfNegative val="1"/>
            <c:bubble3D val="0"/>
            <c:spPr>
              <a:solidFill>
                <a:srgbClr val="AEABAB"/>
              </a:solidFill>
            </c:spPr>
            <c:extLst>
              <c:ext xmlns:c16="http://schemas.microsoft.com/office/drawing/2014/chart" uri="{C3380CC4-5D6E-409C-BE32-E72D297353CC}">
                <c16:uniqueId val="{000001B3-D272-42BA-A3FD-CA763C8B55B0}"/>
              </c:ext>
            </c:extLst>
          </c:dPt>
          <c:dPt>
            <c:idx val="217"/>
            <c:invertIfNegative val="1"/>
            <c:bubble3D val="0"/>
            <c:spPr>
              <a:solidFill>
                <a:srgbClr val="AEABAB"/>
              </a:solidFill>
            </c:spPr>
            <c:extLst>
              <c:ext xmlns:c16="http://schemas.microsoft.com/office/drawing/2014/chart" uri="{C3380CC4-5D6E-409C-BE32-E72D297353CC}">
                <c16:uniqueId val="{000001B5-D272-42BA-A3FD-CA763C8B55B0}"/>
              </c:ext>
            </c:extLst>
          </c:dPt>
          <c:dPt>
            <c:idx val="218"/>
            <c:invertIfNegative val="1"/>
            <c:bubble3D val="0"/>
            <c:spPr>
              <a:solidFill>
                <a:srgbClr val="AEABAB"/>
              </a:solidFill>
            </c:spPr>
            <c:extLst>
              <c:ext xmlns:c16="http://schemas.microsoft.com/office/drawing/2014/chart" uri="{C3380CC4-5D6E-409C-BE32-E72D297353CC}">
                <c16:uniqueId val="{000001B7-D272-42BA-A3FD-CA763C8B55B0}"/>
              </c:ext>
            </c:extLst>
          </c:dPt>
          <c:dPt>
            <c:idx val="219"/>
            <c:invertIfNegative val="1"/>
            <c:bubble3D val="0"/>
            <c:spPr>
              <a:solidFill>
                <a:srgbClr val="AEABAB"/>
              </a:solidFill>
            </c:spPr>
            <c:extLst>
              <c:ext xmlns:c16="http://schemas.microsoft.com/office/drawing/2014/chart" uri="{C3380CC4-5D6E-409C-BE32-E72D297353CC}">
                <c16:uniqueId val="{000001B9-D272-42BA-A3FD-CA763C8B55B0}"/>
              </c:ext>
            </c:extLst>
          </c:dPt>
          <c:dPt>
            <c:idx val="220"/>
            <c:invertIfNegative val="1"/>
            <c:bubble3D val="0"/>
            <c:spPr>
              <a:solidFill>
                <a:srgbClr val="AEABAB"/>
              </a:solidFill>
            </c:spPr>
            <c:extLst>
              <c:ext xmlns:c16="http://schemas.microsoft.com/office/drawing/2014/chart" uri="{C3380CC4-5D6E-409C-BE32-E72D297353CC}">
                <c16:uniqueId val="{000001BB-D272-42BA-A3FD-CA763C8B55B0}"/>
              </c:ext>
            </c:extLst>
          </c:dPt>
          <c:dPt>
            <c:idx val="221"/>
            <c:invertIfNegative val="1"/>
            <c:bubble3D val="0"/>
            <c:spPr>
              <a:solidFill>
                <a:srgbClr val="AEABAB"/>
              </a:solidFill>
            </c:spPr>
            <c:extLst>
              <c:ext xmlns:c16="http://schemas.microsoft.com/office/drawing/2014/chart" uri="{C3380CC4-5D6E-409C-BE32-E72D297353CC}">
                <c16:uniqueId val="{000001BD-D272-42BA-A3FD-CA763C8B55B0}"/>
              </c:ext>
            </c:extLst>
          </c:dPt>
          <c:dPt>
            <c:idx val="222"/>
            <c:invertIfNegative val="1"/>
            <c:bubble3D val="0"/>
            <c:spPr>
              <a:solidFill>
                <a:srgbClr val="AEABAB"/>
              </a:solidFill>
            </c:spPr>
            <c:extLst>
              <c:ext xmlns:c16="http://schemas.microsoft.com/office/drawing/2014/chart" uri="{C3380CC4-5D6E-409C-BE32-E72D297353CC}">
                <c16:uniqueId val="{000001BF-D272-42BA-A3FD-CA763C8B55B0}"/>
              </c:ext>
            </c:extLst>
          </c:dPt>
          <c:dPt>
            <c:idx val="223"/>
            <c:invertIfNegative val="1"/>
            <c:bubble3D val="0"/>
            <c:spPr>
              <a:solidFill>
                <a:srgbClr val="AEABAB"/>
              </a:solidFill>
            </c:spPr>
            <c:extLst>
              <c:ext xmlns:c16="http://schemas.microsoft.com/office/drawing/2014/chart" uri="{C3380CC4-5D6E-409C-BE32-E72D297353CC}">
                <c16:uniqueId val="{000001C1-D272-42BA-A3FD-CA763C8B55B0}"/>
              </c:ext>
            </c:extLst>
          </c:dPt>
          <c:dPt>
            <c:idx val="224"/>
            <c:invertIfNegative val="1"/>
            <c:bubble3D val="0"/>
            <c:spPr>
              <a:solidFill>
                <a:srgbClr val="AEABAB"/>
              </a:solidFill>
            </c:spPr>
            <c:extLst>
              <c:ext xmlns:c16="http://schemas.microsoft.com/office/drawing/2014/chart" uri="{C3380CC4-5D6E-409C-BE32-E72D297353CC}">
                <c16:uniqueId val="{000001C3-D272-42BA-A3FD-CA763C8B55B0}"/>
              </c:ext>
            </c:extLst>
          </c:dPt>
          <c:dPt>
            <c:idx val="225"/>
            <c:invertIfNegative val="1"/>
            <c:bubble3D val="0"/>
            <c:spPr>
              <a:solidFill>
                <a:srgbClr val="AEABAB"/>
              </a:solidFill>
            </c:spPr>
            <c:extLst>
              <c:ext xmlns:c16="http://schemas.microsoft.com/office/drawing/2014/chart" uri="{C3380CC4-5D6E-409C-BE32-E72D297353CC}">
                <c16:uniqueId val="{000001C5-D272-42BA-A3FD-CA763C8B55B0}"/>
              </c:ext>
            </c:extLst>
          </c:dPt>
          <c:dPt>
            <c:idx val="226"/>
            <c:invertIfNegative val="1"/>
            <c:bubble3D val="0"/>
            <c:spPr>
              <a:solidFill>
                <a:srgbClr val="AEABAB"/>
              </a:solidFill>
            </c:spPr>
            <c:extLst>
              <c:ext xmlns:c16="http://schemas.microsoft.com/office/drawing/2014/chart" uri="{C3380CC4-5D6E-409C-BE32-E72D297353CC}">
                <c16:uniqueId val="{000001C7-D272-42BA-A3FD-CA763C8B55B0}"/>
              </c:ext>
            </c:extLst>
          </c:dPt>
          <c:dPt>
            <c:idx val="227"/>
            <c:invertIfNegative val="1"/>
            <c:bubble3D val="0"/>
            <c:spPr>
              <a:solidFill>
                <a:srgbClr val="AEABAB"/>
              </a:solidFill>
            </c:spPr>
            <c:extLst>
              <c:ext xmlns:c16="http://schemas.microsoft.com/office/drawing/2014/chart" uri="{C3380CC4-5D6E-409C-BE32-E72D297353CC}">
                <c16:uniqueId val="{000001C9-D272-42BA-A3FD-CA763C8B55B0}"/>
              </c:ext>
            </c:extLst>
          </c:dPt>
          <c:dPt>
            <c:idx val="228"/>
            <c:invertIfNegative val="1"/>
            <c:bubble3D val="0"/>
            <c:spPr>
              <a:solidFill>
                <a:srgbClr val="AEABAB"/>
              </a:solidFill>
            </c:spPr>
            <c:extLst>
              <c:ext xmlns:c16="http://schemas.microsoft.com/office/drawing/2014/chart" uri="{C3380CC4-5D6E-409C-BE32-E72D297353CC}">
                <c16:uniqueId val="{000001CB-D272-42BA-A3FD-CA763C8B55B0}"/>
              </c:ext>
            </c:extLst>
          </c:dPt>
          <c:dPt>
            <c:idx val="229"/>
            <c:invertIfNegative val="1"/>
            <c:bubble3D val="0"/>
            <c:spPr>
              <a:solidFill>
                <a:srgbClr val="AEABAB"/>
              </a:solidFill>
            </c:spPr>
            <c:extLst>
              <c:ext xmlns:c16="http://schemas.microsoft.com/office/drawing/2014/chart" uri="{C3380CC4-5D6E-409C-BE32-E72D297353CC}">
                <c16:uniqueId val="{000001CD-D272-42BA-A3FD-CA763C8B55B0}"/>
              </c:ext>
            </c:extLst>
          </c:dPt>
          <c:dPt>
            <c:idx val="230"/>
            <c:invertIfNegative val="1"/>
            <c:bubble3D val="0"/>
            <c:spPr>
              <a:solidFill>
                <a:srgbClr val="AEABAB"/>
              </a:solidFill>
            </c:spPr>
            <c:extLst>
              <c:ext xmlns:c16="http://schemas.microsoft.com/office/drawing/2014/chart" uri="{C3380CC4-5D6E-409C-BE32-E72D297353CC}">
                <c16:uniqueId val="{000001CF-D272-42BA-A3FD-CA763C8B55B0}"/>
              </c:ext>
            </c:extLst>
          </c:dPt>
          <c:dPt>
            <c:idx val="231"/>
            <c:invertIfNegative val="1"/>
            <c:bubble3D val="0"/>
            <c:spPr>
              <a:solidFill>
                <a:srgbClr val="AEABAB"/>
              </a:solidFill>
            </c:spPr>
            <c:extLst>
              <c:ext xmlns:c16="http://schemas.microsoft.com/office/drawing/2014/chart" uri="{C3380CC4-5D6E-409C-BE32-E72D297353CC}">
                <c16:uniqueId val="{000001D1-D272-42BA-A3FD-CA763C8B55B0}"/>
              </c:ext>
            </c:extLst>
          </c:dPt>
          <c:dPt>
            <c:idx val="232"/>
            <c:invertIfNegative val="1"/>
            <c:bubble3D val="0"/>
            <c:spPr>
              <a:solidFill>
                <a:srgbClr val="AEABAB"/>
              </a:solidFill>
            </c:spPr>
            <c:extLst>
              <c:ext xmlns:c16="http://schemas.microsoft.com/office/drawing/2014/chart" uri="{C3380CC4-5D6E-409C-BE32-E72D297353CC}">
                <c16:uniqueId val="{000001D3-D272-42BA-A3FD-CA763C8B55B0}"/>
              </c:ext>
            </c:extLst>
          </c:dPt>
          <c:dPt>
            <c:idx val="233"/>
            <c:invertIfNegative val="1"/>
            <c:bubble3D val="0"/>
            <c:spPr>
              <a:solidFill>
                <a:srgbClr val="AEABAB"/>
              </a:solidFill>
            </c:spPr>
            <c:extLst>
              <c:ext xmlns:c16="http://schemas.microsoft.com/office/drawing/2014/chart" uri="{C3380CC4-5D6E-409C-BE32-E72D297353CC}">
                <c16:uniqueId val="{000001D5-D272-42BA-A3FD-CA763C8B55B0}"/>
              </c:ext>
            </c:extLst>
          </c:dPt>
          <c:dPt>
            <c:idx val="234"/>
            <c:invertIfNegative val="1"/>
            <c:bubble3D val="0"/>
            <c:spPr>
              <a:solidFill>
                <a:srgbClr val="AEABAB"/>
              </a:solidFill>
            </c:spPr>
            <c:extLst>
              <c:ext xmlns:c16="http://schemas.microsoft.com/office/drawing/2014/chart" uri="{C3380CC4-5D6E-409C-BE32-E72D297353CC}">
                <c16:uniqueId val="{000001D7-D272-42BA-A3FD-CA763C8B55B0}"/>
              </c:ext>
            </c:extLst>
          </c:dPt>
          <c:dPt>
            <c:idx val="235"/>
            <c:invertIfNegative val="1"/>
            <c:bubble3D val="0"/>
            <c:spPr>
              <a:solidFill>
                <a:srgbClr val="AEABAB"/>
              </a:solidFill>
            </c:spPr>
            <c:extLst>
              <c:ext xmlns:c16="http://schemas.microsoft.com/office/drawing/2014/chart" uri="{C3380CC4-5D6E-409C-BE32-E72D297353CC}">
                <c16:uniqueId val="{000001D9-D272-42BA-A3FD-CA763C8B55B0}"/>
              </c:ext>
            </c:extLst>
          </c:dPt>
          <c:dPt>
            <c:idx val="236"/>
            <c:invertIfNegative val="1"/>
            <c:bubble3D val="0"/>
            <c:spPr>
              <a:solidFill>
                <a:srgbClr val="AEABAB"/>
              </a:solidFill>
            </c:spPr>
            <c:extLst>
              <c:ext xmlns:c16="http://schemas.microsoft.com/office/drawing/2014/chart" uri="{C3380CC4-5D6E-409C-BE32-E72D297353CC}">
                <c16:uniqueId val="{000001DB-D272-42BA-A3FD-CA763C8B55B0}"/>
              </c:ext>
            </c:extLst>
          </c:dPt>
          <c:dPt>
            <c:idx val="237"/>
            <c:invertIfNegative val="1"/>
            <c:bubble3D val="0"/>
            <c:spPr>
              <a:solidFill>
                <a:srgbClr val="AEABAB"/>
              </a:solidFill>
            </c:spPr>
            <c:extLst>
              <c:ext xmlns:c16="http://schemas.microsoft.com/office/drawing/2014/chart" uri="{C3380CC4-5D6E-409C-BE32-E72D297353CC}">
                <c16:uniqueId val="{000001DD-D272-42BA-A3FD-CA763C8B55B0}"/>
              </c:ext>
            </c:extLst>
          </c:dPt>
          <c:dPt>
            <c:idx val="238"/>
            <c:invertIfNegative val="1"/>
            <c:bubble3D val="0"/>
            <c:spPr>
              <a:solidFill>
                <a:srgbClr val="AEABAB"/>
              </a:solidFill>
            </c:spPr>
            <c:extLst>
              <c:ext xmlns:c16="http://schemas.microsoft.com/office/drawing/2014/chart" uri="{C3380CC4-5D6E-409C-BE32-E72D297353CC}">
                <c16:uniqueId val="{000001DF-D272-42BA-A3FD-CA763C8B55B0}"/>
              </c:ext>
            </c:extLst>
          </c:dPt>
          <c:dPt>
            <c:idx val="239"/>
            <c:invertIfNegative val="1"/>
            <c:bubble3D val="0"/>
            <c:spPr>
              <a:solidFill>
                <a:srgbClr val="AEABAB"/>
              </a:solidFill>
            </c:spPr>
            <c:extLst>
              <c:ext xmlns:c16="http://schemas.microsoft.com/office/drawing/2014/chart" uri="{C3380CC4-5D6E-409C-BE32-E72D297353CC}">
                <c16:uniqueId val="{000001E1-D272-42BA-A3FD-CA763C8B55B0}"/>
              </c:ext>
            </c:extLst>
          </c:dPt>
          <c:dPt>
            <c:idx val="240"/>
            <c:invertIfNegative val="1"/>
            <c:bubble3D val="0"/>
            <c:spPr>
              <a:solidFill>
                <a:srgbClr val="AEABAB"/>
              </a:solidFill>
            </c:spPr>
            <c:extLst>
              <c:ext xmlns:c16="http://schemas.microsoft.com/office/drawing/2014/chart" uri="{C3380CC4-5D6E-409C-BE32-E72D297353CC}">
                <c16:uniqueId val="{000001E3-D272-42BA-A3FD-CA763C8B55B0}"/>
              </c:ext>
            </c:extLst>
          </c:dPt>
          <c:dPt>
            <c:idx val="241"/>
            <c:invertIfNegative val="1"/>
            <c:bubble3D val="0"/>
            <c:spPr>
              <a:solidFill>
                <a:srgbClr val="AEABAB"/>
              </a:solidFill>
            </c:spPr>
            <c:extLst>
              <c:ext xmlns:c16="http://schemas.microsoft.com/office/drawing/2014/chart" uri="{C3380CC4-5D6E-409C-BE32-E72D297353CC}">
                <c16:uniqueId val="{000001E5-D272-42BA-A3FD-CA763C8B55B0}"/>
              </c:ext>
            </c:extLst>
          </c:dPt>
          <c:dPt>
            <c:idx val="242"/>
            <c:invertIfNegative val="1"/>
            <c:bubble3D val="0"/>
            <c:spPr>
              <a:solidFill>
                <a:srgbClr val="AEABAB"/>
              </a:solidFill>
            </c:spPr>
            <c:extLst>
              <c:ext xmlns:c16="http://schemas.microsoft.com/office/drawing/2014/chart" uri="{C3380CC4-5D6E-409C-BE32-E72D297353CC}">
                <c16:uniqueId val="{000001E7-D272-42BA-A3FD-CA763C8B55B0}"/>
              </c:ext>
            </c:extLst>
          </c:dPt>
          <c:dPt>
            <c:idx val="243"/>
            <c:invertIfNegative val="1"/>
            <c:bubble3D val="0"/>
            <c:spPr>
              <a:solidFill>
                <a:srgbClr val="AEABAB"/>
              </a:solidFill>
            </c:spPr>
            <c:extLst>
              <c:ext xmlns:c16="http://schemas.microsoft.com/office/drawing/2014/chart" uri="{C3380CC4-5D6E-409C-BE32-E72D297353CC}">
                <c16:uniqueId val="{000001E9-D272-42BA-A3FD-CA763C8B55B0}"/>
              </c:ext>
            </c:extLst>
          </c:dPt>
          <c:dPt>
            <c:idx val="244"/>
            <c:invertIfNegative val="1"/>
            <c:bubble3D val="0"/>
            <c:spPr>
              <a:solidFill>
                <a:srgbClr val="AEABAB"/>
              </a:solidFill>
            </c:spPr>
            <c:extLst>
              <c:ext xmlns:c16="http://schemas.microsoft.com/office/drawing/2014/chart" uri="{C3380CC4-5D6E-409C-BE32-E72D297353CC}">
                <c16:uniqueId val="{000001EB-D272-42BA-A3FD-CA763C8B55B0}"/>
              </c:ext>
            </c:extLst>
          </c:dPt>
          <c:dPt>
            <c:idx val="245"/>
            <c:invertIfNegative val="1"/>
            <c:bubble3D val="0"/>
            <c:spPr>
              <a:solidFill>
                <a:srgbClr val="AEABAB"/>
              </a:solidFill>
            </c:spPr>
            <c:extLst>
              <c:ext xmlns:c16="http://schemas.microsoft.com/office/drawing/2014/chart" uri="{C3380CC4-5D6E-409C-BE32-E72D297353CC}">
                <c16:uniqueId val="{000001ED-D272-42BA-A3FD-CA763C8B55B0}"/>
              </c:ext>
            </c:extLst>
          </c:dPt>
          <c:dPt>
            <c:idx val="246"/>
            <c:invertIfNegative val="1"/>
            <c:bubble3D val="0"/>
            <c:spPr>
              <a:solidFill>
                <a:srgbClr val="AEABAB"/>
              </a:solidFill>
            </c:spPr>
            <c:extLst>
              <c:ext xmlns:c16="http://schemas.microsoft.com/office/drawing/2014/chart" uri="{C3380CC4-5D6E-409C-BE32-E72D297353CC}">
                <c16:uniqueId val="{000001EF-D272-42BA-A3FD-CA763C8B55B0}"/>
              </c:ext>
            </c:extLst>
          </c:dPt>
          <c:dPt>
            <c:idx val="247"/>
            <c:invertIfNegative val="1"/>
            <c:bubble3D val="0"/>
            <c:spPr>
              <a:solidFill>
                <a:srgbClr val="AEABAB"/>
              </a:solidFill>
            </c:spPr>
            <c:extLst>
              <c:ext xmlns:c16="http://schemas.microsoft.com/office/drawing/2014/chart" uri="{C3380CC4-5D6E-409C-BE32-E72D297353CC}">
                <c16:uniqueId val="{000001F1-D272-42BA-A3FD-CA763C8B55B0}"/>
              </c:ext>
            </c:extLst>
          </c:dPt>
          <c:dPt>
            <c:idx val="248"/>
            <c:invertIfNegative val="1"/>
            <c:bubble3D val="0"/>
            <c:spPr>
              <a:solidFill>
                <a:srgbClr val="AEABAB"/>
              </a:solidFill>
            </c:spPr>
            <c:extLst>
              <c:ext xmlns:c16="http://schemas.microsoft.com/office/drawing/2014/chart" uri="{C3380CC4-5D6E-409C-BE32-E72D297353CC}">
                <c16:uniqueId val="{000001F3-D272-42BA-A3FD-CA763C8B55B0}"/>
              </c:ext>
            </c:extLst>
          </c:dPt>
          <c:dPt>
            <c:idx val="249"/>
            <c:invertIfNegative val="1"/>
            <c:bubble3D val="0"/>
            <c:spPr>
              <a:solidFill>
                <a:srgbClr val="AEABAB"/>
              </a:solidFill>
            </c:spPr>
            <c:extLst>
              <c:ext xmlns:c16="http://schemas.microsoft.com/office/drawing/2014/chart" uri="{C3380CC4-5D6E-409C-BE32-E72D297353CC}">
                <c16:uniqueId val="{000001F5-D272-42BA-A3FD-CA763C8B55B0}"/>
              </c:ext>
            </c:extLst>
          </c:dPt>
          <c:dPt>
            <c:idx val="250"/>
            <c:invertIfNegative val="1"/>
            <c:bubble3D val="0"/>
            <c:spPr>
              <a:solidFill>
                <a:srgbClr val="AEABAB"/>
              </a:solidFill>
            </c:spPr>
            <c:extLst>
              <c:ext xmlns:c16="http://schemas.microsoft.com/office/drawing/2014/chart" uri="{C3380CC4-5D6E-409C-BE32-E72D297353CC}">
                <c16:uniqueId val="{000001F7-D272-42BA-A3FD-CA763C8B55B0}"/>
              </c:ext>
            </c:extLst>
          </c:dPt>
          <c:dPt>
            <c:idx val="251"/>
            <c:invertIfNegative val="1"/>
            <c:bubble3D val="0"/>
            <c:spPr>
              <a:solidFill>
                <a:srgbClr val="AEABAB"/>
              </a:solidFill>
            </c:spPr>
            <c:extLst>
              <c:ext xmlns:c16="http://schemas.microsoft.com/office/drawing/2014/chart" uri="{C3380CC4-5D6E-409C-BE32-E72D297353CC}">
                <c16:uniqueId val="{000001F9-D272-42BA-A3FD-CA763C8B55B0}"/>
              </c:ext>
            </c:extLst>
          </c:dPt>
          <c:dPt>
            <c:idx val="252"/>
            <c:invertIfNegative val="1"/>
            <c:bubble3D val="0"/>
            <c:spPr>
              <a:solidFill>
                <a:srgbClr val="AEABAB"/>
              </a:solidFill>
            </c:spPr>
            <c:extLst>
              <c:ext xmlns:c16="http://schemas.microsoft.com/office/drawing/2014/chart" uri="{C3380CC4-5D6E-409C-BE32-E72D297353CC}">
                <c16:uniqueId val="{000001FB-D272-42BA-A3FD-CA763C8B55B0}"/>
              </c:ext>
            </c:extLst>
          </c:dPt>
          <c:dPt>
            <c:idx val="253"/>
            <c:invertIfNegative val="1"/>
            <c:bubble3D val="0"/>
            <c:spPr>
              <a:solidFill>
                <a:srgbClr val="AEABAB"/>
              </a:solidFill>
            </c:spPr>
            <c:extLst>
              <c:ext xmlns:c16="http://schemas.microsoft.com/office/drawing/2014/chart" uri="{C3380CC4-5D6E-409C-BE32-E72D297353CC}">
                <c16:uniqueId val="{000001FD-D272-42BA-A3FD-CA763C8B55B0}"/>
              </c:ext>
            </c:extLst>
          </c:dPt>
          <c:dPt>
            <c:idx val="254"/>
            <c:invertIfNegative val="1"/>
            <c:bubble3D val="0"/>
            <c:spPr>
              <a:solidFill>
                <a:srgbClr val="AEABAB"/>
              </a:solidFill>
            </c:spPr>
            <c:extLst>
              <c:ext xmlns:c16="http://schemas.microsoft.com/office/drawing/2014/chart" uri="{C3380CC4-5D6E-409C-BE32-E72D297353CC}">
                <c16:uniqueId val="{000001FF-D272-42BA-A3FD-CA763C8B55B0}"/>
              </c:ext>
            </c:extLst>
          </c:dPt>
          <c:dPt>
            <c:idx val="255"/>
            <c:invertIfNegative val="1"/>
            <c:bubble3D val="0"/>
            <c:spPr>
              <a:solidFill>
                <a:srgbClr val="AEABAB"/>
              </a:solidFill>
            </c:spPr>
            <c:extLst>
              <c:ext xmlns:c16="http://schemas.microsoft.com/office/drawing/2014/chart" uri="{C3380CC4-5D6E-409C-BE32-E72D297353CC}">
                <c16:uniqueId val="{00000201-D272-42BA-A3FD-CA763C8B55B0}"/>
              </c:ext>
            </c:extLst>
          </c:dPt>
          <c:dPt>
            <c:idx val="256"/>
            <c:invertIfNegative val="1"/>
            <c:bubble3D val="0"/>
            <c:spPr>
              <a:solidFill>
                <a:srgbClr val="AEABAB"/>
              </a:solidFill>
            </c:spPr>
            <c:extLst>
              <c:ext xmlns:c16="http://schemas.microsoft.com/office/drawing/2014/chart" uri="{C3380CC4-5D6E-409C-BE32-E72D297353CC}">
                <c16:uniqueId val="{00000203-D272-42BA-A3FD-CA763C8B55B0}"/>
              </c:ext>
            </c:extLst>
          </c:dPt>
          <c:dPt>
            <c:idx val="257"/>
            <c:invertIfNegative val="1"/>
            <c:bubble3D val="0"/>
            <c:spPr>
              <a:solidFill>
                <a:srgbClr val="AEABAB"/>
              </a:solidFill>
            </c:spPr>
            <c:extLst>
              <c:ext xmlns:c16="http://schemas.microsoft.com/office/drawing/2014/chart" uri="{C3380CC4-5D6E-409C-BE32-E72D297353CC}">
                <c16:uniqueId val="{00000205-D272-42BA-A3FD-CA763C8B55B0}"/>
              </c:ext>
            </c:extLst>
          </c:dPt>
          <c:dPt>
            <c:idx val="258"/>
            <c:invertIfNegative val="1"/>
            <c:bubble3D val="0"/>
            <c:spPr>
              <a:solidFill>
                <a:srgbClr val="AEABAB"/>
              </a:solidFill>
            </c:spPr>
            <c:extLst>
              <c:ext xmlns:c16="http://schemas.microsoft.com/office/drawing/2014/chart" uri="{C3380CC4-5D6E-409C-BE32-E72D297353CC}">
                <c16:uniqueId val="{00000207-D272-42BA-A3FD-CA763C8B55B0}"/>
              </c:ext>
            </c:extLst>
          </c:dPt>
          <c:dPt>
            <c:idx val="259"/>
            <c:invertIfNegative val="1"/>
            <c:bubble3D val="0"/>
            <c:spPr>
              <a:solidFill>
                <a:srgbClr val="AEABAB"/>
              </a:solidFill>
            </c:spPr>
            <c:extLst>
              <c:ext xmlns:c16="http://schemas.microsoft.com/office/drawing/2014/chart" uri="{C3380CC4-5D6E-409C-BE32-E72D297353CC}">
                <c16:uniqueId val="{00000209-D272-42BA-A3FD-CA763C8B55B0}"/>
              </c:ext>
            </c:extLst>
          </c:dPt>
          <c:dPt>
            <c:idx val="260"/>
            <c:invertIfNegative val="1"/>
            <c:bubble3D val="0"/>
            <c:spPr>
              <a:solidFill>
                <a:srgbClr val="AEABAB"/>
              </a:solidFill>
            </c:spPr>
            <c:extLst>
              <c:ext xmlns:c16="http://schemas.microsoft.com/office/drawing/2014/chart" uri="{C3380CC4-5D6E-409C-BE32-E72D297353CC}">
                <c16:uniqueId val="{0000020B-D272-42BA-A3FD-CA763C8B55B0}"/>
              </c:ext>
            </c:extLst>
          </c:dPt>
          <c:dPt>
            <c:idx val="261"/>
            <c:invertIfNegative val="1"/>
            <c:bubble3D val="0"/>
            <c:spPr>
              <a:solidFill>
                <a:srgbClr val="AEABAB"/>
              </a:solidFill>
            </c:spPr>
            <c:extLst>
              <c:ext xmlns:c16="http://schemas.microsoft.com/office/drawing/2014/chart" uri="{C3380CC4-5D6E-409C-BE32-E72D297353CC}">
                <c16:uniqueId val="{0000020D-D272-42BA-A3FD-CA763C8B55B0}"/>
              </c:ext>
            </c:extLst>
          </c:dPt>
          <c:dPt>
            <c:idx val="262"/>
            <c:invertIfNegative val="1"/>
            <c:bubble3D val="0"/>
            <c:spPr>
              <a:solidFill>
                <a:srgbClr val="AEABAB"/>
              </a:solidFill>
            </c:spPr>
            <c:extLst>
              <c:ext xmlns:c16="http://schemas.microsoft.com/office/drawing/2014/chart" uri="{C3380CC4-5D6E-409C-BE32-E72D297353CC}">
                <c16:uniqueId val="{0000020F-D272-42BA-A3FD-CA763C8B55B0}"/>
              </c:ext>
            </c:extLst>
          </c:dPt>
          <c:dPt>
            <c:idx val="263"/>
            <c:invertIfNegative val="1"/>
            <c:bubble3D val="0"/>
            <c:spPr>
              <a:solidFill>
                <a:srgbClr val="AEABAB"/>
              </a:solidFill>
            </c:spPr>
            <c:extLst>
              <c:ext xmlns:c16="http://schemas.microsoft.com/office/drawing/2014/chart" uri="{C3380CC4-5D6E-409C-BE32-E72D297353CC}">
                <c16:uniqueId val="{00000211-D272-42BA-A3FD-CA763C8B55B0}"/>
              </c:ext>
            </c:extLst>
          </c:dPt>
          <c:dPt>
            <c:idx val="264"/>
            <c:invertIfNegative val="1"/>
            <c:bubble3D val="0"/>
            <c:spPr>
              <a:solidFill>
                <a:srgbClr val="AEABAB"/>
              </a:solidFill>
            </c:spPr>
            <c:extLst>
              <c:ext xmlns:c16="http://schemas.microsoft.com/office/drawing/2014/chart" uri="{C3380CC4-5D6E-409C-BE32-E72D297353CC}">
                <c16:uniqueId val="{00000213-D272-42BA-A3FD-CA763C8B55B0}"/>
              </c:ext>
            </c:extLst>
          </c:dPt>
          <c:dPt>
            <c:idx val="265"/>
            <c:invertIfNegative val="1"/>
            <c:bubble3D val="0"/>
            <c:spPr>
              <a:solidFill>
                <a:srgbClr val="AEABAB"/>
              </a:solidFill>
            </c:spPr>
            <c:extLst>
              <c:ext xmlns:c16="http://schemas.microsoft.com/office/drawing/2014/chart" uri="{C3380CC4-5D6E-409C-BE32-E72D297353CC}">
                <c16:uniqueId val="{00000215-D272-42BA-A3FD-CA763C8B55B0}"/>
              </c:ext>
            </c:extLst>
          </c:dPt>
          <c:dPt>
            <c:idx val="266"/>
            <c:invertIfNegative val="1"/>
            <c:bubble3D val="0"/>
            <c:spPr>
              <a:solidFill>
                <a:srgbClr val="AEABAB"/>
              </a:solidFill>
            </c:spPr>
            <c:extLst>
              <c:ext xmlns:c16="http://schemas.microsoft.com/office/drawing/2014/chart" uri="{C3380CC4-5D6E-409C-BE32-E72D297353CC}">
                <c16:uniqueId val="{00000217-D272-42BA-A3FD-CA763C8B55B0}"/>
              </c:ext>
            </c:extLst>
          </c:dPt>
          <c:dPt>
            <c:idx val="267"/>
            <c:invertIfNegative val="1"/>
            <c:bubble3D val="0"/>
            <c:spPr>
              <a:solidFill>
                <a:srgbClr val="AEABAB"/>
              </a:solidFill>
            </c:spPr>
            <c:extLst>
              <c:ext xmlns:c16="http://schemas.microsoft.com/office/drawing/2014/chart" uri="{C3380CC4-5D6E-409C-BE32-E72D297353CC}">
                <c16:uniqueId val="{00000219-D272-42BA-A3FD-CA763C8B55B0}"/>
              </c:ext>
            </c:extLst>
          </c:dPt>
          <c:dPt>
            <c:idx val="268"/>
            <c:invertIfNegative val="1"/>
            <c:bubble3D val="0"/>
            <c:spPr>
              <a:solidFill>
                <a:srgbClr val="AEABAB"/>
              </a:solidFill>
            </c:spPr>
            <c:extLst>
              <c:ext xmlns:c16="http://schemas.microsoft.com/office/drawing/2014/chart" uri="{C3380CC4-5D6E-409C-BE32-E72D297353CC}">
                <c16:uniqueId val="{0000021B-D272-42BA-A3FD-CA763C8B55B0}"/>
              </c:ext>
            </c:extLst>
          </c:dPt>
          <c:dPt>
            <c:idx val="269"/>
            <c:invertIfNegative val="1"/>
            <c:bubble3D val="0"/>
            <c:spPr>
              <a:solidFill>
                <a:srgbClr val="AEABAB"/>
              </a:solidFill>
            </c:spPr>
            <c:extLst>
              <c:ext xmlns:c16="http://schemas.microsoft.com/office/drawing/2014/chart" uri="{C3380CC4-5D6E-409C-BE32-E72D297353CC}">
                <c16:uniqueId val="{0000021D-D272-42BA-A3FD-CA763C8B55B0}"/>
              </c:ext>
            </c:extLst>
          </c:dPt>
          <c:dPt>
            <c:idx val="270"/>
            <c:invertIfNegative val="1"/>
            <c:bubble3D val="0"/>
            <c:spPr>
              <a:solidFill>
                <a:srgbClr val="AEABAB"/>
              </a:solidFill>
            </c:spPr>
            <c:extLst>
              <c:ext xmlns:c16="http://schemas.microsoft.com/office/drawing/2014/chart" uri="{C3380CC4-5D6E-409C-BE32-E72D297353CC}">
                <c16:uniqueId val="{0000021F-D272-42BA-A3FD-CA763C8B55B0}"/>
              </c:ext>
            </c:extLst>
          </c:dPt>
          <c:dPt>
            <c:idx val="271"/>
            <c:invertIfNegative val="1"/>
            <c:bubble3D val="0"/>
            <c:spPr>
              <a:solidFill>
                <a:srgbClr val="AEABAB"/>
              </a:solidFill>
            </c:spPr>
            <c:extLst>
              <c:ext xmlns:c16="http://schemas.microsoft.com/office/drawing/2014/chart" uri="{C3380CC4-5D6E-409C-BE32-E72D297353CC}">
                <c16:uniqueId val="{00000221-D272-42BA-A3FD-CA763C8B55B0}"/>
              </c:ext>
            </c:extLst>
          </c:dPt>
          <c:dPt>
            <c:idx val="272"/>
            <c:invertIfNegative val="1"/>
            <c:bubble3D val="0"/>
            <c:spPr>
              <a:solidFill>
                <a:srgbClr val="AEABAB"/>
              </a:solidFill>
            </c:spPr>
            <c:extLst>
              <c:ext xmlns:c16="http://schemas.microsoft.com/office/drawing/2014/chart" uri="{C3380CC4-5D6E-409C-BE32-E72D297353CC}">
                <c16:uniqueId val="{00000223-D272-42BA-A3FD-CA763C8B55B0}"/>
              </c:ext>
            </c:extLst>
          </c:dPt>
          <c:dPt>
            <c:idx val="273"/>
            <c:invertIfNegative val="1"/>
            <c:bubble3D val="0"/>
            <c:spPr>
              <a:solidFill>
                <a:srgbClr val="AEABAB"/>
              </a:solidFill>
            </c:spPr>
            <c:extLst>
              <c:ext xmlns:c16="http://schemas.microsoft.com/office/drawing/2014/chart" uri="{C3380CC4-5D6E-409C-BE32-E72D297353CC}">
                <c16:uniqueId val="{00000225-D272-42BA-A3FD-CA763C8B55B0}"/>
              </c:ext>
            </c:extLst>
          </c:dPt>
          <c:dPt>
            <c:idx val="274"/>
            <c:invertIfNegative val="1"/>
            <c:bubble3D val="0"/>
            <c:spPr>
              <a:solidFill>
                <a:srgbClr val="AEABAB"/>
              </a:solidFill>
            </c:spPr>
            <c:extLst>
              <c:ext xmlns:c16="http://schemas.microsoft.com/office/drawing/2014/chart" uri="{C3380CC4-5D6E-409C-BE32-E72D297353CC}">
                <c16:uniqueId val="{00000227-D272-42BA-A3FD-CA763C8B55B0}"/>
              </c:ext>
            </c:extLst>
          </c:dPt>
          <c:dPt>
            <c:idx val="275"/>
            <c:invertIfNegative val="1"/>
            <c:bubble3D val="0"/>
            <c:spPr>
              <a:solidFill>
                <a:srgbClr val="AEABAB"/>
              </a:solidFill>
            </c:spPr>
            <c:extLst>
              <c:ext xmlns:c16="http://schemas.microsoft.com/office/drawing/2014/chart" uri="{C3380CC4-5D6E-409C-BE32-E72D297353CC}">
                <c16:uniqueId val="{00000229-D272-42BA-A3FD-CA763C8B55B0}"/>
              </c:ext>
            </c:extLst>
          </c:dPt>
          <c:dPt>
            <c:idx val="276"/>
            <c:invertIfNegative val="1"/>
            <c:bubble3D val="0"/>
            <c:spPr>
              <a:solidFill>
                <a:srgbClr val="AEABAB"/>
              </a:solidFill>
            </c:spPr>
            <c:extLst>
              <c:ext xmlns:c16="http://schemas.microsoft.com/office/drawing/2014/chart" uri="{C3380CC4-5D6E-409C-BE32-E72D297353CC}">
                <c16:uniqueId val="{0000022B-D272-42BA-A3FD-CA763C8B55B0}"/>
              </c:ext>
            </c:extLst>
          </c:dPt>
          <c:dPt>
            <c:idx val="277"/>
            <c:invertIfNegative val="1"/>
            <c:bubble3D val="0"/>
            <c:spPr>
              <a:solidFill>
                <a:srgbClr val="AEABAB"/>
              </a:solidFill>
            </c:spPr>
            <c:extLst>
              <c:ext xmlns:c16="http://schemas.microsoft.com/office/drawing/2014/chart" uri="{C3380CC4-5D6E-409C-BE32-E72D297353CC}">
                <c16:uniqueId val="{0000022D-D272-42BA-A3FD-CA763C8B55B0}"/>
              </c:ext>
            </c:extLst>
          </c:dPt>
          <c:dPt>
            <c:idx val="278"/>
            <c:invertIfNegative val="1"/>
            <c:bubble3D val="0"/>
            <c:spPr>
              <a:solidFill>
                <a:srgbClr val="AEABAB"/>
              </a:solidFill>
            </c:spPr>
            <c:extLst>
              <c:ext xmlns:c16="http://schemas.microsoft.com/office/drawing/2014/chart" uri="{C3380CC4-5D6E-409C-BE32-E72D297353CC}">
                <c16:uniqueId val="{0000022F-D272-42BA-A3FD-CA763C8B55B0}"/>
              </c:ext>
            </c:extLst>
          </c:dPt>
          <c:dPt>
            <c:idx val="279"/>
            <c:invertIfNegative val="1"/>
            <c:bubble3D val="0"/>
            <c:spPr>
              <a:solidFill>
                <a:srgbClr val="AEABAB"/>
              </a:solidFill>
            </c:spPr>
            <c:extLst>
              <c:ext xmlns:c16="http://schemas.microsoft.com/office/drawing/2014/chart" uri="{C3380CC4-5D6E-409C-BE32-E72D297353CC}">
                <c16:uniqueId val="{00000231-D272-42BA-A3FD-CA763C8B55B0}"/>
              </c:ext>
            </c:extLst>
          </c:dPt>
          <c:dPt>
            <c:idx val="280"/>
            <c:invertIfNegative val="1"/>
            <c:bubble3D val="0"/>
            <c:spPr>
              <a:solidFill>
                <a:srgbClr val="AEABAB"/>
              </a:solidFill>
            </c:spPr>
            <c:extLst>
              <c:ext xmlns:c16="http://schemas.microsoft.com/office/drawing/2014/chart" uri="{C3380CC4-5D6E-409C-BE32-E72D297353CC}">
                <c16:uniqueId val="{00000233-D272-42BA-A3FD-CA763C8B55B0}"/>
              </c:ext>
            </c:extLst>
          </c:dPt>
          <c:dPt>
            <c:idx val="281"/>
            <c:invertIfNegative val="1"/>
            <c:bubble3D val="0"/>
            <c:spPr>
              <a:solidFill>
                <a:srgbClr val="AEABAB"/>
              </a:solidFill>
            </c:spPr>
            <c:extLst>
              <c:ext xmlns:c16="http://schemas.microsoft.com/office/drawing/2014/chart" uri="{C3380CC4-5D6E-409C-BE32-E72D297353CC}">
                <c16:uniqueId val="{00000235-D272-42BA-A3FD-CA763C8B55B0}"/>
              </c:ext>
            </c:extLst>
          </c:dPt>
          <c:dPt>
            <c:idx val="282"/>
            <c:invertIfNegative val="1"/>
            <c:bubble3D val="0"/>
            <c:spPr>
              <a:solidFill>
                <a:srgbClr val="AEABAB"/>
              </a:solidFill>
            </c:spPr>
            <c:extLst>
              <c:ext xmlns:c16="http://schemas.microsoft.com/office/drawing/2014/chart" uri="{C3380CC4-5D6E-409C-BE32-E72D297353CC}">
                <c16:uniqueId val="{00000237-D272-42BA-A3FD-CA763C8B55B0}"/>
              </c:ext>
            </c:extLst>
          </c:dPt>
          <c:dPt>
            <c:idx val="283"/>
            <c:invertIfNegative val="1"/>
            <c:bubble3D val="0"/>
            <c:spPr>
              <a:solidFill>
                <a:srgbClr val="AEABAB"/>
              </a:solidFill>
            </c:spPr>
            <c:extLst>
              <c:ext xmlns:c16="http://schemas.microsoft.com/office/drawing/2014/chart" uri="{C3380CC4-5D6E-409C-BE32-E72D297353CC}">
                <c16:uniqueId val="{00000239-D272-42BA-A3FD-CA763C8B55B0}"/>
              </c:ext>
            </c:extLst>
          </c:dPt>
          <c:dPt>
            <c:idx val="284"/>
            <c:invertIfNegative val="1"/>
            <c:bubble3D val="0"/>
            <c:spPr>
              <a:solidFill>
                <a:srgbClr val="AEABAB"/>
              </a:solidFill>
            </c:spPr>
            <c:extLst>
              <c:ext xmlns:c16="http://schemas.microsoft.com/office/drawing/2014/chart" uri="{C3380CC4-5D6E-409C-BE32-E72D297353CC}">
                <c16:uniqueId val="{0000023B-D272-42BA-A3FD-CA763C8B55B0}"/>
              </c:ext>
            </c:extLst>
          </c:dPt>
          <c:dPt>
            <c:idx val="285"/>
            <c:invertIfNegative val="1"/>
            <c:bubble3D val="0"/>
            <c:spPr>
              <a:solidFill>
                <a:srgbClr val="AEABAB"/>
              </a:solidFill>
            </c:spPr>
            <c:extLst>
              <c:ext xmlns:c16="http://schemas.microsoft.com/office/drawing/2014/chart" uri="{C3380CC4-5D6E-409C-BE32-E72D297353CC}">
                <c16:uniqueId val="{0000023D-D272-42BA-A3FD-CA763C8B55B0}"/>
              </c:ext>
            </c:extLst>
          </c:dPt>
          <c:dPt>
            <c:idx val="286"/>
            <c:invertIfNegative val="1"/>
            <c:bubble3D val="0"/>
            <c:spPr>
              <a:solidFill>
                <a:srgbClr val="AEABAB"/>
              </a:solidFill>
            </c:spPr>
            <c:extLst>
              <c:ext xmlns:c16="http://schemas.microsoft.com/office/drawing/2014/chart" uri="{C3380CC4-5D6E-409C-BE32-E72D297353CC}">
                <c16:uniqueId val="{0000023F-D272-42BA-A3FD-CA763C8B55B0}"/>
              </c:ext>
            </c:extLst>
          </c:dPt>
          <c:dPt>
            <c:idx val="287"/>
            <c:invertIfNegative val="1"/>
            <c:bubble3D val="0"/>
            <c:spPr>
              <a:solidFill>
                <a:srgbClr val="AEABAB"/>
              </a:solidFill>
            </c:spPr>
            <c:extLst>
              <c:ext xmlns:c16="http://schemas.microsoft.com/office/drawing/2014/chart" uri="{C3380CC4-5D6E-409C-BE32-E72D297353CC}">
                <c16:uniqueId val="{00000241-D272-42BA-A3FD-CA763C8B55B0}"/>
              </c:ext>
            </c:extLst>
          </c:dPt>
          <c:dPt>
            <c:idx val="288"/>
            <c:invertIfNegative val="1"/>
            <c:bubble3D val="0"/>
            <c:spPr>
              <a:solidFill>
                <a:srgbClr val="AEABAB"/>
              </a:solidFill>
            </c:spPr>
            <c:extLst>
              <c:ext xmlns:c16="http://schemas.microsoft.com/office/drawing/2014/chart" uri="{C3380CC4-5D6E-409C-BE32-E72D297353CC}">
                <c16:uniqueId val="{00000243-D272-42BA-A3FD-CA763C8B55B0}"/>
              </c:ext>
            </c:extLst>
          </c:dPt>
          <c:dPt>
            <c:idx val="289"/>
            <c:invertIfNegative val="1"/>
            <c:bubble3D val="0"/>
            <c:spPr>
              <a:solidFill>
                <a:srgbClr val="AEABAB"/>
              </a:solidFill>
            </c:spPr>
            <c:extLst>
              <c:ext xmlns:c16="http://schemas.microsoft.com/office/drawing/2014/chart" uri="{C3380CC4-5D6E-409C-BE32-E72D297353CC}">
                <c16:uniqueId val="{00000245-D272-42BA-A3FD-CA763C8B55B0}"/>
              </c:ext>
            </c:extLst>
          </c:dPt>
          <c:dPt>
            <c:idx val="290"/>
            <c:invertIfNegative val="1"/>
            <c:bubble3D val="0"/>
            <c:spPr>
              <a:solidFill>
                <a:srgbClr val="AEABAB"/>
              </a:solidFill>
            </c:spPr>
            <c:extLst>
              <c:ext xmlns:c16="http://schemas.microsoft.com/office/drawing/2014/chart" uri="{C3380CC4-5D6E-409C-BE32-E72D297353CC}">
                <c16:uniqueId val="{00000247-D272-42BA-A3FD-CA763C8B55B0}"/>
              </c:ext>
            </c:extLst>
          </c:dPt>
          <c:dPt>
            <c:idx val="291"/>
            <c:invertIfNegative val="1"/>
            <c:bubble3D val="0"/>
            <c:spPr>
              <a:solidFill>
                <a:srgbClr val="AEABAB"/>
              </a:solidFill>
            </c:spPr>
            <c:extLst>
              <c:ext xmlns:c16="http://schemas.microsoft.com/office/drawing/2014/chart" uri="{C3380CC4-5D6E-409C-BE32-E72D297353CC}">
                <c16:uniqueId val="{00000249-D272-42BA-A3FD-CA763C8B55B0}"/>
              </c:ext>
            </c:extLst>
          </c:dPt>
          <c:dPt>
            <c:idx val="292"/>
            <c:invertIfNegative val="1"/>
            <c:bubble3D val="0"/>
            <c:spPr>
              <a:solidFill>
                <a:srgbClr val="AEABAB"/>
              </a:solidFill>
            </c:spPr>
            <c:extLst>
              <c:ext xmlns:c16="http://schemas.microsoft.com/office/drawing/2014/chart" uri="{C3380CC4-5D6E-409C-BE32-E72D297353CC}">
                <c16:uniqueId val="{0000024B-D272-42BA-A3FD-CA763C8B55B0}"/>
              </c:ext>
            </c:extLst>
          </c:dPt>
          <c:dPt>
            <c:idx val="293"/>
            <c:invertIfNegative val="1"/>
            <c:bubble3D val="0"/>
            <c:spPr>
              <a:solidFill>
                <a:srgbClr val="AEABAB"/>
              </a:solidFill>
            </c:spPr>
            <c:extLst>
              <c:ext xmlns:c16="http://schemas.microsoft.com/office/drawing/2014/chart" uri="{C3380CC4-5D6E-409C-BE32-E72D297353CC}">
                <c16:uniqueId val="{0000024D-D272-42BA-A3FD-CA763C8B55B0}"/>
              </c:ext>
            </c:extLst>
          </c:dPt>
          <c:dPt>
            <c:idx val="294"/>
            <c:invertIfNegative val="1"/>
            <c:bubble3D val="0"/>
            <c:spPr>
              <a:solidFill>
                <a:srgbClr val="AEABAB"/>
              </a:solidFill>
            </c:spPr>
            <c:extLst>
              <c:ext xmlns:c16="http://schemas.microsoft.com/office/drawing/2014/chart" uri="{C3380CC4-5D6E-409C-BE32-E72D297353CC}">
                <c16:uniqueId val="{0000024F-D272-42BA-A3FD-CA763C8B55B0}"/>
              </c:ext>
            </c:extLst>
          </c:dPt>
          <c:dPt>
            <c:idx val="295"/>
            <c:invertIfNegative val="1"/>
            <c:bubble3D val="0"/>
            <c:spPr>
              <a:solidFill>
                <a:srgbClr val="AEABAB"/>
              </a:solidFill>
            </c:spPr>
            <c:extLst>
              <c:ext xmlns:c16="http://schemas.microsoft.com/office/drawing/2014/chart" uri="{C3380CC4-5D6E-409C-BE32-E72D297353CC}">
                <c16:uniqueId val="{00000251-D272-42BA-A3FD-CA763C8B55B0}"/>
              </c:ext>
            </c:extLst>
          </c:dPt>
          <c:dPt>
            <c:idx val="296"/>
            <c:invertIfNegative val="1"/>
            <c:bubble3D val="0"/>
            <c:spPr>
              <a:solidFill>
                <a:srgbClr val="AEABAB"/>
              </a:solidFill>
            </c:spPr>
            <c:extLst>
              <c:ext xmlns:c16="http://schemas.microsoft.com/office/drawing/2014/chart" uri="{C3380CC4-5D6E-409C-BE32-E72D297353CC}">
                <c16:uniqueId val="{00000253-D272-42BA-A3FD-CA763C8B55B0}"/>
              </c:ext>
            </c:extLst>
          </c:dPt>
          <c:dPt>
            <c:idx val="297"/>
            <c:invertIfNegative val="1"/>
            <c:bubble3D val="0"/>
            <c:spPr>
              <a:solidFill>
                <a:srgbClr val="AEABAB"/>
              </a:solidFill>
            </c:spPr>
            <c:extLst>
              <c:ext xmlns:c16="http://schemas.microsoft.com/office/drawing/2014/chart" uri="{C3380CC4-5D6E-409C-BE32-E72D297353CC}">
                <c16:uniqueId val="{00000255-D272-42BA-A3FD-CA763C8B55B0}"/>
              </c:ext>
            </c:extLst>
          </c:dPt>
          <c:dPt>
            <c:idx val="298"/>
            <c:invertIfNegative val="1"/>
            <c:bubble3D val="0"/>
            <c:spPr>
              <a:solidFill>
                <a:srgbClr val="AEABAB"/>
              </a:solidFill>
            </c:spPr>
            <c:extLst>
              <c:ext xmlns:c16="http://schemas.microsoft.com/office/drawing/2014/chart" uri="{C3380CC4-5D6E-409C-BE32-E72D297353CC}">
                <c16:uniqueId val="{00000257-D272-42BA-A3FD-CA763C8B55B0}"/>
              </c:ext>
            </c:extLst>
          </c:dPt>
          <c:dPt>
            <c:idx val="299"/>
            <c:invertIfNegative val="1"/>
            <c:bubble3D val="0"/>
            <c:spPr>
              <a:solidFill>
                <a:srgbClr val="AEABAB"/>
              </a:solidFill>
            </c:spPr>
            <c:extLst>
              <c:ext xmlns:c16="http://schemas.microsoft.com/office/drawing/2014/chart" uri="{C3380CC4-5D6E-409C-BE32-E72D297353CC}">
                <c16:uniqueId val="{00000259-D272-42BA-A3FD-CA763C8B55B0}"/>
              </c:ext>
            </c:extLst>
          </c:dPt>
          <c:dPt>
            <c:idx val="300"/>
            <c:invertIfNegative val="1"/>
            <c:bubble3D val="0"/>
            <c:spPr>
              <a:solidFill>
                <a:srgbClr val="AEABAB"/>
              </a:solidFill>
            </c:spPr>
            <c:extLst>
              <c:ext xmlns:c16="http://schemas.microsoft.com/office/drawing/2014/chart" uri="{C3380CC4-5D6E-409C-BE32-E72D297353CC}">
                <c16:uniqueId val="{0000025B-D272-42BA-A3FD-CA763C8B55B0}"/>
              </c:ext>
            </c:extLst>
          </c:dPt>
          <c:dPt>
            <c:idx val="301"/>
            <c:invertIfNegative val="1"/>
            <c:bubble3D val="0"/>
            <c:spPr>
              <a:solidFill>
                <a:srgbClr val="AEABAB"/>
              </a:solidFill>
            </c:spPr>
            <c:extLst>
              <c:ext xmlns:c16="http://schemas.microsoft.com/office/drawing/2014/chart" uri="{C3380CC4-5D6E-409C-BE32-E72D297353CC}">
                <c16:uniqueId val="{0000025D-D272-42BA-A3FD-CA763C8B55B0}"/>
              </c:ext>
            </c:extLst>
          </c:dPt>
          <c:dPt>
            <c:idx val="302"/>
            <c:invertIfNegative val="1"/>
            <c:bubble3D val="0"/>
            <c:spPr>
              <a:solidFill>
                <a:srgbClr val="AEABAB"/>
              </a:solidFill>
            </c:spPr>
            <c:extLst>
              <c:ext xmlns:c16="http://schemas.microsoft.com/office/drawing/2014/chart" uri="{C3380CC4-5D6E-409C-BE32-E72D297353CC}">
                <c16:uniqueId val="{0000025F-D272-42BA-A3FD-CA763C8B55B0}"/>
              </c:ext>
            </c:extLst>
          </c:dPt>
          <c:dPt>
            <c:idx val="303"/>
            <c:invertIfNegative val="1"/>
            <c:bubble3D val="0"/>
            <c:spPr>
              <a:solidFill>
                <a:srgbClr val="AEABAB"/>
              </a:solidFill>
            </c:spPr>
            <c:extLst>
              <c:ext xmlns:c16="http://schemas.microsoft.com/office/drawing/2014/chart" uri="{C3380CC4-5D6E-409C-BE32-E72D297353CC}">
                <c16:uniqueId val="{00000261-D272-42BA-A3FD-CA763C8B55B0}"/>
              </c:ext>
            </c:extLst>
          </c:dPt>
          <c:dPt>
            <c:idx val="304"/>
            <c:invertIfNegative val="1"/>
            <c:bubble3D val="0"/>
            <c:spPr>
              <a:solidFill>
                <a:srgbClr val="AEABAB"/>
              </a:solidFill>
            </c:spPr>
            <c:extLst>
              <c:ext xmlns:c16="http://schemas.microsoft.com/office/drawing/2014/chart" uri="{C3380CC4-5D6E-409C-BE32-E72D297353CC}">
                <c16:uniqueId val="{00000263-D272-42BA-A3FD-CA763C8B55B0}"/>
              </c:ext>
            </c:extLst>
          </c:dPt>
          <c:dPt>
            <c:idx val="305"/>
            <c:invertIfNegative val="1"/>
            <c:bubble3D val="0"/>
            <c:spPr>
              <a:solidFill>
                <a:srgbClr val="AEABAB"/>
              </a:solidFill>
            </c:spPr>
            <c:extLst>
              <c:ext xmlns:c16="http://schemas.microsoft.com/office/drawing/2014/chart" uri="{C3380CC4-5D6E-409C-BE32-E72D297353CC}">
                <c16:uniqueId val="{00000265-D272-42BA-A3FD-CA763C8B55B0}"/>
              </c:ext>
            </c:extLst>
          </c:dPt>
          <c:dPt>
            <c:idx val="306"/>
            <c:invertIfNegative val="1"/>
            <c:bubble3D val="0"/>
            <c:spPr>
              <a:solidFill>
                <a:srgbClr val="AEABAB"/>
              </a:solidFill>
            </c:spPr>
            <c:extLst>
              <c:ext xmlns:c16="http://schemas.microsoft.com/office/drawing/2014/chart" uri="{C3380CC4-5D6E-409C-BE32-E72D297353CC}">
                <c16:uniqueId val="{00000267-D272-42BA-A3FD-CA763C8B55B0}"/>
              </c:ext>
            </c:extLst>
          </c:dPt>
          <c:dPt>
            <c:idx val="307"/>
            <c:invertIfNegative val="1"/>
            <c:bubble3D val="0"/>
            <c:spPr>
              <a:solidFill>
                <a:srgbClr val="AEABAB"/>
              </a:solidFill>
            </c:spPr>
            <c:extLst>
              <c:ext xmlns:c16="http://schemas.microsoft.com/office/drawing/2014/chart" uri="{C3380CC4-5D6E-409C-BE32-E72D297353CC}">
                <c16:uniqueId val="{00000269-D272-42BA-A3FD-CA763C8B55B0}"/>
              </c:ext>
            </c:extLst>
          </c:dPt>
          <c:dPt>
            <c:idx val="308"/>
            <c:invertIfNegative val="1"/>
            <c:bubble3D val="0"/>
            <c:spPr>
              <a:solidFill>
                <a:srgbClr val="AEABAB"/>
              </a:solidFill>
            </c:spPr>
            <c:extLst>
              <c:ext xmlns:c16="http://schemas.microsoft.com/office/drawing/2014/chart" uri="{C3380CC4-5D6E-409C-BE32-E72D297353CC}">
                <c16:uniqueId val="{0000026B-D272-42BA-A3FD-CA763C8B55B0}"/>
              </c:ext>
            </c:extLst>
          </c:dPt>
          <c:dPt>
            <c:idx val="309"/>
            <c:invertIfNegative val="1"/>
            <c:bubble3D val="0"/>
            <c:spPr>
              <a:solidFill>
                <a:srgbClr val="AEABAB"/>
              </a:solidFill>
            </c:spPr>
            <c:extLst>
              <c:ext xmlns:c16="http://schemas.microsoft.com/office/drawing/2014/chart" uri="{C3380CC4-5D6E-409C-BE32-E72D297353CC}">
                <c16:uniqueId val="{0000026D-D272-42BA-A3FD-CA763C8B55B0}"/>
              </c:ext>
            </c:extLst>
          </c:dPt>
          <c:dPt>
            <c:idx val="310"/>
            <c:invertIfNegative val="1"/>
            <c:bubble3D val="0"/>
            <c:spPr>
              <a:solidFill>
                <a:srgbClr val="AEABAB"/>
              </a:solidFill>
            </c:spPr>
            <c:extLst>
              <c:ext xmlns:c16="http://schemas.microsoft.com/office/drawing/2014/chart" uri="{C3380CC4-5D6E-409C-BE32-E72D297353CC}">
                <c16:uniqueId val="{0000026F-D272-42BA-A3FD-CA763C8B55B0}"/>
              </c:ext>
            </c:extLst>
          </c:dPt>
          <c:dPt>
            <c:idx val="311"/>
            <c:invertIfNegative val="1"/>
            <c:bubble3D val="0"/>
            <c:spPr>
              <a:solidFill>
                <a:srgbClr val="AEABAB"/>
              </a:solidFill>
            </c:spPr>
            <c:extLst>
              <c:ext xmlns:c16="http://schemas.microsoft.com/office/drawing/2014/chart" uri="{C3380CC4-5D6E-409C-BE32-E72D297353CC}">
                <c16:uniqueId val="{00000271-D272-42BA-A3FD-CA763C8B55B0}"/>
              </c:ext>
            </c:extLst>
          </c:dPt>
          <c:dPt>
            <c:idx val="312"/>
            <c:invertIfNegative val="1"/>
            <c:bubble3D val="0"/>
            <c:spPr>
              <a:solidFill>
                <a:srgbClr val="AEABAB"/>
              </a:solidFill>
            </c:spPr>
            <c:extLst>
              <c:ext xmlns:c16="http://schemas.microsoft.com/office/drawing/2014/chart" uri="{C3380CC4-5D6E-409C-BE32-E72D297353CC}">
                <c16:uniqueId val="{00000273-D272-42BA-A3FD-CA763C8B55B0}"/>
              </c:ext>
            </c:extLst>
          </c:dPt>
          <c:dPt>
            <c:idx val="313"/>
            <c:invertIfNegative val="1"/>
            <c:bubble3D val="0"/>
            <c:spPr>
              <a:solidFill>
                <a:srgbClr val="AEABAB"/>
              </a:solidFill>
            </c:spPr>
            <c:extLst>
              <c:ext xmlns:c16="http://schemas.microsoft.com/office/drawing/2014/chart" uri="{C3380CC4-5D6E-409C-BE32-E72D297353CC}">
                <c16:uniqueId val="{00000275-D272-42BA-A3FD-CA763C8B55B0}"/>
              </c:ext>
            </c:extLst>
          </c:dPt>
          <c:dPt>
            <c:idx val="314"/>
            <c:invertIfNegative val="1"/>
            <c:bubble3D val="0"/>
            <c:spPr>
              <a:solidFill>
                <a:srgbClr val="AEABAB"/>
              </a:solidFill>
            </c:spPr>
            <c:extLst>
              <c:ext xmlns:c16="http://schemas.microsoft.com/office/drawing/2014/chart" uri="{C3380CC4-5D6E-409C-BE32-E72D297353CC}">
                <c16:uniqueId val="{00000277-D272-42BA-A3FD-CA763C8B55B0}"/>
              </c:ext>
            </c:extLst>
          </c:dPt>
          <c:dPt>
            <c:idx val="315"/>
            <c:invertIfNegative val="1"/>
            <c:bubble3D val="0"/>
            <c:spPr>
              <a:solidFill>
                <a:srgbClr val="AEABAB"/>
              </a:solidFill>
            </c:spPr>
            <c:extLst>
              <c:ext xmlns:c16="http://schemas.microsoft.com/office/drawing/2014/chart" uri="{C3380CC4-5D6E-409C-BE32-E72D297353CC}">
                <c16:uniqueId val="{00000279-D272-42BA-A3FD-CA763C8B55B0}"/>
              </c:ext>
            </c:extLst>
          </c:dPt>
          <c:dPt>
            <c:idx val="316"/>
            <c:invertIfNegative val="1"/>
            <c:bubble3D val="0"/>
            <c:spPr>
              <a:solidFill>
                <a:srgbClr val="AEABAB"/>
              </a:solidFill>
            </c:spPr>
            <c:extLst>
              <c:ext xmlns:c16="http://schemas.microsoft.com/office/drawing/2014/chart" uri="{C3380CC4-5D6E-409C-BE32-E72D297353CC}">
                <c16:uniqueId val="{0000027B-D272-42BA-A3FD-CA763C8B55B0}"/>
              </c:ext>
            </c:extLst>
          </c:dPt>
          <c:dPt>
            <c:idx val="317"/>
            <c:invertIfNegative val="1"/>
            <c:bubble3D val="0"/>
            <c:spPr>
              <a:solidFill>
                <a:srgbClr val="AEABAB"/>
              </a:solidFill>
            </c:spPr>
            <c:extLst>
              <c:ext xmlns:c16="http://schemas.microsoft.com/office/drawing/2014/chart" uri="{C3380CC4-5D6E-409C-BE32-E72D297353CC}">
                <c16:uniqueId val="{0000027D-D272-42BA-A3FD-CA763C8B55B0}"/>
              </c:ext>
            </c:extLst>
          </c:dPt>
          <c:dPt>
            <c:idx val="318"/>
            <c:invertIfNegative val="1"/>
            <c:bubble3D val="0"/>
            <c:spPr>
              <a:solidFill>
                <a:srgbClr val="AEABAB"/>
              </a:solidFill>
            </c:spPr>
            <c:extLst>
              <c:ext xmlns:c16="http://schemas.microsoft.com/office/drawing/2014/chart" uri="{C3380CC4-5D6E-409C-BE32-E72D297353CC}">
                <c16:uniqueId val="{0000027F-D272-42BA-A3FD-CA763C8B55B0}"/>
              </c:ext>
            </c:extLst>
          </c:dPt>
          <c:dPt>
            <c:idx val="319"/>
            <c:invertIfNegative val="1"/>
            <c:bubble3D val="0"/>
            <c:spPr>
              <a:solidFill>
                <a:srgbClr val="AEABAB"/>
              </a:solidFill>
            </c:spPr>
            <c:extLst>
              <c:ext xmlns:c16="http://schemas.microsoft.com/office/drawing/2014/chart" uri="{C3380CC4-5D6E-409C-BE32-E72D297353CC}">
                <c16:uniqueId val="{00000281-D272-42BA-A3FD-CA763C8B55B0}"/>
              </c:ext>
            </c:extLst>
          </c:dPt>
          <c:dPt>
            <c:idx val="320"/>
            <c:invertIfNegative val="1"/>
            <c:bubble3D val="0"/>
            <c:spPr>
              <a:solidFill>
                <a:srgbClr val="AEABAB"/>
              </a:solidFill>
            </c:spPr>
            <c:extLst>
              <c:ext xmlns:c16="http://schemas.microsoft.com/office/drawing/2014/chart" uri="{C3380CC4-5D6E-409C-BE32-E72D297353CC}">
                <c16:uniqueId val="{00000283-D272-42BA-A3FD-CA763C8B55B0}"/>
              </c:ext>
            </c:extLst>
          </c:dPt>
          <c:dPt>
            <c:idx val="321"/>
            <c:invertIfNegative val="1"/>
            <c:bubble3D val="0"/>
            <c:spPr>
              <a:solidFill>
                <a:srgbClr val="AEABAB"/>
              </a:solidFill>
            </c:spPr>
            <c:extLst>
              <c:ext xmlns:c16="http://schemas.microsoft.com/office/drawing/2014/chart" uri="{C3380CC4-5D6E-409C-BE32-E72D297353CC}">
                <c16:uniqueId val="{00000285-D272-42BA-A3FD-CA763C8B55B0}"/>
              </c:ext>
            </c:extLst>
          </c:dPt>
          <c:dPt>
            <c:idx val="322"/>
            <c:invertIfNegative val="1"/>
            <c:bubble3D val="0"/>
            <c:spPr>
              <a:solidFill>
                <a:srgbClr val="AEABAB"/>
              </a:solidFill>
            </c:spPr>
            <c:extLst>
              <c:ext xmlns:c16="http://schemas.microsoft.com/office/drawing/2014/chart" uri="{C3380CC4-5D6E-409C-BE32-E72D297353CC}">
                <c16:uniqueId val="{00000287-D272-42BA-A3FD-CA763C8B55B0}"/>
              </c:ext>
            </c:extLst>
          </c:dPt>
          <c:dPt>
            <c:idx val="323"/>
            <c:invertIfNegative val="1"/>
            <c:bubble3D val="0"/>
            <c:spPr>
              <a:solidFill>
                <a:srgbClr val="AEABAB"/>
              </a:solidFill>
            </c:spPr>
            <c:extLst>
              <c:ext xmlns:c16="http://schemas.microsoft.com/office/drawing/2014/chart" uri="{C3380CC4-5D6E-409C-BE32-E72D297353CC}">
                <c16:uniqueId val="{00000289-D272-42BA-A3FD-CA763C8B55B0}"/>
              </c:ext>
            </c:extLst>
          </c:dPt>
          <c:dPt>
            <c:idx val="324"/>
            <c:invertIfNegative val="1"/>
            <c:bubble3D val="0"/>
            <c:spPr>
              <a:solidFill>
                <a:srgbClr val="AEABAB"/>
              </a:solidFill>
            </c:spPr>
            <c:extLst>
              <c:ext xmlns:c16="http://schemas.microsoft.com/office/drawing/2014/chart" uri="{C3380CC4-5D6E-409C-BE32-E72D297353CC}">
                <c16:uniqueId val="{0000028B-D272-42BA-A3FD-CA763C8B55B0}"/>
              </c:ext>
            </c:extLst>
          </c:dPt>
          <c:dPt>
            <c:idx val="325"/>
            <c:invertIfNegative val="1"/>
            <c:bubble3D val="0"/>
            <c:spPr>
              <a:solidFill>
                <a:srgbClr val="AEABAB"/>
              </a:solidFill>
            </c:spPr>
            <c:extLst>
              <c:ext xmlns:c16="http://schemas.microsoft.com/office/drawing/2014/chart" uri="{C3380CC4-5D6E-409C-BE32-E72D297353CC}">
                <c16:uniqueId val="{0000028D-D272-42BA-A3FD-CA763C8B55B0}"/>
              </c:ext>
            </c:extLst>
          </c:dPt>
          <c:dPt>
            <c:idx val="326"/>
            <c:invertIfNegative val="1"/>
            <c:bubble3D val="0"/>
            <c:spPr>
              <a:solidFill>
                <a:srgbClr val="AEABAB"/>
              </a:solidFill>
            </c:spPr>
            <c:extLst>
              <c:ext xmlns:c16="http://schemas.microsoft.com/office/drawing/2014/chart" uri="{C3380CC4-5D6E-409C-BE32-E72D297353CC}">
                <c16:uniqueId val="{0000028F-D272-42BA-A3FD-CA763C8B55B0}"/>
              </c:ext>
            </c:extLst>
          </c:dPt>
          <c:dPt>
            <c:idx val="327"/>
            <c:invertIfNegative val="1"/>
            <c:bubble3D val="0"/>
            <c:spPr>
              <a:solidFill>
                <a:srgbClr val="AEABAB"/>
              </a:solidFill>
            </c:spPr>
            <c:extLst>
              <c:ext xmlns:c16="http://schemas.microsoft.com/office/drawing/2014/chart" uri="{C3380CC4-5D6E-409C-BE32-E72D297353CC}">
                <c16:uniqueId val="{00000291-D272-42BA-A3FD-CA763C8B55B0}"/>
              </c:ext>
            </c:extLst>
          </c:dPt>
          <c:dPt>
            <c:idx val="328"/>
            <c:invertIfNegative val="1"/>
            <c:bubble3D val="0"/>
            <c:spPr>
              <a:solidFill>
                <a:srgbClr val="AEABAB"/>
              </a:solidFill>
            </c:spPr>
            <c:extLst>
              <c:ext xmlns:c16="http://schemas.microsoft.com/office/drawing/2014/chart" uri="{C3380CC4-5D6E-409C-BE32-E72D297353CC}">
                <c16:uniqueId val="{00000293-D272-42BA-A3FD-CA763C8B55B0}"/>
              </c:ext>
            </c:extLst>
          </c:dPt>
          <c:dPt>
            <c:idx val="329"/>
            <c:invertIfNegative val="1"/>
            <c:bubble3D val="0"/>
            <c:spPr>
              <a:solidFill>
                <a:srgbClr val="AEABAB"/>
              </a:solidFill>
            </c:spPr>
            <c:extLst>
              <c:ext xmlns:c16="http://schemas.microsoft.com/office/drawing/2014/chart" uri="{C3380CC4-5D6E-409C-BE32-E72D297353CC}">
                <c16:uniqueId val="{00000295-D272-42BA-A3FD-CA763C8B55B0}"/>
              </c:ext>
            </c:extLst>
          </c:dPt>
          <c:dPt>
            <c:idx val="330"/>
            <c:invertIfNegative val="1"/>
            <c:bubble3D val="0"/>
            <c:spPr>
              <a:solidFill>
                <a:srgbClr val="AEABAB"/>
              </a:solidFill>
            </c:spPr>
            <c:extLst>
              <c:ext xmlns:c16="http://schemas.microsoft.com/office/drawing/2014/chart" uri="{C3380CC4-5D6E-409C-BE32-E72D297353CC}">
                <c16:uniqueId val="{00000297-D272-42BA-A3FD-CA763C8B55B0}"/>
              </c:ext>
            </c:extLst>
          </c:dPt>
          <c:dPt>
            <c:idx val="331"/>
            <c:invertIfNegative val="1"/>
            <c:bubble3D val="0"/>
            <c:spPr>
              <a:solidFill>
                <a:srgbClr val="AEABAB"/>
              </a:solidFill>
            </c:spPr>
            <c:extLst>
              <c:ext xmlns:c16="http://schemas.microsoft.com/office/drawing/2014/chart" uri="{C3380CC4-5D6E-409C-BE32-E72D297353CC}">
                <c16:uniqueId val="{00000299-D272-42BA-A3FD-CA763C8B55B0}"/>
              </c:ext>
            </c:extLst>
          </c:dPt>
          <c:dPt>
            <c:idx val="332"/>
            <c:invertIfNegative val="1"/>
            <c:bubble3D val="0"/>
            <c:spPr>
              <a:solidFill>
                <a:srgbClr val="AEABAB"/>
              </a:solidFill>
            </c:spPr>
            <c:extLst>
              <c:ext xmlns:c16="http://schemas.microsoft.com/office/drawing/2014/chart" uri="{C3380CC4-5D6E-409C-BE32-E72D297353CC}">
                <c16:uniqueId val="{0000029B-D272-42BA-A3FD-CA763C8B55B0}"/>
              </c:ext>
            </c:extLst>
          </c:dPt>
          <c:dPt>
            <c:idx val="333"/>
            <c:invertIfNegative val="1"/>
            <c:bubble3D val="0"/>
            <c:spPr>
              <a:solidFill>
                <a:srgbClr val="AEABAB"/>
              </a:solidFill>
            </c:spPr>
            <c:extLst>
              <c:ext xmlns:c16="http://schemas.microsoft.com/office/drawing/2014/chart" uri="{C3380CC4-5D6E-409C-BE32-E72D297353CC}">
                <c16:uniqueId val="{0000029D-D272-42BA-A3FD-CA763C8B55B0}"/>
              </c:ext>
            </c:extLst>
          </c:dPt>
          <c:dPt>
            <c:idx val="334"/>
            <c:invertIfNegative val="1"/>
            <c:bubble3D val="0"/>
            <c:spPr>
              <a:solidFill>
                <a:srgbClr val="AEABAB"/>
              </a:solidFill>
            </c:spPr>
            <c:extLst>
              <c:ext xmlns:c16="http://schemas.microsoft.com/office/drawing/2014/chart" uri="{C3380CC4-5D6E-409C-BE32-E72D297353CC}">
                <c16:uniqueId val="{0000029F-D272-42BA-A3FD-CA763C8B55B0}"/>
              </c:ext>
            </c:extLst>
          </c:dPt>
          <c:dPt>
            <c:idx val="335"/>
            <c:invertIfNegative val="1"/>
            <c:bubble3D val="0"/>
            <c:spPr>
              <a:solidFill>
                <a:srgbClr val="AEABAB"/>
              </a:solidFill>
            </c:spPr>
            <c:extLst>
              <c:ext xmlns:c16="http://schemas.microsoft.com/office/drawing/2014/chart" uri="{C3380CC4-5D6E-409C-BE32-E72D297353CC}">
                <c16:uniqueId val="{000002A1-D272-42BA-A3FD-CA763C8B55B0}"/>
              </c:ext>
            </c:extLst>
          </c:dPt>
          <c:dPt>
            <c:idx val="336"/>
            <c:invertIfNegative val="1"/>
            <c:bubble3D val="0"/>
            <c:spPr>
              <a:solidFill>
                <a:srgbClr val="AEABAB"/>
              </a:solidFill>
            </c:spPr>
            <c:extLst>
              <c:ext xmlns:c16="http://schemas.microsoft.com/office/drawing/2014/chart" uri="{C3380CC4-5D6E-409C-BE32-E72D297353CC}">
                <c16:uniqueId val="{000002A3-D272-42BA-A3FD-CA763C8B55B0}"/>
              </c:ext>
            </c:extLst>
          </c:dPt>
          <c:dPt>
            <c:idx val="337"/>
            <c:invertIfNegative val="1"/>
            <c:bubble3D val="0"/>
            <c:spPr>
              <a:solidFill>
                <a:srgbClr val="AEABAB"/>
              </a:solidFill>
            </c:spPr>
            <c:extLst>
              <c:ext xmlns:c16="http://schemas.microsoft.com/office/drawing/2014/chart" uri="{C3380CC4-5D6E-409C-BE32-E72D297353CC}">
                <c16:uniqueId val="{000002A5-D272-42BA-A3FD-CA763C8B55B0}"/>
              </c:ext>
            </c:extLst>
          </c:dPt>
          <c:dPt>
            <c:idx val="338"/>
            <c:invertIfNegative val="1"/>
            <c:bubble3D val="0"/>
            <c:spPr>
              <a:solidFill>
                <a:srgbClr val="AEABAB"/>
              </a:solidFill>
            </c:spPr>
            <c:extLst>
              <c:ext xmlns:c16="http://schemas.microsoft.com/office/drawing/2014/chart" uri="{C3380CC4-5D6E-409C-BE32-E72D297353CC}">
                <c16:uniqueId val="{000002A7-D272-42BA-A3FD-CA763C8B55B0}"/>
              </c:ext>
            </c:extLst>
          </c:dPt>
          <c:dPt>
            <c:idx val="339"/>
            <c:invertIfNegative val="1"/>
            <c:bubble3D val="0"/>
            <c:spPr>
              <a:solidFill>
                <a:srgbClr val="AEABAB"/>
              </a:solidFill>
            </c:spPr>
            <c:extLst>
              <c:ext xmlns:c16="http://schemas.microsoft.com/office/drawing/2014/chart" uri="{C3380CC4-5D6E-409C-BE32-E72D297353CC}">
                <c16:uniqueId val="{000002A9-D272-42BA-A3FD-CA763C8B55B0}"/>
              </c:ext>
            </c:extLst>
          </c:dPt>
          <c:dPt>
            <c:idx val="340"/>
            <c:invertIfNegative val="1"/>
            <c:bubble3D val="0"/>
            <c:spPr>
              <a:solidFill>
                <a:srgbClr val="AEABAB"/>
              </a:solidFill>
            </c:spPr>
            <c:extLst>
              <c:ext xmlns:c16="http://schemas.microsoft.com/office/drawing/2014/chart" uri="{C3380CC4-5D6E-409C-BE32-E72D297353CC}">
                <c16:uniqueId val="{000002AB-D272-42BA-A3FD-CA763C8B55B0}"/>
              </c:ext>
            </c:extLst>
          </c:dPt>
          <c:dPt>
            <c:idx val="341"/>
            <c:invertIfNegative val="1"/>
            <c:bubble3D val="0"/>
            <c:spPr>
              <a:solidFill>
                <a:srgbClr val="AEABAB"/>
              </a:solidFill>
            </c:spPr>
            <c:extLst>
              <c:ext xmlns:c16="http://schemas.microsoft.com/office/drawing/2014/chart" uri="{C3380CC4-5D6E-409C-BE32-E72D297353CC}">
                <c16:uniqueId val="{000002AD-D272-42BA-A3FD-CA763C8B55B0}"/>
              </c:ext>
            </c:extLst>
          </c:dPt>
          <c:dPt>
            <c:idx val="342"/>
            <c:invertIfNegative val="1"/>
            <c:bubble3D val="0"/>
            <c:spPr>
              <a:solidFill>
                <a:srgbClr val="AEABAB"/>
              </a:solidFill>
            </c:spPr>
            <c:extLst>
              <c:ext xmlns:c16="http://schemas.microsoft.com/office/drawing/2014/chart" uri="{C3380CC4-5D6E-409C-BE32-E72D297353CC}">
                <c16:uniqueId val="{000002AF-D272-42BA-A3FD-CA763C8B55B0}"/>
              </c:ext>
            </c:extLst>
          </c:dPt>
          <c:dPt>
            <c:idx val="343"/>
            <c:invertIfNegative val="1"/>
            <c:bubble3D val="0"/>
            <c:spPr>
              <a:solidFill>
                <a:srgbClr val="AEABAB"/>
              </a:solidFill>
            </c:spPr>
            <c:extLst>
              <c:ext xmlns:c16="http://schemas.microsoft.com/office/drawing/2014/chart" uri="{C3380CC4-5D6E-409C-BE32-E72D297353CC}">
                <c16:uniqueId val="{000002B1-D272-42BA-A3FD-CA763C8B55B0}"/>
              </c:ext>
            </c:extLst>
          </c:dPt>
          <c:dPt>
            <c:idx val="344"/>
            <c:invertIfNegative val="1"/>
            <c:bubble3D val="0"/>
            <c:spPr>
              <a:solidFill>
                <a:srgbClr val="AEABAB"/>
              </a:solidFill>
            </c:spPr>
            <c:extLst>
              <c:ext xmlns:c16="http://schemas.microsoft.com/office/drawing/2014/chart" uri="{C3380CC4-5D6E-409C-BE32-E72D297353CC}">
                <c16:uniqueId val="{000002B3-D272-42BA-A3FD-CA763C8B55B0}"/>
              </c:ext>
            </c:extLst>
          </c:dPt>
          <c:dPt>
            <c:idx val="345"/>
            <c:invertIfNegative val="1"/>
            <c:bubble3D val="0"/>
            <c:spPr>
              <a:solidFill>
                <a:srgbClr val="AEABAB"/>
              </a:solidFill>
            </c:spPr>
            <c:extLst>
              <c:ext xmlns:c16="http://schemas.microsoft.com/office/drawing/2014/chart" uri="{C3380CC4-5D6E-409C-BE32-E72D297353CC}">
                <c16:uniqueId val="{000002B5-D272-42BA-A3FD-CA763C8B55B0}"/>
              </c:ext>
            </c:extLst>
          </c:dPt>
          <c:dPt>
            <c:idx val="346"/>
            <c:invertIfNegative val="1"/>
            <c:bubble3D val="0"/>
            <c:spPr>
              <a:solidFill>
                <a:srgbClr val="AEABAB"/>
              </a:solidFill>
            </c:spPr>
            <c:extLst>
              <c:ext xmlns:c16="http://schemas.microsoft.com/office/drawing/2014/chart" uri="{C3380CC4-5D6E-409C-BE32-E72D297353CC}">
                <c16:uniqueId val="{000002B7-D272-42BA-A3FD-CA763C8B55B0}"/>
              </c:ext>
            </c:extLst>
          </c:dPt>
          <c:dPt>
            <c:idx val="347"/>
            <c:invertIfNegative val="1"/>
            <c:bubble3D val="0"/>
            <c:spPr>
              <a:solidFill>
                <a:srgbClr val="AEABAB"/>
              </a:solidFill>
            </c:spPr>
            <c:extLst>
              <c:ext xmlns:c16="http://schemas.microsoft.com/office/drawing/2014/chart" uri="{C3380CC4-5D6E-409C-BE32-E72D297353CC}">
                <c16:uniqueId val="{000002B9-D272-42BA-A3FD-CA763C8B55B0}"/>
              </c:ext>
            </c:extLst>
          </c:dPt>
          <c:dPt>
            <c:idx val="348"/>
            <c:invertIfNegative val="1"/>
            <c:bubble3D val="0"/>
            <c:spPr>
              <a:solidFill>
                <a:srgbClr val="AEABAB"/>
              </a:solidFill>
            </c:spPr>
            <c:extLst>
              <c:ext xmlns:c16="http://schemas.microsoft.com/office/drawing/2014/chart" uri="{C3380CC4-5D6E-409C-BE32-E72D297353CC}">
                <c16:uniqueId val="{000002BB-D272-42BA-A3FD-CA763C8B55B0}"/>
              </c:ext>
            </c:extLst>
          </c:dPt>
          <c:dPt>
            <c:idx val="349"/>
            <c:invertIfNegative val="1"/>
            <c:bubble3D val="0"/>
            <c:spPr>
              <a:solidFill>
                <a:srgbClr val="AEABAB"/>
              </a:solidFill>
            </c:spPr>
            <c:extLst>
              <c:ext xmlns:c16="http://schemas.microsoft.com/office/drawing/2014/chart" uri="{C3380CC4-5D6E-409C-BE32-E72D297353CC}">
                <c16:uniqueId val="{000002BD-D272-42BA-A3FD-CA763C8B55B0}"/>
              </c:ext>
            </c:extLst>
          </c:dPt>
          <c:dPt>
            <c:idx val="350"/>
            <c:invertIfNegative val="1"/>
            <c:bubble3D val="0"/>
            <c:spPr>
              <a:solidFill>
                <a:srgbClr val="AEABAB"/>
              </a:solidFill>
            </c:spPr>
            <c:extLst>
              <c:ext xmlns:c16="http://schemas.microsoft.com/office/drawing/2014/chart" uri="{C3380CC4-5D6E-409C-BE32-E72D297353CC}">
                <c16:uniqueId val="{000002BF-D272-42BA-A3FD-CA763C8B55B0}"/>
              </c:ext>
            </c:extLst>
          </c:dPt>
          <c:dPt>
            <c:idx val="351"/>
            <c:invertIfNegative val="1"/>
            <c:bubble3D val="0"/>
            <c:spPr>
              <a:solidFill>
                <a:srgbClr val="AEABAB"/>
              </a:solidFill>
            </c:spPr>
            <c:extLst>
              <c:ext xmlns:c16="http://schemas.microsoft.com/office/drawing/2014/chart" uri="{C3380CC4-5D6E-409C-BE32-E72D297353CC}">
                <c16:uniqueId val="{000002C1-D272-42BA-A3FD-CA763C8B55B0}"/>
              </c:ext>
            </c:extLst>
          </c:dPt>
          <c:dPt>
            <c:idx val="352"/>
            <c:invertIfNegative val="1"/>
            <c:bubble3D val="0"/>
            <c:spPr>
              <a:solidFill>
                <a:srgbClr val="AEABAB"/>
              </a:solidFill>
            </c:spPr>
            <c:extLst>
              <c:ext xmlns:c16="http://schemas.microsoft.com/office/drawing/2014/chart" uri="{C3380CC4-5D6E-409C-BE32-E72D297353CC}">
                <c16:uniqueId val="{000002C3-D272-42BA-A3FD-CA763C8B55B0}"/>
              </c:ext>
            </c:extLst>
          </c:dPt>
          <c:dPt>
            <c:idx val="353"/>
            <c:invertIfNegative val="1"/>
            <c:bubble3D val="0"/>
            <c:spPr>
              <a:solidFill>
                <a:srgbClr val="AEABAB"/>
              </a:solidFill>
            </c:spPr>
            <c:extLst>
              <c:ext xmlns:c16="http://schemas.microsoft.com/office/drawing/2014/chart" uri="{C3380CC4-5D6E-409C-BE32-E72D297353CC}">
                <c16:uniqueId val="{000002C5-D272-42BA-A3FD-CA763C8B55B0}"/>
              </c:ext>
            </c:extLst>
          </c:dPt>
          <c:dPt>
            <c:idx val="354"/>
            <c:invertIfNegative val="1"/>
            <c:bubble3D val="0"/>
            <c:spPr>
              <a:solidFill>
                <a:srgbClr val="AEABAB"/>
              </a:solidFill>
            </c:spPr>
            <c:extLst>
              <c:ext xmlns:c16="http://schemas.microsoft.com/office/drawing/2014/chart" uri="{C3380CC4-5D6E-409C-BE32-E72D297353CC}">
                <c16:uniqueId val="{000002C7-D272-42BA-A3FD-CA763C8B55B0}"/>
              </c:ext>
            </c:extLst>
          </c:dPt>
          <c:dPt>
            <c:idx val="355"/>
            <c:invertIfNegative val="1"/>
            <c:bubble3D val="0"/>
            <c:spPr>
              <a:solidFill>
                <a:srgbClr val="AEABAB"/>
              </a:solidFill>
            </c:spPr>
            <c:extLst>
              <c:ext xmlns:c16="http://schemas.microsoft.com/office/drawing/2014/chart" uri="{C3380CC4-5D6E-409C-BE32-E72D297353CC}">
                <c16:uniqueId val="{000002C9-D272-42BA-A3FD-CA763C8B55B0}"/>
              </c:ext>
            </c:extLst>
          </c:dPt>
          <c:dPt>
            <c:idx val="356"/>
            <c:invertIfNegative val="1"/>
            <c:bubble3D val="0"/>
            <c:spPr>
              <a:solidFill>
                <a:srgbClr val="AEABAB"/>
              </a:solidFill>
            </c:spPr>
            <c:extLst>
              <c:ext xmlns:c16="http://schemas.microsoft.com/office/drawing/2014/chart" uri="{C3380CC4-5D6E-409C-BE32-E72D297353CC}">
                <c16:uniqueId val="{000002CB-D272-42BA-A3FD-CA763C8B55B0}"/>
              </c:ext>
            </c:extLst>
          </c:dPt>
          <c:dPt>
            <c:idx val="357"/>
            <c:invertIfNegative val="1"/>
            <c:bubble3D val="0"/>
            <c:spPr>
              <a:solidFill>
                <a:srgbClr val="AEABAB"/>
              </a:solidFill>
            </c:spPr>
            <c:extLst>
              <c:ext xmlns:c16="http://schemas.microsoft.com/office/drawing/2014/chart" uri="{C3380CC4-5D6E-409C-BE32-E72D297353CC}">
                <c16:uniqueId val="{000002CD-D272-42BA-A3FD-CA763C8B55B0}"/>
              </c:ext>
            </c:extLst>
          </c:dPt>
          <c:dPt>
            <c:idx val="358"/>
            <c:invertIfNegative val="1"/>
            <c:bubble3D val="0"/>
            <c:spPr>
              <a:solidFill>
                <a:srgbClr val="AEABAB"/>
              </a:solidFill>
            </c:spPr>
            <c:extLst>
              <c:ext xmlns:c16="http://schemas.microsoft.com/office/drawing/2014/chart" uri="{C3380CC4-5D6E-409C-BE32-E72D297353CC}">
                <c16:uniqueId val="{000002CF-D272-42BA-A3FD-CA763C8B55B0}"/>
              </c:ext>
            </c:extLst>
          </c:dPt>
          <c:dPt>
            <c:idx val="359"/>
            <c:invertIfNegative val="1"/>
            <c:bubble3D val="0"/>
            <c:spPr>
              <a:solidFill>
                <a:srgbClr val="AEABAB"/>
              </a:solidFill>
            </c:spPr>
            <c:extLst>
              <c:ext xmlns:c16="http://schemas.microsoft.com/office/drawing/2014/chart" uri="{C3380CC4-5D6E-409C-BE32-E72D297353CC}">
                <c16:uniqueId val="{000002D1-D272-42BA-A3FD-CA763C8B55B0}"/>
              </c:ext>
            </c:extLst>
          </c:dPt>
          <c:dPt>
            <c:idx val="360"/>
            <c:invertIfNegative val="1"/>
            <c:bubble3D val="0"/>
            <c:spPr>
              <a:solidFill>
                <a:srgbClr val="AEABAB"/>
              </a:solidFill>
            </c:spPr>
            <c:extLst>
              <c:ext xmlns:c16="http://schemas.microsoft.com/office/drawing/2014/chart" uri="{C3380CC4-5D6E-409C-BE32-E72D297353CC}">
                <c16:uniqueId val="{000002D3-D272-42BA-A3FD-CA763C8B55B0}"/>
              </c:ext>
            </c:extLst>
          </c:dPt>
          <c:dPt>
            <c:idx val="361"/>
            <c:invertIfNegative val="1"/>
            <c:bubble3D val="0"/>
            <c:spPr>
              <a:solidFill>
                <a:srgbClr val="AEABAB"/>
              </a:solidFill>
            </c:spPr>
            <c:extLst>
              <c:ext xmlns:c16="http://schemas.microsoft.com/office/drawing/2014/chart" uri="{C3380CC4-5D6E-409C-BE32-E72D297353CC}">
                <c16:uniqueId val="{000002D5-D272-42BA-A3FD-CA763C8B55B0}"/>
              </c:ext>
            </c:extLst>
          </c:dPt>
          <c:dPt>
            <c:idx val="362"/>
            <c:invertIfNegative val="1"/>
            <c:bubble3D val="0"/>
            <c:spPr>
              <a:solidFill>
                <a:srgbClr val="AEABAB"/>
              </a:solidFill>
            </c:spPr>
            <c:extLst>
              <c:ext xmlns:c16="http://schemas.microsoft.com/office/drawing/2014/chart" uri="{C3380CC4-5D6E-409C-BE32-E72D297353CC}">
                <c16:uniqueId val="{000002D7-D272-42BA-A3FD-CA763C8B55B0}"/>
              </c:ext>
            </c:extLst>
          </c:dPt>
          <c:dPt>
            <c:idx val="363"/>
            <c:invertIfNegative val="1"/>
            <c:bubble3D val="0"/>
            <c:spPr>
              <a:solidFill>
                <a:srgbClr val="AEABAB"/>
              </a:solidFill>
            </c:spPr>
            <c:extLst>
              <c:ext xmlns:c16="http://schemas.microsoft.com/office/drawing/2014/chart" uri="{C3380CC4-5D6E-409C-BE32-E72D297353CC}">
                <c16:uniqueId val="{000002D9-D272-42BA-A3FD-CA763C8B55B0}"/>
              </c:ext>
            </c:extLst>
          </c:dPt>
          <c:dPt>
            <c:idx val="364"/>
            <c:invertIfNegative val="1"/>
            <c:bubble3D val="0"/>
            <c:spPr>
              <a:solidFill>
                <a:srgbClr val="AEABAB"/>
              </a:solidFill>
            </c:spPr>
            <c:extLst>
              <c:ext xmlns:c16="http://schemas.microsoft.com/office/drawing/2014/chart" uri="{C3380CC4-5D6E-409C-BE32-E72D297353CC}">
                <c16:uniqueId val="{000002DB-D272-42BA-A3FD-CA763C8B55B0}"/>
              </c:ext>
            </c:extLst>
          </c:dPt>
          <c:dPt>
            <c:idx val="365"/>
            <c:invertIfNegative val="1"/>
            <c:bubble3D val="0"/>
            <c:spPr>
              <a:solidFill>
                <a:srgbClr val="AEABAB"/>
              </a:solidFill>
            </c:spPr>
            <c:extLst>
              <c:ext xmlns:c16="http://schemas.microsoft.com/office/drawing/2014/chart" uri="{C3380CC4-5D6E-409C-BE32-E72D297353CC}">
                <c16:uniqueId val="{000002DD-D272-42BA-A3FD-CA763C8B55B0}"/>
              </c:ext>
            </c:extLst>
          </c:dPt>
          <c:dPt>
            <c:idx val="366"/>
            <c:invertIfNegative val="1"/>
            <c:bubble3D val="0"/>
            <c:spPr>
              <a:solidFill>
                <a:srgbClr val="AEABAB"/>
              </a:solidFill>
            </c:spPr>
            <c:extLst>
              <c:ext xmlns:c16="http://schemas.microsoft.com/office/drawing/2014/chart" uri="{C3380CC4-5D6E-409C-BE32-E72D297353CC}">
                <c16:uniqueId val="{000002DF-D272-42BA-A3FD-CA763C8B55B0}"/>
              </c:ext>
            </c:extLst>
          </c:dPt>
          <c:dPt>
            <c:idx val="367"/>
            <c:invertIfNegative val="1"/>
            <c:bubble3D val="0"/>
            <c:spPr>
              <a:solidFill>
                <a:srgbClr val="AEABAB"/>
              </a:solidFill>
            </c:spPr>
            <c:extLst>
              <c:ext xmlns:c16="http://schemas.microsoft.com/office/drawing/2014/chart" uri="{C3380CC4-5D6E-409C-BE32-E72D297353CC}">
                <c16:uniqueId val="{000002E1-D272-42BA-A3FD-CA763C8B55B0}"/>
              </c:ext>
            </c:extLst>
          </c:dPt>
          <c:dPt>
            <c:idx val="368"/>
            <c:invertIfNegative val="1"/>
            <c:bubble3D val="0"/>
            <c:spPr>
              <a:solidFill>
                <a:srgbClr val="AEABAB"/>
              </a:solidFill>
            </c:spPr>
            <c:extLst>
              <c:ext xmlns:c16="http://schemas.microsoft.com/office/drawing/2014/chart" uri="{C3380CC4-5D6E-409C-BE32-E72D297353CC}">
                <c16:uniqueId val="{000002E3-D272-42BA-A3FD-CA763C8B55B0}"/>
              </c:ext>
            </c:extLst>
          </c:dPt>
          <c:dPt>
            <c:idx val="369"/>
            <c:invertIfNegative val="1"/>
            <c:bubble3D val="0"/>
            <c:spPr>
              <a:solidFill>
                <a:srgbClr val="AEABAB"/>
              </a:solidFill>
            </c:spPr>
            <c:extLst>
              <c:ext xmlns:c16="http://schemas.microsoft.com/office/drawing/2014/chart" uri="{C3380CC4-5D6E-409C-BE32-E72D297353CC}">
                <c16:uniqueId val="{000002E5-D272-42BA-A3FD-CA763C8B55B0}"/>
              </c:ext>
            </c:extLst>
          </c:dPt>
          <c:dPt>
            <c:idx val="370"/>
            <c:invertIfNegative val="1"/>
            <c:bubble3D val="0"/>
            <c:spPr>
              <a:solidFill>
                <a:srgbClr val="AEABAB"/>
              </a:solidFill>
            </c:spPr>
            <c:extLst>
              <c:ext xmlns:c16="http://schemas.microsoft.com/office/drawing/2014/chart" uri="{C3380CC4-5D6E-409C-BE32-E72D297353CC}">
                <c16:uniqueId val="{000002E7-D272-42BA-A3FD-CA763C8B55B0}"/>
              </c:ext>
            </c:extLst>
          </c:dPt>
          <c:dPt>
            <c:idx val="371"/>
            <c:invertIfNegative val="1"/>
            <c:bubble3D val="0"/>
            <c:spPr>
              <a:solidFill>
                <a:srgbClr val="AEABAB"/>
              </a:solidFill>
            </c:spPr>
            <c:extLst>
              <c:ext xmlns:c16="http://schemas.microsoft.com/office/drawing/2014/chart" uri="{C3380CC4-5D6E-409C-BE32-E72D297353CC}">
                <c16:uniqueId val="{000002E9-D272-42BA-A3FD-CA763C8B55B0}"/>
              </c:ext>
            </c:extLst>
          </c:dPt>
          <c:dPt>
            <c:idx val="372"/>
            <c:invertIfNegative val="1"/>
            <c:bubble3D val="0"/>
            <c:spPr>
              <a:solidFill>
                <a:srgbClr val="AEABAB"/>
              </a:solidFill>
            </c:spPr>
            <c:extLst>
              <c:ext xmlns:c16="http://schemas.microsoft.com/office/drawing/2014/chart" uri="{C3380CC4-5D6E-409C-BE32-E72D297353CC}">
                <c16:uniqueId val="{000002EB-D272-42BA-A3FD-CA763C8B55B0}"/>
              </c:ext>
            </c:extLst>
          </c:dPt>
          <c:dPt>
            <c:idx val="373"/>
            <c:invertIfNegative val="1"/>
            <c:bubble3D val="0"/>
            <c:spPr>
              <a:solidFill>
                <a:srgbClr val="AEABAB"/>
              </a:solidFill>
            </c:spPr>
            <c:extLst>
              <c:ext xmlns:c16="http://schemas.microsoft.com/office/drawing/2014/chart" uri="{C3380CC4-5D6E-409C-BE32-E72D297353CC}">
                <c16:uniqueId val="{000002ED-D272-42BA-A3FD-CA763C8B55B0}"/>
              </c:ext>
            </c:extLst>
          </c:dPt>
          <c:dPt>
            <c:idx val="374"/>
            <c:invertIfNegative val="1"/>
            <c:bubble3D val="0"/>
            <c:spPr>
              <a:solidFill>
                <a:srgbClr val="AEABAB"/>
              </a:solidFill>
            </c:spPr>
            <c:extLst>
              <c:ext xmlns:c16="http://schemas.microsoft.com/office/drawing/2014/chart" uri="{C3380CC4-5D6E-409C-BE32-E72D297353CC}">
                <c16:uniqueId val="{000002EF-D272-42BA-A3FD-CA763C8B55B0}"/>
              </c:ext>
            </c:extLst>
          </c:dPt>
          <c:dPt>
            <c:idx val="375"/>
            <c:invertIfNegative val="1"/>
            <c:bubble3D val="0"/>
            <c:spPr>
              <a:solidFill>
                <a:srgbClr val="AEABAB"/>
              </a:solidFill>
            </c:spPr>
            <c:extLst>
              <c:ext xmlns:c16="http://schemas.microsoft.com/office/drawing/2014/chart" uri="{C3380CC4-5D6E-409C-BE32-E72D297353CC}">
                <c16:uniqueId val="{000002F1-D272-42BA-A3FD-CA763C8B55B0}"/>
              </c:ext>
            </c:extLst>
          </c:dPt>
          <c:dPt>
            <c:idx val="376"/>
            <c:invertIfNegative val="1"/>
            <c:bubble3D val="0"/>
            <c:spPr>
              <a:solidFill>
                <a:srgbClr val="AEABAB"/>
              </a:solidFill>
            </c:spPr>
            <c:extLst>
              <c:ext xmlns:c16="http://schemas.microsoft.com/office/drawing/2014/chart" uri="{C3380CC4-5D6E-409C-BE32-E72D297353CC}">
                <c16:uniqueId val="{000002F3-D272-42BA-A3FD-CA763C8B55B0}"/>
              </c:ext>
            </c:extLst>
          </c:dPt>
          <c:dPt>
            <c:idx val="377"/>
            <c:invertIfNegative val="1"/>
            <c:bubble3D val="0"/>
            <c:spPr>
              <a:solidFill>
                <a:srgbClr val="AEABAB"/>
              </a:solidFill>
            </c:spPr>
            <c:extLst>
              <c:ext xmlns:c16="http://schemas.microsoft.com/office/drawing/2014/chart" uri="{C3380CC4-5D6E-409C-BE32-E72D297353CC}">
                <c16:uniqueId val="{000002F5-D272-42BA-A3FD-CA763C8B55B0}"/>
              </c:ext>
            </c:extLst>
          </c:dPt>
          <c:dPt>
            <c:idx val="378"/>
            <c:invertIfNegative val="1"/>
            <c:bubble3D val="0"/>
            <c:spPr>
              <a:solidFill>
                <a:srgbClr val="AEABAB"/>
              </a:solidFill>
            </c:spPr>
            <c:extLst>
              <c:ext xmlns:c16="http://schemas.microsoft.com/office/drawing/2014/chart" uri="{C3380CC4-5D6E-409C-BE32-E72D297353CC}">
                <c16:uniqueId val="{000002F7-D272-42BA-A3FD-CA763C8B55B0}"/>
              </c:ext>
            </c:extLst>
          </c:dPt>
          <c:dPt>
            <c:idx val="379"/>
            <c:invertIfNegative val="1"/>
            <c:bubble3D val="0"/>
            <c:spPr>
              <a:solidFill>
                <a:srgbClr val="AEABAB"/>
              </a:solidFill>
            </c:spPr>
            <c:extLst>
              <c:ext xmlns:c16="http://schemas.microsoft.com/office/drawing/2014/chart" uri="{C3380CC4-5D6E-409C-BE32-E72D297353CC}">
                <c16:uniqueId val="{000002F9-D272-42BA-A3FD-CA763C8B55B0}"/>
              </c:ext>
            </c:extLst>
          </c:dPt>
          <c:dPt>
            <c:idx val="380"/>
            <c:invertIfNegative val="1"/>
            <c:bubble3D val="0"/>
            <c:spPr>
              <a:solidFill>
                <a:srgbClr val="AEABAB"/>
              </a:solidFill>
            </c:spPr>
            <c:extLst>
              <c:ext xmlns:c16="http://schemas.microsoft.com/office/drawing/2014/chart" uri="{C3380CC4-5D6E-409C-BE32-E72D297353CC}">
                <c16:uniqueId val="{000002FB-D272-42BA-A3FD-CA763C8B55B0}"/>
              </c:ext>
            </c:extLst>
          </c:dPt>
          <c:dPt>
            <c:idx val="381"/>
            <c:invertIfNegative val="1"/>
            <c:bubble3D val="0"/>
            <c:spPr>
              <a:solidFill>
                <a:srgbClr val="AEABAB"/>
              </a:solidFill>
            </c:spPr>
            <c:extLst>
              <c:ext xmlns:c16="http://schemas.microsoft.com/office/drawing/2014/chart" uri="{C3380CC4-5D6E-409C-BE32-E72D297353CC}">
                <c16:uniqueId val="{000002FD-D272-42BA-A3FD-CA763C8B55B0}"/>
              </c:ext>
            </c:extLst>
          </c:dPt>
          <c:dPt>
            <c:idx val="382"/>
            <c:invertIfNegative val="1"/>
            <c:bubble3D val="0"/>
            <c:spPr>
              <a:solidFill>
                <a:srgbClr val="AEABAB"/>
              </a:solidFill>
            </c:spPr>
            <c:extLst>
              <c:ext xmlns:c16="http://schemas.microsoft.com/office/drawing/2014/chart" uri="{C3380CC4-5D6E-409C-BE32-E72D297353CC}">
                <c16:uniqueId val="{000002FF-D272-42BA-A3FD-CA763C8B55B0}"/>
              </c:ext>
            </c:extLst>
          </c:dPt>
          <c:dPt>
            <c:idx val="383"/>
            <c:invertIfNegative val="1"/>
            <c:bubble3D val="0"/>
            <c:spPr>
              <a:solidFill>
                <a:srgbClr val="AEABAB"/>
              </a:solidFill>
            </c:spPr>
            <c:extLst>
              <c:ext xmlns:c16="http://schemas.microsoft.com/office/drawing/2014/chart" uri="{C3380CC4-5D6E-409C-BE32-E72D297353CC}">
                <c16:uniqueId val="{00000301-D272-42BA-A3FD-CA763C8B55B0}"/>
              </c:ext>
            </c:extLst>
          </c:dPt>
          <c:dPt>
            <c:idx val="384"/>
            <c:invertIfNegative val="1"/>
            <c:bubble3D val="0"/>
            <c:spPr>
              <a:solidFill>
                <a:srgbClr val="AEABAB"/>
              </a:solidFill>
            </c:spPr>
            <c:extLst>
              <c:ext xmlns:c16="http://schemas.microsoft.com/office/drawing/2014/chart" uri="{C3380CC4-5D6E-409C-BE32-E72D297353CC}">
                <c16:uniqueId val="{00000303-D272-42BA-A3FD-CA763C8B55B0}"/>
              </c:ext>
            </c:extLst>
          </c:dPt>
          <c:dPt>
            <c:idx val="385"/>
            <c:invertIfNegative val="1"/>
            <c:bubble3D val="0"/>
            <c:spPr>
              <a:solidFill>
                <a:srgbClr val="AEABAB"/>
              </a:solidFill>
            </c:spPr>
            <c:extLst>
              <c:ext xmlns:c16="http://schemas.microsoft.com/office/drawing/2014/chart" uri="{C3380CC4-5D6E-409C-BE32-E72D297353CC}">
                <c16:uniqueId val="{00000305-D272-42BA-A3FD-CA763C8B55B0}"/>
              </c:ext>
            </c:extLst>
          </c:dPt>
          <c:dPt>
            <c:idx val="386"/>
            <c:invertIfNegative val="1"/>
            <c:bubble3D val="0"/>
            <c:spPr>
              <a:solidFill>
                <a:srgbClr val="AEABAB"/>
              </a:solidFill>
            </c:spPr>
            <c:extLst>
              <c:ext xmlns:c16="http://schemas.microsoft.com/office/drawing/2014/chart" uri="{C3380CC4-5D6E-409C-BE32-E72D297353CC}">
                <c16:uniqueId val="{00000307-D272-42BA-A3FD-CA763C8B55B0}"/>
              </c:ext>
            </c:extLst>
          </c:dPt>
          <c:dPt>
            <c:idx val="387"/>
            <c:invertIfNegative val="1"/>
            <c:bubble3D val="0"/>
            <c:spPr>
              <a:solidFill>
                <a:srgbClr val="AEABAB"/>
              </a:solidFill>
            </c:spPr>
            <c:extLst>
              <c:ext xmlns:c16="http://schemas.microsoft.com/office/drawing/2014/chart" uri="{C3380CC4-5D6E-409C-BE32-E72D297353CC}">
                <c16:uniqueId val="{00000309-D272-42BA-A3FD-CA763C8B55B0}"/>
              </c:ext>
            </c:extLst>
          </c:dPt>
          <c:dPt>
            <c:idx val="388"/>
            <c:invertIfNegative val="1"/>
            <c:bubble3D val="0"/>
            <c:spPr>
              <a:solidFill>
                <a:srgbClr val="AEABAB"/>
              </a:solidFill>
            </c:spPr>
            <c:extLst>
              <c:ext xmlns:c16="http://schemas.microsoft.com/office/drawing/2014/chart" uri="{C3380CC4-5D6E-409C-BE32-E72D297353CC}">
                <c16:uniqueId val="{0000030B-D272-42BA-A3FD-CA763C8B55B0}"/>
              </c:ext>
            </c:extLst>
          </c:dPt>
          <c:dPt>
            <c:idx val="389"/>
            <c:invertIfNegative val="1"/>
            <c:bubble3D val="0"/>
            <c:spPr>
              <a:solidFill>
                <a:srgbClr val="AEABAB"/>
              </a:solidFill>
            </c:spPr>
            <c:extLst>
              <c:ext xmlns:c16="http://schemas.microsoft.com/office/drawing/2014/chart" uri="{C3380CC4-5D6E-409C-BE32-E72D297353CC}">
                <c16:uniqueId val="{0000030D-D272-42BA-A3FD-CA763C8B55B0}"/>
              </c:ext>
            </c:extLst>
          </c:dPt>
          <c:dPt>
            <c:idx val="390"/>
            <c:invertIfNegative val="1"/>
            <c:bubble3D val="0"/>
            <c:spPr>
              <a:solidFill>
                <a:srgbClr val="AEABAB"/>
              </a:solidFill>
            </c:spPr>
            <c:extLst>
              <c:ext xmlns:c16="http://schemas.microsoft.com/office/drawing/2014/chart" uri="{C3380CC4-5D6E-409C-BE32-E72D297353CC}">
                <c16:uniqueId val="{0000030F-D272-42BA-A3FD-CA763C8B55B0}"/>
              </c:ext>
            </c:extLst>
          </c:dPt>
          <c:dPt>
            <c:idx val="391"/>
            <c:invertIfNegative val="1"/>
            <c:bubble3D val="0"/>
            <c:spPr>
              <a:solidFill>
                <a:srgbClr val="AEABAB"/>
              </a:solidFill>
            </c:spPr>
            <c:extLst>
              <c:ext xmlns:c16="http://schemas.microsoft.com/office/drawing/2014/chart" uri="{C3380CC4-5D6E-409C-BE32-E72D297353CC}">
                <c16:uniqueId val="{00000311-D272-42BA-A3FD-CA763C8B55B0}"/>
              </c:ext>
            </c:extLst>
          </c:dPt>
          <c:dPt>
            <c:idx val="392"/>
            <c:invertIfNegative val="1"/>
            <c:bubble3D val="0"/>
            <c:spPr>
              <a:solidFill>
                <a:srgbClr val="AEABAB"/>
              </a:solidFill>
            </c:spPr>
            <c:extLst>
              <c:ext xmlns:c16="http://schemas.microsoft.com/office/drawing/2014/chart" uri="{C3380CC4-5D6E-409C-BE32-E72D297353CC}">
                <c16:uniqueId val="{00000313-D272-42BA-A3FD-CA763C8B55B0}"/>
              </c:ext>
            </c:extLst>
          </c:dPt>
          <c:dPt>
            <c:idx val="393"/>
            <c:invertIfNegative val="1"/>
            <c:bubble3D val="0"/>
            <c:spPr>
              <a:solidFill>
                <a:srgbClr val="AEABAB"/>
              </a:solidFill>
            </c:spPr>
            <c:extLst>
              <c:ext xmlns:c16="http://schemas.microsoft.com/office/drawing/2014/chart" uri="{C3380CC4-5D6E-409C-BE32-E72D297353CC}">
                <c16:uniqueId val="{00000315-D272-42BA-A3FD-CA763C8B55B0}"/>
              </c:ext>
            </c:extLst>
          </c:dPt>
          <c:dPt>
            <c:idx val="394"/>
            <c:invertIfNegative val="1"/>
            <c:bubble3D val="0"/>
            <c:spPr>
              <a:solidFill>
                <a:srgbClr val="AEABAB"/>
              </a:solidFill>
            </c:spPr>
            <c:extLst>
              <c:ext xmlns:c16="http://schemas.microsoft.com/office/drawing/2014/chart" uri="{C3380CC4-5D6E-409C-BE32-E72D297353CC}">
                <c16:uniqueId val="{00000317-D272-42BA-A3FD-CA763C8B55B0}"/>
              </c:ext>
            </c:extLst>
          </c:dPt>
          <c:dPt>
            <c:idx val="395"/>
            <c:invertIfNegative val="1"/>
            <c:bubble3D val="0"/>
            <c:spPr>
              <a:solidFill>
                <a:srgbClr val="AEABAB"/>
              </a:solidFill>
            </c:spPr>
            <c:extLst>
              <c:ext xmlns:c16="http://schemas.microsoft.com/office/drawing/2014/chart" uri="{C3380CC4-5D6E-409C-BE32-E72D297353CC}">
                <c16:uniqueId val="{00000319-D272-42BA-A3FD-CA763C8B55B0}"/>
              </c:ext>
            </c:extLst>
          </c:dPt>
          <c:dPt>
            <c:idx val="396"/>
            <c:invertIfNegative val="1"/>
            <c:bubble3D val="0"/>
            <c:spPr>
              <a:solidFill>
                <a:srgbClr val="AEABAB"/>
              </a:solidFill>
            </c:spPr>
            <c:extLst>
              <c:ext xmlns:c16="http://schemas.microsoft.com/office/drawing/2014/chart" uri="{C3380CC4-5D6E-409C-BE32-E72D297353CC}">
                <c16:uniqueId val="{0000031B-D272-42BA-A3FD-CA763C8B55B0}"/>
              </c:ext>
            </c:extLst>
          </c:dPt>
          <c:dPt>
            <c:idx val="397"/>
            <c:invertIfNegative val="1"/>
            <c:bubble3D val="0"/>
            <c:spPr>
              <a:solidFill>
                <a:srgbClr val="AEABAB"/>
              </a:solidFill>
            </c:spPr>
            <c:extLst>
              <c:ext xmlns:c16="http://schemas.microsoft.com/office/drawing/2014/chart" uri="{C3380CC4-5D6E-409C-BE32-E72D297353CC}">
                <c16:uniqueId val="{0000031D-D272-42BA-A3FD-CA763C8B55B0}"/>
              </c:ext>
            </c:extLst>
          </c:dPt>
          <c:dPt>
            <c:idx val="398"/>
            <c:invertIfNegative val="1"/>
            <c:bubble3D val="0"/>
            <c:spPr>
              <a:solidFill>
                <a:srgbClr val="AEABAB"/>
              </a:solidFill>
            </c:spPr>
            <c:extLst>
              <c:ext xmlns:c16="http://schemas.microsoft.com/office/drawing/2014/chart" uri="{C3380CC4-5D6E-409C-BE32-E72D297353CC}">
                <c16:uniqueId val="{0000031F-D272-42BA-A3FD-CA763C8B55B0}"/>
              </c:ext>
            </c:extLst>
          </c:dPt>
          <c:dPt>
            <c:idx val="399"/>
            <c:invertIfNegative val="1"/>
            <c:bubble3D val="0"/>
            <c:spPr>
              <a:solidFill>
                <a:srgbClr val="AEABAB"/>
              </a:solidFill>
            </c:spPr>
            <c:extLst>
              <c:ext xmlns:c16="http://schemas.microsoft.com/office/drawing/2014/chart" uri="{C3380CC4-5D6E-409C-BE32-E72D297353CC}">
                <c16:uniqueId val="{00000321-D272-42BA-A3FD-CA763C8B55B0}"/>
              </c:ext>
            </c:extLst>
          </c:dPt>
          <c:dPt>
            <c:idx val="400"/>
            <c:invertIfNegative val="1"/>
            <c:bubble3D val="0"/>
            <c:spPr>
              <a:solidFill>
                <a:srgbClr val="AEABAB"/>
              </a:solidFill>
            </c:spPr>
            <c:extLst>
              <c:ext xmlns:c16="http://schemas.microsoft.com/office/drawing/2014/chart" uri="{C3380CC4-5D6E-409C-BE32-E72D297353CC}">
                <c16:uniqueId val="{00000323-D272-42BA-A3FD-CA763C8B55B0}"/>
              </c:ext>
            </c:extLst>
          </c:dPt>
          <c:dPt>
            <c:idx val="401"/>
            <c:invertIfNegative val="1"/>
            <c:bubble3D val="0"/>
            <c:spPr>
              <a:solidFill>
                <a:srgbClr val="AEABAB"/>
              </a:solidFill>
            </c:spPr>
            <c:extLst>
              <c:ext xmlns:c16="http://schemas.microsoft.com/office/drawing/2014/chart" uri="{C3380CC4-5D6E-409C-BE32-E72D297353CC}">
                <c16:uniqueId val="{00000325-D272-42BA-A3FD-CA763C8B55B0}"/>
              </c:ext>
            </c:extLst>
          </c:dPt>
          <c:dPt>
            <c:idx val="402"/>
            <c:invertIfNegative val="1"/>
            <c:bubble3D val="0"/>
            <c:spPr>
              <a:solidFill>
                <a:srgbClr val="AEABAB"/>
              </a:solidFill>
            </c:spPr>
            <c:extLst>
              <c:ext xmlns:c16="http://schemas.microsoft.com/office/drawing/2014/chart" uri="{C3380CC4-5D6E-409C-BE32-E72D297353CC}">
                <c16:uniqueId val="{00000327-D272-42BA-A3FD-CA763C8B55B0}"/>
              </c:ext>
            </c:extLst>
          </c:dPt>
          <c:dPt>
            <c:idx val="403"/>
            <c:invertIfNegative val="1"/>
            <c:bubble3D val="0"/>
            <c:spPr>
              <a:solidFill>
                <a:srgbClr val="AEABAB"/>
              </a:solidFill>
            </c:spPr>
            <c:extLst>
              <c:ext xmlns:c16="http://schemas.microsoft.com/office/drawing/2014/chart" uri="{C3380CC4-5D6E-409C-BE32-E72D297353CC}">
                <c16:uniqueId val="{00000329-D272-42BA-A3FD-CA763C8B55B0}"/>
              </c:ext>
            </c:extLst>
          </c:dPt>
          <c:dPt>
            <c:idx val="404"/>
            <c:invertIfNegative val="1"/>
            <c:bubble3D val="0"/>
            <c:spPr>
              <a:solidFill>
                <a:srgbClr val="AEABAB"/>
              </a:solidFill>
            </c:spPr>
            <c:extLst>
              <c:ext xmlns:c16="http://schemas.microsoft.com/office/drawing/2014/chart" uri="{C3380CC4-5D6E-409C-BE32-E72D297353CC}">
                <c16:uniqueId val="{0000032B-D272-42BA-A3FD-CA763C8B55B0}"/>
              </c:ext>
            </c:extLst>
          </c:dPt>
          <c:dPt>
            <c:idx val="405"/>
            <c:invertIfNegative val="1"/>
            <c:bubble3D val="0"/>
            <c:spPr>
              <a:solidFill>
                <a:srgbClr val="AEABAB"/>
              </a:solidFill>
            </c:spPr>
            <c:extLst>
              <c:ext xmlns:c16="http://schemas.microsoft.com/office/drawing/2014/chart" uri="{C3380CC4-5D6E-409C-BE32-E72D297353CC}">
                <c16:uniqueId val="{0000032D-D272-42BA-A3FD-CA763C8B55B0}"/>
              </c:ext>
            </c:extLst>
          </c:dPt>
          <c:cat>
            <c:strRef>
              <c:f>Sheet1!$A$2:$A$407</c:f>
              <c:strCache>
                <c:ptCount val="406"/>
                <c:pt idx="0">
                  <c:v>Ruinart</c:v>
                </c:pt>
                <c:pt idx="1">
                  <c:v>Nicolas</c:v>
                </c:pt>
                <c:pt idx="2">
                  <c:v>Deutz</c:v>
                </c:pt>
                <c:pt idx="3">
                  <c:v>Ruinart</c:v>
                </c:pt>
                <c:pt idx="4">
                  <c:v>Heidsieck &amp;</c:v>
                </c:pt>
                <c:pt idx="5">
                  <c:v>Malard</c:v>
                </c:pt>
                <c:pt idx="6">
                  <c:v>Ayala</c:v>
                </c:pt>
                <c:pt idx="7">
                  <c:v>De Bligny</c:v>
                </c:pt>
                <c:pt idx="8">
                  <c:v>Laurent Per</c:v>
                </c:pt>
                <c:pt idx="9">
                  <c:v>Nicolas Feu</c:v>
                </c:pt>
                <c:pt idx="10">
                  <c:v>Canard Duch</c:v>
                </c:pt>
                <c:pt idx="11">
                  <c:v>Taittinger</c:v>
                </c:pt>
                <c:pt idx="12">
                  <c:v>Bollinger</c:v>
                </c:pt>
                <c:pt idx="13">
                  <c:v>Ruinart</c:v>
                </c:pt>
                <c:pt idx="14">
                  <c:v>Ruinart</c:v>
                </c:pt>
                <c:pt idx="15">
                  <c:v>Besserat De</c:v>
                </c:pt>
                <c:pt idx="16">
                  <c:v>Demoiselle</c:v>
                </c:pt>
                <c:pt idx="17">
                  <c:v>Deutz</c:v>
                </c:pt>
                <c:pt idx="18">
                  <c:v>Ruinart</c:v>
                </c:pt>
                <c:pt idx="19">
                  <c:v>Perrier Jou</c:v>
                </c:pt>
                <c:pt idx="20">
                  <c:v>Ruinart</c:v>
                </c:pt>
                <c:pt idx="21">
                  <c:v>All Others</c:v>
                </c:pt>
                <c:pt idx="22">
                  <c:v>All Others</c:v>
                </c:pt>
                <c:pt idx="23">
                  <c:v>Vesselle</c:v>
                </c:pt>
                <c:pt idx="24">
                  <c:v>Savian</c:v>
                </c:pt>
                <c:pt idx="25">
                  <c:v>Pommery</c:v>
                </c:pt>
                <c:pt idx="26">
                  <c:v>Malard</c:v>
                </c:pt>
                <c:pt idx="27">
                  <c:v>Laurent Per</c:v>
                </c:pt>
                <c:pt idx="28">
                  <c:v>Moët &amp; Chan</c:v>
                </c:pt>
                <c:pt idx="29">
                  <c:v>Nicolas</c:v>
                </c:pt>
                <c:pt idx="30">
                  <c:v>Patriarche</c:v>
                </c:pt>
                <c:pt idx="31">
                  <c:v>Mure</c:v>
                </c:pt>
                <c:pt idx="32">
                  <c:v>Deutz</c:v>
                </c:pt>
                <c:pt idx="33">
                  <c:v>Taittinger</c:v>
                </c:pt>
                <c:pt idx="34">
                  <c:v>Ruinart</c:v>
                </c:pt>
                <c:pt idx="35">
                  <c:v>Roederer</c:v>
                </c:pt>
                <c:pt idx="36">
                  <c:v>Bottega</c:v>
                </c:pt>
                <c:pt idx="37">
                  <c:v>Demoiselle</c:v>
                </c:pt>
                <c:pt idx="38">
                  <c:v>Dom Perigno</c:v>
                </c:pt>
                <c:pt idx="39">
                  <c:v>All Others</c:v>
                </c:pt>
                <c:pt idx="40">
                  <c:v>Roederer</c:v>
                </c:pt>
                <c:pt idx="41">
                  <c:v>Ruinart</c:v>
                </c:pt>
                <c:pt idx="42">
                  <c:v>Henriot</c:v>
                </c:pt>
                <c:pt idx="43">
                  <c:v>Veuve Clicq</c:v>
                </c:pt>
                <c:pt idx="44">
                  <c:v>Nicolas</c:v>
                </c:pt>
                <c:pt idx="45">
                  <c:v>Bouvet-Ladu</c:v>
                </c:pt>
                <c:pt idx="46">
                  <c:v>Besserat De</c:v>
                </c:pt>
                <c:pt idx="47">
                  <c:v>Campari: Al</c:v>
                </c:pt>
                <c:pt idx="48">
                  <c:v>De Venoge</c:v>
                </c:pt>
                <c:pt idx="49">
                  <c:v>Malard</c:v>
                </c:pt>
                <c:pt idx="50">
                  <c:v>Laurent Per</c:v>
                </c:pt>
                <c:pt idx="51">
                  <c:v>French Bloo</c:v>
                </c:pt>
                <c:pt idx="52">
                  <c:v>De Bligny</c:v>
                </c:pt>
                <c:pt idx="53">
                  <c:v>Veuve Clicq</c:v>
                </c:pt>
                <c:pt idx="54">
                  <c:v>Veuve Clicq</c:v>
                </c:pt>
                <c:pt idx="55">
                  <c:v>De Chanceny</c:v>
                </c:pt>
                <c:pt idx="56">
                  <c:v>Savian</c:v>
                </c:pt>
                <c:pt idx="57">
                  <c:v>Malard</c:v>
                </c:pt>
                <c:pt idx="58">
                  <c:v>Nicolas Feu</c:v>
                </c:pt>
                <c:pt idx="59">
                  <c:v>Lanson</c:v>
                </c:pt>
                <c:pt idx="60">
                  <c:v>Nicolas Feu</c:v>
                </c:pt>
                <c:pt idx="61">
                  <c:v>Deutz</c:v>
                </c:pt>
                <c:pt idx="62">
                  <c:v>Ruinart</c:v>
                </c:pt>
                <c:pt idx="63">
                  <c:v>Piper Heids</c:v>
                </c:pt>
                <c:pt idx="64">
                  <c:v>Dom Perigno</c:v>
                </c:pt>
                <c:pt idx="65">
                  <c:v>Lyre's</c:v>
                </c:pt>
                <c:pt idx="66">
                  <c:v>Nicolas Feu</c:v>
                </c:pt>
                <c:pt idx="67">
                  <c:v>All Others</c:v>
                </c:pt>
                <c:pt idx="68">
                  <c:v>Nicolas</c:v>
                </c:pt>
                <c:pt idx="69">
                  <c:v>Moët &amp; Chan</c:v>
                </c:pt>
                <c:pt idx="70">
                  <c:v>Canard Duch</c:v>
                </c:pt>
                <c:pt idx="71">
                  <c:v>Malard</c:v>
                </c:pt>
                <c:pt idx="72">
                  <c:v>Louis Marti</c:v>
                </c:pt>
                <c:pt idx="73">
                  <c:v>Henriot</c:v>
                </c:pt>
                <c:pt idx="74">
                  <c:v>All Others</c:v>
                </c:pt>
                <c:pt idx="75">
                  <c:v>Campari: Al</c:v>
                </c:pt>
                <c:pt idx="76">
                  <c:v>Pommery</c:v>
                </c:pt>
                <c:pt idx="77">
                  <c:v>Bollinger</c:v>
                </c:pt>
                <c:pt idx="78">
                  <c:v>Kriter</c:v>
                </c:pt>
                <c:pt idx="79">
                  <c:v>Canard Duch</c:v>
                </c:pt>
                <c:pt idx="80">
                  <c:v>De Chanceny</c:v>
                </c:pt>
                <c:pt idx="81">
                  <c:v>Moët &amp; Chan</c:v>
                </c:pt>
                <c:pt idx="82">
                  <c:v>Henriot</c:v>
                </c:pt>
                <c:pt idx="83">
                  <c:v>Delamotte</c:v>
                </c:pt>
                <c:pt idx="84">
                  <c:v>De Venoge</c:v>
                </c:pt>
                <c:pt idx="85">
                  <c:v>Besserat De</c:v>
                </c:pt>
                <c:pt idx="86">
                  <c:v>Vranken</c:v>
                </c:pt>
                <c:pt idx="87">
                  <c:v>All Others</c:v>
                </c:pt>
                <c:pt idx="88">
                  <c:v>Ayala</c:v>
                </c:pt>
                <c:pt idx="89">
                  <c:v>Ruinart</c:v>
                </c:pt>
                <c:pt idx="90">
                  <c:v>Canard Duch</c:v>
                </c:pt>
                <c:pt idx="91">
                  <c:v>Patriarche</c:v>
                </c:pt>
                <c:pt idx="92">
                  <c:v>Veuve Clicq</c:v>
                </c:pt>
                <c:pt idx="93">
                  <c:v>Krug</c:v>
                </c:pt>
                <c:pt idx="94">
                  <c:v>Ruinart</c:v>
                </c:pt>
                <c:pt idx="95">
                  <c:v>Roederer</c:v>
                </c:pt>
                <c:pt idx="96">
                  <c:v>Roederer</c:v>
                </c:pt>
                <c:pt idx="97">
                  <c:v>Nicolas</c:v>
                </c:pt>
                <c:pt idx="98">
                  <c:v>Laurent Per</c:v>
                </c:pt>
                <c:pt idx="99">
                  <c:v>Nicolas</c:v>
                </c:pt>
                <c:pt idx="100">
                  <c:v>Contarini</c:v>
                </c:pt>
                <c:pt idx="101">
                  <c:v>Ruinart</c:v>
                </c:pt>
                <c:pt idx="102">
                  <c:v>Malard</c:v>
                </c:pt>
                <c:pt idx="103">
                  <c:v>De Venoge</c:v>
                </c:pt>
                <c:pt idx="104">
                  <c:v>De Venoge</c:v>
                </c:pt>
                <c:pt idx="105">
                  <c:v>Nicolas</c:v>
                </c:pt>
                <c:pt idx="106">
                  <c:v>Vranken</c:v>
                </c:pt>
                <c:pt idx="107">
                  <c:v>Henriot</c:v>
                </c:pt>
                <c:pt idx="108">
                  <c:v>Roederer</c:v>
                </c:pt>
                <c:pt idx="109">
                  <c:v>All Others</c:v>
                </c:pt>
                <c:pt idx="110">
                  <c:v>All Others</c:v>
                </c:pt>
                <c:pt idx="111">
                  <c:v>Ruinart</c:v>
                </c:pt>
                <c:pt idx="112">
                  <c:v>All Others</c:v>
                </c:pt>
                <c:pt idx="113">
                  <c:v>Nicolas</c:v>
                </c:pt>
                <c:pt idx="114">
                  <c:v>All Others</c:v>
                </c:pt>
                <c:pt idx="115">
                  <c:v>Dom Perigno</c:v>
                </c:pt>
                <c:pt idx="116">
                  <c:v>Nicolas</c:v>
                </c:pt>
                <c:pt idx="117">
                  <c:v>Roederer</c:v>
                </c:pt>
                <c:pt idx="118">
                  <c:v>Deutz</c:v>
                </c:pt>
                <c:pt idx="119">
                  <c:v>Roederer</c:v>
                </c:pt>
                <c:pt idx="120">
                  <c:v>Bottega</c:v>
                </c:pt>
                <c:pt idx="121">
                  <c:v>Canard Duch</c:v>
                </c:pt>
                <c:pt idx="122">
                  <c:v>Cru La Maqu</c:v>
                </c:pt>
                <c:pt idx="123">
                  <c:v>Nicolas</c:v>
                </c:pt>
                <c:pt idx="124">
                  <c:v>Ruinart</c:v>
                </c:pt>
                <c:pt idx="125">
                  <c:v>All Others</c:v>
                </c:pt>
                <c:pt idx="126">
                  <c:v>All Others</c:v>
                </c:pt>
                <c:pt idx="127">
                  <c:v>All Others</c:v>
                </c:pt>
                <c:pt idx="128">
                  <c:v>Bollinger</c:v>
                </c:pt>
                <c:pt idx="129">
                  <c:v>Nicolas</c:v>
                </c:pt>
                <c:pt idx="130">
                  <c:v>Roederer</c:v>
                </c:pt>
                <c:pt idx="131">
                  <c:v>Moët &amp; Chan</c:v>
                </c:pt>
                <c:pt idx="132">
                  <c:v>Louis Marti</c:v>
                </c:pt>
                <c:pt idx="133">
                  <c:v>All Others</c:v>
                </c:pt>
                <c:pt idx="134">
                  <c:v>All Others</c:v>
                </c:pt>
                <c:pt idx="135">
                  <c:v>Nicolas</c:v>
                </c:pt>
                <c:pt idx="136">
                  <c:v>Laurent Per</c:v>
                </c:pt>
                <c:pt idx="137">
                  <c:v>Roederer</c:v>
                </c:pt>
                <c:pt idx="138">
                  <c:v>Pommery</c:v>
                </c:pt>
                <c:pt idx="139">
                  <c:v>Deutz</c:v>
                </c:pt>
                <c:pt idx="140">
                  <c:v>Nicolas</c:v>
                </c:pt>
                <c:pt idx="141">
                  <c:v>Nicolas Feu</c:v>
                </c:pt>
                <c:pt idx="142">
                  <c:v>All Others</c:v>
                </c:pt>
                <c:pt idx="143">
                  <c:v>Taittinger</c:v>
                </c:pt>
                <c:pt idx="144">
                  <c:v>Laurent Per</c:v>
                </c:pt>
                <c:pt idx="145">
                  <c:v>All Others</c:v>
                </c:pt>
                <c:pt idx="146">
                  <c:v>All Others</c:v>
                </c:pt>
                <c:pt idx="147">
                  <c:v>Dom Perigno</c:v>
                </c:pt>
                <c:pt idx="148">
                  <c:v>Besserat De</c:v>
                </c:pt>
                <c:pt idx="149">
                  <c:v>Roederer</c:v>
                </c:pt>
                <c:pt idx="150">
                  <c:v>Roederer</c:v>
                </c:pt>
                <c:pt idx="151">
                  <c:v>Bollinger</c:v>
                </c:pt>
                <c:pt idx="152">
                  <c:v>Ruinart</c:v>
                </c:pt>
                <c:pt idx="153">
                  <c:v>Roederer</c:v>
                </c:pt>
                <c:pt idx="154">
                  <c:v>Demoiselle</c:v>
                </c:pt>
                <c:pt idx="155">
                  <c:v>Ayala</c:v>
                </c:pt>
                <c:pt idx="156">
                  <c:v>Contarini</c:v>
                </c:pt>
                <c:pt idx="157">
                  <c:v>All Others</c:v>
                </c:pt>
                <c:pt idx="158">
                  <c:v>All Others</c:v>
                </c:pt>
                <c:pt idx="159">
                  <c:v>All Others</c:v>
                </c:pt>
                <c:pt idx="160">
                  <c:v>All Others</c:v>
                </c:pt>
                <c:pt idx="161">
                  <c:v>Vranken</c:v>
                </c:pt>
                <c:pt idx="162">
                  <c:v>Canard Duch</c:v>
                </c:pt>
                <c:pt idx="163">
                  <c:v>Nicolas</c:v>
                </c:pt>
                <c:pt idx="164">
                  <c:v>All Others</c:v>
                </c:pt>
                <c:pt idx="165">
                  <c:v>Pommery</c:v>
                </c:pt>
                <c:pt idx="166">
                  <c:v>All Others</c:v>
                </c:pt>
                <c:pt idx="167">
                  <c:v>Vesselle</c:v>
                </c:pt>
                <c:pt idx="168">
                  <c:v>Perrier Jou</c:v>
                </c:pt>
                <c:pt idx="169">
                  <c:v>Nicolas</c:v>
                </c:pt>
                <c:pt idx="170">
                  <c:v>Delamotte</c:v>
                </c:pt>
                <c:pt idx="171">
                  <c:v>Deutz</c:v>
                </c:pt>
                <c:pt idx="172">
                  <c:v>Nicolas</c:v>
                </c:pt>
                <c:pt idx="173">
                  <c:v>Laurent Per</c:v>
                </c:pt>
                <c:pt idx="174">
                  <c:v>All Others</c:v>
                </c:pt>
                <c:pt idx="175">
                  <c:v>All Others</c:v>
                </c:pt>
                <c:pt idx="176">
                  <c:v>Demoiselle</c:v>
                </c:pt>
                <c:pt idx="177">
                  <c:v>Roederer</c:v>
                </c:pt>
                <c:pt idx="178">
                  <c:v>All Others</c:v>
                </c:pt>
                <c:pt idx="179">
                  <c:v>Malard</c:v>
                </c:pt>
                <c:pt idx="180">
                  <c:v>Lanson</c:v>
                </c:pt>
                <c:pt idx="181">
                  <c:v>Moët &amp; Chan</c:v>
                </c:pt>
                <c:pt idx="182">
                  <c:v>Ruinart</c:v>
                </c:pt>
                <c:pt idx="183">
                  <c:v>All Others</c:v>
                </c:pt>
                <c:pt idx="184">
                  <c:v>All Others</c:v>
                </c:pt>
                <c:pt idx="185">
                  <c:v>Roederer</c:v>
                </c:pt>
                <c:pt idx="186">
                  <c:v>Mure</c:v>
                </c:pt>
                <c:pt idx="187">
                  <c:v>Deutz</c:v>
                </c:pt>
                <c:pt idx="188">
                  <c:v>All Others</c:v>
                </c:pt>
                <c:pt idx="189">
                  <c:v>All Others</c:v>
                </c:pt>
                <c:pt idx="190">
                  <c:v>Besserat De</c:v>
                </c:pt>
                <c:pt idx="191">
                  <c:v>All Others</c:v>
                </c:pt>
                <c:pt idx="192">
                  <c:v>Ruinart</c:v>
                </c:pt>
                <c:pt idx="193">
                  <c:v>Moët &amp; Chan</c:v>
                </c:pt>
                <c:pt idx="194">
                  <c:v>Nicolas</c:v>
                </c:pt>
                <c:pt idx="195">
                  <c:v>Canard Duch</c:v>
                </c:pt>
                <c:pt idx="196">
                  <c:v>Nicolas</c:v>
                </c:pt>
                <c:pt idx="197">
                  <c:v>Dom Perigno</c:v>
                </c:pt>
                <c:pt idx="198">
                  <c:v>Taittinger</c:v>
                </c:pt>
                <c:pt idx="199">
                  <c:v>Bollinger</c:v>
                </c:pt>
                <c:pt idx="200">
                  <c:v>All Others</c:v>
                </c:pt>
                <c:pt idx="201">
                  <c:v>Henriot</c:v>
                </c:pt>
                <c:pt idx="202">
                  <c:v>All Others</c:v>
                </c:pt>
                <c:pt idx="203">
                  <c:v>Piper Heids</c:v>
                </c:pt>
                <c:pt idx="204">
                  <c:v>Roederer</c:v>
                </c:pt>
                <c:pt idx="205">
                  <c:v>Laurent Per</c:v>
                </c:pt>
                <c:pt idx="206">
                  <c:v>Piper Heids</c:v>
                </c:pt>
                <c:pt idx="207">
                  <c:v>All Others</c:v>
                </c:pt>
                <c:pt idx="208">
                  <c:v>All Others</c:v>
                </c:pt>
                <c:pt idx="209">
                  <c:v>Ruinart</c:v>
                </c:pt>
                <c:pt idx="210">
                  <c:v>Pommery</c:v>
                </c:pt>
                <c:pt idx="211">
                  <c:v>All Others</c:v>
                </c:pt>
                <c:pt idx="212">
                  <c:v>Ruinart</c:v>
                </c:pt>
                <c:pt idx="213">
                  <c:v>Nicolas</c:v>
                </c:pt>
                <c:pt idx="214">
                  <c:v>Piper Heids</c:v>
                </c:pt>
                <c:pt idx="215">
                  <c:v>All Others</c:v>
                </c:pt>
                <c:pt idx="216">
                  <c:v>All Others</c:v>
                </c:pt>
                <c:pt idx="217">
                  <c:v>Celene</c:v>
                </c:pt>
                <c:pt idx="218">
                  <c:v>Laurent Per</c:v>
                </c:pt>
                <c:pt idx="219">
                  <c:v>Roederer</c:v>
                </c:pt>
                <c:pt idx="220">
                  <c:v>Vesselle</c:v>
                </c:pt>
                <c:pt idx="221">
                  <c:v>Pommery</c:v>
                </c:pt>
                <c:pt idx="222">
                  <c:v>All Others</c:v>
                </c:pt>
                <c:pt idx="223">
                  <c:v>Mure</c:v>
                </c:pt>
                <c:pt idx="224">
                  <c:v>De Venoge</c:v>
                </c:pt>
                <c:pt idx="225">
                  <c:v>De Venoge</c:v>
                </c:pt>
                <c:pt idx="226">
                  <c:v>Taittinger</c:v>
                </c:pt>
                <c:pt idx="227">
                  <c:v>Bouvet-Ladu</c:v>
                </c:pt>
                <c:pt idx="228">
                  <c:v>Roederer</c:v>
                </c:pt>
                <c:pt idx="229">
                  <c:v>Laurent Per</c:v>
                </c:pt>
                <c:pt idx="230">
                  <c:v>Bouvet-Ladu</c:v>
                </c:pt>
                <c:pt idx="231">
                  <c:v>All Others</c:v>
                </c:pt>
                <c:pt idx="232">
                  <c:v>Henriot</c:v>
                </c:pt>
                <c:pt idx="233">
                  <c:v>Bollinger</c:v>
                </c:pt>
                <c:pt idx="234">
                  <c:v>All Others</c:v>
                </c:pt>
                <c:pt idx="235">
                  <c:v>Ruinart</c:v>
                </c:pt>
                <c:pt idx="236">
                  <c:v>Celene</c:v>
                </c:pt>
                <c:pt idx="237">
                  <c:v>All Others</c:v>
                </c:pt>
                <c:pt idx="238">
                  <c:v>Roederer</c:v>
                </c:pt>
                <c:pt idx="239">
                  <c:v>Nicolas Feu</c:v>
                </c:pt>
                <c:pt idx="240">
                  <c:v>Nicolas</c:v>
                </c:pt>
                <c:pt idx="241">
                  <c:v>All Others</c:v>
                </c:pt>
                <c:pt idx="242">
                  <c:v>Bouvet-Ladu</c:v>
                </c:pt>
                <c:pt idx="243">
                  <c:v>Ruinart</c:v>
                </c:pt>
                <c:pt idx="244">
                  <c:v>Piper Heids</c:v>
                </c:pt>
                <c:pt idx="245">
                  <c:v>Malard</c:v>
                </c:pt>
                <c:pt idx="246">
                  <c:v>Perrier Jou</c:v>
                </c:pt>
                <c:pt idx="247">
                  <c:v>Deutz</c:v>
                </c:pt>
                <c:pt idx="248">
                  <c:v>All Others</c:v>
                </c:pt>
                <c:pt idx="249">
                  <c:v>Veuve Clicq</c:v>
                </c:pt>
                <c:pt idx="250">
                  <c:v>Ruinart</c:v>
                </c:pt>
                <c:pt idx="251">
                  <c:v>Pommery</c:v>
                </c:pt>
                <c:pt idx="252">
                  <c:v>Lanson</c:v>
                </c:pt>
                <c:pt idx="253">
                  <c:v>All Others</c:v>
                </c:pt>
                <c:pt idx="254">
                  <c:v>All Others</c:v>
                </c:pt>
                <c:pt idx="255">
                  <c:v>Moët &amp; Chan</c:v>
                </c:pt>
                <c:pt idx="256">
                  <c:v>Lanson</c:v>
                </c:pt>
                <c:pt idx="257">
                  <c:v>Deutz</c:v>
                </c:pt>
                <c:pt idx="258">
                  <c:v>All Others</c:v>
                </c:pt>
                <c:pt idx="259">
                  <c:v>Roederer</c:v>
                </c:pt>
                <c:pt idx="260">
                  <c:v>Jaillance</c:v>
                </c:pt>
                <c:pt idx="261">
                  <c:v>All Others</c:v>
                </c:pt>
                <c:pt idx="262">
                  <c:v>Martel</c:v>
                </c:pt>
                <c:pt idx="263">
                  <c:v>Ruinart</c:v>
                </c:pt>
                <c:pt idx="264">
                  <c:v>All Others</c:v>
                </c:pt>
                <c:pt idx="265">
                  <c:v>Bottega</c:v>
                </c:pt>
                <c:pt idx="266">
                  <c:v>Roederer</c:v>
                </c:pt>
                <c:pt idx="267">
                  <c:v>Lanson-Bcc:</c:v>
                </c:pt>
                <c:pt idx="268">
                  <c:v>Laurent Per</c:v>
                </c:pt>
                <c:pt idx="269">
                  <c:v>All Others</c:v>
                </c:pt>
                <c:pt idx="270">
                  <c:v>All Others</c:v>
                </c:pt>
                <c:pt idx="271">
                  <c:v>Laurent Per</c:v>
                </c:pt>
                <c:pt idx="272">
                  <c:v>Nicolas</c:v>
                </c:pt>
                <c:pt idx="273">
                  <c:v>De Venoge</c:v>
                </c:pt>
                <c:pt idx="274">
                  <c:v>All Others</c:v>
                </c:pt>
                <c:pt idx="275">
                  <c:v>Bollinger</c:v>
                </c:pt>
                <c:pt idx="276">
                  <c:v>Roederer</c:v>
                </c:pt>
                <c:pt idx="277">
                  <c:v>Laurent Per</c:v>
                </c:pt>
                <c:pt idx="278">
                  <c:v>Ruinart</c:v>
                </c:pt>
                <c:pt idx="279">
                  <c:v>All Others</c:v>
                </c:pt>
                <c:pt idx="280">
                  <c:v>Roederer</c:v>
                </c:pt>
                <c:pt idx="281">
                  <c:v>Ruinart</c:v>
                </c:pt>
                <c:pt idx="282">
                  <c:v>All Others</c:v>
                </c:pt>
                <c:pt idx="283">
                  <c:v>Bollinger</c:v>
                </c:pt>
                <c:pt idx="284">
                  <c:v>Laurent Per</c:v>
                </c:pt>
                <c:pt idx="285">
                  <c:v>All Others</c:v>
                </c:pt>
                <c:pt idx="286">
                  <c:v>Bouvet-Ladu</c:v>
                </c:pt>
                <c:pt idx="287">
                  <c:v>Nicolas Feu</c:v>
                </c:pt>
                <c:pt idx="288">
                  <c:v>All Others</c:v>
                </c:pt>
                <c:pt idx="289">
                  <c:v>All Others</c:v>
                </c:pt>
                <c:pt idx="290">
                  <c:v>All Others</c:v>
                </c:pt>
                <c:pt idx="291">
                  <c:v>Roederer</c:v>
                </c:pt>
                <c:pt idx="292">
                  <c:v>Roederer</c:v>
                </c:pt>
                <c:pt idx="293">
                  <c:v>All Others</c:v>
                </c:pt>
                <c:pt idx="294">
                  <c:v>Besserat De</c:v>
                </c:pt>
                <c:pt idx="295">
                  <c:v>Ruinart</c:v>
                </c:pt>
                <c:pt idx="296">
                  <c:v>All Others</c:v>
                </c:pt>
                <c:pt idx="297">
                  <c:v>All Others</c:v>
                </c:pt>
                <c:pt idx="298">
                  <c:v>Bollinger</c:v>
                </c:pt>
                <c:pt idx="299">
                  <c:v>De Bligny</c:v>
                </c:pt>
                <c:pt idx="300">
                  <c:v>Deutz</c:v>
                </c:pt>
                <c:pt idx="301">
                  <c:v>Veuve Clicq</c:v>
                </c:pt>
                <c:pt idx="302">
                  <c:v>All Others</c:v>
                </c:pt>
                <c:pt idx="303">
                  <c:v>Roederer</c:v>
                </c:pt>
                <c:pt idx="304">
                  <c:v>Roederer</c:v>
                </c:pt>
                <c:pt idx="305">
                  <c:v>Besserat De</c:v>
                </c:pt>
                <c:pt idx="306">
                  <c:v>All Others</c:v>
                </c:pt>
                <c:pt idx="307">
                  <c:v>All Others</c:v>
                </c:pt>
                <c:pt idx="308">
                  <c:v>All Others</c:v>
                </c:pt>
                <c:pt idx="309">
                  <c:v>All Others</c:v>
                </c:pt>
                <c:pt idx="310">
                  <c:v>Taittinger</c:v>
                </c:pt>
                <c:pt idx="311">
                  <c:v>Laurent Per</c:v>
                </c:pt>
                <c:pt idx="312">
                  <c:v>All Others</c:v>
                </c:pt>
                <c:pt idx="313">
                  <c:v>Vesselle</c:v>
                </c:pt>
                <c:pt idx="314">
                  <c:v>Roederer</c:v>
                </c:pt>
                <c:pt idx="315">
                  <c:v>Ayala</c:v>
                </c:pt>
                <c:pt idx="316">
                  <c:v>Malard</c:v>
                </c:pt>
                <c:pt idx="317">
                  <c:v>Laurent Per</c:v>
                </c:pt>
                <c:pt idx="318">
                  <c:v>Roederer</c:v>
                </c:pt>
                <c:pt idx="319">
                  <c:v>De Bligny</c:v>
                </c:pt>
                <c:pt idx="320">
                  <c:v>All Others</c:v>
                </c:pt>
                <c:pt idx="321">
                  <c:v>Bouvet-Ladu</c:v>
                </c:pt>
                <c:pt idx="322">
                  <c:v>Roederer</c:v>
                </c:pt>
                <c:pt idx="323">
                  <c:v>Laurent Per</c:v>
                </c:pt>
                <c:pt idx="324">
                  <c:v>De Venoge</c:v>
                </c:pt>
                <c:pt idx="325">
                  <c:v>All Others</c:v>
                </c:pt>
                <c:pt idx="326">
                  <c:v>De Venoge</c:v>
                </c:pt>
                <c:pt idx="327">
                  <c:v>Bouvet-Ladu</c:v>
                </c:pt>
                <c:pt idx="328">
                  <c:v>Canard Duch</c:v>
                </c:pt>
                <c:pt idx="329">
                  <c:v>Henriot</c:v>
                </c:pt>
                <c:pt idx="330">
                  <c:v>Ayala</c:v>
                </c:pt>
                <c:pt idx="331">
                  <c:v>All Others</c:v>
                </c:pt>
                <c:pt idx="332">
                  <c:v>Roederer</c:v>
                </c:pt>
                <c:pt idx="333">
                  <c:v>All Others</c:v>
                </c:pt>
                <c:pt idx="334">
                  <c:v>Bollinger</c:v>
                </c:pt>
                <c:pt idx="335">
                  <c:v>All Others</c:v>
                </c:pt>
                <c:pt idx="336">
                  <c:v>All Others</c:v>
                </c:pt>
                <c:pt idx="337">
                  <c:v>All Others</c:v>
                </c:pt>
                <c:pt idx="338">
                  <c:v>Vranken</c:v>
                </c:pt>
                <c:pt idx="339">
                  <c:v>Roederer</c:v>
                </c:pt>
                <c:pt idx="340">
                  <c:v>Nicolas</c:v>
                </c:pt>
                <c:pt idx="341">
                  <c:v>Lanson</c:v>
                </c:pt>
                <c:pt idx="342">
                  <c:v>De Venoge</c:v>
                </c:pt>
                <c:pt idx="343">
                  <c:v>All Others</c:v>
                </c:pt>
                <c:pt idx="344">
                  <c:v>Bouvet-Ladu</c:v>
                </c:pt>
                <c:pt idx="345">
                  <c:v>Deutz</c:v>
                </c:pt>
                <c:pt idx="346">
                  <c:v>All Others</c:v>
                </c:pt>
                <c:pt idx="347">
                  <c:v>Laurent Per</c:v>
                </c:pt>
                <c:pt idx="348">
                  <c:v>Roederer</c:v>
                </c:pt>
                <c:pt idx="349">
                  <c:v>Ruinart</c:v>
                </c:pt>
                <c:pt idx="350">
                  <c:v>Vranken</c:v>
                </c:pt>
                <c:pt idx="351">
                  <c:v>Demoiselle</c:v>
                </c:pt>
                <c:pt idx="352">
                  <c:v>Piper Heids</c:v>
                </c:pt>
                <c:pt idx="353">
                  <c:v>Taittinger</c:v>
                </c:pt>
                <c:pt idx="354">
                  <c:v>Roederer</c:v>
                </c:pt>
                <c:pt idx="355">
                  <c:v>Bollinger</c:v>
                </c:pt>
                <c:pt idx="356">
                  <c:v>Bollinger</c:v>
                </c:pt>
                <c:pt idx="357">
                  <c:v>Roederer</c:v>
                </c:pt>
                <c:pt idx="358">
                  <c:v>Demoiselle</c:v>
                </c:pt>
                <c:pt idx="359">
                  <c:v>Bottega</c:v>
                </c:pt>
                <c:pt idx="360">
                  <c:v>De Venoge</c:v>
                </c:pt>
                <c:pt idx="361">
                  <c:v>Bottega</c:v>
                </c:pt>
                <c:pt idx="362">
                  <c:v>All Others</c:v>
                </c:pt>
                <c:pt idx="363">
                  <c:v>Deutz</c:v>
                </c:pt>
                <c:pt idx="364">
                  <c:v>Laurent Per</c:v>
                </c:pt>
                <c:pt idx="365">
                  <c:v>All Others</c:v>
                </c:pt>
                <c:pt idx="366">
                  <c:v>Ruinart</c:v>
                </c:pt>
                <c:pt idx="367">
                  <c:v>All Others</c:v>
                </c:pt>
                <c:pt idx="368">
                  <c:v>Roederer</c:v>
                </c:pt>
                <c:pt idx="369">
                  <c:v>All Others</c:v>
                </c:pt>
                <c:pt idx="370">
                  <c:v>Mure</c:v>
                </c:pt>
                <c:pt idx="371">
                  <c:v>Perrier Jou</c:v>
                </c:pt>
                <c:pt idx="372">
                  <c:v>All Others</c:v>
                </c:pt>
                <c:pt idx="373">
                  <c:v>All Others</c:v>
                </c:pt>
                <c:pt idx="374">
                  <c:v>All Others</c:v>
                </c:pt>
                <c:pt idx="375">
                  <c:v>All Others</c:v>
                </c:pt>
                <c:pt idx="376">
                  <c:v>All Others</c:v>
                </c:pt>
                <c:pt idx="377">
                  <c:v>All Others</c:v>
                </c:pt>
                <c:pt idx="378">
                  <c:v>All Others</c:v>
                </c:pt>
                <c:pt idx="379">
                  <c:v>All Others</c:v>
                </c:pt>
                <c:pt idx="380">
                  <c:v>Roederer</c:v>
                </c:pt>
                <c:pt idx="381">
                  <c:v>Ruinart</c:v>
                </c:pt>
                <c:pt idx="382">
                  <c:v>Bouvet-Ladu</c:v>
                </c:pt>
                <c:pt idx="383">
                  <c:v>All Others</c:v>
                </c:pt>
                <c:pt idx="384">
                  <c:v>Nicolas Feu</c:v>
                </c:pt>
                <c:pt idx="385">
                  <c:v>All Others</c:v>
                </c:pt>
                <c:pt idx="386">
                  <c:v>De Venoge</c:v>
                </c:pt>
                <c:pt idx="387">
                  <c:v>All Others</c:v>
                </c:pt>
                <c:pt idx="388">
                  <c:v>Contarini</c:v>
                </c:pt>
                <c:pt idx="389">
                  <c:v>Ayala</c:v>
                </c:pt>
                <c:pt idx="390">
                  <c:v>Delamotte</c:v>
                </c:pt>
                <c:pt idx="391">
                  <c:v>Lanson</c:v>
                </c:pt>
                <c:pt idx="392">
                  <c:v>Laurent Per</c:v>
                </c:pt>
                <c:pt idx="393">
                  <c:v>All Others</c:v>
                </c:pt>
                <c:pt idx="394">
                  <c:v>All Others</c:v>
                </c:pt>
                <c:pt idx="395">
                  <c:v>All Others</c:v>
                </c:pt>
                <c:pt idx="396">
                  <c:v>All Others</c:v>
                </c:pt>
                <c:pt idx="397">
                  <c:v>Pommery</c:v>
                </c:pt>
                <c:pt idx="398">
                  <c:v>Lanson</c:v>
                </c:pt>
                <c:pt idx="399">
                  <c:v>Vranken</c:v>
                </c:pt>
                <c:pt idx="400">
                  <c:v>Vesselle</c:v>
                </c:pt>
                <c:pt idx="401">
                  <c:v>Besserat De</c:v>
                </c:pt>
                <c:pt idx="402">
                  <c:v>All Others</c:v>
                </c:pt>
                <c:pt idx="403">
                  <c:v>Bottega</c:v>
                </c:pt>
                <c:pt idx="404">
                  <c:v>French Bloo</c:v>
                </c:pt>
                <c:pt idx="405">
                  <c:v>All Others</c:v>
                </c:pt>
              </c:strCache>
            </c:strRef>
          </c:cat>
          <c:val>
            <c:numRef>
              <c:f>Sheet1!$C$2:$C$407</c:f>
              <c:numCache>
                <c:formatCode>General</c:formatCode>
                <c:ptCount val="406"/>
                <c:pt idx="0">
                  <c:v>0.10062131883722288</c:v>
                </c:pt>
                <c:pt idx="1">
                  <c:v>0.16836966604067188</c:v>
                </c:pt>
                <c:pt idx="2">
                  <c:v>0.21552044741045862</c:v>
                </c:pt>
                <c:pt idx="3">
                  <c:v>0.25937034785662938</c:v>
                </c:pt>
                <c:pt idx="4">
                  <c:v>0.29267901474875568</c:v>
                </c:pt>
                <c:pt idx="5">
                  <c:v>0.3248471532462015</c:v>
                </c:pt>
                <c:pt idx="6">
                  <c:v>0.35264148406069429</c:v>
                </c:pt>
                <c:pt idx="7">
                  <c:v>0.38004651644967086</c:v>
                </c:pt>
                <c:pt idx="8">
                  <c:v>0.40433344606313815</c:v>
                </c:pt>
                <c:pt idx="9">
                  <c:v>0.42536389797191471</c:v>
                </c:pt>
                <c:pt idx="10">
                  <c:v>0.44536292653822718</c:v>
                </c:pt>
                <c:pt idx="11">
                  <c:v>0.46445250468589888</c:v>
                </c:pt>
                <c:pt idx="12">
                  <c:v>0.48097023026965624</c:v>
                </c:pt>
                <c:pt idx="13">
                  <c:v>0.49740648953950783</c:v>
                </c:pt>
                <c:pt idx="14">
                  <c:v>0.51301440222936789</c:v>
                </c:pt>
                <c:pt idx="15">
                  <c:v>0.52832852872380809</c:v>
                </c:pt>
                <c:pt idx="16">
                  <c:v>0.54345063395110005</c:v>
                </c:pt>
                <c:pt idx="17">
                  <c:v>0.55572893955326386</c:v>
                </c:pt>
                <c:pt idx="18">
                  <c:v>0.56629355276135473</c:v>
                </c:pt>
                <c:pt idx="19">
                  <c:v>0.57626633449434173</c:v>
                </c:pt>
                <c:pt idx="20">
                  <c:v>0.5861880072161576</c:v>
                </c:pt>
                <c:pt idx="21">
                  <c:v>0.59608575657104224</c:v>
                </c:pt>
                <c:pt idx="22">
                  <c:v>0.60544858306609861</c:v>
                </c:pt>
                <c:pt idx="23">
                  <c:v>0.61364668594310101</c:v>
                </c:pt>
                <c:pt idx="24">
                  <c:v>0.62179567342284314</c:v>
                </c:pt>
                <c:pt idx="25">
                  <c:v>0.62987986845048005</c:v>
                </c:pt>
                <c:pt idx="26">
                  <c:v>0.63752719017518078</c:v>
                </c:pt>
                <c:pt idx="27">
                  <c:v>0.64513183043842481</c:v>
                </c:pt>
                <c:pt idx="28">
                  <c:v>0.65234445371172867</c:v>
                </c:pt>
                <c:pt idx="29">
                  <c:v>0.6593092345283782</c:v>
                </c:pt>
                <c:pt idx="30">
                  <c:v>0.66626857821617969</c:v>
                </c:pt>
                <c:pt idx="31">
                  <c:v>0.67306580484549694</c:v>
                </c:pt>
                <c:pt idx="32">
                  <c:v>0.67980394800799926</c:v>
                </c:pt>
                <c:pt idx="33">
                  <c:v>0.68627703113916205</c:v>
                </c:pt>
                <c:pt idx="34">
                  <c:v>0.6926892184272273</c:v>
                </c:pt>
                <c:pt idx="35">
                  <c:v>0.69895270024129996</c:v>
                </c:pt>
                <c:pt idx="36">
                  <c:v>0.70484890400169076</c:v>
                </c:pt>
                <c:pt idx="37">
                  <c:v>0.71055372082663226</c:v>
                </c:pt>
                <c:pt idx="38">
                  <c:v>0.71620625059581888</c:v>
                </c:pt>
                <c:pt idx="39">
                  <c:v>0.72170309724232462</c:v>
                </c:pt>
                <c:pt idx="40">
                  <c:v>0.72699152061632411</c:v>
                </c:pt>
                <c:pt idx="41">
                  <c:v>0.73212471396171341</c:v>
                </c:pt>
                <c:pt idx="42">
                  <c:v>0.73722827495488108</c:v>
                </c:pt>
                <c:pt idx="43">
                  <c:v>0.74212640309640887</c:v>
                </c:pt>
                <c:pt idx="44">
                  <c:v>0.74697124737522624</c:v>
                </c:pt>
                <c:pt idx="45">
                  <c:v>0.751797967891217</c:v>
                </c:pt>
                <c:pt idx="46">
                  <c:v>0.75660828640184963</c:v>
                </c:pt>
                <c:pt idx="47">
                  <c:v>0.76132273020712937</c:v>
                </c:pt>
                <c:pt idx="48">
                  <c:v>0.7660256654230142</c:v>
                </c:pt>
                <c:pt idx="49">
                  <c:v>0.77064930917653252</c:v>
                </c:pt>
                <c:pt idx="50">
                  <c:v>0.77525365112264044</c:v>
                </c:pt>
                <c:pt idx="51">
                  <c:v>0.77983316351367582</c:v>
                </c:pt>
                <c:pt idx="52">
                  <c:v>0.78417697636915074</c:v>
                </c:pt>
                <c:pt idx="53">
                  <c:v>0.78845137521299968</c:v>
                </c:pt>
                <c:pt idx="54">
                  <c:v>0.79269387623427368</c:v>
                </c:pt>
                <c:pt idx="55">
                  <c:v>0.79678214403389303</c:v>
                </c:pt>
                <c:pt idx="56">
                  <c:v>0.80081966529759774</c:v>
                </c:pt>
                <c:pt idx="57">
                  <c:v>0.80476575217784208</c:v>
                </c:pt>
                <c:pt idx="58">
                  <c:v>0.80858352281727375</c:v>
                </c:pt>
                <c:pt idx="59">
                  <c:v>0.81223183627427642</c:v>
                </c:pt>
                <c:pt idx="60">
                  <c:v>0.81586266030015131</c:v>
                </c:pt>
                <c:pt idx="61">
                  <c:v>0.819483788112914</c:v>
                </c:pt>
                <c:pt idx="62">
                  <c:v>0.82310292231176574</c:v>
                </c:pt>
                <c:pt idx="63">
                  <c:v>0.82670610759933005</c:v>
                </c:pt>
                <c:pt idx="64">
                  <c:v>0.83026144615303199</c:v>
                </c:pt>
                <c:pt idx="65">
                  <c:v>0.83375054235360258</c:v>
                </c:pt>
                <c:pt idx="66">
                  <c:v>0.8370985450605678</c:v>
                </c:pt>
                <c:pt idx="67">
                  <c:v>0.84038855172648774</c:v>
                </c:pt>
                <c:pt idx="68">
                  <c:v>0.84366868094166714</c:v>
                </c:pt>
                <c:pt idx="69">
                  <c:v>0.84685547277828943</c:v>
                </c:pt>
                <c:pt idx="70">
                  <c:v>0.85004036161981489</c:v>
                </c:pt>
                <c:pt idx="71">
                  <c:v>0.85302471102566357</c:v>
                </c:pt>
                <c:pt idx="72">
                  <c:v>0.85590294580016224</c:v>
                </c:pt>
                <c:pt idx="73">
                  <c:v>0.85868349349302531</c:v>
                </c:pt>
                <c:pt idx="74">
                  <c:v>0.86141954734814907</c:v>
                </c:pt>
                <c:pt idx="75">
                  <c:v>0.86413639001467657</c:v>
                </c:pt>
                <c:pt idx="76">
                  <c:v>0.86685096721085075</c:v>
                </c:pt>
                <c:pt idx="77">
                  <c:v>0.86948362499904852</c:v>
                </c:pt>
                <c:pt idx="78">
                  <c:v>0.87202067993833576</c:v>
                </c:pt>
                <c:pt idx="79">
                  <c:v>0.87451124742597264</c:v>
                </c:pt>
                <c:pt idx="80">
                  <c:v>0.87697091389799009</c:v>
                </c:pt>
                <c:pt idx="81">
                  <c:v>0.87939904502268917</c:v>
                </c:pt>
                <c:pt idx="82">
                  <c:v>0.88180995857270295</c:v>
                </c:pt>
                <c:pt idx="83">
                  <c:v>0.88415725771519527</c:v>
                </c:pt>
                <c:pt idx="84">
                  <c:v>0.88641466299406746</c:v>
                </c:pt>
                <c:pt idx="85">
                  <c:v>0.88866862475800257</c:v>
                </c:pt>
                <c:pt idx="86">
                  <c:v>0.89091171226424171</c:v>
                </c:pt>
                <c:pt idx="87">
                  <c:v>0.8930754176893001</c:v>
                </c:pt>
                <c:pt idx="88">
                  <c:v>0.89523060494582996</c:v>
                </c:pt>
                <c:pt idx="89">
                  <c:v>0.89732444326519167</c:v>
                </c:pt>
                <c:pt idx="90">
                  <c:v>0.89937840930633484</c:v>
                </c:pt>
                <c:pt idx="91">
                  <c:v>0.9013171082159005</c:v>
                </c:pt>
                <c:pt idx="92">
                  <c:v>0.90317778432649753</c:v>
                </c:pt>
                <c:pt idx="93">
                  <c:v>0.90501970234256901</c:v>
                </c:pt>
                <c:pt idx="94">
                  <c:v>0.90680199317894083</c:v>
                </c:pt>
                <c:pt idx="95">
                  <c:v>0.90855039257882675</c:v>
                </c:pt>
                <c:pt idx="96">
                  <c:v>0.91016395118328253</c:v>
                </c:pt>
                <c:pt idx="97">
                  <c:v>0.91177334132228816</c:v>
                </c:pt>
                <c:pt idx="98">
                  <c:v>0.91338182527315248</c:v>
                </c:pt>
                <c:pt idx="99">
                  <c:v>0.91497707887715329</c:v>
                </c:pt>
                <c:pt idx="100">
                  <c:v>0.91648334480567539</c:v>
                </c:pt>
                <c:pt idx="101">
                  <c:v>0.91798100194685484</c:v>
                </c:pt>
                <c:pt idx="102">
                  <c:v>0.91943606824539159</c:v>
                </c:pt>
                <c:pt idx="103">
                  <c:v>0.92084220038429643</c:v>
                </c:pt>
                <c:pt idx="104">
                  <c:v>0.92223673331499223</c:v>
                </c:pt>
                <c:pt idx="105">
                  <c:v>0.92362900077533472</c:v>
                </c:pt>
                <c:pt idx="106">
                  <c:v>0.92501836843362495</c:v>
                </c:pt>
                <c:pt idx="107">
                  <c:v>0.92638064106648932</c:v>
                </c:pt>
                <c:pt idx="108">
                  <c:v>0.92769696996058815</c:v>
                </c:pt>
                <c:pt idx="109">
                  <c:v>0.9289882880619863</c:v>
                </c:pt>
                <c:pt idx="110">
                  <c:v>0.9302749846038636</c:v>
                </c:pt>
                <c:pt idx="111">
                  <c:v>0.93153449550150091</c:v>
                </c:pt>
                <c:pt idx="112">
                  <c:v>0.93278666627519347</c:v>
                </c:pt>
                <c:pt idx="113">
                  <c:v>0.9339313631353241</c:v>
                </c:pt>
                <c:pt idx="114">
                  <c:v>0.93507180091119046</c:v>
                </c:pt>
                <c:pt idx="115">
                  <c:v>0.93620970136026105</c:v>
                </c:pt>
                <c:pt idx="116">
                  <c:v>0.9372994832190269</c:v>
                </c:pt>
                <c:pt idx="117">
                  <c:v>0.93838409980538717</c:v>
                </c:pt>
                <c:pt idx="118">
                  <c:v>0.93945593913895464</c:v>
                </c:pt>
                <c:pt idx="119">
                  <c:v>0.94048011297628809</c:v>
                </c:pt>
                <c:pt idx="120">
                  <c:v>0.94147855107040768</c:v>
                </c:pt>
                <c:pt idx="121">
                  <c:v>0.94247608297638596</c:v>
                </c:pt>
                <c:pt idx="122">
                  <c:v>0.94347270869422295</c:v>
                </c:pt>
                <c:pt idx="123">
                  <c:v>0.9444617224316727</c:v>
                </c:pt>
                <c:pt idx="124">
                  <c:v>0.94543369983206538</c:v>
                </c:pt>
                <c:pt idx="125">
                  <c:v>0.94639906205902635</c:v>
                </c:pt>
                <c:pt idx="126">
                  <c:v>0.94736070891460789</c:v>
                </c:pt>
                <c:pt idx="127">
                  <c:v>0.94830559128957481</c:v>
                </c:pt>
                <c:pt idx="128">
                  <c:v>0.94920697663375775</c:v>
                </c:pt>
                <c:pt idx="129">
                  <c:v>0.95004909727349762</c:v>
                </c:pt>
                <c:pt idx="130">
                  <c:v>0.95088759316067217</c:v>
                </c:pt>
                <c:pt idx="131">
                  <c:v>0.95169645669562508</c:v>
                </c:pt>
                <c:pt idx="132">
                  <c:v>0.95249716453730604</c:v>
                </c:pt>
                <c:pt idx="133">
                  <c:v>0.95328881049757364</c:v>
                </c:pt>
                <c:pt idx="134">
                  <c:v>0.95407665046764767</c:v>
                </c:pt>
                <c:pt idx="135">
                  <c:v>0.95481655308504521</c:v>
                </c:pt>
                <c:pt idx="136">
                  <c:v>0.95554984052901104</c:v>
                </c:pt>
                <c:pt idx="137">
                  <c:v>0.95625630480399348</c:v>
                </c:pt>
                <c:pt idx="138">
                  <c:v>0.95693422415252394</c:v>
                </c:pt>
                <c:pt idx="139">
                  <c:v>0.9575945634511126</c:v>
                </c:pt>
                <c:pt idx="140">
                  <c:v>0.95824040373943997</c:v>
                </c:pt>
                <c:pt idx="141">
                  <c:v>0.95888515660199769</c:v>
                </c:pt>
                <c:pt idx="142">
                  <c:v>0.95950181763217413</c:v>
                </c:pt>
                <c:pt idx="143">
                  <c:v>0.96011838804353644</c:v>
                </c:pt>
                <c:pt idx="144">
                  <c:v>0.96072915885079424</c:v>
                </c:pt>
                <c:pt idx="145">
                  <c:v>0.96133875161346827</c:v>
                </c:pt>
                <c:pt idx="146">
                  <c:v>0.96194571643053239</c:v>
                </c:pt>
                <c:pt idx="147">
                  <c:v>0.96254361936618327</c:v>
                </c:pt>
                <c:pt idx="148">
                  <c:v>0.96313526960365892</c:v>
                </c:pt>
                <c:pt idx="149">
                  <c:v>0.96372275137568442</c:v>
                </c:pt>
                <c:pt idx="150">
                  <c:v>0.96429292495421048</c:v>
                </c:pt>
                <c:pt idx="151">
                  <c:v>0.964860651824755</c:v>
                </c:pt>
                <c:pt idx="152">
                  <c:v>0.96541850124455897</c:v>
                </c:pt>
                <c:pt idx="153">
                  <c:v>0.96597091353551501</c:v>
                </c:pt>
                <c:pt idx="154">
                  <c:v>0.96651199847470437</c:v>
                </c:pt>
                <c:pt idx="155">
                  <c:v>0.96705127103761102</c:v>
                </c:pt>
                <c:pt idx="156">
                  <c:v>0.96758900308067741</c:v>
                </c:pt>
                <c:pt idx="157">
                  <c:v>0.96811622334130432</c:v>
                </c:pt>
                <c:pt idx="158">
                  <c:v>0.96864163122564861</c:v>
                </c:pt>
                <c:pt idx="159">
                  <c:v>0.96916051455537533</c:v>
                </c:pt>
                <c:pt idx="160">
                  <c:v>0.96967486694439542</c:v>
                </c:pt>
                <c:pt idx="161">
                  <c:v>0.97018051992725862</c:v>
                </c:pt>
                <c:pt idx="162">
                  <c:v>0.9706842699150251</c:v>
                </c:pt>
                <c:pt idx="163">
                  <c:v>0.97118122349173153</c:v>
                </c:pt>
                <c:pt idx="164">
                  <c:v>0.97167119941974978</c:v>
                </c:pt>
                <c:pt idx="165">
                  <c:v>0.97214984799600135</c:v>
                </c:pt>
                <c:pt idx="166">
                  <c:v>0.97261907221558308</c:v>
                </c:pt>
                <c:pt idx="167">
                  <c:v>0.97307832836561015</c:v>
                </c:pt>
                <c:pt idx="168">
                  <c:v>0.97353187553034681</c:v>
                </c:pt>
                <c:pt idx="169">
                  <c:v>0.97398333846235841</c:v>
                </c:pt>
                <c:pt idx="170">
                  <c:v>0.97443144849824703</c:v>
                </c:pt>
                <c:pt idx="171">
                  <c:v>0.97486179724656563</c:v>
                </c:pt>
                <c:pt idx="172">
                  <c:v>0.97529151166318528</c:v>
                </c:pt>
                <c:pt idx="173">
                  <c:v>0.97571723885198303</c:v>
                </c:pt>
                <c:pt idx="174">
                  <c:v>0.97613988500110027</c:v>
                </c:pt>
                <c:pt idx="175">
                  <c:v>0.97656153434326209</c:v>
                </c:pt>
                <c:pt idx="176">
                  <c:v>0.97696859405634839</c:v>
                </c:pt>
                <c:pt idx="177">
                  <c:v>0.97736813240786169</c:v>
                </c:pt>
                <c:pt idx="178">
                  <c:v>0.97775262803622887</c:v>
                </c:pt>
                <c:pt idx="179">
                  <c:v>0.97812788054555444</c:v>
                </c:pt>
                <c:pt idx="180">
                  <c:v>0.97849787716366032</c:v>
                </c:pt>
                <c:pt idx="181">
                  <c:v>0.97885854004391049</c:v>
                </c:pt>
                <c:pt idx="182">
                  <c:v>0.97921802487957688</c:v>
                </c:pt>
                <c:pt idx="183">
                  <c:v>0.97957605981421714</c:v>
                </c:pt>
                <c:pt idx="184">
                  <c:v>0.97992467039218756</c:v>
                </c:pt>
                <c:pt idx="185">
                  <c:v>0.98027083426217643</c:v>
                </c:pt>
                <c:pt idx="186">
                  <c:v>0.98061400771129881</c:v>
                </c:pt>
                <c:pt idx="187">
                  <c:v>0.98095092846224607</c:v>
                </c:pt>
                <c:pt idx="188">
                  <c:v>0.98127054101969391</c:v>
                </c:pt>
                <c:pt idx="189">
                  <c:v>0.98158924738900033</c:v>
                </c:pt>
                <c:pt idx="190">
                  <c:v>0.98190777252067851</c:v>
                </c:pt>
                <c:pt idx="191">
                  <c:v>0.9822205886670663</c:v>
                </c:pt>
                <c:pt idx="192">
                  <c:v>0.98252941758563228</c:v>
                </c:pt>
                <c:pt idx="193">
                  <c:v>0.98283715907842861</c:v>
                </c:pt>
                <c:pt idx="194">
                  <c:v>0.98314154767510198</c:v>
                </c:pt>
                <c:pt idx="195">
                  <c:v>0.98343995543004259</c:v>
                </c:pt>
                <c:pt idx="196">
                  <c:v>0.98373655080870059</c:v>
                </c:pt>
                <c:pt idx="197">
                  <c:v>0.98403287433091613</c:v>
                </c:pt>
                <c:pt idx="198">
                  <c:v>0.98432593557582293</c:v>
                </c:pt>
                <c:pt idx="199">
                  <c:v>0.98461854372665902</c:v>
                </c:pt>
                <c:pt idx="200">
                  <c:v>0.98490924888239828</c:v>
                </c:pt>
                <c:pt idx="201">
                  <c:v>0.9851909827755384</c:v>
                </c:pt>
                <c:pt idx="202">
                  <c:v>0.98546999810425451</c:v>
                </c:pt>
                <c:pt idx="203">
                  <c:v>0.98573632679899204</c:v>
                </c:pt>
                <c:pt idx="204">
                  <c:v>0.98599585908266951</c:v>
                </c:pt>
                <c:pt idx="205">
                  <c:v>0.98625231032666649</c:v>
                </c:pt>
                <c:pt idx="206">
                  <c:v>0.98650314320418719</c:v>
                </c:pt>
                <c:pt idx="207">
                  <c:v>0.98675379484407966</c:v>
                </c:pt>
                <c:pt idx="208">
                  <c:v>0.98700363091464494</c:v>
                </c:pt>
                <c:pt idx="209">
                  <c:v>0.98724830171280453</c:v>
                </c:pt>
                <c:pt idx="210">
                  <c:v>0.98749170384756635</c:v>
                </c:pt>
                <c:pt idx="211">
                  <c:v>0.98773447165062922</c:v>
                </c:pt>
                <c:pt idx="212">
                  <c:v>0.98797696759724962</c:v>
                </c:pt>
                <c:pt idx="213">
                  <c:v>0.9882175605487733</c:v>
                </c:pt>
                <c:pt idx="214">
                  <c:v>0.98845153832686528</c:v>
                </c:pt>
                <c:pt idx="215">
                  <c:v>0.98868107578306463</c:v>
                </c:pt>
                <c:pt idx="216">
                  <c:v>0.98890970705112269</c:v>
                </c:pt>
                <c:pt idx="217">
                  <c:v>0.98913054510116527</c:v>
                </c:pt>
                <c:pt idx="218">
                  <c:v>0.98934757716101429</c:v>
                </c:pt>
                <c:pt idx="219">
                  <c:v>0.9895641561267926</c:v>
                </c:pt>
                <c:pt idx="220">
                  <c:v>0.98977964766680138</c:v>
                </c:pt>
                <c:pt idx="221">
                  <c:v>0.98998888650863492</c:v>
                </c:pt>
                <c:pt idx="222">
                  <c:v>0.99019549740485857</c:v>
                </c:pt>
                <c:pt idx="223">
                  <c:v>0.9904015645881975</c:v>
                </c:pt>
                <c:pt idx="224">
                  <c:v>0.99060119783573297</c:v>
                </c:pt>
                <c:pt idx="225">
                  <c:v>0.99079829375647266</c:v>
                </c:pt>
                <c:pt idx="226">
                  <c:v>0.9909938491573721</c:v>
                </c:pt>
                <c:pt idx="227">
                  <c:v>0.99118559856807797</c:v>
                </c:pt>
                <c:pt idx="228">
                  <c:v>0.99137499188961631</c:v>
                </c:pt>
                <c:pt idx="229">
                  <c:v>0.99156384149826993</c:v>
                </c:pt>
                <c:pt idx="230">
                  <c:v>0.99175169429996801</c:v>
                </c:pt>
                <c:pt idx="231">
                  <c:v>0.99193719101249866</c:v>
                </c:pt>
                <c:pt idx="232">
                  <c:v>0.99211761307143786</c:v>
                </c:pt>
                <c:pt idx="233">
                  <c:v>0.99228788582319416</c:v>
                </c:pt>
                <c:pt idx="234">
                  <c:v>0.99245752424325151</c:v>
                </c:pt>
                <c:pt idx="235">
                  <c:v>0.99262109120276198</c:v>
                </c:pt>
                <c:pt idx="236">
                  <c:v>0.99278030845919407</c:v>
                </c:pt>
                <c:pt idx="237">
                  <c:v>0.99293889138392721</c:v>
                </c:pt>
                <c:pt idx="238">
                  <c:v>0.99309720245221789</c:v>
                </c:pt>
                <c:pt idx="239">
                  <c:v>0.99324826401537791</c:v>
                </c:pt>
                <c:pt idx="240">
                  <c:v>0.9933991443409097</c:v>
                </c:pt>
                <c:pt idx="241">
                  <c:v>0.99354621867624793</c:v>
                </c:pt>
                <c:pt idx="242">
                  <c:v>0.99369093692241861</c:v>
                </c:pt>
                <c:pt idx="243">
                  <c:v>0.99383357093586422</c:v>
                </c:pt>
                <c:pt idx="244">
                  <c:v>0.99396949915706401</c:v>
                </c:pt>
                <c:pt idx="245">
                  <c:v>0.99410515552182144</c:v>
                </c:pt>
                <c:pt idx="246">
                  <c:v>0.99423555599535907</c:v>
                </c:pt>
                <c:pt idx="247">
                  <c:v>0.9943655033748261</c:v>
                </c:pt>
                <c:pt idx="248">
                  <c:v>0.99449472580378007</c:v>
                </c:pt>
                <c:pt idx="249">
                  <c:v>0.9946215921435666</c:v>
                </c:pt>
                <c:pt idx="250">
                  <c:v>0.99474755229521172</c:v>
                </c:pt>
                <c:pt idx="251">
                  <c:v>0.99487052202599047</c:v>
                </c:pt>
                <c:pt idx="252">
                  <c:v>0.99498415801891349</c:v>
                </c:pt>
                <c:pt idx="253">
                  <c:v>0.99509598163555391</c:v>
                </c:pt>
                <c:pt idx="254">
                  <c:v>0.99520544916302678</c:v>
                </c:pt>
                <c:pt idx="255">
                  <c:v>0.9953133761706594</c:v>
                </c:pt>
                <c:pt idx="256">
                  <c:v>0.99541758780691258</c:v>
                </c:pt>
                <c:pt idx="257">
                  <c:v>0.99552089325502446</c:v>
                </c:pt>
                <c:pt idx="258">
                  <c:v>0.99562039271294267</c:v>
                </c:pt>
                <c:pt idx="259">
                  <c:v>0.99571662989355214</c:v>
                </c:pt>
                <c:pt idx="260">
                  <c:v>0.99581005789092347</c:v>
                </c:pt>
                <c:pt idx="261">
                  <c:v>0.9959008579426849</c:v>
                </c:pt>
                <c:pt idx="262">
                  <c:v>0.99599129551918986</c:v>
                </c:pt>
                <c:pt idx="263">
                  <c:v>0.99608155185806657</c:v>
                </c:pt>
                <c:pt idx="264">
                  <c:v>0.99617081138998775</c:v>
                </c:pt>
                <c:pt idx="265">
                  <c:v>0.99625889287732527</c:v>
                </c:pt>
                <c:pt idx="266">
                  <c:v>0.99634688374584857</c:v>
                </c:pt>
                <c:pt idx="267">
                  <c:v>0.9964319748123196</c:v>
                </c:pt>
                <c:pt idx="268">
                  <c:v>0.99651670340353415</c:v>
                </c:pt>
                <c:pt idx="269">
                  <c:v>0.996600978900678</c:v>
                </c:pt>
                <c:pt idx="270">
                  <c:v>0.99668162964525653</c:v>
                </c:pt>
                <c:pt idx="271">
                  <c:v>0.99675756821150019</c:v>
                </c:pt>
                <c:pt idx="272">
                  <c:v>0.99683323492130138</c:v>
                </c:pt>
                <c:pt idx="273">
                  <c:v>0.99690844853703198</c:v>
                </c:pt>
                <c:pt idx="274">
                  <c:v>0.99698284658343539</c:v>
                </c:pt>
                <c:pt idx="275">
                  <c:v>0.9970550697782995</c:v>
                </c:pt>
                <c:pt idx="276">
                  <c:v>0.99712674926027889</c:v>
                </c:pt>
                <c:pt idx="277">
                  <c:v>0.99719416965799401</c:v>
                </c:pt>
                <c:pt idx="278">
                  <c:v>0.99726122758045255</c:v>
                </c:pt>
                <c:pt idx="279">
                  <c:v>0.99732783240884049</c:v>
                </c:pt>
                <c:pt idx="280">
                  <c:v>0.99739325919264465</c:v>
                </c:pt>
                <c:pt idx="281">
                  <c:v>0.99745170832776053</c:v>
                </c:pt>
                <c:pt idx="282">
                  <c:v>0.99750925127473511</c:v>
                </c:pt>
                <c:pt idx="283">
                  <c:v>0.99756634112763898</c:v>
                </c:pt>
                <c:pt idx="284">
                  <c:v>0.99762243417358742</c:v>
                </c:pt>
                <c:pt idx="285">
                  <c:v>0.9976773491749521</c:v>
                </c:pt>
                <c:pt idx="286">
                  <c:v>0.99773172046343206</c:v>
                </c:pt>
                <c:pt idx="287">
                  <c:v>0.9977860011330979</c:v>
                </c:pt>
                <c:pt idx="288">
                  <c:v>0.99783629457494183</c:v>
                </c:pt>
                <c:pt idx="289">
                  <c:v>0.99788214769489325</c:v>
                </c:pt>
                <c:pt idx="290">
                  <c:v>0.99792691338907502</c:v>
                </c:pt>
                <c:pt idx="291">
                  <c:v>0.99796986670697418</c:v>
                </c:pt>
                <c:pt idx="292">
                  <c:v>0.99801182321791782</c:v>
                </c:pt>
                <c:pt idx="293">
                  <c:v>0.99805287354072014</c:v>
                </c:pt>
                <c:pt idx="294">
                  <c:v>0.99809356138826599</c:v>
                </c:pt>
                <c:pt idx="295">
                  <c:v>0.99813316181004219</c:v>
                </c:pt>
                <c:pt idx="296">
                  <c:v>0.99817203728130532</c:v>
                </c:pt>
                <c:pt idx="297">
                  <c:v>0.99821055027731198</c:v>
                </c:pt>
                <c:pt idx="298">
                  <c:v>0.99824480418905437</c:v>
                </c:pt>
                <c:pt idx="299">
                  <c:v>0.99827860500672605</c:v>
                </c:pt>
                <c:pt idx="300">
                  <c:v>0.99831159025507055</c:v>
                </c:pt>
                <c:pt idx="301">
                  <c:v>0.99834385055290198</c:v>
                </c:pt>
                <c:pt idx="302">
                  <c:v>0.99837602023191929</c:v>
                </c:pt>
                <c:pt idx="303">
                  <c:v>0.99840791805449414</c:v>
                </c:pt>
                <c:pt idx="304">
                  <c:v>0.99843936278299839</c:v>
                </c:pt>
                <c:pt idx="305">
                  <c:v>0.99847071689268851</c:v>
                </c:pt>
                <c:pt idx="306">
                  <c:v>0.99850198038356441</c:v>
                </c:pt>
                <c:pt idx="307">
                  <c:v>0.99853242830511313</c:v>
                </c:pt>
                <c:pt idx="308">
                  <c:v>0.99856251375140537</c:v>
                </c:pt>
                <c:pt idx="309">
                  <c:v>0.99859259919769761</c:v>
                </c:pt>
                <c:pt idx="310">
                  <c:v>0.9986220503122909</c:v>
                </c:pt>
                <c:pt idx="311">
                  <c:v>0.99865122957044183</c:v>
                </c:pt>
                <c:pt idx="312">
                  <c:v>0.99868040882859277</c:v>
                </c:pt>
                <c:pt idx="313">
                  <c:v>0.99870859127978817</c:v>
                </c:pt>
                <c:pt idx="314">
                  <c:v>0.99873650187454122</c:v>
                </c:pt>
                <c:pt idx="315">
                  <c:v>0.99876432185048014</c:v>
                </c:pt>
                <c:pt idx="316">
                  <c:v>0.99879159811353424</c:v>
                </c:pt>
                <c:pt idx="317">
                  <c:v>0.99881833066370351</c:v>
                </c:pt>
                <c:pt idx="318">
                  <c:v>0.99884479135743043</c:v>
                </c:pt>
                <c:pt idx="319">
                  <c:v>0.99887016462538769</c:v>
                </c:pt>
                <c:pt idx="320">
                  <c:v>0.99889544727453083</c:v>
                </c:pt>
                <c:pt idx="321">
                  <c:v>0.99892018621078915</c:v>
                </c:pt>
                <c:pt idx="322">
                  <c:v>0.99894447205297687</c:v>
                </c:pt>
                <c:pt idx="323">
                  <c:v>0.99896830480109389</c:v>
                </c:pt>
                <c:pt idx="324">
                  <c:v>0.99899168445514031</c:v>
                </c:pt>
                <c:pt idx="325">
                  <c:v>0.99901497349037249</c:v>
                </c:pt>
                <c:pt idx="326">
                  <c:v>0.9990374469562775</c:v>
                </c:pt>
                <c:pt idx="327">
                  <c:v>0.99905982980336838</c:v>
                </c:pt>
                <c:pt idx="328">
                  <c:v>0.99908175955638867</c:v>
                </c:pt>
                <c:pt idx="329">
                  <c:v>0.99910323621533825</c:v>
                </c:pt>
                <c:pt idx="330">
                  <c:v>0.99912435039903125</c:v>
                </c:pt>
                <c:pt idx="331">
                  <c:v>0.99914537396391012</c:v>
                </c:pt>
                <c:pt idx="332">
                  <c:v>0.99916630690997488</c:v>
                </c:pt>
                <c:pt idx="333">
                  <c:v>0.99918714923722551</c:v>
                </c:pt>
                <c:pt idx="334">
                  <c:v>0.99920799156447615</c:v>
                </c:pt>
                <c:pt idx="335">
                  <c:v>0.99922874327291267</c:v>
                </c:pt>
                <c:pt idx="336">
                  <c:v>0.99924922312490672</c:v>
                </c:pt>
                <c:pt idx="337">
                  <c:v>0.99926861555113122</c:v>
                </c:pt>
                <c:pt idx="338">
                  <c:v>0.99928737364565678</c:v>
                </c:pt>
                <c:pt idx="339">
                  <c:v>0.99930595050255411</c:v>
                </c:pt>
                <c:pt idx="340">
                  <c:v>0.99932380240893837</c:v>
                </c:pt>
                <c:pt idx="341">
                  <c:v>0.99934147307769439</c:v>
                </c:pt>
                <c:pt idx="342">
                  <c:v>0.99937663317757808</c:v>
                </c:pt>
                <c:pt idx="343">
                  <c:v>0.99939376013344927</c:v>
                </c:pt>
                <c:pt idx="344">
                  <c:v>0.99941043399524976</c:v>
                </c:pt>
                <c:pt idx="345">
                  <c:v>0.99942674538179377</c:v>
                </c:pt>
                <c:pt idx="346">
                  <c:v>0.99944278491189531</c:v>
                </c:pt>
                <c:pt idx="347">
                  <c:v>0.99947359530870061</c:v>
                </c:pt>
                <c:pt idx="348">
                  <c:v>0.99948827555659014</c:v>
                </c:pt>
                <c:pt idx="349">
                  <c:v>0.99950277456685144</c:v>
                </c:pt>
                <c:pt idx="350">
                  <c:v>0.99951709233948449</c:v>
                </c:pt>
                <c:pt idx="351">
                  <c:v>0.99954445922135271</c:v>
                </c:pt>
                <c:pt idx="352">
                  <c:v>0.99955778018703034</c:v>
                </c:pt>
                <c:pt idx="353">
                  <c:v>0.99957110115270797</c:v>
                </c:pt>
                <c:pt idx="354">
                  <c:v>0.9995971993711783</c:v>
                </c:pt>
                <c:pt idx="355">
                  <c:v>0.99960943291108628</c:v>
                </c:pt>
                <c:pt idx="356">
                  <c:v>0.99962166645099426</c:v>
                </c:pt>
                <c:pt idx="357">
                  <c:v>0.999633718753274</c:v>
                </c:pt>
                <c:pt idx="358">
                  <c:v>0.99964558981792551</c:v>
                </c:pt>
                <c:pt idx="359">
                  <c:v>0.99965737026376278</c:v>
                </c:pt>
                <c:pt idx="360">
                  <c:v>0.99966906009078593</c:v>
                </c:pt>
                <c:pt idx="361">
                  <c:v>0.99969216788838988</c:v>
                </c:pt>
                <c:pt idx="362">
                  <c:v>0.99970358585897068</c:v>
                </c:pt>
                <c:pt idx="363">
                  <c:v>0.99971464135429489</c:v>
                </c:pt>
                <c:pt idx="364">
                  <c:v>0.99972551561199086</c:v>
                </c:pt>
                <c:pt idx="365">
                  <c:v>0.99973620863205859</c:v>
                </c:pt>
                <c:pt idx="366">
                  <c:v>0.99974617670161325</c:v>
                </c:pt>
                <c:pt idx="367">
                  <c:v>0.9997560541523538</c:v>
                </c:pt>
                <c:pt idx="368">
                  <c:v>0.99976584098428023</c:v>
                </c:pt>
                <c:pt idx="369">
                  <c:v>0.99977553719739243</c:v>
                </c:pt>
                <c:pt idx="370">
                  <c:v>0.99978505217287639</c:v>
                </c:pt>
                <c:pt idx="371">
                  <c:v>0.99979438591073211</c:v>
                </c:pt>
                <c:pt idx="372">
                  <c:v>0.99980344779214547</c:v>
                </c:pt>
                <c:pt idx="373">
                  <c:v>0.99982148093615797</c:v>
                </c:pt>
                <c:pt idx="374">
                  <c:v>0.99983036157994298</c:v>
                </c:pt>
                <c:pt idx="375">
                  <c:v>0.99983824541677258</c:v>
                </c:pt>
                <c:pt idx="376">
                  <c:v>0.99985355999636116</c:v>
                </c:pt>
                <c:pt idx="377">
                  <c:v>0.99986099073912005</c:v>
                </c:pt>
                <c:pt idx="378">
                  <c:v>0.99986805900662246</c:v>
                </c:pt>
                <c:pt idx="379">
                  <c:v>0.99987476479886828</c:v>
                </c:pt>
                <c:pt idx="380">
                  <c:v>0.99988781390810344</c:v>
                </c:pt>
                <c:pt idx="381">
                  <c:v>0.99989415722509278</c:v>
                </c:pt>
                <c:pt idx="382">
                  <c:v>0.99990013806682554</c:v>
                </c:pt>
                <c:pt idx="383">
                  <c:v>0.99991191851266281</c:v>
                </c:pt>
                <c:pt idx="384">
                  <c:v>0.99991762749795321</c:v>
                </c:pt>
                <c:pt idx="385">
                  <c:v>0.99992306462680125</c:v>
                </c:pt>
                <c:pt idx="386">
                  <c:v>0.99992850175564929</c:v>
                </c:pt>
                <c:pt idx="387">
                  <c:v>0.99993357640924074</c:v>
                </c:pt>
                <c:pt idx="388">
                  <c:v>0.99993837920638984</c:v>
                </c:pt>
                <c:pt idx="389">
                  <c:v>0.99994291014709646</c:v>
                </c:pt>
                <c:pt idx="390">
                  <c:v>0.99995478121174786</c:v>
                </c:pt>
                <c:pt idx="391">
                  <c:v>0.99995831534549906</c:v>
                </c:pt>
                <c:pt idx="392">
                  <c:v>0.99996846465268197</c:v>
                </c:pt>
                <c:pt idx="393">
                  <c:v>0.99997163631117658</c:v>
                </c:pt>
                <c:pt idx="394">
                  <c:v>0.9999748079696712</c:v>
                </c:pt>
                <c:pt idx="395">
                  <c:v>0.99997770777172346</c:v>
                </c:pt>
                <c:pt idx="396">
                  <c:v>0.99998060757377571</c:v>
                </c:pt>
                <c:pt idx="397">
                  <c:v>0.99998332613819974</c:v>
                </c:pt>
                <c:pt idx="398">
                  <c:v>0.99998867264823366</c:v>
                </c:pt>
                <c:pt idx="399">
                  <c:v>0.99999084749977285</c:v>
                </c:pt>
                <c:pt idx="400">
                  <c:v>0.99999293173249792</c:v>
                </c:pt>
                <c:pt idx="401">
                  <c:v>0.99999474410878064</c:v>
                </c:pt>
                <c:pt idx="402">
                  <c:v>0.99999619400980677</c:v>
                </c:pt>
                <c:pt idx="403">
                  <c:v>0.99999746267320466</c:v>
                </c:pt>
                <c:pt idx="404">
                  <c:v>0.99999855009897431</c:v>
                </c:pt>
                <c:pt idx="405">
                  <c:v>1.000000000000000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454</c:f>
              <c:strCache>
                <c:ptCount val="453"/>
                <c:pt idx="0">
                  <c:v>Ruinart</c:v>
                </c:pt>
                <c:pt idx="1">
                  <c:v>Nicolas</c:v>
                </c:pt>
                <c:pt idx="2">
                  <c:v>Deutz</c:v>
                </c:pt>
                <c:pt idx="3">
                  <c:v>Ruinart</c:v>
                </c:pt>
                <c:pt idx="4">
                  <c:v>Heidsieck &amp;</c:v>
                </c:pt>
                <c:pt idx="5">
                  <c:v>Malard</c:v>
                </c:pt>
                <c:pt idx="6">
                  <c:v>Laurent Per</c:v>
                </c:pt>
                <c:pt idx="7">
                  <c:v>Ayala</c:v>
                </c:pt>
                <c:pt idx="8">
                  <c:v>De Bligny</c:v>
                </c:pt>
                <c:pt idx="9">
                  <c:v>Nicolas Feu</c:v>
                </c:pt>
                <c:pt idx="10">
                  <c:v>Ruinart</c:v>
                </c:pt>
                <c:pt idx="11">
                  <c:v>Canard Duch</c:v>
                </c:pt>
                <c:pt idx="12">
                  <c:v>Taittinger</c:v>
                </c:pt>
                <c:pt idx="13">
                  <c:v>Ruinart</c:v>
                </c:pt>
                <c:pt idx="14">
                  <c:v>Bollinger</c:v>
                </c:pt>
                <c:pt idx="15">
                  <c:v>Besserat De</c:v>
                </c:pt>
                <c:pt idx="16">
                  <c:v>Demoiselle</c:v>
                </c:pt>
                <c:pt idx="17">
                  <c:v>Perrier Jou</c:v>
                </c:pt>
                <c:pt idx="18">
                  <c:v>Ruinart</c:v>
                </c:pt>
                <c:pt idx="19">
                  <c:v>Deutz</c:v>
                </c:pt>
                <c:pt idx="20">
                  <c:v>Ruinart</c:v>
                </c:pt>
                <c:pt idx="21">
                  <c:v>All Others</c:v>
                </c:pt>
                <c:pt idx="22">
                  <c:v>Laurent Per</c:v>
                </c:pt>
                <c:pt idx="23">
                  <c:v>Roederer</c:v>
                </c:pt>
                <c:pt idx="24">
                  <c:v>Pommery</c:v>
                </c:pt>
                <c:pt idx="25">
                  <c:v>Vesselle</c:v>
                </c:pt>
                <c:pt idx="26">
                  <c:v>Campari: Al</c:v>
                </c:pt>
                <c:pt idx="27">
                  <c:v>Dom Perigno</c:v>
                </c:pt>
                <c:pt idx="28">
                  <c:v>Deutz</c:v>
                </c:pt>
                <c:pt idx="29">
                  <c:v>Ruinart</c:v>
                </c:pt>
                <c:pt idx="30">
                  <c:v>Savian</c:v>
                </c:pt>
                <c:pt idx="31">
                  <c:v>Moët &amp; Chan</c:v>
                </c:pt>
                <c:pt idx="32">
                  <c:v>Dom Perigno</c:v>
                </c:pt>
                <c:pt idx="33">
                  <c:v>Malard</c:v>
                </c:pt>
                <c:pt idx="34">
                  <c:v>All Others</c:v>
                </c:pt>
                <c:pt idx="35">
                  <c:v>Veuve Clicq</c:v>
                </c:pt>
                <c:pt idx="36">
                  <c:v>Taittinger</c:v>
                </c:pt>
                <c:pt idx="37">
                  <c:v>Demoiselle</c:v>
                </c:pt>
                <c:pt idx="38">
                  <c:v>Veuve Clicq</c:v>
                </c:pt>
                <c:pt idx="39">
                  <c:v>Laurent Per</c:v>
                </c:pt>
                <c:pt idx="40">
                  <c:v>Nicolas</c:v>
                </c:pt>
                <c:pt idx="41">
                  <c:v>Henriot</c:v>
                </c:pt>
                <c:pt idx="42">
                  <c:v>Ruinart</c:v>
                </c:pt>
                <c:pt idx="43">
                  <c:v>Roederer</c:v>
                </c:pt>
                <c:pt idx="44">
                  <c:v>Veuve Clicq</c:v>
                </c:pt>
                <c:pt idx="45">
                  <c:v>Malard</c:v>
                </c:pt>
                <c:pt idx="46">
                  <c:v>All Others</c:v>
                </c:pt>
                <c:pt idx="47">
                  <c:v>Besserat De</c:v>
                </c:pt>
                <c:pt idx="48">
                  <c:v>De Venoge</c:v>
                </c:pt>
                <c:pt idx="49">
                  <c:v>Nicolas</c:v>
                </c:pt>
                <c:pt idx="50">
                  <c:v>Ruinart</c:v>
                </c:pt>
                <c:pt idx="51">
                  <c:v>Deutz</c:v>
                </c:pt>
                <c:pt idx="52">
                  <c:v>Piper Heids</c:v>
                </c:pt>
                <c:pt idx="53">
                  <c:v>Nicolas Feu</c:v>
                </c:pt>
                <c:pt idx="54">
                  <c:v>Louis Marti</c:v>
                </c:pt>
                <c:pt idx="55">
                  <c:v>Moët &amp; Chan</c:v>
                </c:pt>
                <c:pt idx="56">
                  <c:v>Nicolas</c:v>
                </c:pt>
                <c:pt idx="57">
                  <c:v>Moët &amp; Chan</c:v>
                </c:pt>
                <c:pt idx="58">
                  <c:v>Nicolas Feu</c:v>
                </c:pt>
                <c:pt idx="59">
                  <c:v>Ruinart</c:v>
                </c:pt>
                <c:pt idx="60">
                  <c:v>Lanson</c:v>
                </c:pt>
                <c:pt idx="61">
                  <c:v>Campari: Al</c:v>
                </c:pt>
                <c:pt idx="62">
                  <c:v>Nicolas Feu</c:v>
                </c:pt>
                <c:pt idx="63">
                  <c:v>Roederer</c:v>
                </c:pt>
                <c:pt idx="64">
                  <c:v>Canard Duch</c:v>
                </c:pt>
                <c:pt idx="65">
                  <c:v>Bollinger</c:v>
                </c:pt>
                <c:pt idx="66">
                  <c:v>Malard</c:v>
                </c:pt>
                <c:pt idx="67">
                  <c:v>De Bligny</c:v>
                </c:pt>
                <c:pt idx="68">
                  <c:v>Malard</c:v>
                </c:pt>
                <c:pt idx="69">
                  <c:v>Krug</c:v>
                </c:pt>
                <c:pt idx="70">
                  <c:v>Delamotte</c:v>
                </c:pt>
                <c:pt idx="71">
                  <c:v>Henriot</c:v>
                </c:pt>
                <c:pt idx="72">
                  <c:v>Besserat De</c:v>
                </c:pt>
                <c:pt idx="73">
                  <c:v>Pommery</c:v>
                </c:pt>
                <c:pt idx="74">
                  <c:v>Laurent Per</c:v>
                </c:pt>
                <c:pt idx="75">
                  <c:v>Henriot</c:v>
                </c:pt>
                <c:pt idx="76">
                  <c:v>Ayala</c:v>
                </c:pt>
                <c:pt idx="77">
                  <c:v>Roederer</c:v>
                </c:pt>
                <c:pt idx="78">
                  <c:v>Vranken</c:v>
                </c:pt>
                <c:pt idx="79">
                  <c:v>Canard Duch</c:v>
                </c:pt>
                <c:pt idx="80">
                  <c:v>Ruinart</c:v>
                </c:pt>
                <c:pt idx="81">
                  <c:v>De Venoge</c:v>
                </c:pt>
                <c:pt idx="82">
                  <c:v>Perrier Jou</c:v>
                </c:pt>
                <c:pt idx="83">
                  <c:v>Roederer</c:v>
                </c:pt>
                <c:pt idx="84">
                  <c:v>Henriot</c:v>
                </c:pt>
                <c:pt idx="85">
                  <c:v>Dom Perigno</c:v>
                </c:pt>
                <c:pt idx="86">
                  <c:v>Roederer</c:v>
                </c:pt>
                <c:pt idx="87">
                  <c:v>Roederer</c:v>
                </c:pt>
                <c:pt idx="88">
                  <c:v>Dom Perigno</c:v>
                </c:pt>
                <c:pt idx="89">
                  <c:v>Ruinart</c:v>
                </c:pt>
                <c:pt idx="90">
                  <c:v>Ruinart</c:v>
                </c:pt>
                <c:pt idx="91">
                  <c:v>Nicolas</c:v>
                </c:pt>
                <c:pt idx="92">
                  <c:v>Ruinart</c:v>
                </c:pt>
                <c:pt idx="93">
                  <c:v>De Venoge</c:v>
                </c:pt>
                <c:pt idx="94">
                  <c:v>Malard</c:v>
                </c:pt>
                <c:pt idx="95">
                  <c:v>Bollinger</c:v>
                </c:pt>
                <c:pt idx="96">
                  <c:v>De Venoge</c:v>
                </c:pt>
                <c:pt idx="97">
                  <c:v>Nicolas</c:v>
                </c:pt>
                <c:pt idx="98">
                  <c:v>Roederer</c:v>
                </c:pt>
                <c:pt idx="99">
                  <c:v>Vranken</c:v>
                </c:pt>
                <c:pt idx="100">
                  <c:v>Deutz</c:v>
                </c:pt>
                <c:pt idx="101">
                  <c:v>Roederer</c:v>
                </c:pt>
                <c:pt idx="102">
                  <c:v>Deutz</c:v>
                </c:pt>
                <c:pt idx="103">
                  <c:v>Canard Duch</c:v>
                </c:pt>
                <c:pt idx="104">
                  <c:v>Ruinart</c:v>
                </c:pt>
                <c:pt idx="105">
                  <c:v>Canard Duch</c:v>
                </c:pt>
                <c:pt idx="106">
                  <c:v>Veuve Clicq</c:v>
                </c:pt>
                <c:pt idx="107">
                  <c:v>Roederer</c:v>
                </c:pt>
                <c:pt idx="108">
                  <c:v>Laurent Per</c:v>
                </c:pt>
                <c:pt idx="109">
                  <c:v>Moët &amp; Chan</c:v>
                </c:pt>
                <c:pt idx="110">
                  <c:v>All Others</c:v>
                </c:pt>
                <c:pt idx="111">
                  <c:v>Nicolas</c:v>
                </c:pt>
                <c:pt idx="112">
                  <c:v>Nicolas</c:v>
                </c:pt>
                <c:pt idx="113">
                  <c:v>Nicolas</c:v>
                </c:pt>
                <c:pt idx="114">
                  <c:v>Nicolas</c:v>
                </c:pt>
                <c:pt idx="115">
                  <c:v>Bollinger</c:v>
                </c:pt>
                <c:pt idx="116">
                  <c:v>Nicolas Feu</c:v>
                </c:pt>
                <c:pt idx="117">
                  <c:v>All Others</c:v>
                </c:pt>
                <c:pt idx="118">
                  <c:v>Roederer</c:v>
                </c:pt>
                <c:pt idx="119">
                  <c:v>Laurent Per</c:v>
                </c:pt>
                <c:pt idx="120">
                  <c:v>Nicolas</c:v>
                </c:pt>
                <c:pt idx="121">
                  <c:v>All Others</c:v>
                </c:pt>
                <c:pt idx="122">
                  <c:v>Taittinger</c:v>
                </c:pt>
                <c:pt idx="123">
                  <c:v>Roederer</c:v>
                </c:pt>
                <c:pt idx="124">
                  <c:v>Besserat De</c:v>
                </c:pt>
                <c:pt idx="125">
                  <c:v>Demoiselle</c:v>
                </c:pt>
                <c:pt idx="126">
                  <c:v>Nicolas</c:v>
                </c:pt>
                <c:pt idx="127">
                  <c:v>Pommery</c:v>
                </c:pt>
                <c:pt idx="128">
                  <c:v>Nicolas</c:v>
                </c:pt>
                <c:pt idx="129">
                  <c:v>Nicolas</c:v>
                </c:pt>
                <c:pt idx="130">
                  <c:v>Laurent Per</c:v>
                </c:pt>
                <c:pt idx="131">
                  <c:v>Ruinart</c:v>
                </c:pt>
                <c:pt idx="132">
                  <c:v>Laurent Per</c:v>
                </c:pt>
                <c:pt idx="133">
                  <c:v>Roederer</c:v>
                </c:pt>
                <c:pt idx="134">
                  <c:v>Dom Perigno</c:v>
                </c:pt>
                <c:pt idx="135">
                  <c:v>Lanson</c:v>
                </c:pt>
                <c:pt idx="136">
                  <c:v>All Others</c:v>
                </c:pt>
                <c:pt idx="137">
                  <c:v>Pommery</c:v>
                </c:pt>
                <c:pt idx="138">
                  <c:v>Ruinart</c:v>
                </c:pt>
                <c:pt idx="139">
                  <c:v>Moët &amp; Chan</c:v>
                </c:pt>
                <c:pt idx="140">
                  <c:v>Perrier Jou</c:v>
                </c:pt>
                <c:pt idx="141">
                  <c:v>Perrier Jou</c:v>
                </c:pt>
                <c:pt idx="142">
                  <c:v>Canard Duch</c:v>
                </c:pt>
                <c:pt idx="143">
                  <c:v>Ruinart</c:v>
                </c:pt>
                <c:pt idx="144">
                  <c:v>Veuve Clicq</c:v>
                </c:pt>
                <c:pt idx="145">
                  <c:v>Vesselle</c:v>
                </c:pt>
                <c:pt idx="146">
                  <c:v>Taittinger</c:v>
                </c:pt>
                <c:pt idx="147">
                  <c:v>Louis Marti</c:v>
                </c:pt>
                <c:pt idx="148">
                  <c:v>Ruinart</c:v>
                </c:pt>
                <c:pt idx="149">
                  <c:v>Roederer</c:v>
                </c:pt>
                <c:pt idx="150">
                  <c:v>Pommery</c:v>
                </c:pt>
                <c:pt idx="151">
                  <c:v>All Others</c:v>
                </c:pt>
                <c:pt idx="152">
                  <c:v>Laurent Per</c:v>
                </c:pt>
                <c:pt idx="153">
                  <c:v>Delamotte</c:v>
                </c:pt>
                <c:pt idx="154">
                  <c:v>Deutz</c:v>
                </c:pt>
                <c:pt idx="155">
                  <c:v>Laurent Per</c:v>
                </c:pt>
                <c:pt idx="156">
                  <c:v>Nicolas</c:v>
                </c:pt>
                <c:pt idx="157">
                  <c:v>Vranken</c:v>
                </c:pt>
                <c:pt idx="158">
                  <c:v>Nicolas</c:v>
                </c:pt>
                <c:pt idx="159">
                  <c:v>Pommery</c:v>
                </c:pt>
                <c:pt idx="160">
                  <c:v>All Others</c:v>
                </c:pt>
                <c:pt idx="161">
                  <c:v>Deutz</c:v>
                </c:pt>
                <c:pt idx="162">
                  <c:v>Ayala</c:v>
                </c:pt>
                <c:pt idx="163">
                  <c:v>Roederer</c:v>
                </c:pt>
                <c:pt idx="164">
                  <c:v>Demoiselle</c:v>
                </c:pt>
                <c:pt idx="165">
                  <c:v>Canard Duch</c:v>
                </c:pt>
                <c:pt idx="166">
                  <c:v>Piper Heids</c:v>
                </c:pt>
                <c:pt idx="167">
                  <c:v>Roederer</c:v>
                </c:pt>
                <c:pt idx="168">
                  <c:v>Piper Heids</c:v>
                </c:pt>
                <c:pt idx="169">
                  <c:v>Pommery</c:v>
                </c:pt>
                <c:pt idx="170">
                  <c:v>Lanson-Bcc:</c:v>
                </c:pt>
                <c:pt idx="171">
                  <c:v>All Others</c:v>
                </c:pt>
                <c:pt idx="172">
                  <c:v>Nicolas</c:v>
                </c:pt>
                <c:pt idx="173">
                  <c:v>Ruinart</c:v>
                </c:pt>
                <c:pt idx="174">
                  <c:v>Moët &amp; Chan</c:v>
                </c:pt>
                <c:pt idx="175">
                  <c:v>All Others</c:v>
                </c:pt>
                <c:pt idx="176">
                  <c:v>Nicolas</c:v>
                </c:pt>
                <c:pt idx="177">
                  <c:v>All Others</c:v>
                </c:pt>
                <c:pt idx="178">
                  <c:v>Vesselle</c:v>
                </c:pt>
                <c:pt idx="179">
                  <c:v>Bollinger</c:v>
                </c:pt>
                <c:pt idx="180">
                  <c:v>Besserat De</c:v>
                </c:pt>
                <c:pt idx="181">
                  <c:v>Veuve Clicq</c:v>
                </c:pt>
                <c:pt idx="182">
                  <c:v>Veuve Clicq</c:v>
                </c:pt>
                <c:pt idx="183">
                  <c:v>Dom Perigno</c:v>
                </c:pt>
                <c:pt idx="184">
                  <c:v>Taittinger</c:v>
                </c:pt>
                <c:pt idx="185">
                  <c:v>Roederer</c:v>
                </c:pt>
                <c:pt idx="186">
                  <c:v>Malard</c:v>
                </c:pt>
                <c:pt idx="187">
                  <c:v>All Others</c:v>
                </c:pt>
                <c:pt idx="188">
                  <c:v>All Others</c:v>
                </c:pt>
                <c:pt idx="189">
                  <c:v>Deutz</c:v>
                </c:pt>
                <c:pt idx="190">
                  <c:v>Piper Heids</c:v>
                </c:pt>
                <c:pt idx="191">
                  <c:v>All Others</c:v>
                </c:pt>
                <c:pt idx="192">
                  <c:v>Moët &amp; Chan</c:v>
                </c:pt>
                <c:pt idx="193">
                  <c:v>Bollinger</c:v>
                </c:pt>
                <c:pt idx="194">
                  <c:v>Nicolas</c:v>
                </c:pt>
                <c:pt idx="195">
                  <c:v>Laurent Per</c:v>
                </c:pt>
                <c:pt idx="196">
                  <c:v>Henriot</c:v>
                </c:pt>
                <c:pt idx="197">
                  <c:v>Roederer</c:v>
                </c:pt>
                <c:pt idx="198">
                  <c:v>Bollinger</c:v>
                </c:pt>
                <c:pt idx="199">
                  <c:v>Moët &amp; Chan</c:v>
                </c:pt>
                <c:pt idx="200">
                  <c:v>De Venoge</c:v>
                </c:pt>
                <c:pt idx="201">
                  <c:v>Ruinart</c:v>
                </c:pt>
                <c:pt idx="202">
                  <c:v>Nicolas</c:v>
                </c:pt>
                <c:pt idx="203">
                  <c:v>All Others</c:v>
                </c:pt>
                <c:pt idx="204">
                  <c:v>Canard Duch</c:v>
                </c:pt>
                <c:pt idx="205">
                  <c:v>Bollinger</c:v>
                </c:pt>
                <c:pt idx="206">
                  <c:v>Krug</c:v>
                </c:pt>
                <c:pt idx="207">
                  <c:v>De Venoge</c:v>
                </c:pt>
                <c:pt idx="208">
                  <c:v>All Others</c:v>
                </c:pt>
                <c:pt idx="209">
                  <c:v>Ruinart</c:v>
                </c:pt>
                <c:pt idx="210">
                  <c:v>Henriot</c:v>
                </c:pt>
                <c:pt idx="211">
                  <c:v>Nicolas</c:v>
                </c:pt>
                <c:pt idx="212">
                  <c:v>De Venoge</c:v>
                </c:pt>
                <c:pt idx="213">
                  <c:v>All Others</c:v>
                </c:pt>
                <c:pt idx="214">
                  <c:v>All Others</c:v>
                </c:pt>
                <c:pt idx="215">
                  <c:v>Ruinart</c:v>
                </c:pt>
                <c:pt idx="216">
                  <c:v>Deutz</c:v>
                </c:pt>
                <c:pt idx="217">
                  <c:v>De Venoge</c:v>
                </c:pt>
                <c:pt idx="218">
                  <c:v>Dom Perigno</c:v>
                </c:pt>
                <c:pt idx="219">
                  <c:v>Laurent Per</c:v>
                </c:pt>
                <c:pt idx="220">
                  <c:v>Perrier Jou</c:v>
                </c:pt>
                <c:pt idx="221">
                  <c:v>Deutz</c:v>
                </c:pt>
                <c:pt idx="222">
                  <c:v>All Others</c:v>
                </c:pt>
                <c:pt idx="223">
                  <c:v>All Others</c:v>
                </c:pt>
                <c:pt idx="224">
                  <c:v>Piper Heids</c:v>
                </c:pt>
                <c:pt idx="225">
                  <c:v>Nicolas Feu</c:v>
                </c:pt>
                <c:pt idx="226">
                  <c:v>Demoiselle</c:v>
                </c:pt>
                <c:pt idx="227">
                  <c:v>Laurent Per</c:v>
                </c:pt>
                <c:pt idx="228">
                  <c:v>Roederer</c:v>
                </c:pt>
                <c:pt idx="229">
                  <c:v>Ruinart</c:v>
                </c:pt>
                <c:pt idx="230">
                  <c:v>Lanson</c:v>
                </c:pt>
                <c:pt idx="231">
                  <c:v>All Others</c:v>
                </c:pt>
                <c:pt idx="232">
                  <c:v>Taittinger</c:v>
                </c:pt>
                <c:pt idx="233">
                  <c:v>Roederer</c:v>
                </c:pt>
                <c:pt idx="234">
                  <c:v>All Others</c:v>
                </c:pt>
                <c:pt idx="235">
                  <c:v>Veuve Clicq</c:v>
                </c:pt>
                <c:pt idx="236">
                  <c:v>Bollinger</c:v>
                </c:pt>
                <c:pt idx="237">
                  <c:v>Pommery</c:v>
                </c:pt>
                <c:pt idx="238">
                  <c:v>Pommery</c:v>
                </c:pt>
                <c:pt idx="239">
                  <c:v>All Others</c:v>
                </c:pt>
                <c:pt idx="240">
                  <c:v>All Others</c:v>
                </c:pt>
                <c:pt idx="241">
                  <c:v>Krug</c:v>
                </c:pt>
                <c:pt idx="242">
                  <c:v>Deutz</c:v>
                </c:pt>
                <c:pt idx="243">
                  <c:v>Taittinger</c:v>
                </c:pt>
                <c:pt idx="244">
                  <c:v>Roederer</c:v>
                </c:pt>
                <c:pt idx="245">
                  <c:v>Laurent Per</c:v>
                </c:pt>
                <c:pt idx="246">
                  <c:v>All Others</c:v>
                </c:pt>
                <c:pt idx="247">
                  <c:v>Moët &amp; Chan</c:v>
                </c:pt>
                <c:pt idx="248">
                  <c:v>Veuve Clicq</c:v>
                </c:pt>
                <c:pt idx="249">
                  <c:v>De Bligny</c:v>
                </c:pt>
                <c:pt idx="250">
                  <c:v>Krug</c:v>
                </c:pt>
                <c:pt idx="251">
                  <c:v>Roederer</c:v>
                </c:pt>
                <c:pt idx="252">
                  <c:v>Roederer</c:v>
                </c:pt>
                <c:pt idx="253">
                  <c:v>Veuve Clicq</c:v>
                </c:pt>
                <c:pt idx="254">
                  <c:v>Perrier Jou</c:v>
                </c:pt>
                <c:pt idx="255">
                  <c:v>Dom Perigno</c:v>
                </c:pt>
                <c:pt idx="256">
                  <c:v>Perrier Jou</c:v>
                </c:pt>
                <c:pt idx="257">
                  <c:v>Martel</c:v>
                </c:pt>
                <c:pt idx="258">
                  <c:v>Laurent Per</c:v>
                </c:pt>
                <c:pt idx="259">
                  <c:v>Canard Duch</c:v>
                </c:pt>
                <c:pt idx="260">
                  <c:v>Deutz</c:v>
                </c:pt>
                <c:pt idx="261">
                  <c:v>Dom Perigno</c:v>
                </c:pt>
                <c:pt idx="262">
                  <c:v>Malard</c:v>
                </c:pt>
                <c:pt idx="263">
                  <c:v>Roederer</c:v>
                </c:pt>
                <c:pt idx="264">
                  <c:v>Moët &amp; Chan</c:v>
                </c:pt>
                <c:pt idx="265">
                  <c:v>Bollinger</c:v>
                </c:pt>
                <c:pt idx="266">
                  <c:v>Lanson</c:v>
                </c:pt>
                <c:pt idx="267">
                  <c:v>Roederer</c:v>
                </c:pt>
                <c:pt idx="268">
                  <c:v>Ruinart</c:v>
                </c:pt>
                <c:pt idx="269">
                  <c:v>Bollinger</c:v>
                </c:pt>
                <c:pt idx="270">
                  <c:v>All Others</c:v>
                </c:pt>
                <c:pt idx="271">
                  <c:v>Deutz</c:v>
                </c:pt>
                <c:pt idx="272">
                  <c:v>All Others</c:v>
                </c:pt>
                <c:pt idx="273">
                  <c:v>Bollinger</c:v>
                </c:pt>
                <c:pt idx="274">
                  <c:v>Dom Perigno</c:v>
                </c:pt>
                <c:pt idx="275">
                  <c:v>Bollinger</c:v>
                </c:pt>
                <c:pt idx="276">
                  <c:v>Ruinart</c:v>
                </c:pt>
                <c:pt idx="277">
                  <c:v>Dom Perigno</c:v>
                </c:pt>
                <c:pt idx="278">
                  <c:v>All Others</c:v>
                </c:pt>
                <c:pt idx="279">
                  <c:v>Deutz</c:v>
                </c:pt>
                <c:pt idx="280">
                  <c:v>All Others</c:v>
                </c:pt>
                <c:pt idx="281">
                  <c:v>Laurent Per</c:v>
                </c:pt>
                <c:pt idx="282">
                  <c:v>Delamotte</c:v>
                </c:pt>
                <c:pt idx="283">
                  <c:v>Laurent Per</c:v>
                </c:pt>
                <c:pt idx="284">
                  <c:v>All Others</c:v>
                </c:pt>
                <c:pt idx="285">
                  <c:v>Ruinart</c:v>
                </c:pt>
                <c:pt idx="286">
                  <c:v>All Others</c:v>
                </c:pt>
                <c:pt idx="287">
                  <c:v>Pommery</c:v>
                </c:pt>
                <c:pt idx="288">
                  <c:v>Krug</c:v>
                </c:pt>
                <c:pt idx="289">
                  <c:v>Roederer</c:v>
                </c:pt>
                <c:pt idx="290">
                  <c:v>All Others</c:v>
                </c:pt>
                <c:pt idx="291">
                  <c:v>Ayala</c:v>
                </c:pt>
                <c:pt idx="292">
                  <c:v>Besserat De</c:v>
                </c:pt>
                <c:pt idx="293">
                  <c:v>De Venoge</c:v>
                </c:pt>
                <c:pt idx="294">
                  <c:v>Moët &amp; Chan</c:v>
                </c:pt>
                <c:pt idx="295">
                  <c:v>Ruinart</c:v>
                </c:pt>
                <c:pt idx="296">
                  <c:v>All Others</c:v>
                </c:pt>
                <c:pt idx="297">
                  <c:v>Nicolas Feu</c:v>
                </c:pt>
                <c:pt idx="298">
                  <c:v>All Others</c:v>
                </c:pt>
                <c:pt idx="299">
                  <c:v>De Venoge</c:v>
                </c:pt>
                <c:pt idx="300">
                  <c:v>Delamotte</c:v>
                </c:pt>
                <c:pt idx="301">
                  <c:v>All Others</c:v>
                </c:pt>
                <c:pt idx="302">
                  <c:v>Besserat De</c:v>
                </c:pt>
                <c:pt idx="303">
                  <c:v>All Others</c:v>
                </c:pt>
                <c:pt idx="304">
                  <c:v>All Others</c:v>
                </c:pt>
                <c:pt idx="305">
                  <c:v>Pommery</c:v>
                </c:pt>
                <c:pt idx="306">
                  <c:v>Lanson</c:v>
                </c:pt>
                <c:pt idx="307">
                  <c:v>Demoiselle</c:v>
                </c:pt>
                <c:pt idx="308">
                  <c:v>Perrier Jou</c:v>
                </c:pt>
                <c:pt idx="309">
                  <c:v>All Others</c:v>
                </c:pt>
                <c:pt idx="310">
                  <c:v>Bollinger</c:v>
                </c:pt>
                <c:pt idx="311">
                  <c:v>Demoiselle</c:v>
                </c:pt>
                <c:pt idx="312">
                  <c:v>Dom Perigno</c:v>
                </c:pt>
                <c:pt idx="313">
                  <c:v>Dom Perigno</c:v>
                </c:pt>
                <c:pt idx="314">
                  <c:v>Veuve Clicq</c:v>
                </c:pt>
                <c:pt idx="315">
                  <c:v>All Others</c:v>
                </c:pt>
                <c:pt idx="316">
                  <c:v>Roederer</c:v>
                </c:pt>
                <c:pt idx="317">
                  <c:v>Roederer</c:v>
                </c:pt>
                <c:pt idx="318">
                  <c:v>Roederer</c:v>
                </c:pt>
                <c:pt idx="319">
                  <c:v>De Venoge</c:v>
                </c:pt>
                <c:pt idx="320">
                  <c:v>Nicolas Feu</c:v>
                </c:pt>
                <c:pt idx="321">
                  <c:v>De Bligny</c:v>
                </c:pt>
                <c:pt idx="322">
                  <c:v>Ayala</c:v>
                </c:pt>
                <c:pt idx="323">
                  <c:v>Vesselle</c:v>
                </c:pt>
                <c:pt idx="324">
                  <c:v>Roederer</c:v>
                </c:pt>
                <c:pt idx="325">
                  <c:v>Pommery</c:v>
                </c:pt>
                <c:pt idx="326">
                  <c:v>Ayala</c:v>
                </c:pt>
                <c:pt idx="327">
                  <c:v>Moët &amp; Chan</c:v>
                </c:pt>
                <c:pt idx="328">
                  <c:v>All Others</c:v>
                </c:pt>
                <c:pt idx="329">
                  <c:v>Krug</c:v>
                </c:pt>
                <c:pt idx="330">
                  <c:v>Bollinger</c:v>
                </c:pt>
                <c:pt idx="331">
                  <c:v>Demoiselle</c:v>
                </c:pt>
                <c:pt idx="332">
                  <c:v>Roederer</c:v>
                </c:pt>
                <c:pt idx="333">
                  <c:v>Ayala</c:v>
                </c:pt>
                <c:pt idx="334">
                  <c:v>Pommery</c:v>
                </c:pt>
                <c:pt idx="335">
                  <c:v>Canard Duch</c:v>
                </c:pt>
                <c:pt idx="336">
                  <c:v>Vranken</c:v>
                </c:pt>
                <c:pt idx="337">
                  <c:v>Veuve Clicq</c:v>
                </c:pt>
                <c:pt idx="338">
                  <c:v>Lanson</c:v>
                </c:pt>
                <c:pt idx="339">
                  <c:v>Laurent Per</c:v>
                </c:pt>
                <c:pt idx="340">
                  <c:v>Besserat De</c:v>
                </c:pt>
                <c:pt idx="341">
                  <c:v>De Venoge</c:v>
                </c:pt>
                <c:pt idx="342">
                  <c:v>Deutz</c:v>
                </c:pt>
                <c:pt idx="343">
                  <c:v>Heidsieck &amp;</c:v>
                </c:pt>
                <c:pt idx="344">
                  <c:v>Taittinger</c:v>
                </c:pt>
                <c:pt idx="345">
                  <c:v>Krug</c:v>
                </c:pt>
                <c:pt idx="346">
                  <c:v>Moët &amp; Chan</c:v>
                </c:pt>
                <c:pt idx="347">
                  <c:v>Taittinger</c:v>
                </c:pt>
                <c:pt idx="348">
                  <c:v>Dom Perigno</c:v>
                </c:pt>
                <c:pt idx="349">
                  <c:v>Pommery</c:v>
                </c:pt>
                <c:pt idx="350">
                  <c:v>Roederer</c:v>
                </c:pt>
                <c:pt idx="351">
                  <c:v>Canard Duch</c:v>
                </c:pt>
                <c:pt idx="352">
                  <c:v>Laurent Per</c:v>
                </c:pt>
                <c:pt idx="353">
                  <c:v>Demoiselle</c:v>
                </c:pt>
                <c:pt idx="354">
                  <c:v>Roederer</c:v>
                </c:pt>
                <c:pt idx="355">
                  <c:v>Piper Heids</c:v>
                </c:pt>
                <c:pt idx="356">
                  <c:v>Roederer</c:v>
                </c:pt>
                <c:pt idx="357">
                  <c:v>Ruinart</c:v>
                </c:pt>
                <c:pt idx="358">
                  <c:v>All Others</c:v>
                </c:pt>
                <c:pt idx="359">
                  <c:v>Deutz</c:v>
                </c:pt>
                <c:pt idx="360">
                  <c:v>Laurent Per</c:v>
                </c:pt>
                <c:pt idx="361">
                  <c:v>Veuve Clicq</c:v>
                </c:pt>
                <c:pt idx="362">
                  <c:v>All Others</c:v>
                </c:pt>
                <c:pt idx="363">
                  <c:v>Heidsieck &amp;</c:v>
                </c:pt>
                <c:pt idx="364">
                  <c:v>Taittinger</c:v>
                </c:pt>
                <c:pt idx="365">
                  <c:v>Laurent Per</c:v>
                </c:pt>
                <c:pt idx="366">
                  <c:v>Laurent Per</c:v>
                </c:pt>
                <c:pt idx="367">
                  <c:v>All Others</c:v>
                </c:pt>
                <c:pt idx="368">
                  <c:v>Besserat De</c:v>
                </c:pt>
                <c:pt idx="369">
                  <c:v>Bollinger</c:v>
                </c:pt>
                <c:pt idx="370">
                  <c:v>Piper Heids</c:v>
                </c:pt>
                <c:pt idx="371">
                  <c:v>Ruinart</c:v>
                </c:pt>
                <c:pt idx="372">
                  <c:v>Nicolas Feu</c:v>
                </c:pt>
                <c:pt idx="373">
                  <c:v>Roederer</c:v>
                </c:pt>
                <c:pt idx="374">
                  <c:v>Malard</c:v>
                </c:pt>
                <c:pt idx="375">
                  <c:v>Taittinger</c:v>
                </c:pt>
                <c:pt idx="376">
                  <c:v>Henriot</c:v>
                </c:pt>
                <c:pt idx="377">
                  <c:v>Nicolas</c:v>
                </c:pt>
                <c:pt idx="378">
                  <c:v>Roederer</c:v>
                </c:pt>
                <c:pt idx="379">
                  <c:v>De Venoge</c:v>
                </c:pt>
                <c:pt idx="380">
                  <c:v>Krug</c:v>
                </c:pt>
                <c:pt idx="381">
                  <c:v>Roederer</c:v>
                </c:pt>
                <c:pt idx="382">
                  <c:v>Ruinart</c:v>
                </c:pt>
                <c:pt idx="383">
                  <c:v>Dom Perigno</c:v>
                </c:pt>
                <c:pt idx="384">
                  <c:v>De Bligny</c:v>
                </c:pt>
                <c:pt idx="385">
                  <c:v>Vesselle</c:v>
                </c:pt>
                <c:pt idx="386">
                  <c:v>Ruinart</c:v>
                </c:pt>
                <c:pt idx="387">
                  <c:v>Moët &amp; Chan</c:v>
                </c:pt>
                <c:pt idx="388">
                  <c:v>Bollinger</c:v>
                </c:pt>
                <c:pt idx="389">
                  <c:v>Laurent Per</c:v>
                </c:pt>
                <c:pt idx="390">
                  <c:v>Roederer</c:v>
                </c:pt>
                <c:pt idx="391">
                  <c:v>All Others</c:v>
                </c:pt>
                <c:pt idx="392">
                  <c:v>Taittinger</c:v>
                </c:pt>
                <c:pt idx="393">
                  <c:v>All Others</c:v>
                </c:pt>
                <c:pt idx="394">
                  <c:v>Roederer</c:v>
                </c:pt>
                <c:pt idx="395">
                  <c:v>All Others</c:v>
                </c:pt>
                <c:pt idx="396">
                  <c:v>Laurent Per</c:v>
                </c:pt>
                <c:pt idx="397">
                  <c:v>Ayala</c:v>
                </c:pt>
                <c:pt idx="398">
                  <c:v>Pommery</c:v>
                </c:pt>
                <c:pt idx="399">
                  <c:v>Laurent Per</c:v>
                </c:pt>
                <c:pt idx="400">
                  <c:v>Laurent Per</c:v>
                </c:pt>
                <c:pt idx="401">
                  <c:v>Dom Perigno</c:v>
                </c:pt>
                <c:pt idx="402">
                  <c:v>Piper Heids</c:v>
                </c:pt>
                <c:pt idx="403">
                  <c:v>Roederer</c:v>
                </c:pt>
                <c:pt idx="404">
                  <c:v>Roederer</c:v>
                </c:pt>
                <c:pt idx="405">
                  <c:v>Ruinart</c:v>
                </c:pt>
                <c:pt idx="406">
                  <c:v>All Others</c:v>
                </c:pt>
                <c:pt idx="407">
                  <c:v>Laurent Per</c:v>
                </c:pt>
                <c:pt idx="408">
                  <c:v>Roederer</c:v>
                </c:pt>
                <c:pt idx="409">
                  <c:v>Nicolas Feu</c:v>
                </c:pt>
                <c:pt idx="410">
                  <c:v>Henriot</c:v>
                </c:pt>
                <c:pt idx="411">
                  <c:v>Vranken</c:v>
                </c:pt>
                <c:pt idx="412">
                  <c:v>All Others</c:v>
                </c:pt>
                <c:pt idx="413">
                  <c:v>Bollinger</c:v>
                </c:pt>
                <c:pt idx="414">
                  <c:v>Malard</c:v>
                </c:pt>
                <c:pt idx="415">
                  <c:v>All Others</c:v>
                </c:pt>
                <c:pt idx="416">
                  <c:v>Bollinger</c:v>
                </c:pt>
                <c:pt idx="417">
                  <c:v>Bollinger</c:v>
                </c:pt>
                <c:pt idx="418">
                  <c:v>Mumm</c:v>
                </c:pt>
                <c:pt idx="419">
                  <c:v>Canard Duch</c:v>
                </c:pt>
                <c:pt idx="420">
                  <c:v>Taittinger</c:v>
                </c:pt>
                <c:pt idx="421">
                  <c:v>All Others</c:v>
                </c:pt>
                <c:pt idx="422">
                  <c:v>Pommery</c:v>
                </c:pt>
                <c:pt idx="423">
                  <c:v>De Venoge</c:v>
                </c:pt>
                <c:pt idx="424">
                  <c:v>Malard</c:v>
                </c:pt>
                <c:pt idx="425">
                  <c:v>All Others</c:v>
                </c:pt>
                <c:pt idx="426">
                  <c:v>Veuve Clicq</c:v>
                </c:pt>
                <c:pt idx="427">
                  <c:v>Roederer</c:v>
                </c:pt>
                <c:pt idx="428">
                  <c:v>Roederer</c:v>
                </c:pt>
                <c:pt idx="429">
                  <c:v>Besserat De</c:v>
                </c:pt>
                <c:pt idx="430">
                  <c:v>Taittinger</c:v>
                </c:pt>
                <c:pt idx="431">
                  <c:v>Moët &amp; Chan</c:v>
                </c:pt>
                <c:pt idx="432">
                  <c:v>All Others</c:v>
                </c:pt>
                <c:pt idx="433">
                  <c:v>Henriot</c:v>
                </c:pt>
                <c:pt idx="434">
                  <c:v>Veuve Clicq</c:v>
                </c:pt>
                <c:pt idx="435">
                  <c:v>All Others</c:v>
                </c:pt>
                <c:pt idx="436">
                  <c:v>Demoiselle</c:v>
                </c:pt>
                <c:pt idx="437">
                  <c:v>Besserat De</c:v>
                </c:pt>
                <c:pt idx="438">
                  <c:v>Deutz</c:v>
                </c:pt>
                <c:pt idx="439">
                  <c:v>Lanson</c:v>
                </c:pt>
                <c:pt idx="440">
                  <c:v>Henriot</c:v>
                </c:pt>
                <c:pt idx="441">
                  <c:v>Vranken Pom</c:v>
                </c:pt>
                <c:pt idx="442">
                  <c:v>Ayala</c:v>
                </c:pt>
                <c:pt idx="443">
                  <c:v>Moët &amp; Chan</c:v>
                </c:pt>
                <c:pt idx="444">
                  <c:v>Nicolas</c:v>
                </c:pt>
                <c:pt idx="445">
                  <c:v>Nicolas</c:v>
                </c:pt>
                <c:pt idx="446">
                  <c:v>Pommery</c:v>
                </c:pt>
                <c:pt idx="447">
                  <c:v>Pommery</c:v>
                </c:pt>
                <c:pt idx="448">
                  <c:v>All Others</c:v>
                </c:pt>
                <c:pt idx="449">
                  <c:v>Vranken</c:v>
                </c:pt>
                <c:pt idx="450">
                  <c:v>Vesselle</c:v>
                </c:pt>
                <c:pt idx="451">
                  <c:v>Vesselle</c:v>
                </c:pt>
                <c:pt idx="452">
                  <c:v>All Others</c:v>
                </c:pt>
              </c:strCache>
            </c:strRef>
          </c:cat>
          <c:val>
            <c:numRef>
              <c:f>Sheet1!$B$2:$B$454</c:f>
              <c:numCache>
                <c:formatCode>General</c:formatCode>
                <c:ptCount val="453"/>
                <c:pt idx="0">
                  <c:v>0.998</c:v>
                </c:pt>
                <c:pt idx="1">
                  <c:v>0.998</c:v>
                </c:pt>
                <c:pt idx="2">
                  <c:v>0.99299999999999999</c:v>
                </c:pt>
                <c:pt idx="3">
                  <c:v>0.83599999999999997</c:v>
                </c:pt>
                <c:pt idx="4">
                  <c:v>0.94199999999999995</c:v>
                </c:pt>
                <c:pt idx="5">
                  <c:v>0.95499999999999996</c:v>
                </c:pt>
                <c:pt idx="6">
                  <c:v>0.96099999999999997</c:v>
                </c:pt>
                <c:pt idx="7">
                  <c:v>0.95099999999999996</c:v>
                </c:pt>
                <c:pt idx="8">
                  <c:v>0.93899999999999995</c:v>
                </c:pt>
                <c:pt idx="9">
                  <c:v>0.95499999999999996</c:v>
                </c:pt>
                <c:pt idx="10">
                  <c:v>0.67300000000000004</c:v>
                </c:pt>
                <c:pt idx="11">
                  <c:v>0.96899999999999997</c:v>
                </c:pt>
                <c:pt idx="12">
                  <c:v>0.89500000000000002</c:v>
                </c:pt>
                <c:pt idx="13">
                  <c:v>0.69</c:v>
                </c:pt>
                <c:pt idx="14">
                  <c:v>0.88500000000000001</c:v>
                </c:pt>
                <c:pt idx="15">
                  <c:v>0.84699999999999998</c:v>
                </c:pt>
                <c:pt idx="16">
                  <c:v>0.91100000000000003</c:v>
                </c:pt>
                <c:pt idx="17">
                  <c:v>0.82</c:v>
                </c:pt>
                <c:pt idx="18">
                  <c:v>0.56899999999999995</c:v>
                </c:pt>
                <c:pt idx="19">
                  <c:v>0.72</c:v>
                </c:pt>
                <c:pt idx="20">
                  <c:v>0.67700000000000005</c:v>
                </c:pt>
                <c:pt idx="21">
                  <c:v>0.80200000000000005</c:v>
                </c:pt>
                <c:pt idx="22">
                  <c:v>0.74099999999999999</c:v>
                </c:pt>
                <c:pt idx="23">
                  <c:v>0.63200000000000001</c:v>
                </c:pt>
                <c:pt idx="24">
                  <c:v>0.73</c:v>
                </c:pt>
                <c:pt idx="25">
                  <c:v>0.72799999999999998</c:v>
                </c:pt>
                <c:pt idx="26">
                  <c:v>0.65600000000000003</c:v>
                </c:pt>
                <c:pt idx="27">
                  <c:v>0.33700000000000002</c:v>
                </c:pt>
                <c:pt idx="28">
                  <c:v>0.70799999999999996</c:v>
                </c:pt>
                <c:pt idx="29">
                  <c:v>0.39100000000000001</c:v>
                </c:pt>
                <c:pt idx="30">
                  <c:v>0.72099999999999997</c:v>
                </c:pt>
                <c:pt idx="31">
                  <c:v>0.71699999999999997</c:v>
                </c:pt>
                <c:pt idx="32">
                  <c:v>0.33300000000000002</c:v>
                </c:pt>
                <c:pt idx="33">
                  <c:v>0.68200000000000005</c:v>
                </c:pt>
                <c:pt idx="34">
                  <c:v>0.64200000000000002</c:v>
                </c:pt>
                <c:pt idx="35">
                  <c:v>0.63100000000000001</c:v>
                </c:pt>
                <c:pt idx="36">
                  <c:v>0.499</c:v>
                </c:pt>
                <c:pt idx="37">
                  <c:v>0.77400000000000002</c:v>
                </c:pt>
                <c:pt idx="38">
                  <c:v>0.54700000000000004</c:v>
                </c:pt>
                <c:pt idx="39">
                  <c:v>0.57199999999999995</c:v>
                </c:pt>
                <c:pt idx="40">
                  <c:v>0.58499999999999996</c:v>
                </c:pt>
                <c:pt idx="41">
                  <c:v>0.63</c:v>
                </c:pt>
                <c:pt idx="42">
                  <c:v>0.502</c:v>
                </c:pt>
                <c:pt idx="43">
                  <c:v>0.50900000000000001</c:v>
                </c:pt>
                <c:pt idx="44">
                  <c:v>0.57499999999999996</c:v>
                </c:pt>
                <c:pt idx="45">
                  <c:v>0.61299999999999999</c:v>
                </c:pt>
                <c:pt idx="46">
                  <c:v>0.45600000000000002</c:v>
                </c:pt>
                <c:pt idx="47">
                  <c:v>0.47299999999999998</c:v>
                </c:pt>
                <c:pt idx="48">
                  <c:v>0.55700000000000005</c:v>
                </c:pt>
                <c:pt idx="49">
                  <c:v>0.628</c:v>
                </c:pt>
                <c:pt idx="50">
                  <c:v>0.61099999999999999</c:v>
                </c:pt>
                <c:pt idx="51">
                  <c:v>0.75900000000000001</c:v>
                </c:pt>
                <c:pt idx="52">
                  <c:v>0.61799999999999999</c:v>
                </c:pt>
                <c:pt idx="53">
                  <c:v>0.56499999999999995</c:v>
                </c:pt>
                <c:pt idx="54">
                  <c:v>0.49399999999999999</c:v>
                </c:pt>
                <c:pt idx="55">
                  <c:v>0.51900000000000002</c:v>
                </c:pt>
                <c:pt idx="56">
                  <c:v>0.76700000000000002</c:v>
                </c:pt>
                <c:pt idx="57">
                  <c:v>0.55800000000000005</c:v>
                </c:pt>
                <c:pt idx="58">
                  <c:v>0.54200000000000004</c:v>
                </c:pt>
                <c:pt idx="59">
                  <c:v>0.38700000000000001</c:v>
                </c:pt>
                <c:pt idx="60">
                  <c:v>0.55400000000000005</c:v>
                </c:pt>
                <c:pt idx="61">
                  <c:v>0.48499999999999999</c:v>
                </c:pt>
                <c:pt idx="62">
                  <c:v>0.43</c:v>
                </c:pt>
                <c:pt idx="63">
                  <c:v>0.23</c:v>
                </c:pt>
                <c:pt idx="64">
                  <c:v>0.748</c:v>
                </c:pt>
                <c:pt idx="65">
                  <c:v>0.254</c:v>
                </c:pt>
                <c:pt idx="66">
                  <c:v>0.52500000000000002</c:v>
                </c:pt>
                <c:pt idx="67">
                  <c:v>0.56799999999999995</c:v>
                </c:pt>
                <c:pt idx="68">
                  <c:v>0.48199999999999998</c:v>
                </c:pt>
                <c:pt idx="69">
                  <c:v>0.17299999999999999</c:v>
                </c:pt>
                <c:pt idx="70">
                  <c:v>0.315</c:v>
                </c:pt>
                <c:pt idx="71">
                  <c:v>0.627</c:v>
                </c:pt>
                <c:pt idx="72">
                  <c:v>0.377</c:v>
                </c:pt>
                <c:pt idx="73">
                  <c:v>0.44600000000000001</c:v>
                </c:pt>
                <c:pt idx="74">
                  <c:v>0.32500000000000001</c:v>
                </c:pt>
                <c:pt idx="75">
                  <c:v>0.40300000000000002</c:v>
                </c:pt>
                <c:pt idx="76">
                  <c:v>0.35899999999999999</c:v>
                </c:pt>
                <c:pt idx="77">
                  <c:v>0.219</c:v>
                </c:pt>
                <c:pt idx="78">
                  <c:v>0.27700000000000002</c:v>
                </c:pt>
                <c:pt idx="79">
                  <c:v>0.32700000000000001</c:v>
                </c:pt>
                <c:pt idx="80">
                  <c:v>0.17100000000000001</c:v>
                </c:pt>
                <c:pt idx="81">
                  <c:v>0.26200000000000001</c:v>
                </c:pt>
                <c:pt idx="82">
                  <c:v>0.20599999999999999</c:v>
                </c:pt>
                <c:pt idx="83">
                  <c:v>0.23100000000000001</c:v>
                </c:pt>
                <c:pt idx="84">
                  <c:v>0.34300000000000003</c:v>
                </c:pt>
                <c:pt idx="85">
                  <c:v>0.159</c:v>
                </c:pt>
                <c:pt idx="86">
                  <c:v>0.26600000000000001</c:v>
                </c:pt>
                <c:pt idx="87">
                  <c:v>0.18</c:v>
                </c:pt>
                <c:pt idx="88">
                  <c:v>0.18</c:v>
                </c:pt>
                <c:pt idx="89">
                  <c:v>0.27400000000000002</c:v>
                </c:pt>
                <c:pt idx="90">
                  <c:v>0.17</c:v>
                </c:pt>
                <c:pt idx="91">
                  <c:v>0.38800000000000001</c:v>
                </c:pt>
                <c:pt idx="92">
                  <c:v>0.32100000000000001</c:v>
                </c:pt>
                <c:pt idx="93">
                  <c:v>0.41899999999999998</c:v>
                </c:pt>
                <c:pt idx="94">
                  <c:v>0.39700000000000002</c:v>
                </c:pt>
                <c:pt idx="95">
                  <c:v>0.214</c:v>
                </c:pt>
                <c:pt idx="96">
                  <c:v>0.249</c:v>
                </c:pt>
                <c:pt idx="97">
                  <c:v>0.254</c:v>
                </c:pt>
                <c:pt idx="98">
                  <c:v>0.246</c:v>
                </c:pt>
                <c:pt idx="99">
                  <c:v>0.22</c:v>
                </c:pt>
                <c:pt idx="100">
                  <c:v>0.437</c:v>
                </c:pt>
                <c:pt idx="101">
                  <c:v>0.105</c:v>
                </c:pt>
                <c:pt idx="102">
                  <c:v>0.15</c:v>
                </c:pt>
                <c:pt idx="103">
                  <c:v>0.29199999999999998</c:v>
                </c:pt>
                <c:pt idx="104">
                  <c:v>0.20899999999999999</c:v>
                </c:pt>
                <c:pt idx="105">
                  <c:v>0.17599999999999999</c:v>
                </c:pt>
                <c:pt idx="106">
                  <c:v>0.20300000000000001</c:v>
                </c:pt>
                <c:pt idx="107">
                  <c:v>0.33300000000000002</c:v>
                </c:pt>
                <c:pt idx="108">
                  <c:v>0.188</c:v>
                </c:pt>
                <c:pt idx="109">
                  <c:v>0.315</c:v>
                </c:pt>
                <c:pt idx="110">
                  <c:v>0.02</c:v>
                </c:pt>
                <c:pt idx="111">
                  <c:v>0.34899999999999998</c:v>
                </c:pt>
                <c:pt idx="112">
                  <c:v>0.2</c:v>
                </c:pt>
                <c:pt idx="113">
                  <c:v>0.315</c:v>
                </c:pt>
                <c:pt idx="114">
                  <c:v>0.17100000000000001</c:v>
                </c:pt>
                <c:pt idx="115">
                  <c:v>0.129</c:v>
                </c:pt>
                <c:pt idx="116">
                  <c:v>0.314</c:v>
                </c:pt>
                <c:pt idx="117">
                  <c:v>0.217</c:v>
                </c:pt>
                <c:pt idx="118">
                  <c:v>9.1999999999999998E-2</c:v>
                </c:pt>
                <c:pt idx="119">
                  <c:v>0.17499999999999999</c:v>
                </c:pt>
                <c:pt idx="120">
                  <c:v>0.29699999999999999</c:v>
                </c:pt>
                <c:pt idx="121">
                  <c:v>0.20100000000000001</c:v>
                </c:pt>
                <c:pt idx="122">
                  <c:v>0.10100000000000001</c:v>
                </c:pt>
                <c:pt idx="123">
                  <c:v>0.28000000000000003</c:v>
                </c:pt>
                <c:pt idx="124">
                  <c:v>0.252</c:v>
                </c:pt>
                <c:pt idx="125">
                  <c:v>0.28799999999999998</c:v>
                </c:pt>
                <c:pt idx="126">
                  <c:v>0.34699999999999998</c:v>
                </c:pt>
                <c:pt idx="127">
                  <c:v>0.158</c:v>
                </c:pt>
                <c:pt idx="128">
                  <c:v>0.20699999999999999</c:v>
                </c:pt>
                <c:pt idx="129">
                  <c:v>0.23599999999999999</c:v>
                </c:pt>
                <c:pt idx="130">
                  <c:v>0.11799999999999999</c:v>
                </c:pt>
                <c:pt idx="131">
                  <c:v>0.123</c:v>
                </c:pt>
                <c:pt idx="132">
                  <c:v>9.4E-2</c:v>
                </c:pt>
                <c:pt idx="133">
                  <c:v>0.253</c:v>
                </c:pt>
                <c:pt idx="134">
                  <c:v>6.4000000000000001E-2</c:v>
                </c:pt>
                <c:pt idx="135">
                  <c:v>0.154</c:v>
                </c:pt>
                <c:pt idx="136">
                  <c:v>1.6E-2</c:v>
                </c:pt>
                <c:pt idx="137">
                  <c:v>0.19700000000000001</c:v>
                </c:pt>
                <c:pt idx="138">
                  <c:v>8.6999999999999994E-2</c:v>
                </c:pt>
                <c:pt idx="139">
                  <c:v>0.156</c:v>
                </c:pt>
                <c:pt idx="140">
                  <c:v>0.104</c:v>
                </c:pt>
                <c:pt idx="141">
                  <c:v>0.18</c:v>
                </c:pt>
                <c:pt idx="142">
                  <c:v>0.11799999999999999</c:v>
                </c:pt>
                <c:pt idx="143">
                  <c:v>0.11</c:v>
                </c:pt>
                <c:pt idx="144">
                  <c:v>0.10299999999999999</c:v>
                </c:pt>
                <c:pt idx="145">
                  <c:v>0.17499999999999999</c:v>
                </c:pt>
                <c:pt idx="146">
                  <c:v>7.8E-2</c:v>
                </c:pt>
                <c:pt idx="147">
                  <c:v>0.19700000000000001</c:v>
                </c:pt>
                <c:pt idx="148">
                  <c:v>8.5999999999999993E-2</c:v>
                </c:pt>
                <c:pt idx="149">
                  <c:v>5.2999999999999999E-2</c:v>
                </c:pt>
                <c:pt idx="150">
                  <c:v>0.185</c:v>
                </c:pt>
                <c:pt idx="151">
                  <c:v>0.12</c:v>
                </c:pt>
                <c:pt idx="152">
                  <c:v>0.08</c:v>
                </c:pt>
                <c:pt idx="153">
                  <c:v>0.126</c:v>
                </c:pt>
                <c:pt idx="154">
                  <c:v>8.5000000000000006E-2</c:v>
                </c:pt>
                <c:pt idx="155">
                  <c:v>0.04</c:v>
                </c:pt>
                <c:pt idx="156">
                  <c:v>9.9000000000000005E-2</c:v>
                </c:pt>
                <c:pt idx="157">
                  <c:v>8.8999999999999996E-2</c:v>
                </c:pt>
                <c:pt idx="158">
                  <c:v>0.189</c:v>
                </c:pt>
                <c:pt idx="159">
                  <c:v>7.6999999999999999E-2</c:v>
                </c:pt>
                <c:pt idx="160">
                  <c:v>1.4E-2</c:v>
                </c:pt>
                <c:pt idx="161">
                  <c:v>7.2999999999999995E-2</c:v>
                </c:pt>
                <c:pt idx="162">
                  <c:v>8.1000000000000003E-2</c:v>
                </c:pt>
                <c:pt idx="163">
                  <c:v>5.6000000000000001E-2</c:v>
                </c:pt>
                <c:pt idx="164">
                  <c:v>0.17</c:v>
                </c:pt>
                <c:pt idx="165">
                  <c:v>0.11899999999999999</c:v>
                </c:pt>
                <c:pt idx="166">
                  <c:v>5.5E-2</c:v>
                </c:pt>
                <c:pt idx="167">
                  <c:v>7.5999999999999998E-2</c:v>
                </c:pt>
                <c:pt idx="168">
                  <c:v>0.06</c:v>
                </c:pt>
                <c:pt idx="169">
                  <c:v>0.11899999999999999</c:v>
                </c:pt>
                <c:pt idx="170">
                  <c:v>1.4E-2</c:v>
                </c:pt>
                <c:pt idx="171">
                  <c:v>1.6E-2</c:v>
                </c:pt>
                <c:pt idx="172">
                  <c:v>0.105</c:v>
                </c:pt>
                <c:pt idx="173">
                  <c:v>6.3E-2</c:v>
                </c:pt>
                <c:pt idx="174">
                  <c:v>0.11700000000000001</c:v>
                </c:pt>
                <c:pt idx="175">
                  <c:v>1.4E-2</c:v>
                </c:pt>
                <c:pt idx="176">
                  <c:v>0.13600000000000001</c:v>
                </c:pt>
                <c:pt idx="177">
                  <c:v>1.2E-2</c:v>
                </c:pt>
                <c:pt idx="178">
                  <c:v>8.6999999999999994E-2</c:v>
                </c:pt>
                <c:pt idx="179">
                  <c:v>3.7999999999999999E-2</c:v>
                </c:pt>
                <c:pt idx="180">
                  <c:v>0.111</c:v>
                </c:pt>
                <c:pt idx="181">
                  <c:v>2.9000000000000001E-2</c:v>
                </c:pt>
                <c:pt idx="182">
                  <c:v>0.13700000000000001</c:v>
                </c:pt>
                <c:pt idx="183">
                  <c:v>5.1999999999999998E-2</c:v>
                </c:pt>
                <c:pt idx="184">
                  <c:v>3.1E-2</c:v>
                </c:pt>
                <c:pt idx="185">
                  <c:v>5.5E-2</c:v>
                </c:pt>
                <c:pt idx="186">
                  <c:v>7.0000000000000007E-2</c:v>
                </c:pt>
                <c:pt idx="187">
                  <c:v>3.9E-2</c:v>
                </c:pt>
                <c:pt idx="188">
                  <c:v>1.4E-2</c:v>
                </c:pt>
                <c:pt idx="189">
                  <c:v>6.6000000000000003E-2</c:v>
                </c:pt>
                <c:pt idx="190">
                  <c:v>7.5999999999999998E-2</c:v>
                </c:pt>
                <c:pt idx="191">
                  <c:v>5.8000000000000003E-2</c:v>
                </c:pt>
                <c:pt idx="192">
                  <c:v>4.1000000000000002E-2</c:v>
                </c:pt>
                <c:pt idx="193">
                  <c:v>3.2000000000000001E-2</c:v>
                </c:pt>
                <c:pt idx="194">
                  <c:v>8.1000000000000003E-2</c:v>
                </c:pt>
                <c:pt idx="195">
                  <c:v>3.1E-2</c:v>
                </c:pt>
                <c:pt idx="196">
                  <c:v>4.9000000000000002E-2</c:v>
                </c:pt>
                <c:pt idx="197">
                  <c:v>2.7E-2</c:v>
                </c:pt>
                <c:pt idx="198">
                  <c:v>6.6000000000000003E-2</c:v>
                </c:pt>
                <c:pt idx="199">
                  <c:v>4.9000000000000002E-2</c:v>
                </c:pt>
                <c:pt idx="200">
                  <c:v>7.0999999999999994E-2</c:v>
                </c:pt>
                <c:pt idx="201">
                  <c:v>3.7999999999999999E-2</c:v>
                </c:pt>
                <c:pt idx="202">
                  <c:v>5.7000000000000002E-2</c:v>
                </c:pt>
                <c:pt idx="203">
                  <c:v>7.2999999999999995E-2</c:v>
                </c:pt>
                <c:pt idx="204">
                  <c:v>0.11600000000000001</c:v>
                </c:pt>
                <c:pt idx="205">
                  <c:v>2.1999999999999999E-2</c:v>
                </c:pt>
                <c:pt idx="206">
                  <c:v>3.5000000000000003E-2</c:v>
                </c:pt>
                <c:pt idx="207">
                  <c:v>0.06</c:v>
                </c:pt>
                <c:pt idx="208">
                  <c:v>3.7999999999999999E-2</c:v>
                </c:pt>
                <c:pt idx="209">
                  <c:v>2.1999999999999999E-2</c:v>
                </c:pt>
                <c:pt idx="210">
                  <c:v>6.5000000000000002E-2</c:v>
                </c:pt>
                <c:pt idx="211">
                  <c:v>2.7E-2</c:v>
                </c:pt>
                <c:pt idx="212">
                  <c:v>3.5999999999999997E-2</c:v>
                </c:pt>
                <c:pt idx="213">
                  <c:v>3.5000000000000003E-2</c:v>
                </c:pt>
                <c:pt idx="214">
                  <c:v>1.4E-2</c:v>
                </c:pt>
                <c:pt idx="215">
                  <c:v>2.4E-2</c:v>
                </c:pt>
                <c:pt idx="216">
                  <c:v>0.04</c:v>
                </c:pt>
                <c:pt idx="217">
                  <c:v>3.9E-2</c:v>
                </c:pt>
                <c:pt idx="218">
                  <c:v>1.0999999999999999E-2</c:v>
                </c:pt>
                <c:pt idx="219">
                  <c:v>5.7000000000000002E-2</c:v>
                </c:pt>
                <c:pt idx="220">
                  <c:v>0.04</c:v>
                </c:pt>
                <c:pt idx="221">
                  <c:v>1.2E-2</c:v>
                </c:pt>
                <c:pt idx="222">
                  <c:v>4.1000000000000002E-2</c:v>
                </c:pt>
                <c:pt idx="223">
                  <c:v>1.6E-2</c:v>
                </c:pt>
                <c:pt idx="224">
                  <c:v>3.1E-2</c:v>
                </c:pt>
                <c:pt idx="225">
                  <c:v>4.8000000000000001E-2</c:v>
                </c:pt>
                <c:pt idx="226">
                  <c:v>1.0999999999999999E-2</c:v>
                </c:pt>
                <c:pt idx="227">
                  <c:v>0.02</c:v>
                </c:pt>
                <c:pt idx="228">
                  <c:v>1.6E-2</c:v>
                </c:pt>
                <c:pt idx="229">
                  <c:v>2.1000000000000001E-2</c:v>
                </c:pt>
                <c:pt idx="230">
                  <c:v>3.5000000000000003E-2</c:v>
                </c:pt>
                <c:pt idx="231">
                  <c:v>3.2000000000000001E-2</c:v>
                </c:pt>
                <c:pt idx="232">
                  <c:v>3.5000000000000003E-2</c:v>
                </c:pt>
                <c:pt idx="233">
                  <c:v>2.1999999999999999E-2</c:v>
                </c:pt>
                <c:pt idx="234">
                  <c:v>1.2E-2</c:v>
                </c:pt>
                <c:pt idx="235">
                  <c:v>0.158</c:v>
                </c:pt>
                <c:pt idx="236">
                  <c:v>3.5999999999999997E-2</c:v>
                </c:pt>
                <c:pt idx="237">
                  <c:v>1.2E-2</c:v>
                </c:pt>
                <c:pt idx="238">
                  <c:v>2.9000000000000001E-2</c:v>
                </c:pt>
                <c:pt idx="239">
                  <c:v>4.3999999999999997E-2</c:v>
                </c:pt>
                <c:pt idx="240">
                  <c:v>1.4E-2</c:v>
                </c:pt>
                <c:pt idx="241">
                  <c:v>1.2E-2</c:v>
                </c:pt>
                <c:pt idx="242">
                  <c:v>3.4000000000000002E-2</c:v>
                </c:pt>
                <c:pt idx="243">
                  <c:v>1.7000000000000001E-2</c:v>
                </c:pt>
                <c:pt idx="244">
                  <c:v>3.7999999999999999E-2</c:v>
                </c:pt>
                <c:pt idx="245">
                  <c:v>1.2999999999999999E-2</c:v>
                </c:pt>
                <c:pt idx="246">
                  <c:v>5.7000000000000002E-2</c:v>
                </c:pt>
                <c:pt idx="247">
                  <c:v>1.2E-2</c:v>
                </c:pt>
                <c:pt idx="248">
                  <c:v>2.3E-2</c:v>
                </c:pt>
                <c:pt idx="249">
                  <c:v>3.2000000000000001E-2</c:v>
                </c:pt>
                <c:pt idx="250">
                  <c:v>3.1E-2</c:v>
                </c:pt>
                <c:pt idx="251">
                  <c:v>1.6E-2</c:v>
                </c:pt>
                <c:pt idx="252">
                  <c:v>1.4999999999999999E-2</c:v>
                </c:pt>
                <c:pt idx="253">
                  <c:v>4.4999999999999998E-2</c:v>
                </c:pt>
                <c:pt idx="254">
                  <c:v>2.7E-2</c:v>
                </c:pt>
                <c:pt idx="255">
                  <c:v>2.5000000000000001E-2</c:v>
                </c:pt>
                <c:pt idx="256">
                  <c:v>2.5999999999999999E-2</c:v>
                </c:pt>
                <c:pt idx="257">
                  <c:v>3.6999999999999998E-2</c:v>
                </c:pt>
                <c:pt idx="258">
                  <c:v>2.5000000000000001E-2</c:v>
                </c:pt>
                <c:pt idx="259">
                  <c:v>4.5999999999999999E-2</c:v>
                </c:pt>
                <c:pt idx="260">
                  <c:v>3.2000000000000001E-2</c:v>
                </c:pt>
                <c:pt idx="261">
                  <c:v>7.0000000000000001E-3</c:v>
                </c:pt>
                <c:pt idx="262">
                  <c:v>2.4E-2</c:v>
                </c:pt>
                <c:pt idx="263">
                  <c:v>1.0999999999999999E-2</c:v>
                </c:pt>
                <c:pt idx="264">
                  <c:v>4.4999999999999998E-2</c:v>
                </c:pt>
                <c:pt idx="265">
                  <c:v>2.4E-2</c:v>
                </c:pt>
                <c:pt idx="266">
                  <c:v>4.1000000000000002E-2</c:v>
                </c:pt>
                <c:pt idx="267">
                  <c:v>1.2999999999999999E-2</c:v>
                </c:pt>
                <c:pt idx="268">
                  <c:v>1.2999999999999999E-2</c:v>
                </c:pt>
                <c:pt idx="269">
                  <c:v>5.0000000000000001E-3</c:v>
                </c:pt>
                <c:pt idx="270">
                  <c:v>5.6000000000000001E-2</c:v>
                </c:pt>
                <c:pt idx="271">
                  <c:v>1.2999999999999999E-2</c:v>
                </c:pt>
                <c:pt idx="272">
                  <c:v>0.01</c:v>
                </c:pt>
                <c:pt idx="273">
                  <c:v>0.03</c:v>
                </c:pt>
                <c:pt idx="274">
                  <c:v>1.0999999999999999E-2</c:v>
                </c:pt>
                <c:pt idx="275">
                  <c:v>4.5999999999999999E-2</c:v>
                </c:pt>
                <c:pt idx="276">
                  <c:v>1.2E-2</c:v>
                </c:pt>
                <c:pt idx="277">
                  <c:v>8.0000000000000002E-3</c:v>
                </c:pt>
                <c:pt idx="278">
                  <c:v>8.0000000000000002E-3</c:v>
                </c:pt>
                <c:pt idx="279">
                  <c:v>2.7E-2</c:v>
                </c:pt>
                <c:pt idx="280">
                  <c:v>0.01</c:v>
                </c:pt>
                <c:pt idx="281">
                  <c:v>1.7999999999999999E-2</c:v>
                </c:pt>
                <c:pt idx="282">
                  <c:v>2.4E-2</c:v>
                </c:pt>
                <c:pt idx="283">
                  <c:v>1.4E-2</c:v>
                </c:pt>
                <c:pt idx="284">
                  <c:v>2.8000000000000001E-2</c:v>
                </c:pt>
                <c:pt idx="285">
                  <c:v>1.0999999999999999E-2</c:v>
                </c:pt>
                <c:pt idx="286">
                  <c:v>8.0000000000000002E-3</c:v>
                </c:pt>
                <c:pt idx="287">
                  <c:v>1.2E-2</c:v>
                </c:pt>
                <c:pt idx="288">
                  <c:v>7.0000000000000001E-3</c:v>
                </c:pt>
                <c:pt idx="289">
                  <c:v>3.0000000000000001E-3</c:v>
                </c:pt>
                <c:pt idx="290">
                  <c:v>0.05</c:v>
                </c:pt>
                <c:pt idx="291">
                  <c:v>3.9E-2</c:v>
                </c:pt>
                <c:pt idx="292">
                  <c:v>2.4E-2</c:v>
                </c:pt>
                <c:pt idx="293">
                  <c:v>0.01</c:v>
                </c:pt>
                <c:pt idx="294">
                  <c:v>4.2000000000000003E-2</c:v>
                </c:pt>
                <c:pt idx="295">
                  <c:v>1.6E-2</c:v>
                </c:pt>
                <c:pt idx="296">
                  <c:v>0.01</c:v>
                </c:pt>
                <c:pt idx="297">
                  <c:v>1.2E-2</c:v>
                </c:pt>
                <c:pt idx="298">
                  <c:v>6.3E-2</c:v>
                </c:pt>
                <c:pt idx="299">
                  <c:v>2.1999999999999999E-2</c:v>
                </c:pt>
                <c:pt idx="300">
                  <c:v>1.6E-2</c:v>
                </c:pt>
                <c:pt idx="301">
                  <c:v>0.01</c:v>
                </c:pt>
                <c:pt idx="302">
                  <c:v>8.0000000000000002E-3</c:v>
                </c:pt>
                <c:pt idx="303">
                  <c:v>2.3E-2</c:v>
                </c:pt>
                <c:pt idx="304">
                  <c:v>0.02</c:v>
                </c:pt>
                <c:pt idx="305">
                  <c:v>2.5999999999999999E-2</c:v>
                </c:pt>
                <c:pt idx="306">
                  <c:v>1E-3</c:v>
                </c:pt>
                <c:pt idx="307">
                  <c:v>2.1000000000000001E-2</c:v>
                </c:pt>
                <c:pt idx="308">
                  <c:v>1.9E-2</c:v>
                </c:pt>
                <c:pt idx="309">
                  <c:v>1.2E-2</c:v>
                </c:pt>
                <c:pt idx="310">
                  <c:v>0.01</c:v>
                </c:pt>
                <c:pt idx="311">
                  <c:v>3.1E-2</c:v>
                </c:pt>
                <c:pt idx="312">
                  <c:v>2.1999999999999999E-2</c:v>
                </c:pt>
                <c:pt idx="313">
                  <c:v>0.01</c:v>
                </c:pt>
                <c:pt idx="314">
                  <c:v>3.1E-2</c:v>
                </c:pt>
                <c:pt idx="315">
                  <c:v>2.1999999999999999E-2</c:v>
                </c:pt>
                <c:pt idx="316">
                  <c:v>0.01</c:v>
                </c:pt>
                <c:pt idx="317">
                  <c:v>5.0000000000000001E-3</c:v>
                </c:pt>
                <c:pt idx="318">
                  <c:v>1.7999999999999999E-2</c:v>
                </c:pt>
                <c:pt idx="319">
                  <c:v>2.7E-2</c:v>
                </c:pt>
                <c:pt idx="320">
                  <c:v>8.0000000000000002E-3</c:v>
                </c:pt>
                <c:pt idx="321">
                  <c:v>1.9E-2</c:v>
                </c:pt>
                <c:pt idx="322">
                  <c:v>7.0000000000000001E-3</c:v>
                </c:pt>
                <c:pt idx="323">
                  <c:v>4.5999999999999999E-2</c:v>
                </c:pt>
                <c:pt idx="324">
                  <c:v>5.0000000000000001E-3</c:v>
                </c:pt>
                <c:pt idx="325">
                  <c:v>1.7000000000000001E-2</c:v>
                </c:pt>
                <c:pt idx="326">
                  <c:v>2.5999999999999999E-2</c:v>
                </c:pt>
                <c:pt idx="327">
                  <c:v>1.4999999999999999E-2</c:v>
                </c:pt>
                <c:pt idx="328">
                  <c:v>1.9E-2</c:v>
                </c:pt>
                <c:pt idx="329">
                  <c:v>1.9E-2</c:v>
                </c:pt>
                <c:pt idx="330">
                  <c:v>1.2E-2</c:v>
                </c:pt>
                <c:pt idx="331">
                  <c:v>1.2E-2</c:v>
                </c:pt>
                <c:pt idx="332">
                  <c:v>8.9999999999999993E-3</c:v>
                </c:pt>
                <c:pt idx="333">
                  <c:v>1.2999999999999999E-2</c:v>
                </c:pt>
                <c:pt idx="334">
                  <c:v>1.2999999999999999E-2</c:v>
                </c:pt>
                <c:pt idx="335">
                  <c:v>1.2999999999999999E-2</c:v>
                </c:pt>
                <c:pt idx="336">
                  <c:v>2.4E-2</c:v>
                </c:pt>
                <c:pt idx="337">
                  <c:v>4.4999999999999998E-2</c:v>
                </c:pt>
                <c:pt idx="338">
                  <c:v>5.0000000000000001E-3</c:v>
                </c:pt>
                <c:pt idx="339">
                  <c:v>7.0000000000000001E-3</c:v>
                </c:pt>
                <c:pt idx="340">
                  <c:v>1.7999999999999999E-2</c:v>
                </c:pt>
                <c:pt idx="341">
                  <c:v>1.2E-2</c:v>
                </c:pt>
                <c:pt idx="342">
                  <c:v>8.9999999999999993E-3</c:v>
                </c:pt>
                <c:pt idx="343">
                  <c:v>0.01</c:v>
                </c:pt>
                <c:pt idx="344">
                  <c:v>1.4E-2</c:v>
                </c:pt>
                <c:pt idx="345">
                  <c:v>1.4999999999999999E-2</c:v>
                </c:pt>
                <c:pt idx="346">
                  <c:v>1.9E-2</c:v>
                </c:pt>
                <c:pt idx="347">
                  <c:v>8.9999999999999993E-3</c:v>
                </c:pt>
                <c:pt idx="348">
                  <c:v>5.0000000000000001E-3</c:v>
                </c:pt>
                <c:pt idx="349">
                  <c:v>6.0000000000000001E-3</c:v>
                </c:pt>
                <c:pt idx="350">
                  <c:v>4.0000000000000001E-3</c:v>
                </c:pt>
                <c:pt idx="351">
                  <c:v>2.1999999999999999E-2</c:v>
                </c:pt>
                <c:pt idx="352">
                  <c:v>1.0999999999999999E-2</c:v>
                </c:pt>
                <c:pt idx="353">
                  <c:v>0.01</c:v>
                </c:pt>
                <c:pt idx="354">
                  <c:v>7.0000000000000001E-3</c:v>
                </c:pt>
                <c:pt idx="355">
                  <c:v>2.7E-2</c:v>
                </c:pt>
                <c:pt idx="356">
                  <c:v>6.0000000000000001E-3</c:v>
                </c:pt>
                <c:pt idx="357">
                  <c:v>1E-3</c:v>
                </c:pt>
                <c:pt idx="358">
                  <c:v>2E-3</c:v>
                </c:pt>
                <c:pt idx="359">
                  <c:v>1.0999999999999999E-2</c:v>
                </c:pt>
                <c:pt idx="360">
                  <c:v>8.0000000000000002E-3</c:v>
                </c:pt>
                <c:pt idx="361">
                  <c:v>1.2E-2</c:v>
                </c:pt>
                <c:pt idx="362">
                  <c:v>8.9999999999999993E-3</c:v>
                </c:pt>
                <c:pt idx="363">
                  <c:v>5.0000000000000001E-3</c:v>
                </c:pt>
                <c:pt idx="364">
                  <c:v>8.9999999999999993E-3</c:v>
                </c:pt>
                <c:pt idx="365">
                  <c:v>4.0000000000000001E-3</c:v>
                </c:pt>
                <c:pt idx="366">
                  <c:v>1E-3</c:v>
                </c:pt>
                <c:pt idx="367">
                  <c:v>8.9999999999999993E-3</c:v>
                </c:pt>
                <c:pt idx="368">
                  <c:v>5.0000000000000001E-3</c:v>
                </c:pt>
                <c:pt idx="369">
                  <c:v>3.0000000000000001E-3</c:v>
                </c:pt>
                <c:pt idx="370">
                  <c:v>2.1999999999999999E-2</c:v>
                </c:pt>
                <c:pt idx="371">
                  <c:v>7.0000000000000001E-3</c:v>
                </c:pt>
                <c:pt idx="372">
                  <c:v>4.0000000000000001E-3</c:v>
                </c:pt>
                <c:pt idx="373">
                  <c:v>8.0000000000000002E-3</c:v>
                </c:pt>
                <c:pt idx="374">
                  <c:v>1.4E-2</c:v>
                </c:pt>
                <c:pt idx="375">
                  <c:v>7.0000000000000001E-3</c:v>
                </c:pt>
                <c:pt idx="376">
                  <c:v>1.9E-2</c:v>
                </c:pt>
                <c:pt idx="377">
                  <c:v>0.01</c:v>
                </c:pt>
                <c:pt idx="378">
                  <c:v>8.9999999999999993E-3</c:v>
                </c:pt>
                <c:pt idx="379">
                  <c:v>4.0000000000000001E-3</c:v>
                </c:pt>
                <c:pt idx="380">
                  <c:v>5.0000000000000001E-3</c:v>
                </c:pt>
                <c:pt idx="381">
                  <c:v>7.0000000000000001E-3</c:v>
                </c:pt>
                <c:pt idx="382">
                  <c:v>5.0000000000000001E-3</c:v>
                </c:pt>
                <c:pt idx="383">
                  <c:v>5.0000000000000001E-3</c:v>
                </c:pt>
                <c:pt idx="384">
                  <c:v>4.0000000000000001E-3</c:v>
                </c:pt>
                <c:pt idx="385">
                  <c:v>1.6E-2</c:v>
                </c:pt>
                <c:pt idx="386">
                  <c:v>5.0000000000000001E-3</c:v>
                </c:pt>
                <c:pt idx="387">
                  <c:v>2.1999999999999999E-2</c:v>
                </c:pt>
                <c:pt idx="388">
                  <c:v>6.0000000000000001E-3</c:v>
                </c:pt>
                <c:pt idx="389">
                  <c:v>7.0000000000000001E-3</c:v>
                </c:pt>
                <c:pt idx="390">
                  <c:v>4.0000000000000001E-3</c:v>
                </c:pt>
                <c:pt idx="391">
                  <c:v>6.0000000000000001E-3</c:v>
                </c:pt>
                <c:pt idx="392">
                  <c:v>1.2E-2</c:v>
                </c:pt>
                <c:pt idx="393">
                  <c:v>5.0000000000000001E-3</c:v>
                </c:pt>
                <c:pt idx="394">
                  <c:v>7.0000000000000001E-3</c:v>
                </c:pt>
                <c:pt idx="395">
                  <c:v>0.01</c:v>
                </c:pt>
                <c:pt idx="396">
                  <c:v>3.0000000000000001E-3</c:v>
                </c:pt>
                <c:pt idx="397">
                  <c:v>2E-3</c:v>
                </c:pt>
                <c:pt idx="398">
                  <c:v>5.0000000000000001E-3</c:v>
                </c:pt>
                <c:pt idx="399">
                  <c:v>5.0000000000000001E-3</c:v>
                </c:pt>
                <c:pt idx="400">
                  <c:v>6.0000000000000001E-3</c:v>
                </c:pt>
                <c:pt idx="401">
                  <c:v>1E-3</c:v>
                </c:pt>
                <c:pt idx="402">
                  <c:v>8.0000000000000002E-3</c:v>
                </c:pt>
                <c:pt idx="403">
                  <c:v>4.0000000000000001E-3</c:v>
                </c:pt>
                <c:pt idx="404">
                  <c:v>4.0000000000000001E-3</c:v>
                </c:pt>
                <c:pt idx="405">
                  <c:v>2E-3</c:v>
                </c:pt>
                <c:pt idx="406">
                  <c:v>3.0000000000000001E-3</c:v>
                </c:pt>
                <c:pt idx="407">
                  <c:v>3.0000000000000001E-3</c:v>
                </c:pt>
                <c:pt idx="408">
                  <c:v>5.0000000000000001E-3</c:v>
                </c:pt>
                <c:pt idx="409">
                  <c:v>5.0000000000000001E-3</c:v>
                </c:pt>
                <c:pt idx="410">
                  <c:v>1E-3</c:v>
                </c:pt>
                <c:pt idx="411">
                  <c:v>0.01</c:v>
                </c:pt>
                <c:pt idx="412">
                  <c:v>2E-3</c:v>
                </c:pt>
                <c:pt idx="413">
                  <c:v>2E-3</c:v>
                </c:pt>
                <c:pt idx="414">
                  <c:v>2E-3</c:v>
                </c:pt>
                <c:pt idx="415">
                  <c:v>5.0000000000000001E-3</c:v>
                </c:pt>
                <c:pt idx="416">
                  <c:v>1.6E-2</c:v>
                </c:pt>
                <c:pt idx="417">
                  <c:v>5.0000000000000001E-3</c:v>
                </c:pt>
                <c:pt idx="418">
                  <c:v>5.0000000000000001E-3</c:v>
                </c:pt>
                <c:pt idx="419">
                  <c:v>8.0000000000000002E-3</c:v>
                </c:pt>
                <c:pt idx="420">
                  <c:v>5.0000000000000001E-3</c:v>
                </c:pt>
                <c:pt idx="421">
                  <c:v>2.1000000000000001E-2</c:v>
                </c:pt>
                <c:pt idx="422">
                  <c:v>1.4E-2</c:v>
                </c:pt>
                <c:pt idx="423">
                  <c:v>1E-3</c:v>
                </c:pt>
                <c:pt idx="424">
                  <c:v>8.9999999999999993E-3</c:v>
                </c:pt>
                <c:pt idx="425">
                  <c:v>6.0000000000000001E-3</c:v>
                </c:pt>
                <c:pt idx="426">
                  <c:v>5.0000000000000001E-3</c:v>
                </c:pt>
                <c:pt idx="427">
                  <c:v>5.0000000000000001E-3</c:v>
                </c:pt>
                <c:pt idx="428">
                  <c:v>3.0000000000000001E-3</c:v>
                </c:pt>
                <c:pt idx="429">
                  <c:v>6.0000000000000001E-3</c:v>
                </c:pt>
                <c:pt idx="430">
                  <c:v>1.4999999999999999E-2</c:v>
                </c:pt>
                <c:pt idx="431">
                  <c:v>1.2E-2</c:v>
                </c:pt>
                <c:pt idx="432">
                  <c:v>8.9999999999999993E-3</c:v>
                </c:pt>
                <c:pt idx="433">
                  <c:v>5.0000000000000001E-3</c:v>
                </c:pt>
                <c:pt idx="434">
                  <c:v>4.0000000000000001E-3</c:v>
                </c:pt>
                <c:pt idx="435">
                  <c:v>2E-3</c:v>
                </c:pt>
                <c:pt idx="436">
                  <c:v>3.0000000000000001E-3</c:v>
                </c:pt>
                <c:pt idx="437">
                  <c:v>4.0000000000000001E-3</c:v>
                </c:pt>
                <c:pt idx="438">
                  <c:v>6.0000000000000001E-3</c:v>
                </c:pt>
                <c:pt idx="439">
                  <c:v>5.0000000000000001E-3</c:v>
                </c:pt>
                <c:pt idx="440">
                  <c:v>1E-3</c:v>
                </c:pt>
                <c:pt idx="441">
                  <c:v>2E-3</c:v>
                </c:pt>
                <c:pt idx="442">
                  <c:v>1E-3</c:v>
                </c:pt>
                <c:pt idx="443">
                  <c:v>5.0000000000000001E-3</c:v>
                </c:pt>
                <c:pt idx="444">
                  <c:v>2E-3</c:v>
                </c:pt>
                <c:pt idx="445">
                  <c:v>2E-3</c:v>
                </c:pt>
                <c:pt idx="446">
                  <c:v>3.0000000000000001E-3</c:v>
                </c:pt>
                <c:pt idx="447">
                  <c:v>1E-3</c:v>
                </c:pt>
                <c:pt idx="448">
                  <c:v>3.0000000000000001E-3</c:v>
                </c:pt>
                <c:pt idx="449">
                  <c:v>3.0000000000000001E-3</c:v>
                </c:pt>
                <c:pt idx="450">
                  <c:v>1E-3</c:v>
                </c:pt>
                <c:pt idx="451">
                  <c:v>1E-3</c:v>
                </c:pt>
                <c:pt idx="452">
                  <c:v>1E-3</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7ECAC4"/>
              </a:solidFill>
            </c:spPr>
            <c:extLst>
              <c:ext xmlns:c16="http://schemas.microsoft.com/office/drawing/2014/chart" uri="{C3380CC4-5D6E-409C-BE32-E72D297353CC}">
                <c16:uniqueId val="{00000097-2993-41DE-A2CB-63102DE87051}"/>
              </c:ext>
            </c:extLst>
          </c:dPt>
          <c:dPt>
            <c:idx val="48"/>
            <c:invertIfNegative val="1"/>
            <c:bubble3D val="0"/>
            <c:spPr>
              <a:solidFill>
                <a:srgbClr val="7ECAC4"/>
              </a:solidFill>
            </c:spPr>
            <c:extLst>
              <c:ext xmlns:c16="http://schemas.microsoft.com/office/drawing/2014/chart" uri="{C3380CC4-5D6E-409C-BE32-E72D297353CC}">
                <c16:uniqueId val="{00000099-2993-41DE-A2CB-63102DE87051}"/>
              </c:ext>
            </c:extLst>
          </c:dPt>
          <c:dPt>
            <c:idx val="49"/>
            <c:invertIfNegative val="1"/>
            <c:bubble3D val="0"/>
            <c:spPr>
              <a:solidFill>
                <a:srgbClr val="7ECAC4"/>
              </a:solidFill>
            </c:spPr>
            <c:extLst>
              <c:ext xmlns:c16="http://schemas.microsoft.com/office/drawing/2014/chart" uri="{C3380CC4-5D6E-409C-BE32-E72D297353CC}">
                <c16:uniqueId val="{0000009B-2993-41DE-A2CB-63102DE87051}"/>
              </c:ext>
            </c:extLst>
          </c:dPt>
          <c:dPt>
            <c:idx val="50"/>
            <c:invertIfNegative val="1"/>
            <c:bubble3D val="0"/>
            <c:spPr>
              <a:solidFill>
                <a:srgbClr val="7ECAC4"/>
              </a:solidFill>
            </c:spPr>
            <c:extLst>
              <c:ext xmlns:c16="http://schemas.microsoft.com/office/drawing/2014/chart" uri="{C3380CC4-5D6E-409C-BE32-E72D297353CC}">
                <c16:uniqueId val="{0000009D-2993-41DE-A2CB-63102DE87051}"/>
              </c:ext>
            </c:extLst>
          </c:dPt>
          <c:dPt>
            <c:idx val="51"/>
            <c:invertIfNegative val="1"/>
            <c:bubble3D val="0"/>
            <c:spPr>
              <a:solidFill>
                <a:srgbClr val="7ECAC4"/>
              </a:solidFill>
            </c:spPr>
            <c:extLst>
              <c:ext xmlns:c16="http://schemas.microsoft.com/office/drawing/2014/chart" uri="{C3380CC4-5D6E-409C-BE32-E72D297353CC}">
                <c16:uniqueId val="{0000009F-2993-41DE-A2CB-63102DE87051}"/>
              </c:ext>
            </c:extLst>
          </c:dPt>
          <c:dPt>
            <c:idx val="52"/>
            <c:invertIfNegative val="1"/>
            <c:bubble3D val="0"/>
            <c:spPr>
              <a:solidFill>
                <a:srgbClr val="7ECAC4"/>
              </a:solidFill>
            </c:spPr>
            <c:extLst>
              <c:ext xmlns:c16="http://schemas.microsoft.com/office/drawing/2014/chart" uri="{C3380CC4-5D6E-409C-BE32-E72D297353CC}">
                <c16:uniqueId val="{000000A1-2993-41DE-A2CB-63102DE87051}"/>
              </c:ext>
            </c:extLst>
          </c:dPt>
          <c:dPt>
            <c:idx val="53"/>
            <c:invertIfNegative val="1"/>
            <c:bubble3D val="0"/>
            <c:spPr>
              <a:solidFill>
                <a:srgbClr val="7ECAC4"/>
              </a:solidFill>
            </c:spPr>
            <c:extLst>
              <c:ext xmlns:c16="http://schemas.microsoft.com/office/drawing/2014/chart" uri="{C3380CC4-5D6E-409C-BE32-E72D297353CC}">
                <c16:uniqueId val="{000000A3-2993-41DE-A2CB-63102DE87051}"/>
              </c:ext>
            </c:extLst>
          </c:dPt>
          <c:dPt>
            <c:idx val="54"/>
            <c:invertIfNegative val="0"/>
            <c:bubble3D val="0"/>
            <c:spPr>
              <a:solidFill>
                <a:srgbClr val="7ECAC4"/>
              </a:solidFill>
            </c:spPr>
            <c:extLst>
              <c:ext xmlns:c16="http://schemas.microsoft.com/office/drawing/2014/chart" uri="{C3380CC4-5D6E-409C-BE32-E72D297353CC}">
                <c16:uniqueId val="{00000072-C76F-4230-900D-40618C09729F}"/>
              </c:ext>
            </c:extLst>
          </c:dPt>
          <c:dPt>
            <c:idx val="55"/>
            <c:invertIfNegative val="0"/>
            <c:bubble3D val="0"/>
            <c:spPr>
              <a:solidFill>
                <a:srgbClr val="7ECAC4"/>
              </a:solidFill>
            </c:spPr>
            <c:extLst>
              <c:ext xmlns:c16="http://schemas.microsoft.com/office/drawing/2014/chart" uri="{C3380CC4-5D6E-409C-BE32-E72D297353CC}">
                <c16:uniqueId val="{00000074-C76F-4230-900D-40618C09729F}"/>
              </c:ext>
            </c:extLst>
          </c:dPt>
          <c:dPt>
            <c:idx val="56"/>
            <c:invertIfNegative val="0"/>
            <c:bubble3D val="0"/>
            <c:spPr>
              <a:solidFill>
                <a:srgbClr val="7ECAC4"/>
              </a:solidFill>
            </c:spPr>
            <c:extLst>
              <c:ext xmlns:c16="http://schemas.microsoft.com/office/drawing/2014/chart" uri="{C3380CC4-5D6E-409C-BE32-E72D297353CC}">
                <c16:uniqueId val="{00000076-C76F-4230-900D-40618C09729F}"/>
              </c:ext>
            </c:extLst>
          </c:dPt>
          <c:dPt>
            <c:idx val="57"/>
            <c:invertIfNegative val="0"/>
            <c:bubble3D val="0"/>
            <c:spPr>
              <a:solidFill>
                <a:srgbClr val="7ECAC4"/>
              </a:solidFill>
            </c:spPr>
            <c:extLst>
              <c:ext xmlns:c16="http://schemas.microsoft.com/office/drawing/2014/chart" uri="{C3380CC4-5D6E-409C-BE32-E72D297353CC}">
                <c16:uniqueId val="{00000078-C76F-4230-900D-40618C09729F}"/>
              </c:ext>
            </c:extLst>
          </c:dPt>
          <c:dPt>
            <c:idx val="58"/>
            <c:invertIfNegative val="0"/>
            <c:bubble3D val="0"/>
            <c:spPr>
              <a:solidFill>
                <a:srgbClr val="7ECAC4"/>
              </a:solidFill>
            </c:spPr>
            <c:extLst>
              <c:ext xmlns:c16="http://schemas.microsoft.com/office/drawing/2014/chart" uri="{C3380CC4-5D6E-409C-BE32-E72D297353CC}">
                <c16:uniqueId val="{0000007A-C76F-4230-900D-40618C09729F}"/>
              </c:ext>
            </c:extLst>
          </c:dPt>
          <c:dPt>
            <c:idx val="59"/>
            <c:invertIfNegative val="0"/>
            <c:bubble3D val="0"/>
            <c:spPr>
              <a:solidFill>
                <a:srgbClr val="7ECAC4"/>
              </a:solidFill>
            </c:spPr>
            <c:extLst>
              <c:ext xmlns:c16="http://schemas.microsoft.com/office/drawing/2014/chart" uri="{C3380CC4-5D6E-409C-BE32-E72D297353CC}">
                <c16:uniqueId val="{0000007C-C76F-4230-900D-40618C09729F}"/>
              </c:ext>
            </c:extLst>
          </c:dPt>
          <c:dPt>
            <c:idx val="60"/>
            <c:invertIfNegative val="0"/>
            <c:bubble3D val="0"/>
            <c:spPr>
              <a:solidFill>
                <a:srgbClr val="7ECAC4"/>
              </a:solidFill>
            </c:spPr>
            <c:extLst>
              <c:ext xmlns:c16="http://schemas.microsoft.com/office/drawing/2014/chart" uri="{C3380CC4-5D6E-409C-BE32-E72D297353CC}">
                <c16:uniqueId val="{0000007E-C76F-4230-900D-40618C09729F}"/>
              </c:ext>
            </c:extLst>
          </c:dPt>
          <c:dPt>
            <c:idx val="61"/>
            <c:invertIfNegative val="0"/>
            <c:bubble3D val="0"/>
            <c:spPr>
              <a:solidFill>
                <a:srgbClr val="7ECAC4"/>
              </a:solidFill>
            </c:spPr>
            <c:extLst>
              <c:ext xmlns:c16="http://schemas.microsoft.com/office/drawing/2014/chart" uri="{C3380CC4-5D6E-409C-BE32-E72D297353CC}">
                <c16:uniqueId val="{00000080-C76F-4230-900D-40618C09729F}"/>
              </c:ext>
            </c:extLst>
          </c:dPt>
          <c:dPt>
            <c:idx val="62"/>
            <c:invertIfNegative val="0"/>
            <c:bubble3D val="0"/>
            <c:spPr>
              <a:solidFill>
                <a:srgbClr val="7ECAC4"/>
              </a:solidFill>
            </c:spPr>
            <c:extLst>
              <c:ext xmlns:c16="http://schemas.microsoft.com/office/drawing/2014/chart" uri="{C3380CC4-5D6E-409C-BE32-E72D297353CC}">
                <c16:uniqueId val="{00000082-C76F-4230-900D-40618C09729F}"/>
              </c:ext>
            </c:extLst>
          </c:dPt>
          <c:dPt>
            <c:idx val="63"/>
            <c:invertIfNegative val="0"/>
            <c:bubble3D val="0"/>
            <c:spPr>
              <a:solidFill>
                <a:srgbClr val="7ECAC4"/>
              </a:solidFill>
            </c:spPr>
            <c:extLst>
              <c:ext xmlns:c16="http://schemas.microsoft.com/office/drawing/2014/chart" uri="{C3380CC4-5D6E-409C-BE32-E72D297353CC}">
                <c16:uniqueId val="{00000084-C76F-4230-900D-40618C09729F}"/>
              </c:ext>
            </c:extLst>
          </c:dPt>
          <c:dPt>
            <c:idx val="64"/>
            <c:invertIfNegative val="0"/>
            <c:bubble3D val="0"/>
            <c:spPr>
              <a:solidFill>
                <a:srgbClr val="7ECAC4"/>
              </a:solidFill>
            </c:spPr>
            <c:extLst>
              <c:ext xmlns:c16="http://schemas.microsoft.com/office/drawing/2014/chart" uri="{C3380CC4-5D6E-409C-BE32-E72D297353CC}">
                <c16:uniqueId val="{00000086-C76F-4230-900D-40618C09729F}"/>
              </c:ext>
            </c:extLst>
          </c:dPt>
          <c:dPt>
            <c:idx val="65"/>
            <c:invertIfNegative val="0"/>
            <c:bubble3D val="0"/>
            <c:spPr>
              <a:solidFill>
                <a:srgbClr val="7ECAC4"/>
              </a:solidFill>
            </c:spPr>
            <c:extLst>
              <c:ext xmlns:c16="http://schemas.microsoft.com/office/drawing/2014/chart" uri="{C3380CC4-5D6E-409C-BE32-E72D297353CC}">
                <c16:uniqueId val="{00000088-C76F-4230-900D-40618C09729F}"/>
              </c:ext>
            </c:extLst>
          </c:dPt>
          <c:dPt>
            <c:idx val="66"/>
            <c:invertIfNegative val="0"/>
            <c:bubble3D val="0"/>
            <c:spPr>
              <a:solidFill>
                <a:srgbClr val="7ECAC4"/>
              </a:solidFill>
            </c:spPr>
            <c:extLst>
              <c:ext xmlns:c16="http://schemas.microsoft.com/office/drawing/2014/chart" uri="{C3380CC4-5D6E-409C-BE32-E72D297353CC}">
                <c16:uniqueId val="{0000008A-C76F-4230-900D-40618C09729F}"/>
              </c:ext>
            </c:extLst>
          </c:dPt>
          <c:dPt>
            <c:idx val="67"/>
            <c:invertIfNegative val="0"/>
            <c:bubble3D val="0"/>
            <c:spPr>
              <a:solidFill>
                <a:srgbClr val="7ECAC4"/>
              </a:solidFill>
            </c:spPr>
            <c:extLst>
              <c:ext xmlns:c16="http://schemas.microsoft.com/office/drawing/2014/chart" uri="{C3380CC4-5D6E-409C-BE32-E72D297353CC}">
                <c16:uniqueId val="{0000008C-C76F-4230-900D-40618C09729F}"/>
              </c:ext>
            </c:extLst>
          </c:dPt>
          <c:dPt>
            <c:idx val="68"/>
            <c:invertIfNegative val="0"/>
            <c:bubble3D val="0"/>
            <c:spPr>
              <a:solidFill>
                <a:srgbClr val="7ECAC4"/>
              </a:solidFill>
            </c:spPr>
            <c:extLst>
              <c:ext xmlns:c16="http://schemas.microsoft.com/office/drawing/2014/chart" uri="{C3380CC4-5D6E-409C-BE32-E72D297353CC}">
                <c16:uniqueId val="{0000008E-C76F-4230-900D-40618C09729F}"/>
              </c:ext>
            </c:extLst>
          </c:dPt>
          <c:dPt>
            <c:idx val="69"/>
            <c:invertIfNegative val="0"/>
            <c:bubble3D val="0"/>
            <c:spPr>
              <a:solidFill>
                <a:srgbClr val="7ECAC4"/>
              </a:solidFill>
            </c:spPr>
            <c:extLst>
              <c:ext xmlns:c16="http://schemas.microsoft.com/office/drawing/2014/chart" uri="{C3380CC4-5D6E-409C-BE32-E72D297353CC}">
                <c16:uniqueId val="{00000090-C76F-4230-900D-40618C09729F}"/>
              </c:ext>
            </c:extLst>
          </c:dPt>
          <c:dPt>
            <c:idx val="70"/>
            <c:invertIfNegative val="0"/>
            <c:bubble3D val="0"/>
            <c:spPr>
              <a:solidFill>
                <a:srgbClr val="7ECAC4"/>
              </a:solidFill>
            </c:spPr>
            <c:extLst>
              <c:ext xmlns:c16="http://schemas.microsoft.com/office/drawing/2014/chart" uri="{C3380CC4-5D6E-409C-BE32-E72D297353CC}">
                <c16:uniqueId val="{00000092-C76F-4230-900D-40618C09729F}"/>
              </c:ext>
            </c:extLst>
          </c:dPt>
          <c:dPt>
            <c:idx val="71"/>
            <c:invertIfNegative val="0"/>
            <c:bubble3D val="0"/>
            <c:spPr>
              <a:solidFill>
                <a:srgbClr val="7ECAC4"/>
              </a:solidFill>
            </c:spPr>
            <c:extLst>
              <c:ext xmlns:c16="http://schemas.microsoft.com/office/drawing/2014/chart" uri="{C3380CC4-5D6E-409C-BE32-E72D297353CC}">
                <c16:uniqueId val="{00000094-C76F-4230-900D-40618C09729F}"/>
              </c:ext>
            </c:extLst>
          </c:dPt>
          <c:dPt>
            <c:idx val="72"/>
            <c:invertIfNegative val="0"/>
            <c:bubble3D val="0"/>
            <c:spPr>
              <a:solidFill>
                <a:srgbClr val="7ECAC4"/>
              </a:solidFill>
            </c:spPr>
            <c:extLst>
              <c:ext xmlns:c16="http://schemas.microsoft.com/office/drawing/2014/chart" uri="{C3380CC4-5D6E-409C-BE32-E72D297353CC}">
                <c16:uniqueId val="{00000096-C76F-4230-900D-40618C09729F}"/>
              </c:ext>
            </c:extLst>
          </c:dPt>
          <c:dPt>
            <c:idx val="73"/>
            <c:invertIfNegative val="0"/>
            <c:bubble3D val="0"/>
            <c:spPr>
              <a:solidFill>
                <a:srgbClr val="7ECAC4"/>
              </a:solidFill>
            </c:spPr>
            <c:extLst>
              <c:ext xmlns:c16="http://schemas.microsoft.com/office/drawing/2014/chart" uri="{C3380CC4-5D6E-409C-BE32-E72D297353CC}">
                <c16:uniqueId val="{00000098-C76F-4230-900D-40618C09729F}"/>
              </c:ext>
            </c:extLst>
          </c:dPt>
          <c:dPt>
            <c:idx val="74"/>
            <c:invertIfNegative val="0"/>
            <c:bubble3D val="0"/>
            <c:spPr>
              <a:solidFill>
                <a:srgbClr val="7ECAC4"/>
              </a:solidFill>
            </c:spPr>
            <c:extLst>
              <c:ext xmlns:c16="http://schemas.microsoft.com/office/drawing/2014/chart" uri="{C3380CC4-5D6E-409C-BE32-E72D297353CC}">
                <c16:uniqueId val="{0000009A-C76F-4230-900D-40618C09729F}"/>
              </c:ext>
            </c:extLst>
          </c:dPt>
          <c:dPt>
            <c:idx val="75"/>
            <c:invertIfNegative val="0"/>
            <c:bubble3D val="0"/>
            <c:spPr>
              <a:solidFill>
                <a:srgbClr val="7ECAC4"/>
              </a:solidFill>
            </c:spPr>
            <c:extLst>
              <c:ext xmlns:c16="http://schemas.microsoft.com/office/drawing/2014/chart" uri="{C3380CC4-5D6E-409C-BE32-E72D297353CC}">
                <c16:uniqueId val="{0000009C-C76F-4230-900D-40618C09729F}"/>
              </c:ext>
            </c:extLst>
          </c:dPt>
          <c:dPt>
            <c:idx val="76"/>
            <c:invertIfNegative val="0"/>
            <c:bubble3D val="0"/>
            <c:spPr>
              <a:solidFill>
                <a:srgbClr val="7ECAC4"/>
              </a:solidFill>
            </c:spPr>
            <c:extLst>
              <c:ext xmlns:c16="http://schemas.microsoft.com/office/drawing/2014/chart" uri="{C3380CC4-5D6E-409C-BE32-E72D297353CC}">
                <c16:uniqueId val="{0000009E-C76F-4230-900D-40618C09729F}"/>
              </c:ext>
            </c:extLst>
          </c:dPt>
          <c:dPt>
            <c:idx val="77"/>
            <c:invertIfNegative val="0"/>
            <c:bubble3D val="0"/>
            <c:spPr>
              <a:solidFill>
                <a:srgbClr val="7ECAC4"/>
              </a:solidFill>
            </c:spPr>
            <c:extLst>
              <c:ext xmlns:c16="http://schemas.microsoft.com/office/drawing/2014/chart" uri="{C3380CC4-5D6E-409C-BE32-E72D297353CC}">
                <c16:uniqueId val="{000000A0-C76F-4230-900D-40618C09729F}"/>
              </c:ext>
            </c:extLst>
          </c:dPt>
          <c:dPt>
            <c:idx val="78"/>
            <c:invertIfNegative val="0"/>
            <c:bubble3D val="0"/>
            <c:spPr>
              <a:solidFill>
                <a:srgbClr val="7ECAC4"/>
              </a:solidFill>
            </c:spPr>
            <c:extLst>
              <c:ext xmlns:c16="http://schemas.microsoft.com/office/drawing/2014/chart" uri="{C3380CC4-5D6E-409C-BE32-E72D297353CC}">
                <c16:uniqueId val="{000000A2-C76F-4230-900D-40618C09729F}"/>
              </c:ext>
            </c:extLst>
          </c:dPt>
          <c:dPt>
            <c:idx val="79"/>
            <c:invertIfNegative val="0"/>
            <c:bubble3D val="0"/>
            <c:spPr>
              <a:solidFill>
                <a:srgbClr val="7ECAC4"/>
              </a:solidFill>
            </c:spPr>
            <c:extLst>
              <c:ext xmlns:c16="http://schemas.microsoft.com/office/drawing/2014/chart" uri="{C3380CC4-5D6E-409C-BE32-E72D297353CC}">
                <c16:uniqueId val="{000000A4-C76F-4230-900D-40618C09729F}"/>
              </c:ext>
            </c:extLst>
          </c:dPt>
          <c:dPt>
            <c:idx val="80"/>
            <c:invertIfNegative val="0"/>
            <c:bubble3D val="0"/>
            <c:spPr>
              <a:solidFill>
                <a:srgbClr val="7ECAC4"/>
              </a:solidFill>
            </c:spPr>
            <c:extLst>
              <c:ext xmlns:c16="http://schemas.microsoft.com/office/drawing/2014/chart" uri="{C3380CC4-5D6E-409C-BE32-E72D297353CC}">
                <c16:uniqueId val="{000000A6-C76F-4230-900D-40618C09729F}"/>
              </c:ext>
            </c:extLst>
          </c:dPt>
          <c:dPt>
            <c:idx val="81"/>
            <c:invertIfNegative val="1"/>
            <c:bubble3D val="0"/>
            <c:spPr>
              <a:solidFill>
                <a:srgbClr val="7ECAC4"/>
              </a:solidFill>
            </c:spPr>
            <c:extLst>
              <c:ext xmlns:c16="http://schemas.microsoft.com/office/drawing/2014/chart" uri="{C3380CC4-5D6E-409C-BE32-E72D297353CC}">
                <c16:uniqueId val="{000000A5-2993-41DE-A2CB-63102DE87051}"/>
              </c:ext>
            </c:extLst>
          </c:dPt>
          <c:dPt>
            <c:idx val="82"/>
            <c:invertIfNegative val="1"/>
            <c:bubble3D val="0"/>
            <c:spPr>
              <a:solidFill>
                <a:srgbClr val="7ECAC4"/>
              </a:solidFill>
            </c:spPr>
            <c:extLst>
              <c:ext xmlns:c16="http://schemas.microsoft.com/office/drawing/2014/chart" uri="{C3380CC4-5D6E-409C-BE32-E72D297353CC}">
                <c16:uniqueId val="{000000A7-2993-41DE-A2CB-63102DE87051}"/>
              </c:ext>
            </c:extLst>
          </c:dPt>
          <c:dPt>
            <c:idx val="83"/>
            <c:invertIfNegative val="1"/>
            <c:bubble3D val="0"/>
            <c:spPr>
              <a:solidFill>
                <a:srgbClr val="7ECAC4"/>
              </a:solidFill>
            </c:spPr>
            <c:extLst>
              <c:ext xmlns:c16="http://schemas.microsoft.com/office/drawing/2014/chart" uri="{C3380CC4-5D6E-409C-BE32-E72D297353CC}">
                <c16:uniqueId val="{000000A9-2993-41DE-A2CB-63102DE87051}"/>
              </c:ext>
            </c:extLst>
          </c:dPt>
          <c:dPt>
            <c:idx val="84"/>
            <c:invertIfNegative val="1"/>
            <c:bubble3D val="0"/>
            <c:spPr>
              <a:solidFill>
                <a:srgbClr val="7ECAC4"/>
              </a:solidFill>
            </c:spPr>
            <c:extLst>
              <c:ext xmlns:c16="http://schemas.microsoft.com/office/drawing/2014/chart" uri="{C3380CC4-5D6E-409C-BE32-E72D297353CC}">
                <c16:uniqueId val="{000000AB-2993-41DE-A2CB-63102DE87051}"/>
              </c:ext>
            </c:extLst>
          </c:dPt>
          <c:dPt>
            <c:idx val="85"/>
            <c:invertIfNegative val="1"/>
            <c:bubble3D val="0"/>
            <c:spPr>
              <a:solidFill>
                <a:srgbClr val="7ECAC4"/>
              </a:solidFill>
            </c:spPr>
            <c:extLst>
              <c:ext xmlns:c16="http://schemas.microsoft.com/office/drawing/2014/chart" uri="{C3380CC4-5D6E-409C-BE32-E72D297353CC}">
                <c16:uniqueId val="{000000AD-2993-41DE-A2CB-63102DE87051}"/>
              </c:ext>
            </c:extLst>
          </c:dPt>
          <c:dPt>
            <c:idx val="86"/>
            <c:invertIfNegative val="1"/>
            <c:bubble3D val="0"/>
            <c:spPr>
              <a:solidFill>
                <a:srgbClr val="7ECAC4"/>
              </a:solidFill>
            </c:spPr>
            <c:extLst>
              <c:ext xmlns:c16="http://schemas.microsoft.com/office/drawing/2014/chart" uri="{C3380CC4-5D6E-409C-BE32-E72D297353CC}">
                <c16:uniqueId val="{000000AF-2993-41DE-A2CB-63102DE87051}"/>
              </c:ext>
            </c:extLst>
          </c:dPt>
          <c:dPt>
            <c:idx val="87"/>
            <c:invertIfNegative val="1"/>
            <c:bubble3D val="0"/>
            <c:spPr>
              <a:solidFill>
                <a:srgbClr val="7ECAC4"/>
              </a:solidFill>
            </c:spPr>
            <c:extLst>
              <c:ext xmlns:c16="http://schemas.microsoft.com/office/drawing/2014/chart" uri="{C3380CC4-5D6E-409C-BE32-E72D297353CC}">
                <c16:uniqueId val="{000000B1-2993-41DE-A2CB-63102DE87051}"/>
              </c:ext>
            </c:extLst>
          </c:dPt>
          <c:dPt>
            <c:idx val="88"/>
            <c:invertIfNegative val="1"/>
            <c:bubble3D val="0"/>
            <c:spPr>
              <a:solidFill>
                <a:srgbClr val="7ECAC4"/>
              </a:solidFill>
            </c:spPr>
            <c:extLst>
              <c:ext xmlns:c16="http://schemas.microsoft.com/office/drawing/2014/chart" uri="{C3380CC4-5D6E-409C-BE32-E72D297353CC}">
                <c16:uniqueId val="{000000B3-2993-41DE-A2CB-63102DE87051}"/>
              </c:ext>
            </c:extLst>
          </c:dPt>
          <c:dPt>
            <c:idx val="89"/>
            <c:invertIfNegative val="1"/>
            <c:bubble3D val="0"/>
            <c:spPr>
              <a:solidFill>
                <a:srgbClr val="7ECAC4"/>
              </a:solidFill>
            </c:spPr>
            <c:extLst>
              <c:ext xmlns:c16="http://schemas.microsoft.com/office/drawing/2014/chart" uri="{C3380CC4-5D6E-409C-BE32-E72D297353CC}">
                <c16:uniqueId val="{000000B5-2993-41DE-A2CB-63102DE87051}"/>
              </c:ext>
            </c:extLst>
          </c:dPt>
          <c:dPt>
            <c:idx val="90"/>
            <c:invertIfNegative val="1"/>
            <c:bubble3D val="0"/>
            <c:spPr>
              <a:solidFill>
                <a:srgbClr val="7ECAC4"/>
              </a:solidFill>
            </c:spPr>
            <c:extLst>
              <c:ext xmlns:c16="http://schemas.microsoft.com/office/drawing/2014/chart" uri="{C3380CC4-5D6E-409C-BE32-E72D297353CC}">
                <c16:uniqueId val="{000000B7-2993-41DE-A2CB-63102DE87051}"/>
              </c:ext>
            </c:extLst>
          </c:dPt>
          <c:dPt>
            <c:idx val="91"/>
            <c:invertIfNegative val="1"/>
            <c:bubble3D val="0"/>
            <c:spPr>
              <a:solidFill>
                <a:srgbClr val="7ECAC4"/>
              </a:solidFill>
            </c:spPr>
            <c:extLst>
              <c:ext xmlns:c16="http://schemas.microsoft.com/office/drawing/2014/chart" uri="{C3380CC4-5D6E-409C-BE32-E72D297353CC}">
                <c16:uniqueId val="{000000B9-2993-41DE-A2CB-63102DE87051}"/>
              </c:ext>
            </c:extLst>
          </c:dPt>
          <c:dPt>
            <c:idx val="92"/>
            <c:invertIfNegative val="1"/>
            <c:bubble3D val="0"/>
            <c:spPr>
              <a:solidFill>
                <a:srgbClr val="7ECAC4"/>
              </a:solidFill>
            </c:spPr>
            <c:extLst>
              <c:ext xmlns:c16="http://schemas.microsoft.com/office/drawing/2014/chart" uri="{C3380CC4-5D6E-409C-BE32-E72D297353CC}">
                <c16:uniqueId val="{000000BB-2993-41DE-A2CB-63102DE87051}"/>
              </c:ext>
            </c:extLst>
          </c:dPt>
          <c:dPt>
            <c:idx val="93"/>
            <c:invertIfNegative val="1"/>
            <c:bubble3D val="0"/>
            <c:spPr>
              <a:solidFill>
                <a:srgbClr val="7ECAC4"/>
              </a:solidFill>
            </c:spPr>
            <c:extLst>
              <c:ext xmlns:c16="http://schemas.microsoft.com/office/drawing/2014/chart" uri="{C3380CC4-5D6E-409C-BE32-E72D297353CC}">
                <c16:uniqueId val="{000000BD-2993-41DE-A2CB-63102DE87051}"/>
              </c:ext>
            </c:extLst>
          </c:dPt>
          <c:dPt>
            <c:idx val="94"/>
            <c:invertIfNegative val="1"/>
            <c:bubble3D val="0"/>
            <c:spPr>
              <a:solidFill>
                <a:srgbClr val="7ECAC4"/>
              </a:solidFill>
            </c:spPr>
            <c:extLst>
              <c:ext xmlns:c16="http://schemas.microsoft.com/office/drawing/2014/chart" uri="{C3380CC4-5D6E-409C-BE32-E72D297353CC}">
                <c16:uniqueId val="{000000BF-2993-41DE-A2CB-63102DE87051}"/>
              </c:ext>
            </c:extLst>
          </c:dPt>
          <c:dPt>
            <c:idx val="95"/>
            <c:invertIfNegative val="1"/>
            <c:bubble3D val="0"/>
            <c:spPr>
              <a:solidFill>
                <a:srgbClr val="7ECAC4"/>
              </a:solidFill>
            </c:spPr>
            <c:extLst>
              <c:ext xmlns:c16="http://schemas.microsoft.com/office/drawing/2014/chart" uri="{C3380CC4-5D6E-409C-BE32-E72D297353CC}">
                <c16:uniqueId val="{000000C1-2993-41DE-A2CB-63102DE87051}"/>
              </c:ext>
            </c:extLst>
          </c:dPt>
          <c:dPt>
            <c:idx val="96"/>
            <c:invertIfNegative val="1"/>
            <c:bubble3D val="0"/>
            <c:spPr>
              <a:solidFill>
                <a:srgbClr val="7ECAC4"/>
              </a:solidFill>
            </c:spPr>
            <c:extLst>
              <c:ext xmlns:c16="http://schemas.microsoft.com/office/drawing/2014/chart" uri="{C3380CC4-5D6E-409C-BE32-E72D297353CC}">
                <c16:uniqueId val="{000000C3-2993-41DE-A2CB-63102DE87051}"/>
              </c:ext>
            </c:extLst>
          </c:dPt>
          <c:dPt>
            <c:idx val="97"/>
            <c:invertIfNegative val="1"/>
            <c:bubble3D val="0"/>
            <c:spPr>
              <a:solidFill>
                <a:srgbClr val="7ECAC4"/>
              </a:solidFill>
            </c:spPr>
            <c:extLst>
              <c:ext xmlns:c16="http://schemas.microsoft.com/office/drawing/2014/chart" uri="{C3380CC4-5D6E-409C-BE32-E72D297353CC}">
                <c16:uniqueId val="{000000C5-2993-41DE-A2CB-63102DE87051}"/>
              </c:ext>
            </c:extLst>
          </c:dPt>
          <c:dPt>
            <c:idx val="98"/>
            <c:invertIfNegative val="1"/>
            <c:bubble3D val="0"/>
            <c:spPr>
              <a:solidFill>
                <a:srgbClr val="7ECAC4"/>
              </a:solidFill>
            </c:spPr>
            <c:extLst>
              <c:ext xmlns:c16="http://schemas.microsoft.com/office/drawing/2014/chart" uri="{C3380CC4-5D6E-409C-BE32-E72D297353CC}">
                <c16:uniqueId val="{000000C7-2993-41DE-A2CB-63102DE87051}"/>
              </c:ext>
            </c:extLst>
          </c:dPt>
          <c:dPt>
            <c:idx val="99"/>
            <c:invertIfNegative val="1"/>
            <c:bubble3D val="0"/>
            <c:spPr>
              <a:solidFill>
                <a:srgbClr val="7ECAC4"/>
              </a:solidFill>
            </c:spPr>
            <c:extLst>
              <c:ext xmlns:c16="http://schemas.microsoft.com/office/drawing/2014/chart" uri="{C3380CC4-5D6E-409C-BE32-E72D297353CC}">
                <c16:uniqueId val="{000000C9-2993-41DE-A2CB-63102DE87051}"/>
              </c:ext>
            </c:extLst>
          </c:dPt>
          <c:dPt>
            <c:idx val="100"/>
            <c:invertIfNegative val="1"/>
            <c:bubble3D val="0"/>
            <c:spPr>
              <a:solidFill>
                <a:srgbClr val="7ECAC4"/>
              </a:solidFill>
            </c:spPr>
            <c:extLst>
              <c:ext xmlns:c16="http://schemas.microsoft.com/office/drawing/2014/chart" uri="{C3380CC4-5D6E-409C-BE32-E72D297353CC}">
                <c16:uniqueId val="{000000CB-2993-41DE-A2CB-63102DE87051}"/>
              </c:ext>
            </c:extLst>
          </c:dPt>
          <c:dPt>
            <c:idx val="101"/>
            <c:invertIfNegative val="1"/>
            <c:bubble3D val="0"/>
            <c:spPr>
              <a:solidFill>
                <a:srgbClr val="7ECAC4"/>
              </a:solidFill>
            </c:spPr>
            <c:extLst>
              <c:ext xmlns:c16="http://schemas.microsoft.com/office/drawing/2014/chart" uri="{C3380CC4-5D6E-409C-BE32-E72D297353CC}">
                <c16:uniqueId val="{000000CD-2993-41DE-A2CB-63102DE87051}"/>
              </c:ext>
            </c:extLst>
          </c:dPt>
          <c:dPt>
            <c:idx val="102"/>
            <c:invertIfNegative val="1"/>
            <c:bubble3D val="0"/>
            <c:spPr>
              <a:solidFill>
                <a:srgbClr val="7ECAC4"/>
              </a:solidFill>
            </c:spPr>
            <c:extLst>
              <c:ext xmlns:c16="http://schemas.microsoft.com/office/drawing/2014/chart" uri="{C3380CC4-5D6E-409C-BE32-E72D297353CC}">
                <c16:uniqueId val="{000000CF-2993-41DE-A2CB-63102DE87051}"/>
              </c:ext>
            </c:extLst>
          </c:dPt>
          <c:dPt>
            <c:idx val="103"/>
            <c:invertIfNegative val="1"/>
            <c:bubble3D val="0"/>
            <c:spPr>
              <a:solidFill>
                <a:srgbClr val="7ECAC4"/>
              </a:solidFill>
            </c:spPr>
            <c:extLst>
              <c:ext xmlns:c16="http://schemas.microsoft.com/office/drawing/2014/chart" uri="{C3380CC4-5D6E-409C-BE32-E72D297353CC}">
                <c16:uniqueId val="{000000D1-2993-41DE-A2CB-63102DE87051}"/>
              </c:ext>
            </c:extLst>
          </c:dPt>
          <c:dPt>
            <c:idx val="104"/>
            <c:invertIfNegative val="1"/>
            <c:bubble3D val="0"/>
            <c:spPr>
              <a:solidFill>
                <a:srgbClr val="7ECAC4"/>
              </a:solidFill>
            </c:spPr>
            <c:extLst>
              <c:ext xmlns:c16="http://schemas.microsoft.com/office/drawing/2014/chart" uri="{C3380CC4-5D6E-409C-BE32-E72D297353CC}">
                <c16:uniqueId val="{000000D3-2993-41DE-A2CB-63102DE87051}"/>
              </c:ext>
            </c:extLst>
          </c:dPt>
          <c:dPt>
            <c:idx val="105"/>
            <c:invertIfNegative val="1"/>
            <c:bubble3D val="0"/>
            <c:spPr>
              <a:solidFill>
                <a:srgbClr val="7ECAC4"/>
              </a:solidFill>
            </c:spPr>
            <c:extLst>
              <c:ext xmlns:c16="http://schemas.microsoft.com/office/drawing/2014/chart" uri="{C3380CC4-5D6E-409C-BE32-E72D297353CC}">
                <c16:uniqueId val="{000000D5-2993-41DE-A2CB-63102DE87051}"/>
              </c:ext>
            </c:extLst>
          </c:dPt>
          <c:dPt>
            <c:idx val="106"/>
            <c:invertIfNegative val="1"/>
            <c:bubble3D val="0"/>
            <c:spPr>
              <a:solidFill>
                <a:srgbClr val="AEABAB"/>
              </a:solidFill>
            </c:spPr>
            <c:extLst>
              <c:ext xmlns:c16="http://schemas.microsoft.com/office/drawing/2014/chart" uri="{C3380CC4-5D6E-409C-BE32-E72D297353CC}">
                <c16:uniqueId val="{000000D7-2993-41DE-A2CB-63102DE87051}"/>
              </c:ext>
            </c:extLst>
          </c:dPt>
          <c:dPt>
            <c:idx val="107"/>
            <c:invertIfNegative val="1"/>
            <c:bubble3D val="0"/>
            <c:spPr>
              <a:solidFill>
                <a:srgbClr val="AEABAB"/>
              </a:solidFill>
            </c:spPr>
            <c:extLst>
              <c:ext xmlns:c16="http://schemas.microsoft.com/office/drawing/2014/chart" uri="{C3380CC4-5D6E-409C-BE32-E72D297353CC}">
                <c16:uniqueId val="{000000D9-2993-41DE-A2CB-63102DE87051}"/>
              </c:ext>
            </c:extLst>
          </c:dPt>
          <c:dPt>
            <c:idx val="108"/>
            <c:invertIfNegative val="1"/>
            <c:bubble3D val="0"/>
            <c:spPr>
              <a:solidFill>
                <a:srgbClr val="AEABAB"/>
              </a:solidFill>
            </c:spPr>
            <c:extLst>
              <c:ext xmlns:c16="http://schemas.microsoft.com/office/drawing/2014/chart" uri="{C3380CC4-5D6E-409C-BE32-E72D297353CC}">
                <c16:uniqueId val="{000000DB-2993-41DE-A2CB-63102DE87051}"/>
              </c:ext>
            </c:extLst>
          </c:dPt>
          <c:dPt>
            <c:idx val="109"/>
            <c:invertIfNegative val="1"/>
            <c:bubble3D val="0"/>
            <c:spPr>
              <a:solidFill>
                <a:srgbClr val="AEABAB"/>
              </a:solidFill>
            </c:spPr>
            <c:extLst>
              <c:ext xmlns:c16="http://schemas.microsoft.com/office/drawing/2014/chart" uri="{C3380CC4-5D6E-409C-BE32-E72D297353CC}">
                <c16:uniqueId val="{000000DD-2993-41DE-A2CB-63102DE87051}"/>
              </c:ext>
            </c:extLst>
          </c:dPt>
          <c:dPt>
            <c:idx val="110"/>
            <c:invertIfNegative val="1"/>
            <c:bubble3D val="0"/>
            <c:spPr>
              <a:solidFill>
                <a:srgbClr val="AEABAB"/>
              </a:solidFill>
            </c:spPr>
            <c:extLst>
              <c:ext xmlns:c16="http://schemas.microsoft.com/office/drawing/2014/chart" uri="{C3380CC4-5D6E-409C-BE32-E72D297353CC}">
                <c16:uniqueId val="{000000DF-2993-41DE-A2CB-63102DE87051}"/>
              </c:ext>
            </c:extLst>
          </c:dPt>
          <c:dPt>
            <c:idx val="111"/>
            <c:invertIfNegative val="1"/>
            <c:bubble3D val="0"/>
            <c:spPr>
              <a:solidFill>
                <a:srgbClr val="AEABAB"/>
              </a:solidFill>
            </c:spPr>
            <c:extLst>
              <c:ext xmlns:c16="http://schemas.microsoft.com/office/drawing/2014/chart" uri="{C3380CC4-5D6E-409C-BE32-E72D297353CC}">
                <c16:uniqueId val="{000000E1-2993-41DE-A2CB-63102DE87051}"/>
              </c:ext>
            </c:extLst>
          </c:dPt>
          <c:dPt>
            <c:idx val="112"/>
            <c:invertIfNegative val="1"/>
            <c:bubble3D val="0"/>
            <c:spPr>
              <a:solidFill>
                <a:srgbClr val="AEABAB"/>
              </a:solidFill>
            </c:spPr>
            <c:extLst>
              <c:ext xmlns:c16="http://schemas.microsoft.com/office/drawing/2014/chart" uri="{C3380CC4-5D6E-409C-BE32-E72D297353CC}">
                <c16:uniqueId val="{000000E3-2993-41DE-A2CB-63102DE87051}"/>
              </c:ext>
            </c:extLst>
          </c:dPt>
          <c:dPt>
            <c:idx val="113"/>
            <c:invertIfNegative val="1"/>
            <c:bubble3D val="0"/>
            <c:spPr>
              <a:solidFill>
                <a:srgbClr val="AEABAB"/>
              </a:solidFill>
            </c:spPr>
            <c:extLst>
              <c:ext xmlns:c16="http://schemas.microsoft.com/office/drawing/2014/chart" uri="{C3380CC4-5D6E-409C-BE32-E72D297353CC}">
                <c16:uniqueId val="{000000E5-2993-41DE-A2CB-63102DE87051}"/>
              </c:ext>
            </c:extLst>
          </c:dPt>
          <c:dPt>
            <c:idx val="114"/>
            <c:invertIfNegative val="1"/>
            <c:bubble3D val="0"/>
            <c:spPr>
              <a:solidFill>
                <a:srgbClr val="AEABAB"/>
              </a:solidFill>
            </c:spPr>
            <c:extLst>
              <c:ext xmlns:c16="http://schemas.microsoft.com/office/drawing/2014/chart" uri="{C3380CC4-5D6E-409C-BE32-E72D297353CC}">
                <c16:uniqueId val="{000000E7-2993-41DE-A2CB-63102DE87051}"/>
              </c:ext>
            </c:extLst>
          </c:dPt>
          <c:dPt>
            <c:idx val="115"/>
            <c:invertIfNegative val="1"/>
            <c:bubble3D val="0"/>
            <c:spPr>
              <a:solidFill>
                <a:srgbClr val="AEABAB"/>
              </a:solidFill>
            </c:spPr>
            <c:extLst>
              <c:ext xmlns:c16="http://schemas.microsoft.com/office/drawing/2014/chart" uri="{C3380CC4-5D6E-409C-BE32-E72D297353CC}">
                <c16:uniqueId val="{000000E9-2993-41DE-A2CB-63102DE87051}"/>
              </c:ext>
            </c:extLst>
          </c:dPt>
          <c:dPt>
            <c:idx val="116"/>
            <c:invertIfNegative val="1"/>
            <c:bubble3D val="0"/>
            <c:spPr>
              <a:solidFill>
                <a:srgbClr val="AEABAB"/>
              </a:solidFill>
            </c:spPr>
            <c:extLst>
              <c:ext xmlns:c16="http://schemas.microsoft.com/office/drawing/2014/chart" uri="{C3380CC4-5D6E-409C-BE32-E72D297353CC}">
                <c16:uniqueId val="{000000EB-2993-41DE-A2CB-63102DE87051}"/>
              </c:ext>
            </c:extLst>
          </c:dPt>
          <c:dPt>
            <c:idx val="117"/>
            <c:invertIfNegative val="1"/>
            <c:bubble3D val="0"/>
            <c:spPr>
              <a:solidFill>
                <a:srgbClr val="AEABAB"/>
              </a:solidFill>
            </c:spPr>
            <c:extLst>
              <c:ext xmlns:c16="http://schemas.microsoft.com/office/drawing/2014/chart" uri="{C3380CC4-5D6E-409C-BE32-E72D297353CC}">
                <c16:uniqueId val="{000000ED-2993-41DE-A2CB-63102DE87051}"/>
              </c:ext>
            </c:extLst>
          </c:dPt>
          <c:dPt>
            <c:idx val="118"/>
            <c:invertIfNegative val="1"/>
            <c:bubble3D val="0"/>
            <c:spPr>
              <a:solidFill>
                <a:srgbClr val="AEABAB"/>
              </a:solidFill>
            </c:spPr>
            <c:extLst>
              <c:ext xmlns:c16="http://schemas.microsoft.com/office/drawing/2014/chart" uri="{C3380CC4-5D6E-409C-BE32-E72D297353CC}">
                <c16:uniqueId val="{000000EF-2993-41DE-A2CB-63102DE87051}"/>
              </c:ext>
            </c:extLst>
          </c:dPt>
          <c:dPt>
            <c:idx val="119"/>
            <c:invertIfNegative val="1"/>
            <c:bubble3D val="0"/>
            <c:spPr>
              <a:solidFill>
                <a:srgbClr val="AEABAB"/>
              </a:solidFill>
            </c:spPr>
            <c:extLst>
              <c:ext xmlns:c16="http://schemas.microsoft.com/office/drawing/2014/chart" uri="{C3380CC4-5D6E-409C-BE32-E72D297353CC}">
                <c16:uniqueId val="{000000F1-2993-41DE-A2CB-63102DE87051}"/>
              </c:ext>
            </c:extLst>
          </c:dPt>
          <c:dPt>
            <c:idx val="120"/>
            <c:invertIfNegative val="1"/>
            <c:bubble3D val="0"/>
            <c:spPr>
              <a:solidFill>
                <a:srgbClr val="AEABAB"/>
              </a:solidFill>
            </c:spPr>
            <c:extLst>
              <c:ext xmlns:c16="http://schemas.microsoft.com/office/drawing/2014/chart" uri="{C3380CC4-5D6E-409C-BE32-E72D297353CC}">
                <c16:uniqueId val="{000000F3-2993-41DE-A2CB-63102DE87051}"/>
              </c:ext>
            </c:extLst>
          </c:dPt>
          <c:dPt>
            <c:idx val="121"/>
            <c:invertIfNegative val="1"/>
            <c:bubble3D val="0"/>
            <c:spPr>
              <a:solidFill>
                <a:srgbClr val="AEABAB"/>
              </a:solidFill>
            </c:spPr>
            <c:extLst>
              <c:ext xmlns:c16="http://schemas.microsoft.com/office/drawing/2014/chart" uri="{C3380CC4-5D6E-409C-BE32-E72D297353CC}">
                <c16:uniqueId val="{000000F5-2993-41DE-A2CB-63102DE87051}"/>
              </c:ext>
            </c:extLst>
          </c:dPt>
          <c:dPt>
            <c:idx val="122"/>
            <c:invertIfNegative val="1"/>
            <c:bubble3D val="0"/>
            <c:spPr>
              <a:solidFill>
                <a:srgbClr val="AEABAB"/>
              </a:solidFill>
            </c:spPr>
            <c:extLst>
              <c:ext xmlns:c16="http://schemas.microsoft.com/office/drawing/2014/chart" uri="{C3380CC4-5D6E-409C-BE32-E72D297353CC}">
                <c16:uniqueId val="{000000F7-2993-41DE-A2CB-63102DE87051}"/>
              </c:ext>
            </c:extLst>
          </c:dPt>
          <c:dPt>
            <c:idx val="123"/>
            <c:invertIfNegative val="1"/>
            <c:bubble3D val="0"/>
            <c:spPr>
              <a:solidFill>
                <a:srgbClr val="AEABAB"/>
              </a:solidFill>
            </c:spPr>
            <c:extLst>
              <c:ext xmlns:c16="http://schemas.microsoft.com/office/drawing/2014/chart" uri="{C3380CC4-5D6E-409C-BE32-E72D297353CC}">
                <c16:uniqueId val="{000000F9-2993-41DE-A2CB-63102DE87051}"/>
              </c:ext>
            </c:extLst>
          </c:dPt>
          <c:dPt>
            <c:idx val="124"/>
            <c:invertIfNegative val="1"/>
            <c:bubble3D val="0"/>
            <c:spPr>
              <a:solidFill>
                <a:srgbClr val="AEABAB"/>
              </a:solidFill>
            </c:spPr>
            <c:extLst>
              <c:ext xmlns:c16="http://schemas.microsoft.com/office/drawing/2014/chart" uri="{C3380CC4-5D6E-409C-BE32-E72D297353CC}">
                <c16:uniqueId val="{000000FB-2993-41DE-A2CB-63102DE87051}"/>
              </c:ext>
            </c:extLst>
          </c:dPt>
          <c:dPt>
            <c:idx val="125"/>
            <c:invertIfNegative val="1"/>
            <c:bubble3D val="0"/>
            <c:spPr>
              <a:solidFill>
                <a:srgbClr val="AEABAB"/>
              </a:solidFill>
            </c:spPr>
            <c:extLst>
              <c:ext xmlns:c16="http://schemas.microsoft.com/office/drawing/2014/chart" uri="{C3380CC4-5D6E-409C-BE32-E72D297353CC}">
                <c16:uniqueId val="{000000FD-2993-41DE-A2CB-63102DE87051}"/>
              </c:ext>
            </c:extLst>
          </c:dPt>
          <c:dPt>
            <c:idx val="126"/>
            <c:invertIfNegative val="1"/>
            <c:bubble3D val="0"/>
            <c:spPr>
              <a:solidFill>
                <a:srgbClr val="AEABAB"/>
              </a:solidFill>
            </c:spPr>
            <c:extLst>
              <c:ext xmlns:c16="http://schemas.microsoft.com/office/drawing/2014/chart" uri="{C3380CC4-5D6E-409C-BE32-E72D297353CC}">
                <c16:uniqueId val="{000000FF-2993-41DE-A2CB-63102DE87051}"/>
              </c:ext>
            </c:extLst>
          </c:dPt>
          <c:dPt>
            <c:idx val="127"/>
            <c:invertIfNegative val="1"/>
            <c:bubble3D val="0"/>
            <c:spPr>
              <a:solidFill>
                <a:srgbClr val="AEABAB"/>
              </a:solidFill>
            </c:spPr>
            <c:extLst>
              <c:ext xmlns:c16="http://schemas.microsoft.com/office/drawing/2014/chart" uri="{C3380CC4-5D6E-409C-BE32-E72D297353CC}">
                <c16:uniqueId val="{00000101-2993-41DE-A2CB-63102DE87051}"/>
              </c:ext>
            </c:extLst>
          </c:dPt>
          <c:dPt>
            <c:idx val="128"/>
            <c:invertIfNegative val="1"/>
            <c:bubble3D val="0"/>
            <c:spPr>
              <a:solidFill>
                <a:srgbClr val="AEABAB"/>
              </a:solidFill>
            </c:spPr>
            <c:extLst>
              <c:ext xmlns:c16="http://schemas.microsoft.com/office/drawing/2014/chart" uri="{C3380CC4-5D6E-409C-BE32-E72D297353CC}">
                <c16:uniqueId val="{00000103-2993-41DE-A2CB-63102DE87051}"/>
              </c:ext>
            </c:extLst>
          </c:dPt>
          <c:dPt>
            <c:idx val="129"/>
            <c:invertIfNegative val="1"/>
            <c:bubble3D val="0"/>
            <c:spPr>
              <a:solidFill>
                <a:srgbClr val="AEABAB"/>
              </a:solidFill>
            </c:spPr>
            <c:extLst>
              <c:ext xmlns:c16="http://schemas.microsoft.com/office/drawing/2014/chart" uri="{C3380CC4-5D6E-409C-BE32-E72D297353CC}">
                <c16:uniqueId val="{00000105-2993-41DE-A2CB-63102DE87051}"/>
              </c:ext>
            </c:extLst>
          </c:dPt>
          <c:dPt>
            <c:idx val="130"/>
            <c:invertIfNegative val="1"/>
            <c:bubble3D val="0"/>
            <c:spPr>
              <a:solidFill>
                <a:srgbClr val="AEABAB"/>
              </a:solidFill>
            </c:spPr>
            <c:extLst>
              <c:ext xmlns:c16="http://schemas.microsoft.com/office/drawing/2014/chart" uri="{C3380CC4-5D6E-409C-BE32-E72D297353CC}">
                <c16:uniqueId val="{00000107-2993-41DE-A2CB-63102DE87051}"/>
              </c:ext>
            </c:extLst>
          </c:dPt>
          <c:dPt>
            <c:idx val="131"/>
            <c:invertIfNegative val="1"/>
            <c:bubble3D val="0"/>
            <c:spPr>
              <a:solidFill>
                <a:srgbClr val="AEABAB"/>
              </a:solidFill>
            </c:spPr>
            <c:extLst>
              <c:ext xmlns:c16="http://schemas.microsoft.com/office/drawing/2014/chart" uri="{C3380CC4-5D6E-409C-BE32-E72D297353CC}">
                <c16:uniqueId val="{00000109-2993-41DE-A2CB-63102DE87051}"/>
              </c:ext>
            </c:extLst>
          </c:dPt>
          <c:dPt>
            <c:idx val="132"/>
            <c:invertIfNegative val="1"/>
            <c:bubble3D val="0"/>
            <c:spPr>
              <a:solidFill>
                <a:srgbClr val="AEABAB"/>
              </a:solidFill>
            </c:spPr>
            <c:extLst>
              <c:ext xmlns:c16="http://schemas.microsoft.com/office/drawing/2014/chart" uri="{C3380CC4-5D6E-409C-BE32-E72D297353CC}">
                <c16:uniqueId val="{0000010B-2993-41DE-A2CB-63102DE87051}"/>
              </c:ext>
            </c:extLst>
          </c:dPt>
          <c:dPt>
            <c:idx val="133"/>
            <c:invertIfNegative val="1"/>
            <c:bubble3D val="0"/>
            <c:spPr>
              <a:solidFill>
                <a:srgbClr val="AEABAB"/>
              </a:solidFill>
            </c:spPr>
            <c:extLst>
              <c:ext xmlns:c16="http://schemas.microsoft.com/office/drawing/2014/chart" uri="{C3380CC4-5D6E-409C-BE32-E72D297353CC}">
                <c16:uniqueId val="{0000010D-2993-41DE-A2CB-63102DE87051}"/>
              </c:ext>
            </c:extLst>
          </c:dPt>
          <c:dPt>
            <c:idx val="134"/>
            <c:invertIfNegative val="1"/>
            <c:bubble3D val="0"/>
            <c:spPr>
              <a:solidFill>
                <a:srgbClr val="AEABAB"/>
              </a:solidFill>
            </c:spPr>
            <c:extLst>
              <c:ext xmlns:c16="http://schemas.microsoft.com/office/drawing/2014/chart" uri="{C3380CC4-5D6E-409C-BE32-E72D297353CC}">
                <c16:uniqueId val="{0000010F-2993-41DE-A2CB-63102DE87051}"/>
              </c:ext>
            </c:extLst>
          </c:dPt>
          <c:dPt>
            <c:idx val="135"/>
            <c:invertIfNegative val="1"/>
            <c:bubble3D val="0"/>
            <c:spPr>
              <a:solidFill>
                <a:srgbClr val="AEABAB"/>
              </a:solidFill>
            </c:spPr>
            <c:extLst>
              <c:ext xmlns:c16="http://schemas.microsoft.com/office/drawing/2014/chart" uri="{C3380CC4-5D6E-409C-BE32-E72D297353CC}">
                <c16:uniqueId val="{00000111-2993-41DE-A2CB-63102DE87051}"/>
              </c:ext>
            </c:extLst>
          </c:dPt>
          <c:dPt>
            <c:idx val="136"/>
            <c:invertIfNegative val="1"/>
            <c:bubble3D val="0"/>
            <c:spPr>
              <a:solidFill>
                <a:srgbClr val="AEABAB"/>
              </a:solidFill>
            </c:spPr>
            <c:extLst>
              <c:ext xmlns:c16="http://schemas.microsoft.com/office/drawing/2014/chart" uri="{C3380CC4-5D6E-409C-BE32-E72D297353CC}">
                <c16:uniqueId val="{00000113-2993-41DE-A2CB-63102DE87051}"/>
              </c:ext>
            </c:extLst>
          </c:dPt>
          <c:dPt>
            <c:idx val="137"/>
            <c:invertIfNegative val="1"/>
            <c:bubble3D val="0"/>
            <c:spPr>
              <a:solidFill>
                <a:srgbClr val="AEABAB"/>
              </a:solidFill>
            </c:spPr>
            <c:extLst>
              <c:ext xmlns:c16="http://schemas.microsoft.com/office/drawing/2014/chart" uri="{C3380CC4-5D6E-409C-BE32-E72D297353CC}">
                <c16:uniqueId val="{00000115-2993-41DE-A2CB-63102DE87051}"/>
              </c:ext>
            </c:extLst>
          </c:dPt>
          <c:dPt>
            <c:idx val="138"/>
            <c:invertIfNegative val="1"/>
            <c:bubble3D val="0"/>
            <c:spPr>
              <a:solidFill>
                <a:srgbClr val="AEABAB"/>
              </a:solidFill>
            </c:spPr>
            <c:extLst>
              <c:ext xmlns:c16="http://schemas.microsoft.com/office/drawing/2014/chart" uri="{C3380CC4-5D6E-409C-BE32-E72D297353CC}">
                <c16:uniqueId val="{00000117-2993-41DE-A2CB-63102DE87051}"/>
              </c:ext>
            </c:extLst>
          </c:dPt>
          <c:dPt>
            <c:idx val="139"/>
            <c:invertIfNegative val="1"/>
            <c:bubble3D val="0"/>
            <c:spPr>
              <a:solidFill>
                <a:srgbClr val="AEABAB"/>
              </a:solidFill>
            </c:spPr>
            <c:extLst>
              <c:ext xmlns:c16="http://schemas.microsoft.com/office/drawing/2014/chart" uri="{C3380CC4-5D6E-409C-BE32-E72D297353CC}">
                <c16:uniqueId val="{00000119-2993-41DE-A2CB-63102DE87051}"/>
              </c:ext>
            </c:extLst>
          </c:dPt>
          <c:dPt>
            <c:idx val="140"/>
            <c:invertIfNegative val="1"/>
            <c:bubble3D val="0"/>
            <c:spPr>
              <a:solidFill>
                <a:srgbClr val="AEABAB"/>
              </a:solidFill>
            </c:spPr>
            <c:extLst>
              <c:ext xmlns:c16="http://schemas.microsoft.com/office/drawing/2014/chart" uri="{C3380CC4-5D6E-409C-BE32-E72D297353CC}">
                <c16:uniqueId val="{0000011B-2993-41DE-A2CB-63102DE87051}"/>
              </c:ext>
            </c:extLst>
          </c:dPt>
          <c:dPt>
            <c:idx val="141"/>
            <c:invertIfNegative val="1"/>
            <c:bubble3D val="0"/>
            <c:spPr>
              <a:solidFill>
                <a:srgbClr val="AEABAB"/>
              </a:solidFill>
            </c:spPr>
            <c:extLst>
              <c:ext xmlns:c16="http://schemas.microsoft.com/office/drawing/2014/chart" uri="{C3380CC4-5D6E-409C-BE32-E72D297353CC}">
                <c16:uniqueId val="{0000011D-2993-41DE-A2CB-63102DE87051}"/>
              </c:ext>
            </c:extLst>
          </c:dPt>
          <c:dPt>
            <c:idx val="142"/>
            <c:invertIfNegative val="1"/>
            <c:bubble3D val="0"/>
            <c:spPr>
              <a:solidFill>
                <a:srgbClr val="AEABAB"/>
              </a:solidFill>
            </c:spPr>
            <c:extLst>
              <c:ext xmlns:c16="http://schemas.microsoft.com/office/drawing/2014/chart" uri="{C3380CC4-5D6E-409C-BE32-E72D297353CC}">
                <c16:uniqueId val="{0000011F-2993-41DE-A2CB-63102DE87051}"/>
              </c:ext>
            </c:extLst>
          </c:dPt>
          <c:dPt>
            <c:idx val="143"/>
            <c:invertIfNegative val="1"/>
            <c:bubble3D val="0"/>
            <c:spPr>
              <a:solidFill>
                <a:srgbClr val="AEABAB"/>
              </a:solidFill>
            </c:spPr>
            <c:extLst>
              <c:ext xmlns:c16="http://schemas.microsoft.com/office/drawing/2014/chart" uri="{C3380CC4-5D6E-409C-BE32-E72D297353CC}">
                <c16:uniqueId val="{00000121-2993-41DE-A2CB-63102DE87051}"/>
              </c:ext>
            </c:extLst>
          </c:dPt>
          <c:dPt>
            <c:idx val="144"/>
            <c:invertIfNegative val="1"/>
            <c:bubble3D val="0"/>
            <c:spPr>
              <a:solidFill>
                <a:srgbClr val="AEABAB"/>
              </a:solidFill>
            </c:spPr>
            <c:extLst>
              <c:ext xmlns:c16="http://schemas.microsoft.com/office/drawing/2014/chart" uri="{C3380CC4-5D6E-409C-BE32-E72D297353CC}">
                <c16:uniqueId val="{00000123-2993-41DE-A2CB-63102DE87051}"/>
              </c:ext>
            </c:extLst>
          </c:dPt>
          <c:dPt>
            <c:idx val="145"/>
            <c:invertIfNegative val="1"/>
            <c:bubble3D val="0"/>
            <c:spPr>
              <a:solidFill>
                <a:srgbClr val="AEABAB"/>
              </a:solidFill>
            </c:spPr>
            <c:extLst>
              <c:ext xmlns:c16="http://schemas.microsoft.com/office/drawing/2014/chart" uri="{C3380CC4-5D6E-409C-BE32-E72D297353CC}">
                <c16:uniqueId val="{00000125-2993-41DE-A2CB-63102DE87051}"/>
              </c:ext>
            </c:extLst>
          </c:dPt>
          <c:dPt>
            <c:idx val="146"/>
            <c:invertIfNegative val="1"/>
            <c:bubble3D val="0"/>
            <c:spPr>
              <a:solidFill>
                <a:srgbClr val="AEABAB"/>
              </a:solidFill>
            </c:spPr>
            <c:extLst>
              <c:ext xmlns:c16="http://schemas.microsoft.com/office/drawing/2014/chart" uri="{C3380CC4-5D6E-409C-BE32-E72D297353CC}">
                <c16:uniqueId val="{00000127-2993-41DE-A2CB-63102DE87051}"/>
              </c:ext>
            </c:extLst>
          </c:dPt>
          <c:dPt>
            <c:idx val="147"/>
            <c:invertIfNegative val="1"/>
            <c:bubble3D val="0"/>
            <c:spPr>
              <a:solidFill>
                <a:srgbClr val="AEABAB"/>
              </a:solidFill>
            </c:spPr>
            <c:extLst>
              <c:ext xmlns:c16="http://schemas.microsoft.com/office/drawing/2014/chart" uri="{C3380CC4-5D6E-409C-BE32-E72D297353CC}">
                <c16:uniqueId val="{00000129-2993-41DE-A2CB-63102DE87051}"/>
              </c:ext>
            </c:extLst>
          </c:dPt>
          <c:dPt>
            <c:idx val="148"/>
            <c:invertIfNegative val="1"/>
            <c:bubble3D val="0"/>
            <c:spPr>
              <a:solidFill>
                <a:srgbClr val="AEABAB"/>
              </a:solidFill>
            </c:spPr>
            <c:extLst>
              <c:ext xmlns:c16="http://schemas.microsoft.com/office/drawing/2014/chart" uri="{C3380CC4-5D6E-409C-BE32-E72D297353CC}">
                <c16:uniqueId val="{0000012B-2993-41DE-A2CB-63102DE87051}"/>
              </c:ext>
            </c:extLst>
          </c:dPt>
          <c:dPt>
            <c:idx val="149"/>
            <c:invertIfNegative val="1"/>
            <c:bubble3D val="0"/>
            <c:spPr>
              <a:solidFill>
                <a:srgbClr val="AEABAB"/>
              </a:solidFill>
            </c:spPr>
            <c:extLst>
              <c:ext xmlns:c16="http://schemas.microsoft.com/office/drawing/2014/chart" uri="{C3380CC4-5D6E-409C-BE32-E72D297353CC}">
                <c16:uniqueId val="{0000012D-2993-41DE-A2CB-63102DE87051}"/>
              </c:ext>
            </c:extLst>
          </c:dPt>
          <c:dPt>
            <c:idx val="150"/>
            <c:invertIfNegative val="1"/>
            <c:bubble3D val="0"/>
            <c:spPr>
              <a:solidFill>
                <a:srgbClr val="AEABAB"/>
              </a:solidFill>
            </c:spPr>
            <c:extLst>
              <c:ext xmlns:c16="http://schemas.microsoft.com/office/drawing/2014/chart" uri="{C3380CC4-5D6E-409C-BE32-E72D297353CC}">
                <c16:uniqueId val="{0000012F-2993-41DE-A2CB-63102DE87051}"/>
              </c:ext>
            </c:extLst>
          </c:dPt>
          <c:dPt>
            <c:idx val="151"/>
            <c:invertIfNegative val="1"/>
            <c:bubble3D val="0"/>
            <c:spPr>
              <a:solidFill>
                <a:srgbClr val="AEABAB"/>
              </a:solidFill>
            </c:spPr>
            <c:extLst>
              <c:ext xmlns:c16="http://schemas.microsoft.com/office/drawing/2014/chart" uri="{C3380CC4-5D6E-409C-BE32-E72D297353CC}">
                <c16:uniqueId val="{00000131-2993-41DE-A2CB-63102DE87051}"/>
              </c:ext>
            </c:extLst>
          </c:dPt>
          <c:dPt>
            <c:idx val="152"/>
            <c:invertIfNegative val="1"/>
            <c:bubble3D val="0"/>
            <c:spPr>
              <a:solidFill>
                <a:srgbClr val="AEABAB"/>
              </a:solidFill>
            </c:spPr>
            <c:extLst>
              <c:ext xmlns:c16="http://schemas.microsoft.com/office/drawing/2014/chart" uri="{C3380CC4-5D6E-409C-BE32-E72D297353CC}">
                <c16:uniqueId val="{00000133-2993-41DE-A2CB-63102DE87051}"/>
              </c:ext>
            </c:extLst>
          </c:dPt>
          <c:dPt>
            <c:idx val="153"/>
            <c:invertIfNegative val="1"/>
            <c:bubble3D val="0"/>
            <c:spPr>
              <a:solidFill>
                <a:srgbClr val="AEABAB"/>
              </a:solidFill>
            </c:spPr>
            <c:extLst>
              <c:ext xmlns:c16="http://schemas.microsoft.com/office/drawing/2014/chart" uri="{C3380CC4-5D6E-409C-BE32-E72D297353CC}">
                <c16:uniqueId val="{00000135-2993-41DE-A2CB-63102DE87051}"/>
              </c:ext>
            </c:extLst>
          </c:dPt>
          <c:dPt>
            <c:idx val="154"/>
            <c:invertIfNegative val="1"/>
            <c:bubble3D val="0"/>
            <c:spPr>
              <a:solidFill>
                <a:srgbClr val="AEABAB"/>
              </a:solidFill>
            </c:spPr>
            <c:extLst>
              <c:ext xmlns:c16="http://schemas.microsoft.com/office/drawing/2014/chart" uri="{C3380CC4-5D6E-409C-BE32-E72D297353CC}">
                <c16:uniqueId val="{00000137-2993-41DE-A2CB-63102DE87051}"/>
              </c:ext>
            </c:extLst>
          </c:dPt>
          <c:dPt>
            <c:idx val="155"/>
            <c:invertIfNegative val="1"/>
            <c:bubble3D val="0"/>
            <c:spPr>
              <a:solidFill>
                <a:srgbClr val="AEABAB"/>
              </a:solidFill>
            </c:spPr>
            <c:extLst>
              <c:ext xmlns:c16="http://schemas.microsoft.com/office/drawing/2014/chart" uri="{C3380CC4-5D6E-409C-BE32-E72D297353CC}">
                <c16:uniqueId val="{00000139-2993-41DE-A2CB-63102DE87051}"/>
              </c:ext>
            </c:extLst>
          </c:dPt>
          <c:dPt>
            <c:idx val="156"/>
            <c:invertIfNegative val="1"/>
            <c:bubble3D val="0"/>
            <c:spPr>
              <a:solidFill>
                <a:srgbClr val="AEABAB"/>
              </a:solidFill>
            </c:spPr>
            <c:extLst>
              <c:ext xmlns:c16="http://schemas.microsoft.com/office/drawing/2014/chart" uri="{C3380CC4-5D6E-409C-BE32-E72D297353CC}">
                <c16:uniqueId val="{0000013B-2993-41DE-A2CB-63102DE87051}"/>
              </c:ext>
            </c:extLst>
          </c:dPt>
          <c:dPt>
            <c:idx val="157"/>
            <c:invertIfNegative val="1"/>
            <c:bubble3D val="0"/>
            <c:spPr>
              <a:solidFill>
                <a:srgbClr val="AEABAB"/>
              </a:solidFill>
            </c:spPr>
            <c:extLst>
              <c:ext xmlns:c16="http://schemas.microsoft.com/office/drawing/2014/chart" uri="{C3380CC4-5D6E-409C-BE32-E72D297353CC}">
                <c16:uniqueId val="{0000013D-2993-41DE-A2CB-63102DE87051}"/>
              </c:ext>
            </c:extLst>
          </c:dPt>
          <c:dPt>
            <c:idx val="158"/>
            <c:invertIfNegative val="1"/>
            <c:bubble3D val="0"/>
            <c:spPr>
              <a:solidFill>
                <a:srgbClr val="AEABAB"/>
              </a:solidFill>
            </c:spPr>
            <c:extLst>
              <c:ext xmlns:c16="http://schemas.microsoft.com/office/drawing/2014/chart" uri="{C3380CC4-5D6E-409C-BE32-E72D297353CC}">
                <c16:uniqueId val="{0000013F-2993-41DE-A2CB-63102DE87051}"/>
              </c:ext>
            </c:extLst>
          </c:dPt>
          <c:dPt>
            <c:idx val="159"/>
            <c:invertIfNegative val="1"/>
            <c:bubble3D val="0"/>
            <c:spPr>
              <a:solidFill>
                <a:srgbClr val="AEABAB"/>
              </a:solidFill>
            </c:spPr>
            <c:extLst>
              <c:ext xmlns:c16="http://schemas.microsoft.com/office/drawing/2014/chart" uri="{C3380CC4-5D6E-409C-BE32-E72D297353CC}">
                <c16:uniqueId val="{00000141-2993-41DE-A2CB-63102DE87051}"/>
              </c:ext>
            </c:extLst>
          </c:dPt>
          <c:dPt>
            <c:idx val="160"/>
            <c:invertIfNegative val="1"/>
            <c:bubble3D val="0"/>
            <c:spPr>
              <a:solidFill>
                <a:srgbClr val="AEABAB"/>
              </a:solidFill>
            </c:spPr>
            <c:extLst>
              <c:ext xmlns:c16="http://schemas.microsoft.com/office/drawing/2014/chart" uri="{C3380CC4-5D6E-409C-BE32-E72D297353CC}">
                <c16:uniqueId val="{00000143-2993-41DE-A2CB-63102DE87051}"/>
              </c:ext>
            </c:extLst>
          </c:dPt>
          <c:dPt>
            <c:idx val="161"/>
            <c:invertIfNegative val="1"/>
            <c:bubble3D val="0"/>
            <c:spPr>
              <a:solidFill>
                <a:srgbClr val="AEABAB"/>
              </a:solidFill>
            </c:spPr>
            <c:extLst>
              <c:ext xmlns:c16="http://schemas.microsoft.com/office/drawing/2014/chart" uri="{C3380CC4-5D6E-409C-BE32-E72D297353CC}">
                <c16:uniqueId val="{00000145-2993-41DE-A2CB-63102DE87051}"/>
              </c:ext>
            </c:extLst>
          </c:dPt>
          <c:dPt>
            <c:idx val="162"/>
            <c:invertIfNegative val="1"/>
            <c:bubble3D val="0"/>
            <c:spPr>
              <a:solidFill>
                <a:srgbClr val="AEABAB"/>
              </a:solidFill>
            </c:spPr>
            <c:extLst>
              <c:ext xmlns:c16="http://schemas.microsoft.com/office/drawing/2014/chart" uri="{C3380CC4-5D6E-409C-BE32-E72D297353CC}">
                <c16:uniqueId val="{00000147-2993-41DE-A2CB-63102DE87051}"/>
              </c:ext>
            </c:extLst>
          </c:dPt>
          <c:dPt>
            <c:idx val="163"/>
            <c:invertIfNegative val="1"/>
            <c:bubble3D val="0"/>
            <c:spPr>
              <a:solidFill>
                <a:srgbClr val="AEABAB"/>
              </a:solidFill>
            </c:spPr>
            <c:extLst>
              <c:ext xmlns:c16="http://schemas.microsoft.com/office/drawing/2014/chart" uri="{C3380CC4-5D6E-409C-BE32-E72D297353CC}">
                <c16:uniqueId val="{00000149-2993-41DE-A2CB-63102DE87051}"/>
              </c:ext>
            </c:extLst>
          </c:dPt>
          <c:dPt>
            <c:idx val="164"/>
            <c:invertIfNegative val="1"/>
            <c:bubble3D val="0"/>
            <c:spPr>
              <a:solidFill>
                <a:srgbClr val="AEABAB"/>
              </a:solidFill>
            </c:spPr>
            <c:extLst>
              <c:ext xmlns:c16="http://schemas.microsoft.com/office/drawing/2014/chart" uri="{C3380CC4-5D6E-409C-BE32-E72D297353CC}">
                <c16:uniqueId val="{0000014B-2993-41DE-A2CB-63102DE87051}"/>
              </c:ext>
            </c:extLst>
          </c:dPt>
          <c:dPt>
            <c:idx val="165"/>
            <c:invertIfNegative val="1"/>
            <c:bubble3D val="0"/>
            <c:spPr>
              <a:solidFill>
                <a:srgbClr val="AEABAB"/>
              </a:solidFill>
            </c:spPr>
            <c:extLst>
              <c:ext xmlns:c16="http://schemas.microsoft.com/office/drawing/2014/chart" uri="{C3380CC4-5D6E-409C-BE32-E72D297353CC}">
                <c16:uniqueId val="{0000014D-2993-41DE-A2CB-63102DE87051}"/>
              </c:ext>
            </c:extLst>
          </c:dPt>
          <c:dPt>
            <c:idx val="166"/>
            <c:invertIfNegative val="1"/>
            <c:bubble3D val="0"/>
            <c:spPr>
              <a:solidFill>
                <a:srgbClr val="AEABAB"/>
              </a:solidFill>
            </c:spPr>
            <c:extLst>
              <c:ext xmlns:c16="http://schemas.microsoft.com/office/drawing/2014/chart" uri="{C3380CC4-5D6E-409C-BE32-E72D297353CC}">
                <c16:uniqueId val="{0000014F-2993-41DE-A2CB-63102DE87051}"/>
              </c:ext>
            </c:extLst>
          </c:dPt>
          <c:dPt>
            <c:idx val="167"/>
            <c:invertIfNegative val="1"/>
            <c:bubble3D val="0"/>
            <c:spPr>
              <a:solidFill>
                <a:srgbClr val="AEABAB"/>
              </a:solidFill>
            </c:spPr>
            <c:extLst>
              <c:ext xmlns:c16="http://schemas.microsoft.com/office/drawing/2014/chart" uri="{C3380CC4-5D6E-409C-BE32-E72D297353CC}">
                <c16:uniqueId val="{00000151-2993-41DE-A2CB-63102DE87051}"/>
              </c:ext>
            </c:extLst>
          </c:dPt>
          <c:dPt>
            <c:idx val="168"/>
            <c:invertIfNegative val="1"/>
            <c:bubble3D val="0"/>
            <c:spPr>
              <a:solidFill>
                <a:srgbClr val="AEABAB"/>
              </a:solidFill>
            </c:spPr>
            <c:extLst>
              <c:ext xmlns:c16="http://schemas.microsoft.com/office/drawing/2014/chart" uri="{C3380CC4-5D6E-409C-BE32-E72D297353CC}">
                <c16:uniqueId val="{00000153-2993-41DE-A2CB-63102DE87051}"/>
              </c:ext>
            </c:extLst>
          </c:dPt>
          <c:dPt>
            <c:idx val="169"/>
            <c:invertIfNegative val="1"/>
            <c:bubble3D val="0"/>
            <c:spPr>
              <a:solidFill>
                <a:srgbClr val="AEABAB"/>
              </a:solidFill>
            </c:spPr>
            <c:extLst>
              <c:ext xmlns:c16="http://schemas.microsoft.com/office/drawing/2014/chart" uri="{C3380CC4-5D6E-409C-BE32-E72D297353CC}">
                <c16:uniqueId val="{00000155-2993-41DE-A2CB-63102DE87051}"/>
              </c:ext>
            </c:extLst>
          </c:dPt>
          <c:dPt>
            <c:idx val="170"/>
            <c:invertIfNegative val="1"/>
            <c:bubble3D val="0"/>
            <c:spPr>
              <a:solidFill>
                <a:srgbClr val="AEABAB"/>
              </a:solidFill>
            </c:spPr>
            <c:extLst>
              <c:ext xmlns:c16="http://schemas.microsoft.com/office/drawing/2014/chart" uri="{C3380CC4-5D6E-409C-BE32-E72D297353CC}">
                <c16:uniqueId val="{00000157-2993-41DE-A2CB-63102DE87051}"/>
              </c:ext>
            </c:extLst>
          </c:dPt>
          <c:dPt>
            <c:idx val="171"/>
            <c:invertIfNegative val="1"/>
            <c:bubble3D val="0"/>
            <c:spPr>
              <a:solidFill>
                <a:srgbClr val="AEABAB"/>
              </a:solidFill>
            </c:spPr>
            <c:extLst>
              <c:ext xmlns:c16="http://schemas.microsoft.com/office/drawing/2014/chart" uri="{C3380CC4-5D6E-409C-BE32-E72D297353CC}">
                <c16:uniqueId val="{00000159-2993-41DE-A2CB-63102DE87051}"/>
              </c:ext>
            </c:extLst>
          </c:dPt>
          <c:dPt>
            <c:idx val="172"/>
            <c:invertIfNegative val="1"/>
            <c:bubble3D val="0"/>
            <c:spPr>
              <a:solidFill>
                <a:srgbClr val="AEABAB"/>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dPt>
            <c:idx val="210"/>
            <c:invertIfNegative val="1"/>
            <c:bubble3D val="0"/>
            <c:spPr>
              <a:solidFill>
                <a:srgbClr val="AEABAB"/>
              </a:solidFill>
            </c:spPr>
            <c:extLst>
              <c:ext xmlns:c16="http://schemas.microsoft.com/office/drawing/2014/chart" uri="{C3380CC4-5D6E-409C-BE32-E72D297353CC}">
                <c16:uniqueId val="{000001A7-5AEB-451B-8193-C7625398ACC9}"/>
              </c:ext>
            </c:extLst>
          </c:dPt>
          <c:dPt>
            <c:idx val="211"/>
            <c:invertIfNegative val="1"/>
            <c:bubble3D val="0"/>
            <c:spPr>
              <a:solidFill>
                <a:srgbClr val="AEABAB"/>
              </a:solidFill>
            </c:spPr>
            <c:extLst>
              <c:ext xmlns:c16="http://schemas.microsoft.com/office/drawing/2014/chart" uri="{C3380CC4-5D6E-409C-BE32-E72D297353CC}">
                <c16:uniqueId val="{000001A9-5AEB-451B-8193-C7625398ACC9}"/>
              </c:ext>
            </c:extLst>
          </c:dPt>
          <c:dPt>
            <c:idx val="212"/>
            <c:invertIfNegative val="1"/>
            <c:bubble3D val="0"/>
            <c:spPr>
              <a:solidFill>
                <a:srgbClr val="AEABAB"/>
              </a:solidFill>
            </c:spPr>
            <c:extLst>
              <c:ext xmlns:c16="http://schemas.microsoft.com/office/drawing/2014/chart" uri="{C3380CC4-5D6E-409C-BE32-E72D297353CC}">
                <c16:uniqueId val="{000001AB-5AEB-451B-8193-C7625398ACC9}"/>
              </c:ext>
            </c:extLst>
          </c:dPt>
          <c:dPt>
            <c:idx val="213"/>
            <c:invertIfNegative val="1"/>
            <c:bubble3D val="0"/>
            <c:spPr>
              <a:solidFill>
                <a:srgbClr val="AEABAB"/>
              </a:solidFill>
            </c:spPr>
            <c:extLst>
              <c:ext xmlns:c16="http://schemas.microsoft.com/office/drawing/2014/chart" uri="{C3380CC4-5D6E-409C-BE32-E72D297353CC}">
                <c16:uniqueId val="{000001AD-5AEB-451B-8193-C7625398ACC9}"/>
              </c:ext>
            </c:extLst>
          </c:dPt>
          <c:dPt>
            <c:idx val="214"/>
            <c:invertIfNegative val="1"/>
            <c:bubble3D val="0"/>
            <c:spPr>
              <a:solidFill>
                <a:srgbClr val="AEABAB"/>
              </a:solidFill>
            </c:spPr>
            <c:extLst>
              <c:ext xmlns:c16="http://schemas.microsoft.com/office/drawing/2014/chart" uri="{C3380CC4-5D6E-409C-BE32-E72D297353CC}">
                <c16:uniqueId val="{000001AF-5AEB-451B-8193-C7625398ACC9}"/>
              </c:ext>
            </c:extLst>
          </c:dPt>
          <c:dPt>
            <c:idx val="215"/>
            <c:invertIfNegative val="1"/>
            <c:bubble3D val="0"/>
            <c:spPr>
              <a:solidFill>
                <a:srgbClr val="AEABAB"/>
              </a:solidFill>
            </c:spPr>
            <c:extLst>
              <c:ext xmlns:c16="http://schemas.microsoft.com/office/drawing/2014/chart" uri="{C3380CC4-5D6E-409C-BE32-E72D297353CC}">
                <c16:uniqueId val="{000001B1-5AEB-451B-8193-C7625398ACC9}"/>
              </c:ext>
            </c:extLst>
          </c:dPt>
          <c:dPt>
            <c:idx val="216"/>
            <c:invertIfNegative val="1"/>
            <c:bubble3D val="0"/>
            <c:spPr>
              <a:solidFill>
                <a:srgbClr val="AEABAB"/>
              </a:solidFill>
            </c:spPr>
            <c:extLst>
              <c:ext xmlns:c16="http://schemas.microsoft.com/office/drawing/2014/chart" uri="{C3380CC4-5D6E-409C-BE32-E72D297353CC}">
                <c16:uniqueId val="{000001B3-5AEB-451B-8193-C7625398ACC9}"/>
              </c:ext>
            </c:extLst>
          </c:dPt>
          <c:dPt>
            <c:idx val="217"/>
            <c:invertIfNegative val="1"/>
            <c:bubble3D val="0"/>
            <c:spPr>
              <a:solidFill>
                <a:srgbClr val="AEABAB"/>
              </a:solidFill>
            </c:spPr>
            <c:extLst>
              <c:ext xmlns:c16="http://schemas.microsoft.com/office/drawing/2014/chart" uri="{C3380CC4-5D6E-409C-BE32-E72D297353CC}">
                <c16:uniqueId val="{000001B5-5AEB-451B-8193-C7625398ACC9}"/>
              </c:ext>
            </c:extLst>
          </c:dPt>
          <c:dPt>
            <c:idx val="218"/>
            <c:invertIfNegative val="1"/>
            <c:bubble3D val="0"/>
            <c:spPr>
              <a:solidFill>
                <a:srgbClr val="AEABAB"/>
              </a:solidFill>
            </c:spPr>
            <c:extLst>
              <c:ext xmlns:c16="http://schemas.microsoft.com/office/drawing/2014/chart" uri="{C3380CC4-5D6E-409C-BE32-E72D297353CC}">
                <c16:uniqueId val="{000001B7-5AEB-451B-8193-C7625398ACC9}"/>
              </c:ext>
            </c:extLst>
          </c:dPt>
          <c:dPt>
            <c:idx val="219"/>
            <c:invertIfNegative val="1"/>
            <c:bubble3D val="0"/>
            <c:spPr>
              <a:solidFill>
                <a:srgbClr val="AEABAB"/>
              </a:solidFill>
            </c:spPr>
            <c:extLst>
              <c:ext xmlns:c16="http://schemas.microsoft.com/office/drawing/2014/chart" uri="{C3380CC4-5D6E-409C-BE32-E72D297353CC}">
                <c16:uniqueId val="{000001B9-5AEB-451B-8193-C7625398ACC9}"/>
              </c:ext>
            </c:extLst>
          </c:dPt>
          <c:dPt>
            <c:idx val="220"/>
            <c:invertIfNegative val="1"/>
            <c:bubble3D val="0"/>
            <c:spPr>
              <a:solidFill>
                <a:srgbClr val="AEABAB"/>
              </a:solidFill>
            </c:spPr>
            <c:extLst>
              <c:ext xmlns:c16="http://schemas.microsoft.com/office/drawing/2014/chart" uri="{C3380CC4-5D6E-409C-BE32-E72D297353CC}">
                <c16:uniqueId val="{000001BB-5AEB-451B-8193-C7625398ACC9}"/>
              </c:ext>
            </c:extLst>
          </c:dPt>
          <c:dPt>
            <c:idx val="221"/>
            <c:invertIfNegative val="1"/>
            <c:bubble3D val="0"/>
            <c:spPr>
              <a:solidFill>
                <a:srgbClr val="AEABAB"/>
              </a:solidFill>
            </c:spPr>
            <c:extLst>
              <c:ext xmlns:c16="http://schemas.microsoft.com/office/drawing/2014/chart" uri="{C3380CC4-5D6E-409C-BE32-E72D297353CC}">
                <c16:uniqueId val="{000001BD-5AEB-451B-8193-C7625398ACC9}"/>
              </c:ext>
            </c:extLst>
          </c:dPt>
          <c:dPt>
            <c:idx val="222"/>
            <c:invertIfNegative val="1"/>
            <c:bubble3D val="0"/>
            <c:spPr>
              <a:solidFill>
                <a:srgbClr val="AEABAB"/>
              </a:solidFill>
            </c:spPr>
            <c:extLst>
              <c:ext xmlns:c16="http://schemas.microsoft.com/office/drawing/2014/chart" uri="{C3380CC4-5D6E-409C-BE32-E72D297353CC}">
                <c16:uniqueId val="{000001BF-5AEB-451B-8193-C7625398ACC9}"/>
              </c:ext>
            </c:extLst>
          </c:dPt>
          <c:dPt>
            <c:idx val="223"/>
            <c:invertIfNegative val="1"/>
            <c:bubble3D val="0"/>
            <c:spPr>
              <a:solidFill>
                <a:srgbClr val="AEABAB"/>
              </a:solidFill>
            </c:spPr>
            <c:extLst>
              <c:ext xmlns:c16="http://schemas.microsoft.com/office/drawing/2014/chart" uri="{C3380CC4-5D6E-409C-BE32-E72D297353CC}">
                <c16:uniqueId val="{000001C1-5AEB-451B-8193-C7625398ACC9}"/>
              </c:ext>
            </c:extLst>
          </c:dPt>
          <c:dPt>
            <c:idx val="224"/>
            <c:invertIfNegative val="1"/>
            <c:bubble3D val="0"/>
            <c:spPr>
              <a:solidFill>
                <a:srgbClr val="AEABAB"/>
              </a:solidFill>
            </c:spPr>
            <c:extLst>
              <c:ext xmlns:c16="http://schemas.microsoft.com/office/drawing/2014/chart" uri="{C3380CC4-5D6E-409C-BE32-E72D297353CC}">
                <c16:uniqueId val="{000001C3-5AEB-451B-8193-C7625398ACC9}"/>
              </c:ext>
            </c:extLst>
          </c:dPt>
          <c:dPt>
            <c:idx val="225"/>
            <c:invertIfNegative val="1"/>
            <c:bubble3D val="0"/>
            <c:spPr>
              <a:solidFill>
                <a:srgbClr val="AEABAB"/>
              </a:solidFill>
            </c:spPr>
            <c:extLst>
              <c:ext xmlns:c16="http://schemas.microsoft.com/office/drawing/2014/chart" uri="{C3380CC4-5D6E-409C-BE32-E72D297353CC}">
                <c16:uniqueId val="{000001C5-5AEB-451B-8193-C7625398ACC9}"/>
              </c:ext>
            </c:extLst>
          </c:dPt>
          <c:dPt>
            <c:idx val="226"/>
            <c:invertIfNegative val="1"/>
            <c:bubble3D val="0"/>
            <c:spPr>
              <a:solidFill>
                <a:srgbClr val="AEABAB"/>
              </a:solidFill>
            </c:spPr>
            <c:extLst>
              <c:ext xmlns:c16="http://schemas.microsoft.com/office/drawing/2014/chart" uri="{C3380CC4-5D6E-409C-BE32-E72D297353CC}">
                <c16:uniqueId val="{000001C7-5AEB-451B-8193-C7625398ACC9}"/>
              </c:ext>
            </c:extLst>
          </c:dPt>
          <c:dPt>
            <c:idx val="227"/>
            <c:invertIfNegative val="1"/>
            <c:bubble3D val="0"/>
            <c:spPr>
              <a:solidFill>
                <a:srgbClr val="AEABAB"/>
              </a:solidFill>
            </c:spPr>
            <c:extLst>
              <c:ext xmlns:c16="http://schemas.microsoft.com/office/drawing/2014/chart" uri="{C3380CC4-5D6E-409C-BE32-E72D297353CC}">
                <c16:uniqueId val="{000001C9-5AEB-451B-8193-C7625398ACC9}"/>
              </c:ext>
            </c:extLst>
          </c:dPt>
          <c:dPt>
            <c:idx val="228"/>
            <c:invertIfNegative val="1"/>
            <c:bubble3D val="0"/>
            <c:spPr>
              <a:solidFill>
                <a:srgbClr val="AEABAB"/>
              </a:solidFill>
            </c:spPr>
            <c:extLst>
              <c:ext xmlns:c16="http://schemas.microsoft.com/office/drawing/2014/chart" uri="{C3380CC4-5D6E-409C-BE32-E72D297353CC}">
                <c16:uniqueId val="{000001CB-5AEB-451B-8193-C7625398ACC9}"/>
              </c:ext>
            </c:extLst>
          </c:dPt>
          <c:dPt>
            <c:idx val="229"/>
            <c:invertIfNegative val="1"/>
            <c:bubble3D val="0"/>
            <c:spPr>
              <a:solidFill>
                <a:srgbClr val="AEABAB"/>
              </a:solidFill>
            </c:spPr>
            <c:extLst>
              <c:ext xmlns:c16="http://schemas.microsoft.com/office/drawing/2014/chart" uri="{C3380CC4-5D6E-409C-BE32-E72D297353CC}">
                <c16:uniqueId val="{000001CD-5AEB-451B-8193-C7625398ACC9}"/>
              </c:ext>
            </c:extLst>
          </c:dPt>
          <c:dPt>
            <c:idx val="230"/>
            <c:invertIfNegative val="1"/>
            <c:bubble3D val="0"/>
            <c:spPr>
              <a:solidFill>
                <a:srgbClr val="AEABAB"/>
              </a:solidFill>
            </c:spPr>
            <c:extLst>
              <c:ext xmlns:c16="http://schemas.microsoft.com/office/drawing/2014/chart" uri="{C3380CC4-5D6E-409C-BE32-E72D297353CC}">
                <c16:uniqueId val="{000001CF-5AEB-451B-8193-C7625398ACC9}"/>
              </c:ext>
            </c:extLst>
          </c:dPt>
          <c:dPt>
            <c:idx val="231"/>
            <c:invertIfNegative val="1"/>
            <c:bubble3D val="0"/>
            <c:spPr>
              <a:solidFill>
                <a:srgbClr val="AEABAB"/>
              </a:solidFill>
            </c:spPr>
            <c:extLst>
              <c:ext xmlns:c16="http://schemas.microsoft.com/office/drawing/2014/chart" uri="{C3380CC4-5D6E-409C-BE32-E72D297353CC}">
                <c16:uniqueId val="{000001D1-5AEB-451B-8193-C7625398ACC9}"/>
              </c:ext>
            </c:extLst>
          </c:dPt>
          <c:dPt>
            <c:idx val="232"/>
            <c:invertIfNegative val="1"/>
            <c:bubble3D val="0"/>
            <c:spPr>
              <a:solidFill>
                <a:srgbClr val="AEABAB"/>
              </a:solidFill>
            </c:spPr>
            <c:extLst>
              <c:ext xmlns:c16="http://schemas.microsoft.com/office/drawing/2014/chart" uri="{C3380CC4-5D6E-409C-BE32-E72D297353CC}">
                <c16:uniqueId val="{000001D3-5AEB-451B-8193-C7625398ACC9}"/>
              </c:ext>
            </c:extLst>
          </c:dPt>
          <c:dPt>
            <c:idx val="233"/>
            <c:invertIfNegative val="1"/>
            <c:bubble3D val="0"/>
            <c:spPr>
              <a:solidFill>
                <a:srgbClr val="AEABAB"/>
              </a:solidFill>
            </c:spPr>
            <c:extLst>
              <c:ext xmlns:c16="http://schemas.microsoft.com/office/drawing/2014/chart" uri="{C3380CC4-5D6E-409C-BE32-E72D297353CC}">
                <c16:uniqueId val="{000001D5-5AEB-451B-8193-C7625398ACC9}"/>
              </c:ext>
            </c:extLst>
          </c:dPt>
          <c:dPt>
            <c:idx val="234"/>
            <c:invertIfNegative val="1"/>
            <c:bubble3D val="0"/>
            <c:spPr>
              <a:solidFill>
                <a:srgbClr val="AEABAB"/>
              </a:solidFill>
            </c:spPr>
            <c:extLst>
              <c:ext xmlns:c16="http://schemas.microsoft.com/office/drawing/2014/chart" uri="{C3380CC4-5D6E-409C-BE32-E72D297353CC}">
                <c16:uniqueId val="{000001D7-5AEB-451B-8193-C7625398ACC9}"/>
              </c:ext>
            </c:extLst>
          </c:dPt>
          <c:dPt>
            <c:idx val="235"/>
            <c:invertIfNegative val="1"/>
            <c:bubble3D val="0"/>
            <c:spPr>
              <a:solidFill>
                <a:srgbClr val="AEABAB"/>
              </a:solidFill>
            </c:spPr>
            <c:extLst>
              <c:ext xmlns:c16="http://schemas.microsoft.com/office/drawing/2014/chart" uri="{C3380CC4-5D6E-409C-BE32-E72D297353CC}">
                <c16:uniqueId val="{000001D9-5AEB-451B-8193-C7625398ACC9}"/>
              </c:ext>
            </c:extLst>
          </c:dPt>
          <c:dPt>
            <c:idx val="236"/>
            <c:invertIfNegative val="1"/>
            <c:bubble3D val="0"/>
            <c:spPr>
              <a:solidFill>
                <a:srgbClr val="AEABAB"/>
              </a:solidFill>
            </c:spPr>
            <c:extLst>
              <c:ext xmlns:c16="http://schemas.microsoft.com/office/drawing/2014/chart" uri="{C3380CC4-5D6E-409C-BE32-E72D297353CC}">
                <c16:uniqueId val="{000001DB-5AEB-451B-8193-C7625398ACC9}"/>
              </c:ext>
            </c:extLst>
          </c:dPt>
          <c:dPt>
            <c:idx val="237"/>
            <c:invertIfNegative val="1"/>
            <c:bubble3D val="0"/>
            <c:spPr>
              <a:solidFill>
                <a:srgbClr val="AEABAB"/>
              </a:solidFill>
            </c:spPr>
            <c:extLst>
              <c:ext xmlns:c16="http://schemas.microsoft.com/office/drawing/2014/chart" uri="{C3380CC4-5D6E-409C-BE32-E72D297353CC}">
                <c16:uniqueId val="{000001DD-5AEB-451B-8193-C7625398ACC9}"/>
              </c:ext>
            </c:extLst>
          </c:dPt>
          <c:dPt>
            <c:idx val="238"/>
            <c:invertIfNegative val="1"/>
            <c:bubble3D val="0"/>
            <c:spPr>
              <a:solidFill>
                <a:srgbClr val="AEABAB"/>
              </a:solidFill>
            </c:spPr>
            <c:extLst>
              <c:ext xmlns:c16="http://schemas.microsoft.com/office/drawing/2014/chart" uri="{C3380CC4-5D6E-409C-BE32-E72D297353CC}">
                <c16:uniqueId val="{000001DF-5AEB-451B-8193-C7625398ACC9}"/>
              </c:ext>
            </c:extLst>
          </c:dPt>
          <c:dPt>
            <c:idx val="239"/>
            <c:invertIfNegative val="1"/>
            <c:bubble3D val="0"/>
            <c:spPr>
              <a:solidFill>
                <a:srgbClr val="AEABAB"/>
              </a:solidFill>
            </c:spPr>
            <c:extLst>
              <c:ext xmlns:c16="http://schemas.microsoft.com/office/drawing/2014/chart" uri="{C3380CC4-5D6E-409C-BE32-E72D297353CC}">
                <c16:uniqueId val="{000001E1-5AEB-451B-8193-C7625398ACC9}"/>
              </c:ext>
            </c:extLst>
          </c:dPt>
          <c:dPt>
            <c:idx val="240"/>
            <c:invertIfNegative val="1"/>
            <c:bubble3D val="0"/>
            <c:spPr>
              <a:solidFill>
                <a:srgbClr val="AEABAB"/>
              </a:solidFill>
            </c:spPr>
            <c:extLst>
              <c:ext xmlns:c16="http://schemas.microsoft.com/office/drawing/2014/chart" uri="{C3380CC4-5D6E-409C-BE32-E72D297353CC}">
                <c16:uniqueId val="{000001E3-5AEB-451B-8193-C7625398ACC9}"/>
              </c:ext>
            </c:extLst>
          </c:dPt>
          <c:dPt>
            <c:idx val="241"/>
            <c:invertIfNegative val="1"/>
            <c:bubble3D val="0"/>
            <c:spPr>
              <a:solidFill>
                <a:srgbClr val="AEABAB"/>
              </a:solidFill>
            </c:spPr>
            <c:extLst>
              <c:ext xmlns:c16="http://schemas.microsoft.com/office/drawing/2014/chart" uri="{C3380CC4-5D6E-409C-BE32-E72D297353CC}">
                <c16:uniqueId val="{000001E5-5AEB-451B-8193-C7625398ACC9}"/>
              </c:ext>
            </c:extLst>
          </c:dPt>
          <c:dPt>
            <c:idx val="242"/>
            <c:invertIfNegative val="1"/>
            <c:bubble3D val="0"/>
            <c:spPr>
              <a:solidFill>
                <a:srgbClr val="AEABAB"/>
              </a:solidFill>
            </c:spPr>
            <c:extLst>
              <c:ext xmlns:c16="http://schemas.microsoft.com/office/drawing/2014/chart" uri="{C3380CC4-5D6E-409C-BE32-E72D297353CC}">
                <c16:uniqueId val="{000001E7-5AEB-451B-8193-C7625398ACC9}"/>
              </c:ext>
            </c:extLst>
          </c:dPt>
          <c:dPt>
            <c:idx val="243"/>
            <c:invertIfNegative val="1"/>
            <c:bubble3D val="0"/>
            <c:spPr>
              <a:solidFill>
                <a:srgbClr val="AEABAB"/>
              </a:solidFill>
            </c:spPr>
            <c:extLst>
              <c:ext xmlns:c16="http://schemas.microsoft.com/office/drawing/2014/chart" uri="{C3380CC4-5D6E-409C-BE32-E72D297353CC}">
                <c16:uniqueId val="{000001E9-5AEB-451B-8193-C7625398ACC9}"/>
              </c:ext>
            </c:extLst>
          </c:dPt>
          <c:dPt>
            <c:idx val="244"/>
            <c:invertIfNegative val="1"/>
            <c:bubble3D val="0"/>
            <c:spPr>
              <a:solidFill>
                <a:srgbClr val="AEABAB"/>
              </a:solidFill>
            </c:spPr>
            <c:extLst>
              <c:ext xmlns:c16="http://schemas.microsoft.com/office/drawing/2014/chart" uri="{C3380CC4-5D6E-409C-BE32-E72D297353CC}">
                <c16:uniqueId val="{000001EB-5AEB-451B-8193-C7625398ACC9}"/>
              </c:ext>
            </c:extLst>
          </c:dPt>
          <c:dPt>
            <c:idx val="245"/>
            <c:invertIfNegative val="1"/>
            <c:bubble3D val="0"/>
            <c:spPr>
              <a:solidFill>
                <a:srgbClr val="AEABAB"/>
              </a:solidFill>
            </c:spPr>
            <c:extLst>
              <c:ext xmlns:c16="http://schemas.microsoft.com/office/drawing/2014/chart" uri="{C3380CC4-5D6E-409C-BE32-E72D297353CC}">
                <c16:uniqueId val="{000001ED-5AEB-451B-8193-C7625398ACC9}"/>
              </c:ext>
            </c:extLst>
          </c:dPt>
          <c:dPt>
            <c:idx val="246"/>
            <c:invertIfNegative val="1"/>
            <c:bubble3D val="0"/>
            <c:spPr>
              <a:solidFill>
                <a:srgbClr val="AEABAB"/>
              </a:solidFill>
            </c:spPr>
            <c:extLst>
              <c:ext xmlns:c16="http://schemas.microsoft.com/office/drawing/2014/chart" uri="{C3380CC4-5D6E-409C-BE32-E72D297353CC}">
                <c16:uniqueId val="{000001EF-5AEB-451B-8193-C7625398ACC9}"/>
              </c:ext>
            </c:extLst>
          </c:dPt>
          <c:dPt>
            <c:idx val="247"/>
            <c:invertIfNegative val="1"/>
            <c:bubble3D val="0"/>
            <c:spPr>
              <a:solidFill>
                <a:srgbClr val="AEABAB"/>
              </a:solidFill>
            </c:spPr>
            <c:extLst>
              <c:ext xmlns:c16="http://schemas.microsoft.com/office/drawing/2014/chart" uri="{C3380CC4-5D6E-409C-BE32-E72D297353CC}">
                <c16:uniqueId val="{000001F1-5AEB-451B-8193-C7625398ACC9}"/>
              </c:ext>
            </c:extLst>
          </c:dPt>
          <c:dPt>
            <c:idx val="248"/>
            <c:invertIfNegative val="1"/>
            <c:bubble3D val="0"/>
            <c:spPr>
              <a:solidFill>
                <a:srgbClr val="AEABAB"/>
              </a:solidFill>
            </c:spPr>
            <c:extLst>
              <c:ext xmlns:c16="http://schemas.microsoft.com/office/drawing/2014/chart" uri="{C3380CC4-5D6E-409C-BE32-E72D297353CC}">
                <c16:uniqueId val="{000001F3-5AEB-451B-8193-C7625398ACC9}"/>
              </c:ext>
            </c:extLst>
          </c:dPt>
          <c:dPt>
            <c:idx val="249"/>
            <c:invertIfNegative val="1"/>
            <c:bubble3D val="0"/>
            <c:spPr>
              <a:solidFill>
                <a:srgbClr val="AEABAB"/>
              </a:solidFill>
            </c:spPr>
            <c:extLst>
              <c:ext xmlns:c16="http://schemas.microsoft.com/office/drawing/2014/chart" uri="{C3380CC4-5D6E-409C-BE32-E72D297353CC}">
                <c16:uniqueId val="{000001F5-5AEB-451B-8193-C7625398ACC9}"/>
              </c:ext>
            </c:extLst>
          </c:dPt>
          <c:dPt>
            <c:idx val="250"/>
            <c:invertIfNegative val="1"/>
            <c:bubble3D val="0"/>
            <c:spPr>
              <a:solidFill>
                <a:srgbClr val="AEABAB"/>
              </a:solidFill>
            </c:spPr>
            <c:extLst>
              <c:ext xmlns:c16="http://schemas.microsoft.com/office/drawing/2014/chart" uri="{C3380CC4-5D6E-409C-BE32-E72D297353CC}">
                <c16:uniqueId val="{000001F7-5AEB-451B-8193-C7625398ACC9}"/>
              </c:ext>
            </c:extLst>
          </c:dPt>
          <c:dPt>
            <c:idx val="251"/>
            <c:invertIfNegative val="1"/>
            <c:bubble3D val="0"/>
            <c:spPr>
              <a:solidFill>
                <a:srgbClr val="AEABAB"/>
              </a:solidFill>
            </c:spPr>
            <c:extLst>
              <c:ext xmlns:c16="http://schemas.microsoft.com/office/drawing/2014/chart" uri="{C3380CC4-5D6E-409C-BE32-E72D297353CC}">
                <c16:uniqueId val="{000001F9-5AEB-451B-8193-C7625398ACC9}"/>
              </c:ext>
            </c:extLst>
          </c:dPt>
          <c:dPt>
            <c:idx val="252"/>
            <c:invertIfNegative val="1"/>
            <c:bubble3D val="0"/>
            <c:spPr>
              <a:solidFill>
                <a:srgbClr val="AEABAB"/>
              </a:solidFill>
            </c:spPr>
            <c:extLst>
              <c:ext xmlns:c16="http://schemas.microsoft.com/office/drawing/2014/chart" uri="{C3380CC4-5D6E-409C-BE32-E72D297353CC}">
                <c16:uniqueId val="{000001FB-5AEB-451B-8193-C7625398ACC9}"/>
              </c:ext>
            </c:extLst>
          </c:dPt>
          <c:dPt>
            <c:idx val="253"/>
            <c:invertIfNegative val="1"/>
            <c:bubble3D val="0"/>
            <c:spPr>
              <a:solidFill>
                <a:srgbClr val="AEABAB"/>
              </a:solidFill>
            </c:spPr>
            <c:extLst>
              <c:ext xmlns:c16="http://schemas.microsoft.com/office/drawing/2014/chart" uri="{C3380CC4-5D6E-409C-BE32-E72D297353CC}">
                <c16:uniqueId val="{000001FD-5AEB-451B-8193-C7625398ACC9}"/>
              </c:ext>
            </c:extLst>
          </c:dPt>
          <c:dPt>
            <c:idx val="254"/>
            <c:invertIfNegative val="1"/>
            <c:bubble3D val="0"/>
            <c:spPr>
              <a:solidFill>
                <a:srgbClr val="AEABAB"/>
              </a:solidFill>
            </c:spPr>
            <c:extLst>
              <c:ext xmlns:c16="http://schemas.microsoft.com/office/drawing/2014/chart" uri="{C3380CC4-5D6E-409C-BE32-E72D297353CC}">
                <c16:uniqueId val="{000001FF-5AEB-451B-8193-C7625398ACC9}"/>
              </c:ext>
            </c:extLst>
          </c:dPt>
          <c:dPt>
            <c:idx val="255"/>
            <c:invertIfNegative val="1"/>
            <c:bubble3D val="0"/>
            <c:spPr>
              <a:solidFill>
                <a:srgbClr val="AEABAB"/>
              </a:solidFill>
            </c:spPr>
            <c:extLst>
              <c:ext xmlns:c16="http://schemas.microsoft.com/office/drawing/2014/chart" uri="{C3380CC4-5D6E-409C-BE32-E72D297353CC}">
                <c16:uniqueId val="{00000201-5AEB-451B-8193-C7625398ACC9}"/>
              </c:ext>
            </c:extLst>
          </c:dPt>
          <c:dPt>
            <c:idx val="256"/>
            <c:invertIfNegative val="1"/>
            <c:bubble3D val="0"/>
            <c:spPr>
              <a:solidFill>
                <a:srgbClr val="AEABAB"/>
              </a:solidFill>
            </c:spPr>
            <c:extLst>
              <c:ext xmlns:c16="http://schemas.microsoft.com/office/drawing/2014/chart" uri="{C3380CC4-5D6E-409C-BE32-E72D297353CC}">
                <c16:uniqueId val="{00000203-5AEB-451B-8193-C7625398ACC9}"/>
              </c:ext>
            </c:extLst>
          </c:dPt>
          <c:dPt>
            <c:idx val="257"/>
            <c:invertIfNegative val="1"/>
            <c:bubble3D val="0"/>
            <c:spPr>
              <a:solidFill>
                <a:srgbClr val="AEABAB"/>
              </a:solidFill>
            </c:spPr>
            <c:extLst>
              <c:ext xmlns:c16="http://schemas.microsoft.com/office/drawing/2014/chart" uri="{C3380CC4-5D6E-409C-BE32-E72D297353CC}">
                <c16:uniqueId val="{00000205-5AEB-451B-8193-C7625398ACC9}"/>
              </c:ext>
            </c:extLst>
          </c:dPt>
          <c:dPt>
            <c:idx val="258"/>
            <c:invertIfNegative val="1"/>
            <c:bubble3D val="0"/>
            <c:spPr>
              <a:solidFill>
                <a:srgbClr val="AEABAB"/>
              </a:solidFill>
            </c:spPr>
            <c:extLst>
              <c:ext xmlns:c16="http://schemas.microsoft.com/office/drawing/2014/chart" uri="{C3380CC4-5D6E-409C-BE32-E72D297353CC}">
                <c16:uniqueId val="{00000207-5AEB-451B-8193-C7625398ACC9}"/>
              </c:ext>
            </c:extLst>
          </c:dPt>
          <c:dPt>
            <c:idx val="259"/>
            <c:invertIfNegative val="1"/>
            <c:bubble3D val="0"/>
            <c:spPr>
              <a:solidFill>
                <a:srgbClr val="AEABAB"/>
              </a:solidFill>
            </c:spPr>
            <c:extLst>
              <c:ext xmlns:c16="http://schemas.microsoft.com/office/drawing/2014/chart" uri="{C3380CC4-5D6E-409C-BE32-E72D297353CC}">
                <c16:uniqueId val="{00000209-5AEB-451B-8193-C7625398ACC9}"/>
              </c:ext>
            </c:extLst>
          </c:dPt>
          <c:dPt>
            <c:idx val="260"/>
            <c:invertIfNegative val="1"/>
            <c:bubble3D val="0"/>
            <c:spPr>
              <a:solidFill>
                <a:srgbClr val="AEABAB"/>
              </a:solidFill>
            </c:spPr>
            <c:extLst>
              <c:ext xmlns:c16="http://schemas.microsoft.com/office/drawing/2014/chart" uri="{C3380CC4-5D6E-409C-BE32-E72D297353CC}">
                <c16:uniqueId val="{0000020B-5AEB-451B-8193-C7625398ACC9}"/>
              </c:ext>
            </c:extLst>
          </c:dPt>
          <c:dPt>
            <c:idx val="261"/>
            <c:invertIfNegative val="1"/>
            <c:bubble3D val="0"/>
            <c:spPr>
              <a:solidFill>
                <a:srgbClr val="AEABAB"/>
              </a:solidFill>
            </c:spPr>
            <c:extLst>
              <c:ext xmlns:c16="http://schemas.microsoft.com/office/drawing/2014/chart" uri="{C3380CC4-5D6E-409C-BE32-E72D297353CC}">
                <c16:uniqueId val="{0000020D-5AEB-451B-8193-C7625398ACC9}"/>
              </c:ext>
            </c:extLst>
          </c:dPt>
          <c:dPt>
            <c:idx val="262"/>
            <c:invertIfNegative val="1"/>
            <c:bubble3D val="0"/>
            <c:spPr>
              <a:solidFill>
                <a:srgbClr val="AEABAB"/>
              </a:solidFill>
            </c:spPr>
            <c:extLst>
              <c:ext xmlns:c16="http://schemas.microsoft.com/office/drawing/2014/chart" uri="{C3380CC4-5D6E-409C-BE32-E72D297353CC}">
                <c16:uniqueId val="{0000020F-5AEB-451B-8193-C7625398ACC9}"/>
              </c:ext>
            </c:extLst>
          </c:dPt>
          <c:dPt>
            <c:idx val="263"/>
            <c:invertIfNegative val="1"/>
            <c:bubble3D val="0"/>
            <c:spPr>
              <a:solidFill>
                <a:srgbClr val="AEABAB"/>
              </a:solidFill>
            </c:spPr>
            <c:extLst>
              <c:ext xmlns:c16="http://schemas.microsoft.com/office/drawing/2014/chart" uri="{C3380CC4-5D6E-409C-BE32-E72D297353CC}">
                <c16:uniqueId val="{00000211-5AEB-451B-8193-C7625398ACC9}"/>
              </c:ext>
            </c:extLst>
          </c:dPt>
          <c:dPt>
            <c:idx val="264"/>
            <c:invertIfNegative val="1"/>
            <c:bubble3D val="0"/>
            <c:spPr>
              <a:solidFill>
                <a:srgbClr val="AEABAB"/>
              </a:solidFill>
            </c:spPr>
            <c:extLst>
              <c:ext xmlns:c16="http://schemas.microsoft.com/office/drawing/2014/chart" uri="{C3380CC4-5D6E-409C-BE32-E72D297353CC}">
                <c16:uniqueId val="{00000213-5AEB-451B-8193-C7625398ACC9}"/>
              </c:ext>
            </c:extLst>
          </c:dPt>
          <c:dPt>
            <c:idx val="265"/>
            <c:invertIfNegative val="1"/>
            <c:bubble3D val="0"/>
            <c:spPr>
              <a:solidFill>
                <a:srgbClr val="AEABAB"/>
              </a:solidFill>
            </c:spPr>
            <c:extLst>
              <c:ext xmlns:c16="http://schemas.microsoft.com/office/drawing/2014/chart" uri="{C3380CC4-5D6E-409C-BE32-E72D297353CC}">
                <c16:uniqueId val="{00000215-5AEB-451B-8193-C7625398ACC9}"/>
              </c:ext>
            </c:extLst>
          </c:dPt>
          <c:dPt>
            <c:idx val="266"/>
            <c:invertIfNegative val="1"/>
            <c:bubble3D val="0"/>
            <c:spPr>
              <a:solidFill>
                <a:srgbClr val="AEABAB"/>
              </a:solidFill>
            </c:spPr>
            <c:extLst>
              <c:ext xmlns:c16="http://schemas.microsoft.com/office/drawing/2014/chart" uri="{C3380CC4-5D6E-409C-BE32-E72D297353CC}">
                <c16:uniqueId val="{00000217-5AEB-451B-8193-C7625398ACC9}"/>
              </c:ext>
            </c:extLst>
          </c:dPt>
          <c:dPt>
            <c:idx val="267"/>
            <c:invertIfNegative val="1"/>
            <c:bubble3D val="0"/>
            <c:spPr>
              <a:solidFill>
                <a:srgbClr val="AEABAB"/>
              </a:solidFill>
            </c:spPr>
            <c:extLst>
              <c:ext xmlns:c16="http://schemas.microsoft.com/office/drawing/2014/chart" uri="{C3380CC4-5D6E-409C-BE32-E72D297353CC}">
                <c16:uniqueId val="{00000219-5AEB-451B-8193-C7625398ACC9}"/>
              </c:ext>
            </c:extLst>
          </c:dPt>
          <c:dPt>
            <c:idx val="268"/>
            <c:invertIfNegative val="1"/>
            <c:bubble3D val="0"/>
            <c:spPr>
              <a:solidFill>
                <a:srgbClr val="AEABAB"/>
              </a:solidFill>
            </c:spPr>
            <c:extLst>
              <c:ext xmlns:c16="http://schemas.microsoft.com/office/drawing/2014/chart" uri="{C3380CC4-5D6E-409C-BE32-E72D297353CC}">
                <c16:uniqueId val="{0000021B-5AEB-451B-8193-C7625398ACC9}"/>
              </c:ext>
            </c:extLst>
          </c:dPt>
          <c:dPt>
            <c:idx val="269"/>
            <c:invertIfNegative val="1"/>
            <c:bubble3D val="0"/>
            <c:spPr>
              <a:solidFill>
                <a:srgbClr val="AEABAB"/>
              </a:solidFill>
            </c:spPr>
            <c:extLst>
              <c:ext xmlns:c16="http://schemas.microsoft.com/office/drawing/2014/chart" uri="{C3380CC4-5D6E-409C-BE32-E72D297353CC}">
                <c16:uniqueId val="{0000021D-5AEB-451B-8193-C7625398ACC9}"/>
              </c:ext>
            </c:extLst>
          </c:dPt>
          <c:dPt>
            <c:idx val="270"/>
            <c:invertIfNegative val="1"/>
            <c:bubble3D val="0"/>
            <c:spPr>
              <a:solidFill>
                <a:srgbClr val="AEABAB"/>
              </a:solidFill>
            </c:spPr>
            <c:extLst>
              <c:ext xmlns:c16="http://schemas.microsoft.com/office/drawing/2014/chart" uri="{C3380CC4-5D6E-409C-BE32-E72D297353CC}">
                <c16:uniqueId val="{0000021F-5AEB-451B-8193-C7625398ACC9}"/>
              </c:ext>
            </c:extLst>
          </c:dPt>
          <c:dPt>
            <c:idx val="271"/>
            <c:invertIfNegative val="1"/>
            <c:bubble3D val="0"/>
            <c:spPr>
              <a:solidFill>
                <a:srgbClr val="AEABAB"/>
              </a:solidFill>
            </c:spPr>
            <c:extLst>
              <c:ext xmlns:c16="http://schemas.microsoft.com/office/drawing/2014/chart" uri="{C3380CC4-5D6E-409C-BE32-E72D297353CC}">
                <c16:uniqueId val="{00000221-5AEB-451B-8193-C7625398ACC9}"/>
              </c:ext>
            </c:extLst>
          </c:dPt>
          <c:dPt>
            <c:idx val="272"/>
            <c:invertIfNegative val="1"/>
            <c:bubble3D val="0"/>
            <c:spPr>
              <a:solidFill>
                <a:srgbClr val="AEABAB"/>
              </a:solidFill>
            </c:spPr>
            <c:extLst>
              <c:ext xmlns:c16="http://schemas.microsoft.com/office/drawing/2014/chart" uri="{C3380CC4-5D6E-409C-BE32-E72D297353CC}">
                <c16:uniqueId val="{00000223-5AEB-451B-8193-C7625398ACC9}"/>
              </c:ext>
            </c:extLst>
          </c:dPt>
          <c:dPt>
            <c:idx val="273"/>
            <c:invertIfNegative val="1"/>
            <c:bubble3D val="0"/>
            <c:spPr>
              <a:solidFill>
                <a:srgbClr val="AEABAB"/>
              </a:solidFill>
            </c:spPr>
            <c:extLst>
              <c:ext xmlns:c16="http://schemas.microsoft.com/office/drawing/2014/chart" uri="{C3380CC4-5D6E-409C-BE32-E72D297353CC}">
                <c16:uniqueId val="{00000225-5AEB-451B-8193-C7625398ACC9}"/>
              </c:ext>
            </c:extLst>
          </c:dPt>
          <c:dPt>
            <c:idx val="274"/>
            <c:invertIfNegative val="1"/>
            <c:bubble3D val="0"/>
            <c:spPr>
              <a:solidFill>
                <a:srgbClr val="AEABAB"/>
              </a:solidFill>
            </c:spPr>
            <c:extLst>
              <c:ext xmlns:c16="http://schemas.microsoft.com/office/drawing/2014/chart" uri="{C3380CC4-5D6E-409C-BE32-E72D297353CC}">
                <c16:uniqueId val="{00000227-5AEB-451B-8193-C7625398ACC9}"/>
              </c:ext>
            </c:extLst>
          </c:dPt>
          <c:dPt>
            <c:idx val="275"/>
            <c:invertIfNegative val="1"/>
            <c:bubble3D val="0"/>
            <c:spPr>
              <a:solidFill>
                <a:srgbClr val="AEABAB"/>
              </a:solidFill>
            </c:spPr>
            <c:extLst>
              <c:ext xmlns:c16="http://schemas.microsoft.com/office/drawing/2014/chart" uri="{C3380CC4-5D6E-409C-BE32-E72D297353CC}">
                <c16:uniqueId val="{00000229-5AEB-451B-8193-C7625398ACC9}"/>
              </c:ext>
            </c:extLst>
          </c:dPt>
          <c:dPt>
            <c:idx val="276"/>
            <c:invertIfNegative val="1"/>
            <c:bubble3D val="0"/>
            <c:spPr>
              <a:solidFill>
                <a:srgbClr val="AEABAB"/>
              </a:solidFill>
            </c:spPr>
            <c:extLst>
              <c:ext xmlns:c16="http://schemas.microsoft.com/office/drawing/2014/chart" uri="{C3380CC4-5D6E-409C-BE32-E72D297353CC}">
                <c16:uniqueId val="{0000022B-5AEB-451B-8193-C7625398ACC9}"/>
              </c:ext>
            </c:extLst>
          </c:dPt>
          <c:dPt>
            <c:idx val="277"/>
            <c:invertIfNegative val="1"/>
            <c:bubble3D val="0"/>
            <c:spPr>
              <a:solidFill>
                <a:srgbClr val="AEABAB"/>
              </a:solidFill>
            </c:spPr>
            <c:extLst>
              <c:ext xmlns:c16="http://schemas.microsoft.com/office/drawing/2014/chart" uri="{C3380CC4-5D6E-409C-BE32-E72D297353CC}">
                <c16:uniqueId val="{0000022D-5AEB-451B-8193-C7625398ACC9}"/>
              </c:ext>
            </c:extLst>
          </c:dPt>
          <c:dPt>
            <c:idx val="278"/>
            <c:invertIfNegative val="1"/>
            <c:bubble3D val="0"/>
            <c:spPr>
              <a:solidFill>
                <a:srgbClr val="AEABAB"/>
              </a:solidFill>
            </c:spPr>
            <c:extLst>
              <c:ext xmlns:c16="http://schemas.microsoft.com/office/drawing/2014/chart" uri="{C3380CC4-5D6E-409C-BE32-E72D297353CC}">
                <c16:uniqueId val="{0000022F-5AEB-451B-8193-C7625398ACC9}"/>
              </c:ext>
            </c:extLst>
          </c:dPt>
          <c:dPt>
            <c:idx val="279"/>
            <c:invertIfNegative val="1"/>
            <c:bubble3D val="0"/>
            <c:spPr>
              <a:solidFill>
                <a:srgbClr val="AEABAB"/>
              </a:solidFill>
            </c:spPr>
            <c:extLst>
              <c:ext xmlns:c16="http://schemas.microsoft.com/office/drawing/2014/chart" uri="{C3380CC4-5D6E-409C-BE32-E72D297353CC}">
                <c16:uniqueId val="{00000231-5AEB-451B-8193-C7625398ACC9}"/>
              </c:ext>
            </c:extLst>
          </c:dPt>
          <c:dPt>
            <c:idx val="280"/>
            <c:invertIfNegative val="1"/>
            <c:bubble3D val="0"/>
            <c:spPr>
              <a:solidFill>
                <a:srgbClr val="AEABAB"/>
              </a:solidFill>
            </c:spPr>
            <c:extLst>
              <c:ext xmlns:c16="http://schemas.microsoft.com/office/drawing/2014/chart" uri="{C3380CC4-5D6E-409C-BE32-E72D297353CC}">
                <c16:uniqueId val="{00000233-5AEB-451B-8193-C7625398ACC9}"/>
              </c:ext>
            </c:extLst>
          </c:dPt>
          <c:dPt>
            <c:idx val="281"/>
            <c:invertIfNegative val="1"/>
            <c:bubble3D val="0"/>
            <c:spPr>
              <a:solidFill>
                <a:srgbClr val="AEABAB"/>
              </a:solidFill>
            </c:spPr>
            <c:extLst>
              <c:ext xmlns:c16="http://schemas.microsoft.com/office/drawing/2014/chart" uri="{C3380CC4-5D6E-409C-BE32-E72D297353CC}">
                <c16:uniqueId val="{00000235-5AEB-451B-8193-C7625398ACC9}"/>
              </c:ext>
            </c:extLst>
          </c:dPt>
          <c:dPt>
            <c:idx val="282"/>
            <c:invertIfNegative val="1"/>
            <c:bubble3D val="0"/>
            <c:spPr>
              <a:solidFill>
                <a:srgbClr val="AEABAB"/>
              </a:solidFill>
            </c:spPr>
            <c:extLst>
              <c:ext xmlns:c16="http://schemas.microsoft.com/office/drawing/2014/chart" uri="{C3380CC4-5D6E-409C-BE32-E72D297353CC}">
                <c16:uniqueId val="{00000237-5AEB-451B-8193-C7625398ACC9}"/>
              </c:ext>
            </c:extLst>
          </c:dPt>
          <c:dPt>
            <c:idx val="283"/>
            <c:invertIfNegative val="1"/>
            <c:bubble3D val="0"/>
            <c:spPr>
              <a:solidFill>
                <a:srgbClr val="AEABAB"/>
              </a:solidFill>
            </c:spPr>
            <c:extLst>
              <c:ext xmlns:c16="http://schemas.microsoft.com/office/drawing/2014/chart" uri="{C3380CC4-5D6E-409C-BE32-E72D297353CC}">
                <c16:uniqueId val="{00000239-5AEB-451B-8193-C7625398ACC9}"/>
              </c:ext>
            </c:extLst>
          </c:dPt>
          <c:dPt>
            <c:idx val="284"/>
            <c:invertIfNegative val="1"/>
            <c:bubble3D val="0"/>
            <c:spPr>
              <a:solidFill>
                <a:srgbClr val="AEABAB"/>
              </a:solidFill>
            </c:spPr>
            <c:extLst>
              <c:ext xmlns:c16="http://schemas.microsoft.com/office/drawing/2014/chart" uri="{C3380CC4-5D6E-409C-BE32-E72D297353CC}">
                <c16:uniqueId val="{0000023B-5AEB-451B-8193-C7625398ACC9}"/>
              </c:ext>
            </c:extLst>
          </c:dPt>
          <c:dPt>
            <c:idx val="285"/>
            <c:invertIfNegative val="1"/>
            <c:bubble3D val="0"/>
            <c:spPr>
              <a:solidFill>
                <a:srgbClr val="AEABAB"/>
              </a:solidFill>
            </c:spPr>
            <c:extLst>
              <c:ext xmlns:c16="http://schemas.microsoft.com/office/drawing/2014/chart" uri="{C3380CC4-5D6E-409C-BE32-E72D297353CC}">
                <c16:uniqueId val="{0000023D-5AEB-451B-8193-C7625398ACC9}"/>
              </c:ext>
            </c:extLst>
          </c:dPt>
          <c:dPt>
            <c:idx val="286"/>
            <c:invertIfNegative val="1"/>
            <c:bubble3D val="0"/>
            <c:spPr>
              <a:solidFill>
                <a:srgbClr val="AEABAB"/>
              </a:solidFill>
            </c:spPr>
            <c:extLst>
              <c:ext xmlns:c16="http://schemas.microsoft.com/office/drawing/2014/chart" uri="{C3380CC4-5D6E-409C-BE32-E72D297353CC}">
                <c16:uniqueId val="{0000023F-5AEB-451B-8193-C7625398ACC9}"/>
              </c:ext>
            </c:extLst>
          </c:dPt>
          <c:dPt>
            <c:idx val="287"/>
            <c:invertIfNegative val="1"/>
            <c:bubble3D val="0"/>
            <c:spPr>
              <a:solidFill>
                <a:srgbClr val="AEABAB"/>
              </a:solidFill>
            </c:spPr>
            <c:extLst>
              <c:ext xmlns:c16="http://schemas.microsoft.com/office/drawing/2014/chart" uri="{C3380CC4-5D6E-409C-BE32-E72D297353CC}">
                <c16:uniqueId val="{00000241-5AEB-451B-8193-C7625398ACC9}"/>
              </c:ext>
            </c:extLst>
          </c:dPt>
          <c:dPt>
            <c:idx val="288"/>
            <c:invertIfNegative val="1"/>
            <c:bubble3D val="0"/>
            <c:spPr>
              <a:solidFill>
                <a:srgbClr val="AEABAB"/>
              </a:solidFill>
            </c:spPr>
            <c:extLst>
              <c:ext xmlns:c16="http://schemas.microsoft.com/office/drawing/2014/chart" uri="{C3380CC4-5D6E-409C-BE32-E72D297353CC}">
                <c16:uniqueId val="{00000243-5AEB-451B-8193-C7625398ACC9}"/>
              </c:ext>
            </c:extLst>
          </c:dPt>
          <c:dPt>
            <c:idx val="289"/>
            <c:invertIfNegative val="1"/>
            <c:bubble3D val="0"/>
            <c:spPr>
              <a:solidFill>
                <a:srgbClr val="AEABAB"/>
              </a:solidFill>
            </c:spPr>
            <c:extLst>
              <c:ext xmlns:c16="http://schemas.microsoft.com/office/drawing/2014/chart" uri="{C3380CC4-5D6E-409C-BE32-E72D297353CC}">
                <c16:uniqueId val="{00000245-5AEB-451B-8193-C7625398ACC9}"/>
              </c:ext>
            </c:extLst>
          </c:dPt>
          <c:dPt>
            <c:idx val="290"/>
            <c:invertIfNegative val="1"/>
            <c:bubble3D val="0"/>
            <c:spPr>
              <a:solidFill>
                <a:srgbClr val="AEABAB"/>
              </a:solidFill>
            </c:spPr>
            <c:extLst>
              <c:ext xmlns:c16="http://schemas.microsoft.com/office/drawing/2014/chart" uri="{C3380CC4-5D6E-409C-BE32-E72D297353CC}">
                <c16:uniqueId val="{00000247-5AEB-451B-8193-C7625398ACC9}"/>
              </c:ext>
            </c:extLst>
          </c:dPt>
          <c:dPt>
            <c:idx val="291"/>
            <c:invertIfNegative val="1"/>
            <c:bubble3D val="0"/>
            <c:spPr>
              <a:solidFill>
                <a:srgbClr val="AEABAB"/>
              </a:solidFill>
            </c:spPr>
            <c:extLst>
              <c:ext xmlns:c16="http://schemas.microsoft.com/office/drawing/2014/chart" uri="{C3380CC4-5D6E-409C-BE32-E72D297353CC}">
                <c16:uniqueId val="{00000249-5AEB-451B-8193-C7625398ACC9}"/>
              </c:ext>
            </c:extLst>
          </c:dPt>
          <c:dPt>
            <c:idx val="292"/>
            <c:invertIfNegative val="1"/>
            <c:bubble3D val="0"/>
            <c:spPr>
              <a:solidFill>
                <a:srgbClr val="AEABAB"/>
              </a:solidFill>
            </c:spPr>
            <c:extLst>
              <c:ext xmlns:c16="http://schemas.microsoft.com/office/drawing/2014/chart" uri="{C3380CC4-5D6E-409C-BE32-E72D297353CC}">
                <c16:uniqueId val="{0000024B-5AEB-451B-8193-C7625398ACC9}"/>
              </c:ext>
            </c:extLst>
          </c:dPt>
          <c:dPt>
            <c:idx val="293"/>
            <c:invertIfNegative val="1"/>
            <c:bubble3D val="0"/>
            <c:spPr>
              <a:solidFill>
                <a:srgbClr val="AEABAB"/>
              </a:solidFill>
            </c:spPr>
            <c:extLst>
              <c:ext xmlns:c16="http://schemas.microsoft.com/office/drawing/2014/chart" uri="{C3380CC4-5D6E-409C-BE32-E72D297353CC}">
                <c16:uniqueId val="{0000024D-5AEB-451B-8193-C7625398ACC9}"/>
              </c:ext>
            </c:extLst>
          </c:dPt>
          <c:dPt>
            <c:idx val="294"/>
            <c:invertIfNegative val="1"/>
            <c:bubble3D val="0"/>
            <c:spPr>
              <a:solidFill>
                <a:srgbClr val="AEABAB"/>
              </a:solidFill>
            </c:spPr>
            <c:extLst>
              <c:ext xmlns:c16="http://schemas.microsoft.com/office/drawing/2014/chart" uri="{C3380CC4-5D6E-409C-BE32-E72D297353CC}">
                <c16:uniqueId val="{0000024F-5AEB-451B-8193-C7625398ACC9}"/>
              </c:ext>
            </c:extLst>
          </c:dPt>
          <c:dPt>
            <c:idx val="295"/>
            <c:invertIfNegative val="1"/>
            <c:bubble3D val="0"/>
            <c:spPr>
              <a:solidFill>
                <a:srgbClr val="AEABAB"/>
              </a:solidFill>
            </c:spPr>
            <c:extLst>
              <c:ext xmlns:c16="http://schemas.microsoft.com/office/drawing/2014/chart" uri="{C3380CC4-5D6E-409C-BE32-E72D297353CC}">
                <c16:uniqueId val="{00000251-5AEB-451B-8193-C7625398ACC9}"/>
              </c:ext>
            </c:extLst>
          </c:dPt>
          <c:dPt>
            <c:idx val="296"/>
            <c:invertIfNegative val="1"/>
            <c:bubble3D val="0"/>
            <c:spPr>
              <a:solidFill>
                <a:srgbClr val="AEABAB"/>
              </a:solidFill>
            </c:spPr>
            <c:extLst>
              <c:ext xmlns:c16="http://schemas.microsoft.com/office/drawing/2014/chart" uri="{C3380CC4-5D6E-409C-BE32-E72D297353CC}">
                <c16:uniqueId val="{00000253-5AEB-451B-8193-C7625398ACC9}"/>
              </c:ext>
            </c:extLst>
          </c:dPt>
          <c:dPt>
            <c:idx val="297"/>
            <c:invertIfNegative val="1"/>
            <c:bubble3D val="0"/>
            <c:spPr>
              <a:solidFill>
                <a:srgbClr val="AEABAB"/>
              </a:solidFill>
            </c:spPr>
            <c:extLst>
              <c:ext xmlns:c16="http://schemas.microsoft.com/office/drawing/2014/chart" uri="{C3380CC4-5D6E-409C-BE32-E72D297353CC}">
                <c16:uniqueId val="{00000255-5AEB-451B-8193-C7625398ACC9}"/>
              </c:ext>
            </c:extLst>
          </c:dPt>
          <c:dPt>
            <c:idx val="298"/>
            <c:invertIfNegative val="1"/>
            <c:bubble3D val="0"/>
            <c:spPr>
              <a:solidFill>
                <a:srgbClr val="AEABAB"/>
              </a:solidFill>
            </c:spPr>
            <c:extLst>
              <c:ext xmlns:c16="http://schemas.microsoft.com/office/drawing/2014/chart" uri="{C3380CC4-5D6E-409C-BE32-E72D297353CC}">
                <c16:uniqueId val="{00000257-5AEB-451B-8193-C7625398ACC9}"/>
              </c:ext>
            </c:extLst>
          </c:dPt>
          <c:dPt>
            <c:idx val="299"/>
            <c:invertIfNegative val="1"/>
            <c:bubble3D val="0"/>
            <c:spPr>
              <a:solidFill>
                <a:srgbClr val="AEABAB"/>
              </a:solidFill>
            </c:spPr>
            <c:extLst>
              <c:ext xmlns:c16="http://schemas.microsoft.com/office/drawing/2014/chart" uri="{C3380CC4-5D6E-409C-BE32-E72D297353CC}">
                <c16:uniqueId val="{00000259-5AEB-451B-8193-C7625398ACC9}"/>
              </c:ext>
            </c:extLst>
          </c:dPt>
          <c:dPt>
            <c:idx val="300"/>
            <c:invertIfNegative val="1"/>
            <c:bubble3D val="0"/>
            <c:spPr>
              <a:solidFill>
                <a:srgbClr val="AEABAB"/>
              </a:solidFill>
            </c:spPr>
            <c:extLst>
              <c:ext xmlns:c16="http://schemas.microsoft.com/office/drawing/2014/chart" uri="{C3380CC4-5D6E-409C-BE32-E72D297353CC}">
                <c16:uniqueId val="{0000025B-5AEB-451B-8193-C7625398ACC9}"/>
              </c:ext>
            </c:extLst>
          </c:dPt>
          <c:dPt>
            <c:idx val="301"/>
            <c:invertIfNegative val="1"/>
            <c:bubble3D val="0"/>
            <c:spPr>
              <a:solidFill>
                <a:srgbClr val="AEABAB"/>
              </a:solidFill>
            </c:spPr>
            <c:extLst>
              <c:ext xmlns:c16="http://schemas.microsoft.com/office/drawing/2014/chart" uri="{C3380CC4-5D6E-409C-BE32-E72D297353CC}">
                <c16:uniqueId val="{0000025D-5AEB-451B-8193-C7625398ACC9}"/>
              </c:ext>
            </c:extLst>
          </c:dPt>
          <c:dPt>
            <c:idx val="302"/>
            <c:invertIfNegative val="1"/>
            <c:bubble3D val="0"/>
            <c:spPr>
              <a:solidFill>
                <a:srgbClr val="AEABAB"/>
              </a:solidFill>
            </c:spPr>
            <c:extLst>
              <c:ext xmlns:c16="http://schemas.microsoft.com/office/drawing/2014/chart" uri="{C3380CC4-5D6E-409C-BE32-E72D297353CC}">
                <c16:uniqueId val="{0000025F-5AEB-451B-8193-C7625398ACC9}"/>
              </c:ext>
            </c:extLst>
          </c:dPt>
          <c:dPt>
            <c:idx val="303"/>
            <c:invertIfNegative val="1"/>
            <c:bubble3D val="0"/>
            <c:spPr>
              <a:solidFill>
                <a:srgbClr val="AEABAB"/>
              </a:solidFill>
            </c:spPr>
            <c:extLst>
              <c:ext xmlns:c16="http://schemas.microsoft.com/office/drawing/2014/chart" uri="{C3380CC4-5D6E-409C-BE32-E72D297353CC}">
                <c16:uniqueId val="{00000261-5AEB-451B-8193-C7625398ACC9}"/>
              </c:ext>
            </c:extLst>
          </c:dPt>
          <c:dPt>
            <c:idx val="304"/>
            <c:invertIfNegative val="1"/>
            <c:bubble3D val="0"/>
            <c:spPr>
              <a:solidFill>
                <a:srgbClr val="AEABAB"/>
              </a:solidFill>
            </c:spPr>
            <c:extLst>
              <c:ext xmlns:c16="http://schemas.microsoft.com/office/drawing/2014/chart" uri="{C3380CC4-5D6E-409C-BE32-E72D297353CC}">
                <c16:uniqueId val="{00000263-5AEB-451B-8193-C7625398ACC9}"/>
              </c:ext>
            </c:extLst>
          </c:dPt>
          <c:dPt>
            <c:idx val="305"/>
            <c:invertIfNegative val="1"/>
            <c:bubble3D val="0"/>
            <c:spPr>
              <a:solidFill>
                <a:srgbClr val="AEABAB"/>
              </a:solidFill>
            </c:spPr>
            <c:extLst>
              <c:ext xmlns:c16="http://schemas.microsoft.com/office/drawing/2014/chart" uri="{C3380CC4-5D6E-409C-BE32-E72D297353CC}">
                <c16:uniqueId val="{00000265-5AEB-451B-8193-C7625398ACC9}"/>
              </c:ext>
            </c:extLst>
          </c:dPt>
          <c:dPt>
            <c:idx val="306"/>
            <c:invertIfNegative val="1"/>
            <c:bubble3D val="0"/>
            <c:spPr>
              <a:solidFill>
                <a:srgbClr val="AEABAB"/>
              </a:solidFill>
            </c:spPr>
            <c:extLst>
              <c:ext xmlns:c16="http://schemas.microsoft.com/office/drawing/2014/chart" uri="{C3380CC4-5D6E-409C-BE32-E72D297353CC}">
                <c16:uniqueId val="{00000267-5AEB-451B-8193-C7625398ACC9}"/>
              </c:ext>
            </c:extLst>
          </c:dPt>
          <c:dPt>
            <c:idx val="307"/>
            <c:invertIfNegative val="1"/>
            <c:bubble3D val="0"/>
            <c:spPr>
              <a:solidFill>
                <a:srgbClr val="AEABAB"/>
              </a:solidFill>
            </c:spPr>
            <c:extLst>
              <c:ext xmlns:c16="http://schemas.microsoft.com/office/drawing/2014/chart" uri="{C3380CC4-5D6E-409C-BE32-E72D297353CC}">
                <c16:uniqueId val="{00000269-5AEB-451B-8193-C7625398ACC9}"/>
              </c:ext>
            </c:extLst>
          </c:dPt>
          <c:dPt>
            <c:idx val="308"/>
            <c:invertIfNegative val="1"/>
            <c:bubble3D val="0"/>
            <c:spPr>
              <a:solidFill>
                <a:srgbClr val="AEABAB"/>
              </a:solidFill>
            </c:spPr>
            <c:extLst>
              <c:ext xmlns:c16="http://schemas.microsoft.com/office/drawing/2014/chart" uri="{C3380CC4-5D6E-409C-BE32-E72D297353CC}">
                <c16:uniqueId val="{0000026B-5AEB-451B-8193-C7625398ACC9}"/>
              </c:ext>
            </c:extLst>
          </c:dPt>
          <c:dPt>
            <c:idx val="309"/>
            <c:invertIfNegative val="1"/>
            <c:bubble3D val="0"/>
            <c:spPr>
              <a:solidFill>
                <a:srgbClr val="AEABAB"/>
              </a:solidFill>
            </c:spPr>
            <c:extLst>
              <c:ext xmlns:c16="http://schemas.microsoft.com/office/drawing/2014/chart" uri="{C3380CC4-5D6E-409C-BE32-E72D297353CC}">
                <c16:uniqueId val="{0000026D-5AEB-451B-8193-C7625398ACC9}"/>
              </c:ext>
            </c:extLst>
          </c:dPt>
          <c:dPt>
            <c:idx val="310"/>
            <c:invertIfNegative val="1"/>
            <c:bubble3D val="0"/>
            <c:spPr>
              <a:solidFill>
                <a:srgbClr val="AEABAB"/>
              </a:solidFill>
            </c:spPr>
            <c:extLst>
              <c:ext xmlns:c16="http://schemas.microsoft.com/office/drawing/2014/chart" uri="{C3380CC4-5D6E-409C-BE32-E72D297353CC}">
                <c16:uniqueId val="{0000026F-5AEB-451B-8193-C7625398ACC9}"/>
              </c:ext>
            </c:extLst>
          </c:dPt>
          <c:dPt>
            <c:idx val="311"/>
            <c:invertIfNegative val="1"/>
            <c:bubble3D val="0"/>
            <c:spPr>
              <a:solidFill>
                <a:srgbClr val="AEABAB"/>
              </a:solidFill>
            </c:spPr>
            <c:extLst>
              <c:ext xmlns:c16="http://schemas.microsoft.com/office/drawing/2014/chart" uri="{C3380CC4-5D6E-409C-BE32-E72D297353CC}">
                <c16:uniqueId val="{00000271-5AEB-451B-8193-C7625398ACC9}"/>
              </c:ext>
            </c:extLst>
          </c:dPt>
          <c:dPt>
            <c:idx val="312"/>
            <c:invertIfNegative val="1"/>
            <c:bubble3D val="0"/>
            <c:spPr>
              <a:solidFill>
                <a:srgbClr val="AEABAB"/>
              </a:solidFill>
            </c:spPr>
            <c:extLst>
              <c:ext xmlns:c16="http://schemas.microsoft.com/office/drawing/2014/chart" uri="{C3380CC4-5D6E-409C-BE32-E72D297353CC}">
                <c16:uniqueId val="{00000273-5AEB-451B-8193-C7625398ACC9}"/>
              </c:ext>
            </c:extLst>
          </c:dPt>
          <c:dPt>
            <c:idx val="313"/>
            <c:invertIfNegative val="1"/>
            <c:bubble3D val="0"/>
            <c:spPr>
              <a:solidFill>
                <a:srgbClr val="AEABAB"/>
              </a:solidFill>
            </c:spPr>
            <c:extLst>
              <c:ext xmlns:c16="http://schemas.microsoft.com/office/drawing/2014/chart" uri="{C3380CC4-5D6E-409C-BE32-E72D297353CC}">
                <c16:uniqueId val="{00000275-5AEB-451B-8193-C7625398ACC9}"/>
              </c:ext>
            </c:extLst>
          </c:dPt>
          <c:dPt>
            <c:idx val="314"/>
            <c:invertIfNegative val="1"/>
            <c:bubble3D val="0"/>
            <c:spPr>
              <a:solidFill>
                <a:srgbClr val="AEABAB"/>
              </a:solidFill>
            </c:spPr>
            <c:extLst>
              <c:ext xmlns:c16="http://schemas.microsoft.com/office/drawing/2014/chart" uri="{C3380CC4-5D6E-409C-BE32-E72D297353CC}">
                <c16:uniqueId val="{00000277-5AEB-451B-8193-C7625398ACC9}"/>
              </c:ext>
            </c:extLst>
          </c:dPt>
          <c:dPt>
            <c:idx val="315"/>
            <c:invertIfNegative val="1"/>
            <c:bubble3D val="0"/>
            <c:spPr>
              <a:solidFill>
                <a:srgbClr val="AEABAB"/>
              </a:solidFill>
            </c:spPr>
            <c:extLst>
              <c:ext xmlns:c16="http://schemas.microsoft.com/office/drawing/2014/chart" uri="{C3380CC4-5D6E-409C-BE32-E72D297353CC}">
                <c16:uniqueId val="{00000279-5AEB-451B-8193-C7625398ACC9}"/>
              </c:ext>
            </c:extLst>
          </c:dPt>
          <c:dPt>
            <c:idx val="316"/>
            <c:invertIfNegative val="1"/>
            <c:bubble3D val="0"/>
            <c:spPr>
              <a:solidFill>
                <a:srgbClr val="AEABAB"/>
              </a:solidFill>
            </c:spPr>
            <c:extLst>
              <c:ext xmlns:c16="http://schemas.microsoft.com/office/drawing/2014/chart" uri="{C3380CC4-5D6E-409C-BE32-E72D297353CC}">
                <c16:uniqueId val="{0000027B-5AEB-451B-8193-C7625398ACC9}"/>
              </c:ext>
            </c:extLst>
          </c:dPt>
          <c:dPt>
            <c:idx val="317"/>
            <c:invertIfNegative val="1"/>
            <c:bubble3D val="0"/>
            <c:spPr>
              <a:solidFill>
                <a:srgbClr val="AEABAB"/>
              </a:solidFill>
            </c:spPr>
            <c:extLst>
              <c:ext xmlns:c16="http://schemas.microsoft.com/office/drawing/2014/chart" uri="{C3380CC4-5D6E-409C-BE32-E72D297353CC}">
                <c16:uniqueId val="{0000027D-5AEB-451B-8193-C7625398ACC9}"/>
              </c:ext>
            </c:extLst>
          </c:dPt>
          <c:dPt>
            <c:idx val="318"/>
            <c:invertIfNegative val="1"/>
            <c:bubble3D val="0"/>
            <c:spPr>
              <a:solidFill>
                <a:srgbClr val="AEABAB"/>
              </a:solidFill>
            </c:spPr>
            <c:extLst>
              <c:ext xmlns:c16="http://schemas.microsoft.com/office/drawing/2014/chart" uri="{C3380CC4-5D6E-409C-BE32-E72D297353CC}">
                <c16:uniqueId val="{0000027F-5AEB-451B-8193-C7625398ACC9}"/>
              </c:ext>
            </c:extLst>
          </c:dPt>
          <c:dPt>
            <c:idx val="319"/>
            <c:invertIfNegative val="1"/>
            <c:bubble3D val="0"/>
            <c:spPr>
              <a:solidFill>
                <a:srgbClr val="AEABAB"/>
              </a:solidFill>
            </c:spPr>
            <c:extLst>
              <c:ext xmlns:c16="http://schemas.microsoft.com/office/drawing/2014/chart" uri="{C3380CC4-5D6E-409C-BE32-E72D297353CC}">
                <c16:uniqueId val="{00000281-5AEB-451B-8193-C7625398ACC9}"/>
              </c:ext>
            </c:extLst>
          </c:dPt>
          <c:dPt>
            <c:idx val="320"/>
            <c:invertIfNegative val="1"/>
            <c:bubble3D val="0"/>
            <c:spPr>
              <a:solidFill>
                <a:srgbClr val="AEABAB"/>
              </a:solidFill>
            </c:spPr>
            <c:extLst>
              <c:ext xmlns:c16="http://schemas.microsoft.com/office/drawing/2014/chart" uri="{C3380CC4-5D6E-409C-BE32-E72D297353CC}">
                <c16:uniqueId val="{00000283-5AEB-451B-8193-C7625398ACC9}"/>
              </c:ext>
            </c:extLst>
          </c:dPt>
          <c:dPt>
            <c:idx val="321"/>
            <c:invertIfNegative val="1"/>
            <c:bubble3D val="0"/>
            <c:spPr>
              <a:solidFill>
                <a:srgbClr val="AEABAB"/>
              </a:solidFill>
            </c:spPr>
            <c:extLst>
              <c:ext xmlns:c16="http://schemas.microsoft.com/office/drawing/2014/chart" uri="{C3380CC4-5D6E-409C-BE32-E72D297353CC}">
                <c16:uniqueId val="{00000285-5AEB-451B-8193-C7625398ACC9}"/>
              </c:ext>
            </c:extLst>
          </c:dPt>
          <c:dPt>
            <c:idx val="322"/>
            <c:invertIfNegative val="1"/>
            <c:bubble3D val="0"/>
            <c:spPr>
              <a:solidFill>
                <a:srgbClr val="AEABAB"/>
              </a:solidFill>
            </c:spPr>
            <c:extLst>
              <c:ext xmlns:c16="http://schemas.microsoft.com/office/drawing/2014/chart" uri="{C3380CC4-5D6E-409C-BE32-E72D297353CC}">
                <c16:uniqueId val="{00000287-5AEB-451B-8193-C7625398ACC9}"/>
              </c:ext>
            </c:extLst>
          </c:dPt>
          <c:dPt>
            <c:idx val="323"/>
            <c:invertIfNegative val="1"/>
            <c:bubble3D val="0"/>
            <c:spPr>
              <a:solidFill>
                <a:srgbClr val="AEABAB"/>
              </a:solidFill>
            </c:spPr>
            <c:extLst>
              <c:ext xmlns:c16="http://schemas.microsoft.com/office/drawing/2014/chart" uri="{C3380CC4-5D6E-409C-BE32-E72D297353CC}">
                <c16:uniqueId val="{00000289-5AEB-451B-8193-C7625398ACC9}"/>
              </c:ext>
            </c:extLst>
          </c:dPt>
          <c:dPt>
            <c:idx val="324"/>
            <c:invertIfNegative val="1"/>
            <c:bubble3D val="0"/>
            <c:spPr>
              <a:solidFill>
                <a:srgbClr val="AEABAB"/>
              </a:solidFill>
            </c:spPr>
            <c:extLst>
              <c:ext xmlns:c16="http://schemas.microsoft.com/office/drawing/2014/chart" uri="{C3380CC4-5D6E-409C-BE32-E72D297353CC}">
                <c16:uniqueId val="{0000028B-5AEB-451B-8193-C7625398ACC9}"/>
              </c:ext>
            </c:extLst>
          </c:dPt>
          <c:dPt>
            <c:idx val="325"/>
            <c:invertIfNegative val="1"/>
            <c:bubble3D val="0"/>
            <c:spPr>
              <a:solidFill>
                <a:srgbClr val="AEABAB"/>
              </a:solidFill>
            </c:spPr>
            <c:extLst>
              <c:ext xmlns:c16="http://schemas.microsoft.com/office/drawing/2014/chart" uri="{C3380CC4-5D6E-409C-BE32-E72D297353CC}">
                <c16:uniqueId val="{0000028D-5AEB-451B-8193-C7625398ACC9}"/>
              </c:ext>
            </c:extLst>
          </c:dPt>
          <c:dPt>
            <c:idx val="326"/>
            <c:invertIfNegative val="1"/>
            <c:bubble3D val="0"/>
            <c:spPr>
              <a:solidFill>
                <a:srgbClr val="AEABAB"/>
              </a:solidFill>
            </c:spPr>
            <c:extLst>
              <c:ext xmlns:c16="http://schemas.microsoft.com/office/drawing/2014/chart" uri="{C3380CC4-5D6E-409C-BE32-E72D297353CC}">
                <c16:uniqueId val="{0000028F-5AEB-451B-8193-C7625398ACC9}"/>
              </c:ext>
            </c:extLst>
          </c:dPt>
          <c:dPt>
            <c:idx val="327"/>
            <c:invertIfNegative val="1"/>
            <c:bubble3D val="0"/>
            <c:spPr>
              <a:solidFill>
                <a:srgbClr val="AEABAB"/>
              </a:solidFill>
            </c:spPr>
            <c:extLst>
              <c:ext xmlns:c16="http://schemas.microsoft.com/office/drawing/2014/chart" uri="{C3380CC4-5D6E-409C-BE32-E72D297353CC}">
                <c16:uniqueId val="{00000291-5AEB-451B-8193-C7625398ACC9}"/>
              </c:ext>
            </c:extLst>
          </c:dPt>
          <c:dPt>
            <c:idx val="328"/>
            <c:invertIfNegative val="1"/>
            <c:bubble3D val="0"/>
            <c:spPr>
              <a:solidFill>
                <a:srgbClr val="AEABAB"/>
              </a:solidFill>
            </c:spPr>
            <c:extLst>
              <c:ext xmlns:c16="http://schemas.microsoft.com/office/drawing/2014/chart" uri="{C3380CC4-5D6E-409C-BE32-E72D297353CC}">
                <c16:uniqueId val="{00000293-5AEB-451B-8193-C7625398ACC9}"/>
              </c:ext>
            </c:extLst>
          </c:dPt>
          <c:dPt>
            <c:idx val="329"/>
            <c:invertIfNegative val="1"/>
            <c:bubble3D val="0"/>
            <c:spPr>
              <a:solidFill>
                <a:srgbClr val="AEABAB"/>
              </a:solidFill>
            </c:spPr>
            <c:extLst>
              <c:ext xmlns:c16="http://schemas.microsoft.com/office/drawing/2014/chart" uri="{C3380CC4-5D6E-409C-BE32-E72D297353CC}">
                <c16:uniqueId val="{00000295-5AEB-451B-8193-C7625398ACC9}"/>
              </c:ext>
            </c:extLst>
          </c:dPt>
          <c:dPt>
            <c:idx val="330"/>
            <c:invertIfNegative val="1"/>
            <c:bubble3D val="0"/>
            <c:spPr>
              <a:solidFill>
                <a:srgbClr val="AEABAB"/>
              </a:solidFill>
            </c:spPr>
            <c:extLst>
              <c:ext xmlns:c16="http://schemas.microsoft.com/office/drawing/2014/chart" uri="{C3380CC4-5D6E-409C-BE32-E72D297353CC}">
                <c16:uniqueId val="{00000297-5AEB-451B-8193-C7625398ACC9}"/>
              </c:ext>
            </c:extLst>
          </c:dPt>
          <c:dPt>
            <c:idx val="331"/>
            <c:invertIfNegative val="1"/>
            <c:bubble3D val="0"/>
            <c:spPr>
              <a:solidFill>
                <a:srgbClr val="AEABAB"/>
              </a:solidFill>
            </c:spPr>
            <c:extLst>
              <c:ext xmlns:c16="http://schemas.microsoft.com/office/drawing/2014/chart" uri="{C3380CC4-5D6E-409C-BE32-E72D297353CC}">
                <c16:uniqueId val="{00000299-5AEB-451B-8193-C7625398ACC9}"/>
              </c:ext>
            </c:extLst>
          </c:dPt>
          <c:dPt>
            <c:idx val="332"/>
            <c:invertIfNegative val="1"/>
            <c:bubble3D val="0"/>
            <c:spPr>
              <a:solidFill>
                <a:srgbClr val="AEABAB"/>
              </a:solidFill>
            </c:spPr>
            <c:extLst>
              <c:ext xmlns:c16="http://schemas.microsoft.com/office/drawing/2014/chart" uri="{C3380CC4-5D6E-409C-BE32-E72D297353CC}">
                <c16:uniqueId val="{0000029B-5AEB-451B-8193-C7625398ACC9}"/>
              </c:ext>
            </c:extLst>
          </c:dPt>
          <c:dPt>
            <c:idx val="333"/>
            <c:invertIfNegative val="1"/>
            <c:bubble3D val="0"/>
            <c:spPr>
              <a:solidFill>
                <a:srgbClr val="AEABAB"/>
              </a:solidFill>
            </c:spPr>
            <c:extLst>
              <c:ext xmlns:c16="http://schemas.microsoft.com/office/drawing/2014/chart" uri="{C3380CC4-5D6E-409C-BE32-E72D297353CC}">
                <c16:uniqueId val="{0000029D-5AEB-451B-8193-C7625398ACC9}"/>
              </c:ext>
            </c:extLst>
          </c:dPt>
          <c:dPt>
            <c:idx val="334"/>
            <c:invertIfNegative val="1"/>
            <c:bubble3D val="0"/>
            <c:spPr>
              <a:solidFill>
                <a:srgbClr val="AEABAB"/>
              </a:solidFill>
            </c:spPr>
            <c:extLst>
              <c:ext xmlns:c16="http://schemas.microsoft.com/office/drawing/2014/chart" uri="{C3380CC4-5D6E-409C-BE32-E72D297353CC}">
                <c16:uniqueId val="{0000029F-5AEB-451B-8193-C7625398ACC9}"/>
              </c:ext>
            </c:extLst>
          </c:dPt>
          <c:dPt>
            <c:idx val="335"/>
            <c:invertIfNegative val="1"/>
            <c:bubble3D val="0"/>
            <c:spPr>
              <a:solidFill>
                <a:srgbClr val="AEABAB"/>
              </a:solidFill>
            </c:spPr>
            <c:extLst>
              <c:ext xmlns:c16="http://schemas.microsoft.com/office/drawing/2014/chart" uri="{C3380CC4-5D6E-409C-BE32-E72D297353CC}">
                <c16:uniqueId val="{000002A1-5AEB-451B-8193-C7625398ACC9}"/>
              </c:ext>
            </c:extLst>
          </c:dPt>
          <c:dPt>
            <c:idx val="336"/>
            <c:invertIfNegative val="1"/>
            <c:bubble3D val="0"/>
            <c:spPr>
              <a:solidFill>
                <a:srgbClr val="AEABAB"/>
              </a:solidFill>
            </c:spPr>
            <c:extLst>
              <c:ext xmlns:c16="http://schemas.microsoft.com/office/drawing/2014/chart" uri="{C3380CC4-5D6E-409C-BE32-E72D297353CC}">
                <c16:uniqueId val="{000002A3-5AEB-451B-8193-C7625398ACC9}"/>
              </c:ext>
            </c:extLst>
          </c:dPt>
          <c:dPt>
            <c:idx val="337"/>
            <c:invertIfNegative val="1"/>
            <c:bubble3D val="0"/>
            <c:spPr>
              <a:solidFill>
                <a:srgbClr val="AEABAB"/>
              </a:solidFill>
            </c:spPr>
            <c:extLst>
              <c:ext xmlns:c16="http://schemas.microsoft.com/office/drawing/2014/chart" uri="{C3380CC4-5D6E-409C-BE32-E72D297353CC}">
                <c16:uniqueId val="{000002A5-5AEB-451B-8193-C7625398ACC9}"/>
              </c:ext>
            </c:extLst>
          </c:dPt>
          <c:dPt>
            <c:idx val="338"/>
            <c:invertIfNegative val="1"/>
            <c:bubble3D val="0"/>
            <c:spPr>
              <a:solidFill>
                <a:srgbClr val="AEABAB"/>
              </a:solidFill>
            </c:spPr>
            <c:extLst>
              <c:ext xmlns:c16="http://schemas.microsoft.com/office/drawing/2014/chart" uri="{C3380CC4-5D6E-409C-BE32-E72D297353CC}">
                <c16:uniqueId val="{000002A7-5AEB-451B-8193-C7625398ACC9}"/>
              </c:ext>
            </c:extLst>
          </c:dPt>
          <c:dPt>
            <c:idx val="339"/>
            <c:invertIfNegative val="1"/>
            <c:bubble3D val="0"/>
            <c:spPr>
              <a:solidFill>
                <a:srgbClr val="AEABAB"/>
              </a:solidFill>
            </c:spPr>
            <c:extLst>
              <c:ext xmlns:c16="http://schemas.microsoft.com/office/drawing/2014/chart" uri="{C3380CC4-5D6E-409C-BE32-E72D297353CC}">
                <c16:uniqueId val="{000002A9-5AEB-451B-8193-C7625398ACC9}"/>
              </c:ext>
            </c:extLst>
          </c:dPt>
          <c:dPt>
            <c:idx val="340"/>
            <c:invertIfNegative val="1"/>
            <c:bubble3D val="0"/>
            <c:spPr>
              <a:solidFill>
                <a:srgbClr val="AEABAB"/>
              </a:solidFill>
            </c:spPr>
            <c:extLst>
              <c:ext xmlns:c16="http://schemas.microsoft.com/office/drawing/2014/chart" uri="{C3380CC4-5D6E-409C-BE32-E72D297353CC}">
                <c16:uniqueId val="{000002AB-5AEB-451B-8193-C7625398ACC9}"/>
              </c:ext>
            </c:extLst>
          </c:dPt>
          <c:dPt>
            <c:idx val="341"/>
            <c:invertIfNegative val="1"/>
            <c:bubble3D val="0"/>
            <c:spPr>
              <a:solidFill>
                <a:srgbClr val="AEABAB"/>
              </a:solidFill>
            </c:spPr>
            <c:extLst>
              <c:ext xmlns:c16="http://schemas.microsoft.com/office/drawing/2014/chart" uri="{C3380CC4-5D6E-409C-BE32-E72D297353CC}">
                <c16:uniqueId val="{000002AD-5AEB-451B-8193-C7625398ACC9}"/>
              </c:ext>
            </c:extLst>
          </c:dPt>
          <c:dPt>
            <c:idx val="342"/>
            <c:invertIfNegative val="1"/>
            <c:bubble3D val="0"/>
            <c:spPr>
              <a:solidFill>
                <a:srgbClr val="AEABAB"/>
              </a:solidFill>
            </c:spPr>
            <c:extLst>
              <c:ext xmlns:c16="http://schemas.microsoft.com/office/drawing/2014/chart" uri="{C3380CC4-5D6E-409C-BE32-E72D297353CC}">
                <c16:uniqueId val="{000002AF-5AEB-451B-8193-C7625398ACC9}"/>
              </c:ext>
            </c:extLst>
          </c:dPt>
          <c:dPt>
            <c:idx val="343"/>
            <c:invertIfNegative val="1"/>
            <c:bubble3D val="0"/>
            <c:spPr>
              <a:solidFill>
                <a:srgbClr val="AEABAB"/>
              </a:solidFill>
            </c:spPr>
            <c:extLst>
              <c:ext xmlns:c16="http://schemas.microsoft.com/office/drawing/2014/chart" uri="{C3380CC4-5D6E-409C-BE32-E72D297353CC}">
                <c16:uniqueId val="{000002B1-5AEB-451B-8193-C7625398ACC9}"/>
              </c:ext>
            </c:extLst>
          </c:dPt>
          <c:dPt>
            <c:idx val="344"/>
            <c:invertIfNegative val="1"/>
            <c:bubble3D val="0"/>
            <c:spPr>
              <a:solidFill>
                <a:srgbClr val="AEABAB"/>
              </a:solidFill>
            </c:spPr>
            <c:extLst>
              <c:ext xmlns:c16="http://schemas.microsoft.com/office/drawing/2014/chart" uri="{C3380CC4-5D6E-409C-BE32-E72D297353CC}">
                <c16:uniqueId val="{000002B3-5AEB-451B-8193-C7625398ACC9}"/>
              </c:ext>
            </c:extLst>
          </c:dPt>
          <c:dPt>
            <c:idx val="345"/>
            <c:invertIfNegative val="1"/>
            <c:bubble3D val="0"/>
            <c:spPr>
              <a:solidFill>
                <a:srgbClr val="AEABAB"/>
              </a:solidFill>
            </c:spPr>
            <c:extLst>
              <c:ext xmlns:c16="http://schemas.microsoft.com/office/drawing/2014/chart" uri="{C3380CC4-5D6E-409C-BE32-E72D297353CC}">
                <c16:uniqueId val="{000002B5-5AEB-451B-8193-C7625398ACC9}"/>
              </c:ext>
            </c:extLst>
          </c:dPt>
          <c:dPt>
            <c:idx val="346"/>
            <c:invertIfNegative val="1"/>
            <c:bubble3D val="0"/>
            <c:spPr>
              <a:solidFill>
                <a:srgbClr val="AEABAB"/>
              </a:solidFill>
            </c:spPr>
            <c:extLst>
              <c:ext xmlns:c16="http://schemas.microsoft.com/office/drawing/2014/chart" uri="{C3380CC4-5D6E-409C-BE32-E72D297353CC}">
                <c16:uniqueId val="{000002B7-5AEB-451B-8193-C7625398ACC9}"/>
              </c:ext>
            </c:extLst>
          </c:dPt>
          <c:dPt>
            <c:idx val="347"/>
            <c:invertIfNegative val="1"/>
            <c:bubble3D val="0"/>
            <c:spPr>
              <a:solidFill>
                <a:srgbClr val="AEABAB"/>
              </a:solidFill>
            </c:spPr>
            <c:extLst>
              <c:ext xmlns:c16="http://schemas.microsoft.com/office/drawing/2014/chart" uri="{C3380CC4-5D6E-409C-BE32-E72D297353CC}">
                <c16:uniqueId val="{000002B9-5AEB-451B-8193-C7625398ACC9}"/>
              </c:ext>
            </c:extLst>
          </c:dPt>
          <c:dPt>
            <c:idx val="348"/>
            <c:invertIfNegative val="1"/>
            <c:bubble3D val="0"/>
            <c:spPr>
              <a:solidFill>
                <a:srgbClr val="AEABAB"/>
              </a:solidFill>
            </c:spPr>
            <c:extLst>
              <c:ext xmlns:c16="http://schemas.microsoft.com/office/drawing/2014/chart" uri="{C3380CC4-5D6E-409C-BE32-E72D297353CC}">
                <c16:uniqueId val="{000002BB-5AEB-451B-8193-C7625398ACC9}"/>
              </c:ext>
            </c:extLst>
          </c:dPt>
          <c:dPt>
            <c:idx val="349"/>
            <c:invertIfNegative val="1"/>
            <c:bubble3D val="0"/>
            <c:spPr>
              <a:solidFill>
                <a:srgbClr val="AEABAB"/>
              </a:solidFill>
            </c:spPr>
            <c:extLst>
              <c:ext xmlns:c16="http://schemas.microsoft.com/office/drawing/2014/chart" uri="{C3380CC4-5D6E-409C-BE32-E72D297353CC}">
                <c16:uniqueId val="{000002BD-5AEB-451B-8193-C7625398ACC9}"/>
              </c:ext>
            </c:extLst>
          </c:dPt>
          <c:dPt>
            <c:idx val="350"/>
            <c:invertIfNegative val="1"/>
            <c:bubble3D val="0"/>
            <c:spPr>
              <a:solidFill>
                <a:srgbClr val="AEABAB"/>
              </a:solidFill>
            </c:spPr>
            <c:extLst>
              <c:ext xmlns:c16="http://schemas.microsoft.com/office/drawing/2014/chart" uri="{C3380CC4-5D6E-409C-BE32-E72D297353CC}">
                <c16:uniqueId val="{000002BF-5AEB-451B-8193-C7625398ACC9}"/>
              </c:ext>
            </c:extLst>
          </c:dPt>
          <c:dPt>
            <c:idx val="351"/>
            <c:invertIfNegative val="1"/>
            <c:bubble3D val="0"/>
            <c:spPr>
              <a:solidFill>
                <a:srgbClr val="AEABAB"/>
              </a:solidFill>
            </c:spPr>
            <c:extLst>
              <c:ext xmlns:c16="http://schemas.microsoft.com/office/drawing/2014/chart" uri="{C3380CC4-5D6E-409C-BE32-E72D297353CC}">
                <c16:uniqueId val="{000002C1-5AEB-451B-8193-C7625398ACC9}"/>
              </c:ext>
            </c:extLst>
          </c:dPt>
          <c:dPt>
            <c:idx val="352"/>
            <c:invertIfNegative val="1"/>
            <c:bubble3D val="0"/>
            <c:spPr>
              <a:solidFill>
                <a:srgbClr val="AEABAB"/>
              </a:solidFill>
            </c:spPr>
            <c:extLst>
              <c:ext xmlns:c16="http://schemas.microsoft.com/office/drawing/2014/chart" uri="{C3380CC4-5D6E-409C-BE32-E72D297353CC}">
                <c16:uniqueId val="{000002C3-5AEB-451B-8193-C7625398ACC9}"/>
              </c:ext>
            </c:extLst>
          </c:dPt>
          <c:dPt>
            <c:idx val="353"/>
            <c:invertIfNegative val="1"/>
            <c:bubble3D val="0"/>
            <c:spPr>
              <a:solidFill>
                <a:srgbClr val="AEABAB"/>
              </a:solidFill>
            </c:spPr>
            <c:extLst>
              <c:ext xmlns:c16="http://schemas.microsoft.com/office/drawing/2014/chart" uri="{C3380CC4-5D6E-409C-BE32-E72D297353CC}">
                <c16:uniqueId val="{000002C5-5AEB-451B-8193-C7625398ACC9}"/>
              </c:ext>
            </c:extLst>
          </c:dPt>
          <c:dPt>
            <c:idx val="354"/>
            <c:invertIfNegative val="1"/>
            <c:bubble3D val="0"/>
            <c:spPr>
              <a:solidFill>
                <a:srgbClr val="AEABAB"/>
              </a:solidFill>
            </c:spPr>
            <c:extLst>
              <c:ext xmlns:c16="http://schemas.microsoft.com/office/drawing/2014/chart" uri="{C3380CC4-5D6E-409C-BE32-E72D297353CC}">
                <c16:uniqueId val="{000002C7-5AEB-451B-8193-C7625398ACC9}"/>
              </c:ext>
            </c:extLst>
          </c:dPt>
          <c:dPt>
            <c:idx val="355"/>
            <c:invertIfNegative val="1"/>
            <c:bubble3D val="0"/>
            <c:spPr>
              <a:solidFill>
                <a:srgbClr val="AEABAB"/>
              </a:solidFill>
            </c:spPr>
            <c:extLst>
              <c:ext xmlns:c16="http://schemas.microsoft.com/office/drawing/2014/chart" uri="{C3380CC4-5D6E-409C-BE32-E72D297353CC}">
                <c16:uniqueId val="{000002C9-5AEB-451B-8193-C7625398ACC9}"/>
              </c:ext>
            </c:extLst>
          </c:dPt>
          <c:dPt>
            <c:idx val="356"/>
            <c:invertIfNegative val="1"/>
            <c:bubble3D val="0"/>
            <c:spPr>
              <a:solidFill>
                <a:srgbClr val="AEABAB"/>
              </a:solidFill>
            </c:spPr>
            <c:extLst>
              <c:ext xmlns:c16="http://schemas.microsoft.com/office/drawing/2014/chart" uri="{C3380CC4-5D6E-409C-BE32-E72D297353CC}">
                <c16:uniqueId val="{000002CB-5AEB-451B-8193-C7625398ACC9}"/>
              </c:ext>
            </c:extLst>
          </c:dPt>
          <c:dPt>
            <c:idx val="357"/>
            <c:invertIfNegative val="1"/>
            <c:bubble3D val="0"/>
            <c:spPr>
              <a:solidFill>
                <a:srgbClr val="AEABAB"/>
              </a:solidFill>
            </c:spPr>
            <c:extLst>
              <c:ext xmlns:c16="http://schemas.microsoft.com/office/drawing/2014/chart" uri="{C3380CC4-5D6E-409C-BE32-E72D297353CC}">
                <c16:uniqueId val="{000002CD-5AEB-451B-8193-C7625398ACC9}"/>
              </c:ext>
            </c:extLst>
          </c:dPt>
          <c:dPt>
            <c:idx val="358"/>
            <c:invertIfNegative val="1"/>
            <c:bubble3D val="0"/>
            <c:spPr>
              <a:solidFill>
                <a:srgbClr val="AEABAB"/>
              </a:solidFill>
            </c:spPr>
            <c:extLst>
              <c:ext xmlns:c16="http://schemas.microsoft.com/office/drawing/2014/chart" uri="{C3380CC4-5D6E-409C-BE32-E72D297353CC}">
                <c16:uniqueId val="{000002CF-5AEB-451B-8193-C7625398ACC9}"/>
              </c:ext>
            </c:extLst>
          </c:dPt>
          <c:dPt>
            <c:idx val="359"/>
            <c:invertIfNegative val="1"/>
            <c:bubble3D val="0"/>
            <c:spPr>
              <a:solidFill>
                <a:srgbClr val="AEABAB"/>
              </a:solidFill>
            </c:spPr>
            <c:extLst>
              <c:ext xmlns:c16="http://schemas.microsoft.com/office/drawing/2014/chart" uri="{C3380CC4-5D6E-409C-BE32-E72D297353CC}">
                <c16:uniqueId val="{000002D1-5AEB-451B-8193-C7625398ACC9}"/>
              </c:ext>
            </c:extLst>
          </c:dPt>
          <c:dPt>
            <c:idx val="360"/>
            <c:invertIfNegative val="1"/>
            <c:bubble3D val="0"/>
            <c:spPr>
              <a:solidFill>
                <a:srgbClr val="AEABAB"/>
              </a:solidFill>
            </c:spPr>
            <c:extLst>
              <c:ext xmlns:c16="http://schemas.microsoft.com/office/drawing/2014/chart" uri="{C3380CC4-5D6E-409C-BE32-E72D297353CC}">
                <c16:uniqueId val="{000002D3-5AEB-451B-8193-C7625398ACC9}"/>
              </c:ext>
            </c:extLst>
          </c:dPt>
          <c:dPt>
            <c:idx val="361"/>
            <c:invertIfNegative val="1"/>
            <c:bubble3D val="0"/>
            <c:spPr>
              <a:solidFill>
                <a:srgbClr val="AEABAB"/>
              </a:solidFill>
            </c:spPr>
            <c:extLst>
              <c:ext xmlns:c16="http://schemas.microsoft.com/office/drawing/2014/chart" uri="{C3380CC4-5D6E-409C-BE32-E72D297353CC}">
                <c16:uniqueId val="{000002D5-5AEB-451B-8193-C7625398ACC9}"/>
              </c:ext>
            </c:extLst>
          </c:dPt>
          <c:dPt>
            <c:idx val="362"/>
            <c:invertIfNegative val="1"/>
            <c:bubble3D val="0"/>
            <c:spPr>
              <a:solidFill>
                <a:srgbClr val="AEABAB"/>
              </a:solidFill>
            </c:spPr>
            <c:extLst>
              <c:ext xmlns:c16="http://schemas.microsoft.com/office/drawing/2014/chart" uri="{C3380CC4-5D6E-409C-BE32-E72D297353CC}">
                <c16:uniqueId val="{000002D7-5AEB-451B-8193-C7625398ACC9}"/>
              </c:ext>
            </c:extLst>
          </c:dPt>
          <c:dPt>
            <c:idx val="363"/>
            <c:invertIfNegative val="1"/>
            <c:bubble3D val="0"/>
            <c:spPr>
              <a:solidFill>
                <a:srgbClr val="AEABAB"/>
              </a:solidFill>
            </c:spPr>
            <c:extLst>
              <c:ext xmlns:c16="http://schemas.microsoft.com/office/drawing/2014/chart" uri="{C3380CC4-5D6E-409C-BE32-E72D297353CC}">
                <c16:uniqueId val="{000002D9-5AEB-451B-8193-C7625398ACC9}"/>
              </c:ext>
            </c:extLst>
          </c:dPt>
          <c:dPt>
            <c:idx val="364"/>
            <c:invertIfNegative val="1"/>
            <c:bubble3D val="0"/>
            <c:spPr>
              <a:solidFill>
                <a:srgbClr val="AEABAB"/>
              </a:solidFill>
            </c:spPr>
            <c:extLst>
              <c:ext xmlns:c16="http://schemas.microsoft.com/office/drawing/2014/chart" uri="{C3380CC4-5D6E-409C-BE32-E72D297353CC}">
                <c16:uniqueId val="{000002DB-5AEB-451B-8193-C7625398ACC9}"/>
              </c:ext>
            </c:extLst>
          </c:dPt>
          <c:dPt>
            <c:idx val="365"/>
            <c:invertIfNegative val="1"/>
            <c:bubble3D val="0"/>
            <c:spPr>
              <a:solidFill>
                <a:srgbClr val="AEABAB"/>
              </a:solidFill>
            </c:spPr>
            <c:extLst>
              <c:ext xmlns:c16="http://schemas.microsoft.com/office/drawing/2014/chart" uri="{C3380CC4-5D6E-409C-BE32-E72D297353CC}">
                <c16:uniqueId val="{000002DD-5AEB-451B-8193-C7625398ACC9}"/>
              </c:ext>
            </c:extLst>
          </c:dPt>
          <c:dPt>
            <c:idx val="366"/>
            <c:invertIfNegative val="1"/>
            <c:bubble3D val="0"/>
            <c:spPr>
              <a:solidFill>
                <a:srgbClr val="AEABAB"/>
              </a:solidFill>
            </c:spPr>
            <c:extLst>
              <c:ext xmlns:c16="http://schemas.microsoft.com/office/drawing/2014/chart" uri="{C3380CC4-5D6E-409C-BE32-E72D297353CC}">
                <c16:uniqueId val="{000002DF-5AEB-451B-8193-C7625398ACC9}"/>
              </c:ext>
            </c:extLst>
          </c:dPt>
          <c:dPt>
            <c:idx val="367"/>
            <c:invertIfNegative val="1"/>
            <c:bubble3D val="0"/>
            <c:spPr>
              <a:solidFill>
                <a:srgbClr val="AEABAB"/>
              </a:solidFill>
            </c:spPr>
            <c:extLst>
              <c:ext xmlns:c16="http://schemas.microsoft.com/office/drawing/2014/chart" uri="{C3380CC4-5D6E-409C-BE32-E72D297353CC}">
                <c16:uniqueId val="{000002E1-5AEB-451B-8193-C7625398ACC9}"/>
              </c:ext>
            </c:extLst>
          </c:dPt>
          <c:dPt>
            <c:idx val="368"/>
            <c:invertIfNegative val="1"/>
            <c:bubble3D val="0"/>
            <c:spPr>
              <a:solidFill>
                <a:srgbClr val="AEABAB"/>
              </a:solidFill>
            </c:spPr>
            <c:extLst>
              <c:ext xmlns:c16="http://schemas.microsoft.com/office/drawing/2014/chart" uri="{C3380CC4-5D6E-409C-BE32-E72D297353CC}">
                <c16:uniqueId val="{000002E3-5AEB-451B-8193-C7625398ACC9}"/>
              </c:ext>
            </c:extLst>
          </c:dPt>
          <c:dPt>
            <c:idx val="369"/>
            <c:invertIfNegative val="1"/>
            <c:bubble3D val="0"/>
            <c:spPr>
              <a:solidFill>
                <a:srgbClr val="AEABAB"/>
              </a:solidFill>
            </c:spPr>
            <c:extLst>
              <c:ext xmlns:c16="http://schemas.microsoft.com/office/drawing/2014/chart" uri="{C3380CC4-5D6E-409C-BE32-E72D297353CC}">
                <c16:uniqueId val="{000002E5-5AEB-451B-8193-C7625398ACC9}"/>
              </c:ext>
            </c:extLst>
          </c:dPt>
          <c:dPt>
            <c:idx val="370"/>
            <c:invertIfNegative val="1"/>
            <c:bubble3D val="0"/>
            <c:spPr>
              <a:solidFill>
                <a:srgbClr val="AEABAB"/>
              </a:solidFill>
            </c:spPr>
            <c:extLst>
              <c:ext xmlns:c16="http://schemas.microsoft.com/office/drawing/2014/chart" uri="{C3380CC4-5D6E-409C-BE32-E72D297353CC}">
                <c16:uniqueId val="{000002E7-5AEB-451B-8193-C7625398ACC9}"/>
              </c:ext>
            </c:extLst>
          </c:dPt>
          <c:dPt>
            <c:idx val="371"/>
            <c:invertIfNegative val="1"/>
            <c:bubble3D val="0"/>
            <c:spPr>
              <a:solidFill>
                <a:srgbClr val="AEABAB"/>
              </a:solidFill>
            </c:spPr>
            <c:extLst>
              <c:ext xmlns:c16="http://schemas.microsoft.com/office/drawing/2014/chart" uri="{C3380CC4-5D6E-409C-BE32-E72D297353CC}">
                <c16:uniqueId val="{000002E9-5AEB-451B-8193-C7625398ACC9}"/>
              </c:ext>
            </c:extLst>
          </c:dPt>
          <c:dPt>
            <c:idx val="372"/>
            <c:invertIfNegative val="1"/>
            <c:bubble3D val="0"/>
            <c:spPr>
              <a:solidFill>
                <a:srgbClr val="AEABAB"/>
              </a:solidFill>
            </c:spPr>
            <c:extLst>
              <c:ext xmlns:c16="http://schemas.microsoft.com/office/drawing/2014/chart" uri="{C3380CC4-5D6E-409C-BE32-E72D297353CC}">
                <c16:uniqueId val="{000002EB-5AEB-451B-8193-C7625398ACC9}"/>
              </c:ext>
            </c:extLst>
          </c:dPt>
          <c:dPt>
            <c:idx val="373"/>
            <c:invertIfNegative val="1"/>
            <c:bubble3D val="0"/>
            <c:spPr>
              <a:solidFill>
                <a:srgbClr val="AEABAB"/>
              </a:solidFill>
            </c:spPr>
            <c:extLst>
              <c:ext xmlns:c16="http://schemas.microsoft.com/office/drawing/2014/chart" uri="{C3380CC4-5D6E-409C-BE32-E72D297353CC}">
                <c16:uniqueId val="{000002ED-5AEB-451B-8193-C7625398ACC9}"/>
              </c:ext>
            </c:extLst>
          </c:dPt>
          <c:dPt>
            <c:idx val="374"/>
            <c:invertIfNegative val="1"/>
            <c:bubble3D val="0"/>
            <c:spPr>
              <a:solidFill>
                <a:srgbClr val="AEABAB"/>
              </a:solidFill>
            </c:spPr>
            <c:extLst>
              <c:ext xmlns:c16="http://schemas.microsoft.com/office/drawing/2014/chart" uri="{C3380CC4-5D6E-409C-BE32-E72D297353CC}">
                <c16:uniqueId val="{000002EF-5AEB-451B-8193-C7625398ACC9}"/>
              </c:ext>
            </c:extLst>
          </c:dPt>
          <c:dPt>
            <c:idx val="375"/>
            <c:invertIfNegative val="1"/>
            <c:bubble3D val="0"/>
            <c:spPr>
              <a:solidFill>
                <a:srgbClr val="AEABAB"/>
              </a:solidFill>
            </c:spPr>
            <c:extLst>
              <c:ext xmlns:c16="http://schemas.microsoft.com/office/drawing/2014/chart" uri="{C3380CC4-5D6E-409C-BE32-E72D297353CC}">
                <c16:uniqueId val="{000002F1-5AEB-451B-8193-C7625398ACC9}"/>
              </c:ext>
            </c:extLst>
          </c:dPt>
          <c:dPt>
            <c:idx val="376"/>
            <c:invertIfNegative val="1"/>
            <c:bubble3D val="0"/>
            <c:spPr>
              <a:solidFill>
                <a:srgbClr val="AEABAB"/>
              </a:solidFill>
            </c:spPr>
            <c:extLst>
              <c:ext xmlns:c16="http://schemas.microsoft.com/office/drawing/2014/chart" uri="{C3380CC4-5D6E-409C-BE32-E72D297353CC}">
                <c16:uniqueId val="{000002F3-5AEB-451B-8193-C7625398ACC9}"/>
              </c:ext>
            </c:extLst>
          </c:dPt>
          <c:dPt>
            <c:idx val="377"/>
            <c:invertIfNegative val="1"/>
            <c:bubble3D val="0"/>
            <c:spPr>
              <a:solidFill>
                <a:srgbClr val="AEABAB"/>
              </a:solidFill>
            </c:spPr>
            <c:extLst>
              <c:ext xmlns:c16="http://schemas.microsoft.com/office/drawing/2014/chart" uri="{C3380CC4-5D6E-409C-BE32-E72D297353CC}">
                <c16:uniqueId val="{000002F5-5AEB-451B-8193-C7625398ACC9}"/>
              </c:ext>
            </c:extLst>
          </c:dPt>
          <c:dPt>
            <c:idx val="378"/>
            <c:invertIfNegative val="1"/>
            <c:bubble3D val="0"/>
            <c:spPr>
              <a:solidFill>
                <a:srgbClr val="AEABAB"/>
              </a:solidFill>
            </c:spPr>
            <c:extLst>
              <c:ext xmlns:c16="http://schemas.microsoft.com/office/drawing/2014/chart" uri="{C3380CC4-5D6E-409C-BE32-E72D297353CC}">
                <c16:uniqueId val="{000002F7-5AEB-451B-8193-C7625398ACC9}"/>
              </c:ext>
            </c:extLst>
          </c:dPt>
          <c:dPt>
            <c:idx val="379"/>
            <c:invertIfNegative val="1"/>
            <c:bubble3D val="0"/>
            <c:spPr>
              <a:solidFill>
                <a:srgbClr val="AEABAB"/>
              </a:solidFill>
            </c:spPr>
            <c:extLst>
              <c:ext xmlns:c16="http://schemas.microsoft.com/office/drawing/2014/chart" uri="{C3380CC4-5D6E-409C-BE32-E72D297353CC}">
                <c16:uniqueId val="{000002F9-5AEB-451B-8193-C7625398ACC9}"/>
              </c:ext>
            </c:extLst>
          </c:dPt>
          <c:dPt>
            <c:idx val="380"/>
            <c:invertIfNegative val="1"/>
            <c:bubble3D val="0"/>
            <c:spPr>
              <a:solidFill>
                <a:srgbClr val="AEABAB"/>
              </a:solidFill>
            </c:spPr>
            <c:extLst>
              <c:ext xmlns:c16="http://schemas.microsoft.com/office/drawing/2014/chart" uri="{C3380CC4-5D6E-409C-BE32-E72D297353CC}">
                <c16:uniqueId val="{000002FB-5AEB-451B-8193-C7625398ACC9}"/>
              </c:ext>
            </c:extLst>
          </c:dPt>
          <c:dPt>
            <c:idx val="381"/>
            <c:invertIfNegative val="1"/>
            <c:bubble3D val="0"/>
            <c:spPr>
              <a:solidFill>
                <a:srgbClr val="AEABAB"/>
              </a:solidFill>
            </c:spPr>
            <c:extLst>
              <c:ext xmlns:c16="http://schemas.microsoft.com/office/drawing/2014/chart" uri="{C3380CC4-5D6E-409C-BE32-E72D297353CC}">
                <c16:uniqueId val="{000002FD-5AEB-451B-8193-C7625398ACC9}"/>
              </c:ext>
            </c:extLst>
          </c:dPt>
          <c:dPt>
            <c:idx val="382"/>
            <c:invertIfNegative val="1"/>
            <c:bubble3D val="0"/>
            <c:spPr>
              <a:solidFill>
                <a:srgbClr val="AEABAB"/>
              </a:solidFill>
            </c:spPr>
            <c:extLst>
              <c:ext xmlns:c16="http://schemas.microsoft.com/office/drawing/2014/chart" uri="{C3380CC4-5D6E-409C-BE32-E72D297353CC}">
                <c16:uniqueId val="{000002FF-5AEB-451B-8193-C7625398ACC9}"/>
              </c:ext>
            </c:extLst>
          </c:dPt>
          <c:dPt>
            <c:idx val="383"/>
            <c:invertIfNegative val="1"/>
            <c:bubble3D val="0"/>
            <c:spPr>
              <a:solidFill>
                <a:srgbClr val="AEABAB"/>
              </a:solidFill>
            </c:spPr>
            <c:extLst>
              <c:ext xmlns:c16="http://schemas.microsoft.com/office/drawing/2014/chart" uri="{C3380CC4-5D6E-409C-BE32-E72D297353CC}">
                <c16:uniqueId val="{00000301-5AEB-451B-8193-C7625398ACC9}"/>
              </c:ext>
            </c:extLst>
          </c:dPt>
          <c:dPt>
            <c:idx val="384"/>
            <c:invertIfNegative val="1"/>
            <c:bubble3D val="0"/>
            <c:spPr>
              <a:solidFill>
                <a:srgbClr val="AEABAB"/>
              </a:solidFill>
            </c:spPr>
            <c:extLst>
              <c:ext xmlns:c16="http://schemas.microsoft.com/office/drawing/2014/chart" uri="{C3380CC4-5D6E-409C-BE32-E72D297353CC}">
                <c16:uniqueId val="{00000303-5AEB-451B-8193-C7625398ACC9}"/>
              </c:ext>
            </c:extLst>
          </c:dPt>
          <c:dPt>
            <c:idx val="385"/>
            <c:invertIfNegative val="1"/>
            <c:bubble3D val="0"/>
            <c:spPr>
              <a:solidFill>
                <a:srgbClr val="AEABAB"/>
              </a:solidFill>
            </c:spPr>
            <c:extLst>
              <c:ext xmlns:c16="http://schemas.microsoft.com/office/drawing/2014/chart" uri="{C3380CC4-5D6E-409C-BE32-E72D297353CC}">
                <c16:uniqueId val="{00000305-5AEB-451B-8193-C7625398ACC9}"/>
              </c:ext>
            </c:extLst>
          </c:dPt>
          <c:dPt>
            <c:idx val="386"/>
            <c:invertIfNegative val="1"/>
            <c:bubble3D val="0"/>
            <c:spPr>
              <a:solidFill>
                <a:srgbClr val="AEABAB"/>
              </a:solidFill>
            </c:spPr>
            <c:extLst>
              <c:ext xmlns:c16="http://schemas.microsoft.com/office/drawing/2014/chart" uri="{C3380CC4-5D6E-409C-BE32-E72D297353CC}">
                <c16:uniqueId val="{00000307-5AEB-451B-8193-C7625398ACC9}"/>
              </c:ext>
            </c:extLst>
          </c:dPt>
          <c:dPt>
            <c:idx val="387"/>
            <c:invertIfNegative val="1"/>
            <c:bubble3D val="0"/>
            <c:spPr>
              <a:solidFill>
                <a:srgbClr val="AEABAB"/>
              </a:solidFill>
            </c:spPr>
            <c:extLst>
              <c:ext xmlns:c16="http://schemas.microsoft.com/office/drawing/2014/chart" uri="{C3380CC4-5D6E-409C-BE32-E72D297353CC}">
                <c16:uniqueId val="{00000309-5AEB-451B-8193-C7625398ACC9}"/>
              </c:ext>
            </c:extLst>
          </c:dPt>
          <c:dPt>
            <c:idx val="388"/>
            <c:invertIfNegative val="1"/>
            <c:bubble3D val="0"/>
            <c:spPr>
              <a:solidFill>
                <a:srgbClr val="AEABAB"/>
              </a:solidFill>
            </c:spPr>
            <c:extLst>
              <c:ext xmlns:c16="http://schemas.microsoft.com/office/drawing/2014/chart" uri="{C3380CC4-5D6E-409C-BE32-E72D297353CC}">
                <c16:uniqueId val="{0000030B-5AEB-451B-8193-C7625398ACC9}"/>
              </c:ext>
            </c:extLst>
          </c:dPt>
          <c:dPt>
            <c:idx val="389"/>
            <c:invertIfNegative val="1"/>
            <c:bubble3D val="0"/>
            <c:spPr>
              <a:solidFill>
                <a:srgbClr val="AEABAB"/>
              </a:solidFill>
            </c:spPr>
            <c:extLst>
              <c:ext xmlns:c16="http://schemas.microsoft.com/office/drawing/2014/chart" uri="{C3380CC4-5D6E-409C-BE32-E72D297353CC}">
                <c16:uniqueId val="{0000030D-5AEB-451B-8193-C7625398ACC9}"/>
              </c:ext>
            </c:extLst>
          </c:dPt>
          <c:dPt>
            <c:idx val="390"/>
            <c:invertIfNegative val="1"/>
            <c:bubble3D val="0"/>
            <c:spPr>
              <a:solidFill>
                <a:srgbClr val="AEABAB"/>
              </a:solidFill>
            </c:spPr>
            <c:extLst>
              <c:ext xmlns:c16="http://schemas.microsoft.com/office/drawing/2014/chart" uri="{C3380CC4-5D6E-409C-BE32-E72D297353CC}">
                <c16:uniqueId val="{0000030F-5AEB-451B-8193-C7625398ACC9}"/>
              </c:ext>
            </c:extLst>
          </c:dPt>
          <c:dPt>
            <c:idx val="391"/>
            <c:invertIfNegative val="1"/>
            <c:bubble3D val="0"/>
            <c:spPr>
              <a:solidFill>
                <a:srgbClr val="AEABAB"/>
              </a:solidFill>
            </c:spPr>
            <c:extLst>
              <c:ext xmlns:c16="http://schemas.microsoft.com/office/drawing/2014/chart" uri="{C3380CC4-5D6E-409C-BE32-E72D297353CC}">
                <c16:uniqueId val="{00000311-5AEB-451B-8193-C7625398ACC9}"/>
              </c:ext>
            </c:extLst>
          </c:dPt>
          <c:dPt>
            <c:idx val="392"/>
            <c:invertIfNegative val="1"/>
            <c:bubble3D val="0"/>
            <c:spPr>
              <a:solidFill>
                <a:srgbClr val="AEABAB"/>
              </a:solidFill>
            </c:spPr>
            <c:extLst>
              <c:ext xmlns:c16="http://schemas.microsoft.com/office/drawing/2014/chart" uri="{C3380CC4-5D6E-409C-BE32-E72D297353CC}">
                <c16:uniqueId val="{00000313-5AEB-451B-8193-C7625398ACC9}"/>
              </c:ext>
            </c:extLst>
          </c:dPt>
          <c:dPt>
            <c:idx val="393"/>
            <c:invertIfNegative val="1"/>
            <c:bubble3D val="0"/>
            <c:spPr>
              <a:solidFill>
                <a:srgbClr val="AEABAB"/>
              </a:solidFill>
            </c:spPr>
            <c:extLst>
              <c:ext xmlns:c16="http://schemas.microsoft.com/office/drawing/2014/chart" uri="{C3380CC4-5D6E-409C-BE32-E72D297353CC}">
                <c16:uniqueId val="{00000315-5AEB-451B-8193-C7625398ACC9}"/>
              </c:ext>
            </c:extLst>
          </c:dPt>
          <c:dPt>
            <c:idx val="394"/>
            <c:invertIfNegative val="1"/>
            <c:bubble3D val="0"/>
            <c:spPr>
              <a:solidFill>
                <a:srgbClr val="AEABAB"/>
              </a:solidFill>
            </c:spPr>
            <c:extLst>
              <c:ext xmlns:c16="http://schemas.microsoft.com/office/drawing/2014/chart" uri="{C3380CC4-5D6E-409C-BE32-E72D297353CC}">
                <c16:uniqueId val="{00000317-5AEB-451B-8193-C7625398ACC9}"/>
              </c:ext>
            </c:extLst>
          </c:dPt>
          <c:dPt>
            <c:idx val="395"/>
            <c:invertIfNegative val="1"/>
            <c:bubble3D val="0"/>
            <c:spPr>
              <a:solidFill>
                <a:srgbClr val="AEABAB"/>
              </a:solidFill>
            </c:spPr>
            <c:extLst>
              <c:ext xmlns:c16="http://schemas.microsoft.com/office/drawing/2014/chart" uri="{C3380CC4-5D6E-409C-BE32-E72D297353CC}">
                <c16:uniqueId val="{00000319-5AEB-451B-8193-C7625398ACC9}"/>
              </c:ext>
            </c:extLst>
          </c:dPt>
          <c:dPt>
            <c:idx val="396"/>
            <c:invertIfNegative val="1"/>
            <c:bubble3D val="0"/>
            <c:spPr>
              <a:solidFill>
                <a:srgbClr val="AEABAB"/>
              </a:solidFill>
            </c:spPr>
            <c:extLst>
              <c:ext xmlns:c16="http://schemas.microsoft.com/office/drawing/2014/chart" uri="{C3380CC4-5D6E-409C-BE32-E72D297353CC}">
                <c16:uniqueId val="{0000031B-5AEB-451B-8193-C7625398ACC9}"/>
              </c:ext>
            </c:extLst>
          </c:dPt>
          <c:dPt>
            <c:idx val="397"/>
            <c:invertIfNegative val="1"/>
            <c:bubble3D val="0"/>
            <c:spPr>
              <a:solidFill>
                <a:srgbClr val="AEABAB"/>
              </a:solidFill>
            </c:spPr>
            <c:extLst>
              <c:ext xmlns:c16="http://schemas.microsoft.com/office/drawing/2014/chart" uri="{C3380CC4-5D6E-409C-BE32-E72D297353CC}">
                <c16:uniqueId val="{0000031D-5AEB-451B-8193-C7625398ACC9}"/>
              </c:ext>
            </c:extLst>
          </c:dPt>
          <c:dPt>
            <c:idx val="398"/>
            <c:invertIfNegative val="1"/>
            <c:bubble3D val="0"/>
            <c:spPr>
              <a:solidFill>
                <a:srgbClr val="AEABAB"/>
              </a:solidFill>
            </c:spPr>
            <c:extLst>
              <c:ext xmlns:c16="http://schemas.microsoft.com/office/drawing/2014/chart" uri="{C3380CC4-5D6E-409C-BE32-E72D297353CC}">
                <c16:uniqueId val="{0000031F-5AEB-451B-8193-C7625398ACC9}"/>
              </c:ext>
            </c:extLst>
          </c:dPt>
          <c:dPt>
            <c:idx val="399"/>
            <c:invertIfNegative val="1"/>
            <c:bubble3D val="0"/>
            <c:spPr>
              <a:solidFill>
                <a:srgbClr val="AEABAB"/>
              </a:solidFill>
            </c:spPr>
            <c:extLst>
              <c:ext xmlns:c16="http://schemas.microsoft.com/office/drawing/2014/chart" uri="{C3380CC4-5D6E-409C-BE32-E72D297353CC}">
                <c16:uniqueId val="{00000321-5AEB-451B-8193-C7625398ACC9}"/>
              </c:ext>
            </c:extLst>
          </c:dPt>
          <c:dPt>
            <c:idx val="400"/>
            <c:invertIfNegative val="1"/>
            <c:bubble3D val="0"/>
            <c:spPr>
              <a:solidFill>
                <a:srgbClr val="AEABAB"/>
              </a:solidFill>
            </c:spPr>
            <c:extLst>
              <c:ext xmlns:c16="http://schemas.microsoft.com/office/drawing/2014/chart" uri="{C3380CC4-5D6E-409C-BE32-E72D297353CC}">
                <c16:uniqueId val="{00000323-5AEB-451B-8193-C7625398ACC9}"/>
              </c:ext>
            </c:extLst>
          </c:dPt>
          <c:dPt>
            <c:idx val="401"/>
            <c:invertIfNegative val="1"/>
            <c:bubble3D val="0"/>
            <c:spPr>
              <a:solidFill>
                <a:srgbClr val="AEABAB"/>
              </a:solidFill>
            </c:spPr>
            <c:extLst>
              <c:ext xmlns:c16="http://schemas.microsoft.com/office/drawing/2014/chart" uri="{C3380CC4-5D6E-409C-BE32-E72D297353CC}">
                <c16:uniqueId val="{00000325-5AEB-451B-8193-C7625398ACC9}"/>
              </c:ext>
            </c:extLst>
          </c:dPt>
          <c:dPt>
            <c:idx val="402"/>
            <c:invertIfNegative val="1"/>
            <c:bubble3D val="0"/>
            <c:spPr>
              <a:solidFill>
                <a:srgbClr val="AEABAB"/>
              </a:solidFill>
            </c:spPr>
            <c:extLst>
              <c:ext xmlns:c16="http://schemas.microsoft.com/office/drawing/2014/chart" uri="{C3380CC4-5D6E-409C-BE32-E72D297353CC}">
                <c16:uniqueId val="{00000327-5AEB-451B-8193-C7625398ACC9}"/>
              </c:ext>
            </c:extLst>
          </c:dPt>
          <c:dPt>
            <c:idx val="403"/>
            <c:invertIfNegative val="1"/>
            <c:bubble3D val="0"/>
            <c:spPr>
              <a:solidFill>
                <a:srgbClr val="AEABAB"/>
              </a:solidFill>
            </c:spPr>
            <c:extLst>
              <c:ext xmlns:c16="http://schemas.microsoft.com/office/drawing/2014/chart" uri="{C3380CC4-5D6E-409C-BE32-E72D297353CC}">
                <c16:uniqueId val="{00000329-5AEB-451B-8193-C7625398ACC9}"/>
              </c:ext>
            </c:extLst>
          </c:dPt>
          <c:dPt>
            <c:idx val="404"/>
            <c:invertIfNegative val="1"/>
            <c:bubble3D val="0"/>
            <c:spPr>
              <a:solidFill>
                <a:srgbClr val="AEABAB"/>
              </a:solidFill>
            </c:spPr>
            <c:extLst>
              <c:ext xmlns:c16="http://schemas.microsoft.com/office/drawing/2014/chart" uri="{C3380CC4-5D6E-409C-BE32-E72D297353CC}">
                <c16:uniqueId val="{0000032B-5AEB-451B-8193-C7625398ACC9}"/>
              </c:ext>
            </c:extLst>
          </c:dPt>
          <c:dPt>
            <c:idx val="405"/>
            <c:invertIfNegative val="1"/>
            <c:bubble3D val="0"/>
            <c:spPr>
              <a:solidFill>
                <a:srgbClr val="AEABAB"/>
              </a:solidFill>
            </c:spPr>
            <c:extLst>
              <c:ext xmlns:c16="http://schemas.microsoft.com/office/drawing/2014/chart" uri="{C3380CC4-5D6E-409C-BE32-E72D297353CC}">
                <c16:uniqueId val="{0000032D-5AEB-451B-8193-C7625398ACC9}"/>
              </c:ext>
            </c:extLst>
          </c:dPt>
          <c:dPt>
            <c:idx val="406"/>
            <c:invertIfNegative val="1"/>
            <c:bubble3D val="0"/>
            <c:spPr>
              <a:solidFill>
                <a:srgbClr val="AEABAB"/>
              </a:solidFill>
            </c:spPr>
            <c:extLst>
              <c:ext xmlns:c16="http://schemas.microsoft.com/office/drawing/2014/chart" uri="{C3380CC4-5D6E-409C-BE32-E72D297353CC}">
                <c16:uniqueId val="{0000032F-5AEB-451B-8193-C7625398ACC9}"/>
              </c:ext>
            </c:extLst>
          </c:dPt>
          <c:dPt>
            <c:idx val="407"/>
            <c:invertIfNegative val="1"/>
            <c:bubble3D val="0"/>
            <c:spPr>
              <a:solidFill>
                <a:srgbClr val="AEABAB"/>
              </a:solidFill>
            </c:spPr>
            <c:extLst>
              <c:ext xmlns:c16="http://schemas.microsoft.com/office/drawing/2014/chart" uri="{C3380CC4-5D6E-409C-BE32-E72D297353CC}">
                <c16:uniqueId val="{00000331-5AEB-451B-8193-C7625398ACC9}"/>
              </c:ext>
            </c:extLst>
          </c:dPt>
          <c:dPt>
            <c:idx val="408"/>
            <c:invertIfNegative val="1"/>
            <c:bubble3D val="0"/>
            <c:spPr>
              <a:solidFill>
                <a:srgbClr val="AEABAB"/>
              </a:solidFill>
            </c:spPr>
            <c:extLst>
              <c:ext xmlns:c16="http://schemas.microsoft.com/office/drawing/2014/chart" uri="{C3380CC4-5D6E-409C-BE32-E72D297353CC}">
                <c16:uniqueId val="{00000333-5AEB-451B-8193-C7625398ACC9}"/>
              </c:ext>
            </c:extLst>
          </c:dPt>
          <c:dPt>
            <c:idx val="409"/>
            <c:invertIfNegative val="1"/>
            <c:bubble3D val="0"/>
            <c:spPr>
              <a:solidFill>
                <a:srgbClr val="AEABAB"/>
              </a:solidFill>
            </c:spPr>
            <c:extLst>
              <c:ext xmlns:c16="http://schemas.microsoft.com/office/drawing/2014/chart" uri="{C3380CC4-5D6E-409C-BE32-E72D297353CC}">
                <c16:uniqueId val="{00000335-5AEB-451B-8193-C7625398ACC9}"/>
              </c:ext>
            </c:extLst>
          </c:dPt>
          <c:dPt>
            <c:idx val="410"/>
            <c:invertIfNegative val="1"/>
            <c:bubble3D val="0"/>
            <c:spPr>
              <a:solidFill>
                <a:srgbClr val="AEABAB"/>
              </a:solidFill>
            </c:spPr>
            <c:extLst>
              <c:ext xmlns:c16="http://schemas.microsoft.com/office/drawing/2014/chart" uri="{C3380CC4-5D6E-409C-BE32-E72D297353CC}">
                <c16:uniqueId val="{00000337-5AEB-451B-8193-C7625398ACC9}"/>
              </c:ext>
            </c:extLst>
          </c:dPt>
          <c:dPt>
            <c:idx val="411"/>
            <c:invertIfNegative val="1"/>
            <c:bubble3D val="0"/>
            <c:spPr>
              <a:solidFill>
                <a:srgbClr val="AEABAB"/>
              </a:solidFill>
            </c:spPr>
            <c:extLst>
              <c:ext xmlns:c16="http://schemas.microsoft.com/office/drawing/2014/chart" uri="{C3380CC4-5D6E-409C-BE32-E72D297353CC}">
                <c16:uniqueId val="{00000339-5AEB-451B-8193-C7625398ACC9}"/>
              </c:ext>
            </c:extLst>
          </c:dPt>
          <c:dPt>
            <c:idx val="412"/>
            <c:invertIfNegative val="1"/>
            <c:bubble3D val="0"/>
            <c:spPr>
              <a:solidFill>
                <a:srgbClr val="AEABAB"/>
              </a:solidFill>
            </c:spPr>
            <c:extLst>
              <c:ext xmlns:c16="http://schemas.microsoft.com/office/drawing/2014/chart" uri="{C3380CC4-5D6E-409C-BE32-E72D297353CC}">
                <c16:uniqueId val="{0000033B-5AEB-451B-8193-C7625398ACC9}"/>
              </c:ext>
            </c:extLst>
          </c:dPt>
          <c:dPt>
            <c:idx val="413"/>
            <c:invertIfNegative val="1"/>
            <c:bubble3D val="0"/>
            <c:spPr>
              <a:solidFill>
                <a:srgbClr val="AEABAB"/>
              </a:solidFill>
            </c:spPr>
            <c:extLst>
              <c:ext xmlns:c16="http://schemas.microsoft.com/office/drawing/2014/chart" uri="{C3380CC4-5D6E-409C-BE32-E72D297353CC}">
                <c16:uniqueId val="{0000033D-5AEB-451B-8193-C7625398ACC9}"/>
              </c:ext>
            </c:extLst>
          </c:dPt>
          <c:dPt>
            <c:idx val="414"/>
            <c:invertIfNegative val="1"/>
            <c:bubble3D val="0"/>
            <c:spPr>
              <a:solidFill>
                <a:srgbClr val="AEABAB"/>
              </a:solidFill>
            </c:spPr>
            <c:extLst>
              <c:ext xmlns:c16="http://schemas.microsoft.com/office/drawing/2014/chart" uri="{C3380CC4-5D6E-409C-BE32-E72D297353CC}">
                <c16:uniqueId val="{0000033F-5AEB-451B-8193-C7625398ACC9}"/>
              </c:ext>
            </c:extLst>
          </c:dPt>
          <c:dPt>
            <c:idx val="415"/>
            <c:invertIfNegative val="1"/>
            <c:bubble3D val="0"/>
            <c:spPr>
              <a:solidFill>
                <a:srgbClr val="AEABAB"/>
              </a:solidFill>
            </c:spPr>
            <c:extLst>
              <c:ext xmlns:c16="http://schemas.microsoft.com/office/drawing/2014/chart" uri="{C3380CC4-5D6E-409C-BE32-E72D297353CC}">
                <c16:uniqueId val="{00000341-5AEB-451B-8193-C7625398ACC9}"/>
              </c:ext>
            </c:extLst>
          </c:dPt>
          <c:dPt>
            <c:idx val="416"/>
            <c:invertIfNegative val="1"/>
            <c:bubble3D val="0"/>
            <c:spPr>
              <a:solidFill>
                <a:srgbClr val="AEABAB"/>
              </a:solidFill>
            </c:spPr>
            <c:extLst>
              <c:ext xmlns:c16="http://schemas.microsoft.com/office/drawing/2014/chart" uri="{C3380CC4-5D6E-409C-BE32-E72D297353CC}">
                <c16:uniqueId val="{00000343-5AEB-451B-8193-C7625398ACC9}"/>
              </c:ext>
            </c:extLst>
          </c:dPt>
          <c:dPt>
            <c:idx val="417"/>
            <c:invertIfNegative val="1"/>
            <c:bubble3D val="0"/>
            <c:spPr>
              <a:solidFill>
                <a:srgbClr val="AEABAB"/>
              </a:solidFill>
            </c:spPr>
            <c:extLst>
              <c:ext xmlns:c16="http://schemas.microsoft.com/office/drawing/2014/chart" uri="{C3380CC4-5D6E-409C-BE32-E72D297353CC}">
                <c16:uniqueId val="{00000345-5AEB-451B-8193-C7625398ACC9}"/>
              </c:ext>
            </c:extLst>
          </c:dPt>
          <c:dPt>
            <c:idx val="418"/>
            <c:invertIfNegative val="1"/>
            <c:bubble3D val="0"/>
            <c:spPr>
              <a:solidFill>
                <a:srgbClr val="AEABAB"/>
              </a:solidFill>
            </c:spPr>
            <c:extLst>
              <c:ext xmlns:c16="http://schemas.microsoft.com/office/drawing/2014/chart" uri="{C3380CC4-5D6E-409C-BE32-E72D297353CC}">
                <c16:uniqueId val="{00000347-5AEB-451B-8193-C7625398ACC9}"/>
              </c:ext>
            </c:extLst>
          </c:dPt>
          <c:dPt>
            <c:idx val="419"/>
            <c:invertIfNegative val="1"/>
            <c:bubble3D val="0"/>
            <c:spPr>
              <a:solidFill>
                <a:srgbClr val="AEABAB"/>
              </a:solidFill>
            </c:spPr>
            <c:extLst>
              <c:ext xmlns:c16="http://schemas.microsoft.com/office/drawing/2014/chart" uri="{C3380CC4-5D6E-409C-BE32-E72D297353CC}">
                <c16:uniqueId val="{00000349-5AEB-451B-8193-C7625398ACC9}"/>
              </c:ext>
            </c:extLst>
          </c:dPt>
          <c:dPt>
            <c:idx val="420"/>
            <c:invertIfNegative val="1"/>
            <c:bubble3D val="0"/>
            <c:spPr>
              <a:solidFill>
                <a:srgbClr val="AEABAB"/>
              </a:solidFill>
            </c:spPr>
            <c:extLst>
              <c:ext xmlns:c16="http://schemas.microsoft.com/office/drawing/2014/chart" uri="{C3380CC4-5D6E-409C-BE32-E72D297353CC}">
                <c16:uniqueId val="{0000034B-5AEB-451B-8193-C7625398ACC9}"/>
              </c:ext>
            </c:extLst>
          </c:dPt>
          <c:dPt>
            <c:idx val="421"/>
            <c:invertIfNegative val="1"/>
            <c:bubble3D val="0"/>
            <c:spPr>
              <a:solidFill>
                <a:srgbClr val="AEABAB"/>
              </a:solidFill>
            </c:spPr>
            <c:extLst>
              <c:ext xmlns:c16="http://schemas.microsoft.com/office/drawing/2014/chart" uri="{C3380CC4-5D6E-409C-BE32-E72D297353CC}">
                <c16:uniqueId val="{0000034D-5AEB-451B-8193-C7625398ACC9}"/>
              </c:ext>
            </c:extLst>
          </c:dPt>
          <c:dPt>
            <c:idx val="422"/>
            <c:invertIfNegative val="1"/>
            <c:bubble3D val="0"/>
            <c:spPr>
              <a:solidFill>
                <a:srgbClr val="AEABAB"/>
              </a:solidFill>
            </c:spPr>
            <c:extLst>
              <c:ext xmlns:c16="http://schemas.microsoft.com/office/drawing/2014/chart" uri="{C3380CC4-5D6E-409C-BE32-E72D297353CC}">
                <c16:uniqueId val="{0000034F-5AEB-451B-8193-C7625398ACC9}"/>
              </c:ext>
            </c:extLst>
          </c:dPt>
          <c:dPt>
            <c:idx val="423"/>
            <c:invertIfNegative val="1"/>
            <c:bubble3D val="0"/>
            <c:spPr>
              <a:solidFill>
                <a:srgbClr val="AEABAB"/>
              </a:solidFill>
            </c:spPr>
            <c:extLst>
              <c:ext xmlns:c16="http://schemas.microsoft.com/office/drawing/2014/chart" uri="{C3380CC4-5D6E-409C-BE32-E72D297353CC}">
                <c16:uniqueId val="{00000351-5AEB-451B-8193-C7625398ACC9}"/>
              </c:ext>
            </c:extLst>
          </c:dPt>
          <c:dPt>
            <c:idx val="424"/>
            <c:invertIfNegative val="1"/>
            <c:bubble3D val="0"/>
            <c:spPr>
              <a:solidFill>
                <a:srgbClr val="AEABAB"/>
              </a:solidFill>
            </c:spPr>
            <c:extLst>
              <c:ext xmlns:c16="http://schemas.microsoft.com/office/drawing/2014/chart" uri="{C3380CC4-5D6E-409C-BE32-E72D297353CC}">
                <c16:uniqueId val="{00000353-5AEB-451B-8193-C7625398ACC9}"/>
              </c:ext>
            </c:extLst>
          </c:dPt>
          <c:dPt>
            <c:idx val="425"/>
            <c:invertIfNegative val="1"/>
            <c:bubble3D val="0"/>
            <c:spPr>
              <a:solidFill>
                <a:srgbClr val="AEABAB"/>
              </a:solidFill>
            </c:spPr>
            <c:extLst>
              <c:ext xmlns:c16="http://schemas.microsoft.com/office/drawing/2014/chart" uri="{C3380CC4-5D6E-409C-BE32-E72D297353CC}">
                <c16:uniqueId val="{00000355-5AEB-451B-8193-C7625398ACC9}"/>
              </c:ext>
            </c:extLst>
          </c:dPt>
          <c:dPt>
            <c:idx val="426"/>
            <c:invertIfNegative val="1"/>
            <c:bubble3D val="0"/>
            <c:spPr>
              <a:solidFill>
                <a:srgbClr val="AEABAB"/>
              </a:solidFill>
            </c:spPr>
            <c:extLst>
              <c:ext xmlns:c16="http://schemas.microsoft.com/office/drawing/2014/chart" uri="{C3380CC4-5D6E-409C-BE32-E72D297353CC}">
                <c16:uniqueId val="{00000357-5AEB-451B-8193-C7625398ACC9}"/>
              </c:ext>
            </c:extLst>
          </c:dPt>
          <c:dPt>
            <c:idx val="427"/>
            <c:invertIfNegative val="1"/>
            <c:bubble3D val="0"/>
            <c:spPr>
              <a:solidFill>
                <a:srgbClr val="AEABAB"/>
              </a:solidFill>
            </c:spPr>
            <c:extLst>
              <c:ext xmlns:c16="http://schemas.microsoft.com/office/drawing/2014/chart" uri="{C3380CC4-5D6E-409C-BE32-E72D297353CC}">
                <c16:uniqueId val="{00000359-5AEB-451B-8193-C7625398ACC9}"/>
              </c:ext>
            </c:extLst>
          </c:dPt>
          <c:dPt>
            <c:idx val="428"/>
            <c:invertIfNegative val="1"/>
            <c:bubble3D val="0"/>
            <c:spPr>
              <a:solidFill>
                <a:srgbClr val="AEABAB"/>
              </a:solidFill>
            </c:spPr>
            <c:extLst>
              <c:ext xmlns:c16="http://schemas.microsoft.com/office/drawing/2014/chart" uri="{C3380CC4-5D6E-409C-BE32-E72D297353CC}">
                <c16:uniqueId val="{0000035B-5AEB-451B-8193-C7625398ACC9}"/>
              </c:ext>
            </c:extLst>
          </c:dPt>
          <c:dPt>
            <c:idx val="429"/>
            <c:invertIfNegative val="1"/>
            <c:bubble3D val="0"/>
            <c:spPr>
              <a:solidFill>
                <a:srgbClr val="AEABAB"/>
              </a:solidFill>
            </c:spPr>
            <c:extLst>
              <c:ext xmlns:c16="http://schemas.microsoft.com/office/drawing/2014/chart" uri="{C3380CC4-5D6E-409C-BE32-E72D297353CC}">
                <c16:uniqueId val="{0000035D-5AEB-451B-8193-C7625398ACC9}"/>
              </c:ext>
            </c:extLst>
          </c:dPt>
          <c:dPt>
            <c:idx val="430"/>
            <c:invertIfNegative val="1"/>
            <c:bubble3D val="0"/>
            <c:spPr>
              <a:solidFill>
                <a:srgbClr val="AEABAB"/>
              </a:solidFill>
            </c:spPr>
            <c:extLst>
              <c:ext xmlns:c16="http://schemas.microsoft.com/office/drawing/2014/chart" uri="{C3380CC4-5D6E-409C-BE32-E72D297353CC}">
                <c16:uniqueId val="{0000035F-5AEB-451B-8193-C7625398ACC9}"/>
              </c:ext>
            </c:extLst>
          </c:dPt>
          <c:dPt>
            <c:idx val="431"/>
            <c:invertIfNegative val="1"/>
            <c:bubble3D val="0"/>
            <c:spPr>
              <a:solidFill>
                <a:srgbClr val="AEABAB"/>
              </a:solidFill>
            </c:spPr>
            <c:extLst>
              <c:ext xmlns:c16="http://schemas.microsoft.com/office/drawing/2014/chart" uri="{C3380CC4-5D6E-409C-BE32-E72D297353CC}">
                <c16:uniqueId val="{00000361-5AEB-451B-8193-C7625398ACC9}"/>
              </c:ext>
            </c:extLst>
          </c:dPt>
          <c:dPt>
            <c:idx val="432"/>
            <c:invertIfNegative val="1"/>
            <c:bubble3D val="0"/>
            <c:spPr>
              <a:solidFill>
                <a:srgbClr val="AEABAB"/>
              </a:solidFill>
            </c:spPr>
            <c:extLst>
              <c:ext xmlns:c16="http://schemas.microsoft.com/office/drawing/2014/chart" uri="{C3380CC4-5D6E-409C-BE32-E72D297353CC}">
                <c16:uniqueId val="{00000363-5AEB-451B-8193-C7625398ACC9}"/>
              </c:ext>
            </c:extLst>
          </c:dPt>
          <c:dPt>
            <c:idx val="433"/>
            <c:invertIfNegative val="1"/>
            <c:bubble3D val="0"/>
            <c:spPr>
              <a:solidFill>
                <a:srgbClr val="AEABAB"/>
              </a:solidFill>
            </c:spPr>
            <c:extLst>
              <c:ext xmlns:c16="http://schemas.microsoft.com/office/drawing/2014/chart" uri="{C3380CC4-5D6E-409C-BE32-E72D297353CC}">
                <c16:uniqueId val="{00000365-5AEB-451B-8193-C7625398ACC9}"/>
              </c:ext>
            </c:extLst>
          </c:dPt>
          <c:dPt>
            <c:idx val="434"/>
            <c:invertIfNegative val="1"/>
            <c:bubble3D val="0"/>
            <c:spPr>
              <a:solidFill>
                <a:srgbClr val="AEABAB"/>
              </a:solidFill>
            </c:spPr>
            <c:extLst>
              <c:ext xmlns:c16="http://schemas.microsoft.com/office/drawing/2014/chart" uri="{C3380CC4-5D6E-409C-BE32-E72D297353CC}">
                <c16:uniqueId val="{00000367-5AEB-451B-8193-C7625398ACC9}"/>
              </c:ext>
            </c:extLst>
          </c:dPt>
          <c:dPt>
            <c:idx val="435"/>
            <c:invertIfNegative val="1"/>
            <c:bubble3D val="0"/>
            <c:spPr>
              <a:solidFill>
                <a:srgbClr val="AEABAB"/>
              </a:solidFill>
            </c:spPr>
            <c:extLst>
              <c:ext xmlns:c16="http://schemas.microsoft.com/office/drawing/2014/chart" uri="{C3380CC4-5D6E-409C-BE32-E72D297353CC}">
                <c16:uniqueId val="{00000369-5AEB-451B-8193-C7625398ACC9}"/>
              </c:ext>
            </c:extLst>
          </c:dPt>
          <c:dPt>
            <c:idx val="436"/>
            <c:invertIfNegative val="1"/>
            <c:bubble3D val="0"/>
            <c:spPr>
              <a:solidFill>
                <a:srgbClr val="AEABAB"/>
              </a:solidFill>
            </c:spPr>
            <c:extLst>
              <c:ext xmlns:c16="http://schemas.microsoft.com/office/drawing/2014/chart" uri="{C3380CC4-5D6E-409C-BE32-E72D297353CC}">
                <c16:uniqueId val="{0000036B-5AEB-451B-8193-C7625398ACC9}"/>
              </c:ext>
            </c:extLst>
          </c:dPt>
          <c:dPt>
            <c:idx val="437"/>
            <c:invertIfNegative val="1"/>
            <c:bubble3D val="0"/>
            <c:spPr>
              <a:solidFill>
                <a:srgbClr val="AEABAB"/>
              </a:solidFill>
            </c:spPr>
            <c:extLst>
              <c:ext xmlns:c16="http://schemas.microsoft.com/office/drawing/2014/chart" uri="{C3380CC4-5D6E-409C-BE32-E72D297353CC}">
                <c16:uniqueId val="{0000036D-5AEB-451B-8193-C7625398ACC9}"/>
              </c:ext>
            </c:extLst>
          </c:dPt>
          <c:dPt>
            <c:idx val="438"/>
            <c:invertIfNegative val="1"/>
            <c:bubble3D val="0"/>
            <c:spPr>
              <a:solidFill>
                <a:srgbClr val="AEABAB"/>
              </a:solidFill>
            </c:spPr>
            <c:extLst>
              <c:ext xmlns:c16="http://schemas.microsoft.com/office/drawing/2014/chart" uri="{C3380CC4-5D6E-409C-BE32-E72D297353CC}">
                <c16:uniqueId val="{0000036F-5AEB-451B-8193-C7625398ACC9}"/>
              </c:ext>
            </c:extLst>
          </c:dPt>
          <c:dPt>
            <c:idx val="439"/>
            <c:invertIfNegative val="1"/>
            <c:bubble3D val="0"/>
            <c:spPr>
              <a:solidFill>
                <a:srgbClr val="AEABAB"/>
              </a:solidFill>
            </c:spPr>
            <c:extLst>
              <c:ext xmlns:c16="http://schemas.microsoft.com/office/drawing/2014/chart" uri="{C3380CC4-5D6E-409C-BE32-E72D297353CC}">
                <c16:uniqueId val="{00000371-5AEB-451B-8193-C7625398ACC9}"/>
              </c:ext>
            </c:extLst>
          </c:dPt>
          <c:dPt>
            <c:idx val="440"/>
            <c:invertIfNegative val="1"/>
            <c:bubble3D val="0"/>
            <c:spPr>
              <a:solidFill>
                <a:srgbClr val="AEABAB"/>
              </a:solidFill>
            </c:spPr>
            <c:extLst>
              <c:ext xmlns:c16="http://schemas.microsoft.com/office/drawing/2014/chart" uri="{C3380CC4-5D6E-409C-BE32-E72D297353CC}">
                <c16:uniqueId val="{00000373-5AEB-451B-8193-C7625398ACC9}"/>
              </c:ext>
            </c:extLst>
          </c:dPt>
          <c:dPt>
            <c:idx val="441"/>
            <c:invertIfNegative val="1"/>
            <c:bubble3D val="0"/>
            <c:spPr>
              <a:solidFill>
                <a:srgbClr val="AEABAB"/>
              </a:solidFill>
            </c:spPr>
            <c:extLst>
              <c:ext xmlns:c16="http://schemas.microsoft.com/office/drawing/2014/chart" uri="{C3380CC4-5D6E-409C-BE32-E72D297353CC}">
                <c16:uniqueId val="{00000375-5AEB-451B-8193-C7625398ACC9}"/>
              </c:ext>
            </c:extLst>
          </c:dPt>
          <c:dPt>
            <c:idx val="442"/>
            <c:invertIfNegative val="1"/>
            <c:bubble3D val="0"/>
            <c:spPr>
              <a:solidFill>
                <a:srgbClr val="AEABAB"/>
              </a:solidFill>
            </c:spPr>
            <c:extLst>
              <c:ext xmlns:c16="http://schemas.microsoft.com/office/drawing/2014/chart" uri="{C3380CC4-5D6E-409C-BE32-E72D297353CC}">
                <c16:uniqueId val="{00000377-5AEB-451B-8193-C7625398ACC9}"/>
              </c:ext>
            </c:extLst>
          </c:dPt>
          <c:dPt>
            <c:idx val="443"/>
            <c:invertIfNegative val="1"/>
            <c:bubble3D val="0"/>
            <c:spPr>
              <a:solidFill>
                <a:srgbClr val="AEABAB"/>
              </a:solidFill>
            </c:spPr>
            <c:extLst>
              <c:ext xmlns:c16="http://schemas.microsoft.com/office/drawing/2014/chart" uri="{C3380CC4-5D6E-409C-BE32-E72D297353CC}">
                <c16:uniqueId val="{00000379-5AEB-451B-8193-C7625398ACC9}"/>
              </c:ext>
            </c:extLst>
          </c:dPt>
          <c:dPt>
            <c:idx val="444"/>
            <c:invertIfNegative val="1"/>
            <c:bubble3D val="0"/>
            <c:spPr>
              <a:solidFill>
                <a:srgbClr val="AEABAB"/>
              </a:solidFill>
            </c:spPr>
            <c:extLst>
              <c:ext xmlns:c16="http://schemas.microsoft.com/office/drawing/2014/chart" uri="{C3380CC4-5D6E-409C-BE32-E72D297353CC}">
                <c16:uniqueId val="{0000037B-5AEB-451B-8193-C7625398ACC9}"/>
              </c:ext>
            </c:extLst>
          </c:dPt>
          <c:dPt>
            <c:idx val="445"/>
            <c:invertIfNegative val="1"/>
            <c:bubble3D val="0"/>
            <c:spPr>
              <a:solidFill>
                <a:srgbClr val="AEABAB"/>
              </a:solidFill>
            </c:spPr>
            <c:extLst>
              <c:ext xmlns:c16="http://schemas.microsoft.com/office/drawing/2014/chart" uri="{C3380CC4-5D6E-409C-BE32-E72D297353CC}">
                <c16:uniqueId val="{0000037D-5AEB-451B-8193-C7625398ACC9}"/>
              </c:ext>
            </c:extLst>
          </c:dPt>
          <c:dPt>
            <c:idx val="446"/>
            <c:invertIfNegative val="1"/>
            <c:bubble3D val="0"/>
            <c:spPr>
              <a:solidFill>
                <a:srgbClr val="AEABAB"/>
              </a:solidFill>
            </c:spPr>
            <c:extLst>
              <c:ext xmlns:c16="http://schemas.microsoft.com/office/drawing/2014/chart" uri="{C3380CC4-5D6E-409C-BE32-E72D297353CC}">
                <c16:uniqueId val="{0000037F-5AEB-451B-8193-C7625398ACC9}"/>
              </c:ext>
            </c:extLst>
          </c:dPt>
          <c:dPt>
            <c:idx val="447"/>
            <c:invertIfNegative val="1"/>
            <c:bubble3D val="0"/>
            <c:spPr>
              <a:solidFill>
                <a:srgbClr val="AEABAB"/>
              </a:solidFill>
            </c:spPr>
            <c:extLst>
              <c:ext xmlns:c16="http://schemas.microsoft.com/office/drawing/2014/chart" uri="{C3380CC4-5D6E-409C-BE32-E72D297353CC}">
                <c16:uniqueId val="{00000381-5AEB-451B-8193-C7625398ACC9}"/>
              </c:ext>
            </c:extLst>
          </c:dPt>
          <c:dPt>
            <c:idx val="448"/>
            <c:invertIfNegative val="1"/>
            <c:bubble3D val="0"/>
            <c:spPr>
              <a:solidFill>
                <a:srgbClr val="AEABAB"/>
              </a:solidFill>
            </c:spPr>
            <c:extLst>
              <c:ext xmlns:c16="http://schemas.microsoft.com/office/drawing/2014/chart" uri="{C3380CC4-5D6E-409C-BE32-E72D297353CC}">
                <c16:uniqueId val="{00000383-5AEB-451B-8193-C7625398ACC9}"/>
              </c:ext>
            </c:extLst>
          </c:dPt>
          <c:dPt>
            <c:idx val="449"/>
            <c:invertIfNegative val="1"/>
            <c:bubble3D val="0"/>
            <c:spPr>
              <a:solidFill>
                <a:srgbClr val="AEABAB"/>
              </a:solidFill>
            </c:spPr>
            <c:extLst>
              <c:ext xmlns:c16="http://schemas.microsoft.com/office/drawing/2014/chart" uri="{C3380CC4-5D6E-409C-BE32-E72D297353CC}">
                <c16:uniqueId val="{00000385-5AEB-451B-8193-C7625398ACC9}"/>
              </c:ext>
            </c:extLst>
          </c:dPt>
          <c:dPt>
            <c:idx val="450"/>
            <c:invertIfNegative val="1"/>
            <c:bubble3D val="0"/>
            <c:spPr>
              <a:solidFill>
                <a:srgbClr val="AEABAB"/>
              </a:solidFill>
            </c:spPr>
            <c:extLst>
              <c:ext xmlns:c16="http://schemas.microsoft.com/office/drawing/2014/chart" uri="{C3380CC4-5D6E-409C-BE32-E72D297353CC}">
                <c16:uniqueId val="{00000387-5AEB-451B-8193-C7625398ACC9}"/>
              </c:ext>
            </c:extLst>
          </c:dPt>
          <c:dPt>
            <c:idx val="451"/>
            <c:invertIfNegative val="1"/>
            <c:bubble3D val="0"/>
            <c:spPr>
              <a:solidFill>
                <a:srgbClr val="AEABAB"/>
              </a:solidFill>
            </c:spPr>
            <c:extLst>
              <c:ext xmlns:c16="http://schemas.microsoft.com/office/drawing/2014/chart" uri="{C3380CC4-5D6E-409C-BE32-E72D297353CC}">
                <c16:uniqueId val="{00000389-5AEB-451B-8193-C7625398ACC9}"/>
              </c:ext>
            </c:extLst>
          </c:dPt>
          <c:dPt>
            <c:idx val="452"/>
            <c:invertIfNegative val="1"/>
            <c:bubble3D val="0"/>
            <c:spPr>
              <a:solidFill>
                <a:srgbClr val="AEABAB"/>
              </a:solidFill>
            </c:spPr>
            <c:extLst>
              <c:ext xmlns:c16="http://schemas.microsoft.com/office/drawing/2014/chart" uri="{C3380CC4-5D6E-409C-BE32-E72D297353CC}">
                <c16:uniqueId val="{0000038B-5AEB-451B-8193-C7625398ACC9}"/>
              </c:ext>
            </c:extLst>
          </c:dPt>
          <c:cat>
            <c:strRef>
              <c:f>Sheet1!$A$2:$A$454</c:f>
              <c:strCache>
                <c:ptCount val="453"/>
                <c:pt idx="0">
                  <c:v>Ruinart</c:v>
                </c:pt>
                <c:pt idx="1">
                  <c:v>Nicolas</c:v>
                </c:pt>
                <c:pt idx="2">
                  <c:v>Deutz</c:v>
                </c:pt>
                <c:pt idx="3">
                  <c:v>Ruinart</c:v>
                </c:pt>
                <c:pt idx="4">
                  <c:v>Heidsieck &amp;</c:v>
                </c:pt>
                <c:pt idx="5">
                  <c:v>Malard</c:v>
                </c:pt>
                <c:pt idx="6">
                  <c:v>Laurent Per</c:v>
                </c:pt>
                <c:pt idx="7">
                  <c:v>Ayala</c:v>
                </c:pt>
                <c:pt idx="8">
                  <c:v>De Bligny</c:v>
                </c:pt>
                <c:pt idx="9">
                  <c:v>Nicolas Feu</c:v>
                </c:pt>
                <c:pt idx="10">
                  <c:v>Ruinart</c:v>
                </c:pt>
                <c:pt idx="11">
                  <c:v>Canard Duch</c:v>
                </c:pt>
                <c:pt idx="12">
                  <c:v>Taittinger</c:v>
                </c:pt>
                <c:pt idx="13">
                  <c:v>Ruinart</c:v>
                </c:pt>
                <c:pt idx="14">
                  <c:v>Bollinger</c:v>
                </c:pt>
                <c:pt idx="15">
                  <c:v>Besserat De</c:v>
                </c:pt>
                <c:pt idx="16">
                  <c:v>Demoiselle</c:v>
                </c:pt>
                <c:pt idx="17">
                  <c:v>Perrier Jou</c:v>
                </c:pt>
                <c:pt idx="18">
                  <c:v>Ruinart</c:v>
                </c:pt>
                <c:pt idx="19">
                  <c:v>Deutz</c:v>
                </c:pt>
                <c:pt idx="20">
                  <c:v>Ruinart</c:v>
                </c:pt>
                <c:pt idx="21">
                  <c:v>All Others</c:v>
                </c:pt>
                <c:pt idx="22">
                  <c:v>Laurent Per</c:v>
                </c:pt>
                <c:pt idx="23">
                  <c:v>Roederer</c:v>
                </c:pt>
                <c:pt idx="24">
                  <c:v>Pommery</c:v>
                </c:pt>
                <c:pt idx="25">
                  <c:v>Vesselle</c:v>
                </c:pt>
                <c:pt idx="26">
                  <c:v>Campari: Al</c:v>
                </c:pt>
                <c:pt idx="27">
                  <c:v>Dom Perigno</c:v>
                </c:pt>
                <c:pt idx="28">
                  <c:v>Deutz</c:v>
                </c:pt>
                <c:pt idx="29">
                  <c:v>Ruinart</c:v>
                </c:pt>
                <c:pt idx="30">
                  <c:v>Savian</c:v>
                </c:pt>
                <c:pt idx="31">
                  <c:v>Moët &amp; Chan</c:v>
                </c:pt>
                <c:pt idx="32">
                  <c:v>Dom Perigno</c:v>
                </c:pt>
                <c:pt idx="33">
                  <c:v>Malard</c:v>
                </c:pt>
                <c:pt idx="34">
                  <c:v>All Others</c:v>
                </c:pt>
                <c:pt idx="35">
                  <c:v>Veuve Clicq</c:v>
                </c:pt>
                <c:pt idx="36">
                  <c:v>Taittinger</c:v>
                </c:pt>
                <c:pt idx="37">
                  <c:v>Demoiselle</c:v>
                </c:pt>
                <c:pt idx="38">
                  <c:v>Veuve Clicq</c:v>
                </c:pt>
                <c:pt idx="39">
                  <c:v>Laurent Per</c:v>
                </c:pt>
                <c:pt idx="40">
                  <c:v>Nicolas</c:v>
                </c:pt>
                <c:pt idx="41">
                  <c:v>Henriot</c:v>
                </c:pt>
                <c:pt idx="42">
                  <c:v>Ruinart</c:v>
                </c:pt>
                <c:pt idx="43">
                  <c:v>Roederer</c:v>
                </c:pt>
                <c:pt idx="44">
                  <c:v>Veuve Clicq</c:v>
                </c:pt>
                <c:pt idx="45">
                  <c:v>Malard</c:v>
                </c:pt>
                <c:pt idx="46">
                  <c:v>All Others</c:v>
                </c:pt>
                <c:pt idx="47">
                  <c:v>Besserat De</c:v>
                </c:pt>
                <c:pt idx="48">
                  <c:v>De Venoge</c:v>
                </c:pt>
                <c:pt idx="49">
                  <c:v>Nicolas</c:v>
                </c:pt>
                <c:pt idx="50">
                  <c:v>Ruinart</c:v>
                </c:pt>
                <c:pt idx="51">
                  <c:v>Deutz</c:v>
                </c:pt>
                <c:pt idx="52">
                  <c:v>Piper Heids</c:v>
                </c:pt>
                <c:pt idx="53">
                  <c:v>Nicolas Feu</c:v>
                </c:pt>
                <c:pt idx="54">
                  <c:v>Louis Marti</c:v>
                </c:pt>
                <c:pt idx="55">
                  <c:v>Moët &amp; Chan</c:v>
                </c:pt>
                <c:pt idx="56">
                  <c:v>Nicolas</c:v>
                </c:pt>
                <c:pt idx="57">
                  <c:v>Moët &amp; Chan</c:v>
                </c:pt>
                <c:pt idx="58">
                  <c:v>Nicolas Feu</c:v>
                </c:pt>
                <c:pt idx="59">
                  <c:v>Ruinart</c:v>
                </c:pt>
                <c:pt idx="60">
                  <c:v>Lanson</c:v>
                </c:pt>
                <c:pt idx="61">
                  <c:v>Campari: Al</c:v>
                </c:pt>
                <c:pt idx="62">
                  <c:v>Nicolas Feu</c:v>
                </c:pt>
                <c:pt idx="63">
                  <c:v>Roederer</c:v>
                </c:pt>
                <c:pt idx="64">
                  <c:v>Canard Duch</c:v>
                </c:pt>
                <c:pt idx="65">
                  <c:v>Bollinger</c:v>
                </c:pt>
                <c:pt idx="66">
                  <c:v>Malard</c:v>
                </c:pt>
                <c:pt idx="67">
                  <c:v>De Bligny</c:v>
                </c:pt>
                <c:pt idx="68">
                  <c:v>Malard</c:v>
                </c:pt>
                <c:pt idx="69">
                  <c:v>Krug</c:v>
                </c:pt>
                <c:pt idx="70">
                  <c:v>Delamotte</c:v>
                </c:pt>
                <c:pt idx="71">
                  <c:v>Henriot</c:v>
                </c:pt>
                <c:pt idx="72">
                  <c:v>Besserat De</c:v>
                </c:pt>
                <c:pt idx="73">
                  <c:v>Pommery</c:v>
                </c:pt>
                <c:pt idx="74">
                  <c:v>Laurent Per</c:v>
                </c:pt>
                <c:pt idx="75">
                  <c:v>Henriot</c:v>
                </c:pt>
                <c:pt idx="76">
                  <c:v>Ayala</c:v>
                </c:pt>
                <c:pt idx="77">
                  <c:v>Roederer</c:v>
                </c:pt>
                <c:pt idx="78">
                  <c:v>Vranken</c:v>
                </c:pt>
                <c:pt idx="79">
                  <c:v>Canard Duch</c:v>
                </c:pt>
                <c:pt idx="80">
                  <c:v>Ruinart</c:v>
                </c:pt>
                <c:pt idx="81">
                  <c:v>De Venoge</c:v>
                </c:pt>
                <c:pt idx="82">
                  <c:v>Perrier Jou</c:v>
                </c:pt>
                <c:pt idx="83">
                  <c:v>Roederer</c:v>
                </c:pt>
                <c:pt idx="84">
                  <c:v>Henriot</c:v>
                </c:pt>
                <c:pt idx="85">
                  <c:v>Dom Perigno</c:v>
                </c:pt>
                <c:pt idx="86">
                  <c:v>Roederer</c:v>
                </c:pt>
                <c:pt idx="87">
                  <c:v>Roederer</c:v>
                </c:pt>
                <c:pt idx="88">
                  <c:v>Dom Perigno</c:v>
                </c:pt>
                <c:pt idx="89">
                  <c:v>Ruinart</c:v>
                </c:pt>
                <c:pt idx="90">
                  <c:v>Ruinart</c:v>
                </c:pt>
                <c:pt idx="91">
                  <c:v>Nicolas</c:v>
                </c:pt>
                <c:pt idx="92">
                  <c:v>Ruinart</c:v>
                </c:pt>
                <c:pt idx="93">
                  <c:v>De Venoge</c:v>
                </c:pt>
                <c:pt idx="94">
                  <c:v>Malard</c:v>
                </c:pt>
                <c:pt idx="95">
                  <c:v>Bollinger</c:v>
                </c:pt>
                <c:pt idx="96">
                  <c:v>De Venoge</c:v>
                </c:pt>
                <c:pt idx="97">
                  <c:v>Nicolas</c:v>
                </c:pt>
                <c:pt idx="98">
                  <c:v>Roederer</c:v>
                </c:pt>
                <c:pt idx="99">
                  <c:v>Vranken</c:v>
                </c:pt>
                <c:pt idx="100">
                  <c:v>Deutz</c:v>
                </c:pt>
                <c:pt idx="101">
                  <c:v>Roederer</c:v>
                </c:pt>
                <c:pt idx="102">
                  <c:v>Deutz</c:v>
                </c:pt>
                <c:pt idx="103">
                  <c:v>Canard Duch</c:v>
                </c:pt>
                <c:pt idx="104">
                  <c:v>Ruinart</c:v>
                </c:pt>
                <c:pt idx="105">
                  <c:v>Canard Duch</c:v>
                </c:pt>
                <c:pt idx="106">
                  <c:v>Veuve Clicq</c:v>
                </c:pt>
                <c:pt idx="107">
                  <c:v>Roederer</c:v>
                </c:pt>
                <c:pt idx="108">
                  <c:v>Laurent Per</c:v>
                </c:pt>
                <c:pt idx="109">
                  <c:v>Moët &amp; Chan</c:v>
                </c:pt>
                <c:pt idx="110">
                  <c:v>All Others</c:v>
                </c:pt>
                <c:pt idx="111">
                  <c:v>Nicolas</c:v>
                </c:pt>
                <c:pt idx="112">
                  <c:v>Nicolas</c:v>
                </c:pt>
                <c:pt idx="113">
                  <c:v>Nicolas</c:v>
                </c:pt>
                <c:pt idx="114">
                  <c:v>Nicolas</c:v>
                </c:pt>
                <c:pt idx="115">
                  <c:v>Bollinger</c:v>
                </c:pt>
                <c:pt idx="116">
                  <c:v>Nicolas Feu</c:v>
                </c:pt>
                <c:pt idx="117">
                  <c:v>All Others</c:v>
                </c:pt>
                <c:pt idx="118">
                  <c:v>Roederer</c:v>
                </c:pt>
                <c:pt idx="119">
                  <c:v>Laurent Per</c:v>
                </c:pt>
                <c:pt idx="120">
                  <c:v>Nicolas</c:v>
                </c:pt>
                <c:pt idx="121">
                  <c:v>All Others</c:v>
                </c:pt>
                <c:pt idx="122">
                  <c:v>Taittinger</c:v>
                </c:pt>
                <c:pt idx="123">
                  <c:v>Roederer</c:v>
                </c:pt>
                <c:pt idx="124">
                  <c:v>Besserat De</c:v>
                </c:pt>
                <c:pt idx="125">
                  <c:v>Demoiselle</c:v>
                </c:pt>
                <c:pt idx="126">
                  <c:v>Nicolas</c:v>
                </c:pt>
                <c:pt idx="127">
                  <c:v>Pommery</c:v>
                </c:pt>
                <c:pt idx="128">
                  <c:v>Nicolas</c:v>
                </c:pt>
                <c:pt idx="129">
                  <c:v>Nicolas</c:v>
                </c:pt>
                <c:pt idx="130">
                  <c:v>Laurent Per</c:v>
                </c:pt>
                <c:pt idx="131">
                  <c:v>Ruinart</c:v>
                </c:pt>
                <c:pt idx="132">
                  <c:v>Laurent Per</c:v>
                </c:pt>
                <c:pt idx="133">
                  <c:v>Roederer</c:v>
                </c:pt>
                <c:pt idx="134">
                  <c:v>Dom Perigno</c:v>
                </c:pt>
                <c:pt idx="135">
                  <c:v>Lanson</c:v>
                </c:pt>
                <c:pt idx="136">
                  <c:v>All Others</c:v>
                </c:pt>
                <c:pt idx="137">
                  <c:v>Pommery</c:v>
                </c:pt>
                <c:pt idx="138">
                  <c:v>Ruinart</c:v>
                </c:pt>
                <c:pt idx="139">
                  <c:v>Moët &amp; Chan</c:v>
                </c:pt>
                <c:pt idx="140">
                  <c:v>Perrier Jou</c:v>
                </c:pt>
                <c:pt idx="141">
                  <c:v>Perrier Jou</c:v>
                </c:pt>
                <c:pt idx="142">
                  <c:v>Canard Duch</c:v>
                </c:pt>
                <c:pt idx="143">
                  <c:v>Ruinart</c:v>
                </c:pt>
                <c:pt idx="144">
                  <c:v>Veuve Clicq</c:v>
                </c:pt>
                <c:pt idx="145">
                  <c:v>Vesselle</c:v>
                </c:pt>
                <c:pt idx="146">
                  <c:v>Taittinger</c:v>
                </c:pt>
                <c:pt idx="147">
                  <c:v>Louis Marti</c:v>
                </c:pt>
                <c:pt idx="148">
                  <c:v>Ruinart</c:v>
                </c:pt>
                <c:pt idx="149">
                  <c:v>Roederer</c:v>
                </c:pt>
                <c:pt idx="150">
                  <c:v>Pommery</c:v>
                </c:pt>
                <c:pt idx="151">
                  <c:v>All Others</c:v>
                </c:pt>
                <c:pt idx="152">
                  <c:v>Laurent Per</c:v>
                </c:pt>
                <c:pt idx="153">
                  <c:v>Delamotte</c:v>
                </c:pt>
                <c:pt idx="154">
                  <c:v>Deutz</c:v>
                </c:pt>
                <c:pt idx="155">
                  <c:v>Laurent Per</c:v>
                </c:pt>
                <c:pt idx="156">
                  <c:v>Nicolas</c:v>
                </c:pt>
                <c:pt idx="157">
                  <c:v>Vranken</c:v>
                </c:pt>
                <c:pt idx="158">
                  <c:v>Nicolas</c:v>
                </c:pt>
                <c:pt idx="159">
                  <c:v>Pommery</c:v>
                </c:pt>
                <c:pt idx="160">
                  <c:v>All Others</c:v>
                </c:pt>
                <c:pt idx="161">
                  <c:v>Deutz</c:v>
                </c:pt>
                <c:pt idx="162">
                  <c:v>Ayala</c:v>
                </c:pt>
                <c:pt idx="163">
                  <c:v>Roederer</c:v>
                </c:pt>
                <c:pt idx="164">
                  <c:v>Demoiselle</c:v>
                </c:pt>
                <c:pt idx="165">
                  <c:v>Canard Duch</c:v>
                </c:pt>
                <c:pt idx="166">
                  <c:v>Piper Heids</c:v>
                </c:pt>
                <c:pt idx="167">
                  <c:v>Roederer</c:v>
                </c:pt>
                <c:pt idx="168">
                  <c:v>Piper Heids</c:v>
                </c:pt>
                <c:pt idx="169">
                  <c:v>Pommery</c:v>
                </c:pt>
                <c:pt idx="170">
                  <c:v>Lanson-Bcc:</c:v>
                </c:pt>
                <c:pt idx="171">
                  <c:v>All Others</c:v>
                </c:pt>
                <c:pt idx="172">
                  <c:v>Nicolas</c:v>
                </c:pt>
                <c:pt idx="173">
                  <c:v>Ruinart</c:v>
                </c:pt>
                <c:pt idx="174">
                  <c:v>Moët &amp; Chan</c:v>
                </c:pt>
                <c:pt idx="175">
                  <c:v>All Others</c:v>
                </c:pt>
                <c:pt idx="176">
                  <c:v>Nicolas</c:v>
                </c:pt>
                <c:pt idx="177">
                  <c:v>All Others</c:v>
                </c:pt>
                <c:pt idx="178">
                  <c:v>Vesselle</c:v>
                </c:pt>
                <c:pt idx="179">
                  <c:v>Bollinger</c:v>
                </c:pt>
                <c:pt idx="180">
                  <c:v>Besserat De</c:v>
                </c:pt>
                <c:pt idx="181">
                  <c:v>Veuve Clicq</c:v>
                </c:pt>
                <c:pt idx="182">
                  <c:v>Veuve Clicq</c:v>
                </c:pt>
                <c:pt idx="183">
                  <c:v>Dom Perigno</c:v>
                </c:pt>
                <c:pt idx="184">
                  <c:v>Taittinger</c:v>
                </c:pt>
                <c:pt idx="185">
                  <c:v>Roederer</c:v>
                </c:pt>
                <c:pt idx="186">
                  <c:v>Malard</c:v>
                </c:pt>
                <c:pt idx="187">
                  <c:v>All Others</c:v>
                </c:pt>
                <c:pt idx="188">
                  <c:v>All Others</c:v>
                </c:pt>
                <c:pt idx="189">
                  <c:v>Deutz</c:v>
                </c:pt>
                <c:pt idx="190">
                  <c:v>Piper Heids</c:v>
                </c:pt>
                <c:pt idx="191">
                  <c:v>All Others</c:v>
                </c:pt>
                <c:pt idx="192">
                  <c:v>Moët &amp; Chan</c:v>
                </c:pt>
                <c:pt idx="193">
                  <c:v>Bollinger</c:v>
                </c:pt>
                <c:pt idx="194">
                  <c:v>Nicolas</c:v>
                </c:pt>
                <c:pt idx="195">
                  <c:v>Laurent Per</c:v>
                </c:pt>
                <c:pt idx="196">
                  <c:v>Henriot</c:v>
                </c:pt>
                <c:pt idx="197">
                  <c:v>Roederer</c:v>
                </c:pt>
                <c:pt idx="198">
                  <c:v>Bollinger</c:v>
                </c:pt>
                <c:pt idx="199">
                  <c:v>Moët &amp; Chan</c:v>
                </c:pt>
                <c:pt idx="200">
                  <c:v>De Venoge</c:v>
                </c:pt>
                <c:pt idx="201">
                  <c:v>Ruinart</c:v>
                </c:pt>
                <c:pt idx="202">
                  <c:v>Nicolas</c:v>
                </c:pt>
                <c:pt idx="203">
                  <c:v>All Others</c:v>
                </c:pt>
                <c:pt idx="204">
                  <c:v>Canard Duch</c:v>
                </c:pt>
                <c:pt idx="205">
                  <c:v>Bollinger</c:v>
                </c:pt>
                <c:pt idx="206">
                  <c:v>Krug</c:v>
                </c:pt>
                <c:pt idx="207">
                  <c:v>De Venoge</c:v>
                </c:pt>
                <c:pt idx="208">
                  <c:v>All Others</c:v>
                </c:pt>
                <c:pt idx="209">
                  <c:v>Ruinart</c:v>
                </c:pt>
                <c:pt idx="210">
                  <c:v>Henriot</c:v>
                </c:pt>
                <c:pt idx="211">
                  <c:v>Nicolas</c:v>
                </c:pt>
                <c:pt idx="212">
                  <c:v>De Venoge</c:v>
                </c:pt>
                <c:pt idx="213">
                  <c:v>All Others</c:v>
                </c:pt>
                <c:pt idx="214">
                  <c:v>All Others</c:v>
                </c:pt>
                <c:pt idx="215">
                  <c:v>Ruinart</c:v>
                </c:pt>
                <c:pt idx="216">
                  <c:v>Deutz</c:v>
                </c:pt>
                <c:pt idx="217">
                  <c:v>De Venoge</c:v>
                </c:pt>
                <c:pt idx="218">
                  <c:v>Dom Perigno</c:v>
                </c:pt>
                <c:pt idx="219">
                  <c:v>Laurent Per</c:v>
                </c:pt>
                <c:pt idx="220">
                  <c:v>Perrier Jou</c:v>
                </c:pt>
                <c:pt idx="221">
                  <c:v>Deutz</c:v>
                </c:pt>
                <c:pt idx="222">
                  <c:v>All Others</c:v>
                </c:pt>
                <c:pt idx="223">
                  <c:v>All Others</c:v>
                </c:pt>
                <c:pt idx="224">
                  <c:v>Piper Heids</c:v>
                </c:pt>
                <c:pt idx="225">
                  <c:v>Nicolas Feu</c:v>
                </c:pt>
                <c:pt idx="226">
                  <c:v>Demoiselle</c:v>
                </c:pt>
                <c:pt idx="227">
                  <c:v>Laurent Per</c:v>
                </c:pt>
                <c:pt idx="228">
                  <c:v>Roederer</c:v>
                </c:pt>
                <c:pt idx="229">
                  <c:v>Ruinart</c:v>
                </c:pt>
                <c:pt idx="230">
                  <c:v>Lanson</c:v>
                </c:pt>
                <c:pt idx="231">
                  <c:v>All Others</c:v>
                </c:pt>
                <c:pt idx="232">
                  <c:v>Taittinger</c:v>
                </c:pt>
                <c:pt idx="233">
                  <c:v>Roederer</c:v>
                </c:pt>
                <c:pt idx="234">
                  <c:v>All Others</c:v>
                </c:pt>
                <c:pt idx="235">
                  <c:v>Veuve Clicq</c:v>
                </c:pt>
                <c:pt idx="236">
                  <c:v>Bollinger</c:v>
                </c:pt>
                <c:pt idx="237">
                  <c:v>Pommery</c:v>
                </c:pt>
                <c:pt idx="238">
                  <c:v>Pommery</c:v>
                </c:pt>
                <c:pt idx="239">
                  <c:v>All Others</c:v>
                </c:pt>
                <c:pt idx="240">
                  <c:v>All Others</c:v>
                </c:pt>
                <c:pt idx="241">
                  <c:v>Krug</c:v>
                </c:pt>
                <c:pt idx="242">
                  <c:v>Deutz</c:v>
                </c:pt>
                <c:pt idx="243">
                  <c:v>Taittinger</c:v>
                </c:pt>
                <c:pt idx="244">
                  <c:v>Roederer</c:v>
                </c:pt>
                <c:pt idx="245">
                  <c:v>Laurent Per</c:v>
                </c:pt>
                <c:pt idx="246">
                  <c:v>All Others</c:v>
                </c:pt>
                <c:pt idx="247">
                  <c:v>Moët &amp; Chan</c:v>
                </c:pt>
                <c:pt idx="248">
                  <c:v>Veuve Clicq</c:v>
                </c:pt>
                <c:pt idx="249">
                  <c:v>De Bligny</c:v>
                </c:pt>
                <c:pt idx="250">
                  <c:v>Krug</c:v>
                </c:pt>
                <c:pt idx="251">
                  <c:v>Roederer</c:v>
                </c:pt>
                <c:pt idx="252">
                  <c:v>Roederer</c:v>
                </c:pt>
                <c:pt idx="253">
                  <c:v>Veuve Clicq</c:v>
                </c:pt>
                <c:pt idx="254">
                  <c:v>Perrier Jou</c:v>
                </c:pt>
                <c:pt idx="255">
                  <c:v>Dom Perigno</c:v>
                </c:pt>
                <c:pt idx="256">
                  <c:v>Perrier Jou</c:v>
                </c:pt>
                <c:pt idx="257">
                  <c:v>Martel</c:v>
                </c:pt>
                <c:pt idx="258">
                  <c:v>Laurent Per</c:v>
                </c:pt>
                <c:pt idx="259">
                  <c:v>Canard Duch</c:v>
                </c:pt>
                <c:pt idx="260">
                  <c:v>Deutz</c:v>
                </c:pt>
                <c:pt idx="261">
                  <c:v>Dom Perigno</c:v>
                </c:pt>
                <c:pt idx="262">
                  <c:v>Malard</c:v>
                </c:pt>
                <c:pt idx="263">
                  <c:v>Roederer</c:v>
                </c:pt>
                <c:pt idx="264">
                  <c:v>Moët &amp; Chan</c:v>
                </c:pt>
                <c:pt idx="265">
                  <c:v>Bollinger</c:v>
                </c:pt>
                <c:pt idx="266">
                  <c:v>Lanson</c:v>
                </c:pt>
                <c:pt idx="267">
                  <c:v>Roederer</c:v>
                </c:pt>
                <c:pt idx="268">
                  <c:v>Ruinart</c:v>
                </c:pt>
                <c:pt idx="269">
                  <c:v>Bollinger</c:v>
                </c:pt>
                <c:pt idx="270">
                  <c:v>All Others</c:v>
                </c:pt>
                <c:pt idx="271">
                  <c:v>Deutz</c:v>
                </c:pt>
                <c:pt idx="272">
                  <c:v>All Others</c:v>
                </c:pt>
                <c:pt idx="273">
                  <c:v>Bollinger</c:v>
                </c:pt>
                <c:pt idx="274">
                  <c:v>Dom Perigno</c:v>
                </c:pt>
                <c:pt idx="275">
                  <c:v>Bollinger</c:v>
                </c:pt>
                <c:pt idx="276">
                  <c:v>Ruinart</c:v>
                </c:pt>
                <c:pt idx="277">
                  <c:v>Dom Perigno</c:v>
                </c:pt>
                <c:pt idx="278">
                  <c:v>All Others</c:v>
                </c:pt>
                <c:pt idx="279">
                  <c:v>Deutz</c:v>
                </c:pt>
                <c:pt idx="280">
                  <c:v>All Others</c:v>
                </c:pt>
                <c:pt idx="281">
                  <c:v>Laurent Per</c:v>
                </c:pt>
                <c:pt idx="282">
                  <c:v>Delamotte</c:v>
                </c:pt>
                <c:pt idx="283">
                  <c:v>Laurent Per</c:v>
                </c:pt>
                <c:pt idx="284">
                  <c:v>All Others</c:v>
                </c:pt>
                <c:pt idx="285">
                  <c:v>Ruinart</c:v>
                </c:pt>
                <c:pt idx="286">
                  <c:v>All Others</c:v>
                </c:pt>
                <c:pt idx="287">
                  <c:v>Pommery</c:v>
                </c:pt>
                <c:pt idx="288">
                  <c:v>Krug</c:v>
                </c:pt>
                <c:pt idx="289">
                  <c:v>Roederer</c:v>
                </c:pt>
                <c:pt idx="290">
                  <c:v>All Others</c:v>
                </c:pt>
                <c:pt idx="291">
                  <c:v>Ayala</c:v>
                </c:pt>
                <c:pt idx="292">
                  <c:v>Besserat De</c:v>
                </c:pt>
                <c:pt idx="293">
                  <c:v>De Venoge</c:v>
                </c:pt>
                <c:pt idx="294">
                  <c:v>Moët &amp; Chan</c:v>
                </c:pt>
                <c:pt idx="295">
                  <c:v>Ruinart</c:v>
                </c:pt>
                <c:pt idx="296">
                  <c:v>All Others</c:v>
                </c:pt>
                <c:pt idx="297">
                  <c:v>Nicolas Feu</c:v>
                </c:pt>
                <c:pt idx="298">
                  <c:v>All Others</c:v>
                </c:pt>
                <c:pt idx="299">
                  <c:v>De Venoge</c:v>
                </c:pt>
                <c:pt idx="300">
                  <c:v>Delamotte</c:v>
                </c:pt>
                <c:pt idx="301">
                  <c:v>All Others</c:v>
                </c:pt>
                <c:pt idx="302">
                  <c:v>Besserat De</c:v>
                </c:pt>
                <c:pt idx="303">
                  <c:v>All Others</c:v>
                </c:pt>
                <c:pt idx="304">
                  <c:v>All Others</c:v>
                </c:pt>
                <c:pt idx="305">
                  <c:v>Pommery</c:v>
                </c:pt>
                <c:pt idx="306">
                  <c:v>Lanson</c:v>
                </c:pt>
                <c:pt idx="307">
                  <c:v>Demoiselle</c:v>
                </c:pt>
                <c:pt idx="308">
                  <c:v>Perrier Jou</c:v>
                </c:pt>
                <c:pt idx="309">
                  <c:v>All Others</c:v>
                </c:pt>
                <c:pt idx="310">
                  <c:v>Bollinger</c:v>
                </c:pt>
                <c:pt idx="311">
                  <c:v>Demoiselle</c:v>
                </c:pt>
                <c:pt idx="312">
                  <c:v>Dom Perigno</c:v>
                </c:pt>
                <c:pt idx="313">
                  <c:v>Dom Perigno</c:v>
                </c:pt>
                <c:pt idx="314">
                  <c:v>Veuve Clicq</c:v>
                </c:pt>
                <c:pt idx="315">
                  <c:v>All Others</c:v>
                </c:pt>
                <c:pt idx="316">
                  <c:v>Roederer</c:v>
                </c:pt>
                <c:pt idx="317">
                  <c:v>Roederer</c:v>
                </c:pt>
                <c:pt idx="318">
                  <c:v>Roederer</c:v>
                </c:pt>
                <c:pt idx="319">
                  <c:v>De Venoge</c:v>
                </c:pt>
                <c:pt idx="320">
                  <c:v>Nicolas Feu</c:v>
                </c:pt>
                <c:pt idx="321">
                  <c:v>De Bligny</c:v>
                </c:pt>
                <c:pt idx="322">
                  <c:v>Ayala</c:v>
                </c:pt>
                <c:pt idx="323">
                  <c:v>Vesselle</c:v>
                </c:pt>
                <c:pt idx="324">
                  <c:v>Roederer</c:v>
                </c:pt>
                <c:pt idx="325">
                  <c:v>Pommery</c:v>
                </c:pt>
                <c:pt idx="326">
                  <c:v>Ayala</c:v>
                </c:pt>
                <c:pt idx="327">
                  <c:v>Moët &amp; Chan</c:v>
                </c:pt>
                <c:pt idx="328">
                  <c:v>All Others</c:v>
                </c:pt>
                <c:pt idx="329">
                  <c:v>Krug</c:v>
                </c:pt>
                <c:pt idx="330">
                  <c:v>Bollinger</c:v>
                </c:pt>
                <c:pt idx="331">
                  <c:v>Demoiselle</c:v>
                </c:pt>
                <c:pt idx="332">
                  <c:v>Roederer</c:v>
                </c:pt>
                <c:pt idx="333">
                  <c:v>Ayala</c:v>
                </c:pt>
                <c:pt idx="334">
                  <c:v>Pommery</c:v>
                </c:pt>
                <c:pt idx="335">
                  <c:v>Canard Duch</c:v>
                </c:pt>
                <c:pt idx="336">
                  <c:v>Vranken</c:v>
                </c:pt>
                <c:pt idx="337">
                  <c:v>Veuve Clicq</c:v>
                </c:pt>
                <c:pt idx="338">
                  <c:v>Lanson</c:v>
                </c:pt>
                <c:pt idx="339">
                  <c:v>Laurent Per</c:v>
                </c:pt>
                <c:pt idx="340">
                  <c:v>Besserat De</c:v>
                </c:pt>
                <c:pt idx="341">
                  <c:v>De Venoge</c:v>
                </c:pt>
                <c:pt idx="342">
                  <c:v>Deutz</c:v>
                </c:pt>
                <c:pt idx="343">
                  <c:v>Heidsieck &amp;</c:v>
                </c:pt>
                <c:pt idx="344">
                  <c:v>Taittinger</c:v>
                </c:pt>
                <c:pt idx="345">
                  <c:v>Krug</c:v>
                </c:pt>
                <c:pt idx="346">
                  <c:v>Moët &amp; Chan</c:v>
                </c:pt>
                <c:pt idx="347">
                  <c:v>Taittinger</c:v>
                </c:pt>
                <c:pt idx="348">
                  <c:v>Dom Perigno</c:v>
                </c:pt>
                <c:pt idx="349">
                  <c:v>Pommery</c:v>
                </c:pt>
                <c:pt idx="350">
                  <c:v>Roederer</c:v>
                </c:pt>
                <c:pt idx="351">
                  <c:v>Canard Duch</c:v>
                </c:pt>
                <c:pt idx="352">
                  <c:v>Laurent Per</c:v>
                </c:pt>
                <c:pt idx="353">
                  <c:v>Demoiselle</c:v>
                </c:pt>
                <c:pt idx="354">
                  <c:v>Roederer</c:v>
                </c:pt>
                <c:pt idx="355">
                  <c:v>Piper Heids</c:v>
                </c:pt>
                <c:pt idx="356">
                  <c:v>Roederer</c:v>
                </c:pt>
                <c:pt idx="357">
                  <c:v>Ruinart</c:v>
                </c:pt>
                <c:pt idx="358">
                  <c:v>All Others</c:v>
                </c:pt>
                <c:pt idx="359">
                  <c:v>Deutz</c:v>
                </c:pt>
                <c:pt idx="360">
                  <c:v>Laurent Per</c:v>
                </c:pt>
                <c:pt idx="361">
                  <c:v>Veuve Clicq</c:v>
                </c:pt>
                <c:pt idx="362">
                  <c:v>All Others</c:v>
                </c:pt>
                <c:pt idx="363">
                  <c:v>Heidsieck &amp;</c:v>
                </c:pt>
                <c:pt idx="364">
                  <c:v>Taittinger</c:v>
                </c:pt>
                <c:pt idx="365">
                  <c:v>Laurent Per</c:v>
                </c:pt>
                <c:pt idx="366">
                  <c:v>Laurent Per</c:v>
                </c:pt>
                <c:pt idx="367">
                  <c:v>All Others</c:v>
                </c:pt>
                <c:pt idx="368">
                  <c:v>Besserat De</c:v>
                </c:pt>
                <c:pt idx="369">
                  <c:v>Bollinger</c:v>
                </c:pt>
                <c:pt idx="370">
                  <c:v>Piper Heids</c:v>
                </c:pt>
                <c:pt idx="371">
                  <c:v>Ruinart</c:v>
                </c:pt>
                <c:pt idx="372">
                  <c:v>Nicolas Feu</c:v>
                </c:pt>
                <c:pt idx="373">
                  <c:v>Roederer</c:v>
                </c:pt>
                <c:pt idx="374">
                  <c:v>Malard</c:v>
                </c:pt>
                <c:pt idx="375">
                  <c:v>Taittinger</c:v>
                </c:pt>
                <c:pt idx="376">
                  <c:v>Henriot</c:v>
                </c:pt>
                <c:pt idx="377">
                  <c:v>Nicolas</c:v>
                </c:pt>
                <c:pt idx="378">
                  <c:v>Roederer</c:v>
                </c:pt>
                <c:pt idx="379">
                  <c:v>De Venoge</c:v>
                </c:pt>
                <c:pt idx="380">
                  <c:v>Krug</c:v>
                </c:pt>
                <c:pt idx="381">
                  <c:v>Roederer</c:v>
                </c:pt>
                <c:pt idx="382">
                  <c:v>Ruinart</c:v>
                </c:pt>
                <c:pt idx="383">
                  <c:v>Dom Perigno</c:v>
                </c:pt>
                <c:pt idx="384">
                  <c:v>De Bligny</c:v>
                </c:pt>
                <c:pt idx="385">
                  <c:v>Vesselle</c:v>
                </c:pt>
                <c:pt idx="386">
                  <c:v>Ruinart</c:v>
                </c:pt>
                <c:pt idx="387">
                  <c:v>Moët &amp; Chan</c:v>
                </c:pt>
                <c:pt idx="388">
                  <c:v>Bollinger</c:v>
                </c:pt>
                <c:pt idx="389">
                  <c:v>Laurent Per</c:v>
                </c:pt>
                <c:pt idx="390">
                  <c:v>Roederer</c:v>
                </c:pt>
                <c:pt idx="391">
                  <c:v>All Others</c:v>
                </c:pt>
                <c:pt idx="392">
                  <c:v>Taittinger</c:v>
                </c:pt>
                <c:pt idx="393">
                  <c:v>All Others</c:v>
                </c:pt>
                <c:pt idx="394">
                  <c:v>Roederer</c:v>
                </c:pt>
                <c:pt idx="395">
                  <c:v>All Others</c:v>
                </c:pt>
                <c:pt idx="396">
                  <c:v>Laurent Per</c:v>
                </c:pt>
                <c:pt idx="397">
                  <c:v>Ayala</c:v>
                </c:pt>
                <c:pt idx="398">
                  <c:v>Pommery</c:v>
                </c:pt>
                <c:pt idx="399">
                  <c:v>Laurent Per</c:v>
                </c:pt>
                <c:pt idx="400">
                  <c:v>Laurent Per</c:v>
                </c:pt>
                <c:pt idx="401">
                  <c:v>Dom Perigno</c:v>
                </c:pt>
                <c:pt idx="402">
                  <c:v>Piper Heids</c:v>
                </c:pt>
                <c:pt idx="403">
                  <c:v>Roederer</c:v>
                </c:pt>
                <c:pt idx="404">
                  <c:v>Roederer</c:v>
                </c:pt>
                <c:pt idx="405">
                  <c:v>Ruinart</c:v>
                </c:pt>
                <c:pt idx="406">
                  <c:v>All Others</c:v>
                </c:pt>
                <c:pt idx="407">
                  <c:v>Laurent Per</c:v>
                </c:pt>
                <c:pt idx="408">
                  <c:v>Roederer</c:v>
                </c:pt>
                <c:pt idx="409">
                  <c:v>Nicolas Feu</c:v>
                </c:pt>
                <c:pt idx="410">
                  <c:v>Henriot</c:v>
                </c:pt>
                <c:pt idx="411">
                  <c:v>Vranken</c:v>
                </c:pt>
                <c:pt idx="412">
                  <c:v>All Others</c:v>
                </c:pt>
                <c:pt idx="413">
                  <c:v>Bollinger</c:v>
                </c:pt>
                <c:pt idx="414">
                  <c:v>Malard</c:v>
                </c:pt>
                <c:pt idx="415">
                  <c:v>All Others</c:v>
                </c:pt>
                <c:pt idx="416">
                  <c:v>Bollinger</c:v>
                </c:pt>
                <c:pt idx="417">
                  <c:v>Bollinger</c:v>
                </c:pt>
                <c:pt idx="418">
                  <c:v>Mumm</c:v>
                </c:pt>
                <c:pt idx="419">
                  <c:v>Canard Duch</c:v>
                </c:pt>
                <c:pt idx="420">
                  <c:v>Taittinger</c:v>
                </c:pt>
                <c:pt idx="421">
                  <c:v>All Others</c:v>
                </c:pt>
                <c:pt idx="422">
                  <c:v>Pommery</c:v>
                </c:pt>
                <c:pt idx="423">
                  <c:v>De Venoge</c:v>
                </c:pt>
                <c:pt idx="424">
                  <c:v>Malard</c:v>
                </c:pt>
                <c:pt idx="425">
                  <c:v>All Others</c:v>
                </c:pt>
                <c:pt idx="426">
                  <c:v>Veuve Clicq</c:v>
                </c:pt>
                <c:pt idx="427">
                  <c:v>Roederer</c:v>
                </c:pt>
                <c:pt idx="428">
                  <c:v>Roederer</c:v>
                </c:pt>
                <c:pt idx="429">
                  <c:v>Besserat De</c:v>
                </c:pt>
                <c:pt idx="430">
                  <c:v>Taittinger</c:v>
                </c:pt>
                <c:pt idx="431">
                  <c:v>Moët &amp; Chan</c:v>
                </c:pt>
                <c:pt idx="432">
                  <c:v>All Others</c:v>
                </c:pt>
                <c:pt idx="433">
                  <c:v>Henriot</c:v>
                </c:pt>
                <c:pt idx="434">
                  <c:v>Veuve Clicq</c:v>
                </c:pt>
                <c:pt idx="435">
                  <c:v>All Others</c:v>
                </c:pt>
                <c:pt idx="436">
                  <c:v>Demoiselle</c:v>
                </c:pt>
                <c:pt idx="437">
                  <c:v>Besserat De</c:v>
                </c:pt>
                <c:pt idx="438">
                  <c:v>Deutz</c:v>
                </c:pt>
                <c:pt idx="439">
                  <c:v>Lanson</c:v>
                </c:pt>
                <c:pt idx="440">
                  <c:v>Henriot</c:v>
                </c:pt>
                <c:pt idx="441">
                  <c:v>Vranken Pom</c:v>
                </c:pt>
                <c:pt idx="442">
                  <c:v>Ayala</c:v>
                </c:pt>
                <c:pt idx="443">
                  <c:v>Moët &amp; Chan</c:v>
                </c:pt>
                <c:pt idx="444">
                  <c:v>Nicolas</c:v>
                </c:pt>
                <c:pt idx="445">
                  <c:v>Nicolas</c:v>
                </c:pt>
                <c:pt idx="446">
                  <c:v>Pommery</c:v>
                </c:pt>
                <c:pt idx="447">
                  <c:v>Pommery</c:v>
                </c:pt>
                <c:pt idx="448">
                  <c:v>All Others</c:v>
                </c:pt>
                <c:pt idx="449">
                  <c:v>Vranken</c:v>
                </c:pt>
                <c:pt idx="450">
                  <c:v>Vesselle</c:v>
                </c:pt>
                <c:pt idx="451">
                  <c:v>Vesselle</c:v>
                </c:pt>
                <c:pt idx="452">
                  <c:v>All Others</c:v>
                </c:pt>
              </c:strCache>
            </c:strRef>
          </c:cat>
          <c:val>
            <c:numRef>
              <c:f>Sheet1!$C$2:$C$454</c:f>
              <c:numCache>
                <c:formatCode>General</c:formatCode>
                <c:ptCount val="453"/>
                <c:pt idx="0">
                  <c:v>0.10446174898797576</c:v>
                </c:pt>
                <c:pt idx="1">
                  <c:v>0.16969569131852424</c:v>
                </c:pt>
                <c:pt idx="2">
                  <c:v>0.22099290994818957</c:v>
                </c:pt>
                <c:pt idx="3">
                  <c:v>0.27154630078419556</c:v>
                </c:pt>
                <c:pt idx="4">
                  <c:v>0.30479254791002641</c:v>
                </c:pt>
                <c:pt idx="5">
                  <c:v>0.3367056345861546</c:v>
                </c:pt>
                <c:pt idx="6">
                  <c:v>0.36712248084533733</c:v>
                </c:pt>
                <c:pt idx="7">
                  <c:v>0.39509883491779607</c:v>
                </c:pt>
                <c:pt idx="8">
                  <c:v>0.42030349725609761</c:v>
                </c:pt>
                <c:pt idx="9">
                  <c:v>0.44438149609288502</c:v>
                </c:pt>
                <c:pt idx="10">
                  <c:v>0.46537725493268411</c:v>
                </c:pt>
                <c:pt idx="11">
                  <c:v>0.48516411078271132</c:v>
                </c:pt>
                <c:pt idx="12">
                  <c:v>0.50455728860302185</c:v>
                </c:pt>
                <c:pt idx="13">
                  <c:v>0.52305664257869455</c:v>
                </c:pt>
                <c:pt idx="14">
                  <c:v>0.54100694900623914</c:v>
                </c:pt>
                <c:pt idx="15">
                  <c:v>0.55753347733802106</c:v>
                </c:pt>
                <c:pt idx="16">
                  <c:v>0.57122243331717681</c:v>
                </c:pt>
                <c:pt idx="17">
                  <c:v>0.58348839019436938</c:v>
                </c:pt>
                <c:pt idx="18">
                  <c:v>0.59557307998377651</c:v>
                </c:pt>
                <c:pt idx="19">
                  <c:v>0.60757101530045565</c:v>
                </c:pt>
                <c:pt idx="20">
                  <c:v>0.61865409393991155</c:v>
                </c:pt>
                <c:pt idx="21">
                  <c:v>0.62904119726196084</c:v>
                </c:pt>
                <c:pt idx="22">
                  <c:v>0.63826068426560989</c:v>
                </c:pt>
                <c:pt idx="23">
                  <c:v>0.64704620813162705</c:v>
                </c:pt>
                <c:pt idx="24">
                  <c:v>0.65550099348735757</c:v>
                </c:pt>
                <c:pt idx="25">
                  <c:v>0.66393007204770582</c:v>
                </c:pt>
                <c:pt idx="26">
                  <c:v>0.67234069322435652</c:v>
                </c:pt>
                <c:pt idx="27">
                  <c:v>0.68042788889373607</c:v>
                </c:pt>
                <c:pt idx="28">
                  <c:v>0.68832132177887351</c:v>
                </c:pt>
                <c:pt idx="29">
                  <c:v>0.69610927254443045</c:v>
                </c:pt>
                <c:pt idx="30">
                  <c:v>0.70384671589568337</c:v>
                </c:pt>
                <c:pt idx="31">
                  <c:v>0.71113983072242182</c:v>
                </c:pt>
                <c:pt idx="32">
                  <c:v>0.71831169277959883</c:v>
                </c:pt>
                <c:pt idx="33">
                  <c:v>0.72547376177186829</c:v>
                </c:pt>
                <c:pt idx="34">
                  <c:v>0.73238752251610051</c:v>
                </c:pt>
                <c:pt idx="35">
                  <c:v>0.73899688745873415</c:v>
                </c:pt>
                <c:pt idx="36">
                  <c:v>0.74558547393410457</c:v>
                </c:pt>
                <c:pt idx="37">
                  <c:v>0.75210773465169201</c:v>
                </c:pt>
                <c:pt idx="38">
                  <c:v>0.75834707753958042</c:v>
                </c:pt>
                <c:pt idx="39">
                  <c:v>0.76457705660404252</c:v>
                </c:pt>
                <c:pt idx="40">
                  <c:v>0.77074986706232362</c:v>
                </c:pt>
                <c:pt idx="41">
                  <c:v>0.7763749494925859</c:v>
                </c:pt>
                <c:pt idx="42">
                  <c:v>0.7818024695566046</c:v>
                </c:pt>
                <c:pt idx="43">
                  <c:v>0.78714145459063933</c:v>
                </c:pt>
                <c:pt idx="44">
                  <c:v>0.79220942927162386</c:v>
                </c:pt>
                <c:pt idx="45">
                  <c:v>0.79714456166305092</c:v>
                </c:pt>
                <c:pt idx="46">
                  <c:v>0.80193217806539174</c:v>
                </c:pt>
                <c:pt idx="47">
                  <c:v>0.80664931937563011</c:v>
                </c:pt>
                <c:pt idx="48">
                  <c:v>0.81120463664740428</c:v>
                </c:pt>
                <c:pt idx="49">
                  <c:v>0.81562841525189766</c:v>
                </c:pt>
                <c:pt idx="50">
                  <c:v>0.81992105263492621</c:v>
                </c:pt>
                <c:pt idx="51">
                  <c:v>0.82406060978744378</c:v>
                </c:pt>
                <c:pt idx="52">
                  <c:v>0.82817360166161635</c:v>
                </c:pt>
                <c:pt idx="53">
                  <c:v>0.83219511740676622</c:v>
                </c:pt>
                <c:pt idx="54">
                  <c:v>0.83620060813661279</c:v>
                </c:pt>
                <c:pt idx="55">
                  <c:v>0.84012861283016171</c:v>
                </c:pt>
                <c:pt idx="56">
                  <c:v>0.84396813018722461</c:v>
                </c:pt>
                <c:pt idx="57">
                  <c:v>0.84774688602792936</c:v>
                </c:pt>
                <c:pt idx="58">
                  <c:v>0.85151500621859655</c:v>
                </c:pt>
                <c:pt idx="59">
                  <c:v>0.85520091871667137</c:v>
                </c:pt>
                <c:pt idx="60">
                  <c:v>0.85867550132543446</c:v>
                </c:pt>
                <c:pt idx="61">
                  <c:v>0.86205689083924952</c:v>
                </c:pt>
                <c:pt idx="62">
                  <c:v>0.8652388738382345</c:v>
                </c:pt>
                <c:pt idx="63">
                  <c:v>0.86838899758060462</c:v>
                </c:pt>
                <c:pt idx="64">
                  <c:v>0.87139850499325522</c:v>
                </c:pt>
                <c:pt idx="65">
                  <c:v>0.87436243331972086</c:v>
                </c:pt>
                <c:pt idx="66">
                  <c:v>0.87732316618182549</c:v>
                </c:pt>
                <c:pt idx="67">
                  <c:v>0.88020874998903087</c:v>
                </c:pt>
                <c:pt idx="68">
                  <c:v>0.88309031164457774</c:v>
                </c:pt>
                <c:pt idx="69">
                  <c:v>0.88593823348625389</c:v>
                </c:pt>
                <c:pt idx="70">
                  <c:v>0.88866712825493854</c:v>
                </c:pt>
                <c:pt idx="71">
                  <c:v>0.89138025237364216</c:v>
                </c:pt>
                <c:pt idx="72">
                  <c:v>0.89397042265469162</c:v>
                </c:pt>
                <c:pt idx="73">
                  <c:v>0.89650919524280914</c:v>
                </c:pt>
                <c:pt idx="74">
                  <c:v>0.89901340594276269</c:v>
                </c:pt>
                <c:pt idx="75">
                  <c:v>0.90147486737074167</c:v>
                </c:pt>
                <c:pt idx="76">
                  <c:v>0.90367867262508983</c:v>
                </c:pt>
                <c:pt idx="77">
                  <c:v>0.90577357772583944</c:v>
                </c:pt>
                <c:pt idx="78">
                  <c:v>0.90770781932990785</c:v>
                </c:pt>
                <c:pt idx="79">
                  <c:v>0.90957740444862079</c:v>
                </c:pt>
                <c:pt idx="80">
                  <c:v>0.91141136252438271</c:v>
                </c:pt>
                <c:pt idx="81">
                  <c:v>0.91322309543011093</c:v>
                </c:pt>
                <c:pt idx="82">
                  <c:v>0.91502902562692479</c:v>
                </c:pt>
                <c:pt idx="83">
                  <c:v>0.91681980518923079</c:v>
                </c:pt>
                <c:pt idx="84">
                  <c:v>0.91860371688783538</c:v>
                </c:pt>
                <c:pt idx="85">
                  <c:v>0.92033661244149134</c:v>
                </c:pt>
                <c:pt idx="86">
                  <c:v>0.92206699613758991</c:v>
                </c:pt>
                <c:pt idx="87">
                  <c:v>0.92377955836329662</c:v>
                </c:pt>
                <c:pt idx="88">
                  <c:v>0.9254509611002929</c:v>
                </c:pt>
                <c:pt idx="89">
                  <c:v>0.92711125125227234</c:v>
                </c:pt>
                <c:pt idx="90">
                  <c:v>0.92869435742677431</c:v>
                </c:pt>
                <c:pt idx="91">
                  <c:v>0.93025170911239607</c:v>
                </c:pt>
                <c:pt idx="92">
                  <c:v>0.93179898157212271</c:v>
                </c:pt>
                <c:pt idx="93">
                  <c:v>0.93332394937265251</c:v>
                </c:pt>
                <c:pt idx="94">
                  <c:v>0.93484541965000101</c:v>
                </c:pt>
                <c:pt idx="95">
                  <c:v>0.93635142133618876</c:v>
                </c:pt>
                <c:pt idx="96">
                  <c:v>0.93784910845590463</c:v>
                </c:pt>
                <c:pt idx="97">
                  <c:v>0.93933461783581662</c:v>
                </c:pt>
                <c:pt idx="98">
                  <c:v>0.94080869667405898</c:v>
                </c:pt>
                <c:pt idx="99">
                  <c:v>0.94219767441416813</c:v>
                </c:pt>
                <c:pt idx="100">
                  <c:v>0.94358361566824256</c:v>
                </c:pt>
                <c:pt idx="101">
                  <c:v>0.94495288009587541</c:v>
                </c:pt>
                <c:pt idx="102">
                  <c:v>0.94625928449324137</c:v>
                </c:pt>
                <c:pt idx="103">
                  <c:v>0.94750812283861019</c:v>
                </c:pt>
                <c:pt idx="104">
                  <c:v>0.94873332110684017</c:v>
                </c:pt>
                <c:pt idx="105">
                  <c:v>0.94994902836898287</c:v>
                </c:pt>
                <c:pt idx="106">
                  <c:v>0.95106958710276246</c:v>
                </c:pt>
                <c:pt idx="107">
                  <c:v>0.95218305540318371</c:v>
                </c:pt>
                <c:pt idx="108">
                  <c:v>0.95321390266736383</c:v>
                </c:pt>
                <c:pt idx="109">
                  <c:v>0.95423807284183426</c:v>
                </c:pt>
                <c:pt idx="110">
                  <c:v>0.95525410332599192</c:v>
                </c:pt>
                <c:pt idx="111">
                  <c:v>0.95624892610140499</c:v>
                </c:pt>
                <c:pt idx="112">
                  <c:v>0.9572158799761965</c:v>
                </c:pt>
                <c:pt idx="113">
                  <c:v>0.95814809708666493</c:v>
                </c:pt>
                <c:pt idx="114">
                  <c:v>0.95906613333041657</c:v>
                </c:pt>
                <c:pt idx="115">
                  <c:v>0.95998383571968271</c:v>
                </c:pt>
                <c:pt idx="116">
                  <c:v>0.96090096578697382</c:v>
                </c:pt>
                <c:pt idx="117">
                  <c:v>0.96179313625701679</c:v>
                </c:pt>
                <c:pt idx="118">
                  <c:v>0.96266557751675086</c:v>
                </c:pt>
                <c:pt idx="119">
                  <c:v>0.96348027784832879</c:v>
                </c:pt>
                <c:pt idx="120">
                  <c:v>0.96426191068801115</c:v>
                </c:pt>
                <c:pt idx="121">
                  <c:v>0.96502443433285767</c:v>
                </c:pt>
                <c:pt idx="122">
                  <c:v>0.96575058373661904</c:v>
                </c:pt>
                <c:pt idx="123">
                  <c:v>0.96642649598923125</c:v>
                </c:pt>
                <c:pt idx="124">
                  <c:v>0.967087416585662</c:v>
                </c:pt>
                <c:pt idx="125">
                  <c:v>0.96774579352887002</c:v>
                </c:pt>
                <c:pt idx="126">
                  <c:v>0.96838717568898358</c:v>
                </c:pt>
                <c:pt idx="127">
                  <c:v>0.96900107049645889</c:v>
                </c:pt>
                <c:pt idx="128">
                  <c:v>0.9695980659078357</c:v>
                </c:pt>
                <c:pt idx="129">
                  <c:v>0.97018356718621224</c:v>
                </c:pt>
                <c:pt idx="130">
                  <c:v>0.9707664453222028</c:v>
                </c:pt>
                <c:pt idx="131">
                  <c:v>0.97133957808678373</c:v>
                </c:pt>
                <c:pt idx="132">
                  <c:v>0.97190795739940472</c:v>
                </c:pt>
                <c:pt idx="133">
                  <c:v>0.97247341151081956</c:v>
                </c:pt>
                <c:pt idx="134">
                  <c:v>0.97302156878031976</c:v>
                </c:pt>
                <c:pt idx="135">
                  <c:v>0.97356163405300511</c:v>
                </c:pt>
                <c:pt idx="136">
                  <c:v>0.97410014133809153</c:v>
                </c:pt>
                <c:pt idx="137">
                  <c:v>0.9746208430506188</c:v>
                </c:pt>
                <c:pt idx="138">
                  <c:v>0.97513838109445028</c:v>
                </c:pt>
                <c:pt idx="139">
                  <c:v>0.97564517220341562</c:v>
                </c:pt>
                <c:pt idx="140">
                  <c:v>0.97613557264692696</c:v>
                </c:pt>
                <c:pt idx="141">
                  <c:v>0.97662533717713262</c:v>
                </c:pt>
                <c:pt idx="142">
                  <c:v>0.97711492683117929</c:v>
                </c:pt>
                <c:pt idx="143">
                  <c:v>0.9775997630332659</c:v>
                </c:pt>
                <c:pt idx="144">
                  <c:v>0.97807243739338134</c:v>
                </c:pt>
                <c:pt idx="145">
                  <c:v>0.97853566844090734</c:v>
                </c:pt>
                <c:pt idx="146">
                  <c:v>0.97896980645469822</c:v>
                </c:pt>
                <c:pt idx="147">
                  <c:v>0.97940016078432035</c:v>
                </c:pt>
                <c:pt idx="148">
                  <c:v>0.97982563447932136</c:v>
                </c:pt>
                <c:pt idx="149">
                  <c:v>0.98024668857684782</c:v>
                </c:pt>
                <c:pt idx="150">
                  <c:v>0.9806594122100698</c:v>
                </c:pt>
                <c:pt idx="151">
                  <c:v>0.98106833626129031</c:v>
                </c:pt>
                <c:pt idx="152">
                  <c:v>0.9814772285168456</c:v>
                </c:pt>
                <c:pt idx="153">
                  <c:v>0.98188286171670924</c:v>
                </c:pt>
                <c:pt idx="154">
                  <c:v>0.9822783203036819</c:v>
                </c:pt>
                <c:pt idx="155">
                  <c:v>0.98266695872045107</c:v>
                </c:pt>
                <c:pt idx="156">
                  <c:v>0.98303872953678695</c:v>
                </c:pt>
                <c:pt idx="157">
                  <c:v>0.98339485688580297</c:v>
                </c:pt>
                <c:pt idx="158">
                  <c:v>0.98374661233084248</c:v>
                </c:pt>
                <c:pt idx="159">
                  <c:v>0.98409830418455135</c:v>
                </c:pt>
                <c:pt idx="160">
                  <c:v>0.98444943961411779</c:v>
                </c:pt>
                <c:pt idx="161">
                  <c:v>0.98479898526041998</c:v>
                </c:pt>
                <c:pt idx="162">
                  <c:v>0.98514244203682022</c:v>
                </c:pt>
                <c:pt idx="163">
                  <c:v>0.98546763220351474</c:v>
                </c:pt>
                <c:pt idx="164">
                  <c:v>0.98579056487797401</c:v>
                </c:pt>
                <c:pt idx="165">
                  <c:v>0.98610648660823819</c:v>
                </c:pt>
                <c:pt idx="166">
                  <c:v>0.98640248835420175</c:v>
                </c:pt>
                <c:pt idx="167">
                  <c:v>0.98668701186499774</c:v>
                </c:pt>
                <c:pt idx="168">
                  <c:v>0.98696705218698866</c:v>
                </c:pt>
                <c:pt idx="169">
                  <c:v>0.98723257778777729</c:v>
                </c:pt>
                <c:pt idx="170">
                  <c:v>0.98749203041649658</c:v>
                </c:pt>
                <c:pt idx="171">
                  <c:v>0.98774692036724765</c:v>
                </c:pt>
                <c:pt idx="172">
                  <c:v>0.98799484706730145</c:v>
                </c:pt>
                <c:pt idx="173">
                  <c:v>0.98823813160022378</c:v>
                </c:pt>
                <c:pt idx="174">
                  <c:v>0.98847416672146127</c:v>
                </c:pt>
                <c:pt idx="175">
                  <c:v>0.98870231651770824</c:v>
                </c:pt>
                <c:pt idx="176">
                  <c:v>0.98892933756783763</c:v>
                </c:pt>
                <c:pt idx="177">
                  <c:v>0.98915612015047738</c:v>
                </c:pt>
                <c:pt idx="178">
                  <c:v>0.98938226681981145</c:v>
                </c:pt>
                <c:pt idx="179">
                  <c:v>0.98960428005265866</c:v>
                </c:pt>
                <c:pt idx="180">
                  <c:v>0.9898253553133799</c:v>
                </c:pt>
                <c:pt idx="181">
                  <c:v>0.99004315562057688</c:v>
                </c:pt>
                <c:pt idx="182">
                  <c:v>0.9902556778473367</c:v>
                </c:pt>
                <c:pt idx="183">
                  <c:v>0.99046219069335784</c:v>
                </c:pt>
                <c:pt idx="184">
                  <c:v>0.99066655733197229</c:v>
                </c:pt>
                <c:pt idx="185">
                  <c:v>0.9908686823761842</c:v>
                </c:pt>
                <c:pt idx="186">
                  <c:v>0.99106114153814961</c:v>
                </c:pt>
                <c:pt idx="187">
                  <c:v>0.99125056421408042</c:v>
                </c:pt>
                <c:pt idx="188">
                  <c:v>0.99143801555876365</c:v>
                </c:pt>
                <c:pt idx="189">
                  <c:v>0.99162351147003192</c:v>
                </c:pt>
                <c:pt idx="190">
                  <c:v>0.99179091564775346</c:v>
                </c:pt>
                <c:pt idx="191">
                  <c:v>0.99195194479458548</c:v>
                </c:pt>
                <c:pt idx="192">
                  <c:v>0.99211295804358479</c:v>
                </c:pt>
                <c:pt idx="193">
                  <c:v>0.99226745318120091</c:v>
                </c:pt>
                <c:pt idx="194">
                  <c:v>0.99241830771514195</c:v>
                </c:pt>
                <c:pt idx="195">
                  <c:v>0.99256459957111476</c:v>
                </c:pt>
                <c:pt idx="196">
                  <c:v>0.99270601079246634</c:v>
                </c:pt>
                <c:pt idx="197">
                  <c:v>0.99283713611609847</c:v>
                </c:pt>
                <c:pt idx="198">
                  <c:v>0.99296322182678309</c:v>
                </c:pt>
                <c:pt idx="199">
                  <c:v>0.99308825828051339</c:v>
                </c:pt>
                <c:pt idx="200">
                  <c:v>0.99321186392930583</c:v>
                </c:pt>
                <c:pt idx="201">
                  <c:v>0.99333527880410655</c:v>
                </c:pt>
                <c:pt idx="202">
                  <c:v>0.99345584796686437</c:v>
                </c:pt>
                <c:pt idx="203">
                  <c:v>0.99357582890981444</c:v>
                </c:pt>
                <c:pt idx="204">
                  <c:v>0.99369185129243665</c:v>
                </c:pt>
                <c:pt idx="205">
                  <c:v>0.99380587054814595</c:v>
                </c:pt>
                <c:pt idx="206">
                  <c:v>0.99391604252835586</c:v>
                </c:pt>
                <c:pt idx="207">
                  <c:v>0.99402546731043151</c:v>
                </c:pt>
                <c:pt idx="208">
                  <c:v>0.99412848526595243</c:v>
                </c:pt>
                <c:pt idx="209">
                  <c:v>0.99423132834531425</c:v>
                </c:pt>
                <c:pt idx="210">
                  <c:v>0.99433351961353778</c:v>
                </c:pt>
                <c:pt idx="211">
                  <c:v>0.99443129128428676</c:v>
                </c:pt>
                <c:pt idx="212">
                  <c:v>0.99452822036990574</c:v>
                </c:pt>
                <c:pt idx="213">
                  <c:v>0.99462419558556614</c:v>
                </c:pt>
                <c:pt idx="214">
                  <c:v>0.99471982104890844</c:v>
                </c:pt>
                <c:pt idx="215">
                  <c:v>0.99480940533584672</c:v>
                </c:pt>
                <c:pt idx="216">
                  <c:v>0.99489752702218193</c:v>
                </c:pt>
                <c:pt idx="217">
                  <c:v>0.99498542613886021</c:v>
                </c:pt>
                <c:pt idx="218">
                  <c:v>0.99507278472922867</c:v>
                </c:pt>
                <c:pt idx="219">
                  <c:v>0.99515928483663441</c:v>
                </c:pt>
                <c:pt idx="220">
                  <c:v>0.99524362283880086</c:v>
                </c:pt>
                <c:pt idx="221">
                  <c:v>0.99532584642922584</c:v>
                </c:pt>
                <c:pt idx="222">
                  <c:v>0.99540783155216128</c:v>
                </c:pt>
                <c:pt idx="223">
                  <c:v>0.99548705045221697</c:v>
                </c:pt>
                <c:pt idx="224">
                  <c:v>0.99556477495600426</c:v>
                </c:pt>
                <c:pt idx="225">
                  <c:v>0.99564054402637658</c:v>
                </c:pt>
                <c:pt idx="226">
                  <c:v>0.99571601103792873</c:v>
                </c:pt>
                <c:pt idx="227">
                  <c:v>0.99578931594424158</c:v>
                </c:pt>
                <c:pt idx="228">
                  <c:v>0.99586050643881296</c:v>
                </c:pt>
                <c:pt idx="229">
                  <c:v>0.99593025023061388</c:v>
                </c:pt>
                <c:pt idx="230">
                  <c:v>0.99599943759827236</c:v>
                </c:pt>
                <c:pt idx="231">
                  <c:v>0.99606684440867499</c:v>
                </c:pt>
                <c:pt idx="232">
                  <c:v>0.99613399685375525</c:v>
                </c:pt>
                <c:pt idx="233">
                  <c:v>0.99620032261153812</c:v>
                </c:pt>
                <c:pt idx="234">
                  <c:v>0.99626423189875946</c:v>
                </c:pt>
                <c:pt idx="235">
                  <c:v>0.99632804579898493</c:v>
                </c:pt>
                <c:pt idx="236">
                  <c:v>0.9963896816961384</c:v>
                </c:pt>
                <c:pt idx="237">
                  <c:v>0.99644993448185204</c:v>
                </c:pt>
                <c:pt idx="238">
                  <c:v>0.99650924929543983</c:v>
                </c:pt>
                <c:pt idx="239">
                  <c:v>0.99656759434123643</c:v>
                </c:pt>
                <c:pt idx="240">
                  <c:v>0.99662581220437185</c:v>
                </c:pt>
                <c:pt idx="241">
                  <c:v>0.99668383929351556</c:v>
                </c:pt>
                <c:pt idx="242">
                  <c:v>0.99673960889042412</c:v>
                </c:pt>
                <c:pt idx="243">
                  <c:v>0.9967952513046715</c:v>
                </c:pt>
                <c:pt idx="244">
                  <c:v>0.99684879520501013</c:v>
                </c:pt>
                <c:pt idx="245">
                  <c:v>0.99690189396603479</c:v>
                </c:pt>
                <c:pt idx="246">
                  <c:v>0.9969540706527662</c:v>
                </c:pt>
                <c:pt idx="247">
                  <c:v>0.99700532526520436</c:v>
                </c:pt>
                <c:pt idx="248">
                  <c:v>0.99705262131731465</c:v>
                </c:pt>
                <c:pt idx="249">
                  <c:v>0.9970996947997679</c:v>
                </c:pt>
                <c:pt idx="250">
                  <c:v>0.99714595749275647</c:v>
                </c:pt>
                <c:pt idx="251">
                  <c:v>0.99719190222909215</c:v>
                </c:pt>
                <c:pt idx="252">
                  <c:v>0.99723768798710144</c:v>
                </c:pt>
                <c:pt idx="253">
                  <c:v>0.99728234499899315</c:v>
                </c:pt>
                <c:pt idx="254">
                  <c:v>0.99732685893039108</c:v>
                </c:pt>
                <c:pt idx="255">
                  <c:v>0.99737041899183043</c:v>
                </c:pt>
                <c:pt idx="256">
                  <c:v>0.99741175335669996</c:v>
                </c:pt>
                <c:pt idx="257">
                  <c:v>0.99745289694757777</c:v>
                </c:pt>
                <c:pt idx="258">
                  <c:v>0.99749402464062298</c:v>
                </c:pt>
                <c:pt idx="259">
                  <c:v>0.99753504104883961</c:v>
                </c:pt>
                <c:pt idx="260">
                  <c:v>0.99757583488739932</c:v>
                </c:pt>
                <c:pt idx="261">
                  <c:v>0.99761621538231027</c:v>
                </c:pt>
                <c:pt idx="262">
                  <c:v>0.99765513327661814</c:v>
                </c:pt>
                <c:pt idx="263">
                  <c:v>0.99769397168176288</c:v>
                </c:pt>
                <c:pt idx="264">
                  <c:v>0.99773269880207904</c:v>
                </c:pt>
                <c:pt idx="265">
                  <c:v>0.99777123514840349</c:v>
                </c:pt>
                <c:pt idx="266">
                  <c:v>0.99780932635541397</c:v>
                </c:pt>
                <c:pt idx="267">
                  <c:v>0.99784662267079238</c:v>
                </c:pt>
                <c:pt idx="268">
                  <c:v>0.99788350564252204</c:v>
                </c:pt>
                <c:pt idx="269">
                  <c:v>0.99792007065759891</c:v>
                </c:pt>
                <c:pt idx="270">
                  <c:v>0.997956492592182</c:v>
                </c:pt>
                <c:pt idx="271">
                  <c:v>0.99799273965060598</c:v>
                </c:pt>
                <c:pt idx="272">
                  <c:v>0.9980288913220341</c:v>
                </c:pt>
                <c:pt idx="273">
                  <c:v>0.99806420040833221</c:v>
                </c:pt>
                <c:pt idx="274">
                  <c:v>0.99809917564014483</c:v>
                </c:pt>
                <c:pt idx="275">
                  <c:v>0.99813157542306952</c:v>
                </c:pt>
                <c:pt idx="276">
                  <c:v>0.99816233772923202</c:v>
                </c:pt>
                <c:pt idx="277">
                  <c:v>0.99819262310041523</c:v>
                </c:pt>
                <c:pt idx="278">
                  <c:v>0.99822154125799123</c:v>
                </c:pt>
                <c:pt idx="279">
                  <c:v>0.9982504117220693</c:v>
                </c:pt>
                <c:pt idx="280">
                  <c:v>0.99827913910565358</c:v>
                </c:pt>
                <c:pt idx="281">
                  <c:v>0.99830753263475236</c:v>
                </c:pt>
                <c:pt idx="282">
                  <c:v>0.99833463843940717</c:v>
                </c:pt>
                <c:pt idx="283">
                  <c:v>0.9983612673090827</c:v>
                </c:pt>
                <c:pt idx="284">
                  <c:v>0.99838746693727687</c:v>
                </c:pt>
                <c:pt idx="285">
                  <c:v>0.99841226755619861</c:v>
                </c:pt>
                <c:pt idx="286">
                  <c:v>0.99843673432063484</c:v>
                </c:pt>
                <c:pt idx="287">
                  <c:v>0.99846066055876126</c:v>
                </c:pt>
                <c:pt idx="288">
                  <c:v>0.99848371241609235</c:v>
                </c:pt>
                <c:pt idx="289">
                  <c:v>0.99850676427342344</c:v>
                </c:pt>
                <c:pt idx="290">
                  <c:v>0.99852881456729803</c:v>
                </c:pt>
                <c:pt idx="291">
                  <c:v>0.99855064229151569</c:v>
                </c:pt>
                <c:pt idx="292">
                  <c:v>0.99857245411790063</c:v>
                </c:pt>
                <c:pt idx="293">
                  <c:v>0.99859415465945711</c:v>
                </c:pt>
                <c:pt idx="294">
                  <c:v>0.99861579160968306</c:v>
                </c:pt>
                <c:pt idx="295">
                  <c:v>0.99863723778591729</c:v>
                </c:pt>
                <c:pt idx="296">
                  <c:v>0.99865866806431891</c:v>
                </c:pt>
                <c:pt idx="297">
                  <c:v>0.99867963730557385</c:v>
                </c:pt>
                <c:pt idx="298">
                  <c:v>0.99870001832702104</c:v>
                </c:pt>
                <c:pt idx="299">
                  <c:v>0.99872006549398273</c:v>
                </c:pt>
                <c:pt idx="300">
                  <c:v>0.99873998547828335</c:v>
                </c:pt>
                <c:pt idx="301">
                  <c:v>0.99875985776908605</c:v>
                </c:pt>
                <c:pt idx="302">
                  <c:v>0.99877971416205602</c:v>
                </c:pt>
                <c:pt idx="303">
                  <c:v>0.99879933208753635</c:v>
                </c:pt>
                <c:pt idx="304">
                  <c:v>0.99881866385202922</c:v>
                </c:pt>
                <c:pt idx="305">
                  <c:v>0.99883721662272262</c:v>
                </c:pt>
                <c:pt idx="306">
                  <c:v>0.99885549913026106</c:v>
                </c:pt>
                <c:pt idx="307">
                  <c:v>0.9988736226594731</c:v>
                </c:pt>
                <c:pt idx="308">
                  <c:v>0.99889173029085243</c:v>
                </c:pt>
                <c:pt idx="309">
                  <c:v>0.99890975843306862</c:v>
                </c:pt>
                <c:pt idx="310">
                  <c:v>0.9989277865752848</c:v>
                </c:pt>
                <c:pt idx="311">
                  <c:v>0.99894556035217874</c:v>
                </c:pt>
                <c:pt idx="312">
                  <c:v>0.99896323874207682</c:v>
                </c:pt>
                <c:pt idx="313">
                  <c:v>0.99898072635798318</c:v>
                </c:pt>
                <c:pt idx="314">
                  <c:v>0.99899821397388955</c:v>
                </c:pt>
                <c:pt idx="315">
                  <c:v>0.99901546312230627</c:v>
                </c:pt>
                <c:pt idx="316">
                  <c:v>0.99903247380323335</c:v>
                </c:pt>
                <c:pt idx="317">
                  <c:v>0.99904924601667078</c:v>
                </c:pt>
                <c:pt idx="318">
                  <c:v>0.99906598643444289</c:v>
                </c:pt>
                <c:pt idx="319">
                  <c:v>0.99908242479339482</c:v>
                </c:pt>
                <c:pt idx="320">
                  <c:v>0.99909870417402036</c:v>
                </c:pt>
                <c:pt idx="321">
                  <c:v>0.99911477688282158</c:v>
                </c:pt>
                <c:pt idx="322">
                  <c:v>0.99913081779595747</c:v>
                </c:pt>
                <c:pt idx="323">
                  <c:v>0.99914682691342804</c:v>
                </c:pt>
                <c:pt idx="324">
                  <c:v>0.99917816154156569</c:v>
                </c:pt>
                <c:pt idx="325">
                  <c:v>0.99919318499341248</c:v>
                </c:pt>
                <c:pt idx="326">
                  <c:v>0.99920789048860648</c:v>
                </c:pt>
                <c:pt idx="327">
                  <c:v>0.99922250059680462</c:v>
                </c:pt>
                <c:pt idx="328">
                  <c:v>0.99923698352234158</c:v>
                </c:pt>
                <c:pt idx="329">
                  <c:v>0.99925135516305008</c:v>
                </c:pt>
                <c:pt idx="330">
                  <c:v>0.99926548833626894</c:v>
                </c:pt>
                <c:pt idx="331">
                  <c:v>0.99927952612249193</c:v>
                </c:pt>
                <c:pt idx="332">
                  <c:v>0.99929354801088233</c:v>
                </c:pt>
                <c:pt idx="333">
                  <c:v>0.999307379125281</c:v>
                </c:pt>
                <c:pt idx="334">
                  <c:v>0.99932101946568797</c:v>
                </c:pt>
                <c:pt idx="335">
                  <c:v>0.99933437364510735</c:v>
                </c:pt>
                <c:pt idx="336">
                  <c:v>0.99934750525486971</c:v>
                </c:pt>
                <c:pt idx="337">
                  <c:v>0.99936049378413827</c:v>
                </c:pt>
                <c:pt idx="338">
                  <c:v>0.99937337102857837</c:v>
                </c:pt>
                <c:pt idx="339">
                  <c:v>0.99938616878385522</c:v>
                </c:pt>
                <c:pt idx="340">
                  <c:v>0.99939888704996893</c:v>
                </c:pt>
                <c:pt idx="341">
                  <c:v>0.99941122376809921</c:v>
                </c:pt>
                <c:pt idx="342">
                  <c:v>0.99942330612090724</c:v>
                </c:pt>
                <c:pt idx="343">
                  <c:v>0.99943443460375669</c:v>
                </c:pt>
                <c:pt idx="344">
                  <c:v>0.99944507025379425</c:v>
                </c:pt>
                <c:pt idx="345">
                  <c:v>0.99945556282333803</c:v>
                </c:pt>
                <c:pt idx="346">
                  <c:v>0.99946584872105748</c:v>
                </c:pt>
                <c:pt idx="347">
                  <c:v>0.99947595974261783</c:v>
                </c:pt>
                <c:pt idx="348">
                  <c:v>0.99948605486634556</c:v>
                </c:pt>
                <c:pt idx="349">
                  <c:v>0.99949607050091005</c:v>
                </c:pt>
                <c:pt idx="350">
                  <c:v>0.99950589536148293</c:v>
                </c:pt>
                <c:pt idx="351">
                  <c:v>0.99951559303939463</c:v>
                </c:pt>
                <c:pt idx="352">
                  <c:v>0.99952513173897994</c:v>
                </c:pt>
                <c:pt idx="353">
                  <c:v>0.99953465454073254</c:v>
                </c:pt>
                <c:pt idx="354">
                  <c:v>0.99954416144465252</c:v>
                </c:pt>
                <c:pt idx="355">
                  <c:v>0.99955366834857251</c:v>
                </c:pt>
                <c:pt idx="356">
                  <c:v>0.99956293678500285</c:v>
                </c:pt>
                <c:pt idx="357">
                  <c:v>0.9995722052214332</c:v>
                </c:pt>
                <c:pt idx="358">
                  <c:v>0.99958128288387182</c:v>
                </c:pt>
                <c:pt idx="359">
                  <c:v>0.99958999489615974</c:v>
                </c:pt>
                <c:pt idx="360">
                  <c:v>0.99959850023662322</c:v>
                </c:pt>
                <c:pt idx="361">
                  <c:v>0.99960697378142149</c:v>
                </c:pt>
                <c:pt idx="362">
                  <c:v>0.99961539963272183</c:v>
                </c:pt>
                <c:pt idx="363">
                  <c:v>0.99962366650569578</c:v>
                </c:pt>
                <c:pt idx="364">
                  <c:v>0.99963186978733909</c:v>
                </c:pt>
                <c:pt idx="365">
                  <c:v>0.99964005717114979</c:v>
                </c:pt>
                <c:pt idx="366">
                  <c:v>0.99964822865712788</c:v>
                </c:pt>
                <c:pt idx="367">
                  <c:v>0.99965633655177533</c:v>
                </c:pt>
                <c:pt idx="368">
                  <c:v>0.99966412648976999</c:v>
                </c:pt>
                <c:pt idx="369">
                  <c:v>0.99967191642776465</c:v>
                </c:pt>
                <c:pt idx="370">
                  <c:v>0.99967959508093074</c:v>
                </c:pt>
                <c:pt idx="371">
                  <c:v>0.99968722604059901</c:v>
                </c:pt>
                <c:pt idx="372">
                  <c:v>0.99969479340893663</c:v>
                </c:pt>
                <c:pt idx="373">
                  <c:v>0.99970213820761733</c:v>
                </c:pt>
                <c:pt idx="374">
                  <c:v>0.99970930813013892</c:v>
                </c:pt>
                <c:pt idx="375">
                  <c:v>0.99971631907433411</c:v>
                </c:pt>
                <c:pt idx="376">
                  <c:v>0.99972331412069659</c:v>
                </c:pt>
                <c:pt idx="377">
                  <c:v>0.99973027737139386</c:v>
                </c:pt>
                <c:pt idx="378">
                  <c:v>0.99973717703076059</c:v>
                </c:pt>
                <c:pt idx="379">
                  <c:v>0.99974398130313147</c:v>
                </c:pt>
                <c:pt idx="380">
                  <c:v>0.99975049941451477</c:v>
                </c:pt>
                <c:pt idx="381">
                  <c:v>0.99975687444540429</c:v>
                </c:pt>
                <c:pt idx="382">
                  <c:v>0.99976304280446948</c:v>
                </c:pt>
                <c:pt idx="383">
                  <c:v>0.9997690839808735</c:v>
                </c:pt>
                <c:pt idx="384">
                  <c:v>0.99977501387244905</c:v>
                </c:pt>
                <c:pt idx="385">
                  <c:v>0.9997809437640246</c:v>
                </c:pt>
                <c:pt idx="386">
                  <c:v>0.99978674647293897</c:v>
                </c:pt>
                <c:pt idx="387">
                  <c:v>0.99979253328402073</c:v>
                </c:pt>
                <c:pt idx="388">
                  <c:v>0.99979801803628221</c:v>
                </c:pt>
                <c:pt idx="389">
                  <c:v>0.99980339150371522</c:v>
                </c:pt>
                <c:pt idx="390">
                  <c:v>0.99980873317548302</c:v>
                </c:pt>
                <c:pt idx="391">
                  <c:v>0.99981405894941811</c:v>
                </c:pt>
                <c:pt idx="392">
                  <c:v>0.99981938472335319</c:v>
                </c:pt>
                <c:pt idx="393">
                  <c:v>0.99982455151896188</c:v>
                </c:pt>
                <c:pt idx="394">
                  <c:v>0.99982970241673796</c:v>
                </c:pt>
                <c:pt idx="395">
                  <c:v>0.99983471023402026</c:v>
                </c:pt>
                <c:pt idx="396">
                  <c:v>0.99983970215346984</c:v>
                </c:pt>
                <c:pt idx="397">
                  <c:v>0.99984458278809096</c:v>
                </c:pt>
                <c:pt idx="398">
                  <c:v>0.99984941572921415</c:v>
                </c:pt>
                <c:pt idx="399">
                  <c:v>0.99985418507900681</c:v>
                </c:pt>
                <c:pt idx="400">
                  <c:v>0.99985895442879946</c:v>
                </c:pt>
                <c:pt idx="401">
                  <c:v>0.99986833415005827</c:v>
                </c:pt>
                <c:pt idx="402">
                  <c:v>0.99987300811285507</c:v>
                </c:pt>
                <c:pt idx="403">
                  <c:v>0.99987752309732547</c:v>
                </c:pt>
                <c:pt idx="404">
                  <c:v>0.9998819108991347</c:v>
                </c:pt>
                <c:pt idx="405">
                  <c:v>0.9998862669052786</c:v>
                </c:pt>
                <c:pt idx="406">
                  <c:v>0.99989477224574208</c:v>
                </c:pt>
                <c:pt idx="407">
                  <c:v>0.99989888978439634</c:v>
                </c:pt>
                <c:pt idx="408">
                  <c:v>0.999906679722391</c:v>
                </c:pt>
                <c:pt idx="409">
                  <c:v>0.99991057469138833</c:v>
                </c:pt>
                <c:pt idx="410">
                  <c:v>0.99991434247772448</c:v>
                </c:pt>
                <c:pt idx="411">
                  <c:v>0.99991811026406063</c:v>
                </c:pt>
                <c:pt idx="412">
                  <c:v>0.99992179856123364</c:v>
                </c:pt>
                <c:pt idx="413">
                  <c:v>0.99992545506274133</c:v>
                </c:pt>
                <c:pt idx="414">
                  <c:v>0.99992895258592263</c:v>
                </c:pt>
                <c:pt idx="415">
                  <c:v>0.99993233882427535</c:v>
                </c:pt>
                <c:pt idx="416">
                  <c:v>0.99993567736913014</c:v>
                </c:pt>
                <c:pt idx="417">
                  <c:v>0.99993901591398493</c:v>
                </c:pt>
                <c:pt idx="418">
                  <c:v>0.99994217958268072</c:v>
                </c:pt>
                <c:pt idx="419">
                  <c:v>0.99994502529472362</c:v>
                </c:pt>
                <c:pt idx="420">
                  <c:v>0.99994772792627273</c:v>
                </c:pt>
                <c:pt idx="421">
                  <c:v>0.99995283113055089</c:v>
                </c:pt>
                <c:pt idx="422">
                  <c:v>0.99995504092928811</c:v>
                </c:pt>
                <c:pt idx="423">
                  <c:v>0.99995694866920515</c:v>
                </c:pt>
                <c:pt idx="424">
                  <c:v>0.99995876102212633</c:v>
                </c:pt>
                <c:pt idx="425">
                  <c:v>0.99996206777131591</c:v>
                </c:pt>
                <c:pt idx="426">
                  <c:v>0.99996356216758431</c:v>
                </c:pt>
                <c:pt idx="427">
                  <c:v>0.99996502476818738</c:v>
                </c:pt>
                <c:pt idx="428">
                  <c:v>0.99996648736879046</c:v>
                </c:pt>
                <c:pt idx="429">
                  <c:v>0.99996917410250696</c:v>
                </c:pt>
                <c:pt idx="430">
                  <c:v>0.99997046182695093</c:v>
                </c:pt>
                <c:pt idx="431">
                  <c:v>0.999972941888843</c:v>
                </c:pt>
                <c:pt idx="432">
                  <c:v>0.99997418191978904</c:v>
                </c:pt>
                <c:pt idx="433">
                  <c:v>0.99997650300335472</c:v>
                </c:pt>
                <c:pt idx="434">
                  <c:v>0.9999776317494723</c:v>
                </c:pt>
                <c:pt idx="435">
                  <c:v>0.9999809702943272</c:v>
                </c:pt>
                <c:pt idx="436">
                  <c:v>0.99998311650173388</c:v>
                </c:pt>
                <c:pt idx="437">
                  <c:v>0.99998507193514896</c:v>
                </c:pt>
                <c:pt idx="438">
                  <c:v>0.99998602580510754</c:v>
                </c:pt>
                <c:pt idx="439">
                  <c:v>0.99998694787940079</c:v>
                </c:pt>
                <c:pt idx="440">
                  <c:v>0.99998876023232197</c:v>
                </c:pt>
                <c:pt idx="441">
                  <c:v>0.9999896346131173</c:v>
                </c:pt>
                <c:pt idx="442">
                  <c:v>0.99999044540258208</c:v>
                </c:pt>
                <c:pt idx="443">
                  <c:v>0.99999201928801362</c:v>
                </c:pt>
                <c:pt idx="444">
                  <c:v>0.99999275058831516</c:v>
                </c:pt>
                <c:pt idx="445">
                  <c:v>0.99999483320439131</c:v>
                </c:pt>
                <c:pt idx="446">
                  <c:v>0.99999604143967213</c:v>
                </c:pt>
                <c:pt idx="447">
                  <c:v>0.9999981717492461</c:v>
                </c:pt>
                <c:pt idx="448">
                  <c:v>0.99999863278639267</c:v>
                </c:pt>
                <c:pt idx="449">
                  <c:v>0.9999990143343761</c:v>
                </c:pt>
                <c:pt idx="450">
                  <c:v>0.99999937998452681</c:v>
                </c:pt>
                <c:pt idx="451">
                  <c:v>0.99999974563467753</c:v>
                </c:pt>
                <c:pt idx="452">
                  <c:v>0.99999999999999978</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312</c:f>
              <c:strCache>
                <c:ptCount val="311"/>
                <c:pt idx="0">
                  <c:v>Ruinart</c:v>
                </c:pt>
                <c:pt idx="1">
                  <c:v>Nicolas</c:v>
                </c:pt>
                <c:pt idx="2">
                  <c:v>Deutz</c:v>
                </c:pt>
                <c:pt idx="3">
                  <c:v>Heidsieck &amp;</c:v>
                </c:pt>
                <c:pt idx="4">
                  <c:v>Ruinart</c:v>
                </c:pt>
                <c:pt idx="5">
                  <c:v>Malard</c:v>
                </c:pt>
                <c:pt idx="6">
                  <c:v>Laurent Per</c:v>
                </c:pt>
                <c:pt idx="7">
                  <c:v>Ayala</c:v>
                </c:pt>
                <c:pt idx="8">
                  <c:v>De Bligny</c:v>
                </c:pt>
                <c:pt idx="9">
                  <c:v>Nicolas Feu</c:v>
                </c:pt>
                <c:pt idx="10">
                  <c:v>Canard Duch</c:v>
                </c:pt>
                <c:pt idx="11">
                  <c:v>Taittinger</c:v>
                </c:pt>
                <c:pt idx="12">
                  <c:v>Besserat De</c:v>
                </c:pt>
                <c:pt idx="13">
                  <c:v>Bollinger</c:v>
                </c:pt>
                <c:pt idx="14">
                  <c:v>Ruinart</c:v>
                </c:pt>
                <c:pt idx="15">
                  <c:v>Ruinart</c:v>
                </c:pt>
                <c:pt idx="16">
                  <c:v>Perrier Jou</c:v>
                </c:pt>
                <c:pt idx="17">
                  <c:v>Demoiselle</c:v>
                </c:pt>
                <c:pt idx="18">
                  <c:v>Deutz</c:v>
                </c:pt>
                <c:pt idx="19">
                  <c:v>Ruinart</c:v>
                </c:pt>
                <c:pt idx="20">
                  <c:v>All Others</c:v>
                </c:pt>
                <c:pt idx="21">
                  <c:v>Ruinart</c:v>
                </c:pt>
                <c:pt idx="22">
                  <c:v>Vesselle</c:v>
                </c:pt>
                <c:pt idx="23">
                  <c:v>Roederer</c:v>
                </c:pt>
                <c:pt idx="24">
                  <c:v>Laurent Per</c:v>
                </c:pt>
                <c:pt idx="25">
                  <c:v>Campari: Al</c:v>
                </c:pt>
                <c:pt idx="26">
                  <c:v>Pommery</c:v>
                </c:pt>
                <c:pt idx="27">
                  <c:v>All Others</c:v>
                </c:pt>
                <c:pt idx="28">
                  <c:v>Savian</c:v>
                </c:pt>
                <c:pt idx="29">
                  <c:v>Deutz</c:v>
                </c:pt>
                <c:pt idx="30">
                  <c:v>Malard</c:v>
                </c:pt>
                <c:pt idx="31">
                  <c:v>Veuve Clicq</c:v>
                </c:pt>
                <c:pt idx="32">
                  <c:v>Demoiselle</c:v>
                </c:pt>
                <c:pt idx="33">
                  <c:v>Moët &amp; Chan</c:v>
                </c:pt>
                <c:pt idx="34">
                  <c:v>Henriot</c:v>
                </c:pt>
                <c:pt idx="35">
                  <c:v>All Others</c:v>
                </c:pt>
                <c:pt idx="36">
                  <c:v>Nicolas</c:v>
                </c:pt>
                <c:pt idx="37">
                  <c:v>Taittinger</c:v>
                </c:pt>
                <c:pt idx="38">
                  <c:v>De Venoge</c:v>
                </c:pt>
                <c:pt idx="39">
                  <c:v>Dom Perigno</c:v>
                </c:pt>
                <c:pt idx="40">
                  <c:v>Dom Perigno</c:v>
                </c:pt>
                <c:pt idx="41">
                  <c:v>Veuve Clicq</c:v>
                </c:pt>
                <c:pt idx="42">
                  <c:v>Ruinart</c:v>
                </c:pt>
                <c:pt idx="43">
                  <c:v>Laurent Per</c:v>
                </c:pt>
                <c:pt idx="44">
                  <c:v>Roederer</c:v>
                </c:pt>
                <c:pt idx="45">
                  <c:v>Veuve Clicq</c:v>
                </c:pt>
                <c:pt idx="46">
                  <c:v>Piper Heids</c:v>
                </c:pt>
                <c:pt idx="47">
                  <c:v>Malard</c:v>
                </c:pt>
                <c:pt idx="48">
                  <c:v>Deutz</c:v>
                </c:pt>
                <c:pt idx="49">
                  <c:v>Louis Marti</c:v>
                </c:pt>
                <c:pt idx="50">
                  <c:v>Ruinart</c:v>
                </c:pt>
                <c:pt idx="51">
                  <c:v>Ruinart</c:v>
                </c:pt>
                <c:pt idx="52">
                  <c:v>Nicolas</c:v>
                </c:pt>
                <c:pt idx="53">
                  <c:v>Nicolas Feu</c:v>
                </c:pt>
                <c:pt idx="54">
                  <c:v>Nicolas</c:v>
                </c:pt>
                <c:pt idx="55">
                  <c:v>Moët &amp; Chan</c:v>
                </c:pt>
                <c:pt idx="56">
                  <c:v>Lanson</c:v>
                </c:pt>
                <c:pt idx="57">
                  <c:v>Nicolas Feu</c:v>
                </c:pt>
                <c:pt idx="58">
                  <c:v>Besserat De</c:v>
                </c:pt>
                <c:pt idx="59">
                  <c:v>Moët &amp; Chan</c:v>
                </c:pt>
                <c:pt idx="60">
                  <c:v>Campari: Al</c:v>
                </c:pt>
                <c:pt idx="61">
                  <c:v>Canard Duch</c:v>
                </c:pt>
                <c:pt idx="62">
                  <c:v>Malard</c:v>
                </c:pt>
                <c:pt idx="63">
                  <c:v>Roederer</c:v>
                </c:pt>
                <c:pt idx="64">
                  <c:v>Henriot</c:v>
                </c:pt>
                <c:pt idx="65">
                  <c:v>Malard</c:v>
                </c:pt>
                <c:pt idx="66">
                  <c:v>Nicolas Feu</c:v>
                </c:pt>
                <c:pt idx="67">
                  <c:v>De Bligny</c:v>
                </c:pt>
                <c:pt idx="68">
                  <c:v>Delamotte</c:v>
                </c:pt>
                <c:pt idx="69">
                  <c:v>Besserat De</c:v>
                </c:pt>
                <c:pt idx="70">
                  <c:v>Bollinger</c:v>
                </c:pt>
                <c:pt idx="71">
                  <c:v>Ruinart</c:v>
                </c:pt>
                <c:pt idx="72">
                  <c:v>Pommery</c:v>
                </c:pt>
                <c:pt idx="73">
                  <c:v>Dom Perigno</c:v>
                </c:pt>
                <c:pt idx="74">
                  <c:v>Henriot</c:v>
                </c:pt>
                <c:pt idx="75">
                  <c:v>Krug</c:v>
                </c:pt>
                <c:pt idx="76">
                  <c:v>Vranken</c:v>
                </c:pt>
                <c:pt idx="77">
                  <c:v>Laurent Per</c:v>
                </c:pt>
                <c:pt idx="78">
                  <c:v>Henriot</c:v>
                </c:pt>
                <c:pt idx="79">
                  <c:v>Ayala</c:v>
                </c:pt>
                <c:pt idx="80">
                  <c:v>Roederer</c:v>
                </c:pt>
                <c:pt idx="81">
                  <c:v>De Venoge</c:v>
                </c:pt>
                <c:pt idx="82">
                  <c:v>Roederer</c:v>
                </c:pt>
                <c:pt idx="83">
                  <c:v>De Venoge</c:v>
                </c:pt>
                <c:pt idx="84">
                  <c:v>Canard Duch</c:v>
                </c:pt>
                <c:pt idx="85">
                  <c:v>Nicolas</c:v>
                </c:pt>
                <c:pt idx="86">
                  <c:v>De Venoge</c:v>
                </c:pt>
                <c:pt idx="87">
                  <c:v>Roederer</c:v>
                </c:pt>
                <c:pt idx="88">
                  <c:v>Deutz</c:v>
                </c:pt>
                <c:pt idx="89">
                  <c:v>Roederer</c:v>
                </c:pt>
                <c:pt idx="90">
                  <c:v>Bollinger</c:v>
                </c:pt>
                <c:pt idx="91">
                  <c:v>Ruinart</c:v>
                </c:pt>
                <c:pt idx="92">
                  <c:v>Ruinart</c:v>
                </c:pt>
                <c:pt idx="93">
                  <c:v>Nicolas</c:v>
                </c:pt>
                <c:pt idx="94">
                  <c:v>Roederer</c:v>
                </c:pt>
                <c:pt idx="95">
                  <c:v>Ruinart</c:v>
                </c:pt>
                <c:pt idx="96">
                  <c:v>Perrier Jou</c:v>
                </c:pt>
                <c:pt idx="97">
                  <c:v>Ruinart</c:v>
                </c:pt>
                <c:pt idx="98">
                  <c:v>Malard</c:v>
                </c:pt>
                <c:pt idx="99">
                  <c:v>Moët &amp; Chan</c:v>
                </c:pt>
                <c:pt idx="100">
                  <c:v>Roederer</c:v>
                </c:pt>
                <c:pt idx="101">
                  <c:v>Roederer</c:v>
                </c:pt>
                <c:pt idx="102">
                  <c:v>Ruinart</c:v>
                </c:pt>
                <c:pt idx="103">
                  <c:v>Canard Duch</c:v>
                </c:pt>
                <c:pt idx="104">
                  <c:v>Nicolas Feu</c:v>
                </c:pt>
                <c:pt idx="105">
                  <c:v>Veuve Clicq</c:v>
                </c:pt>
                <c:pt idx="106">
                  <c:v>Laurent Per</c:v>
                </c:pt>
                <c:pt idx="107">
                  <c:v>Nicolas</c:v>
                </c:pt>
                <c:pt idx="108">
                  <c:v>Nicolas</c:v>
                </c:pt>
                <c:pt idx="109">
                  <c:v>Perrier Jou</c:v>
                </c:pt>
                <c:pt idx="110">
                  <c:v>Vranken</c:v>
                </c:pt>
                <c:pt idx="111">
                  <c:v>Dom Perigno</c:v>
                </c:pt>
                <c:pt idx="112">
                  <c:v>Nicolas</c:v>
                </c:pt>
                <c:pt idx="113">
                  <c:v>Veuve Clicq</c:v>
                </c:pt>
                <c:pt idx="114">
                  <c:v>Nicolas</c:v>
                </c:pt>
                <c:pt idx="115">
                  <c:v>Nicolas</c:v>
                </c:pt>
                <c:pt idx="116">
                  <c:v>Deutz</c:v>
                </c:pt>
                <c:pt idx="117">
                  <c:v>Roederer</c:v>
                </c:pt>
                <c:pt idx="118">
                  <c:v>Laurent Per</c:v>
                </c:pt>
                <c:pt idx="119">
                  <c:v>Besserat De</c:v>
                </c:pt>
                <c:pt idx="120">
                  <c:v>Canard Duch</c:v>
                </c:pt>
                <c:pt idx="121">
                  <c:v>All Others</c:v>
                </c:pt>
                <c:pt idx="122">
                  <c:v>Bollinger</c:v>
                </c:pt>
                <c:pt idx="123">
                  <c:v>Demoiselle</c:v>
                </c:pt>
                <c:pt idx="124">
                  <c:v>Nicolas</c:v>
                </c:pt>
                <c:pt idx="125">
                  <c:v>Canard Duch</c:v>
                </c:pt>
                <c:pt idx="126">
                  <c:v>Roederer</c:v>
                </c:pt>
                <c:pt idx="127">
                  <c:v>Roederer</c:v>
                </c:pt>
                <c:pt idx="128">
                  <c:v>All Others</c:v>
                </c:pt>
                <c:pt idx="129">
                  <c:v>Pommery</c:v>
                </c:pt>
                <c:pt idx="130">
                  <c:v>Dom Perigno</c:v>
                </c:pt>
                <c:pt idx="131">
                  <c:v>Nicolas</c:v>
                </c:pt>
                <c:pt idx="132">
                  <c:v>Taittinger</c:v>
                </c:pt>
                <c:pt idx="133">
                  <c:v>Nicolas</c:v>
                </c:pt>
                <c:pt idx="134">
                  <c:v>Laurent Per</c:v>
                </c:pt>
                <c:pt idx="135">
                  <c:v>Lanson</c:v>
                </c:pt>
                <c:pt idx="136">
                  <c:v>Vranken</c:v>
                </c:pt>
                <c:pt idx="137">
                  <c:v>Moët &amp; Chan</c:v>
                </c:pt>
                <c:pt idx="138">
                  <c:v>Louis Marti</c:v>
                </c:pt>
                <c:pt idx="139">
                  <c:v>Roederer</c:v>
                </c:pt>
                <c:pt idx="140">
                  <c:v>All Others</c:v>
                </c:pt>
                <c:pt idx="141">
                  <c:v>Vesselle</c:v>
                </c:pt>
                <c:pt idx="142">
                  <c:v>Pommery</c:v>
                </c:pt>
                <c:pt idx="143">
                  <c:v>Ayala</c:v>
                </c:pt>
                <c:pt idx="144">
                  <c:v>Demoiselle</c:v>
                </c:pt>
                <c:pt idx="145">
                  <c:v>Ruinart</c:v>
                </c:pt>
                <c:pt idx="146">
                  <c:v>Pommery</c:v>
                </c:pt>
                <c:pt idx="147">
                  <c:v>Piper Heids</c:v>
                </c:pt>
                <c:pt idx="148">
                  <c:v>Deutz</c:v>
                </c:pt>
                <c:pt idx="149">
                  <c:v>Nicolas</c:v>
                </c:pt>
                <c:pt idx="150">
                  <c:v>Pommery</c:v>
                </c:pt>
                <c:pt idx="151">
                  <c:v>Laurent Per</c:v>
                </c:pt>
                <c:pt idx="152">
                  <c:v>Deutz</c:v>
                </c:pt>
                <c:pt idx="153">
                  <c:v>Nicolas</c:v>
                </c:pt>
                <c:pt idx="154">
                  <c:v>Ruinart</c:v>
                </c:pt>
                <c:pt idx="155">
                  <c:v>Laurent Per</c:v>
                </c:pt>
                <c:pt idx="156">
                  <c:v>Roederer</c:v>
                </c:pt>
                <c:pt idx="157">
                  <c:v>Ruinart</c:v>
                </c:pt>
                <c:pt idx="158">
                  <c:v>Ruinart</c:v>
                </c:pt>
                <c:pt idx="159">
                  <c:v>Delamotte</c:v>
                </c:pt>
                <c:pt idx="160">
                  <c:v>Nicolas</c:v>
                </c:pt>
                <c:pt idx="161">
                  <c:v>Veuve Clicq</c:v>
                </c:pt>
                <c:pt idx="162">
                  <c:v>Nicolas</c:v>
                </c:pt>
                <c:pt idx="163">
                  <c:v>Pommery</c:v>
                </c:pt>
                <c:pt idx="164">
                  <c:v>Vesselle</c:v>
                </c:pt>
                <c:pt idx="165">
                  <c:v>Taittinger</c:v>
                </c:pt>
                <c:pt idx="166">
                  <c:v>Perrier Jou</c:v>
                </c:pt>
                <c:pt idx="167">
                  <c:v>Taittinger</c:v>
                </c:pt>
                <c:pt idx="168">
                  <c:v>Roederer</c:v>
                </c:pt>
                <c:pt idx="169">
                  <c:v>Piper Heids</c:v>
                </c:pt>
                <c:pt idx="170">
                  <c:v>Canard Duch</c:v>
                </c:pt>
                <c:pt idx="171">
                  <c:v>Besserat De</c:v>
                </c:pt>
                <c:pt idx="172">
                  <c:v>All Others</c:v>
                </c:pt>
                <c:pt idx="173">
                  <c:v>Bollinger</c:v>
                </c:pt>
                <c:pt idx="174">
                  <c:v>Ruinart</c:v>
                </c:pt>
                <c:pt idx="175">
                  <c:v>Nicolas</c:v>
                </c:pt>
                <c:pt idx="176">
                  <c:v>Roederer</c:v>
                </c:pt>
                <c:pt idx="177">
                  <c:v>Malard</c:v>
                </c:pt>
                <c:pt idx="178">
                  <c:v>Nicolas</c:v>
                </c:pt>
                <c:pt idx="179">
                  <c:v>Ruinart</c:v>
                </c:pt>
                <c:pt idx="180">
                  <c:v>Roederer</c:v>
                </c:pt>
                <c:pt idx="181">
                  <c:v>Henriot</c:v>
                </c:pt>
                <c:pt idx="182">
                  <c:v>Piper Heids</c:v>
                </c:pt>
                <c:pt idx="183">
                  <c:v>Canard Duch</c:v>
                </c:pt>
                <c:pt idx="184">
                  <c:v>Henriot</c:v>
                </c:pt>
                <c:pt idx="185">
                  <c:v>Krug</c:v>
                </c:pt>
                <c:pt idx="186">
                  <c:v>Deutz</c:v>
                </c:pt>
                <c:pt idx="187">
                  <c:v>All Others</c:v>
                </c:pt>
                <c:pt idx="188">
                  <c:v>Moët &amp; Chan</c:v>
                </c:pt>
                <c:pt idx="189">
                  <c:v>Deutz</c:v>
                </c:pt>
                <c:pt idx="190">
                  <c:v>All Others</c:v>
                </c:pt>
                <c:pt idx="191">
                  <c:v>Bollinger</c:v>
                </c:pt>
                <c:pt idx="192">
                  <c:v>Nicolas</c:v>
                </c:pt>
                <c:pt idx="193">
                  <c:v>Veuve Clicq</c:v>
                </c:pt>
                <c:pt idx="194">
                  <c:v>Roederer</c:v>
                </c:pt>
                <c:pt idx="195">
                  <c:v>De Venoge</c:v>
                </c:pt>
                <c:pt idx="196">
                  <c:v>Nicolas Feu</c:v>
                </c:pt>
                <c:pt idx="197">
                  <c:v>Laurent Per</c:v>
                </c:pt>
                <c:pt idx="198">
                  <c:v>Ruinart</c:v>
                </c:pt>
                <c:pt idx="199">
                  <c:v>All Others</c:v>
                </c:pt>
                <c:pt idx="200">
                  <c:v>Ruinart</c:v>
                </c:pt>
                <c:pt idx="201">
                  <c:v>Laurent Per</c:v>
                </c:pt>
                <c:pt idx="202">
                  <c:v>Bollinger</c:v>
                </c:pt>
                <c:pt idx="203">
                  <c:v>Roederer</c:v>
                </c:pt>
                <c:pt idx="204">
                  <c:v>De Bligny</c:v>
                </c:pt>
                <c:pt idx="205">
                  <c:v>Ruinart</c:v>
                </c:pt>
                <c:pt idx="206">
                  <c:v>Ruinart</c:v>
                </c:pt>
                <c:pt idx="207">
                  <c:v>Veuve Clicq</c:v>
                </c:pt>
                <c:pt idx="208">
                  <c:v>Roederer</c:v>
                </c:pt>
                <c:pt idx="209">
                  <c:v>Taittinger</c:v>
                </c:pt>
                <c:pt idx="210">
                  <c:v>Veuve Clicq</c:v>
                </c:pt>
                <c:pt idx="211">
                  <c:v>Ruinart</c:v>
                </c:pt>
                <c:pt idx="212">
                  <c:v>All Others</c:v>
                </c:pt>
                <c:pt idx="213">
                  <c:v>Bollinger</c:v>
                </c:pt>
                <c:pt idx="214">
                  <c:v>De Venoge</c:v>
                </c:pt>
                <c:pt idx="215">
                  <c:v>Veuve Clicq</c:v>
                </c:pt>
                <c:pt idx="216">
                  <c:v>Laurent Per</c:v>
                </c:pt>
                <c:pt idx="217">
                  <c:v>De Venoge</c:v>
                </c:pt>
                <c:pt idx="218">
                  <c:v>Laurent Per</c:v>
                </c:pt>
                <c:pt idx="219">
                  <c:v>Bollinger</c:v>
                </c:pt>
                <c:pt idx="220">
                  <c:v>Deutz</c:v>
                </c:pt>
                <c:pt idx="221">
                  <c:v>Bollinger</c:v>
                </c:pt>
                <c:pt idx="222">
                  <c:v>Martel</c:v>
                </c:pt>
                <c:pt idx="223">
                  <c:v>De Venoge</c:v>
                </c:pt>
                <c:pt idx="224">
                  <c:v>Lanson</c:v>
                </c:pt>
                <c:pt idx="225">
                  <c:v>Malard</c:v>
                </c:pt>
                <c:pt idx="226">
                  <c:v>Piper Heids</c:v>
                </c:pt>
                <c:pt idx="227">
                  <c:v>Dom Perigno</c:v>
                </c:pt>
                <c:pt idx="228">
                  <c:v>Deutz</c:v>
                </c:pt>
                <c:pt idx="229">
                  <c:v>Pommery</c:v>
                </c:pt>
                <c:pt idx="230">
                  <c:v>Pommery</c:v>
                </c:pt>
                <c:pt idx="231">
                  <c:v>Roederer</c:v>
                </c:pt>
                <c:pt idx="232">
                  <c:v>Moët &amp; Chan</c:v>
                </c:pt>
                <c:pt idx="233">
                  <c:v>Besserat De</c:v>
                </c:pt>
                <c:pt idx="234">
                  <c:v>All Others</c:v>
                </c:pt>
                <c:pt idx="235">
                  <c:v>Ayala</c:v>
                </c:pt>
                <c:pt idx="236">
                  <c:v>Roederer</c:v>
                </c:pt>
                <c:pt idx="237">
                  <c:v>Deutz</c:v>
                </c:pt>
                <c:pt idx="238">
                  <c:v>Lanson</c:v>
                </c:pt>
                <c:pt idx="239">
                  <c:v>Besserat De</c:v>
                </c:pt>
                <c:pt idx="240">
                  <c:v>Laurent Per</c:v>
                </c:pt>
                <c:pt idx="241">
                  <c:v>Deutz</c:v>
                </c:pt>
                <c:pt idx="242">
                  <c:v>All Others</c:v>
                </c:pt>
                <c:pt idx="243">
                  <c:v>Taittinger</c:v>
                </c:pt>
                <c:pt idx="244">
                  <c:v>Dom Perigno</c:v>
                </c:pt>
                <c:pt idx="245">
                  <c:v>Vranken</c:v>
                </c:pt>
                <c:pt idx="246">
                  <c:v>Laurent Per</c:v>
                </c:pt>
                <c:pt idx="247">
                  <c:v>De Venoge</c:v>
                </c:pt>
                <c:pt idx="248">
                  <c:v>All Others</c:v>
                </c:pt>
                <c:pt idx="249">
                  <c:v>De Venoge</c:v>
                </c:pt>
                <c:pt idx="250">
                  <c:v>All Others</c:v>
                </c:pt>
                <c:pt idx="251">
                  <c:v>Perrier Jou</c:v>
                </c:pt>
                <c:pt idx="252">
                  <c:v>Dom Perigno</c:v>
                </c:pt>
                <c:pt idx="253">
                  <c:v>Ruinart</c:v>
                </c:pt>
                <c:pt idx="254">
                  <c:v>Besserat De</c:v>
                </c:pt>
                <c:pt idx="255">
                  <c:v>Heidsieck &amp;</c:v>
                </c:pt>
                <c:pt idx="256">
                  <c:v>Perrier Jou</c:v>
                </c:pt>
                <c:pt idx="257">
                  <c:v>All Others</c:v>
                </c:pt>
                <c:pt idx="258">
                  <c:v>Roederer</c:v>
                </c:pt>
                <c:pt idx="259">
                  <c:v>Ayala</c:v>
                </c:pt>
                <c:pt idx="260">
                  <c:v>Besserat De</c:v>
                </c:pt>
                <c:pt idx="261">
                  <c:v>Canard Duch</c:v>
                </c:pt>
                <c:pt idx="262">
                  <c:v>Ayala</c:v>
                </c:pt>
                <c:pt idx="263">
                  <c:v>All Others</c:v>
                </c:pt>
                <c:pt idx="264">
                  <c:v>Demoiselle</c:v>
                </c:pt>
                <c:pt idx="265">
                  <c:v>Nicolas Feu</c:v>
                </c:pt>
                <c:pt idx="266">
                  <c:v>Canard Duch</c:v>
                </c:pt>
                <c:pt idx="267">
                  <c:v>Krug</c:v>
                </c:pt>
                <c:pt idx="268">
                  <c:v>Bollinger</c:v>
                </c:pt>
                <c:pt idx="269">
                  <c:v>Ruinart</c:v>
                </c:pt>
                <c:pt idx="270">
                  <c:v>Lanson</c:v>
                </c:pt>
                <c:pt idx="271">
                  <c:v>Ruinart</c:v>
                </c:pt>
                <c:pt idx="272">
                  <c:v>Bollinger</c:v>
                </c:pt>
                <c:pt idx="273">
                  <c:v>Ruinart</c:v>
                </c:pt>
                <c:pt idx="274">
                  <c:v>All Others</c:v>
                </c:pt>
                <c:pt idx="275">
                  <c:v>Laurent Per</c:v>
                </c:pt>
                <c:pt idx="276">
                  <c:v>Laurent Per</c:v>
                </c:pt>
                <c:pt idx="277">
                  <c:v>Pommery</c:v>
                </c:pt>
                <c:pt idx="278">
                  <c:v>Laurent Per</c:v>
                </c:pt>
                <c:pt idx="279">
                  <c:v>Taittinger</c:v>
                </c:pt>
                <c:pt idx="280">
                  <c:v>Bollinger</c:v>
                </c:pt>
                <c:pt idx="281">
                  <c:v>Demoiselle</c:v>
                </c:pt>
                <c:pt idx="282">
                  <c:v>Malard</c:v>
                </c:pt>
                <c:pt idx="283">
                  <c:v>Pommery</c:v>
                </c:pt>
                <c:pt idx="284">
                  <c:v>Roederer</c:v>
                </c:pt>
                <c:pt idx="285">
                  <c:v>Nicolas Feu</c:v>
                </c:pt>
                <c:pt idx="286">
                  <c:v>Laurent Per</c:v>
                </c:pt>
                <c:pt idx="287">
                  <c:v>Perrier Jou</c:v>
                </c:pt>
                <c:pt idx="288">
                  <c:v>All Others</c:v>
                </c:pt>
                <c:pt idx="289">
                  <c:v>Bollinger</c:v>
                </c:pt>
                <c:pt idx="290">
                  <c:v>All Others</c:v>
                </c:pt>
                <c:pt idx="291">
                  <c:v>Roederer</c:v>
                </c:pt>
                <c:pt idx="292">
                  <c:v>Mumm</c:v>
                </c:pt>
                <c:pt idx="293">
                  <c:v>Veuve Clicq</c:v>
                </c:pt>
                <c:pt idx="294">
                  <c:v>Pommery</c:v>
                </c:pt>
                <c:pt idx="295">
                  <c:v>Taittinger</c:v>
                </c:pt>
                <c:pt idx="296">
                  <c:v>Laurent Per</c:v>
                </c:pt>
                <c:pt idx="297">
                  <c:v>All Others</c:v>
                </c:pt>
                <c:pt idx="298">
                  <c:v>Roederer</c:v>
                </c:pt>
                <c:pt idx="299">
                  <c:v>Piper Heids</c:v>
                </c:pt>
                <c:pt idx="300">
                  <c:v>All Others</c:v>
                </c:pt>
                <c:pt idx="301">
                  <c:v>Nicolas</c:v>
                </c:pt>
                <c:pt idx="302">
                  <c:v>De Venoge</c:v>
                </c:pt>
                <c:pt idx="303">
                  <c:v>Veuve Clicq</c:v>
                </c:pt>
                <c:pt idx="304">
                  <c:v>Roederer</c:v>
                </c:pt>
                <c:pt idx="305">
                  <c:v>All Others</c:v>
                </c:pt>
                <c:pt idx="306">
                  <c:v>Ayala</c:v>
                </c:pt>
                <c:pt idx="307">
                  <c:v>Moët &amp; Chan</c:v>
                </c:pt>
                <c:pt idx="308">
                  <c:v>Lanson</c:v>
                </c:pt>
                <c:pt idx="309">
                  <c:v>Pommery</c:v>
                </c:pt>
                <c:pt idx="310">
                  <c:v>Moët &amp; Chan</c:v>
                </c:pt>
              </c:strCache>
            </c:strRef>
          </c:cat>
          <c:val>
            <c:numRef>
              <c:f>Sheet1!$B$2:$B$312</c:f>
              <c:numCache>
                <c:formatCode>General</c:formatCode>
                <c:ptCount val="311"/>
                <c:pt idx="0">
                  <c:v>1</c:v>
                </c:pt>
                <c:pt idx="1">
                  <c:v>1</c:v>
                </c:pt>
                <c:pt idx="2">
                  <c:v>1</c:v>
                </c:pt>
                <c:pt idx="3">
                  <c:v>0.96</c:v>
                </c:pt>
                <c:pt idx="4">
                  <c:v>0.81</c:v>
                </c:pt>
                <c:pt idx="5">
                  <c:v>0.97</c:v>
                </c:pt>
                <c:pt idx="6">
                  <c:v>0.97</c:v>
                </c:pt>
                <c:pt idx="7">
                  <c:v>0.97</c:v>
                </c:pt>
                <c:pt idx="8">
                  <c:v>0.92</c:v>
                </c:pt>
                <c:pt idx="9">
                  <c:v>0.96</c:v>
                </c:pt>
                <c:pt idx="10">
                  <c:v>0.97</c:v>
                </c:pt>
                <c:pt idx="11">
                  <c:v>0.89</c:v>
                </c:pt>
                <c:pt idx="12">
                  <c:v>0.86</c:v>
                </c:pt>
                <c:pt idx="13">
                  <c:v>0.89</c:v>
                </c:pt>
                <c:pt idx="14">
                  <c:v>0.64</c:v>
                </c:pt>
                <c:pt idx="15">
                  <c:v>0.62</c:v>
                </c:pt>
                <c:pt idx="16">
                  <c:v>0.84</c:v>
                </c:pt>
                <c:pt idx="17">
                  <c:v>0.94</c:v>
                </c:pt>
                <c:pt idx="18">
                  <c:v>0.72</c:v>
                </c:pt>
                <c:pt idx="19">
                  <c:v>0.47</c:v>
                </c:pt>
                <c:pt idx="20">
                  <c:v>0.82</c:v>
                </c:pt>
                <c:pt idx="21">
                  <c:v>0.64</c:v>
                </c:pt>
                <c:pt idx="22">
                  <c:v>0.73</c:v>
                </c:pt>
                <c:pt idx="23">
                  <c:v>0.6</c:v>
                </c:pt>
                <c:pt idx="24">
                  <c:v>0.75</c:v>
                </c:pt>
                <c:pt idx="25">
                  <c:v>0.67</c:v>
                </c:pt>
                <c:pt idx="26">
                  <c:v>0.69</c:v>
                </c:pt>
                <c:pt idx="27">
                  <c:v>0.7</c:v>
                </c:pt>
                <c:pt idx="28">
                  <c:v>0.72</c:v>
                </c:pt>
                <c:pt idx="29">
                  <c:v>0.72</c:v>
                </c:pt>
                <c:pt idx="30">
                  <c:v>0.67</c:v>
                </c:pt>
                <c:pt idx="31">
                  <c:v>0.6</c:v>
                </c:pt>
                <c:pt idx="32">
                  <c:v>0.79</c:v>
                </c:pt>
                <c:pt idx="33">
                  <c:v>0.7</c:v>
                </c:pt>
                <c:pt idx="34">
                  <c:v>0.63</c:v>
                </c:pt>
                <c:pt idx="35">
                  <c:v>0.45</c:v>
                </c:pt>
                <c:pt idx="36">
                  <c:v>0.56999999999999995</c:v>
                </c:pt>
                <c:pt idx="37">
                  <c:v>0.44</c:v>
                </c:pt>
                <c:pt idx="38">
                  <c:v>0.56999999999999995</c:v>
                </c:pt>
                <c:pt idx="39">
                  <c:v>0.26</c:v>
                </c:pt>
                <c:pt idx="40">
                  <c:v>0.3</c:v>
                </c:pt>
                <c:pt idx="41">
                  <c:v>0.53</c:v>
                </c:pt>
                <c:pt idx="42">
                  <c:v>0.36</c:v>
                </c:pt>
                <c:pt idx="43">
                  <c:v>0.54</c:v>
                </c:pt>
                <c:pt idx="44">
                  <c:v>0.45</c:v>
                </c:pt>
                <c:pt idx="45">
                  <c:v>0.56000000000000005</c:v>
                </c:pt>
                <c:pt idx="46">
                  <c:v>0.66</c:v>
                </c:pt>
                <c:pt idx="47">
                  <c:v>0.62</c:v>
                </c:pt>
                <c:pt idx="48">
                  <c:v>0.78</c:v>
                </c:pt>
                <c:pt idx="49">
                  <c:v>0.55000000000000004</c:v>
                </c:pt>
                <c:pt idx="50">
                  <c:v>0.62</c:v>
                </c:pt>
                <c:pt idx="51">
                  <c:v>0.46</c:v>
                </c:pt>
                <c:pt idx="52">
                  <c:v>0.6</c:v>
                </c:pt>
                <c:pt idx="53">
                  <c:v>0.52</c:v>
                </c:pt>
                <c:pt idx="54">
                  <c:v>0.83</c:v>
                </c:pt>
                <c:pt idx="55">
                  <c:v>0.52</c:v>
                </c:pt>
                <c:pt idx="56">
                  <c:v>0.56000000000000005</c:v>
                </c:pt>
                <c:pt idx="57">
                  <c:v>0.55000000000000004</c:v>
                </c:pt>
                <c:pt idx="58">
                  <c:v>0.4</c:v>
                </c:pt>
                <c:pt idx="59">
                  <c:v>0.56000000000000005</c:v>
                </c:pt>
                <c:pt idx="60">
                  <c:v>0.5</c:v>
                </c:pt>
                <c:pt idx="61">
                  <c:v>0.79</c:v>
                </c:pt>
                <c:pt idx="62">
                  <c:v>0.56000000000000005</c:v>
                </c:pt>
                <c:pt idx="63">
                  <c:v>0.26</c:v>
                </c:pt>
                <c:pt idx="64">
                  <c:v>0.7</c:v>
                </c:pt>
                <c:pt idx="65">
                  <c:v>0.48</c:v>
                </c:pt>
                <c:pt idx="66">
                  <c:v>0.38</c:v>
                </c:pt>
                <c:pt idx="67">
                  <c:v>0.56000000000000005</c:v>
                </c:pt>
                <c:pt idx="68">
                  <c:v>0.26</c:v>
                </c:pt>
                <c:pt idx="69">
                  <c:v>0.33</c:v>
                </c:pt>
                <c:pt idx="70">
                  <c:v>0.2</c:v>
                </c:pt>
                <c:pt idx="71">
                  <c:v>0.34</c:v>
                </c:pt>
                <c:pt idx="72">
                  <c:v>0.41</c:v>
                </c:pt>
                <c:pt idx="73">
                  <c:v>0.25</c:v>
                </c:pt>
                <c:pt idx="74">
                  <c:v>0.36</c:v>
                </c:pt>
                <c:pt idx="75">
                  <c:v>0.11</c:v>
                </c:pt>
                <c:pt idx="76">
                  <c:v>0.27</c:v>
                </c:pt>
                <c:pt idx="77">
                  <c:v>0.28000000000000003</c:v>
                </c:pt>
                <c:pt idx="78">
                  <c:v>0.3</c:v>
                </c:pt>
                <c:pt idx="79">
                  <c:v>0.32</c:v>
                </c:pt>
                <c:pt idx="80">
                  <c:v>0.15</c:v>
                </c:pt>
                <c:pt idx="81">
                  <c:v>0.46</c:v>
                </c:pt>
                <c:pt idx="82">
                  <c:v>0.24</c:v>
                </c:pt>
                <c:pt idx="83">
                  <c:v>0.2</c:v>
                </c:pt>
                <c:pt idx="84">
                  <c:v>0.28000000000000003</c:v>
                </c:pt>
                <c:pt idx="85">
                  <c:v>0.37</c:v>
                </c:pt>
                <c:pt idx="86">
                  <c:v>0.22</c:v>
                </c:pt>
                <c:pt idx="87">
                  <c:v>0.2</c:v>
                </c:pt>
                <c:pt idx="88">
                  <c:v>0.4</c:v>
                </c:pt>
                <c:pt idx="89">
                  <c:v>0.15</c:v>
                </c:pt>
                <c:pt idx="90">
                  <c:v>0.14000000000000001</c:v>
                </c:pt>
                <c:pt idx="91">
                  <c:v>0.28000000000000003</c:v>
                </c:pt>
                <c:pt idx="92">
                  <c:v>0.12</c:v>
                </c:pt>
                <c:pt idx="93">
                  <c:v>0.18</c:v>
                </c:pt>
                <c:pt idx="94">
                  <c:v>0.17</c:v>
                </c:pt>
                <c:pt idx="95">
                  <c:v>0.13</c:v>
                </c:pt>
                <c:pt idx="96">
                  <c:v>0.1</c:v>
                </c:pt>
                <c:pt idx="97">
                  <c:v>0.25</c:v>
                </c:pt>
                <c:pt idx="98">
                  <c:v>0.37</c:v>
                </c:pt>
                <c:pt idx="99">
                  <c:v>0.3</c:v>
                </c:pt>
                <c:pt idx="100">
                  <c:v>0.36</c:v>
                </c:pt>
                <c:pt idx="101">
                  <c:v>0.19</c:v>
                </c:pt>
                <c:pt idx="102">
                  <c:v>0.23</c:v>
                </c:pt>
                <c:pt idx="103">
                  <c:v>0.25</c:v>
                </c:pt>
                <c:pt idx="104">
                  <c:v>0.33</c:v>
                </c:pt>
                <c:pt idx="105">
                  <c:v>0.19</c:v>
                </c:pt>
                <c:pt idx="106">
                  <c:v>0.13</c:v>
                </c:pt>
                <c:pt idx="107">
                  <c:v>0.19</c:v>
                </c:pt>
                <c:pt idx="108">
                  <c:v>0.32</c:v>
                </c:pt>
                <c:pt idx="109">
                  <c:v>0.25</c:v>
                </c:pt>
                <c:pt idx="110">
                  <c:v>0.12</c:v>
                </c:pt>
                <c:pt idx="111">
                  <c:v>0.09</c:v>
                </c:pt>
                <c:pt idx="112">
                  <c:v>0.12</c:v>
                </c:pt>
                <c:pt idx="113">
                  <c:v>0.17</c:v>
                </c:pt>
                <c:pt idx="114">
                  <c:v>0.28000000000000003</c:v>
                </c:pt>
                <c:pt idx="115">
                  <c:v>0.25</c:v>
                </c:pt>
                <c:pt idx="116">
                  <c:v>0.08</c:v>
                </c:pt>
                <c:pt idx="117">
                  <c:v>0.24</c:v>
                </c:pt>
                <c:pt idx="118">
                  <c:v>0.14000000000000001</c:v>
                </c:pt>
                <c:pt idx="119">
                  <c:v>0.26</c:v>
                </c:pt>
                <c:pt idx="120">
                  <c:v>0.08</c:v>
                </c:pt>
                <c:pt idx="121">
                  <c:v>0.18</c:v>
                </c:pt>
                <c:pt idx="122">
                  <c:v>0.06</c:v>
                </c:pt>
                <c:pt idx="123">
                  <c:v>0.3</c:v>
                </c:pt>
                <c:pt idx="124">
                  <c:v>0.17</c:v>
                </c:pt>
                <c:pt idx="125">
                  <c:v>7.0000000000000007E-2</c:v>
                </c:pt>
                <c:pt idx="126">
                  <c:v>0.27</c:v>
                </c:pt>
                <c:pt idx="127">
                  <c:v>0.03</c:v>
                </c:pt>
                <c:pt idx="128">
                  <c:v>0.12</c:v>
                </c:pt>
                <c:pt idx="129">
                  <c:v>0.16</c:v>
                </c:pt>
                <c:pt idx="130">
                  <c:v>0.04</c:v>
                </c:pt>
                <c:pt idx="131">
                  <c:v>0.32</c:v>
                </c:pt>
                <c:pt idx="132">
                  <c:v>0.04</c:v>
                </c:pt>
                <c:pt idx="133">
                  <c:v>0.27</c:v>
                </c:pt>
                <c:pt idx="134">
                  <c:v>0.04</c:v>
                </c:pt>
                <c:pt idx="135">
                  <c:v>0.09</c:v>
                </c:pt>
                <c:pt idx="136">
                  <c:v>0.06</c:v>
                </c:pt>
                <c:pt idx="137">
                  <c:v>0.08</c:v>
                </c:pt>
                <c:pt idx="138">
                  <c:v>0.19</c:v>
                </c:pt>
                <c:pt idx="139">
                  <c:v>0.04</c:v>
                </c:pt>
                <c:pt idx="140">
                  <c:v>0.05</c:v>
                </c:pt>
                <c:pt idx="141">
                  <c:v>0.13</c:v>
                </c:pt>
                <c:pt idx="142">
                  <c:v>0.05</c:v>
                </c:pt>
                <c:pt idx="143">
                  <c:v>0.06</c:v>
                </c:pt>
                <c:pt idx="144">
                  <c:v>0.15</c:v>
                </c:pt>
                <c:pt idx="145">
                  <c:v>0.05</c:v>
                </c:pt>
                <c:pt idx="146">
                  <c:v>0.11</c:v>
                </c:pt>
                <c:pt idx="147">
                  <c:v>0.03</c:v>
                </c:pt>
                <c:pt idx="148">
                  <c:v>0.06</c:v>
                </c:pt>
                <c:pt idx="149">
                  <c:v>0.18</c:v>
                </c:pt>
                <c:pt idx="150">
                  <c:v>0.03</c:v>
                </c:pt>
                <c:pt idx="151">
                  <c:v>0.05</c:v>
                </c:pt>
                <c:pt idx="152">
                  <c:v>0.03</c:v>
                </c:pt>
                <c:pt idx="153">
                  <c:v>0.03</c:v>
                </c:pt>
                <c:pt idx="154">
                  <c:v>7.0000000000000007E-2</c:v>
                </c:pt>
                <c:pt idx="155">
                  <c:v>0.03</c:v>
                </c:pt>
                <c:pt idx="156">
                  <c:v>0.04</c:v>
                </c:pt>
                <c:pt idx="157">
                  <c:v>0.03</c:v>
                </c:pt>
                <c:pt idx="158">
                  <c:v>0.03</c:v>
                </c:pt>
                <c:pt idx="159">
                  <c:v>0.08</c:v>
                </c:pt>
                <c:pt idx="160">
                  <c:v>0.08</c:v>
                </c:pt>
                <c:pt idx="161">
                  <c:v>0.25</c:v>
                </c:pt>
                <c:pt idx="162">
                  <c:v>0.14000000000000001</c:v>
                </c:pt>
                <c:pt idx="163">
                  <c:v>7.0000000000000007E-2</c:v>
                </c:pt>
                <c:pt idx="164">
                  <c:v>0.05</c:v>
                </c:pt>
                <c:pt idx="165">
                  <c:v>0.03</c:v>
                </c:pt>
                <c:pt idx="166">
                  <c:v>0.02</c:v>
                </c:pt>
                <c:pt idx="167">
                  <c:v>0.01</c:v>
                </c:pt>
                <c:pt idx="168">
                  <c:v>0.03</c:v>
                </c:pt>
                <c:pt idx="169">
                  <c:v>0.03</c:v>
                </c:pt>
                <c:pt idx="170">
                  <c:v>0.06</c:v>
                </c:pt>
                <c:pt idx="171">
                  <c:v>0.05</c:v>
                </c:pt>
                <c:pt idx="172">
                  <c:v>0.01</c:v>
                </c:pt>
                <c:pt idx="173">
                  <c:v>0.01</c:v>
                </c:pt>
                <c:pt idx="174">
                  <c:v>0.02</c:v>
                </c:pt>
                <c:pt idx="175">
                  <c:v>0.04</c:v>
                </c:pt>
                <c:pt idx="176">
                  <c:v>0.01</c:v>
                </c:pt>
                <c:pt idx="177">
                  <c:v>0.05</c:v>
                </c:pt>
                <c:pt idx="178">
                  <c:v>0.04</c:v>
                </c:pt>
                <c:pt idx="179">
                  <c:v>0.01</c:v>
                </c:pt>
                <c:pt idx="180">
                  <c:v>0.01</c:v>
                </c:pt>
                <c:pt idx="181">
                  <c:v>0.05</c:v>
                </c:pt>
                <c:pt idx="182">
                  <c:v>0.04</c:v>
                </c:pt>
                <c:pt idx="183">
                  <c:v>0.09</c:v>
                </c:pt>
                <c:pt idx="184">
                  <c:v>0.02</c:v>
                </c:pt>
                <c:pt idx="185">
                  <c:v>0.01</c:v>
                </c:pt>
                <c:pt idx="186">
                  <c:v>0.03</c:v>
                </c:pt>
                <c:pt idx="187">
                  <c:v>0.03</c:v>
                </c:pt>
                <c:pt idx="188">
                  <c:v>0.04</c:v>
                </c:pt>
                <c:pt idx="189">
                  <c:v>0.01</c:v>
                </c:pt>
                <c:pt idx="190">
                  <c:v>0.02</c:v>
                </c:pt>
                <c:pt idx="191">
                  <c:v>0.01</c:v>
                </c:pt>
                <c:pt idx="192">
                  <c:v>0.02</c:v>
                </c:pt>
                <c:pt idx="193">
                  <c:v>0.01</c:v>
                </c:pt>
                <c:pt idx="194">
                  <c:v>0.01</c:v>
                </c:pt>
                <c:pt idx="195">
                  <c:v>0.04</c:v>
                </c:pt>
                <c:pt idx="196">
                  <c:v>0.02</c:v>
                </c:pt>
                <c:pt idx="197">
                  <c:v>0.01</c:v>
                </c:pt>
                <c:pt idx="198">
                  <c:v>0.01</c:v>
                </c:pt>
                <c:pt idx="199">
                  <c:v>0.02</c:v>
                </c:pt>
                <c:pt idx="200">
                  <c:v>0.02</c:v>
                </c:pt>
                <c:pt idx="201">
                  <c:v>0.02</c:v>
                </c:pt>
                <c:pt idx="202">
                  <c:v>0.02</c:v>
                </c:pt>
                <c:pt idx="203">
                  <c:v>0.02</c:v>
                </c:pt>
                <c:pt idx="204">
                  <c:v>0.03</c:v>
                </c:pt>
                <c:pt idx="205">
                  <c:v>0.02</c:v>
                </c:pt>
                <c:pt idx="206">
                  <c:v>0.01</c:v>
                </c:pt>
                <c:pt idx="207">
                  <c:v>0.25</c:v>
                </c:pt>
                <c:pt idx="208">
                  <c:v>0.02</c:v>
                </c:pt>
                <c:pt idx="209">
                  <c:v>0.01</c:v>
                </c:pt>
                <c:pt idx="210">
                  <c:v>0.02</c:v>
                </c:pt>
                <c:pt idx="211">
                  <c:v>0.01</c:v>
                </c:pt>
                <c:pt idx="212">
                  <c:v>0.01</c:v>
                </c:pt>
                <c:pt idx="213">
                  <c:v>0.02</c:v>
                </c:pt>
                <c:pt idx="214">
                  <c:v>0.03</c:v>
                </c:pt>
                <c:pt idx="215">
                  <c:v>0.01</c:v>
                </c:pt>
                <c:pt idx="216">
                  <c:v>0.05</c:v>
                </c:pt>
                <c:pt idx="217">
                  <c:v>0.01</c:v>
                </c:pt>
                <c:pt idx="218">
                  <c:v>0.01</c:v>
                </c:pt>
                <c:pt idx="219">
                  <c:v>0.01</c:v>
                </c:pt>
                <c:pt idx="220">
                  <c:v>0.02</c:v>
                </c:pt>
                <c:pt idx="221">
                  <c:v>0.02</c:v>
                </c:pt>
                <c:pt idx="222">
                  <c:v>0.02</c:v>
                </c:pt>
                <c:pt idx="223">
                  <c:v>0.01</c:v>
                </c:pt>
                <c:pt idx="224">
                  <c:v>0.03</c:v>
                </c:pt>
                <c:pt idx="225">
                  <c:v>0.02</c:v>
                </c:pt>
                <c:pt idx="226">
                  <c:v>0.01</c:v>
                </c:pt>
                <c:pt idx="227">
                  <c:v>0.01</c:v>
                </c:pt>
                <c:pt idx="228">
                  <c:v>0.01</c:v>
                </c:pt>
                <c:pt idx="229">
                  <c:v>0.01</c:v>
                </c:pt>
                <c:pt idx="230">
                  <c:v>0.02</c:v>
                </c:pt>
                <c:pt idx="231">
                  <c:v>0.02</c:v>
                </c:pt>
                <c:pt idx="232">
                  <c:v>0.04</c:v>
                </c:pt>
                <c:pt idx="233">
                  <c:v>0.01</c:v>
                </c:pt>
                <c:pt idx="234">
                  <c:v>0.02</c:v>
                </c:pt>
                <c:pt idx="235">
                  <c:v>0.01</c:v>
                </c:pt>
                <c:pt idx="236">
                  <c:v>0.01</c:v>
                </c:pt>
                <c:pt idx="237">
                  <c:v>0.01</c:v>
                </c:pt>
                <c:pt idx="238">
                  <c:v>0.01</c:v>
                </c:pt>
                <c:pt idx="239">
                  <c:v>0.01</c:v>
                </c:pt>
                <c:pt idx="240">
                  <c:v>0.01</c:v>
                </c:pt>
                <c:pt idx="241">
                  <c:v>0.02</c:v>
                </c:pt>
                <c:pt idx="242">
                  <c:v>0.02</c:v>
                </c:pt>
                <c:pt idx="243">
                  <c:v>0.02</c:v>
                </c:pt>
                <c:pt idx="244">
                  <c:v>0.01</c:v>
                </c:pt>
                <c:pt idx="245">
                  <c:v>0.01</c:v>
                </c:pt>
                <c:pt idx="246">
                  <c:v>0.01</c:v>
                </c:pt>
                <c:pt idx="247">
                  <c:v>0.01</c:v>
                </c:pt>
                <c:pt idx="248">
                  <c:v>0.01</c:v>
                </c:pt>
                <c:pt idx="249">
                  <c:v>0.03</c:v>
                </c:pt>
                <c:pt idx="250">
                  <c:v>0.01</c:v>
                </c:pt>
                <c:pt idx="251">
                  <c:v>0.03</c:v>
                </c:pt>
                <c:pt idx="252">
                  <c:v>0.01</c:v>
                </c:pt>
                <c:pt idx="253">
                  <c:v>0.01</c:v>
                </c:pt>
                <c:pt idx="254">
                  <c:v>0.01</c:v>
                </c:pt>
                <c:pt idx="255">
                  <c:v>0.01</c:v>
                </c:pt>
                <c:pt idx="256">
                  <c:v>0.01</c:v>
                </c:pt>
                <c:pt idx="257">
                  <c:v>0.02</c:v>
                </c:pt>
                <c:pt idx="258">
                  <c:v>0.01</c:v>
                </c:pt>
                <c:pt idx="259">
                  <c:v>0.01</c:v>
                </c:pt>
                <c:pt idx="260">
                  <c:v>0.01</c:v>
                </c:pt>
                <c:pt idx="261">
                  <c:v>0.02</c:v>
                </c:pt>
                <c:pt idx="262">
                  <c:v>0.01</c:v>
                </c:pt>
                <c:pt idx="263">
                  <c:v>0.01</c:v>
                </c:pt>
                <c:pt idx="264">
                  <c:v>0.01</c:v>
                </c:pt>
                <c:pt idx="265">
                  <c:v>0.01</c:v>
                </c:pt>
                <c:pt idx="266">
                  <c:v>0.02</c:v>
                </c:pt>
                <c:pt idx="267">
                  <c:v>0.01</c:v>
                </c:pt>
                <c:pt idx="268">
                  <c:v>0.02</c:v>
                </c:pt>
                <c:pt idx="269">
                  <c:v>0.01</c:v>
                </c:pt>
                <c:pt idx="270">
                  <c:v>0.01</c:v>
                </c:pt>
                <c:pt idx="271">
                  <c:v>0.01</c:v>
                </c:pt>
                <c:pt idx="272">
                  <c:v>0.01</c:v>
                </c:pt>
                <c:pt idx="273">
                  <c:v>0.01</c:v>
                </c:pt>
                <c:pt idx="274">
                  <c:v>0.02</c:v>
                </c:pt>
                <c:pt idx="275">
                  <c:v>0.01</c:v>
                </c:pt>
                <c:pt idx="276">
                  <c:v>0.01</c:v>
                </c:pt>
                <c:pt idx="277">
                  <c:v>0.01</c:v>
                </c:pt>
                <c:pt idx="278">
                  <c:v>0.01</c:v>
                </c:pt>
                <c:pt idx="279">
                  <c:v>0.01</c:v>
                </c:pt>
                <c:pt idx="280">
                  <c:v>0.01</c:v>
                </c:pt>
                <c:pt idx="281">
                  <c:v>0.01</c:v>
                </c:pt>
                <c:pt idx="282">
                  <c:v>0.01</c:v>
                </c:pt>
                <c:pt idx="283">
                  <c:v>0.01</c:v>
                </c:pt>
                <c:pt idx="284">
                  <c:v>0.01</c:v>
                </c:pt>
                <c:pt idx="285">
                  <c:v>0.01</c:v>
                </c:pt>
                <c:pt idx="286">
                  <c:v>0.01</c:v>
                </c:pt>
                <c:pt idx="287">
                  <c:v>0.01</c:v>
                </c:pt>
                <c:pt idx="288">
                  <c:v>0.01</c:v>
                </c:pt>
                <c:pt idx="289">
                  <c:v>0.01</c:v>
                </c:pt>
                <c:pt idx="290">
                  <c:v>0.02</c:v>
                </c:pt>
                <c:pt idx="291">
                  <c:v>0.01</c:v>
                </c:pt>
                <c:pt idx="292">
                  <c:v>0.01</c:v>
                </c:pt>
                <c:pt idx="293">
                  <c:v>0.01</c:v>
                </c:pt>
                <c:pt idx="294">
                  <c:v>0.01</c:v>
                </c:pt>
                <c:pt idx="295">
                  <c:v>0.01</c:v>
                </c:pt>
                <c:pt idx="296">
                  <c:v>0.01</c:v>
                </c:pt>
                <c:pt idx="297">
                  <c:v>0.02</c:v>
                </c:pt>
                <c:pt idx="298">
                  <c:v>0.01</c:v>
                </c:pt>
                <c:pt idx="299">
                  <c:v>0.01</c:v>
                </c:pt>
                <c:pt idx="300">
                  <c:v>0.01</c:v>
                </c:pt>
                <c:pt idx="301">
                  <c:v>0.01</c:v>
                </c:pt>
                <c:pt idx="302">
                  <c:v>0.01</c:v>
                </c:pt>
                <c:pt idx="303">
                  <c:v>0.01</c:v>
                </c:pt>
                <c:pt idx="304">
                  <c:v>0.01</c:v>
                </c:pt>
                <c:pt idx="305">
                  <c:v>0.02</c:v>
                </c:pt>
                <c:pt idx="306">
                  <c:v>0.01</c:v>
                </c:pt>
                <c:pt idx="307">
                  <c:v>0.01</c:v>
                </c:pt>
                <c:pt idx="308">
                  <c:v>0.01</c:v>
                </c:pt>
                <c:pt idx="309">
                  <c:v>0.01</c:v>
                </c:pt>
                <c:pt idx="310">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7ECAC4"/>
              </a:solidFill>
            </c:spPr>
            <c:extLst>
              <c:ext xmlns:c16="http://schemas.microsoft.com/office/drawing/2014/chart" uri="{C3380CC4-5D6E-409C-BE32-E72D297353CC}">
                <c16:uniqueId val="{00000093-2993-41DE-A2CB-63102DE87051}"/>
              </c:ext>
            </c:extLst>
          </c:dPt>
          <c:dPt>
            <c:idx val="46"/>
            <c:invertIfNegative val="1"/>
            <c:bubble3D val="0"/>
            <c:spPr>
              <a:solidFill>
                <a:srgbClr val="7ECAC4"/>
              </a:solidFill>
            </c:spPr>
            <c:extLst>
              <c:ext xmlns:c16="http://schemas.microsoft.com/office/drawing/2014/chart" uri="{C3380CC4-5D6E-409C-BE32-E72D297353CC}">
                <c16:uniqueId val="{00000095-2993-41DE-A2CB-63102DE87051}"/>
              </c:ext>
            </c:extLst>
          </c:dPt>
          <c:dPt>
            <c:idx val="47"/>
            <c:invertIfNegative val="1"/>
            <c:bubble3D val="0"/>
            <c:spPr>
              <a:solidFill>
                <a:srgbClr val="7ECAC4"/>
              </a:solidFill>
            </c:spPr>
            <c:extLst>
              <c:ext xmlns:c16="http://schemas.microsoft.com/office/drawing/2014/chart" uri="{C3380CC4-5D6E-409C-BE32-E72D297353CC}">
                <c16:uniqueId val="{00000097-2993-41DE-A2CB-63102DE87051}"/>
              </c:ext>
            </c:extLst>
          </c:dPt>
          <c:dPt>
            <c:idx val="48"/>
            <c:invertIfNegative val="1"/>
            <c:bubble3D val="0"/>
            <c:spPr>
              <a:solidFill>
                <a:srgbClr val="7ECAC4"/>
              </a:solidFill>
            </c:spPr>
            <c:extLst>
              <c:ext xmlns:c16="http://schemas.microsoft.com/office/drawing/2014/chart" uri="{C3380CC4-5D6E-409C-BE32-E72D297353CC}">
                <c16:uniqueId val="{00000099-2993-41DE-A2CB-63102DE87051}"/>
              </c:ext>
            </c:extLst>
          </c:dPt>
          <c:dPt>
            <c:idx val="49"/>
            <c:invertIfNegative val="1"/>
            <c:bubble3D val="0"/>
            <c:spPr>
              <a:solidFill>
                <a:srgbClr val="7ECAC4"/>
              </a:solidFill>
            </c:spPr>
            <c:extLst>
              <c:ext xmlns:c16="http://schemas.microsoft.com/office/drawing/2014/chart" uri="{C3380CC4-5D6E-409C-BE32-E72D297353CC}">
                <c16:uniqueId val="{0000009B-2993-41DE-A2CB-63102DE87051}"/>
              </c:ext>
            </c:extLst>
          </c:dPt>
          <c:dPt>
            <c:idx val="50"/>
            <c:invertIfNegative val="1"/>
            <c:bubble3D val="0"/>
            <c:spPr>
              <a:solidFill>
                <a:srgbClr val="7ECAC4"/>
              </a:solidFill>
            </c:spPr>
            <c:extLst>
              <c:ext xmlns:c16="http://schemas.microsoft.com/office/drawing/2014/chart" uri="{C3380CC4-5D6E-409C-BE32-E72D297353CC}">
                <c16:uniqueId val="{0000009D-2993-41DE-A2CB-63102DE87051}"/>
              </c:ext>
            </c:extLst>
          </c:dPt>
          <c:dPt>
            <c:idx val="51"/>
            <c:invertIfNegative val="1"/>
            <c:bubble3D val="0"/>
            <c:spPr>
              <a:solidFill>
                <a:srgbClr val="7ECAC4"/>
              </a:solidFill>
            </c:spPr>
            <c:extLst>
              <c:ext xmlns:c16="http://schemas.microsoft.com/office/drawing/2014/chart" uri="{C3380CC4-5D6E-409C-BE32-E72D297353CC}">
                <c16:uniqueId val="{0000009F-2993-41DE-A2CB-63102DE87051}"/>
              </c:ext>
            </c:extLst>
          </c:dPt>
          <c:dPt>
            <c:idx val="52"/>
            <c:invertIfNegative val="1"/>
            <c:bubble3D val="0"/>
            <c:spPr>
              <a:solidFill>
                <a:srgbClr val="7ECAC4"/>
              </a:solidFill>
            </c:spPr>
            <c:extLst>
              <c:ext xmlns:c16="http://schemas.microsoft.com/office/drawing/2014/chart" uri="{C3380CC4-5D6E-409C-BE32-E72D297353CC}">
                <c16:uniqueId val="{000000A1-2993-41DE-A2CB-63102DE87051}"/>
              </c:ext>
            </c:extLst>
          </c:dPt>
          <c:dPt>
            <c:idx val="53"/>
            <c:invertIfNegative val="1"/>
            <c:bubble3D val="0"/>
            <c:spPr>
              <a:solidFill>
                <a:srgbClr val="7ECAC4"/>
              </a:solidFill>
            </c:spPr>
            <c:extLst>
              <c:ext xmlns:c16="http://schemas.microsoft.com/office/drawing/2014/chart" uri="{C3380CC4-5D6E-409C-BE32-E72D297353CC}">
                <c16:uniqueId val="{000000A3-2993-41DE-A2CB-63102DE87051}"/>
              </c:ext>
            </c:extLst>
          </c:dPt>
          <c:dPt>
            <c:idx val="54"/>
            <c:invertIfNegative val="0"/>
            <c:bubble3D val="0"/>
            <c:spPr>
              <a:solidFill>
                <a:srgbClr val="7ECAC4"/>
              </a:solidFill>
            </c:spPr>
            <c:extLst>
              <c:ext xmlns:c16="http://schemas.microsoft.com/office/drawing/2014/chart" uri="{C3380CC4-5D6E-409C-BE32-E72D297353CC}">
                <c16:uniqueId val="{00000072-C76F-4230-900D-40618C09729F}"/>
              </c:ext>
            </c:extLst>
          </c:dPt>
          <c:dPt>
            <c:idx val="55"/>
            <c:invertIfNegative val="0"/>
            <c:bubble3D val="0"/>
            <c:spPr>
              <a:solidFill>
                <a:srgbClr val="7ECAC4"/>
              </a:solidFill>
            </c:spPr>
            <c:extLst>
              <c:ext xmlns:c16="http://schemas.microsoft.com/office/drawing/2014/chart" uri="{C3380CC4-5D6E-409C-BE32-E72D297353CC}">
                <c16:uniqueId val="{00000074-C76F-4230-900D-40618C09729F}"/>
              </c:ext>
            </c:extLst>
          </c:dPt>
          <c:dPt>
            <c:idx val="56"/>
            <c:invertIfNegative val="0"/>
            <c:bubble3D val="0"/>
            <c:spPr>
              <a:solidFill>
                <a:srgbClr val="7ECAC4"/>
              </a:solidFill>
            </c:spPr>
            <c:extLst>
              <c:ext xmlns:c16="http://schemas.microsoft.com/office/drawing/2014/chart" uri="{C3380CC4-5D6E-409C-BE32-E72D297353CC}">
                <c16:uniqueId val="{00000076-C76F-4230-900D-40618C09729F}"/>
              </c:ext>
            </c:extLst>
          </c:dPt>
          <c:dPt>
            <c:idx val="57"/>
            <c:invertIfNegative val="0"/>
            <c:bubble3D val="0"/>
            <c:spPr>
              <a:solidFill>
                <a:srgbClr val="7ECAC4"/>
              </a:solidFill>
            </c:spPr>
            <c:extLst>
              <c:ext xmlns:c16="http://schemas.microsoft.com/office/drawing/2014/chart" uri="{C3380CC4-5D6E-409C-BE32-E72D297353CC}">
                <c16:uniqueId val="{00000078-C76F-4230-900D-40618C09729F}"/>
              </c:ext>
            </c:extLst>
          </c:dPt>
          <c:dPt>
            <c:idx val="58"/>
            <c:invertIfNegative val="0"/>
            <c:bubble3D val="0"/>
            <c:spPr>
              <a:solidFill>
                <a:srgbClr val="7ECAC4"/>
              </a:solidFill>
            </c:spPr>
            <c:extLst>
              <c:ext xmlns:c16="http://schemas.microsoft.com/office/drawing/2014/chart" uri="{C3380CC4-5D6E-409C-BE32-E72D297353CC}">
                <c16:uniqueId val="{0000007A-C76F-4230-900D-40618C09729F}"/>
              </c:ext>
            </c:extLst>
          </c:dPt>
          <c:dPt>
            <c:idx val="59"/>
            <c:invertIfNegative val="0"/>
            <c:bubble3D val="0"/>
            <c:spPr>
              <a:solidFill>
                <a:srgbClr val="7ECAC4"/>
              </a:solidFill>
            </c:spPr>
            <c:extLst>
              <c:ext xmlns:c16="http://schemas.microsoft.com/office/drawing/2014/chart" uri="{C3380CC4-5D6E-409C-BE32-E72D297353CC}">
                <c16:uniqueId val="{0000007C-C76F-4230-900D-40618C09729F}"/>
              </c:ext>
            </c:extLst>
          </c:dPt>
          <c:dPt>
            <c:idx val="60"/>
            <c:invertIfNegative val="0"/>
            <c:bubble3D val="0"/>
            <c:spPr>
              <a:solidFill>
                <a:srgbClr val="7ECAC4"/>
              </a:solidFill>
            </c:spPr>
            <c:extLst>
              <c:ext xmlns:c16="http://schemas.microsoft.com/office/drawing/2014/chart" uri="{C3380CC4-5D6E-409C-BE32-E72D297353CC}">
                <c16:uniqueId val="{0000007E-C76F-4230-900D-40618C09729F}"/>
              </c:ext>
            </c:extLst>
          </c:dPt>
          <c:dPt>
            <c:idx val="61"/>
            <c:invertIfNegative val="0"/>
            <c:bubble3D val="0"/>
            <c:spPr>
              <a:solidFill>
                <a:srgbClr val="7ECAC4"/>
              </a:solidFill>
            </c:spPr>
            <c:extLst>
              <c:ext xmlns:c16="http://schemas.microsoft.com/office/drawing/2014/chart" uri="{C3380CC4-5D6E-409C-BE32-E72D297353CC}">
                <c16:uniqueId val="{00000080-C76F-4230-900D-40618C09729F}"/>
              </c:ext>
            </c:extLst>
          </c:dPt>
          <c:dPt>
            <c:idx val="62"/>
            <c:invertIfNegative val="0"/>
            <c:bubble3D val="0"/>
            <c:spPr>
              <a:solidFill>
                <a:srgbClr val="7ECAC4"/>
              </a:solidFill>
            </c:spPr>
            <c:extLst>
              <c:ext xmlns:c16="http://schemas.microsoft.com/office/drawing/2014/chart" uri="{C3380CC4-5D6E-409C-BE32-E72D297353CC}">
                <c16:uniqueId val="{00000082-C76F-4230-900D-40618C09729F}"/>
              </c:ext>
            </c:extLst>
          </c:dPt>
          <c:dPt>
            <c:idx val="63"/>
            <c:invertIfNegative val="0"/>
            <c:bubble3D val="0"/>
            <c:spPr>
              <a:solidFill>
                <a:srgbClr val="7ECAC4"/>
              </a:solidFill>
            </c:spPr>
            <c:extLst>
              <c:ext xmlns:c16="http://schemas.microsoft.com/office/drawing/2014/chart" uri="{C3380CC4-5D6E-409C-BE32-E72D297353CC}">
                <c16:uniqueId val="{00000084-C76F-4230-900D-40618C09729F}"/>
              </c:ext>
            </c:extLst>
          </c:dPt>
          <c:dPt>
            <c:idx val="64"/>
            <c:invertIfNegative val="0"/>
            <c:bubble3D val="0"/>
            <c:spPr>
              <a:solidFill>
                <a:srgbClr val="7ECAC4"/>
              </a:solidFill>
            </c:spPr>
            <c:extLst>
              <c:ext xmlns:c16="http://schemas.microsoft.com/office/drawing/2014/chart" uri="{C3380CC4-5D6E-409C-BE32-E72D297353CC}">
                <c16:uniqueId val="{00000086-C76F-4230-900D-40618C09729F}"/>
              </c:ext>
            </c:extLst>
          </c:dPt>
          <c:dPt>
            <c:idx val="65"/>
            <c:invertIfNegative val="0"/>
            <c:bubble3D val="0"/>
            <c:spPr>
              <a:solidFill>
                <a:srgbClr val="7ECAC4"/>
              </a:solidFill>
            </c:spPr>
            <c:extLst>
              <c:ext xmlns:c16="http://schemas.microsoft.com/office/drawing/2014/chart" uri="{C3380CC4-5D6E-409C-BE32-E72D297353CC}">
                <c16:uniqueId val="{00000088-C76F-4230-900D-40618C09729F}"/>
              </c:ext>
            </c:extLst>
          </c:dPt>
          <c:dPt>
            <c:idx val="66"/>
            <c:invertIfNegative val="0"/>
            <c:bubble3D val="0"/>
            <c:spPr>
              <a:solidFill>
                <a:srgbClr val="7ECAC4"/>
              </a:solidFill>
            </c:spPr>
            <c:extLst>
              <c:ext xmlns:c16="http://schemas.microsoft.com/office/drawing/2014/chart" uri="{C3380CC4-5D6E-409C-BE32-E72D297353CC}">
                <c16:uniqueId val="{0000008A-C76F-4230-900D-40618C09729F}"/>
              </c:ext>
            </c:extLst>
          </c:dPt>
          <c:dPt>
            <c:idx val="67"/>
            <c:invertIfNegative val="0"/>
            <c:bubble3D val="0"/>
            <c:spPr>
              <a:solidFill>
                <a:srgbClr val="7ECAC4"/>
              </a:solidFill>
            </c:spPr>
            <c:extLst>
              <c:ext xmlns:c16="http://schemas.microsoft.com/office/drawing/2014/chart" uri="{C3380CC4-5D6E-409C-BE32-E72D297353CC}">
                <c16:uniqueId val="{0000008C-C76F-4230-900D-40618C09729F}"/>
              </c:ext>
            </c:extLst>
          </c:dPt>
          <c:dPt>
            <c:idx val="68"/>
            <c:invertIfNegative val="0"/>
            <c:bubble3D val="0"/>
            <c:spPr>
              <a:solidFill>
                <a:srgbClr val="7ECAC4"/>
              </a:solidFill>
            </c:spPr>
            <c:extLst>
              <c:ext xmlns:c16="http://schemas.microsoft.com/office/drawing/2014/chart" uri="{C3380CC4-5D6E-409C-BE32-E72D297353CC}">
                <c16:uniqueId val="{0000008E-C76F-4230-900D-40618C09729F}"/>
              </c:ext>
            </c:extLst>
          </c:dPt>
          <c:dPt>
            <c:idx val="69"/>
            <c:invertIfNegative val="0"/>
            <c:bubble3D val="0"/>
            <c:spPr>
              <a:solidFill>
                <a:srgbClr val="7ECAC4"/>
              </a:solidFill>
            </c:spPr>
            <c:extLst>
              <c:ext xmlns:c16="http://schemas.microsoft.com/office/drawing/2014/chart" uri="{C3380CC4-5D6E-409C-BE32-E72D297353CC}">
                <c16:uniqueId val="{00000090-C76F-4230-900D-40618C09729F}"/>
              </c:ext>
            </c:extLst>
          </c:dPt>
          <c:dPt>
            <c:idx val="70"/>
            <c:invertIfNegative val="0"/>
            <c:bubble3D val="0"/>
            <c:spPr>
              <a:solidFill>
                <a:srgbClr val="7ECAC4"/>
              </a:solidFill>
            </c:spPr>
            <c:extLst>
              <c:ext xmlns:c16="http://schemas.microsoft.com/office/drawing/2014/chart" uri="{C3380CC4-5D6E-409C-BE32-E72D297353CC}">
                <c16:uniqueId val="{00000092-C76F-4230-900D-40618C09729F}"/>
              </c:ext>
            </c:extLst>
          </c:dPt>
          <c:dPt>
            <c:idx val="71"/>
            <c:invertIfNegative val="0"/>
            <c:bubble3D val="0"/>
            <c:spPr>
              <a:solidFill>
                <a:srgbClr val="7ECAC4"/>
              </a:solidFill>
            </c:spPr>
            <c:extLst>
              <c:ext xmlns:c16="http://schemas.microsoft.com/office/drawing/2014/chart" uri="{C3380CC4-5D6E-409C-BE32-E72D297353CC}">
                <c16:uniqueId val="{00000094-C76F-4230-900D-40618C09729F}"/>
              </c:ext>
            </c:extLst>
          </c:dPt>
          <c:dPt>
            <c:idx val="72"/>
            <c:invertIfNegative val="0"/>
            <c:bubble3D val="0"/>
            <c:spPr>
              <a:solidFill>
                <a:srgbClr val="7ECAC4"/>
              </a:solidFill>
            </c:spPr>
            <c:extLst>
              <c:ext xmlns:c16="http://schemas.microsoft.com/office/drawing/2014/chart" uri="{C3380CC4-5D6E-409C-BE32-E72D297353CC}">
                <c16:uniqueId val="{00000096-C76F-4230-900D-40618C09729F}"/>
              </c:ext>
            </c:extLst>
          </c:dPt>
          <c:dPt>
            <c:idx val="73"/>
            <c:invertIfNegative val="0"/>
            <c:bubble3D val="0"/>
            <c:spPr>
              <a:solidFill>
                <a:srgbClr val="7ECAC4"/>
              </a:solidFill>
            </c:spPr>
            <c:extLst>
              <c:ext xmlns:c16="http://schemas.microsoft.com/office/drawing/2014/chart" uri="{C3380CC4-5D6E-409C-BE32-E72D297353CC}">
                <c16:uniqueId val="{00000098-C76F-4230-900D-40618C09729F}"/>
              </c:ext>
            </c:extLst>
          </c:dPt>
          <c:dPt>
            <c:idx val="74"/>
            <c:invertIfNegative val="0"/>
            <c:bubble3D val="0"/>
            <c:spPr>
              <a:solidFill>
                <a:srgbClr val="7ECAC4"/>
              </a:solidFill>
            </c:spPr>
            <c:extLst>
              <c:ext xmlns:c16="http://schemas.microsoft.com/office/drawing/2014/chart" uri="{C3380CC4-5D6E-409C-BE32-E72D297353CC}">
                <c16:uniqueId val="{0000009A-C76F-4230-900D-40618C09729F}"/>
              </c:ext>
            </c:extLst>
          </c:dPt>
          <c:dPt>
            <c:idx val="75"/>
            <c:invertIfNegative val="0"/>
            <c:bubble3D val="0"/>
            <c:spPr>
              <a:solidFill>
                <a:srgbClr val="7ECAC4"/>
              </a:solidFill>
            </c:spPr>
            <c:extLst>
              <c:ext xmlns:c16="http://schemas.microsoft.com/office/drawing/2014/chart" uri="{C3380CC4-5D6E-409C-BE32-E72D297353CC}">
                <c16:uniqueId val="{0000009C-C76F-4230-900D-40618C09729F}"/>
              </c:ext>
            </c:extLst>
          </c:dPt>
          <c:dPt>
            <c:idx val="76"/>
            <c:invertIfNegative val="0"/>
            <c:bubble3D val="0"/>
            <c:spPr>
              <a:solidFill>
                <a:srgbClr val="7ECAC4"/>
              </a:solidFill>
            </c:spPr>
            <c:extLst>
              <c:ext xmlns:c16="http://schemas.microsoft.com/office/drawing/2014/chart" uri="{C3380CC4-5D6E-409C-BE32-E72D297353CC}">
                <c16:uniqueId val="{0000009E-C76F-4230-900D-40618C09729F}"/>
              </c:ext>
            </c:extLst>
          </c:dPt>
          <c:dPt>
            <c:idx val="77"/>
            <c:invertIfNegative val="0"/>
            <c:bubble3D val="0"/>
            <c:spPr>
              <a:solidFill>
                <a:srgbClr val="7ECAC4"/>
              </a:solidFill>
            </c:spPr>
            <c:extLst>
              <c:ext xmlns:c16="http://schemas.microsoft.com/office/drawing/2014/chart" uri="{C3380CC4-5D6E-409C-BE32-E72D297353CC}">
                <c16:uniqueId val="{000000A0-C76F-4230-900D-40618C09729F}"/>
              </c:ext>
            </c:extLst>
          </c:dPt>
          <c:dPt>
            <c:idx val="78"/>
            <c:invertIfNegative val="0"/>
            <c:bubble3D val="0"/>
            <c:spPr>
              <a:solidFill>
                <a:srgbClr val="7ECAC4"/>
              </a:solidFill>
            </c:spPr>
            <c:extLst>
              <c:ext xmlns:c16="http://schemas.microsoft.com/office/drawing/2014/chart" uri="{C3380CC4-5D6E-409C-BE32-E72D297353CC}">
                <c16:uniqueId val="{000000A2-C76F-4230-900D-40618C09729F}"/>
              </c:ext>
            </c:extLst>
          </c:dPt>
          <c:dPt>
            <c:idx val="79"/>
            <c:invertIfNegative val="0"/>
            <c:bubble3D val="0"/>
            <c:spPr>
              <a:solidFill>
                <a:srgbClr val="7ECAC4"/>
              </a:solidFill>
            </c:spPr>
            <c:extLst>
              <c:ext xmlns:c16="http://schemas.microsoft.com/office/drawing/2014/chart" uri="{C3380CC4-5D6E-409C-BE32-E72D297353CC}">
                <c16:uniqueId val="{000000A4-C76F-4230-900D-40618C09729F}"/>
              </c:ext>
            </c:extLst>
          </c:dPt>
          <c:dPt>
            <c:idx val="80"/>
            <c:invertIfNegative val="0"/>
            <c:bubble3D val="0"/>
            <c:spPr>
              <a:solidFill>
                <a:srgbClr val="7ECAC4"/>
              </a:solidFill>
            </c:spPr>
            <c:extLst>
              <c:ext xmlns:c16="http://schemas.microsoft.com/office/drawing/2014/chart" uri="{C3380CC4-5D6E-409C-BE32-E72D297353CC}">
                <c16:uniqueId val="{000000A6-C76F-4230-900D-40618C09729F}"/>
              </c:ext>
            </c:extLst>
          </c:dPt>
          <c:dPt>
            <c:idx val="81"/>
            <c:invertIfNegative val="1"/>
            <c:bubble3D val="0"/>
            <c:spPr>
              <a:solidFill>
                <a:srgbClr val="7ECAC4"/>
              </a:solidFill>
            </c:spPr>
            <c:extLst>
              <c:ext xmlns:c16="http://schemas.microsoft.com/office/drawing/2014/chart" uri="{C3380CC4-5D6E-409C-BE32-E72D297353CC}">
                <c16:uniqueId val="{000000A5-2993-41DE-A2CB-63102DE87051}"/>
              </c:ext>
            </c:extLst>
          </c:dPt>
          <c:dPt>
            <c:idx val="82"/>
            <c:invertIfNegative val="1"/>
            <c:bubble3D val="0"/>
            <c:spPr>
              <a:solidFill>
                <a:srgbClr val="7ECAC4"/>
              </a:solidFill>
            </c:spPr>
            <c:extLst>
              <c:ext xmlns:c16="http://schemas.microsoft.com/office/drawing/2014/chart" uri="{C3380CC4-5D6E-409C-BE32-E72D297353CC}">
                <c16:uniqueId val="{000000A7-2993-41DE-A2CB-63102DE87051}"/>
              </c:ext>
            </c:extLst>
          </c:dPt>
          <c:dPt>
            <c:idx val="83"/>
            <c:invertIfNegative val="1"/>
            <c:bubble3D val="0"/>
            <c:spPr>
              <a:solidFill>
                <a:srgbClr val="7ECAC4"/>
              </a:solidFill>
            </c:spPr>
            <c:extLst>
              <c:ext xmlns:c16="http://schemas.microsoft.com/office/drawing/2014/chart" uri="{C3380CC4-5D6E-409C-BE32-E72D297353CC}">
                <c16:uniqueId val="{000000A9-2993-41DE-A2CB-63102DE87051}"/>
              </c:ext>
            </c:extLst>
          </c:dPt>
          <c:dPt>
            <c:idx val="84"/>
            <c:invertIfNegative val="1"/>
            <c:bubble3D val="0"/>
            <c:spPr>
              <a:solidFill>
                <a:srgbClr val="7ECAC4"/>
              </a:solidFill>
            </c:spPr>
            <c:extLst>
              <c:ext xmlns:c16="http://schemas.microsoft.com/office/drawing/2014/chart" uri="{C3380CC4-5D6E-409C-BE32-E72D297353CC}">
                <c16:uniqueId val="{000000AB-2993-41DE-A2CB-63102DE87051}"/>
              </c:ext>
            </c:extLst>
          </c:dPt>
          <c:dPt>
            <c:idx val="85"/>
            <c:invertIfNegative val="1"/>
            <c:bubble3D val="0"/>
            <c:spPr>
              <a:solidFill>
                <a:srgbClr val="7ECAC4"/>
              </a:solidFill>
            </c:spPr>
            <c:extLst>
              <c:ext xmlns:c16="http://schemas.microsoft.com/office/drawing/2014/chart" uri="{C3380CC4-5D6E-409C-BE32-E72D297353CC}">
                <c16:uniqueId val="{000000AD-2993-41DE-A2CB-63102DE87051}"/>
              </c:ext>
            </c:extLst>
          </c:dPt>
          <c:dPt>
            <c:idx val="86"/>
            <c:invertIfNegative val="1"/>
            <c:bubble3D val="0"/>
            <c:spPr>
              <a:solidFill>
                <a:srgbClr val="7ECAC4"/>
              </a:solidFill>
            </c:spPr>
            <c:extLst>
              <c:ext xmlns:c16="http://schemas.microsoft.com/office/drawing/2014/chart" uri="{C3380CC4-5D6E-409C-BE32-E72D297353CC}">
                <c16:uniqueId val="{000000AF-2993-41DE-A2CB-63102DE87051}"/>
              </c:ext>
            </c:extLst>
          </c:dPt>
          <c:dPt>
            <c:idx val="87"/>
            <c:invertIfNegative val="1"/>
            <c:bubble3D val="0"/>
            <c:spPr>
              <a:solidFill>
                <a:srgbClr val="7ECAC4"/>
              </a:solidFill>
            </c:spPr>
            <c:extLst>
              <c:ext xmlns:c16="http://schemas.microsoft.com/office/drawing/2014/chart" uri="{C3380CC4-5D6E-409C-BE32-E72D297353CC}">
                <c16:uniqueId val="{000000B1-2993-41DE-A2CB-63102DE87051}"/>
              </c:ext>
            </c:extLst>
          </c:dPt>
          <c:dPt>
            <c:idx val="88"/>
            <c:invertIfNegative val="1"/>
            <c:bubble3D val="0"/>
            <c:spPr>
              <a:solidFill>
                <a:srgbClr val="7ECAC4"/>
              </a:solidFill>
            </c:spPr>
            <c:extLst>
              <c:ext xmlns:c16="http://schemas.microsoft.com/office/drawing/2014/chart" uri="{C3380CC4-5D6E-409C-BE32-E72D297353CC}">
                <c16:uniqueId val="{000000B3-2993-41DE-A2CB-63102DE87051}"/>
              </c:ext>
            </c:extLst>
          </c:dPt>
          <c:dPt>
            <c:idx val="89"/>
            <c:invertIfNegative val="1"/>
            <c:bubble3D val="0"/>
            <c:spPr>
              <a:solidFill>
                <a:srgbClr val="7ECAC4"/>
              </a:solidFill>
            </c:spPr>
            <c:extLst>
              <c:ext xmlns:c16="http://schemas.microsoft.com/office/drawing/2014/chart" uri="{C3380CC4-5D6E-409C-BE32-E72D297353CC}">
                <c16:uniqueId val="{000000B5-2993-41DE-A2CB-63102DE87051}"/>
              </c:ext>
            </c:extLst>
          </c:dPt>
          <c:dPt>
            <c:idx val="90"/>
            <c:invertIfNegative val="1"/>
            <c:bubble3D val="0"/>
            <c:spPr>
              <a:solidFill>
                <a:srgbClr val="7ECAC4"/>
              </a:solidFill>
            </c:spPr>
            <c:extLst>
              <c:ext xmlns:c16="http://schemas.microsoft.com/office/drawing/2014/chart" uri="{C3380CC4-5D6E-409C-BE32-E72D297353CC}">
                <c16:uniqueId val="{000000B7-2993-41DE-A2CB-63102DE87051}"/>
              </c:ext>
            </c:extLst>
          </c:dPt>
          <c:dPt>
            <c:idx val="91"/>
            <c:invertIfNegative val="1"/>
            <c:bubble3D val="0"/>
            <c:spPr>
              <a:solidFill>
                <a:srgbClr val="7ECAC4"/>
              </a:solidFill>
            </c:spPr>
            <c:extLst>
              <c:ext xmlns:c16="http://schemas.microsoft.com/office/drawing/2014/chart" uri="{C3380CC4-5D6E-409C-BE32-E72D297353CC}">
                <c16:uniqueId val="{000000B9-2993-41DE-A2CB-63102DE87051}"/>
              </c:ext>
            </c:extLst>
          </c:dPt>
          <c:dPt>
            <c:idx val="92"/>
            <c:invertIfNegative val="1"/>
            <c:bubble3D val="0"/>
            <c:spPr>
              <a:solidFill>
                <a:srgbClr val="7ECAC4"/>
              </a:solidFill>
            </c:spPr>
            <c:extLst>
              <c:ext xmlns:c16="http://schemas.microsoft.com/office/drawing/2014/chart" uri="{C3380CC4-5D6E-409C-BE32-E72D297353CC}">
                <c16:uniqueId val="{000000BB-2993-41DE-A2CB-63102DE87051}"/>
              </c:ext>
            </c:extLst>
          </c:dPt>
          <c:dPt>
            <c:idx val="93"/>
            <c:invertIfNegative val="1"/>
            <c:bubble3D val="0"/>
            <c:spPr>
              <a:solidFill>
                <a:srgbClr val="7ECAC4"/>
              </a:solidFill>
            </c:spPr>
            <c:extLst>
              <c:ext xmlns:c16="http://schemas.microsoft.com/office/drawing/2014/chart" uri="{C3380CC4-5D6E-409C-BE32-E72D297353CC}">
                <c16:uniqueId val="{000000BD-2993-41DE-A2CB-63102DE87051}"/>
              </c:ext>
            </c:extLst>
          </c:dPt>
          <c:dPt>
            <c:idx val="94"/>
            <c:invertIfNegative val="1"/>
            <c:bubble3D val="0"/>
            <c:spPr>
              <a:solidFill>
                <a:srgbClr val="7ECAC4"/>
              </a:solidFill>
            </c:spPr>
            <c:extLst>
              <c:ext xmlns:c16="http://schemas.microsoft.com/office/drawing/2014/chart" uri="{C3380CC4-5D6E-409C-BE32-E72D297353CC}">
                <c16:uniqueId val="{000000BF-2993-41DE-A2CB-63102DE87051}"/>
              </c:ext>
            </c:extLst>
          </c:dPt>
          <c:dPt>
            <c:idx val="95"/>
            <c:invertIfNegative val="1"/>
            <c:bubble3D val="0"/>
            <c:spPr>
              <a:solidFill>
                <a:srgbClr val="7ECAC4"/>
              </a:solidFill>
            </c:spPr>
            <c:extLst>
              <c:ext xmlns:c16="http://schemas.microsoft.com/office/drawing/2014/chart" uri="{C3380CC4-5D6E-409C-BE32-E72D297353CC}">
                <c16:uniqueId val="{000000C1-2993-41DE-A2CB-63102DE87051}"/>
              </c:ext>
            </c:extLst>
          </c:dPt>
          <c:dPt>
            <c:idx val="96"/>
            <c:invertIfNegative val="1"/>
            <c:bubble3D val="0"/>
            <c:spPr>
              <a:solidFill>
                <a:srgbClr val="7ECAC4"/>
              </a:solidFill>
            </c:spPr>
            <c:extLst>
              <c:ext xmlns:c16="http://schemas.microsoft.com/office/drawing/2014/chart" uri="{C3380CC4-5D6E-409C-BE32-E72D297353CC}">
                <c16:uniqueId val="{000000C3-2993-41DE-A2CB-63102DE87051}"/>
              </c:ext>
            </c:extLst>
          </c:dPt>
          <c:dPt>
            <c:idx val="97"/>
            <c:invertIfNegative val="1"/>
            <c:bubble3D val="0"/>
            <c:spPr>
              <a:solidFill>
                <a:srgbClr val="AEABAB"/>
              </a:solidFill>
            </c:spPr>
            <c:extLst>
              <c:ext xmlns:c16="http://schemas.microsoft.com/office/drawing/2014/chart" uri="{C3380CC4-5D6E-409C-BE32-E72D297353CC}">
                <c16:uniqueId val="{000000C5-2993-41DE-A2CB-63102DE87051}"/>
              </c:ext>
            </c:extLst>
          </c:dPt>
          <c:dPt>
            <c:idx val="98"/>
            <c:invertIfNegative val="1"/>
            <c:bubble3D val="0"/>
            <c:spPr>
              <a:solidFill>
                <a:srgbClr val="AEABAB"/>
              </a:solidFill>
            </c:spPr>
            <c:extLst>
              <c:ext xmlns:c16="http://schemas.microsoft.com/office/drawing/2014/chart" uri="{C3380CC4-5D6E-409C-BE32-E72D297353CC}">
                <c16:uniqueId val="{000000C7-2993-41DE-A2CB-63102DE87051}"/>
              </c:ext>
            </c:extLst>
          </c:dPt>
          <c:dPt>
            <c:idx val="99"/>
            <c:invertIfNegative val="1"/>
            <c:bubble3D val="0"/>
            <c:spPr>
              <a:solidFill>
                <a:srgbClr val="AEABAB"/>
              </a:solidFill>
            </c:spPr>
            <c:extLst>
              <c:ext xmlns:c16="http://schemas.microsoft.com/office/drawing/2014/chart" uri="{C3380CC4-5D6E-409C-BE32-E72D297353CC}">
                <c16:uniqueId val="{000000C9-2993-41DE-A2CB-63102DE87051}"/>
              </c:ext>
            </c:extLst>
          </c:dPt>
          <c:dPt>
            <c:idx val="100"/>
            <c:invertIfNegative val="1"/>
            <c:bubble3D val="0"/>
            <c:spPr>
              <a:solidFill>
                <a:srgbClr val="AEABAB"/>
              </a:solidFill>
            </c:spPr>
            <c:extLst>
              <c:ext xmlns:c16="http://schemas.microsoft.com/office/drawing/2014/chart" uri="{C3380CC4-5D6E-409C-BE32-E72D297353CC}">
                <c16:uniqueId val="{000000CB-2993-41DE-A2CB-63102DE87051}"/>
              </c:ext>
            </c:extLst>
          </c:dPt>
          <c:dPt>
            <c:idx val="101"/>
            <c:invertIfNegative val="1"/>
            <c:bubble3D val="0"/>
            <c:spPr>
              <a:solidFill>
                <a:srgbClr val="AEABAB"/>
              </a:solidFill>
            </c:spPr>
            <c:extLst>
              <c:ext xmlns:c16="http://schemas.microsoft.com/office/drawing/2014/chart" uri="{C3380CC4-5D6E-409C-BE32-E72D297353CC}">
                <c16:uniqueId val="{000000CD-2993-41DE-A2CB-63102DE87051}"/>
              </c:ext>
            </c:extLst>
          </c:dPt>
          <c:dPt>
            <c:idx val="102"/>
            <c:invertIfNegative val="1"/>
            <c:bubble3D val="0"/>
            <c:spPr>
              <a:solidFill>
                <a:srgbClr val="AEABAB"/>
              </a:solidFill>
            </c:spPr>
            <c:extLst>
              <c:ext xmlns:c16="http://schemas.microsoft.com/office/drawing/2014/chart" uri="{C3380CC4-5D6E-409C-BE32-E72D297353CC}">
                <c16:uniqueId val="{000000CF-2993-41DE-A2CB-63102DE87051}"/>
              </c:ext>
            </c:extLst>
          </c:dPt>
          <c:dPt>
            <c:idx val="103"/>
            <c:invertIfNegative val="1"/>
            <c:bubble3D val="0"/>
            <c:spPr>
              <a:solidFill>
                <a:srgbClr val="AEABAB"/>
              </a:solidFill>
            </c:spPr>
            <c:extLst>
              <c:ext xmlns:c16="http://schemas.microsoft.com/office/drawing/2014/chart" uri="{C3380CC4-5D6E-409C-BE32-E72D297353CC}">
                <c16:uniqueId val="{000000D1-2993-41DE-A2CB-63102DE87051}"/>
              </c:ext>
            </c:extLst>
          </c:dPt>
          <c:dPt>
            <c:idx val="104"/>
            <c:invertIfNegative val="1"/>
            <c:bubble3D val="0"/>
            <c:spPr>
              <a:solidFill>
                <a:srgbClr val="AEABAB"/>
              </a:solidFill>
            </c:spPr>
            <c:extLst>
              <c:ext xmlns:c16="http://schemas.microsoft.com/office/drawing/2014/chart" uri="{C3380CC4-5D6E-409C-BE32-E72D297353CC}">
                <c16:uniqueId val="{000000D3-2993-41DE-A2CB-63102DE87051}"/>
              </c:ext>
            </c:extLst>
          </c:dPt>
          <c:dPt>
            <c:idx val="105"/>
            <c:invertIfNegative val="1"/>
            <c:bubble3D val="0"/>
            <c:spPr>
              <a:solidFill>
                <a:srgbClr val="AEABAB"/>
              </a:solidFill>
            </c:spPr>
            <c:extLst>
              <c:ext xmlns:c16="http://schemas.microsoft.com/office/drawing/2014/chart" uri="{C3380CC4-5D6E-409C-BE32-E72D297353CC}">
                <c16:uniqueId val="{000000D5-2993-41DE-A2CB-63102DE87051}"/>
              </c:ext>
            </c:extLst>
          </c:dPt>
          <c:dPt>
            <c:idx val="106"/>
            <c:invertIfNegative val="1"/>
            <c:bubble3D val="0"/>
            <c:spPr>
              <a:solidFill>
                <a:srgbClr val="AEABAB"/>
              </a:solidFill>
            </c:spPr>
            <c:extLst>
              <c:ext xmlns:c16="http://schemas.microsoft.com/office/drawing/2014/chart" uri="{C3380CC4-5D6E-409C-BE32-E72D297353CC}">
                <c16:uniqueId val="{000000D7-2993-41DE-A2CB-63102DE87051}"/>
              </c:ext>
            </c:extLst>
          </c:dPt>
          <c:dPt>
            <c:idx val="107"/>
            <c:invertIfNegative val="1"/>
            <c:bubble3D val="0"/>
            <c:spPr>
              <a:solidFill>
                <a:srgbClr val="AEABAB"/>
              </a:solidFill>
            </c:spPr>
            <c:extLst>
              <c:ext xmlns:c16="http://schemas.microsoft.com/office/drawing/2014/chart" uri="{C3380CC4-5D6E-409C-BE32-E72D297353CC}">
                <c16:uniqueId val="{000000D9-2993-41DE-A2CB-63102DE87051}"/>
              </c:ext>
            </c:extLst>
          </c:dPt>
          <c:dPt>
            <c:idx val="108"/>
            <c:invertIfNegative val="1"/>
            <c:bubble3D val="0"/>
            <c:spPr>
              <a:solidFill>
                <a:srgbClr val="AEABAB"/>
              </a:solidFill>
            </c:spPr>
            <c:extLst>
              <c:ext xmlns:c16="http://schemas.microsoft.com/office/drawing/2014/chart" uri="{C3380CC4-5D6E-409C-BE32-E72D297353CC}">
                <c16:uniqueId val="{000000DB-2993-41DE-A2CB-63102DE87051}"/>
              </c:ext>
            </c:extLst>
          </c:dPt>
          <c:dPt>
            <c:idx val="109"/>
            <c:invertIfNegative val="1"/>
            <c:bubble3D val="0"/>
            <c:spPr>
              <a:solidFill>
                <a:srgbClr val="AEABAB"/>
              </a:solidFill>
            </c:spPr>
            <c:extLst>
              <c:ext xmlns:c16="http://schemas.microsoft.com/office/drawing/2014/chart" uri="{C3380CC4-5D6E-409C-BE32-E72D297353CC}">
                <c16:uniqueId val="{000000DD-2993-41DE-A2CB-63102DE87051}"/>
              </c:ext>
            </c:extLst>
          </c:dPt>
          <c:dPt>
            <c:idx val="110"/>
            <c:invertIfNegative val="1"/>
            <c:bubble3D val="0"/>
            <c:spPr>
              <a:solidFill>
                <a:srgbClr val="AEABAB"/>
              </a:solidFill>
            </c:spPr>
            <c:extLst>
              <c:ext xmlns:c16="http://schemas.microsoft.com/office/drawing/2014/chart" uri="{C3380CC4-5D6E-409C-BE32-E72D297353CC}">
                <c16:uniqueId val="{000000DF-2993-41DE-A2CB-63102DE87051}"/>
              </c:ext>
            </c:extLst>
          </c:dPt>
          <c:dPt>
            <c:idx val="111"/>
            <c:invertIfNegative val="1"/>
            <c:bubble3D val="0"/>
            <c:spPr>
              <a:solidFill>
                <a:srgbClr val="AEABAB"/>
              </a:solidFill>
            </c:spPr>
            <c:extLst>
              <c:ext xmlns:c16="http://schemas.microsoft.com/office/drawing/2014/chart" uri="{C3380CC4-5D6E-409C-BE32-E72D297353CC}">
                <c16:uniqueId val="{000000E1-2993-41DE-A2CB-63102DE87051}"/>
              </c:ext>
            </c:extLst>
          </c:dPt>
          <c:dPt>
            <c:idx val="112"/>
            <c:invertIfNegative val="1"/>
            <c:bubble3D val="0"/>
            <c:spPr>
              <a:solidFill>
                <a:srgbClr val="AEABAB"/>
              </a:solidFill>
            </c:spPr>
            <c:extLst>
              <c:ext xmlns:c16="http://schemas.microsoft.com/office/drawing/2014/chart" uri="{C3380CC4-5D6E-409C-BE32-E72D297353CC}">
                <c16:uniqueId val="{000000E3-2993-41DE-A2CB-63102DE87051}"/>
              </c:ext>
            </c:extLst>
          </c:dPt>
          <c:dPt>
            <c:idx val="113"/>
            <c:invertIfNegative val="1"/>
            <c:bubble3D val="0"/>
            <c:spPr>
              <a:solidFill>
                <a:srgbClr val="AEABAB"/>
              </a:solidFill>
            </c:spPr>
            <c:extLst>
              <c:ext xmlns:c16="http://schemas.microsoft.com/office/drawing/2014/chart" uri="{C3380CC4-5D6E-409C-BE32-E72D297353CC}">
                <c16:uniqueId val="{000000E5-2993-41DE-A2CB-63102DE87051}"/>
              </c:ext>
            </c:extLst>
          </c:dPt>
          <c:dPt>
            <c:idx val="114"/>
            <c:invertIfNegative val="1"/>
            <c:bubble3D val="0"/>
            <c:spPr>
              <a:solidFill>
                <a:srgbClr val="AEABAB"/>
              </a:solidFill>
            </c:spPr>
            <c:extLst>
              <c:ext xmlns:c16="http://schemas.microsoft.com/office/drawing/2014/chart" uri="{C3380CC4-5D6E-409C-BE32-E72D297353CC}">
                <c16:uniqueId val="{000000E7-2993-41DE-A2CB-63102DE87051}"/>
              </c:ext>
            </c:extLst>
          </c:dPt>
          <c:dPt>
            <c:idx val="115"/>
            <c:invertIfNegative val="1"/>
            <c:bubble3D val="0"/>
            <c:spPr>
              <a:solidFill>
                <a:srgbClr val="AEABAB"/>
              </a:solidFill>
            </c:spPr>
            <c:extLst>
              <c:ext xmlns:c16="http://schemas.microsoft.com/office/drawing/2014/chart" uri="{C3380CC4-5D6E-409C-BE32-E72D297353CC}">
                <c16:uniqueId val="{000000E9-2993-41DE-A2CB-63102DE87051}"/>
              </c:ext>
            </c:extLst>
          </c:dPt>
          <c:dPt>
            <c:idx val="116"/>
            <c:invertIfNegative val="1"/>
            <c:bubble3D val="0"/>
            <c:spPr>
              <a:solidFill>
                <a:srgbClr val="AEABAB"/>
              </a:solidFill>
            </c:spPr>
            <c:extLst>
              <c:ext xmlns:c16="http://schemas.microsoft.com/office/drawing/2014/chart" uri="{C3380CC4-5D6E-409C-BE32-E72D297353CC}">
                <c16:uniqueId val="{000000EB-2993-41DE-A2CB-63102DE87051}"/>
              </c:ext>
            </c:extLst>
          </c:dPt>
          <c:dPt>
            <c:idx val="117"/>
            <c:invertIfNegative val="1"/>
            <c:bubble3D val="0"/>
            <c:spPr>
              <a:solidFill>
                <a:srgbClr val="AEABAB"/>
              </a:solidFill>
            </c:spPr>
            <c:extLst>
              <c:ext xmlns:c16="http://schemas.microsoft.com/office/drawing/2014/chart" uri="{C3380CC4-5D6E-409C-BE32-E72D297353CC}">
                <c16:uniqueId val="{000000ED-2993-41DE-A2CB-63102DE87051}"/>
              </c:ext>
            </c:extLst>
          </c:dPt>
          <c:dPt>
            <c:idx val="118"/>
            <c:invertIfNegative val="1"/>
            <c:bubble3D val="0"/>
            <c:spPr>
              <a:solidFill>
                <a:srgbClr val="AEABAB"/>
              </a:solidFill>
            </c:spPr>
            <c:extLst>
              <c:ext xmlns:c16="http://schemas.microsoft.com/office/drawing/2014/chart" uri="{C3380CC4-5D6E-409C-BE32-E72D297353CC}">
                <c16:uniqueId val="{000000EF-2993-41DE-A2CB-63102DE87051}"/>
              </c:ext>
            </c:extLst>
          </c:dPt>
          <c:dPt>
            <c:idx val="119"/>
            <c:invertIfNegative val="1"/>
            <c:bubble3D val="0"/>
            <c:spPr>
              <a:solidFill>
                <a:srgbClr val="AEABAB"/>
              </a:solidFill>
            </c:spPr>
            <c:extLst>
              <c:ext xmlns:c16="http://schemas.microsoft.com/office/drawing/2014/chart" uri="{C3380CC4-5D6E-409C-BE32-E72D297353CC}">
                <c16:uniqueId val="{000000F1-2993-41DE-A2CB-63102DE87051}"/>
              </c:ext>
            </c:extLst>
          </c:dPt>
          <c:dPt>
            <c:idx val="120"/>
            <c:invertIfNegative val="1"/>
            <c:bubble3D val="0"/>
            <c:spPr>
              <a:solidFill>
                <a:srgbClr val="AEABAB"/>
              </a:solidFill>
            </c:spPr>
            <c:extLst>
              <c:ext xmlns:c16="http://schemas.microsoft.com/office/drawing/2014/chart" uri="{C3380CC4-5D6E-409C-BE32-E72D297353CC}">
                <c16:uniqueId val="{000000F3-2993-41DE-A2CB-63102DE87051}"/>
              </c:ext>
            </c:extLst>
          </c:dPt>
          <c:dPt>
            <c:idx val="121"/>
            <c:invertIfNegative val="1"/>
            <c:bubble3D val="0"/>
            <c:spPr>
              <a:solidFill>
                <a:srgbClr val="AEABAB"/>
              </a:solidFill>
            </c:spPr>
            <c:extLst>
              <c:ext xmlns:c16="http://schemas.microsoft.com/office/drawing/2014/chart" uri="{C3380CC4-5D6E-409C-BE32-E72D297353CC}">
                <c16:uniqueId val="{000000F5-2993-41DE-A2CB-63102DE87051}"/>
              </c:ext>
            </c:extLst>
          </c:dPt>
          <c:dPt>
            <c:idx val="122"/>
            <c:invertIfNegative val="1"/>
            <c:bubble3D val="0"/>
            <c:spPr>
              <a:solidFill>
                <a:srgbClr val="AEABAB"/>
              </a:solidFill>
            </c:spPr>
            <c:extLst>
              <c:ext xmlns:c16="http://schemas.microsoft.com/office/drawing/2014/chart" uri="{C3380CC4-5D6E-409C-BE32-E72D297353CC}">
                <c16:uniqueId val="{000000F7-2993-41DE-A2CB-63102DE87051}"/>
              </c:ext>
            </c:extLst>
          </c:dPt>
          <c:dPt>
            <c:idx val="123"/>
            <c:invertIfNegative val="1"/>
            <c:bubble3D val="0"/>
            <c:spPr>
              <a:solidFill>
                <a:srgbClr val="AEABAB"/>
              </a:solidFill>
            </c:spPr>
            <c:extLst>
              <c:ext xmlns:c16="http://schemas.microsoft.com/office/drawing/2014/chart" uri="{C3380CC4-5D6E-409C-BE32-E72D297353CC}">
                <c16:uniqueId val="{000000F9-2993-41DE-A2CB-63102DE87051}"/>
              </c:ext>
            </c:extLst>
          </c:dPt>
          <c:dPt>
            <c:idx val="124"/>
            <c:invertIfNegative val="1"/>
            <c:bubble3D val="0"/>
            <c:spPr>
              <a:solidFill>
                <a:srgbClr val="AEABAB"/>
              </a:solidFill>
            </c:spPr>
            <c:extLst>
              <c:ext xmlns:c16="http://schemas.microsoft.com/office/drawing/2014/chart" uri="{C3380CC4-5D6E-409C-BE32-E72D297353CC}">
                <c16:uniqueId val="{000000FB-2993-41DE-A2CB-63102DE87051}"/>
              </c:ext>
            </c:extLst>
          </c:dPt>
          <c:dPt>
            <c:idx val="125"/>
            <c:invertIfNegative val="1"/>
            <c:bubble3D val="0"/>
            <c:spPr>
              <a:solidFill>
                <a:srgbClr val="AEABAB"/>
              </a:solidFill>
            </c:spPr>
            <c:extLst>
              <c:ext xmlns:c16="http://schemas.microsoft.com/office/drawing/2014/chart" uri="{C3380CC4-5D6E-409C-BE32-E72D297353CC}">
                <c16:uniqueId val="{000000FD-2993-41DE-A2CB-63102DE87051}"/>
              </c:ext>
            </c:extLst>
          </c:dPt>
          <c:dPt>
            <c:idx val="126"/>
            <c:invertIfNegative val="1"/>
            <c:bubble3D val="0"/>
            <c:spPr>
              <a:solidFill>
                <a:srgbClr val="AEABAB"/>
              </a:solidFill>
            </c:spPr>
            <c:extLst>
              <c:ext xmlns:c16="http://schemas.microsoft.com/office/drawing/2014/chart" uri="{C3380CC4-5D6E-409C-BE32-E72D297353CC}">
                <c16:uniqueId val="{000000FF-2993-41DE-A2CB-63102DE87051}"/>
              </c:ext>
            </c:extLst>
          </c:dPt>
          <c:dPt>
            <c:idx val="127"/>
            <c:invertIfNegative val="1"/>
            <c:bubble3D val="0"/>
            <c:spPr>
              <a:solidFill>
                <a:srgbClr val="AEABAB"/>
              </a:solidFill>
            </c:spPr>
            <c:extLst>
              <c:ext xmlns:c16="http://schemas.microsoft.com/office/drawing/2014/chart" uri="{C3380CC4-5D6E-409C-BE32-E72D297353CC}">
                <c16:uniqueId val="{00000101-2993-41DE-A2CB-63102DE87051}"/>
              </c:ext>
            </c:extLst>
          </c:dPt>
          <c:dPt>
            <c:idx val="128"/>
            <c:invertIfNegative val="1"/>
            <c:bubble3D val="0"/>
            <c:spPr>
              <a:solidFill>
                <a:srgbClr val="AEABAB"/>
              </a:solidFill>
            </c:spPr>
            <c:extLst>
              <c:ext xmlns:c16="http://schemas.microsoft.com/office/drawing/2014/chart" uri="{C3380CC4-5D6E-409C-BE32-E72D297353CC}">
                <c16:uniqueId val="{00000103-2993-41DE-A2CB-63102DE87051}"/>
              </c:ext>
            </c:extLst>
          </c:dPt>
          <c:dPt>
            <c:idx val="129"/>
            <c:invertIfNegative val="1"/>
            <c:bubble3D val="0"/>
            <c:spPr>
              <a:solidFill>
                <a:srgbClr val="AEABAB"/>
              </a:solidFill>
            </c:spPr>
            <c:extLst>
              <c:ext xmlns:c16="http://schemas.microsoft.com/office/drawing/2014/chart" uri="{C3380CC4-5D6E-409C-BE32-E72D297353CC}">
                <c16:uniqueId val="{00000105-2993-41DE-A2CB-63102DE87051}"/>
              </c:ext>
            </c:extLst>
          </c:dPt>
          <c:dPt>
            <c:idx val="130"/>
            <c:invertIfNegative val="1"/>
            <c:bubble3D val="0"/>
            <c:spPr>
              <a:solidFill>
                <a:srgbClr val="AEABAB"/>
              </a:solidFill>
            </c:spPr>
            <c:extLst>
              <c:ext xmlns:c16="http://schemas.microsoft.com/office/drawing/2014/chart" uri="{C3380CC4-5D6E-409C-BE32-E72D297353CC}">
                <c16:uniqueId val="{00000107-2993-41DE-A2CB-63102DE87051}"/>
              </c:ext>
            </c:extLst>
          </c:dPt>
          <c:dPt>
            <c:idx val="131"/>
            <c:invertIfNegative val="1"/>
            <c:bubble3D val="0"/>
            <c:spPr>
              <a:solidFill>
                <a:srgbClr val="AEABAB"/>
              </a:solidFill>
            </c:spPr>
            <c:extLst>
              <c:ext xmlns:c16="http://schemas.microsoft.com/office/drawing/2014/chart" uri="{C3380CC4-5D6E-409C-BE32-E72D297353CC}">
                <c16:uniqueId val="{00000109-2993-41DE-A2CB-63102DE87051}"/>
              </c:ext>
            </c:extLst>
          </c:dPt>
          <c:dPt>
            <c:idx val="132"/>
            <c:invertIfNegative val="1"/>
            <c:bubble3D val="0"/>
            <c:spPr>
              <a:solidFill>
                <a:srgbClr val="AEABAB"/>
              </a:solidFill>
            </c:spPr>
            <c:extLst>
              <c:ext xmlns:c16="http://schemas.microsoft.com/office/drawing/2014/chart" uri="{C3380CC4-5D6E-409C-BE32-E72D297353CC}">
                <c16:uniqueId val="{0000010B-2993-41DE-A2CB-63102DE87051}"/>
              </c:ext>
            </c:extLst>
          </c:dPt>
          <c:dPt>
            <c:idx val="133"/>
            <c:invertIfNegative val="1"/>
            <c:bubble3D val="0"/>
            <c:spPr>
              <a:solidFill>
                <a:srgbClr val="AEABAB"/>
              </a:solidFill>
            </c:spPr>
            <c:extLst>
              <c:ext xmlns:c16="http://schemas.microsoft.com/office/drawing/2014/chart" uri="{C3380CC4-5D6E-409C-BE32-E72D297353CC}">
                <c16:uniqueId val="{0000010D-2993-41DE-A2CB-63102DE87051}"/>
              </c:ext>
            </c:extLst>
          </c:dPt>
          <c:dPt>
            <c:idx val="134"/>
            <c:invertIfNegative val="1"/>
            <c:bubble3D val="0"/>
            <c:spPr>
              <a:solidFill>
                <a:srgbClr val="AEABAB"/>
              </a:solidFill>
            </c:spPr>
            <c:extLst>
              <c:ext xmlns:c16="http://schemas.microsoft.com/office/drawing/2014/chart" uri="{C3380CC4-5D6E-409C-BE32-E72D297353CC}">
                <c16:uniqueId val="{0000010F-2993-41DE-A2CB-63102DE87051}"/>
              </c:ext>
            </c:extLst>
          </c:dPt>
          <c:dPt>
            <c:idx val="135"/>
            <c:invertIfNegative val="1"/>
            <c:bubble3D val="0"/>
            <c:spPr>
              <a:solidFill>
                <a:srgbClr val="AEABAB"/>
              </a:solidFill>
            </c:spPr>
            <c:extLst>
              <c:ext xmlns:c16="http://schemas.microsoft.com/office/drawing/2014/chart" uri="{C3380CC4-5D6E-409C-BE32-E72D297353CC}">
                <c16:uniqueId val="{00000111-2993-41DE-A2CB-63102DE87051}"/>
              </c:ext>
            </c:extLst>
          </c:dPt>
          <c:dPt>
            <c:idx val="136"/>
            <c:invertIfNegative val="1"/>
            <c:bubble3D val="0"/>
            <c:spPr>
              <a:solidFill>
                <a:srgbClr val="AEABAB"/>
              </a:solidFill>
            </c:spPr>
            <c:extLst>
              <c:ext xmlns:c16="http://schemas.microsoft.com/office/drawing/2014/chart" uri="{C3380CC4-5D6E-409C-BE32-E72D297353CC}">
                <c16:uniqueId val="{00000113-2993-41DE-A2CB-63102DE87051}"/>
              </c:ext>
            </c:extLst>
          </c:dPt>
          <c:dPt>
            <c:idx val="137"/>
            <c:invertIfNegative val="1"/>
            <c:bubble3D val="0"/>
            <c:spPr>
              <a:solidFill>
                <a:srgbClr val="AEABAB"/>
              </a:solidFill>
            </c:spPr>
            <c:extLst>
              <c:ext xmlns:c16="http://schemas.microsoft.com/office/drawing/2014/chart" uri="{C3380CC4-5D6E-409C-BE32-E72D297353CC}">
                <c16:uniqueId val="{00000115-2993-41DE-A2CB-63102DE87051}"/>
              </c:ext>
            </c:extLst>
          </c:dPt>
          <c:dPt>
            <c:idx val="138"/>
            <c:invertIfNegative val="1"/>
            <c:bubble3D val="0"/>
            <c:spPr>
              <a:solidFill>
                <a:srgbClr val="AEABAB"/>
              </a:solidFill>
            </c:spPr>
            <c:extLst>
              <c:ext xmlns:c16="http://schemas.microsoft.com/office/drawing/2014/chart" uri="{C3380CC4-5D6E-409C-BE32-E72D297353CC}">
                <c16:uniqueId val="{00000117-2993-41DE-A2CB-63102DE87051}"/>
              </c:ext>
            </c:extLst>
          </c:dPt>
          <c:dPt>
            <c:idx val="139"/>
            <c:invertIfNegative val="1"/>
            <c:bubble3D val="0"/>
            <c:spPr>
              <a:solidFill>
                <a:srgbClr val="AEABAB"/>
              </a:solidFill>
            </c:spPr>
            <c:extLst>
              <c:ext xmlns:c16="http://schemas.microsoft.com/office/drawing/2014/chart" uri="{C3380CC4-5D6E-409C-BE32-E72D297353CC}">
                <c16:uniqueId val="{00000119-2993-41DE-A2CB-63102DE87051}"/>
              </c:ext>
            </c:extLst>
          </c:dPt>
          <c:dPt>
            <c:idx val="140"/>
            <c:invertIfNegative val="1"/>
            <c:bubble3D val="0"/>
            <c:spPr>
              <a:solidFill>
                <a:srgbClr val="AEABAB"/>
              </a:solidFill>
            </c:spPr>
            <c:extLst>
              <c:ext xmlns:c16="http://schemas.microsoft.com/office/drawing/2014/chart" uri="{C3380CC4-5D6E-409C-BE32-E72D297353CC}">
                <c16:uniqueId val="{0000011B-2993-41DE-A2CB-63102DE87051}"/>
              </c:ext>
            </c:extLst>
          </c:dPt>
          <c:dPt>
            <c:idx val="141"/>
            <c:invertIfNegative val="1"/>
            <c:bubble3D val="0"/>
            <c:spPr>
              <a:solidFill>
                <a:srgbClr val="AEABAB"/>
              </a:solidFill>
            </c:spPr>
            <c:extLst>
              <c:ext xmlns:c16="http://schemas.microsoft.com/office/drawing/2014/chart" uri="{C3380CC4-5D6E-409C-BE32-E72D297353CC}">
                <c16:uniqueId val="{0000011D-2993-41DE-A2CB-63102DE87051}"/>
              </c:ext>
            </c:extLst>
          </c:dPt>
          <c:dPt>
            <c:idx val="142"/>
            <c:invertIfNegative val="1"/>
            <c:bubble3D val="0"/>
            <c:spPr>
              <a:solidFill>
                <a:srgbClr val="AEABAB"/>
              </a:solidFill>
            </c:spPr>
            <c:extLst>
              <c:ext xmlns:c16="http://schemas.microsoft.com/office/drawing/2014/chart" uri="{C3380CC4-5D6E-409C-BE32-E72D297353CC}">
                <c16:uniqueId val="{0000011F-2993-41DE-A2CB-63102DE87051}"/>
              </c:ext>
            </c:extLst>
          </c:dPt>
          <c:dPt>
            <c:idx val="143"/>
            <c:invertIfNegative val="1"/>
            <c:bubble3D val="0"/>
            <c:spPr>
              <a:solidFill>
                <a:srgbClr val="AEABAB"/>
              </a:solidFill>
            </c:spPr>
            <c:extLst>
              <c:ext xmlns:c16="http://schemas.microsoft.com/office/drawing/2014/chart" uri="{C3380CC4-5D6E-409C-BE32-E72D297353CC}">
                <c16:uniqueId val="{00000121-2993-41DE-A2CB-63102DE87051}"/>
              </c:ext>
            </c:extLst>
          </c:dPt>
          <c:dPt>
            <c:idx val="144"/>
            <c:invertIfNegative val="1"/>
            <c:bubble3D val="0"/>
            <c:spPr>
              <a:solidFill>
                <a:srgbClr val="AEABAB"/>
              </a:solidFill>
            </c:spPr>
            <c:extLst>
              <c:ext xmlns:c16="http://schemas.microsoft.com/office/drawing/2014/chart" uri="{C3380CC4-5D6E-409C-BE32-E72D297353CC}">
                <c16:uniqueId val="{00000123-2993-41DE-A2CB-63102DE87051}"/>
              </c:ext>
            </c:extLst>
          </c:dPt>
          <c:dPt>
            <c:idx val="145"/>
            <c:invertIfNegative val="1"/>
            <c:bubble3D val="0"/>
            <c:spPr>
              <a:solidFill>
                <a:srgbClr val="AEABAB"/>
              </a:solidFill>
            </c:spPr>
            <c:extLst>
              <c:ext xmlns:c16="http://schemas.microsoft.com/office/drawing/2014/chart" uri="{C3380CC4-5D6E-409C-BE32-E72D297353CC}">
                <c16:uniqueId val="{00000125-2993-41DE-A2CB-63102DE87051}"/>
              </c:ext>
            </c:extLst>
          </c:dPt>
          <c:dPt>
            <c:idx val="146"/>
            <c:invertIfNegative val="1"/>
            <c:bubble3D val="0"/>
            <c:spPr>
              <a:solidFill>
                <a:srgbClr val="AEABAB"/>
              </a:solidFill>
            </c:spPr>
            <c:extLst>
              <c:ext xmlns:c16="http://schemas.microsoft.com/office/drawing/2014/chart" uri="{C3380CC4-5D6E-409C-BE32-E72D297353CC}">
                <c16:uniqueId val="{00000127-2993-41DE-A2CB-63102DE87051}"/>
              </c:ext>
            </c:extLst>
          </c:dPt>
          <c:dPt>
            <c:idx val="147"/>
            <c:invertIfNegative val="1"/>
            <c:bubble3D val="0"/>
            <c:spPr>
              <a:solidFill>
                <a:srgbClr val="AEABAB"/>
              </a:solidFill>
            </c:spPr>
            <c:extLst>
              <c:ext xmlns:c16="http://schemas.microsoft.com/office/drawing/2014/chart" uri="{C3380CC4-5D6E-409C-BE32-E72D297353CC}">
                <c16:uniqueId val="{00000129-2993-41DE-A2CB-63102DE87051}"/>
              </c:ext>
            </c:extLst>
          </c:dPt>
          <c:dPt>
            <c:idx val="148"/>
            <c:invertIfNegative val="1"/>
            <c:bubble3D val="0"/>
            <c:spPr>
              <a:solidFill>
                <a:srgbClr val="AEABAB"/>
              </a:solidFill>
            </c:spPr>
            <c:extLst>
              <c:ext xmlns:c16="http://schemas.microsoft.com/office/drawing/2014/chart" uri="{C3380CC4-5D6E-409C-BE32-E72D297353CC}">
                <c16:uniqueId val="{0000012B-2993-41DE-A2CB-63102DE87051}"/>
              </c:ext>
            </c:extLst>
          </c:dPt>
          <c:dPt>
            <c:idx val="149"/>
            <c:invertIfNegative val="1"/>
            <c:bubble3D val="0"/>
            <c:spPr>
              <a:solidFill>
                <a:srgbClr val="AEABAB"/>
              </a:solidFill>
            </c:spPr>
            <c:extLst>
              <c:ext xmlns:c16="http://schemas.microsoft.com/office/drawing/2014/chart" uri="{C3380CC4-5D6E-409C-BE32-E72D297353CC}">
                <c16:uniqueId val="{0000012D-2993-41DE-A2CB-63102DE87051}"/>
              </c:ext>
            </c:extLst>
          </c:dPt>
          <c:dPt>
            <c:idx val="150"/>
            <c:invertIfNegative val="1"/>
            <c:bubble3D val="0"/>
            <c:spPr>
              <a:solidFill>
                <a:srgbClr val="AEABAB"/>
              </a:solidFill>
            </c:spPr>
            <c:extLst>
              <c:ext xmlns:c16="http://schemas.microsoft.com/office/drawing/2014/chart" uri="{C3380CC4-5D6E-409C-BE32-E72D297353CC}">
                <c16:uniqueId val="{0000012F-2993-41DE-A2CB-63102DE87051}"/>
              </c:ext>
            </c:extLst>
          </c:dPt>
          <c:dPt>
            <c:idx val="151"/>
            <c:invertIfNegative val="1"/>
            <c:bubble3D val="0"/>
            <c:spPr>
              <a:solidFill>
                <a:srgbClr val="AEABAB"/>
              </a:solidFill>
            </c:spPr>
            <c:extLst>
              <c:ext xmlns:c16="http://schemas.microsoft.com/office/drawing/2014/chart" uri="{C3380CC4-5D6E-409C-BE32-E72D297353CC}">
                <c16:uniqueId val="{00000131-2993-41DE-A2CB-63102DE87051}"/>
              </c:ext>
            </c:extLst>
          </c:dPt>
          <c:dPt>
            <c:idx val="152"/>
            <c:invertIfNegative val="1"/>
            <c:bubble3D val="0"/>
            <c:spPr>
              <a:solidFill>
                <a:srgbClr val="AEABAB"/>
              </a:solidFill>
            </c:spPr>
            <c:extLst>
              <c:ext xmlns:c16="http://schemas.microsoft.com/office/drawing/2014/chart" uri="{C3380CC4-5D6E-409C-BE32-E72D297353CC}">
                <c16:uniqueId val="{00000133-2993-41DE-A2CB-63102DE87051}"/>
              </c:ext>
            </c:extLst>
          </c:dPt>
          <c:dPt>
            <c:idx val="153"/>
            <c:invertIfNegative val="1"/>
            <c:bubble3D val="0"/>
            <c:spPr>
              <a:solidFill>
                <a:srgbClr val="AEABAB"/>
              </a:solidFill>
            </c:spPr>
            <c:extLst>
              <c:ext xmlns:c16="http://schemas.microsoft.com/office/drawing/2014/chart" uri="{C3380CC4-5D6E-409C-BE32-E72D297353CC}">
                <c16:uniqueId val="{00000135-2993-41DE-A2CB-63102DE87051}"/>
              </c:ext>
            </c:extLst>
          </c:dPt>
          <c:dPt>
            <c:idx val="154"/>
            <c:invertIfNegative val="1"/>
            <c:bubble3D val="0"/>
            <c:spPr>
              <a:solidFill>
                <a:srgbClr val="AEABAB"/>
              </a:solidFill>
            </c:spPr>
            <c:extLst>
              <c:ext xmlns:c16="http://schemas.microsoft.com/office/drawing/2014/chart" uri="{C3380CC4-5D6E-409C-BE32-E72D297353CC}">
                <c16:uniqueId val="{00000137-2993-41DE-A2CB-63102DE87051}"/>
              </c:ext>
            </c:extLst>
          </c:dPt>
          <c:dPt>
            <c:idx val="155"/>
            <c:invertIfNegative val="1"/>
            <c:bubble3D val="0"/>
            <c:spPr>
              <a:solidFill>
                <a:srgbClr val="AEABAB"/>
              </a:solidFill>
            </c:spPr>
            <c:extLst>
              <c:ext xmlns:c16="http://schemas.microsoft.com/office/drawing/2014/chart" uri="{C3380CC4-5D6E-409C-BE32-E72D297353CC}">
                <c16:uniqueId val="{00000139-2993-41DE-A2CB-63102DE87051}"/>
              </c:ext>
            </c:extLst>
          </c:dPt>
          <c:dPt>
            <c:idx val="156"/>
            <c:invertIfNegative val="1"/>
            <c:bubble3D val="0"/>
            <c:spPr>
              <a:solidFill>
                <a:srgbClr val="AEABAB"/>
              </a:solidFill>
            </c:spPr>
            <c:extLst>
              <c:ext xmlns:c16="http://schemas.microsoft.com/office/drawing/2014/chart" uri="{C3380CC4-5D6E-409C-BE32-E72D297353CC}">
                <c16:uniqueId val="{0000013B-2993-41DE-A2CB-63102DE87051}"/>
              </c:ext>
            </c:extLst>
          </c:dPt>
          <c:dPt>
            <c:idx val="157"/>
            <c:invertIfNegative val="1"/>
            <c:bubble3D val="0"/>
            <c:spPr>
              <a:solidFill>
                <a:srgbClr val="AEABAB"/>
              </a:solidFill>
            </c:spPr>
            <c:extLst>
              <c:ext xmlns:c16="http://schemas.microsoft.com/office/drawing/2014/chart" uri="{C3380CC4-5D6E-409C-BE32-E72D297353CC}">
                <c16:uniqueId val="{0000013D-2993-41DE-A2CB-63102DE87051}"/>
              </c:ext>
            </c:extLst>
          </c:dPt>
          <c:dPt>
            <c:idx val="158"/>
            <c:invertIfNegative val="1"/>
            <c:bubble3D val="0"/>
            <c:spPr>
              <a:solidFill>
                <a:srgbClr val="AEABAB"/>
              </a:solidFill>
            </c:spPr>
            <c:extLst>
              <c:ext xmlns:c16="http://schemas.microsoft.com/office/drawing/2014/chart" uri="{C3380CC4-5D6E-409C-BE32-E72D297353CC}">
                <c16:uniqueId val="{0000013F-2993-41DE-A2CB-63102DE87051}"/>
              </c:ext>
            </c:extLst>
          </c:dPt>
          <c:dPt>
            <c:idx val="159"/>
            <c:invertIfNegative val="1"/>
            <c:bubble3D val="0"/>
            <c:spPr>
              <a:solidFill>
                <a:srgbClr val="AEABAB"/>
              </a:solidFill>
            </c:spPr>
            <c:extLst>
              <c:ext xmlns:c16="http://schemas.microsoft.com/office/drawing/2014/chart" uri="{C3380CC4-5D6E-409C-BE32-E72D297353CC}">
                <c16:uniqueId val="{00000141-2993-41DE-A2CB-63102DE87051}"/>
              </c:ext>
            </c:extLst>
          </c:dPt>
          <c:dPt>
            <c:idx val="160"/>
            <c:invertIfNegative val="1"/>
            <c:bubble3D val="0"/>
            <c:spPr>
              <a:solidFill>
                <a:srgbClr val="AEABAB"/>
              </a:solidFill>
            </c:spPr>
            <c:extLst>
              <c:ext xmlns:c16="http://schemas.microsoft.com/office/drawing/2014/chart" uri="{C3380CC4-5D6E-409C-BE32-E72D297353CC}">
                <c16:uniqueId val="{00000143-2993-41DE-A2CB-63102DE87051}"/>
              </c:ext>
            </c:extLst>
          </c:dPt>
          <c:dPt>
            <c:idx val="161"/>
            <c:invertIfNegative val="1"/>
            <c:bubble3D val="0"/>
            <c:spPr>
              <a:solidFill>
                <a:srgbClr val="AEABAB"/>
              </a:solidFill>
            </c:spPr>
            <c:extLst>
              <c:ext xmlns:c16="http://schemas.microsoft.com/office/drawing/2014/chart" uri="{C3380CC4-5D6E-409C-BE32-E72D297353CC}">
                <c16:uniqueId val="{00000145-2993-41DE-A2CB-63102DE87051}"/>
              </c:ext>
            </c:extLst>
          </c:dPt>
          <c:dPt>
            <c:idx val="162"/>
            <c:invertIfNegative val="1"/>
            <c:bubble3D val="0"/>
            <c:spPr>
              <a:solidFill>
                <a:srgbClr val="AEABAB"/>
              </a:solidFill>
            </c:spPr>
            <c:extLst>
              <c:ext xmlns:c16="http://schemas.microsoft.com/office/drawing/2014/chart" uri="{C3380CC4-5D6E-409C-BE32-E72D297353CC}">
                <c16:uniqueId val="{00000147-2993-41DE-A2CB-63102DE87051}"/>
              </c:ext>
            </c:extLst>
          </c:dPt>
          <c:dPt>
            <c:idx val="163"/>
            <c:invertIfNegative val="1"/>
            <c:bubble3D val="0"/>
            <c:spPr>
              <a:solidFill>
                <a:srgbClr val="AEABAB"/>
              </a:solidFill>
            </c:spPr>
            <c:extLst>
              <c:ext xmlns:c16="http://schemas.microsoft.com/office/drawing/2014/chart" uri="{C3380CC4-5D6E-409C-BE32-E72D297353CC}">
                <c16:uniqueId val="{00000149-2993-41DE-A2CB-63102DE87051}"/>
              </c:ext>
            </c:extLst>
          </c:dPt>
          <c:dPt>
            <c:idx val="164"/>
            <c:invertIfNegative val="1"/>
            <c:bubble3D val="0"/>
            <c:spPr>
              <a:solidFill>
                <a:srgbClr val="AEABAB"/>
              </a:solidFill>
            </c:spPr>
            <c:extLst>
              <c:ext xmlns:c16="http://schemas.microsoft.com/office/drawing/2014/chart" uri="{C3380CC4-5D6E-409C-BE32-E72D297353CC}">
                <c16:uniqueId val="{0000014B-2993-41DE-A2CB-63102DE87051}"/>
              </c:ext>
            </c:extLst>
          </c:dPt>
          <c:dPt>
            <c:idx val="165"/>
            <c:invertIfNegative val="1"/>
            <c:bubble3D val="0"/>
            <c:spPr>
              <a:solidFill>
                <a:srgbClr val="AEABAB"/>
              </a:solidFill>
            </c:spPr>
            <c:extLst>
              <c:ext xmlns:c16="http://schemas.microsoft.com/office/drawing/2014/chart" uri="{C3380CC4-5D6E-409C-BE32-E72D297353CC}">
                <c16:uniqueId val="{0000014D-2993-41DE-A2CB-63102DE87051}"/>
              </c:ext>
            </c:extLst>
          </c:dPt>
          <c:dPt>
            <c:idx val="166"/>
            <c:invertIfNegative val="1"/>
            <c:bubble3D val="0"/>
            <c:spPr>
              <a:solidFill>
                <a:srgbClr val="AEABAB"/>
              </a:solidFill>
            </c:spPr>
            <c:extLst>
              <c:ext xmlns:c16="http://schemas.microsoft.com/office/drawing/2014/chart" uri="{C3380CC4-5D6E-409C-BE32-E72D297353CC}">
                <c16:uniqueId val="{0000014F-2993-41DE-A2CB-63102DE87051}"/>
              </c:ext>
            </c:extLst>
          </c:dPt>
          <c:dPt>
            <c:idx val="167"/>
            <c:invertIfNegative val="1"/>
            <c:bubble3D val="0"/>
            <c:spPr>
              <a:solidFill>
                <a:srgbClr val="AEABAB"/>
              </a:solidFill>
            </c:spPr>
            <c:extLst>
              <c:ext xmlns:c16="http://schemas.microsoft.com/office/drawing/2014/chart" uri="{C3380CC4-5D6E-409C-BE32-E72D297353CC}">
                <c16:uniqueId val="{00000151-2993-41DE-A2CB-63102DE87051}"/>
              </c:ext>
            </c:extLst>
          </c:dPt>
          <c:dPt>
            <c:idx val="168"/>
            <c:invertIfNegative val="1"/>
            <c:bubble3D val="0"/>
            <c:spPr>
              <a:solidFill>
                <a:srgbClr val="AEABAB"/>
              </a:solidFill>
            </c:spPr>
            <c:extLst>
              <c:ext xmlns:c16="http://schemas.microsoft.com/office/drawing/2014/chart" uri="{C3380CC4-5D6E-409C-BE32-E72D297353CC}">
                <c16:uniqueId val="{00000153-2993-41DE-A2CB-63102DE87051}"/>
              </c:ext>
            </c:extLst>
          </c:dPt>
          <c:dPt>
            <c:idx val="169"/>
            <c:invertIfNegative val="1"/>
            <c:bubble3D val="0"/>
            <c:spPr>
              <a:solidFill>
                <a:srgbClr val="AEABAB"/>
              </a:solidFill>
            </c:spPr>
            <c:extLst>
              <c:ext xmlns:c16="http://schemas.microsoft.com/office/drawing/2014/chart" uri="{C3380CC4-5D6E-409C-BE32-E72D297353CC}">
                <c16:uniqueId val="{00000155-2993-41DE-A2CB-63102DE87051}"/>
              </c:ext>
            </c:extLst>
          </c:dPt>
          <c:dPt>
            <c:idx val="170"/>
            <c:invertIfNegative val="1"/>
            <c:bubble3D val="0"/>
            <c:spPr>
              <a:solidFill>
                <a:srgbClr val="AEABAB"/>
              </a:solidFill>
            </c:spPr>
            <c:extLst>
              <c:ext xmlns:c16="http://schemas.microsoft.com/office/drawing/2014/chart" uri="{C3380CC4-5D6E-409C-BE32-E72D297353CC}">
                <c16:uniqueId val="{00000157-2993-41DE-A2CB-63102DE87051}"/>
              </c:ext>
            </c:extLst>
          </c:dPt>
          <c:dPt>
            <c:idx val="171"/>
            <c:invertIfNegative val="1"/>
            <c:bubble3D val="0"/>
            <c:spPr>
              <a:solidFill>
                <a:srgbClr val="AEABAB"/>
              </a:solidFill>
            </c:spPr>
            <c:extLst>
              <c:ext xmlns:c16="http://schemas.microsoft.com/office/drawing/2014/chart" uri="{C3380CC4-5D6E-409C-BE32-E72D297353CC}">
                <c16:uniqueId val="{00000159-2993-41DE-A2CB-63102DE87051}"/>
              </c:ext>
            </c:extLst>
          </c:dPt>
          <c:dPt>
            <c:idx val="172"/>
            <c:invertIfNegative val="1"/>
            <c:bubble3D val="0"/>
            <c:spPr>
              <a:solidFill>
                <a:srgbClr val="AEABAB"/>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dPt>
            <c:idx val="210"/>
            <c:invertIfNegative val="1"/>
            <c:bubble3D val="0"/>
            <c:spPr>
              <a:solidFill>
                <a:srgbClr val="AEABAB"/>
              </a:solidFill>
            </c:spPr>
            <c:extLst>
              <c:ext xmlns:c16="http://schemas.microsoft.com/office/drawing/2014/chart" uri="{C3380CC4-5D6E-409C-BE32-E72D297353CC}">
                <c16:uniqueId val="{000001A7-E301-4394-9164-B64ECBC67E04}"/>
              </c:ext>
            </c:extLst>
          </c:dPt>
          <c:dPt>
            <c:idx val="211"/>
            <c:invertIfNegative val="1"/>
            <c:bubble3D val="0"/>
            <c:spPr>
              <a:solidFill>
                <a:srgbClr val="AEABAB"/>
              </a:solidFill>
            </c:spPr>
            <c:extLst>
              <c:ext xmlns:c16="http://schemas.microsoft.com/office/drawing/2014/chart" uri="{C3380CC4-5D6E-409C-BE32-E72D297353CC}">
                <c16:uniqueId val="{000001A9-E301-4394-9164-B64ECBC67E04}"/>
              </c:ext>
            </c:extLst>
          </c:dPt>
          <c:dPt>
            <c:idx val="212"/>
            <c:invertIfNegative val="1"/>
            <c:bubble3D val="0"/>
            <c:spPr>
              <a:solidFill>
                <a:srgbClr val="AEABAB"/>
              </a:solidFill>
            </c:spPr>
            <c:extLst>
              <c:ext xmlns:c16="http://schemas.microsoft.com/office/drawing/2014/chart" uri="{C3380CC4-5D6E-409C-BE32-E72D297353CC}">
                <c16:uniqueId val="{000001AB-E301-4394-9164-B64ECBC67E04}"/>
              </c:ext>
            </c:extLst>
          </c:dPt>
          <c:dPt>
            <c:idx val="213"/>
            <c:invertIfNegative val="1"/>
            <c:bubble3D val="0"/>
            <c:spPr>
              <a:solidFill>
                <a:srgbClr val="AEABAB"/>
              </a:solidFill>
            </c:spPr>
            <c:extLst>
              <c:ext xmlns:c16="http://schemas.microsoft.com/office/drawing/2014/chart" uri="{C3380CC4-5D6E-409C-BE32-E72D297353CC}">
                <c16:uniqueId val="{000001AD-E301-4394-9164-B64ECBC67E04}"/>
              </c:ext>
            </c:extLst>
          </c:dPt>
          <c:dPt>
            <c:idx val="214"/>
            <c:invertIfNegative val="1"/>
            <c:bubble3D val="0"/>
            <c:spPr>
              <a:solidFill>
                <a:srgbClr val="AEABAB"/>
              </a:solidFill>
            </c:spPr>
            <c:extLst>
              <c:ext xmlns:c16="http://schemas.microsoft.com/office/drawing/2014/chart" uri="{C3380CC4-5D6E-409C-BE32-E72D297353CC}">
                <c16:uniqueId val="{000001AF-E301-4394-9164-B64ECBC67E04}"/>
              </c:ext>
            </c:extLst>
          </c:dPt>
          <c:dPt>
            <c:idx val="215"/>
            <c:invertIfNegative val="1"/>
            <c:bubble3D val="0"/>
            <c:spPr>
              <a:solidFill>
                <a:srgbClr val="AEABAB"/>
              </a:solidFill>
            </c:spPr>
            <c:extLst>
              <c:ext xmlns:c16="http://schemas.microsoft.com/office/drawing/2014/chart" uri="{C3380CC4-5D6E-409C-BE32-E72D297353CC}">
                <c16:uniqueId val="{000001B1-E301-4394-9164-B64ECBC67E04}"/>
              </c:ext>
            </c:extLst>
          </c:dPt>
          <c:dPt>
            <c:idx val="216"/>
            <c:invertIfNegative val="1"/>
            <c:bubble3D val="0"/>
            <c:spPr>
              <a:solidFill>
                <a:srgbClr val="AEABAB"/>
              </a:solidFill>
            </c:spPr>
            <c:extLst>
              <c:ext xmlns:c16="http://schemas.microsoft.com/office/drawing/2014/chart" uri="{C3380CC4-5D6E-409C-BE32-E72D297353CC}">
                <c16:uniqueId val="{000001B3-E301-4394-9164-B64ECBC67E04}"/>
              </c:ext>
            </c:extLst>
          </c:dPt>
          <c:dPt>
            <c:idx val="217"/>
            <c:invertIfNegative val="1"/>
            <c:bubble3D val="0"/>
            <c:spPr>
              <a:solidFill>
                <a:srgbClr val="AEABAB"/>
              </a:solidFill>
            </c:spPr>
            <c:extLst>
              <c:ext xmlns:c16="http://schemas.microsoft.com/office/drawing/2014/chart" uri="{C3380CC4-5D6E-409C-BE32-E72D297353CC}">
                <c16:uniqueId val="{000001B5-E301-4394-9164-B64ECBC67E04}"/>
              </c:ext>
            </c:extLst>
          </c:dPt>
          <c:dPt>
            <c:idx val="218"/>
            <c:invertIfNegative val="1"/>
            <c:bubble3D val="0"/>
            <c:spPr>
              <a:solidFill>
                <a:srgbClr val="AEABAB"/>
              </a:solidFill>
            </c:spPr>
            <c:extLst>
              <c:ext xmlns:c16="http://schemas.microsoft.com/office/drawing/2014/chart" uri="{C3380CC4-5D6E-409C-BE32-E72D297353CC}">
                <c16:uniqueId val="{000001B7-E301-4394-9164-B64ECBC67E04}"/>
              </c:ext>
            </c:extLst>
          </c:dPt>
          <c:dPt>
            <c:idx val="219"/>
            <c:invertIfNegative val="1"/>
            <c:bubble3D val="0"/>
            <c:spPr>
              <a:solidFill>
                <a:srgbClr val="AEABAB"/>
              </a:solidFill>
            </c:spPr>
            <c:extLst>
              <c:ext xmlns:c16="http://schemas.microsoft.com/office/drawing/2014/chart" uri="{C3380CC4-5D6E-409C-BE32-E72D297353CC}">
                <c16:uniqueId val="{000001B9-E301-4394-9164-B64ECBC67E04}"/>
              </c:ext>
            </c:extLst>
          </c:dPt>
          <c:dPt>
            <c:idx val="220"/>
            <c:invertIfNegative val="1"/>
            <c:bubble3D val="0"/>
            <c:spPr>
              <a:solidFill>
                <a:srgbClr val="AEABAB"/>
              </a:solidFill>
            </c:spPr>
            <c:extLst>
              <c:ext xmlns:c16="http://schemas.microsoft.com/office/drawing/2014/chart" uri="{C3380CC4-5D6E-409C-BE32-E72D297353CC}">
                <c16:uniqueId val="{000001BB-E301-4394-9164-B64ECBC67E04}"/>
              </c:ext>
            </c:extLst>
          </c:dPt>
          <c:dPt>
            <c:idx val="221"/>
            <c:invertIfNegative val="1"/>
            <c:bubble3D val="0"/>
            <c:spPr>
              <a:solidFill>
                <a:srgbClr val="AEABAB"/>
              </a:solidFill>
            </c:spPr>
            <c:extLst>
              <c:ext xmlns:c16="http://schemas.microsoft.com/office/drawing/2014/chart" uri="{C3380CC4-5D6E-409C-BE32-E72D297353CC}">
                <c16:uniqueId val="{000001BD-E301-4394-9164-B64ECBC67E04}"/>
              </c:ext>
            </c:extLst>
          </c:dPt>
          <c:dPt>
            <c:idx val="222"/>
            <c:invertIfNegative val="1"/>
            <c:bubble3D val="0"/>
            <c:spPr>
              <a:solidFill>
                <a:srgbClr val="AEABAB"/>
              </a:solidFill>
            </c:spPr>
            <c:extLst>
              <c:ext xmlns:c16="http://schemas.microsoft.com/office/drawing/2014/chart" uri="{C3380CC4-5D6E-409C-BE32-E72D297353CC}">
                <c16:uniqueId val="{000001BF-E301-4394-9164-B64ECBC67E04}"/>
              </c:ext>
            </c:extLst>
          </c:dPt>
          <c:dPt>
            <c:idx val="223"/>
            <c:invertIfNegative val="1"/>
            <c:bubble3D val="0"/>
            <c:spPr>
              <a:solidFill>
                <a:srgbClr val="AEABAB"/>
              </a:solidFill>
            </c:spPr>
            <c:extLst>
              <c:ext xmlns:c16="http://schemas.microsoft.com/office/drawing/2014/chart" uri="{C3380CC4-5D6E-409C-BE32-E72D297353CC}">
                <c16:uniqueId val="{000001C1-E301-4394-9164-B64ECBC67E04}"/>
              </c:ext>
            </c:extLst>
          </c:dPt>
          <c:dPt>
            <c:idx val="224"/>
            <c:invertIfNegative val="1"/>
            <c:bubble3D val="0"/>
            <c:spPr>
              <a:solidFill>
                <a:srgbClr val="AEABAB"/>
              </a:solidFill>
            </c:spPr>
            <c:extLst>
              <c:ext xmlns:c16="http://schemas.microsoft.com/office/drawing/2014/chart" uri="{C3380CC4-5D6E-409C-BE32-E72D297353CC}">
                <c16:uniqueId val="{000001C3-E301-4394-9164-B64ECBC67E04}"/>
              </c:ext>
            </c:extLst>
          </c:dPt>
          <c:dPt>
            <c:idx val="225"/>
            <c:invertIfNegative val="1"/>
            <c:bubble3D val="0"/>
            <c:spPr>
              <a:solidFill>
                <a:srgbClr val="AEABAB"/>
              </a:solidFill>
            </c:spPr>
            <c:extLst>
              <c:ext xmlns:c16="http://schemas.microsoft.com/office/drawing/2014/chart" uri="{C3380CC4-5D6E-409C-BE32-E72D297353CC}">
                <c16:uniqueId val="{000001C5-E301-4394-9164-B64ECBC67E04}"/>
              </c:ext>
            </c:extLst>
          </c:dPt>
          <c:dPt>
            <c:idx val="226"/>
            <c:invertIfNegative val="1"/>
            <c:bubble3D val="0"/>
            <c:spPr>
              <a:solidFill>
                <a:srgbClr val="AEABAB"/>
              </a:solidFill>
            </c:spPr>
            <c:extLst>
              <c:ext xmlns:c16="http://schemas.microsoft.com/office/drawing/2014/chart" uri="{C3380CC4-5D6E-409C-BE32-E72D297353CC}">
                <c16:uniqueId val="{000001C7-E301-4394-9164-B64ECBC67E04}"/>
              </c:ext>
            </c:extLst>
          </c:dPt>
          <c:dPt>
            <c:idx val="227"/>
            <c:invertIfNegative val="1"/>
            <c:bubble3D val="0"/>
            <c:spPr>
              <a:solidFill>
                <a:srgbClr val="AEABAB"/>
              </a:solidFill>
            </c:spPr>
            <c:extLst>
              <c:ext xmlns:c16="http://schemas.microsoft.com/office/drawing/2014/chart" uri="{C3380CC4-5D6E-409C-BE32-E72D297353CC}">
                <c16:uniqueId val="{000001C9-E301-4394-9164-B64ECBC67E04}"/>
              </c:ext>
            </c:extLst>
          </c:dPt>
          <c:dPt>
            <c:idx val="228"/>
            <c:invertIfNegative val="1"/>
            <c:bubble3D val="0"/>
            <c:spPr>
              <a:solidFill>
                <a:srgbClr val="AEABAB"/>
              </a:solidFill>
            </c:spPr>
            <c:extLst>
              <c:ext xmlns:c16="http://schemas.microsoft.com/office/drawing/2014/chart" uri="{C3380CC4-5D6E-409C-BE32-E72D297353CC}">
                <c16:uniqueId val="{000001CB-E301-4394-9164-B64ECBC67E04}"/>
              </c:ext>
            </c:extLst>
          </c:dPt>
          <c:dPt>
            <c:idx val="229"/>
            <c:invertIfNegative val="1"/>
            <c:bubble3D val="0"/>
            <c:spPr>
              <a:solidFill>
                <a:srgbClr val="AEABAB"/>
              </a:solidFill>
            </c:spPr>
            <c:extLst>
              <c:ext xmlns:c16="http://schemas.microsoft.com/office/drawing/2014/chart" uri="{C3380CC4-5D6E-409C-BE32-E72D297353CC}">
                <c16:uniqueId val="{000001CD-E301-4394-9164-B64ECBC67E04}"/>
              </c:ext>
            </c:extLst>
          </c:dPt>
          <c:dPt>
            <c:idx val="230"/>
            <c:invertIfNegative val="1"/>
            <c:bubble3D val="0"/>
            <c:spPr>
              <a:solidFill>
                <a:srgbClr val="AEABAB"/>
              </a:solidFill>
            </c:spPr>
            <c:extLst>
              <c:ext xmlns:c16="http://schemas.microsoft.com/office/drawing/2014/chart" uri="{C3380CC4-5D6E-409C-BE32-E72D297353CC}">
                <c16:uniqueId val="{000001CF-E301-4394-9164-B64ECBC67E04}"/>
              </c:ext>
            </c:extLst>
          </c:dPt>
          <c:dPt>
            <c:idx val="231"/>
            <c:invertIfNegative val="1"/>
            <c:bubble3D val="0"/>
            <c:spPr>
              <a:solidFill>
                <a:srgbClr val="AEABAB"/>
              </a:solidFill>
            </c:spPr>
            <c:extLst>
              <c:ext xmlns:c16="http://schemas.microsoft.com/office/drawing/2014/chart" uri="{C3380CC4-5D6E-409C-BE32-E72D297353CC}">
                <c16:uniqueId val="{000001D1-E301-4394-9164-B64ECBC67E04}"/>
              </c:ext>
            </c:extLst>
          </c:dPt>
          <c:dPt>
            <c:idx val="232"/>
            <c:invertIfNegative val="1"/>
            <c:bubble3D val="0"/>
            <c:spPr>
              <a:solidFill>
                <a:srgbClr val="AEABAB"/>
              </a:solidFill>
            </c:spPr>
            <c:extLst>
              <c:ext xmlns:c16="http://schemas.microsoft.com/office/drawing/2014/chart" uri="{C3380CC4-5D6E-409C-BE32-E72D297353CC}">
                <c16:uniqueId val="{000001D3-E301-4394-9164-B64ECBC67E04}"/>
              </c:ext>
            </c:extLst>
          </c:dPt>
          <c:dPt>
            <c:idx val="233"/>
            <c:invertIfNegative val="1"/>
            <c:bubble3D val="0"/>
            <c:spPr>
              <a:solidFill>
                <a:srgbClr val="AEABAB"/>
              </a:solidFill>
            </c:spPr>
            <c:extLst>
              <c:ext xmlns:c16="http://schemas.microsoft.com/office/drawing/2014/chart" uri="{C3380CC4-5D6E-409C-BE32-E72D297353CC}">
                <c16:uniqueId val="{000001D5-E301-4394-9164-B64ECBC67E04}"/>
              </c:ext>
            </c:extLst>
          </c:dPt>
          <c:dPt>
            <c:idx val="234"/>
            <c:invertIfNegative val="1"/>
            <c:bubble3D val="0"/>
            <c:spPr>
              <a:solidFill>
                <a:srgbClr val="AEABAB"/>
              </a:solidFill>
            </c:spPr>
            <c:extLst>
              <c:ext xmlns:c16="http://schemas.microsoft.com/office/drawing/2014/chart" uri="{C3380CC4-5D6E-409C-BE32-E72D297353CC}">
                <c16:uniqueId val="{000001D7-E301-4394-9164-B64ECBC67E04}"/>
              </c:ext>
            </c:extLst>
          </c:dPt>
          <c:dPt>
            <c:idx val="235"/>
            <c:invertIfNegative val="1"/>
            <c:bubble3D val="0"/>
            <c:spPr>
              <a:solidFill>
                <a:srgbClr val="AEABAB"/>
              </a:solidFill>
            </c:spPr>
            <c:extLst>
              <c:ext xmlns:c16="http://schemas.microsoft.com/office/drawing/2014/chart" uri="{C3380CC4-5D6E-409C-BE32-E72D297353CC}">
                <c16:uniqueId val="{000001D9-E301-4394-9164-B64ECBC67E04}"/>
              </c:ext>
            </c:extLst>
          </c:dPt>
          <c:dPt>
            <c:idx val="236"/>
            <c:invertIfNegative val="1"/>
            <c:bubble3D val="0"/>
            <c:spPr>
              <a:solidFill>
                <a:srgbClr val="AEABAB"/>
              </a:solidFill>
            </c:spPr>
            <c:extLst>
              <c:ext xmlns:c16="http://schemas.microsoft.com/office/drawing/2014/chart" uri="{C3380CC4-5D6E-409C-BE32-E72D297353CC}">
                <c16:uniqueId val="{000001DB-E301-4394-9164-B64ECBC67E04}"/>
              </c:ext>
            </c:extLst>
          </c:dPt>
          <c:dPt>
            <c:idx val="237"/>
            <c:invertIfNegative val="1"/>
            <c:bubble3D val="0"/>
            <c:spPr>
              <a:solidFill>
                <a:srgbClr val="AEABAB"/>
              </a:solidFill>
            </c:spPr>
            <c:extLst>
              <c:ext xmlns:c16="http://schemas.microsoft.com/office/drawing/2014/chart" uri="{C3380CC4-5D6E-409C-BE32-E72D297353CC}">
                <c16:uniqueId val="{000001DD-E301-4394-9164-B64ECBC67E04}"/>
              </c:ext>
            </c:extLst>
          </c:dPt>
          <c:dPt>
            <c:idx val="238"/>
            <c:invertIfNegative val="1"/>
            <c:bubble3D val="0"/>
            <c:spPr>
              <a:solidFill>
                <a:srgbClr val="AEABAB"/>
              </a:solidFill>
            </c:spPr>
            <c:extLst>
              <c:ext xmlns:c16="http://schemas.microsoft.com/office/drawing/2014/chart" uri="{C3380CC4-5D6E-409C-BE32-E72D297353CC}">
                <c16:uniqueId val="{000001DF-E301-4394-9164-B64ECBC67E04}"/>
              </c:ext>
            </c:extLst>
          </c:dPt>
          <c:dPt>
            <c:idx val="239"/>
            <c:invertIfNegative val="1"/>
            <c:bubble3D val="0"/>
            <c:spPr>
              <a:solidFill>
                <a:srgbClr val="AEABAB"/>
              </a:solidFill>
            </c:spPr>
            <c:extLst>
              <c:ext xmlns:c16="http://schemas.microsoft.com/office/drawing/2014/chart" uri="{C3380CC4-5D6E-409C-BE32-E72D297353CC}">
                <c16:uniqueId val="{000001E1-E301-4394-9164-B64ECBC67E04}"/>
              </c:ext>
            </c:extLst>
          </c:dPt>
          <c:dPt>
            <c:idx val="240"/>
            <c:invertIfNegative val="1"/>
            <c:bubble3D val="0"/>
            <c:spPr>
              <a:solidFill>
                <a:srgbClr val="AEABAB"/>
              </a:solidFill>
            </c:spPr>
            <c:extLst>
              <c:ext xmlns:c16="http://schemas.microsoft.com/office/drawing/2014/chart" uri="{C3380CC4-5D6E-409C-BE32-E72D297353CC}">
                <c16:uniqueId val="{000001E3-E301-4394-9164-B64ECBC67E04}"/>
              </c:ext>
            </c:extLst>
          </c:dPt>
          <c:dPt>
            <c:idx val="241"/>
            <c:invertIfNegative val="1"/>
            <c:bubble3D val="0"/>
            <c:spPr>
              <a:solidFill>
                <a:srgbClr val="AEABAB"/>
              </a:solidFill>
            </c:spPr>
            <c:extLst>
              <c:ext xmlns:c16="http://schemas.microsoft.com/office/drawing/2014/chart" uri="{C3380CC4-5D6E-409C-BE32-E72D297353CC}">
                <c16:uniqueId val="{000001E5-E301-4394-9164-B64ECBC67E04}"/>
              </c:ext>
            </c:extLst>
          </c:dPt>
          <c:dPt>
            <c:idx val="242"/>
            <c:invertIfNegative val="1"/>
            <c:bubble3D val="0"/>
            <c:spPr>
              <a:solidFill>
                <a:srgbClr val="AEABAB"/>
              </a:solidFill>
            </c:spPr>
            <c:extLst>
              <c:ext xmlns:c16="http://schemas.microsoft.com/office/drawing/2014/chart" uri="{C3380CC4-5D6E-409C-BE32-E72D297353CC}">
                <c16:uniqueId val="{000001E7-E301-4394-9164-B64ECBC67E04}"/>
              </c:ext>
            </c:extLst>
          </c:dPt>
          <c:dPt>
            <c:idx val="243"/>
            <c:invertIfNegative val="1"/>
            <c:bubble3D val="0"/>
            <c:spPr>
              <a:solidFill>
                <a:srgbClr val="AEABAB"/>
              </a:solidFill>
            </c:spPr>
            <c:extLst>
              <c:ext xmlns:c16="http://schemas.microsoft.com/office/drawing/2014/chart" uri="{C3380CC4-5D6E-409C-BE32-E72D297353CC}">
                <c16:uniqueId val="{000001E9-E301-4394-9164-B64ECBC67E04}"/>
              </c:ext>
            </c:extLst>
          </c:dPt>
          <c:dPt>
            <c:idx val="244"/>
            <c:invertIfNegative val="1"/>
            <c:bubble3D val="0"/>
            <c:spPr>
              <a:solidFill>
                <a:srgbClr val="AEABAB"/>
              </a:solidFill>
            </c:spPr>
            <c:extLst>
              <c:ext xmlns:c16="http://schemas.microsoft.com/office/drawing/2014/chart" uri="{C3380CC4-5D6E-409C-BE32-E72D297353CC}">
                <c16:uniqueId val="{000001EB-E301-4394-9164-B64ECBC67E04}"/>
              </c:ext>
            </c:extLst>
          </c:dPt>
          <c:dPt>
            <c:idx val="245"/>
            <c:invertIfNegative val="1"/>
            <c:bubble3D val="0"/>
            <c:spPr>
              <a:solidFill>
                <a:srgbClr val="AEABAB"/>
              </a:solidFill>
            </c:spPr>
            <c:extLst>
              <c:ext xmlns:c16="http://schemas.microsoft.com/office/drawing/2014/chart" uri="{C3380CC4-5D6E-409C-BE32-E72D297353CC}">
                <c16:uniqueId val="{000001ED-E301-4394-9164-B64ECBC67E04}"/>
              </c:ext>
            </c:extLst>
          </c:dPt>
          <c:dPt>
            <c:idx val="246"/>
            <c:invertIfNegative val="1"/>
            <c:bubble3D val="0"/>
            <c:spPr>
              <a:solidFill>
                <a:srgbClr val="AEABAB"/>
              </a:solidFill>
            </c:spPr>
            <c:extLst>
              <c:ext xmlns:c16="http://schemas.microsoft.com/office/drawing/2014/chart" uri="{C3380CC4-5D6E-409C-BE32-E72D297353CC}">
                <c16:uniqueId val="{000001EF-E301-4394-9164-B64ECBC67E04}"/>
              </c:ext>
            </c:extLst>
          </c:dPt>
          <c:dPt>
            <c:idx val="247"/>
            <c:invertIfNegative val="1"/>
            <c:bubble3D val="0"/>
            <c:spPr>
              <a:solidFill>
                <a:srgbClr val="AEABAB"/>
              </a:solidFill>
            </c:spPr>
            <c:extLst>
              <c:ext xmlns:c16="http://schemas.microsoft.com/office/drawing/2014/chart" uri="{C3380CC4-5D6E-409C-BE32-E72D297353CC}">
                <c16:uniqueId val="{000001F1-E301-4394-9164-B64ECBC67E04}"/>
              </c:ext>
            </c:extLst>
          </c:dPt>
          <c:dPt>
            <c:idx val="248"/>
            <c:invertIfNegative val="1"/>
            <c:bubble3D val="0"/>
            <c:spPr>
              <a:solidFill>
                <a:srgbClr val="AEABAB"/>
              </a:solidFill>
            </c:spPr>
            <c:extLst>
              <c:ext xmlns:c16="http://schemas.microsoft.com/office/drawing/2014/chart" uri="{C3380CC4-5D6E-409C-BE32-E72D297353CC}">
                <c16:uniqueId val="{000001F3-E301-4394-9164-B64ECBC67E04}"/>
              </c:ext>
            </c:extLst>
          </c:dPt>
          <c:dPt>
            <c:idx val="249"/>
            <c:invertIfNegative val="1"/>
            <c:bubble3D val="0"/>
            <c:spPr>
              <a:solidFill>
                <a:srgbClr val="AEABAB"/>
              </a:solidFill>
            </c:spPr>
            <c:extLst>
              <c:ext xmlns:c16="http://schemas.microsoft.com/office/drawing/2014/chart" uri="{C3380CC4-5D6E-409C-BE32-E72D297353CC}">
                <c16:uniqueId val="{000001F5-E301-4394-9164-B64ECBC67E04}"/>
              </c:ext>
            </c:extLst>
          </c:dPt>
          <c:dPt>
            <c:idx val="250"/>
            <c:invertIfNegative val="1"/>
            <c:bubble3D val="0"/>
            <c:spPr>
              <a:solidFill>
                <a:srgbClr val="AEABAB"/>
              </a:solidFill>
            </c:spPr>
            <c:extLst>
              <c:ext xmlns:c16="http://schemas.microsoft.com/office/drawing/2014/chart" uri="{C3380CC4-5D6E-409C-BE32-E72D297353CC}">
                <c16:uniqueId val="{000001F7-E301-4394-9164-B64ECBC67E04}"/>
              </c:ext>
            </c:extLst>
          </c:dPt>
          <c:dPt>
            <c:idx val="251"/>
            <c:invertIfNegative val="1"/>
            <c:bubble3D val="0"/>
            <c:spPr>
              <a:solidFill>
                <a:srgbClr val="AEABAB"/>
              </a:solidFill>
            </c:spPr>
            <c:extLst>
              <c:ext xmlns:c16="http://schemas.microsoft.com/office/drawing/2014/chart" uri="{C3380CC4-5D6E-409C-BE32-E72D297353CC}">
                <c16:uniqueId val="{000001F9-E301-4394-9164-B64ECBC67E04}"/>
              </c:ext>
            </c:extLst>
          </c:dPt>
          <c:dPt>
            <c:idx val="252"/>
            <c:invertIfNegative val="1"/>
            <c:bubble3D val="0"/>
            <c:spPr>
              <a:solidFill>
                <a:srgbClr val="AEABAB"/>
              </a:solidFill>
            </c:spPr>
            <c:extLst>
              <c:ext xmlns:c16="http://schemas.microsoft.com/office/drawing/2014/chart" uri="{C3380CC4-5D6E-409C-BE32-E72D297353CC}">
                <c16:uniqueId val="{000001FB-E301-4394-9164-B64ECBC67E04}"/>
              </c:ext>
            </c:extLst>
          </c:dPt>
          <c:dPt>
            <c:idx val="253"/>
            <c:invertIfNegative val="1"/>
            <c:bubble3D val="0"/>
            <c:spPr>
              <a:solidFill>
                <a:srgbClr val="AEABAB"/>
              </a:solidFill>
            </c:spPr>
            <c:extLst>
              <c:ext xmlns:c16="http://schemas.microsoft.com/office/drawing/2014/chart" uri="{C3380CC4-5D6E-409C-BE32-E72D297353CC}">
                <c16:uniqueId val="{000001FD-E301-4394-9164-B64ECBC67E04}"/>
              </c:ext>
            </c:extLst>
          </c:dPt>
          <c:dPt>
            <c:idx val="254"/>
            <c:invertIfNegative val="1"/>
            <c:bubble3D val="0"/>
            <c:spPr>
              <a:solidFill>
                <a:srgbClr val="AEABAB"/>
              </a:solidFill>
            </c:spPr>
            <c:extLst>
              <c:ext xmlns:c16="http://schemas.microsoft.com/office/drawing/2014/chart" uri="{C3380CC4-5D6E-409C-BE32-E72D297353CC}">
                <c16:uniqueId val="{000001FF-E301-4394-9164-B64ECBC67E04}"/>
              </c:ext>
            </c:extLst>
          </c:dPt>
          <c:dPt>
            <c:idx val="255"/>
            <c:invertIfNegative val="1"/>
            <c:bubble3D val="0"/>
            <c:spPr>
              <a:solidFill>
                <a:srgbClr val="AEABAB"/>
              </a:solidFill>
            </c:spPr>
            <c:extLst>
              <c:ext xmlns:c16="http://schemas.microsoft.com/office/drawing/2014/chart" uri="{C3380CC4-5D6E-409C-BE32-E72D297353CC}">
                <c16:uniqueId val="{00000201-E301-4394-9164-B64ECBC67E04}"/>
              </c:ext>
            </c:extLst>
          </c:dPt>
          <c:dPt>
            <c:idx val="256"/>
            <c:invertIfNegative val="1"/>
            <c:bubble3D val="0"/>
            <c:spPr>
              <a:solidFill>
                <a:srgbClr val="AEABAB"/>
              </a:solidFill>
            </c:spPr>
            <c:extLst>
              <c:ext xmlns:c16="http://schemas.microsoft.com/office/drawing/2014/chart" uri="{C3380CC4-5D6E-409C-BE32-E72D297353CC}">
                <c16:uniqueId val="{00000203-E301-4394-9164-B64ECBC67E04}"/>
              </c:ext>
            </c:extLst>
          </c:dPt>
          <c:dPt>
            <c:idx val="257"/>
            <c:invertIfNegative val="1"/>
            <c:bubble3D val="0"/>
            <c:spPr>
              <a:solidFill>
                <a:srgbClr val="AEABAB"/>
              </a:solidFill>
            </c:spPr>
            <c:extLst>
              <c:ext xmlns:c16="http://schemas.microsoft.com/office/drawing/2014/chart" uri="{C3380CC4-5D6E-409C-BE32-E72D297353CC}">
                <c16:uniqueId val="{00000205-E301-4394-9164-B64ECBC67E04}"/>
              </c:ext>
            </c:extLst>
          </c:dPt>
          <c:dPt>
            <c:idx val="258"/>
            <c:invertIfNegative val="1"/>
            <c:bubble3D val="0"/>
            <c:spPr>
              <a:solidFill>
                <a:srgbClr val="AEABAB"/>
              </a:solidFill>
            </c:spPr>
            <c:extLst>
              <c:ext xmlns:c16="http://schemas.microsoft.com/office/drawing/2014/chart" uri="{C3380CC4-5D6E-409C-BE32-E72D297353CC}">
                <c16:uniqueId val="{00000207-E301-4394-9164-B64ECBC67E04}"/>
              </c:ext>
            </c:extLst>
          </c:dPt>
          <c:dPt>
            <c:idx val="259"/>
            <c:invertIfNegative val="1"/>
            <c:bubble3D val="0"/>
            <c:spPr>
              <a:solidFill>
                <a:srgbClr val="AEABAB"/>
              </a:solidFill>
            </c:spPr>
            <c:extLst>
              <c:ext xmlns:c16="http://schemas.microsoft.com/office/drawing/2014/chart" uri="{C3380CC4-5D6E-409C-BE32-E72D297353CC}">
                <c16:uniqueId val="{00000209-E301-4394-9164-B64ECBC67E04}"/>
              </c:ext>
            </c:extLst>
          </c:dPt>
          <c:dPt>
            <c:idx val="260"/>
            <c:invertIfNegative val="1"/>
            <c:bubble3D val="0"/>
            <c:spPr>
              <a:solidFill>
                <a:srgbClr val="AEABAB"/>
              </a:solidFill>
            </c:spPr>
            <c:extLst>
              <c:ext xmlns:c16="http://schemas.microsoft.com/office/drawing/2014/chart" uri="{C3380CC4-5D6E-409C-BE32-E72D297353CC}">
                <c16:uniqueId val="{0000020B-E301-4394-9164-B64ECBC67E04}"/>
              </c:ext>
            </c:extLst>
          </c:dPt>
          <c:dPt>
            <c:idx val="261"/>
            <c:invertIfNegative val="1"/>
            <c:bubble3D val="0"/>
            <c:spPr>
              <a:solidFill>
                <a:srgbClr val="AEABAB"/>
              </a:solidFill>
            </c:spPr>
            <c:extLst>
              <c:ext xmlns:c16="http://schemas.microsoft.com/office/drawing/2014/chart" uri="{C3380CC4-5D6E-409C-BE32-E72D297353CC}">
                <c16:uniqueId val="{0000020D-E301-4394-9164-B64ECBC67E04}"/>
              </c:ext>
            </c:extLst>
          </c:dPt>
          <c:dPt>
            <c:idx val="262"/>
            <c:invertIfNegative val="1"/>
            <c:bubble3D val="0"/>
            <c:spPr>
              <a:solidFill>
                <a:srgbClr val="AEABAB"/>
              </a:solidFill>
            </c:spPr>
            <c:extLst>
              <c:ext xmlns:c16="http://schemas.microsoft.com/office/drawing/2014/chart" uri="{C3380CC4-5D6E-409C-BE32-E72D297353CC}">
                <c16:uniqueId val="{0000020F-E301-4394-9164-B64ECBC67E04}"/>
              </c:ext>
            </c:extLst>
          </c:dPt>
          <c:dPt>
            <c:idx val="263"/>
            <c:invertIfNegative val="1"/>
            <c:bubble3D val="0"/>
            <c:spPr>
              <a:solidFill>
                <a:srgbClr val="AEABAB"/>
              </a:solidFill>
            </c:spPr>
            <c:extLst>
              <c:ext xmlns:c16="http://schemas.microsoft.com/office/drawing/2014/chart" uri="{C3380CC4-5D6E-409C-BE32-E72D297353CC}">
                <c16:uniqueId val="{00000211-E301-4394-9164-B64ECBC67E04}"/>
              </c:ext>
            </c:extLst>
          </c:dPt>
          <c:dPt>
            <c:idx val="264"/>
            <c:invertIfNegative val="1"/>
            <c:bubble3D val="0"/>
            <c:spPr>
              <a:solidFill>
                <a:srgbClr val="AEABAB"/>
              </a:solidFill>
            </c:spPr>
            <c:extLst>
              <c:ext xmlns:c16="http://schemas.microsoft.com/office/drawing/2014/chart" uri="{C3380CC4-5D6E-409C-BE32-E72D297353CC}">
                <c16:uniqueId val="{00000213-E301-4394-9164-B64ECBC67E04}"/>
              </c:ext>
            </c:extLst>
          </c:dPt>
          <c:dPt>
            <c:idx val="265"/>
            <c:invertIfNegative val="1"/>
            <c:bubble3D val="0"/>
            <c:spPr>
              <a:solidFill>
                <a:srgbClr val="AEABAB"/>
              </a:solidFill>
            </c:spPr>
            <c:extLst>
              <c:ext xmlns:c16="http://schemas.microsoft.com/office/drawing/2014/chart" uri="{C3380CC4-5D6E-409C-BE32-E72D297353CC}">
                <c16:uniqueId val="{00000215-E301-4394-9164-B64ECBC67E04}"/>
              </c:ext>
            </c:extLst>
          </c:dPt>
          <c:dPt>
            <c:idx val="266"/>
            <c:invertIfNegative val="1"/>
            <c:bubble3D val="0"/>
            <c:spPr>
              <a:solidFill>
                <a:srgbClr val="AEABAB"/>
              </a:solidFill>
            </c:spPr>
            <c:extLst>
              <c:ext xmlns:c16="http://schemas.microsoft.com/office/drawing/2014/chart" uri="{C3380CC4-5D6E-409C-BE32-E72D297353CC}">
                <c16:uniqueId val="{00000217-E301-4394-9164-B64ECBC67E04}"/>
              </c:ext>
            </c:extLst>
          </c:dPt>
          <c:dPt>
            <c:idx val="267"/>
            <c:invertIfNegative val="1"/>
            <c:bubble3D val="0"/>
            <c:spPr>
              <a:solidFill>
                <a:srgbClr val="AEABAB"/>
              </a:solidFill>
            </c:spPr>
            <c:extLst>
              <c:ext xmlns:c16="http://schemas.microsoft.com/office/drawing/2014/chart" uri="{C3380CC4-5D6E-409C-BE32-E72D297353CC}">
                <c16:uniqueId val="{00000219-E301-4394-9164-B64ECBC67E04}"/>
              </c:ext>
            </c:extLst>
          </c:dPt>
          <c:dPt>
            <c:idx val="268"/>
            <c:invertIfNegative val="1"/>
            <c:bubble3D val="0"/>
            <c:spPr>
              <a:solidFill>
                <a:srgbClr val="AEABAB"/>
              </a:solidFill>
            </c:spPr>
            <c:extLst>
              <c:ext xmlns:c16="http://schemas.microsoft.com/office/drawing/2014/chart" uri="{C3380CC4-5D6E-409C-BE32-E72D297353CC}">
                <c16:uniqueId val="{0000021B-E301-4394-9164-B64ECBC67E04}"/>
              </c:ext>
            </c:extLst>
          </c:dPt>
          <c:dPt>
            <c:idx val="269"/>
            <c:invertIfNegative val="1"/>
            <c:bubble3D val="0"/>
            <c:spPr>
              <a:solidFill>
                <a:srgbClr val="AEABAB"/>
              </a:solidFill>
            </c:spPr>
            <c:extLst>
              <c:ext xmlns:c16="http://schemas.microsoft.com/office/drawing/2014/chart" uri="{C3380CC4-5D6E-409C-BE32-E72D297353CC}">
                <c16:uniqueId val="{0000021D-E301-4394-9164-B64ECBC67E04}"/>
              </c:ext>
            </c:extLst>
          </c:dPt>
          <c:dPt>
            <c:idx val="270"/>
            <c:invertIfNegative val="1"/>
            <c:bubble3D val="0"/>
            <c:spPr>
              <a:solidFill>
                <a:srgbClr val="AEABAB"/>
              </a:solidFill>
            </c:spPr>
            <c:extLst>
              <c:ext xmlns:c16="http://schemas.microsoft.com/office/drawing/2014/chart" uri="{C3380CC4-5D6E-409C-BE32-E72D297353CC}">
                <c16:uniqueId val="{0000021F-E301-4394-9164-B64ECBC67E04}"/>
              </c:ext>
            </c:extLst>
          </c:dPt>
          <c:dPt>
            <c:idx val="271"/>
            <c:invertIfNegative val="1"/>
            <c:bubble3D val="0"/>
            <c:spPr>
              <a:solidFill>
                <a:srgbClr val="AEABAB"/>
              </a:solidFill>
            </c:spPr>
            <c:extLst>
              <c:ext xmlns:c16="http://schemas.microsoft.com/office/drawing/2014/chart" uri="{C3380CC4-5D6E-409C-BE32-E72D297353CC}">
                <c16:uniqueId val="{00000221-E301-4394-9164-B64ECBC67E04}"/>
              </c:ext>
            </c:extLst>
          </c:dPt>
          <c:dPt>
            <c:idx val="272"/>
            <c:invertIfNegative val="1"/>
            <c:bubble3D val="0"/>
            <c:spPr>
              <a:solidFill>
                <a:srgbClr val="AEABAB"/>
              </a:solidFill>
            </c:spPr>
            <c:extLst>
              <c:ext xmlns:c16="http://schemas.microsoft.com/office/drawing/2014/chart" uri="{C3380CC4-5D6E-409C-BE32-E72D297353CC}">
                <c16:uniqueId val="{00000223-E301-4394-9164-B64ECBC67E04}"/>
              </c:ext>
            </c:extLst>
          </c:dPt>
          <c:dPt>
            <c:idx val="273"/>
            <c:invertIfNegative val="1"/>
            <c:bubble3D val="0"/>
            <c:spPr>
              <a:solidFill>
                <a:srgbClr val="AEABAB"/>
              </a:solidFill>
            </c:spPr>
            <c:extLst>
              <c:ext xmlns:c16="http://schemas.microsoft.com/office/drawing/2014/chart" uri="{C3380CC4-5D6E-409C-BE32-E72D297353CC}">
                <c16:uniqueId val="{00000225-E301-4394-9164-B64ECBC67E04}"/>
              </c:ext>
            </c:extLst>
          </c:dPt>
          <c:dPt>
            <c:idx val="274"/>
            <c:invertIfNegative val="1"/>
            <c:bubble3D val="0"/>
            <c:spPr>
              <a:solidFill>
                <a:srgbClr val="AEABAB"/>
              </a:solidFill>
            </c:spPr>
            <c:extLst>
              <c:ext xmlns:c16="http://schemas.microsoft.com/office/drawing/2014/chart" uri="{C3380CC4-5D6E-409C-BE32-E72D297353CC}">
                <c16:uniqueId val="{00000227-E301-4394-9164-B64ECBC67E04}"/>
              </c:ext>
            </c:extLst>
          </c:dPt>
          <c:dPt>
            <c:idx val="275"/>
            <c:invertIfNegative val="1"/>
            <c:bubble3D val="0"/>
            <c:spPr>
              <a:solidFill>
                <a:srgbClr val="AEABAB"/>
              </a:solidFill>
            </c:spPr>
            <c:extLst>
              <c:ext xmlns:c16="http://schemas.microsoft.com/office/drawing/2014/chart" uri="{C3380CC4-5D6E-409C-BE32-E72D297353CC}">
                <c16:uniqueId val="{00000229-E301-4394-9164-B64ECBC67E04}"/>
              </c:ext>
            </c:extLst>
          </c:dPt>
          <c:dPt>
            <c:idx val="276"/>
            <c:invertIfNegative val="1"/>
            <c:bubble3D val="0"/>
            <c:spPr>
              <a:solidFill>
                <a:srgbClr val="AEABAB"/>
              </a:solidFill>
            </c:spPr>
            <c:extLst>
              <c:ext xmlns:c16="http://schemas.microsoft.com/office/drawing/2014/chart" uri="{C3380CC4-5D6E-409C-BE32-E72D297353CC}">
                <c16:uniqueId val="{0000022B-E301-4394-9164-B64ECBC67E04}"/>
              </c:ext>
            </c:extLst>
          </c:dPt>
          <c:dPt>
            <c:idx val="277"/>
            <c:invertIfNegative val="1"/>
            <c:bubble3D val="0"/>
            <c:spPr>
              <a:solidFill>
                <a:srgbClr val="AEABAB"/>
              </a:solidFill>
            </c:spPr>
            <c:extLst>
              <c:ext xmlns:c16="http://schemas.microsoft.com/office/drawing/2014/chart" uri="{C3380CC4-5D6E-409C-BE32-E72D297353CC}">
                <c16:uniqueId val="{0000022D-E301-4394-9164-B64ECBC67E04}"/>
              </c:ext>
            </c:extLst>
          </c:dPt>
          <c:dPt>
            <c:idx val="278"/>
            <c:invertIfNegative val="1"/>
            <c:bubble3D val="0"/>
            <c:spPr>
              <a:solidFill>
                <a:srgbClr val="AEABAB"/>
              </a:solidFill>
            </c:spPr>
            <c:extLst>
              <c:ext xmlns:c16="http://schemas.microsoft.com/office/drawing/2014/chart" uri="{C3380CC4-5D6E-409C-BE32-E72D297353CC}">
                <c16:uniqueId val="{0000022F-E301-4394-9164-B64ECBC67E04}"/>
              </c:ext>
            </c:extLst>
          </c:dPt>
          <c:dPt>
            <c:idx val="279"/>
            <c:invertIfNegative val="1"/>
            <c:bubble3D val="0"/>
            <c:spPr>
              <a:solidFill>
                <a:srgbClr val="AEABAB"/>
              </a:solidFill>
            </c:spPr>
            <c:extLst>
              <c:ext xmlns:c16="http://schemas.microsoft.com/office/drawing/2014/chart" uri="{C3380CC4-5D6E-409C-BE32-E72D297353CC}">
                <c16:uniqueId val="{00000231-E301-4394-9164-B64ECBC67E04}"/>
              </c:ext>
            </c:extLst>
          </c:dPt>
          <c:dPt>
            <c:idx val="280"/>
            <c:invertIfNegative val="1"/>
            <c:bubble3D val="0"/>
            <c:spPr>
              <a:solidFill>
                <a:srgbClr val="AEABAB"/>
              </a:solidFill>
            </c:spPr>
            <c:extLst>
              <c:ext xmlns:c16="http://schemas.microsoft.com/office/drawing/2014/chart" uri="{C3380CC4-5D6E-409C-BE32-E72D297353CC}">
                <c16:uniqueId val="{00000233-E301-4394-9164-B64ECBC67E04}"/>
              </c:ext>
            </c:extLst>
          </c:dPt>
          <c:dPt>
            <c:idx val="281"/>
            <c:invertIfNegative val="1"/>
            <c:bubble3D val="0"/>
            <c:spPr>
              <a:solidFill>
                <a:srgbClr val="AEABAB"/>
              </a:solidFill>
            </c:spPr>
            <c:extLst>
              <c:ext xmlns:c16="http://schemas.microsoft.com/office/drawing/2014/chart" uri="{C3380CC4-5D6E-409C-BE32-E72D297353CC}">
                <c16:uniqueId val="{00000235-E301-4394-9164-B64ECBC67E04}"/>
              </c:ext>
            </c:extLst>
          </c:dPt>
          <c:dPt>
            <c:idx val="282"/>
            <c:invertIfNegative val="1"/>
            <c:bubble3D val="0"/>
            <c:spPr>
              <a:solidFill>
                <a:srgbClr val="AEABAB"/>
              </a:solidFill>
            </c:spPr>
            <c:extLst>
              <c:ext xmlns:c16="http://schemas.microsoft.com/office/drawing/2014/chart" uri="{C3380CC4-5D6E-409C-BE32-E72D297353CC}">
                <c16:uniqueId val="{00000237-E301-4394-9164-B64ECBC67E04}"/>
              </c:ext>
            </c:extLst>
          </c:dPt>
          <c:dPt>
            <c:idx val="283"/>
            <c:invertIfNegative val="1"/>
            <c:bubble3D val="0"/>
            <c:spPr>
              <a:solidFill>
                <a:srgbClr val="AEABAB"/>
              </a:solidFill>
            </c:spPr>
            <c:extLst>
              <c:ext xmlns:c16="http://schemas.microsoft.com/office/drawing/2014/chart" uri="{C3380CC4-5D6E-409C-BE32-E72D297353CC}">
                <c16:uniqueId val="{00000239-E301-4394-9164-B64ECBC67E04}"/>
              </c:ext>
            </c:extLst>
          </c:dPt>
          <c:dPt>
            <c:idx val="284"/>
            <c:invertIfNegative val="1"/>
            <c:bubble3D val="0"/>
            <c:spPr>
              <a:solidFill>
                <a:srgbClr val="AEABAB"/>
              </a:solidFill>
            </c:spPr>
            <c:extLst>
              <c:ext xmlns:c16="http://schemas.microsoft.com/office/drawing/2014/chart" uri="{C3380CC4-5D6E-409C-BE32-E72D297353CC}">
                <c16:uniqueId val="{0000023B-E301-4394-9164-B64ECBC67E04}"/>
              </c:ext>
            </c:extLst>
          </c:dPt>
          <c:dPt>
            <c:idx val="285"/>
            <c:invertIfNegative val="1"/>
            <c:bubble3D val="0"/>
            <c:spPr>
              <a:solidFill>
                <a:srgbClr val="AEABAB"/>
              </a:solidFill>
            </c:spPr>
            <c:extLst>
              <c:ext xmlns:c16="http://schemas.microsoft.com/office/drawing/2014/chart" uri="{C3380CC4-5D6E-409C-BE32-E72D297353CC}">
                <c16:uniqueId val="{0000023D-E301-4394-9164-B64ECBC67E04}"/>
              </c:ext>
            </c:extLst>
          </c:dPt>
          <c:dPt>
            <c:idx val="286"/>
            <c:invertIfNegative val="1"/>
            <c:bubble3D val="0"/>
            <c:spPr>
              <a:solidFill>
                <a:srgbClr val="AEABAB"/>
              </a:solidFill>
            </c:spPr>
            <c:extLst>
              <c:ext xmlns:c16="http://schemas.microsoft.com/office/drawing/2014/chart" uri="{C3380CC4-5D6E-409C-BE32-E72D297353CC}">
                <c16:uniqueId val="{0000023F-E301-4394-9164-B64ECBC67E04}"/>
              </c:ext>
            </c:extLst>
          </c:dPt>
          <c:dPt>
            <c:idx val="287"/>
            <c:invertIfNegative val="1"/>
            <c:bubble3D val="0"/>
            <c:spPr>
              <a:solidFill>
                <a:srgbClr val="AEABAB"/>
              </a:solidFill>
            </c:spPr>
            <c:extLst>
              <c:ext xmlns:c16="http://schemas.microsoft.com/office/drawing/2014/chart" uri="{C3380CC4-5D6E-409C-BE32-E72D297353CC}">
                <c16:uniqueId val="{00000241-E301-4394-9164-B64ECBC67E04}"/>
              </c:ext>
            </c:extLst>
          </c:dPt>
          <c:dPt>
            <c:idx val="288"/>
            <c:invertIfNegative val="1"/>
            <c:bubble3D val="0"/>
            <c:spPr>
              <a:solidFill>
                <a:srgbClr val="AEABAB"/>
              </a:solidFill>
            </c:spPr>
            <c:extLst>
              <c:ext xmlns:c16="http://schemas.microsoft.com/office/drawing/2014/chart" uri="{C3380CC4-5D6E-409C-BE32-E72D297353CC}">
                <c16:uniqueId val="{00000243-E301-4394-9164-B64ECBC67E04}"/>
              </c:ext>
            </c:extLst>
          </c:dPt>
          <c:dPt>
            <c:idx val="289"/>
            <c:invertIfNegative val="1"/>
            <c:bubble3D val="0"/>
            <c:spPr>
              <a:solidFill>
                <a:srgbClr val="AEABAB"/>
              </a:solidFill>
            </c:spPr>
            <c:extLst>
              <c:ext xmlns:c16="http://schemas.microsoft.com/office/drawing/2014/chart" uri="{C3380CC4-5D6E-409C-BE32-E72D297353CC}">
                <c16:uniqueId val="{00000245-E301-4394-9164-B64ECBC67E04}"/>
              </c:ext>
            </c:extLst>
          </c:dPt>
          <c:dPt>
            <c:idx val="290"/>
            <c:invertIfNegative val="1"/>
            <c:bubble3D val="0"/>
            <c:spPr>
              <a:solidFill>
                <a:srgbClr val="AEABAB"/>
              </a:solidFill>
            </c:spPr>
            <c:extLst>
              <c:ext xmlns:c16="http://schemas.microsoft.com/office/drawing/2014/chart" uri="{C3380CC4-5D6E-409C-BE32-E72D297353CC}">
                <c16:uniqueId val="{00000247-E301-4394-9164-B64ECBC67E04}"/>
              </c:ext>
            </c:extLst>
          </c:dPt>
          <c:dPt>
            <c:idx val="291"/>
            <c:invertIfNegative val="1"/>
            <c:bubble3D val="0"/>
            <c:spPr>
              <a:solidFill>
                <a:srgbClr val="AEABAB"/>
              </a:solidFill>
            </c:spPr>
            <c:extLst>
              <c:ext xmlns:c16="http://schemas.microsoft.com/office/drawing/2014/chart" uri="{C3380CC4-5D6E-409C-BE32-E72D297353CC}">
                <c16:uniqueId val="{00000249-E301-4394-9164-B64ECBC67E04}"/>
              </c:ext>
            </c:extLst>
          </c:dPt>
          <c:dPt>
            <c:idx val="292"/>
            <c:invertIfNegative val="1"/>
            <c:bubble3D val="0"/>
            <c:spPr>
              <a:solidFill>
                <a:srgbClr val="AEABAB"/>
              </a:solidFill>
            </c:spPr>
            <c:extLst>
              <c:ext xmlns:c16="http://schemas.microsoft.com/office/drawing/2014/chart" uri="{C3380CC4-5D6E-409C-BE32-E72D297353CC}">
                <c16:uniqueId val="{0000024B-E301-4394-9164-B64ECBC67E04}"/>
              </c:ext>
            </c:extLst>
          </c:dPt>
          <c:dPt>
            <c:idx val="293"/>
            <c:invertIfNegative val="1"/>
            <c:bubble3D val="0"/>
            <c:spPr>
              <a:solidFill>
                <a:srgbClr val="AEABAB"/>
              </a:solidFill>
            </c:spPr>
            <c:extLst>
              <c:ext xmlns:c16="http://schemas.microsoft.com/office/drawing/2014/chart" uri="{C3380CC4-5D6E-409C-BE32-E72D297353CC}">
                <c16:uniqueId val="{0000024D-E301-4394-9164-B64ECBC67E04}"/>
              </c:ext>
            </c:extLst>
          </c:dPt>
          <c:dPt>
            <c:idx val="294"/>
            <c:invertIfNegative val="1"/>
            <c:bubble3D val="0"/>
            <c:spPr>
              <a:solidFill>
                <a:srgbClr val="AEABAB"/>
              </a:solidFill>
            </c:spPr>
            <c:extLst>
              <c:ext xmlns:c16="http://schemas.microsoft.com/office/drawing/2014/chart" uri="{C3380CC4-5D6E-409C-BE32-E72D297353CC}">
                <c16:uniqueId val="{0000024F-E301-4394-9164-B64ECBC67E04}"/>
              </c:ext>
            </c:extLst>
          </c:dPt>
          <c:dPt>
            <c:idx val="295"/>
            <c:invertIfNegative val="1"/>
            <c:bubble3D val="0"/>
            <c:spPr>
              <a:solidFill>
                <a:srgbClr val="AEABAB"/>
              </a:solidFill>
            </c:spPr>
            <c:extLst>
              <c:ext xmlns:c16="http://schemas.microsoft.com/office/drawing/2014/chart" uri="{C3380CC4-5D6E-409C-BE32-E72D297353CC}">
                <c16:uniqueId val="{00000251-E301-4394-9164-B64ECBC67E04}"/>
              </c:ext>
            </c:extLst>
          </c:dPt>
          <c:dPt>
            <c:idx val="296"/>
            <c:invertIfNegative val="1"/>
            <c:bubble3D val="0"/>
            <c:spPr>
              <a:solidFill>
                <a:srgbClr val="AEABAB"/>
              </a:solidFill>
            </c:spPr>
            <c:extLst>
              <c:ext xmlns:c16="http://schemas.microsoft.com/office/drawing/2014/chart" uri="{C3380CC4-5D6E-409C-BE32-E72D297353CC}">
                <c16:uniqueId val="{00000253-E301-4394-9164-B64ECBC67E04}"/>
              </c:ext>
            </c:extLst>
          </c:dPt>
          <c:dPt>
            <c:idx val="297"/>
            <c:invertIfNegative val="1"/>
            <c:bubble3D val="0"/>
            <c:spPr>
              <a:solidFill>
                <a:srgbClr val="AEABAB"/>
              </a:solidFill>
            </c:spPr>
            <c:extLst>
              <c:ext xmlns:c16="http://schemas.microsoft.com/office/drawing/2014/chart" uri="{C3380CC4-5D6E-409C-BE32-E72D297353CC}">
                <c16:uniqueId val="{00000255-E301-4394-9164-B64ECBC67E04}"/>
              </c:ext>
            </c:extLst>
          </c:dPt>
          <c:dPt>
            <c:idx val="298"/>
            <c:invertIfNegative val="1"/>
            <c:bubble3D val="0"/>
            <c:spPr>
              <a:solidFill>
                <a:srgbClr val="AEABAB"/>
              </a:solidFill>
            </c:spPr>
            <c:extLst>
              <c:ext xmlns:c16="http://schemas.microsoft.com/office/drawing/2014/chart" uri="{C3380CC4-5D6E-409C-BE32-E72D297353CC}">
                <c16:uniqueId val="{00000257-E301-4394-9164-B64ECBC67E04}"/>
              </c:ext>
            </c:extLst>
          </c:dPt>
          <c:dPt>
            <c:idx val="299"/>
            <c:invertIfNegative val="1"/>
            <c:bubble3D val="0"/>
            <c:spPr>
              <a:solidFill>
                <a:srgbClr val="AEABAB"/>
              </a:solidFill>
            </c:spPr>
            <c:extLst>
              <c:ext xmlns:c16="http://schemas.microsoft.com/office/drawing/2014/chart" uri="{C3380CC4-5D6E-409C-BE32-E72D297353CC}">
                <c16:uniqueId val="{00000259-E301-4394-9164-B64ECBC67E04}"/>
              </c:ext>
            </c:extLst>
          </c:dPt>
          <c:dPt>
            <c:idx val="300"/>
            <c:invertIfNegative val="1"/>
            <c:bubble3D val="0"/>
            <c:spPr>
              <a:solidFill>
                <a:srgbClr val="AEABAB"/>
              </a:solidFill>
            </c:spPr>
            <c:extLst>
              <c:ext xmlns:c16="http://schemas.microsoft.com/office/drawing/2014/chart" uri="{C3380CC4-5D6E-409C-BE32-E72D297353CC}">
                <c16:uniqueId val="{0000025B-E301-4394-9164-B64ECBC67E04}"/>
              </c:ext>
            </c:extLst>
          </c:dPt>
          <c:dPt>
            <c:idx val="301"/>
            <c:invertIfNegative val="1"/>
            <c:bubble3D val="0"/>
            <c:spPr>
              <a:solidFill>
                <a:srgbClr val="AEABAB"/>
              </a:solidFill>
            </c:spPr>
            <c:extLst>
              <c:ext xmlns:c16="http://schemas.microsoft.com/office/drawing/2014/chart" uri="{C3380CC4-5D6E-409C-BE32-E72D297353CC}">
                <c16:uniqueId val="{0000025D-E301-4394-9164-B64ECBC67E04}"/>
              </c:ext>
            </c:extLst>
          </c:dPt>
          <c:dPt>
            <c:idx val="302"/>
            <c:invertIfNegative val="1"/>
            <c:bubble3D val="0"/>
            <c:spPr>
              <a:solidFill>
                <a:srgbClr val="AEABAB"/>
              </a:solidFill>
            </c:spPr>
            <c:extLst>
              <c:ext xmlns:c16="http://schemas.microsoft.com/office/drawing/2014/chart" uri="{C3380CC4-5D6E-409C-BE32-E72D297353CC}">
                <c16:uniqueId val="{0000025F-E301-4394-9164-B64ECBC67E04}"/>
              </c:ext>
            </c:extLst>
          </c:dPt>
          <c:dPt>
            <c:idx val="303"/>
            <c:invertIfNegative val="1"/>
            <c:bubble3D val="0"/>
            <c:spPr>
              <a:solidFill>
                <a:srgbClr val="AEABAB"/>
              </a:solidFill>
            </c:spPr>
            <c:extLst>
              <c:ext xmlns:c16="http://schemas.microsoft.com/office/drawing/2014/chart" uri="{C3380CC4-5D6E-409C-BE32-E72D297353CC}">
                <c16:uniqueId val="{00000261-E301-4394-9164-B64ECBC67E04}"/>
              </c:ext>
            </c:extLst>
          </c:dPt>
          <c:dPt>
            <c:idx val="304"/>
            <c:invertIfNegative val="1"/>
            <c:bubble3D val="0"/>
            <c:spPr>
              <a:solidFill>
                <a:srgbClr val="AEABAB"/>
              </a:solidFill>
            </c:spPr>
            <c:extLst>
              <c:ext xmlns:c16="http://schemas.microsoft.com/office/drawing/2014/chart" uri="{C3380CC4-5D6E-409C-BE32-E72D297353CC}">
                <c16:uniqueId val="{00000263-E301-4394-9164-B64ECBC67E04}"/>
              </c:ext>
            </c:extLst>
          </c:dPt>
          <c:dPt>
            <c:idx val="305"/>
            <c:invertIfNegative val="1"/>
            <c:bubble3D val="0"/>
            <c:spPr>
              <a:solidFill>
                <a:srgbClr val="AEABAB"/>
              </a:solidFill>
            </c:spPr>
            <c:extLst>
              <c:ext xmlns:c16="http://schemas.microsoft.com/office/drawing/2014/chart" uri="{C3380CC4-5D6E-409C-BE32-E72D297353CC}">
                <c16:uniqueId val="{00000265-E301-4394-9164-B64ECBC67E04}"/>
              </c:ext>
            </c:extLst>
          </c:dPt>
          <c:dPt>
            <c:idx val="306"/>
            <c:invertIfNegative val="1"/>
            <c:bubble3D val="0"/>
            <c:spPr>
              <a:solidFill>
                <a:srgbClr val="AEABAB"/>
              </a:solidFill>
            </c:spPr>
            <c:extLst>
              <c:ext xmlns:c16="http://schemas.microsoft.com/office/drawing/2014/chart" uri="{C3380CC4-5D6E-409C-BE32-E72D297353CC}">
                <c16:uniqueId val="{00000267-E301-4394-9164-B64ECBC67E04}"/>
              </c:ext>
            </c:extLst>
          </c:dPt>
          <c:dPt>
            <c:idx val="307"/>
            <c:invertIfNegative val="1"/>
            <c:bubble3D val="0"/>
            <c:spPr>
              <a:solidFill>
                <a:srgbClr val="AEABAB"/>
              </a:solidFill>
            </c:spPr>
            <c:extLst>
              <c:ext xmlns:c16="http://schemas.microsoft.com/office/drawing/2014/chart" uri="{C3380CC4-5D6E-409C-BE32-E72D297353CC}">
                <c16:uniqueId val="{00000269-E301-4394-9164-B64ECBC67E04}"/>
              </c:ext>
            </c:extLst>
          </c:dPt>
          <c:dPt>
            <c:idx val="308"/>
            <c:invertIfNegative val="1"/>
            <c:bubble3D val="0"/>
            <c:spPr>
              <a:solidFill>
                <a:srgbClr val="AEABAB"/>
              </a:solidFill>
            </c:spPr>
            <c:extLst>
              <c:ext xmlns:c16="http://schemas.microsoft.com/office/drawing/2014/chart" uri="{C3380CC4-5D6E-409C-BE32-E72D297353CC}">
                <c16:uniqueId val="{0000026B-E301-4394-9164-B64ECBC67E04}"/>
              </c:ext>
            </c:extLst>
          </c:dPt>
          <c:dPt>
            <c:idx val="309"/>
            <c:invertIfNegative val="1"/>
            <c:bubble3D val="0"/>
            <c:spPr>
              <a:solidFill>
                <a:srgbClr val="AEABAB"/>
              </a:solidFill>
            </c:spPr>
            <c:extLst>
              <c:ext xmlns:c16="http://schemas.microsoft.com/office/drawing/2014/chart" uri="{C3380CC4-5D6E-409C-BE32-E72D297353CC}">
                <c16:uniqueId val="{0000026D-E301-4394-9164-B64ECBC67E04}"/>
              </c:ext>
            </c:extLst>
          </c:dPt>
          <c:dPt>
            <c:idx val="310"/>
            <c:invertIfNegative val="1"/>
            <c:bubble3D val="0"/>
            <c:spPr>
              <a:solidFill>
                <a:srgbClr val="AEABAB"/>
              </a:solidFill>
            </c:spPr>
            <c:extLst>
              <c:ext xmlns:c16="http://schemas.microsoft.com/office/drawing/2014/chart" uri="{C3380CC4-5D6E-409C-BE32-E72D297353CC}">
                <c16:uniqueId val="{0000026F-E301-4394-9164-B64ECBC67E04}"/>
              </c:ext>
            </c:extLst>
          </c:dPt>
          <c:cat>
            <c:strRef>
              <c:f>Sheet1!$A$2:$A$312</c:f>
              <c:strCache>
                <c:ptCount val="311"/>
                <c:pt idx="0">
                  <c:v>Ruinart</c:v>
                </c:pt>
                <c:pt idx="1">
                  <c:v>Nicolas</c:v>
                </c:pt>
                <c:pt idx="2">
                  <c:v>Deutz</c:v>
                </c:pt>
                <c:pt idx="3">
                  <c:v>Heidsieck &amp;</c:v>
                </c:pt>
                <c:pt idx="4">
                  <c:v>Ruinart</c:v>
                </c:pt>
                <c:pt idx="5">
                  <c:v>Malard</c:v>
                </c:pt>
                <c:pt idx="6">
                  <c:v>Laurent Per</c:v>
                </c:pt>
                <c:pt idx="7">
                  <c:v>Ayala</c:v>
                </c:pt>
                <c:pt idx="8">
                  <c:v>De Bligny</c:v>
                </c:pt>
                <c:pt idx="9">
                  <c:v>Nicolas Feu</c:v>
                </c:pt>
                <c:pt idx="10">
                  <c:v>Canard Duch</c:v>
                </c:pt>
                <c:pt idx="11">
                  <c:v>Taittinger</c:v>
                </c:pt>
                <c:pt idx="12">
                  <c:v>Besserat De</c:v>
                </c:pt>
                <c:pt idx="13">
                  <c:v>Bollinger</c:v>
                </c:pt>
                <c:pt idx="14">
                  <c:v>Ruinart</c:v>
                </c:pt>
                <c:pt idx="15">
                  <c:v>Ruinart</c:v>
                </c:pt>
                <c:pt idx="16">
                  <c:v>Perrier Jou</c:v>
                </c:pt>
                <c:pt idx="17">
                  <c:v>Demoiselle</c:v>
                </c:pt>
                <c:pt idx="18">
                  <c:v>Deutz</c:v>
                </c:pt>
                <c:pt idx="19">
                  <c:v>Ruinart</c:v>
                </c:pt>
                <c:pt idx="20">
                  <c:v>All Others</c:v>
                </c:pt>
                <c:pt idx="21">
                  <c:v>Ruinart</c:v>
                </c:pt>
                <c:pt idx="22">
                  <c:v>Vesselle</c:v>
                </c:pt>
                <c:pt idx="23">
                  <c:v>Roederer</c:v>
                </c:pt>
                <c:pt idx="24">
                  <c:v>Laurent Per</c:v>
                </c:pt>
                <c:pt idx="25">
                  <c:v>Campari: Al</c:v>
                </c:pt>
                <c:pt idx="26">
                  <c:v>Pommery</c:v>
                </c:pt>
                <c:pt idx="27">
                  <c:v>All Others</c:v>
                </c:pt>
                <c:pt idx="28">
                  <c:v>Savian</c:v>
                </c:pt>
                <c:pt idx="29">
                  <c:v>Deutz</c:v>
                </c:pt>
                <c:pt idx="30">
                  <c:v>Malard</c:v>
                </c:pt>
                <c:pt idx="31">
                  <c:v>Veuve Clicq</c:v>
                </c:pt>
                <c:pt idx="32">
                  <c:v>Demoiselle</c:v>
                </c:pt>
                <c:pt idx="33">
                  <c:v>Moët &amp; Chan</c:v>
                </c:pt>
                <c:pt idx="34">
                  <c:v>Henriot</c:v>
                </c:pt>
                <c:pt idx="35">
                  <c:v>All Others</c:v>
                </c:pt>
                <c:pt idx="36">
                  <c:v>Nicolas</c:v>
                </c:pt>
                <c:pt idx="37">
                  <c:v>Taittinger</c:v>
                </c:pt>
                <c:pt idx="38">
                  <c:v>De Venoge</c:v>
                </c:pt>
                <c:pt idx="39">
                  <c:v>Dom Perigno</c:v>
                </c:pt>
                <c:pt idx="40">
                  <c:v>Dom Perigno</c:v>
                </c:pt>
                <c:pt idx="41">
                  <c:v>Veuve Clicq</c:v>
                </c:pt>
                <c:pt idx="42">
                  <c:v>Ruinart</c:v>
                </c:pt>
                <c:pt idx="43">
                  <c:v>Laurent Per</c:v>
                </c:pt>
                <c:pt idx="44">
                  <c:v>Roederer</c:v>
                </c:pt>
                <c:pt idx="45">
                  <c:v>Veuve Clicq</c:v>
                </c:pt>
                <c:pt idx="46">
                  <c:v>Piper Heids</c:v>
                </c:pt>
                <c:pt idx="47">
                  <c:v>Malard</c:v>
                </c:pt>
                <c:pt idx="48">
                  <c:v>Deutz</c:v>
                </c:pt>
                <c:pt idx="49">
                  <c:v>Louis Marti</c:v>
                </c:pt>
                <c:pt idx="50">
                  <c:v>Ruinart</c:v>
                </c:pt>
                <c:pt idx="51">
                  <c:v>Ruinart</c:v>
                </c:pt>
                <c:pt idx="52">
                  <c:v>Nicolas</c:v>
                </c:pt>
                <c:pt idx="53">
                  <c:v>Nicolas Feu</c:v>
                </c:pt>
                <c:pt idx="54">
                  <c:v>Nicolas</c:v>
                </c:pt>
                <c:pt idx="55">
                  <c:v>Moët &amp; Chan</c:v>
                </c:pt>
                <c:pt idx="56">
                  <c:v>Lanson</c:v>
                </c:pt>
                <c:pt idx="57">
                  <c:v>Nicolas Feu</c:v>
                </c:pt>
                <c:pt idx="58">
                  <c:v>Besserat De</c:v>
                </c:pt>
                <c:pt idx="59">
                  <c:v>Moët &amp; Chan</c:v>
                </c:pt>
                <c:pt idx="60">
                  <c:v>Campari: Al</c:v>
                </c:pt>
                <c:pt idx="61">
                  <c:v>Canard Duch</c:v>
                </c:pt>
                <c:pt idx="62">
                  <c:v>Malard</c:v>
                </c:pt>
                <c:pt idx="63">
                  <c:v>Roederer</c:v>
                </c:pt>
                <c:pt idx="64">
                  <c:v>Henriot</c:v>
                </c:pt>
                <c:pt idx="65">
                  <c:v>Malard</c:v>
                </c:pt>
                <c:pt idx="66">
                  <c:v>Nicolas Feu</c:v>
                </c:pt>
                <c:pt idx="67">
                  <c:v>De Bligny</c:v>
                </c:pt>
                <c:pt idx="68">
                  <c:v>Delamotte</c:v>
                </c:pt>
                <c:pt idx="69">
                  <c:v>Besserat De</c:v>
                </c:pt>
                <c:pt idx="70">
                  <c:v>Bollinger</c:v>
                </c:pt>
                <c:pt idx="71">
                  <c:v>Ruinart</c:v>
                </c:pt>
                <c:pt idx="72">
                  <c:v>Pommery</c:v>
                </c:pt>
                <c:pt idx="73">
                  <c:v>Dom Perigno</c:v>
                </c:pt>
                <c:pt idx="74">
                  <c:v>Henriot</c:v>
                </c:pt>
                <c:pt idx="75">
                  <c:v>Krug</c:v>
                </c:pt>
                <c:pt idx="76">
                  <c:v>Vranken</c:v>
                </c:pt>
                <c:pt idx="77">
                  <c:v>Laurent Per</c:v>
                </c:pt>
                <c:pt idx="78">
                  <c:v>Henriot</c:v>
                </c:pt>
                <c:pt idx="79">
                  <c:v>Ayala</c:v>
                </c:pt>
                <c:pt idx="80">
                  <c:v>Roederer</c:v>
                </c:pt>
                <c:pt idx="81">
                  <c:v>De Venoge</c:v>
                </c:pt>
                <c:pt idx="82">
                  <c:v>Roederer</c:v>
                </c:pt>
                <c:pt idx="83">
                  <c:v>De Venoge</c:v>
                </c:pt>
                <c:pt idx="84">
                  <c:v>Canard Duch</c:v>
                </c:pt>
                <c:pt idx="85">
                  <c:v>Nicolas</c:v>
                </c:pt>
                <c:pt idx="86">
                  <c:v>De Venoge</c:v>
                </c:pt>
                <c:pt idx="87">
                  <c:v>Roederer</c:v>
                </c:pt>
                <c:pt idx="88">
                  <c:v>Deutz</c:v>
                </c:pt>
                <c:pt idx="89">
                  <c:v>Roederer</c:v>
                </c:pt>
                <c:pt idx="90">
                  <c:v>Bollinger</c:v>
                </c:pt>
                <c:pt idx="91">
                  <c:v>Ruinart</c:v>
                </c:pt>
                <c:pt idx="92">
                  <c:v>Ruinart</c:v>
                </c:pt>
                <c:pt idx="93">
                  <c:v>Nicolas</c:v>
                </c:pt>
                <c:pt idx="94">
                  <c:v>Roederer</c:v>
                </c:pt>
                <c:pt idx="95">
                  <c:v>Ruinart</c:v>
                </c:pt>
                <c:pt idx="96">
                  <c:v>Perrier Jou</c:v>
                </c:pt>
                <c:pt idx="97">
                  <c:v>Ruinart</c:v>
                </c:pt>
                <c:pt idx="98">
                  <c:v>Malard</c:v>
                </c:pt>
                <c:pt idx="99">
                  <c:v>Moët &amp; Chan</c:v>
                </c:pt>
                <c:pt idx="100">
                  <c:v>Roederer</c:v>
                </c:pt>
                <c:pt idx="101">
                  <c:v>Roederer</c:v>
                </c:pt>
                <c:pt idx="102">
                  <c:v>Ruinart</c:v>
                </c:pt>
                <c:pt idx="103">
                  <c:v>Canard Duch</c:v>
                </c:pt>
                <c:pt idx="104">
                  <c:v>Nicolas Feu</c:v>
                </c:pt>
                <c:pt idx="105">
                  <c:v>Veuve Clicq</c:v>
                </c:pt>
                <c:pt idx="106">
                  <c:v>Laurent Per</c:v>
                </c:pt>
                <c:pt idx="107">
                  <c:v>Nicolas</c:v>
                </c:pt>
                <c:pt idx="108">
                  <c:v>Nicolas</c:v>
                </c:pt>
                <c:pt idx="109">
                  <c:v>Perrier Jou</c:v>
                </c:pt>
                <c:pt idx="110">
                  <c:v>Vranken</c:v>
                </c:pt>
                <c:pt idx="111">
                  <c:v>Dom Perigno</c:v>
                </c:pt>
                <c:pt idx="112">
                  <c:v>Nicolas</c:v>
                </c:pt>
                <c:pt idx="113">
                  <c:v>Veuve Clicq</c:v>
                </c:pt>
                <c:pt idx="114">
                  <c:v>Nicolas</c:v>
                </c:pt>
                <c:pt idx="115">
                  <c:v>Nicolas</c:v>
                </c:pt>
                <c:pt idx="116">
                  <c:v>Deutz</c:v>
                </c:pt>
                <c:pt idx="117">
                  <c:v>Roederer</c:v>
                </c:pt>
                <c:pt idx="118">
                  <c:v>Laurent Per</c:v>
                </c:pt>
                <c:pt idx="119">
                  <c:v>Besserat De</c:v>
                </c:pt>
                <c:pt idx="120">
                  <c:v>Canard Duch</c:v>
                </c:pt>
                <c:pt idx="121">
                  <c:v>All Others</c:v>
                </c:pt>
                <c:pt idx="122">
                  <c:v>Bollinger</c:v>
                </c:pt>
                <c:pt idx="123">
                  <c:v>Demoiselle</c:v>
                </c:pt>
                <c:pt idx="124">
                  <c:v>Nicolas</c:v>
                </c:pt>
                <c:pt idx="125">
                  <c:v>Canard Duch</c:v>
                </c:pt>
                <c:pt idx="126">
                  <c:v>Roederer</c:v>
                </c:pt>
                <c:pt idx="127">
                  <c:v>Roederer</c:v>
                </c:pt>
                <c:pt idx="128">
                  <c:v>All Others</c:v>
                </c:pt>
                <c:pt idx="129">
                  <c:v>Pommery</c:v>
                </c:pt>
                <c:pt idx="130">
                  <c:v>Dom Perigno</c:v>
                </c:pt>
                <c:pt idx="131">
                  <c:v>Nicolas</c:v>
                </c:pt>
                <c:pt idx="132">
                  <c:v>Taittinger</c:v>
                </c:pt>
                <c:pt idx="133">
                  <c:v>Nicolas</c:v>
                </c:pt>
                <c:pt idx="134">
                  <c:v>Laurent Per</c:v>
                </c:pt>
                <c:pt idx="135">
                  <c:v>Lanson</c:v>
                </c:pt>
                <c:pt idx="136">
                  <c:v>Vranken</c:v>
                </c:pt>
                <c:pt idx="137">
                  <c:v>Moët &amp; Chan</c:v>
                </c:pt>
                <c:pt idx="138">
                  <c:v>Louis Marti</c:v>
                </c:pt>
                <c:pt idx="139">
                  <c:v>Roederer</c:v>
                </c:pt>
                <c:pt idx="140">
                  <c:v>All Others</c:v>
                </c:pt>
                <c:pt idx="141">
                  <c:v>Vesselle</c:v>
                </c:pt>
                <c:pt idx="142">
                  <c:v>Pommery</c:v>
                </c:pt>
                <c:pt idx="143">
                  <c:v>Ayala</c:v>
                </c:pt>
                <c:pt idx="144">
                  <c:v>Demoiselle</c:v>
                </c:pt>
                <c:pt idx="145">
                  <c:v>Ruinart</c:v>
                </c:pt>
                <c:pt idx="146">
                  <c:v>Pommery</c:v>
                </c:pt>
                <c:pt idx="147">
                  <c:v>Piper Heids</c:v>
                </c:pt>
                <c:pt idx="148">
                  <c:v>Deutz</c:v>
                </c:pt>
                <c:pt idx="149">
                  <c:v>Nicolas</c:v>
                </c:pt>
                <c:pt idx="150">
                  <c:v>Pommery</c:v>
                </c:pt>
                <c:pt idx="151">
                  <c:v>Laurent Per</c:v>
                </c:pt>
                <c:pt idx="152">
                  <c:v>Deutz</c:v>
                </c:pt>
                <c:pt idx="153">
                  <c:v>Nicolas</c:v>
                </c:pt>
                <c:pt idx="154">
                  <c:v>Ruinart</c:v>
                </c:pt>
                <c:pt idx="155">
                  <c:v>Laurent Per</c:v>
                </c:pt>
                <c:pt idx="156">
                  <c:v>Roederer</c:v>
                </c:pt>
                <c:pt idx="157">
                  <c:v>Ruinart</c:v>
                </c:pt>
                <c:pt idx="158">
                  <c:v>Ruinart</c:v>
                </c:pt>
                <c:pt idx="159">
                  <c:v>Delamotte</c:v>
                </c:pt>
                <c:pt idx="160">
                  <c:v>Nicolas</c:v>
                </c:pt>
                <c:pt idx="161">
                  <c:v>Veuve Clicq</c:v>
                </c:pt>
                <c:pt idx="162">
                  <c:v>Nicolas</c:v>
                </c:pt>
                <c:pt idx="163">
                  <c:v>Pommery</c:v>
                </c:pt>
                <c:pt idx="164">
                  <c:v>Vesselle</c:v>
                </c:pt>
                <c:pt idx="165">
                  <c:v>Taittinger</c:v>
                </c:pt>
                <c:pt idx="166">
                  <c:v>Perrier Jou</c:v>
                </c:pt>
                <c:pt idx="167">
                  <c:v>Taittinger</c:v>
                </c:pt>
                <c:pt idx="168">
                  <c:v>Roederer</c:v>
                </c:pt>
                <c:pt idx="169">
                  <c:v>Piper Heids</c:v>
                </c:pt>
                <c:pt idx="170">
                  <c:v>Canard Duch</c:v>
                </c:pt>
                <c:pt idx="171">
                  <c:v>Besserat De</c:v>
                </c:pt>
                <c:pt idx="172">
                  <c:v>All Others</c:v>
                </c:pt>
                <c:pt idx="173">
                  <c:v>Bollinger</c:v>
                </c:pt>
                <c:pt idx="174">
                  <c:v>Ruinart</c:v>
                </c:pt>
                <c:pt idx="175">
                  <c:v>Nicolas</c:v>
                </c:pt>
                <c:pt idx="176">
                  <c:v>Roederer</c:v>
                </c:pt>
                <c:pt idx="177">
                  <c:v>Malard</c:v>
                </c:pt>
                <c:pt idx="178">
                  <c:v>Nicolas</c:v>
                </c:pt>
                <c:pt idx="179">
                  <c:v>Ruinart</c:v>
                </c:pt>
                <c:pt idx="180">
                  <c:v>Roederer</c:v>
                </c:pt>
                <c:pt idx="181">
                  <c:v>Henriot</c:v>
                </c:pt>
                <c:pt idx="182">
                  <c:v>Piper Heids</c:v>
                </c:pt>
                <c:pt idx="183">
                  <c:v>Canard Duch</c:v>
                </c:pt>
                <c:pt idx="184">
                  <c:v>Henriot</c:v>
                </c:pt>
                <c:pt idx="185">
                  <c:v>Krug</c:v>
                </c:pt>
                <c:pt idx="186">
                  <c:v>Deutz</c:v>
                </c:pt>
                <c:pt idx="187">
                  <c:v>All Others</c:v>
                </c:pt>
                <c:pt idx="188">
                  <c:v>Moët &amp; Chan</c:v>
                </c:pt>
                <c:pt idx="189">
                  <c:v>Deutz</c:v>
                </c:pt>
                <c:pt idx="190">
                  <c:v>All Others</c:v>
                </c:pt>
                <c:pt idx="191">
                  <c:v>Bollinger</c:v>
                </c:pt>
                <c:pt idx="192">
                  <c:v>Nicolas</c:v>
                </c:pt>
                <c:pt idx="193">
                  <c:v>Veuve Clicq</c:v>
                </c:pt>
                <c:pt idx="194">
                  <c:v>Roederer</c:v>
                </c:pt>
                <c:pt idx="195">
                  <c:v>De Venoge</c:v>
                </c:pt>
                <c:pt idx="196">
                  <c:v>Nicolas Feu</c:v>
                </c:pt>
                <c:pt idx="197">
                  <c:v>Laurent Per</c:v>
                </c:pt>
                <c:pt idx="198">
                  <c:v>Ruinart</c:v>
                </c:pt>
                <c:pt idx="199">
                  <c:v>All Others</c:v>
                </c:pt>
                <c:pt idx="200">
                  <c:v>Ruinart</c:v>
                </c:pt>
                <c:pt idx="201">
                  <c:v>Laurent Per</c:v>
                </c:pt>
                <c:pt idx="202">
                  <c:v>Bollinger</c:v>
                </c:pt>
                <c:pt idx="203">
                  <c:v>Roederer</c:v>
                </c:pt>
                <c:pt idx="204">
                  <c:v>De Bligny</c:v>
                </c:pt>
                <c:pt idx="205">
                  <c:v>Ruinart</c:v>
                </c:pt>
                <c:pt idx="206">
                  <c:v>Ruinart</c:v>
                </c:pt>
                <c:pt idx="207">
                  <c:v>Veuve Clicq</c:v>
                </c:pt>
                <c:pt idx="208">
                  <c:v>Roederer</c:v>
                </c:pt>
                <c:pt idx="209">
                  <c:v>Taittinger</c:v>
                </c:pt>
                <c:pt idx="210">
                  <c:v>Veuve Clicq</c:v>
                </c:pt>
                <c:pt idx="211">
                  <c:v>Ruinart</c:v>
                </c:pt>
                <c:pt idx="212">
                  <c:v>All Others</c:v>
                </c:pt>
                <c:pt idx="213">
                  <c:v>Bollinger</c:v>
                </c:pt>
                <c:pt idx="214">
                  <c:v>De Venoge</c:v>
                </c:pt>
                <c:pt idx="215">
                  <c:v>Veuve Clicq</c:v>
                </c:pt>
                <c:pt idx="216">
                  <c:v>Laurent Per</c:v>
                </c:pt>
                <c:pt idx="217">
                  <c:v>De Venoge</c:v>
                </c:pt>
                <c:pt idx="218">
                  <c:v>Laurent Per</c:v>
                </c:pt>
                <c:pt idx="219">
                  <c:v>Bollinger</c:v>
                </c:pt>
                <c:pt idx="220">
                  <c:v>Deutz</c:v>
                </c:pt>
                <c:pt idx="221">
                  <c:v>Bollinger</c:v>
                </c:pt>
                <c:pt idx="222">
                  <c:v>Martel</c:v>
                </c:pt>
                <c:pt idx="223">
                  <c:v>De Venoge</c:v>
                </c:pt>
                <c:pt idx="224">
                  <c:v>Lanson</c:v>
                </c:pt>
                <c:pt idx="225">
                  <c:v>Malard</c:v>
                </c:pt>
                <c:pt idx="226">
                  <c:v>Piper Heids</c:v>
                </c:pt>
                <c:pt idx="227">
                  <c:v>Dom Perigno</c:v>
                </c:pt>
                <c:pt idx="228">
                  <c:v>Deutz</c:v>
                </c:pt>
                <c:pt idx="229">
                  <c:v>Pommery</c:v>
                </c:pt>
                <c:pt idx="230">
                  <c:v>Pommery</c:v>
                </c:pt>
                <c:pt idx="231">
                  <c:v>Roederer</c:v>
                </c:pt>
                <c:pt idx="232">
                  <c:v>Moët &amp; Chan</c:v>
                </c:pt>
                <c:pt idx="233">
                  <c:v>Besserat De</c:v>
                </c:pt>
                <c:pt idx="234">
                  <c:v>All Others</c:v>
                </c:pt>
                <c:pt idx="235">
                  <c:v>Ayala</c:v>
                </c:pt>
                <c:pt idx="236">
                  <c:v>Roederer</c:v>
                </c:pt>
                <c:pt idx="237">
                  <c:v>Deutz</c:v>
                </c:pt>
                <c:pt idx="238">
                  <c:v>Lanson</c:v>
                </c:pt>
                <c:pt idx="239">
                  <c:v>Besserat De</c:v>
                </c:pt>
                <c:pt idx="240">
                  <c:v>Laurent Per</c:v>
                </c:pt>
                <c:pt idx="241">
                  <c:v>Deutz</c:v>
                </c:pt>
                <c:pt idx="242">
                  <c:v>All Others</c:v>
                </c:pt>
                <c:pt idx="243">
                  <c:v>Taittinger</c:v>
                </c:pt>
                <c:pt idx="244">
                  <c:v>Dom Perigno</c:v>
                </c:pt>
                <c:pt idx="245">
                  <c:v>Vranken</c:v>
                </c:pt>
                <c:pt idx="246">
                  <c:v>Laurent Per</c:v>
                </c:pt>
                <c:pt idx="247">
                  <c:v>De Venoge</c:v>
                </c:pt>
                <c:pt idx="248">
                  <c:v>All Others</c:v>
                </c:pt>
                <c:pt idx="249">
                  <c:v>De Venoge</c:v>
                </c:pt>
                <c:pt idx="250">
                  <c:v>All Others</c:v>
                </c:pt>
                <c:pt idx="251">
                  <c:v>Perrier Jou</c:v>
                </c:pt>
                <c:pt idx="252">
                  <c:v>Dom Perigno</c:v>
                </c:pt>
                <c:pt idx="253">
                  <c:v>Ruinart</c:v>
                </c:pt>
                <c:pt idx="254">
                  <c:v>Besserat De</c:v>
                </c:pt>
                <c:pt idx="255">
                  <c:v>Heidsieck &amp;</c:v>
                </c:pt>
                <c:pt idx="256">
                  <c:v>Perrier Jou</c:v>
                </c:pt>
                <c:pt idx="257">
                  <c:v>All Others</c:v>
                </c:pt>
                <c:pt idx="258">
                  <c:v>Roederer</c:v>
                </c:pt>
                <c:pt idx="259">
                  <c:v>Ayala</c:v>
                </c:pt>
                <c:pt idx="260">
                  <c:v>Besserat De</c:v>
                </c:pt>
                <c:pt idx="261">
                  <c:v>Canard Duch</c:v>
                </c:pt>
                <c:pt idx="262">
                  <c:v>Ayala</c:v>
                </c:pt>
                <c:pt idx="263">
                  <c:v>All Others</c:v>
                </c:pt>
                <c:pt idx="264">
                  <c:v>Demoiselle</c:v>
                </c:pt>
                <c:pt idx="265">
                  <c:v>Nicolas Feu</c:v>
                </c:pt>
                <c:pt idx="266">
                  <c:v>Canard Duch</c:v>
                </c:pt>
                <c:pt idx="267">
                  <c:v>Krug</c:v>
                </c:pt>
                <c:pt idx="268">
                  <c:v>Bollinger</c:v>
                </c:pt>
                <c:pt idx="269">
                  <c:v>Ruinart</c:v>
                </c:pt>
                <c:pt idx="270">
                  <c:v>Lanson</c:v>
                </c:pt>
                <c:pt idx="271">
                  <c:v>Ruinart</c:v>
                </c:pt>
                <c:pt idx="272">
                  <c:v>Bollinger</c:v>
                </c:pt>
                <c:pt idx="273">
                  <c:v>Ruinart</c:v>
                </c:pt>
                <c:pt idx="274">
                  <c:v>All Others</c:v>
                </c:pt>
                <c:pt idx="275">
                  <c:v>Laurent Per</c:v>
                </c:pt>
                <c:pt idx="276">
                  <c:v>Laurent Per</c:v>
                </c:pt>
                <c:pt idx="277">
                  <c:v>Pommery</c:v>
                </c:pt>
                <c:pt idx="278">
                  <c:v>Laurent Per</c:v>
                </c:pt>
                <c:pt idx="279">
                  <c:v>Taittinger</c:v>
                </c:pt>
                <c:pt idx="280">
                  <c:v>Bollinger</c:v>
                </c:pt>
                <c:pt idx="281">
                  <c:v>Demoiselle</c:v>
                </c:pt>
                <c:pt idx="282">
                  <c:v>Malard</c:v>
                </c:pt>
                <c:pt idx="283">
                  <c:v>Pommery</c:v>
                </c:pt>
                <c:pt idx="284">
                  <c:v>Roederer</c:v>
                </c:pt>
                <c:pt idx="285">
                  <c:v>Nicolas Feu</c:v>
                </c:pt>
                <c:pt idx="286">
                  <c:v>Laurent Per</c:v>
                </c:pt>
                <c:pt idx="287">
                  <c:v>Perrier Jou</c:v>
                </c:pt>
                <c:pt idx="288">
                  <c:v>All Others</c:v>
                </c:pt>
                <c:pt idx="289">
                  <c:v>Bollinger</c:v>
                </c:pt>
                <c:pt idx="290">
                  <c:v>All Others</c:v>
                </c:pt>
                <c:pt idx="291">
                  <c:v>Roederer</c:v>
                </c:pt>
                <c:pt idx="292">
                  <c:v>Mumm</c:v>
                </c:pt>
                <c:pt idx="293">
                  <c:v>Veuve Clicq</c:v>
                </c:pt>
                <c:pt idx="294">
                  <c:v>Pommery</c:v>
                </c:pt>
                <c:pt idx="295">
                  <c:v>Taittinger</c:v>
                </c:pt>
                <c:pt idx="296">
                  <c:v>Laurent Per</c:v>
                </c:pt>
                <c:pt idx="297">
                  <c:v>All Others</c:v>
                </c:pt>
                <c:pt idx="298">
                  <c:v>Roederer</c:v>
                </c:pt>
                <c:pt idx="299">
                  <c:v>Piper Heids</c:v>
                </c:pt>
                <c:pt idx="300">
                  <c:v>All Others</c:v>
                </c:pt>
                <c:pt idx="301">
                  <c:v>Nicolas</c:v>
                </c:pt>
                <c:pt idx="302">
                  <c:v>De Venoge</c:v>
                </c:pt>
                <c:pt idx="303">
                  <c:v>Veuve Clicq</c:v>
                </c:pt>
                <c:pt idx="304">
                  <c:v>Roederer</c:v>
                </c:pt>
                <c:pt idx="305">
                  <c:v>All Others</c:v>
                </c:pt>
                <c:pt idx="306">
                  <c:v>Ayala</c:v>
                </c:pt>
                <c:pt idx="307">
                  <c:v>Moët &amp; Chan</c:v>
                </c:pt>
                <c:pt idx="308">
                  <c:v>Lanson</c:v>
                </c:pt>
                <c:pt idx="309">
                  <c:v>Pommery</c:v>
                </c:pt>
                <c:pt idx="310">
                  <c:v>Moët &amp; Chan</c:v>
                </c:pt>
              </c:strCache>
            </c:strRef>
          </c:cat>
          <c:val>
            <c:numRef>
              <c:f>Sheet1!$C$2:$C$312</c:f>
              <c:numCache>
                <c:formatCode>General</c:formatCode>
                <c:ptCount val="311"/>
                <c:pt idx="0">
                  <c:v>0.10509127471906347</c:v>
                </c:pt>
                <c:pt idx="1">
                  <c:v>0.17196192882578437</c:v>
                </c:pt>
                <c:pt idx="2">
                  <c:v>0.22706918005872637</c:v>
                </c:pt>
                <c:pt idx="3">
                  <c:v>0.26506817845775232</c:v>
                </c:pt>
                <c:pt idx="4">
                  <c:v>0.30246876365410469</c:v>
                </c:pt>
                <c:pt idx="5">
                  <c:v>0.33946974218096859</c:v>
                </c:pt>
                <c:pt idx="6">
                  <c:v>0.37272643870307259</c:v>
                </c:pt>
                <c:pt idx="7">
                  <c:v>0.4047033527789628</c:v>
                </c:pt>
                <c:pt idx="8">
                  <c:v>0.43097608839193208</c:v>
                </c:pt>
                <c:pt idx="9">
                  <c:v>0.45718081998742188</c:v>
                </c:pt>
                <c:pt idx="10">
                  <c:v>0.47827358400185188</c:v>
                </c:pt>
                <c:pt idx="11">
                  <c:v>0.49875050924561137</c:v>
                </c:pt>
                <c:pt idx="12">
                  <c:v>0.51768696997615249</c:v>
                </c:pt>
                <c:pt idx="13">
                  <c:v>0.53602797099012123</c:v>
                </c:pt>
                <c:pt idx="14">
                  <c:v>0.55187198409843097</c:v>
                </c:pt>
                <c:pt idx="15">
                  <c:v>0.56664159280028703</c:v>
                </c:pt>
                <c:pt idx="16">
                  <c:v>0.58127404899131996</c:v>
                </c:pt>
                <c:pt idx="17">
                  <c:v>0.59563160946348637</c:v>
                </c:pt>
                <c:pt idx="18">
                  <c:v>0.60713717300063297</c:v>
                </c:pt>
                <c:pt idx="19">
                  <c:v>0.61845806981930385</c:v>
                </c:pt>
                <c:pt idx="20">
                  <c:v>0.62952581596052815</c:v>
                </c:pt>
                <c:pt idx="21">
                  <c:v>0.63976581070332283</c:v>
                </c:pt>
                <c:pt idx="22">
                  <c:v>0.649118762814207</c:v>
                </c:pt>
                <c:pt idx="23">
                  <c:v>0.65826847816275436</c:v>
                </c:pt>
                <c:pt idx="24">
                  <c:v>0.66739072609056083</c:v>
                </c:pt>
                <c:pt idx="25">
                  <c:v>0.67635917122964884</c:v>
                </c:pt>
                <c:pt idx="26">
                  <c:v>0.6848706751503093</c:v>
                </c:pt>
                <c:pt idx="27">
                  <c:v>0.69297260438588992</c:v>
                </c:pt>
                <c:pt idx="28">
                  <c:v>0.70067762200804928</c:v>
                </c:pt>
                <c:pt idx="29">
                  <c:v>0.70822854149288006</c:v>
                </c:pt>
                <c:pt idx="30">
                  <c:v>0.71568963808165897</c:v>
                </c:pt>
                <c:pt idx="31">
                  <c:v>0.72266071440767732</c:v>
                </c:pt>
                <c:pt idx="32">
                  <c:v>0.72942087490749574</c:v>
                </c:pt>
                <c:pt idx="33">
                  <c:v>0.73609638111193942</c:v>
                </c:pt>
                <c:pt idx="34">
                  <c:v>0.74269236470310906</c:v>
                </c:pt>
                <c:pt idx="35">
                  <c:v>0.74904926359438884</c:v>
                </c:pt>
                <c:pt idx="36">
                  <c:v>0.75533428201768138</c:v>
                </c:pt>
                <c:pt idx="37">
                  <c:v>0.7615839693634886</c:v>
                </c:pt>
                <c:pt idx="38">
                  <c:v>0.76750500754338802</c:v>
                </c:pt>
                <c:pt idx="39">
                  <c:v>0.77341212742003562</c:v>
                </c:pt>
                <c:pt idx="40">
                  <c:v>0.77912549860844649</c:v>
                </c:pt>
                <c:pt idx="41">
                  <c:v>0.78472811406806342</c:v>
                </c:pt>
                <c:pt idx="42">
                  <c:v>0.79032360424246129</c:v>
                </c:pt>
                <c:pt idx="43">
                  <c:v>0.79575746488997245</c:v>
                </c:pt>
                <c:pt idx="44">
                  <c:v>0.8010531023879488</c:v>
                </c:pt>
                <c:pt idx="45">
                  <c:v>0.80618552286025924</c:v>
                </c:pt>
                <c:pt idx="46">
                  <c:v>0.81125230210397115</c:v>
                </c:pt>
                <c:pt idx="47">
                  <c:v>0.81627839707663941</c:v>
                </c:pt>
                <c:pt idx="48">
                  <c:v>0.82129548391669904</c:v>
                </c:pt>
                <c:pt idx="49">
                  <c:v>0.82607599652005492</c:v>
                </c:pt>
                <c:pt idx="50">
                  <c:v>0.83072674032784055</c:v>
                </c:pt>
                <c:pt idx="51">
                  <c:v>0.83513839943573642</c:v>
                </c:pt>
                <c:pt idx="52">
                  <c:v>0.83950789752953803</c:v>
                </c:pt>
                <c:pt idx="53">
                  <c:v>0.84383955408266842</c:v>
                </c:pt>
                <c:pt idx="54">
                  <c:v>0.84793338116750194</c:v>
                </c:pt>
                <c:pt idx="55">
                  <c:v>0.85198844374725757</c:v>
                </c:pt>
                <c:pt idx="56">
                  <c:v>0.85591853694635744</c:v>
                </c:pt>
                <c:pt idx="57">
                  <c:v>0.85973853895103614</c:v>
                </c:pt>
                <c:pt idx="58">
                  <c:v>0.86354089387626032</c:v>
                </c:pt>
                <c:pt idx="59">
                  <c:v>0.86727568780692021</c:v>
                </c:pt>
                <c:pt idx="60">
                  <c:v>0.87096916985074002</c:v>
                </c:pt>
                <c:pt idx="61">
                  <c:v>0.87447625000299967</c:v>
                </c:pt>
                <c:pt idx="62">
                  <c:v>0.87784348258836875</c:v>
                </c:pt>
                <c:pt idx="63">
                  <c:v>0.88117667624642193</c:v>
                </c:pt>
                <c:pt idx="64">
                  <c:v>0.8844307903141162</c:v>
                </c:pt>
                <c:pt idx="65">
                  <c:v>0.88761760181728</c:v>
                </c:pt>
                <c:pt idx="66">
                  <c:v>0.89079843251108892</c:v>
                </c:pt>
                <c:pt idx="67">
                  <c:v>0.89363385300536591</c:v>
                </c:pt>
                <c:pt idx="68">
                  <c:v>0.89639178140806341</c:v>
                </c:pt>
                <c:pt idx="69">
                  <c:v>0.8991483069048628</c:v>
                </c:pt>
                <c:pt idx="70">
                  <c:v>0.9017744359902955</c:v>
                </c:pt>
                <c:pt idx="71">
                  <c:v>0.90435770260868498</c:v>
                </c:pt>
                <c:pt idx="72">
                  <c:v>0.90678188708195007</c:v>
                </c:pt>
                <c:pt idx="73">
                  <c:v>0.90916675327149332</c:v>
                </c:pt>
                <c:pt idx="74">
                  <c:v>0.91149782909541899</c:v>
                </c:pt>
                <c:pt idx="75">
                  <c:v>0.91382735433914153</c:v>
                </c:pt>
                <c:pt idx="76">
                  <c:v>0.91600610411739936</c:v>
                </c:pt>
                <c:pt idx="77">
                  <c:v>0.9181011225646889</c:v>
                </c:pt>
                <c:pt idx="78">
                  <c:v>0.92011366491260327</c:v>
                </c:pt>
                <c:pt idx="79">
                  <c:v>0.92203878407192297</c:v>
                </c:pt>
                <c:pt idx="80">
                  <c:v>0.92394378260717847</c:v>
                </c:pt>
                <c:pt idx="81">
                  <c:v>0.92579864571586656</c:v>
                </c:pt>
                <c:pt idx="82">
                  <c:v>0.92761880536286589</c:v>
                </c:pt>
                <c:pt idx="83">
                  <c:v>0.92942013653597022</c:v>
                </c:pt>
                <c:pt idx="84">
                  <c:v>0.93117768227762476</c:v>
                </c:pt>
                <c:pt idx="85">
                  <c:v>0.9328737955083749</c:v>
                </c:pt>
                <c:pt idx="86">
                  <c:v>0.93448647275676699</c:v>
                </c:pt>
                <c:pt idx="87">
                  <c:v>0.93607954624116252</c:v>
                </c:pt>
                <c:pt idx="88">
                  <c:v>0.93759036513764038</c:v>
                </c:pt>
                <c:pt idx="89">
                  <c:v>0.93908966543832373</c:v>
                </c:pt>
                <c:pt idx="90">
                  <c:v>0.94057685644599232</c:v>
                </c:pt>
                <c:pt idx="91">
                  <c:v>0.94204104718064796</c:v>
                </c:pt>
                <c:pt idx="92">
                  <c:v>0.94348921525320473</c:v>
                </c:pt>
                <c:pt idx="93">
                  <c:v>0.94493335920094867</c:v>
                </c:pt>
                <c:pt idx="94">
                  <c:v>0.94637687553289618</c:v>
                </c:pt>
                <c:pt idx="95">
                  <c:v>0.94782035494626737</c:v>
                </c:pt>
                <c:pt idx="96">
                  <c:v>0.94924574425726893</c:v>
                </c:pt>
                <c:pt idx="97">
                  <c:v>0.9506487239924778</c:v>
                </c:pt>
                <c:pt idx="98">
                  <c:v>0.95199591975895081</c:v>
                </c:pt>
                <c:pt idx="99">
                  <c:v>0.95329803794380474</c:v>
                </c:pt>
                <c:pt idx="100">
                  <c:v>0.95451413584596201</c:v>
                </c:pt>
                <c:pt idx="101">
                  <c:v>0.95571229132005464</c:v>
                </c:pt>
                <c:pt idx="102">
                  <c:v>0.95690007267421695</c:v>
                </c:pt>
                <c:pt idx="103">
                  <c:v>0.95805023399916556</c:v>
                </c:pt>
                <c:pt idx="104">
                  <c:v>0.95918300667469358</c:v>
                </c:pt>
                <c:pt idx="105">
                  <c:v>0.96031437644432349</c:v>
                </c:pt>
                <c:pt idx="106">
                  <c:v>0.96141658053870438</c:v>
                </c:pt>
                <c:pt idx="107">
                  <c:v>0.96248947128353113</c:v>
                </c:pt>
                <c:pt idx="108">
                  <c:v>0.96354489954178468</c:v>
                </c:pt>
                <c:pt idx="109">
                  <c:v>0.96457839816573709</c:v>
                </c:pt>
                <c:pt idx="110">
                  <c:v>0.96556397647769798</c:v>
                </c:pt>
                <c:pt idx="111">
                  <c:v>0.96652673910952724</c:v>
                </c:pt>
                <c:pt idx="112">
                  <c:v>0.96746952879159742</c:v>
                </c:pt>
                <c:pt idx="113">
                  <c:v>0.9684061161528551</c:v>
                </c:pt>
                <c:pt idx="114">
                  <c:v>0.96932298899438751</c:v>
                </c:pt>
                <c:pt idx="115">
                  <c:v>0.97017721101199883</c:v>
                </c:pt>
                <c:pt idx="116">
                  <c:v>0.97102984553083072</c:v>
                </c:pt>
                <c:pt idx="117">
                  <c:v>0.97184338327739839</c:v>
                </c:pt>
                <c:pt idx="118">
                  <c:v>0.97264791289135744</c:v>
                </c:pt>
                <c:pt idx="119">
                  <c:v>0.97344660937026672</c:v>
                </c:pt>
                <c:pt idx="120">
                  <c:v>0.97421972127582457</c:v>
                </c:pt>
                <c:pt idx="121">
                  <c:v>0.97498404656023141</c:v>
                </c:pt>
                <c:pt idx="122">
                  <c:v>0.97574667359013012</c:v>
                </c:pt>
                <c:pt idx="123">
                  <c:v>0.97640526407211503</c:v>
                </c:pt>
                <c:pt idx="124">
                  <c:v>0.97705119148244124</c:v>
                </c:pt>
                <c:pt idx="125">
                  <c:v>0.97769313168653083</c:v>
                </c:pt>
                <c:pt idx="126">
                  <c:v>0.97831026260737053</c:v>
                </c:pt>
                <c:pt idx="127">
                  <c:v>0.97891779469838147</c:v>
                </c:pt>
                <c:pt idx="128">
                  <c:v>0.97952366545346048</c:v>
                </c:pt>
                <c:pt idx="129">
                  <c:v>0.98012820713979398</c:v>
                </c:pt>
                <c:pt idx="130">
                  <c:v>0.98072451598362043</c:v>
                </c:pt>
                <c:pt idx="131">
                  <c:v>0.98131008152175392</c:v>
                </c:pt>
                <c:pt idx="132">
                  <c:v>0.98187294213548459</c:v>
                </c:pt>
                <c:pt idx="133">
                  <c:v>0.98241069811735537</c:v>
                </c:pt>
                <c:pt idx="134">
                  <c:v>0.98288901519144012</c:v>
                </c:pt>
                <c:pt idx="135">
                  <c:v>0.98333757589305548</c:v>
                </c:pt>
                <c:pt idx="136">
                  <c:v>0.98378591508321334</c:v>
                </c:pt>
                <c:pt idx="137">
                  <c:v>0.98417703048016092</c:v>
                </c:pt>
                <c:pt idx="138">
                  <c:v>0.98456785052849838</c:v>
                </c:pt>
                <c:pt idx="139">
                  <c:v>0.98493950983575451</c:v>
                </c:pt>
                <c:pt idx="140">
                  <c:v>0.98530913862131608</c:v>
                </c:pt>
                <c:pt idx="141">
                  <c:v>0.98567828746538622</c:v>
                </c:pt>
                <c:pt idx="142">
                  <c:v>0.98604728863515134</c:v>
                </c:pt>
                <c:pt idx="143">
                  <c:v>0.98640521423203709</c:v>
                </c:pt>
                <c:pt idx="144">
                  <c:v>0.98675922645983871</c:v>
                </c:pt>
                <c:pt idx="145">
                  <c:v>0.98710888229564109</c:v>
                </c:pt>
                <c:pt idx="146">
                  <c:v>0.98744417680527652</c:v>
                </c:pt>
                <c:pt idx="147">
                  <c:v>0.98777884369911551</c:v>
                </c:pt>
                <c:pt idx="148">
                  <c:v>0.98811011408393812</c:v>
                </c:pt>
                <c:pt idx="149">
                  <c:v>0.98844031383004904</c:v>
                </c:pt>
                <c:pt idx="150">
                  <c:v>0.98876608334700822</c:v>
                </c:pt>
                <c:pt idx="151">
                  <c:v>0.98909140984105226</c:v>
                </c:pt>
                <c:pt idx="152">
                  <c:v>0.98939990146431955</c:v>
                </c:pt>
                <c:pt idx="153">
                  <c:v>0.98970385210270639</c:v>
                </c:pt>
                <c:pt idx="154">
                  <c:v>0.99000687977668655</c:v>
                </c:pt>
                <c:pt idx="155">
                  <c:v>0.99030887373053134</c:v>
                </c:pt>
                <c:pt idx="156">
                  <c:v>0.99059875839136124</c:v>
                </c:pt>
                <c:pt idx="157">
                  <c:v>0.99087221428575345</c:v>
                </c:pt>
                <c:pt idx="158">
                  <c:v>0.99113625594319821</c:v>
                </c:pt>
                <c:pt idx="159">
                  <c:v>0.99137556215454559</c:v>
                </c:pt>
                <c:pt idx="160">
                  <c:v>0.99161305935565602</c:v>
                </c:pt>
                <c:pt idx="161">
                  <c:v>0.99184967051093609</c:v>
                </c:pt>
                <c:pt idx="162">
                  <c:v>0.99208510027177566</c:v>
                </c:pt>
                <c:pt idx="163">
                  <c:v>0.99231742887220908</c:v>
                </c:pt>
                <c:pt idx="164">
                  <c:v>0.99254196765305058</c:v>
                </c:pt>
                <c:pt idx="165">
                  <c:v>0.99276370062209607</c:v>
                </c:pt>
                <c:pt idx="166">
                  <c:v>0.99297753301582092</c:v>
                </c:pt>
                <c:pt idx="167">
                  <c:v>0.99317438286446402</c:v>
                </c:pt>
                <c:pt idx="168">
                  <c:v>0.99336451353222688</c:v>
                </c:pt>
                <c:pt idx="169">
                  <c:v>0.99354906949497379</c:v>
                </c:pt>
                <c:pt idx="170">
                  <c:v>0.99372779232267094</c:v>
                </c:pt>
                <c:pt idx="171">
                  <c:v>0.99390522300019879</c:v>
                </c:pt>
                <c:pt idx="172">
                  <c:v>0.99406519119115344</c:v>
                </c:pt>
                <c:pt idx="173">
                  <c:v>0.9942227596746509</c:v>
                </c:pt>
                <c:pt idx="174">
                  <c:v>0.99437586101042041</c:v>
                </c:pt>
                <c:pt idx="175">
                  <c:v>0.99452715333595287</c:v>
                </c:pt>
                <c:pt idx="176">
                  <c:v>0.99467335089796083</c:v>
                </c:pt>
                <c:pt idx="177">
                  <c:v>0.99481545049800346</c:v>
                </c:pt>
                <c:pt idx="178">
                  <c:v>0.99495732858658847</c:v>
                </c:pt>
                <c:pt idx="179">
                  <c:v>0.99509544098039449</c:v>
                </c:pt>
                <c:pt idx="180">
                  <c:v>0.99523185511969237</c:v>
                </c:pt>
                <c:pt idx="181">
                  <c:v>0.99534537974170612</c:v>
                </c:pt>
                <c:pt idx="182">
                  <c:v>0.99545355117016154</c:v>
                </c:pt>
                <c:pt idx="183">
                  <c:v>0.99556079963421029</c:v>
                </c:pt>
                <c:pt idx="184">
                  <c:v>0.9956662390880221</c:v>
                </c:pt>
                <c:pt idx="185">
                  <c:v>0.99576573465105533</c:v>
                </c:pt>
                <c:pt idx="186">
                  <c:v>0.99586408573822438</c:v>
                </c:pt>
                <c:pt idx="187">
                  <c:v>0.99596003711793624</c:v>
                </c:pt>
                <c:pt idx="188">
                  <c:v>0.99605133675703872</c:v>
                </c:pt>
                <c:pt idx="189">
                  <c:v>0.99614160267600582</c:v>
                </c:pt>
                <c:pt idx="190">
                  <c:v>0.99622784447016</c:v>
                </c:pt>
                <c:pt idx="191">
                  <c:v>0.99631275719556867</c:v>
                </c:pt>
                <c:pt idx="192">
                  <c:v>0.99639619317792671</c:v>
                </c:pt>
                <c:pt idx="193">
                  <c:v>0.9964787431144545</c:v>
                </c:pt>
                <c:pt idx="194">
                  <c:v>0.99655579218311885</c:v>
                </c:pt>
                <c:pt idx="195">
                  <c:v>0.99663154910161389</c:v>
                </c:pt>
                <c:pt idx="196">
                  <c:v>0.99670546009129568</c:v>
                </c:pt>
                <c:pt idx="197">
                  <c:v>0.99677911265094366</c:v>
                </c:pt>
                <c:pt idx="198">
                  <c:v>0.99685258061771032</c:v>
                </c:pt>
                <c:pt idx="199">
                  <c:v>0.99692483027146017</c:v>
                </c:pt>
                <c:pt idx="200">
                  <c:v>0.99699468021775284</c:v>
                </c:pt>
                <c:pt idx="201">
                  <c:v>0.99706393946682526</c:v>
                </c:pt>
                <c:pt idx="202">
                  <c:v>0.99713319871589767</c:v>
                </c:pt>
                <c:pt idx="203">
                  <c:v>0.99720186726774995</c:v>
                </c:pt>
                <c:pt idx="204">
                  <c:v>0.99726647477621311</c:v>
                </c:pt>
                <c:pt idx="205">
                  <c:v>0.99732997472738827</c:v>
                </c:pt>
                <c:pt idx="206">
                  <c:v>0.99739199793551292</c:v>
                </c:pt>
                <c:pt idx="207">
                  <c:v>0.99745254440058695</c:v>
                </c:pt>
                <c:pt idx="208">
                  <c:v>0.99751301702850848</c:v>
                </c:pt>
                <c:pt idx="209">
                  <c:v>0.99757300971493856</c:v>
                </c:pt>
                <c:pt idx="210">
                  <c:v>0.9976311564725554</c:v>
                </c:pt>
                <c:pt idx="211">
                  <c:v>0.99768930323017224</c:v>
                </c:pt>
                <c:pt idx="212">
                  <c:v>0.99774475493172177</c:v>
                </c:pt>
                <c:pt idx="213">
                  <c:v>0.99779946826174593</c:v>
                </c:pt>
                <c:pt idx="214">
                  <c:v>0.99785359089454984</c:v>
                </c:pt>
                <c:pt idx="215">
                  <c:v>0.99790734434159112</c:v>
                </c:pt>
                <c:pt idx="216">
                  <c:v>0.99796061784714096</c:v>
                </c:pt>
                <c:pt idx="217">
                  <c:v>0.99801318989974186</c:v>
                </c:pt>
                <c:pt idx="218">
                  <c:v>0.99806487590651238</c:v>
                </c:pt>
                <c:pt idx="219">
                  <c:v>0.9981126854627751</c:v>
                </c:pt>
                <c:pt idx="220">
                  <c:v>0.99815968281035994</c:v>
                </c:pt>
                <c:pt idx="221">
                  <c:v>0.99820608946072464</c:v>
                </c:pt>
                <c:pt idx="222">
                  <c:v>0.99825216384390292</c:v>
                </c:pt>
                <c:pt idx="223">
                  <c:v>0.99829794287847107</c:v>
                </c:pt>
                <c:pt idx="224">
                  <c:v>0.99834146987988703</c:v>
                </c:pt>
                <c:pt idx="225">
                  <c:v>0.99838429542835405</c:v>
                </c:pt>
                <c:pt idx="226">
                  <c:v>0.99842671487248214</c:v>
                </c:pt>
                <c:pt idx="227">
                  <c:v>0.99846750989925459</c:v>
                </c:pt>
                <c:pt idx="228">
                  <c:v>0.99850738196162037</c:v>
                </c:pt>
                <c:pt idx="229">
                  <c:v>0.99854706943110483</c:v>
                </c:pt>
                <c:pt idx="230">
                  <c:v>0.99858465254174222</c:v>
                </c:pt>
                <c:pt idx="231">
                  <c:v>0.99862168187373568</c:v>
                </c:pt>
                <c:pt idx="232">
                  <c:v>0.99865863736857663</c:v>
                </c:pt>
                <c:pt idx="233">
                  <c:v>0.99873243760252961</c:v>
                </c:pt>
                <c:pt idx="234">
                  <c:v>0.99876828554008257</c:v>
                </c:pt>
                <c:pt idx="235">
                  <c:v>0.99880402272190671</c:v>
                </c:pt>
                <c:pt idx="236">
                  <c:v>0.99883909536935811</c:v>
                </c:pt>
                <c:pt idx="237">
                  <c:v>0.9988741680168095</c:v>
                </c:pt>
                <c:pt idx="238">
                  <c:v>0.99890407206358389</c:v>
                </c:pt>
                <c:pt idx="239">
                  <c:v>0.99893382843605316</c:v>
                </c:pt>
                <c:pt idx="240">
                  <c:v>0.99896251416981074</c:v>
                </c:pt>
                <c:pt idx="241">
                  <c:v>0.99899057228777188</c:v>
                </c:pt>
                <c:pt idx="242">
                  <c:v>0.99901623069827583</c:v>
                </c:pt>
                <c:pt idx="243">
                  <c:v>0.9990397109127801</c:v>
                </c:pt>
                <c:pt idx="244">
                  <c:v>0.99906315420870817</c:v>
                </c:pt>
                <c:pt idx="245">
                  <c:v>0.9990860437259923</c:v>
                </c:pt>
                <c:pt idx="246">
                  <c:v>0.99910804719744606</c:v>
                </c:pt>
                <c:pt idx="247">
                  <c:v>0.99912964456456088</c:v>
                </c:pt>
                <c:pt idx="248">
                  <c:v>0.9991512050130994</c:v>
                </c:pt>
                <c:pt idx="249">
                  <c:v>0.99917269162448541</c:v>
                </c:pt>
                <c:pt idx="250">
                  <c:v>0.99919380905010879</c:v>
                </c:pt>
                <c:pt idx="251">
                  <c:v>0.99921485263857968</c:v>
                </c:pt>
                <c:pt idx="252">
                  <c:v>0.99925657062975881</c:v>
                </c:pt>
                <c:pt idx="253">
                  <c:v>0.9992765066609417</c:v>
                </c:pt>
                <c:pt idx="254">
                  <c:v>0.99929585199490434</c:v>
                </c:pt>
                <c:pt idx="255">
                  <c:v>0.99931504965456197</c:v>
                </c:pt>
                <c:pt idx="256">
                  <c:v>0.9993342473142196</c:v>
                </c:pt>
                <c:pt idx="257">
                  <c:v>0.99935307578811461</c:v>
                </c:pt>
                <c:pt idx="258">
                  <c:v>0.99937186734343331</c:v>
                </c:pt>
                <c:pt idx="259">
                  <c:v>0.99939014203868426</c:v>
                </c:pt>
                <c:pt idx="260">
                  <c:v>0.9994082321410539</c:v>
                </c:pt>
                <c:pt idx="261">
                  <c:v>0.99942558387189828</c:v>
                </c:pt>
                <c:pt idx="262">
                  <c:v>0.99944271409128504</c:v>
                </c:pt>
                <c:pt idx="263">
                  <c:v>0.99945947512490918</c:v>
                </c:pt>
                <c:pt idx="264">
                  <c:v>0.99947538703127925</c:v>
                </c:pt>
                <c:pt idx="265">
                  <c:v>0.99949111434476801</c:v>
                </c:pt>
                <c:pt idx="266">
                  <c:v>0.99950662014679914</c:v>
                </c:pt>
                <c:pt idx="267">
                  <c:v>0.99952175676306765</c:v>
                </c:pt>
                <c:pt idx="268">
                  <c:v>0.99953678262360734</c:v>
                </c:pt>
                <c:pt idx="269">
                  <c:v>0.99955155005411322</c:v>
                </c:pt>
                <c:pt idx="270">
                  <c:v>0.99956594829885648</c:v>
                </c:pt>
                <c:pt idx="271">
                  <c:v>0.99958027270644711</c:v>
                </c:pt>
                <c:pt idx="272">
                  <c:v>0.99959422792827513</c:v>
                </c:pt>
                <c:pt idx="273">
                  <c:v>0.9996077032086117</c:v>
                </c:pt>
                <c:pt idx="274">
                  <c:v>0.99962062471030433</c:v>
                </c:pt>
                <c:pt idx="275">
                  <c:v>0.9996328078404717</c:v>
                </c:pt>
                <c:pt idx="276">
                  <c:v>0.99964469562202896</c:v>
                </c:pt>
                <c:pt idx="277">
                  <c:v>0.99965591886921346</c:v>
                </c:pt>
                <c:pt idx="278">
                  <c:v>0.99966699444209284</c:v>
                </c:pt>
                <c:pt idx="279">
                  <c:v>0.99968873948351267</c:v>
                </c:pt>
                <c:pt idx="280">
                  <c:v>0.99973027288181049</c:v>
                </c:pt>
                <c:pt idx="281">
                  <c:v>0.99975009815726468</c:v>
                </c:pt>
                <c:pt idx="282">
                  <c:v>0.99975980774282225</c:v>
                </c:pt>
                <c:pt idx="283">
                  <c:v>0.99976940657265101</c:v>
                </c:pt>
                <c:pt idx="284">
                  <c:v>0.99977845162383583</c:v>
                </c:pt>
                <c:pt idx="285">
                  <c:v>0.99978749667502065</c:v>
                </c:pt>
                <c:pt idx="286">
                  <c:v>0.99980540218450897</c:v>
                </c:pt>
                <c:pt idx="287">
                  <c:v>0.99981341351555841</c:v>
                </c:pt>
                <c:pt idx="288">
                  <c:v>0.99982127717230274</c:v>
                </c:pt>
                <c:pt idx="289">
                  <c:v>0.99982903007331836</c:v>
                </c:pt>
                <c:pt idx="290">
                  <c:v>0.99983652454430005</c:v>
                </c:pt>
                <c:pt idx="291">
                  <c:v>0.99984390825955294</c:v>
                </c:pt>
                <c:pt idx="292">
                  <c:v>0.99985125505622963</c:v>
                </c:pt>
                <c:pt idx="293">
                  <c:v>0.99985782656280475</c:v>
                </c:pt>
                <c:pt idx="294">
                  <c:v>0.99986413963934606</c:v>
                </c:pt>
                <c:pt idx="295">
                  <c:v>0.99987041579731106</c:v>
                </c:pt>
                <c:pt idx="296">
                  <c:v>0.99987669195527606</c:v>
                </c:pt>
                <c:pt idx="297">
                  <c:v>0.99988857973683321</c:v>
                </c:pt>
                <c:pt idx="298">
                  <c:v>0.99989426519757796</c:v>
                </c:pt>
                <c:pt idx="299">
                  <c:v>0.99989969222828889</c:v>
                </c:pt>
                <c:pt idx="300">
                  <c:v>0.99991014018537183</c:v>
                </c:pt>
                <c:pt idx="301">
                  <c:v>0.9999248337787251</c:v>
                </c:pt>
                <c:pt idx="302">
                  <c:v>0.99992959627506328</c:v>
                </c:pt>
                <c:pt idx="303">
                  <c:v>0.99994569277431467</c:v>
                </c:pt>
                <c:pt idx="304">
                  <c:v>0.99995215352516098</c:v>
                </c:pt>
                <c:pt idx="305">
                  <c:v>0.99995503317410961</c:v>
                </c:pt>
                <c:pt idx="306">
                  <c:v>0.99997013287180192</c:v>
                </c:pt>
                <c:pt idx="307">
                  <c:v>0.99997681513410586</c:v>
                </c:pt>
                <c:pt idx="308">
                  <c:v>0.9999810976889526</c:v>
                </c:pt>
                <c:pt idx="309">
                  <c:v>0.99998294361776585</c:v>
                </c:pt>
                <c:pt idx="310">
                  <c:v>0.99998475262800279</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301</c:f>
              <c:strCache>
                <c:ptCount val="300"/>
                <c:pt idx="0">
                  <c:v>Ruinart</c:v>
                </c:pt>
                <c:pt idx="1">
                  <c:v>Nicolas</c:v>
                </c:pt>
                <c:pt idx="2">
                  <c:v>Ruinart</c:v>
                </c:pt>
                <c:pt idx="3">
                  <c:v>Deutz</c:v>
                </c:pt>
                <c:pt idx="4">
                  <c:v>Malard</c:v>
                </c:pt>
                <c:pt idx="5">
                  <c:v>De Bligny</c:v>
                </c:pt>
                <c:pt idx="6">
                  <c:v>Heidsieck &amp;</c:v>
                </c:pt>
                <c:pt idx="7">
                  <c:v>Ayala</c:v>
                </c:pt>
                <c:pt idx="8">
                  <c:v>Canard Duch</c:v>
                </c:pt>
                <c:pt idx="9">
                  <c:v>Ruinart</c:v>
                </c:pt>
                <c:pt idx="10">
                  <c:v>Laurent Per</c:v>
                </c:pt>
                <c:pt idx="11">
                  <c:v>Nicolas Feu</c:v>
                </c:pt>
                <c:pt idx="12">
                  <c:v>Ruinart</c:v>
                </c:pt>
                <c:pt idx="13">
                  <c:v>Demoiselle</c:v>
                </c:pt>
                <c:pt idx="14">
                  <c:v>Taittinger</c:v>
                </c:pt>
                <c:pt idx="15">
                  <c:v>Besserat De</c:v>
                </c:pt>
                <c:pt idx="16">
                  <c:v>Bollinger</c:v>
                </c:pt>
                <c:pt idx="17">
                  <c:v>Ruinart</c:v>
                </c:pt>
                <c:pt idx="18">
                  <c:v>Deutz</c:v>
                </c:pt>
                <c:pt idx="19">
                  <c:v>Ruinart</c:v>
                </c:pt>
                <c:pt idx="20">
                  <c:v>Perrier Jou</c:v>
                </c:pt>
                <c:pt idx="21">
                  <c:v>Vesselle</c:v>
                </c:pt>
                <c:pt idx="22">
                  <c:v>Pommery</c:v>
                </c:pt>
                <c:pt idx="23">
                  <c:v>All Others</c:v>
                </c:pt>
                <c:pt idx="24">
                  <c:v>Deutz</c:v>
                </c:pt>
                <c:pt idx="25">
                  <c:v>Demoiselle</c:v>
                </c:pt>
                <c:pt idx="26">
                  <c:v>Ruinart</c:v>
                </c:pt>
                <c:pt idx="27">
                  <c:v>Laurent Per</c:v>
                </c:pt>
                <c:pt idx="28">
                  <c:v>Savian</c:v>
                </c:pt>
                <c:pt idx="29">
                  <c:v>Roederer</c:v>
                </c:pt>
                <c:pt idx="30">
                  <c:v>Nicolas</c:v>
                </c:pt>
                <c:pt idx="31">
                  <c:v>Malard</c:v>
                </c:pt>
                <c:pt idx="32">
                  <c:v>Dom Perigno</c:v>
                </c:pt>
                <c:pt idx="33">
                  <c:v>Taittinger</c:v>
                </c:pt>
                <c:pt idx="34">
                  <c:v>Malard</c:v>
                </c:pt>
                <c:pt idx="35">
                  <c:v>Campari: Al</c:v>
                </c:pt>
                <c:pt idx="36">
                  <c:v>Moët &amp; Chan</c:v>
                </c:pt>
                <c:pt idx="37">
                  <c:v>Besserat De</c:v>
                </c:pt>
                <c:pt idx="38">
                  <c:v>All Others</c:v>
                </c:pt>
                <c:pt idx="39">
                  <c:v>Ruinart</c:v>
                </c:pt>
                <c:pt idx="40">
                  <c:v>Nicolas</c:v>
                </c:pt>
                <c:pt idx="41">
                  <c:v>Laurent Per</c:v>
                </c:pt>
                <c:pt idx="42">
                  <c:v>All Others</c:v>
                </c:pt>
                <c:pt idx="43">
                  <c:v>Dom Perigno</c:v>
                </c:pt>
                <c:pt idx="44">
                  <c:v>Henriot</c:v>
                </c:pt>
                <c:pt idx="45">
                  <c:v>Roederer</c:v>
                </c:pt>
                <c:pt idx="46">
                  <c:v>Veuve Clicq</c:v>
                </c:pt>
                <c:pt idx="47">
                  <c:v>Nicolas</c:v>
                </c:pt>
                <c:pt idx="48">
                  <c:v>Veuve Clicq</c:v>
                </c:pt>
                <c:pt idx="49">
                  <c:v>Veuve Clicq</c:v>
                </c:pt>
                <c:pt idx="50">
                  <c:v>De Venoge</c:v>
                </c:pt>
                <c:pt idx="51">
                  <c:v>Nicolas Feu</c:v>
                </c:pt>
                <c:pt idx="52">
                  <c:v>Piper Heids</c:v>
                </c:pt>
                <c:pt idx="53">
                  <c:v>De Bligny</c:v>
                </c:pt>
                <c:pt idx="54">
                  <c:v>All Others</c:v>
                </c:pt>
                <c:pt idx="55">
                  <c:v>Ruinart</c:v>
                </c:pt>
                <c:pt idx="56">
                  <c:v>Nicolas Feu</c:v>
                </c:pt>
                <c:pt idx="57">
                  <c:v>Nicolas Feu</c:v>
                </c:pt>
                <c:pt idx="58">
                  <c:v>Moët &amp; Chan</c:v>
                </c:pt>
                <c:pt idx="59">
                  <c:v>Deutz</c:v>
                </c:pt>
                <c:pt idx="60">
                  <c:v>Lanson</c:v>
                </c:pt>
                <c:pt idx="61">
                  <c:v>Malard</c:v>
                </c:pt>
                <c:pt idx="62">
                  <c:v>Canard Duch</c:v>
                </c:pt>
                <c:pt idx="63">
                  <c:v>Henriot</c:v>
                </c:pt>
                <c:pt idx="64">
                  <c:v>Malard</c:v>
                </c:pt>
                <c:pt idx="65">
                  <c:v>Pommery</c:v>
                </c:pt>
                <c:pt idx="66">
                  <c:v>Louis Marti</c:v>
                </c:pt>
                <c:pt idx="67">
                  <c:v>Bollinger</c:v>
                </c:pt>
                <c:pt idx="68">
                  <c:v>Ayala</c:v>
                </c:pt>
                <c:pt idx="69">
                  <c:v>Ruinart</c:v>
                </c:pt>
                <c:pt idx="70">
                  <c:v>Moët &amp; Chan</c:v>
                </c:pt>
                <c:pt idx="71">
                  <c:v>All Others</c:v>
                </c:pt>
                <c:pt idx="72">
                  <c:v>Campari: Al</c:v>
                </c:pt>
                <c:pt idx="73">
                  <c:v>Besserat De</c:v>
                </c:pt>
                <c:pt idx="74">
                  <c:v>Henriot</c:v>
                </c:pt>
                <c:pt idx="75">
                  <c:v>Ruinart</c:v>
                </c:pt>
                <c:pt idx="76">
                  <c:v>Delamotte</c:v>
                </c:pt>
                <c:pt idx="77">
                  <c:v>Canard Duch</c:v>
                </c:pt>
                <c:pt idx="78">
                  <c:v>Canard Duch</c:v>
                </c:pt>
                <c:pt idx="79">
                  <c:v>Krug</c:v>
                </c:pt>
                <c:pt idx="80">
                  <c:v>Vranken</c:v>
                </c:pt>
                <c:pt idx="81">
                  <c:v>Malard</c:v>
                </c:pt>
                <c:pt idx="82">
                  <c:v>De Venoge</c:v>
                </c:pt>
                <c:pt idx="83">
                  <c:v>Roederer</c:v>
                </c:pt>
                <c:pt idx="84">
                  <c:v>Roederer</c:v>
                </c:pt>
                <c:pt idx="85">
                  <c:v>Ruinart</c:v>
                </c:pt>
                <c:pt idx="86">
                  <c:v>Henriot</c:v>
                </c:pt>
                <c:pt idx="87">
                  <c:v>All Others</c:v>
                </c:pt>
                <c:pt idx="88">
                  <c:v>Ruinart</c:v>
                </c:pt>
                <c:pt idx="89">
                  <c:v>Vranken</c:v>
                </c:pt>
                <c:pt idx="90">
                  <c:v>Roederer</c:v>
                </c:pt>
                <c:pt idx="91">
                  <c:v>Laurent Per</c:v>
                </c:pt>
                <c:pt idx="92">
                  <c:v>De Venoge</c:v>
                </c:pt>
                <c:pt idx="93">
                  <c:v>Canard Duch</c:v>
                </c:pt>
                <c:pt idx="94">
                  <c:v>Nicolas</c:v>
                </c:pt>
                <c:pt idx="95">
                  <c:v>Roederer</c:v>
                </c:pt>
                <c:pt idx="96">
                  <c:v>Nicolas</c:v>
                </c:pt>
                <c:pt idx="97">
                  <c:v>Roederer</c:v>
                </c:pt>
                <c:pt idx="98">
                  <c:v>Dom Perigno</c:v>
                </c:pt>
                <c:pt idx="99">
                  <c:v>De Venoge</c:v>
                </c:pt>
                <c:pt idx="100">
                  <c:v>Deutz</c:v>
                </c:pt>
                <c:pt idx="101">
                  <c:v>Deutz</c:v>
                </c:pt>
                <c:pt idx="102">
                  <c:v>Lanson-Bcc:</c:v>
                </c:pt>
                <c:pt idx="103">
                  <c:v>Perrier Jou</c:v>
                </c:pt>
                <c:pt idx="104">
                  <c:v>Ruinart</c:v>
                </c:pt>
                <c:pt idx="105">
                  <c:v>Veuve Clicq</c:v>
                </c:pt>
                <c:pt idx="106">
                  <c:v>All Others</c:v>
                </c:pt>
                <c:pt idx="107">
                  <c:v>Ruinart</c:v>
                </c:pt>
                <c:pt idx="108">
                  <c:v>All Others</c:v>
                </c:pt>
                <c:pt idx="109">
                  <c:v>Roederer</c:v>
                </c:pt>
                <c:pt idx="110">
                  <c:v>All Others</c:v>
                </c:pt>
                <c:pt idx="111">
                  <c:v>All Others</c:v>
                </c:pt>
                <c:pt idx="112">
                  <c:v>Bollinger</c:v>
                </c:pt>
                <c:pt idx="113">
                  <c:v>Nicolas</c:v>
                </c:pt>
                <c:pt idx="114">
                  <c:v>Nicolas</c:v>
                </c:pt>
                <c:pt idx="115">
                  <c:v>All Others</c:v>
                </c:pt>
                <c:pt idx="116">
                  <c:v>Nicolas</c:v>
                </c:pt>
                <c:pt idx="117">
                  <c:v>Nicolas</c:v>
                </c:pt>
                <c:pt idx="118">
                  <c:v>All Others</c:v>
                </c:pt>
                <c:pt idx="119">
                  <c:v>Pommery</c:v>
                </c:pt>
                <c:pt idx="120">
                  <c:v>Nicolas</c:v>
                </c:pt>
                <c:pt idx="121">
                  <c:v>Laurent Per</c:v>
                </c:pt>
                <c:pt idx="122">
                  <c:v>Bollinger</c:v>
                </c:pt>
                <c:pt idx="123">
                  <c:v>Nicolas</c:v>
                </c:pt>
                <c:pt idx="124">
                  <c:v>Nicolas</c:v>
                </c:pt>
                <c:pt idx="125">
                  <c:v>Bollinger</c:v>
                </c:pt>
                <c:pt idx="126">
                  <c:v>Roederer</c:v>
                </c:pt>
                <c:pt idx="127">
                  <c:v>Nicolas</c:v>
                </c:pt>
                <c:pt idx="128">
                  <c:v>Ruinart</c:v>
                </c:pt>
                <c:pt idx="129">
                  <c:v>Roederer</c:v>
                </c:pt>
                <c:pt idx="130">
                  <c:v>Ruinart</c:v>
                </c:pt>
                <c:pt idx="131">
                  <c:v>Dom Perigno</c:v>
                </c:pt>
                <c:pt idx="132">
                  <c:v>Lanson</c:v>
                </c:pt>
                <c:pt idx="133">
                  <c:v>Besserat De</c:v>
                </c:pt>
                <c:pt idx="134">
                  <c:v>Nicolas Feu</c:v>
                </c:pt>
                <c:pt idx="135">
                  <c:v>Vesselle</c:v>
                </c:pt>
                <c:pt idx="136">
                  <c:v>Laurent Per</c:v>
                </c:pt>
                <c:pt idx="137">
                  <c:v>Roederer</c:v>
                </c:pt>
                <c:pt idx="138">
                  <c:v>Demoiselle</c:v>
                </c:pt>
                <c:pt idx="139">
                  <c:v>Roederer</c:v>
                </c:pt>
                <c:pt idx="140">
                  <c:v>Laurent Per</c:v>
                </c:pt>
                <c:pt idx="141">
                  <c:v>Delamotte</c:v>
                </c:pt>
                <c:pt idx="142">
                  <c:v>Canard Duch</c:v>
                </c:pt>
                <c:pt idx="143">
                  <c:v>Ruinart</c:v>
                </c:pt>
                <c:pt idx="144">
                  <c:v>Louis Marti</c:v>
                </c:pt>
                <c:pt idx="145">
                  <c:v>All Others</c:v>
                </c:pt>
                <c:pt idx="146">
                  <c:v>Demoiselle</c:v>
                </c:pt>
                <c:pt idx="147">
                  <c:v>All Others</c:v>
                </c:pt>
                <c:pt idx="148">
                  <c:v>Taittinger</c:v>
                </c:pt>
                <c:pt idx="149">
                  <c:v>Piper Heids</c:v>
                </c:pt>
                <c:pt idx="150">
                  <c:v>Canard Duch</c:v>
                </c:pt>
                <c:pt idx="151">
                  <c:v>Vranken</c:v>
                </c:pt>
                <c:pt idx="152">
                  <c:v>Roederer</c:v>
                </c:pt>
                <c:pt idx="153">
                  <c:v>Nicolas</c:v>
                </c:pt>
                <c:pt idx="154">
                  <c:v>All Others</c:v>
                </c:pt>
                <c:pt idx="155">
                  <c:v>Dom Perigno</c:v>
                </c:pt>
                <c:pt idx="156">
                  <c:v>All Others</c:v>
                </c:pt>
                <c:pt idx="157">
                  <c:v>Ruinart</c:v>
                </c:pt>
                <c:pt idx="158">
                  <c:v>Moët &amp; Chan</c:v>
                </c:pt>
                <c:pt idx="159">
                  <c:v>All Others</c:v>
                </c:pt>
                <c:pt idx="160">
                  <c:v>Perrier Jou</c:v>
                </c:pt>
                <c:pt idx="161">
                  <c:v>Pommery</c:v>
                </c:pt>
                <c:pt idx="162">
                  <c:v>Deutz</c:v>
                </c:pt>
                <c:pt idx="163">
                  <c:v>Moët &amp; Chan</c:v>
                </c:pt>
                <c:pt idx="164">
                  <c:v>All Others</c:v>
                </c:pt>
                <c:pt idx="165">
                  <c:v>Pommery</c:v>
                </c:pt>
                <c:pt idx="166">
                  <c:v>Nicolas</c:v>
                </c:pt>
                <c:pt idx="167">
                  <c:v>Ayala</c:v>
                </c:pt>
                <c:pt idx="168">
                  <c:v>Nicolas</c:v>
                </c:pt>
                <c:pt idx="169">
                  <c:v>Nicolas</c:v>
                </c:pt>
                <c:pt idx="170">
                  <c:v>Roederer</c:v>
                </c:pt>
                <c:pt idx="171">
                  <c:v>All Others</c:v>
                </c:pt>
                <c:pt idx="172">
                  <c:v>Laurent Per</c:v>
                </c:pt>
                <c:pt idx="173">
                  <c:v>Piper Heids</c:v>
                </c:pt>
                <c:pt idx="174">
                  <c:v>Malard</c:v>
                </c:pt>
                <c:pt idx="175">
                  <c:v>Dom Perigno</c:v>
                </c:pt>
                <c:pt idx="176">
                  <c:v>Deutz</c:v>
                </c:pt>
                <c:pt idx="177">
                  <c:v>Taittinger</c:v>
                </c:pt>
                <c:pt idx="178">
                  <c:v>Pommery</c:v>
                </c:pt>
                <c:pt idx="179">
                  <c:v>Vesselle</c:v>
                </c:pt>
                <c:pt idx="180">
                  <c:v>Moët &amp; Chan</c:v>
                </c:pt>
                <c:pt idx="181">
                  <c:v>Nicolas</c:v>
                </c:pt>
                <c:pt idx="182">
                  <c:v>All Others</c:v>
                </c:pt>
                <c:pt idx="183">
                  <c:v>Besserat De</c:v>
                </c:pt>
                <c:pt idx="184">
                  <c:v>Deutz</c:v>
                </c:pt>
                <c:pt idx="185">
                  <c:v>Piper Heids</c:v>
                </c:pt>
                <c:pt idx="186">
                  <c:v>De Venoge</c:v>
                </c:pt>
                <c:pt idx="187">
                  <c:v>Piper Heids</c:v>
                </c:pt>
                <c:pt idx="188">
                  <c:v>Laurent Per</c:v>
                </c:pt>
                <c:pt idx="189">
                  <c:v>All Others</c:v>
                </c:pt>
                <c:pt idx="190">
                  <c:v>Roederer</c:v>
                </c:pt>
                <c:pt idx="191">
                  <c:v>Bollinger</c:v>
                </c:pt>
                <c:pt idx="192">
                  <c:v>Ruinart</c:v>
                </c:pt>
                <c:pt idx="193">
                  <c:v>Ruinart</c:v>
                </c:pt>
                <c:pt idx="194">
                  <c:v>Bollinger</c:v>
                </c:pt>
                <c:pt idx="195">
                  <c:v>Nicolas</c:v>
                </c:pt>
                <c:pt idx="196">
                  <c:v>All Others</c:v>
                </c:pt>
                <c:pt idx="197">
                  <c:v>All Others</c:v>
                </c:pt>
                <c:pt idx="198">
                  <c:v>Pommery</c:v>
                </c:pt>
                <c:pt idx="199">
                  <c:v>All Others</c:v>
                </c:pt>
                <c:pt idx="200">
                  <c:v>Ruinart</c:v>
                </c:pt>
                <c:pt idx="201">
                  <c:v>Laurent Per</c:v>
                </c:pt>
                <c:pt idx="202">
                  <c:v>Henriot</c:v>
                </c:pt>
                <c:pt idx="203">
                  <c:v>Taittinger</c:v>
                </c:pt>
                <c:pt idx="204">
                  <c:v>Nicolas</c:v>
                </c:pt>
                <c:pt idx="205">
                  <c:v>All Others</c:v>
                </c:pt>
                <c:pt idx="206">
                  <c:v>De Venoge</c:v>
                </c:pt>
                <c:pt idx="207">
                  <c:v>De Venoge</c:v>
                </c:pt>
                <c:pt idx="208">
                  <c:v>De Venoge</c:v>
                </c:pt>
                <c:pt idx="209">
                  <c:v>Nicolas Feu</c:v>
                </c:pt>
                <c:pt idx="210">
                  <c:v>Laurent Per</c:v>
                </c:pt>
                <c:pt idx="211">
                  <c:v>All Others</c:v>
                </c:pt>
                <c:pt idx="212">
                  <c:v>Canard Duch</c:v>
                </c:pt>
                <c:pt idx="213">
                  <c:v>Henriot</c:v>
                </c:pt>
                <c:pt idx="214">
                  <c:v>All Others</c:v>
                </c:pt>
                <c:pt idx="215">
                  <c:v>Roederer</c:v>
                </c:pt>
                <c:pt idx="216">
                  <c:v>Canard Duch</c:v>
                </c:pt>
                <c:pt idx="217">
                  <c:v>All Others</c:v>
                </c:pt>
                <c:pt idx="218">
                  <c:v>Veuve Clicq</c:v>
                </c:pt>
                <c:pt idx="219">
                  <c:v>Roederer</c:v>
                </c:pt>
                <c:pt idx="220">
                  <c:v>Bollinger</c:v>
                </c:pt>
                <c:pt idx="221">
                  <c:v>Laurent Per</c:v>
                </c:pt>
                <c:pt idx="222">
                  <c:v>Roederer</c:v>
                </c:pt>
                <c:pt idx="223">
                  <c:v>Lanson</c:v>
                </c:pt>
                <c:pt idx="224">
                  <c:v>Pommery</c:v>
                </c:pt>
                <c:pt idx="225">
                  <c:v>Perrier Jou</c:v>
                </c:pt>
                <c:pt idx="226">
                  <c:v>Dom Perigno</c:v>
                </c:pt>
                <c:pt idx="227">
                  <c:v>Moët &amp; Chan</c:v>
                </c:pt>
                <c:pt idx="228">
                  <c:v>All Others</c:v>
                </c:pt>
                <c:pt idx="229">
                  <c:v>Roederer</c:v>
                </c:pt>
                <c:pt idx="230">
                  <c:v>De Bligny</c:v>
                </c:pt>
                <c:pt idx="231">
                  <c:v>Malard</c:v>
                </c:pt>
                <c:pt idx="232">
                  <c:v>Deutz</c:v>
                </c:pt>
                <c:pt idx="233">
                  <c:v>Demoiselle</c:v>
                </c:pt>
                <c:pt idx="234">
                  <c:v>All Others</c:v>
                </c:pt>
                <c:pt idx="235">
                  <c:v>De Bligny</c:v>
                </c:pt>
                <c:pt idx="236">
                  <c:v>Martel</c:v>
                </c:pt>
                <c:pt idx="237">
                  <c:v>Deutz</c:v>
                </c:pt>
                <c:pt idx="238">
                  <c:v>Ruinart</c:v>
                </c:pt>
                <c:pt idx="239">
                  <c:v>Roederer</c:v>
                </c:pt>
                <c:pt idx="240">
                  <c:v>Laurent Per</c:v>
                </c:pt>
                <c:pt idx="241">
                  <c:v>Laurent Per</c:v>
                </c:pt>
                <c:pt idx="242">
                  <c:v>Roederer</c:v>
                </c:pt>
                <c:pt idx="243">
                  <c:v>Ruinart</c:v>
                </c:pt>
                <c:pt idx="244">
                  <c:v>De Venoge</c:v>
                </c:pt>
                <c:pt idx="245">
                  <c:v>Demoiselle</c:v>
                </c:pt>
                <c:pt idx="246">
                  <c:v>Pommery</c:v>
                </c:pt>
                <c:pt idx="247">
                  <c:v>Moët &amp; Chan</c:v>
                </c:pt>
                <c:pt idx="248">
                  <c:v>Perrier Jou</c:v>
                </c:pt>
                <c:pt idx="249">
                  <c:v>Bollinger</c:v>
                </c:pt>
                <c:pt idx="250">
                  <c:v>All Others</c:v>
                </c:pt>
                <c:pt idx="251">
                  <c:v>Laurent Per</c:v>
                </c:pt>
                <c:pt idx="252">
                  <c:v>Roederer</c:v>
                </c:pt>
                <c:pt idx="253">
                  <c:v>Veuve Clicq</c:v>
                </c:pt>
                <c:pt idx="254">
                  <c:v>All Others</c:v>
                </c:pt>
                <c:pt idx="255">
                  <c:v>Ayala</c:v>
                </c:pt>
                <c:pt idx="256">
                  <c:v>All Others</c:v>
                </c:pt>
                <c:pt idx="257">
                  <c:v>Roederer</c:v>
                </c:pt>
                <c:pt idx="258">
                  <c:v>Roederer</c:v>
                </c:pt>
                <c:pt idx="259">
                  <c:v>Roederer</c:v>
                </c:pt>
                <c:pt idx="260">
                  <c:v>Roederer</c:v>
                </c:pt>
                <c:pt idx="261">
                  <c:v>De Venoge</c:v>
                </c:pt>
                <c:pt idx="262">
                  <c:v>Veuve Clicq</c:v>
                </c:pt>
                <c:pt idx="263">
                  <c:v>Veuve Clicq</c:v>
                </c:pt>
                <c:pt idx="264">
                  <c:v>Veuve Clicq</c:v>
                </c:pt>
                <c:pt idx="265">
                  <c:v>Deutz</c:v>
                </c:pt>
                <c:pt idx="266">
                  <c:v>Demoiselle</c:v>
                </c:pt>
                <c:pt idx="267">
                  <c:v>Malard</c:v>
                </c:pt>
                <c:pt idx="268">
                  <c:v>Veuve Clicq</c:v>
                </c:pt>
                <c:pt idx="269">
                  <c:v>Roederer</c:v>
                </c:pt>
                <c:pt idx="270">
                  <c:v>Nicolas</c:v>
                </c:pt>
                <c:pt idx="271">
                  <c:v>De Venoge</c:v>
                </c:pt>
                <c:pt idx="272">
                  <c:v>De Venoge</c:v>
                </c:pt>
                <c:pt idx="273">
                  <c:v>Roederer</c:v>
                </c:pt>
                <c:pt idx="274">
                  <c:v>Deutz</c:v>
                </c:pt>
                <c:pt idx="275">
                  <c:v>Ayala</c:v>
                </c:pt>
                <c:pt idx="276">
                  <c:v>All Others</c:v>
                </c:pt>
                <c:pt idx="277">
                  <c:v>Laurent Per</c:v>
                </c:pt>
                <c:pt idx="278">
                  <c:v>Bollinger</c:v>
                </c:pt>
                <c:pt idx="279">
                  <c:v>Ruinart</c:v>
                </c:pt>
                <c:pt idx="280">
                  <c:v>De Bligny</c:v>
                </c:pt>
                <c:pt idx="281">
                  <c:v>Vesselle</c:v>
                </c:pt>
                <c:pt idx="282">
                  <c:v>Roederer</c:v>
                </c:pt>
                <c:pt idx="283">
                  <c:v>Besserat De</c:v>
                </c:pt>
                <c:pt idx="284">
                  <c:v>Taittinger</c:v>
                </c:pt>
                <c:pt idx="285">
                  <c:v>Roederer</c:v>
                </c:pt>
                <c:pt idx="286">
                  <c:v>Roederer</c:v>
                </c:pt>
                <c:pt idx="287">
                  <c:v>Bollinger</c:v>
                </c:pt>
                <c:pt idx="288">
                  <c:v>Laurent Per</c:v>
                </c:pt>
                <c:pt idx="289">
                  <c:v>All Others</c:v>
                </c:pt>
                <c:pt idx="290">
                  <c:v>Nicolas Feu</c:v>
                </c:pt>
                <c:pt idx="291">
                  <c:v>Besserat De</c:v>
                </c:pt>
                <c:pt idx="292">
                  <c:v>Perrier Jou</c:v>
                </c:pt>
                <c:pt idx="293">
                  <c:v>Moët &amp; Chan</c:v>
                </c:pt>
                <c:pt idx="294">
                  <c:v>All Others</c:v>
                </c:pt>
                <c:pt idx="295">
                  <c:v>Besserat De</c:v>
                </c:pt>
                <c:pt idx="296">
                  <c:v>Vranken Pom</c:v>
                </c:pt>
                <c:pt idx="297">
                  <c:v>Malard</c:v>
                </c:pt>
                <c:pt idx="298">
                  <c:v>Veuve Clicq</c:v>
                </c:pt>
                <c:pt idx="299">
                  <c:v>All Others</c:v>
                </c:pt>
              </c:strCache>
            </c:strRef>
          </c:cat>
          <c:val>
            <c:numRef>
              <c:f>Sheet1!$B$2:$B$301</c:f>
              <c:numCache>
                <c:formatCode>General</c:formatCode>
                <c:ptCount val="300"/>
                <c:pt idx="0">
                  <c:v>0.99</c:v>
                </c:pt>
                <c:pt idx="1">
                  <c:v>0.99</c:v>
                </c:pt>
                <c:pt idx="2">
                  <c:v>0.84</c:v>
                </c:pt>
                <c:pt idx="3">
                  <c:v>0.98</c:v>
                </c:pt>
                <c:pt idx="4">
                  <c:v>0.91</c:v>
                </c:pt>
                <c:pt idx="5">
                  <c:v>0.91</c:v>
                </c:pt>
                <c:pt idx="6">
                  <c:v>0.89</c:v>
                </c:pt>
                <c:pt idx="7">
                  <c:v>0.89</c:v>
                </c:pt>
                <c:pt idx="8">
                  <c:v>0.96</c:v>
                </c:pt>
                <c:pt idx="9">
                  <c:v>0.61</c:v>
                </c:pt>
                <c:pt idx="10">
                  <c:v>0.92</c:v>
                </c:pt>
                <c:pt idx="11">
                  <c:v>0.93</c:v>
                </c:pt>
                <c:pt idx="12">
                  <c:v>0.69</c:v>
                </c:pt>
                <c:pt idx="13">
                  <c:v>0.9</c:v>
                </c:pt>
                <c:pt idx="14">
                  <c:v>0.86</c:v>
                </c:pt>
                <c:pt idx="15">
                  <c:v>0.81</c:v>
                </c:pt>
                <c:pt idx="16">
                  <c:v>0.8</c:v>
                </c:pt>
                <c:pt idx="17">
                  <c:v>0.68</c:v>
                </c:pt>
                <c:pt idx="18">
                  <c:v>0.65</c:v>
                </c:pt>
                <c:pt idx="19">
                  <c:v>0.47</c:v>
                </c:pt>
                <c:pt idx="20">
                  <c:v>0.69</c:v>
                </c:pt>
                <c:pt idx="21">
                  <c:v>0.67</c:v>
                </c:pt>
                <c:pt idx="22">
                  <c:v>0.69</c:v>
                </c:pt>
                <c:pt idx="23">
                  <c:v>0.68</c:v>
                </c:pt>
                <c:pt idx="24">
                  <c:v>0.63</c:v>
                </c:pt>
                <c:pt idx="25">
                  <c:v>0.75</c:v>
                </c:pt>
                <c:pt idx="26">
                  <c:v>0.28000000000000003</c:v>
                </c:pt>
                <c:pt idx="27">
                  <c:v>0.63</c:v>
                </c:pt>
                <c:pt idx="28">
                  <c:v>0.64</c:v>
                </c:pt>
                <c:pt idx="29">
                  <c:v>0.54</c:v>
                </c:pt>
                <c:pt idx="30">
                  <c:v>0.56999999999999995</c:v>
                </c:pt>
                <c:pt idx="31">
                  <c:v>0.6</c:v>
                </c:pt>
                <c:pt idx="32">
                  <c:v>0.24</c:v>
                </c:pt>
                <c:pt idx="33">
                  <c:v>0.52</c:v>
                </c:pt>
                <c:pt idx="34">
                  <c:v>0.62</c:v>
                </c:pt>
                <c:pt idx="35">
                  <c:v>0.5</c:v>
                </c:pt>
                <c:pt idx="36">
                  <c:v>0.56000000000000005</c:v>
                </c:pt>
                <c:pt idx="37">
                  <c:v>0.46</c:v>
                </c:pt>
                <c:pt idx="38">
                  <c:v>0.52</c:v>
                </c:pt>
                <c:pt idx="39">
                  <c:v>0.43</c:v>
                </c:pt>
                <c:pt idx="40">
                  <c:v>0.61</c:v>
                </c:pt>
                <c:pt idx="41">
                  <c:v>0.48</c:v>
                </c:pt>
                <c:pt idx="42">
                  <c:v>0.1</c:v>
                </c:pt>
                <c:pt idx="43">
                  <c:v>0.18</c:v>
                </c:pt>
                <c:pt idx="44">
                  <c:v>0.53</c:v>
                </c:pt>
                <c:pt idx="45">
                  <c:v>0.42</c:v>
                </c:pt>
                <c:pt idx="46">
                  <c:v>0.52</c:v>
                </c:pt>
                <c:pt idx="47">
                  <c:v>0.74</c:v>
                </c:pt>
                <c:pt idx="48">
                  <c:v>0.39</c:v>
                </c:pt>
                <c:pt idx="49">
                  <c:v>0.47</c:v>
                </c:pt>
                <c:pt idx="50">
                  <c:v>0.47</c:v>
                </c:pt>
                <c:pt idx="51">
                  <c:v>0.49</c:v>
                </c:pt>
                <c:pt idx="52">
                  <c:v>0.56999999999999995</c:v>
                </c:pt>
                <c:pt idx="53">
                  <c:v>0.62</c:v>
                </c:pt>
                <c:pt idx="54">
                  <c:v>0.36</c:v>
                </c:pt>
                <c:pt idx="55">
                  <c:v>0.53</c:v>
                </c:pt>
                <c:pt idx="56">
                  <c:v>0.41</c:v>
                </c:pt>
                <c:pt idx="57">
                  <c:v>0.42</c:v>
                </c:pt>
                <c:pt idx="58">
                  <c:v>0.44</c:v>
                </c:pt>
                <c:pt idx="59">
                  <c:v>0.67</c:v>
                </c:pt>
                <c:pt idx="60">
                  <c:v>0.46</c:v>
                </c:pt>
                <c:pt idx="61">
                  <c:v>0.36</c:v>
                </c:pt>
                <c:pt idx="62">
                  <c:v>0.71</c:v>
                </c:pt>
                <c:pt idx="63">
                  <c:v>0.41</c:v>
                </c:pt>
                <c:pt idx="64">
                  <c:v>0.45</c:v>
                </c:pt>
                <c:pt idx="65">
                  <c:v>0.43</c:v>
                </c:pt>
                <c:pt idx="66">
                  <c:v>0.39</c:v>
                </c:pt>
                <c:pt idx="67">
                  <c:v>0.2</c:v>
                </c:pt>
                <c:pt idx="68">
                  <c:v>0.34</c:v>
                </c:pt>
                <c:pt idx="69">
                  <c:v>0.3</c:v>
                </c:pt>
                <c:pt idx="70">
                  <c:v>0.37</c:v>
                </c:pt>
                <c:pt idx="71">
                  <c:v>0.08</c:v>
                </c:pt>
                <c:pt idx="72">
                  <c:v>0.34</c:v>
                </c:pt>
                <c:pt idx="73">
                  <c:v>0.35</c:v>
                </c:pt>
                <c:pt idx="74">
                  <c:v>0.49</c:v>
                </c:pt>
                <c:pt idx="75">
                  <c:v>0.34</c:v>
                </c:pt>
                <c:pt idx="76">
                  <c:v>0.22</c:v>
                </c:pt>
                <c:pt idx="77">
                  <c:v>0.22</c:v>
                </c:pt>
                <c:pt idx="78">
                  <c:v>0.3</c:v>
                </c:pt>
                <c:pt idx="79">
                  <c:v>0.08</c:v>
                </c:pt>
                <c:pt idx="80">
                  <c:v>0.3</c:v>
                </c:pt>
                <c:pt idx="81">
                  <c:v>0.43</c:v>
                </c:pt>
                <c:pt idx="82">
                  <c:v>0.2</c:v>
                </c:pt>
                <c:pt idx="83">
                  <c:v>0.12</c:v>
                </c:pt>
                <c:pt idx="84">
                  <c:v>0.23</c:v>
                </c:pt>
                <c:pt idx="85">
                  <c:v>0.13</c:v>
                </c:pt>
                <c:pt idx="86">
                  <c:v>0.25</c:v>
                </c:pt>
                <c:pt idx="87">
                  <c:v>7.0000000000000007E-2</c:v>
                </c:pt>
                <c:pt idx="88">
                  <c:v>0.11</c:v>
                </c:pt>
                <c:pt idx="89">
                  <c:v>0.18</c:v>
                </c:pt>
                <c:pt idx="90">
                  <c:v>7.0000000000000007E-2</c:v>
                </c:pt>
                <c:pt idx="91">
                  <c:v>0.24</c:v>
                </c:pt>
                <c:pt idx="92">
                  <c:v>0.34</c:v>
                </c:pt>
                <c:pt idx="93">
                  <c:v>0.25</c:v>
                </c:pt>
                <c:pt idx="94">
                  <c:v>0.24</c:v>
                </c:pt>
                <c:pt idx="95">
                  <c:v>0.16</c:v>
                </c:pt>
                <c:pt idx="96">
                  <c:v>0.26</c:v>
                </c:pt>
                <c:pt idx="97">
                  <c:v>0.21</c:v>
                </c:pt>
                <c:pt idx="98">
                  <c:v>0.13</c:v>
                </c:pt>
                <c:pt idx="99">
                  <c:v>0.15</c:v>
                </c:pt>
                <c:pt idx="100">
                  <c:v>7.0000000000000007E-2</c:v>
                </c:pt>
                <c:pt idx="101">
                  <c:v>0.45</c:v>
                </c:pt>
                <c:pt idx="102">
                  <c:v>7.0000000000000007E-2</c:v>
                </c:pt>
                <c:pt idx="103">
                  <c:v>0.22</c:v>
                </c:pt>
                <c:pt idx="104">
                  <c:v>0.26</c:v>
                </c:pt>
                <c:pt idx="105">
                  <c:v>0.12</c:v>
                </c:pt>
                <c:pt idx="106">
                  <c:v>0.08</c:v>
                </c:pt>
                <c:pt idx="107">
                  <c:v>7.0000000000000007E-2</c:v>
                </c:pt>
                <c:pt idx="108">
                  <c:v>0.19</c:v>
                </c:pt>
                <c:pt idx="109">
                  <c:v>0.21</c:v>
                </c:pt>
                <c:pt idx="110">
                  <c:v>7.0000000000000007E-2</c:v>
                </c:pt>
                <c:pt idx="111">
                  <c:v>0.06</c:v>
                </c:pt>
                <c:pt idx="112">
                  <c:v>0.12</c:v>
                </c:pt>
                <c:pt idx="113">
                  <c:v>0.16</c:v>
                </c:pt>
                <c:pt idx="114">
                  <c:v>0.28000000000000003</c:v>
                </c:pt>
                <c:pt idx="115">
                  <c:v>0.2</c:v>
                </c:pt>
                <c:pt idx="116">
                  <c:v>0.46</c:v>
                </c:pt>
                <c:pt idx="117">
                  <c:v>0.28000000000000003</c:v>
                </c:pt>
                <c:pt idx="118">
                  <c:v>7.0000000000000007E-2</c:v>
                </c:pt>
                <c:pt idx="119">
                  <c:v>0.14000000000000001</c:v>
                </c:pt>
                <c:pt idx="120">
                  <c:v>0.14000000000000001</c:v>
                </c:pt>
                <c:pt idx="121">
                  <c:v>0.14000000000000001</c:v>
                </c:pt>
                <c:pt idx="122">
                  <c:v>0.05</c:v>
                </c:pt>
                <c:pt idx="123">
                  <c:v>0.19</c:v>
                </c:pt>
                <c:pt idx="124">
                  <c:v>0.25</c:v>
                </c:pt>
                <c:pt idx="125">
                  <c:v>7.0000000000000007E-2</c:v>
                </c:pt>
                <c:pt idx="126">
                  <c:v>0.22</c:v>
                </c:pt>
                <c:pt idx="127">
                  <c:v>0.11</c:v>
                </c:pt>
                <c:pt idx="128">
                  <c:v>0.09</c:v>
                </c:pt>
                <c:pt idx="129">
                  <c:v>0.04</c:v>
                </c:pt>
                <c:pt idx="130">
                  <c:v>0.03</c:v>
                </c:pt>
                <c:pt idx="131">
                  <c:v>0.05</c:v>
                </c:pt>
                <c:pt idx="132">
                  <c:v>0.15</c:v>
                </c:pt>
                <c:pt idx="133">
                  <c:v>0.17</c:v>
                </c:pt>
                <c:pt idx="134">
                  <c:v>0.2</c:v>
                </c:pt>
                <c:pt idx="135">
                  <c:v>0.16</c:v>
                </c:pt>
                <c:pt idx="136">
                  <c:v>0.06</c:v>
                </c:pt>
                <c:pt idx="137">
                  <c:v>0.19</c:v>
                </c:pt>
                <c:pt idx="138">
                  <c:v>0.18</c:v>
                </c:pt>
                <c:pt idx="139">
                  <c:v>0.06</c:v>
                </c:pt>
                <c:pt idx="140">
                  <c:v>0.06</c:v>
                </c:pt>
                <c:pt idx="141">
                  <c:v>0.13</c:v>
                </c:pt>
                <c:pt idx="142">
                  <c:v>0.11</c:v>
                </c:pt>
                <c:pt idx="143">
                  <c:v>0.05</c:v>
                </c:pt>
                <c:pt idx="144">
                  <c:v>0.15</c:v>
                </c:pt>
                <c:pt idx="145">
                  <c:v>7.0000000000000007E-2</c:v>
                </c:pt>
                <c:pt idx="146">
                  <c:v>0.2</c:v>
                </c:pt>
                <c:pt idx="147">
                  <c:v>0.11</c:v>
                </c:pt>
                <c:pt idx="148">
                  <c:v>7.0000000000000007E-2</c:v>
                </c:pt>
                <c:pt idx="149">
                  <c:v>0.04</c:v>
                </c:pt>
                <c:pt idx="150">
                  <c:v>0.09</c:v>
                </c:pt>
                <c:pt idx="151">
                  <c:v>7.0000000000000007E-2</c:v>
                </c:pt>
                <c:pt idx="152">
                  <c:v>0.17</c:v>
                </c:pt>
                <c:pt idx="153">
                  <c:v>0.08</c:v>
                </c:pt>
                <c:pt idx="154">
                  <c:v>0.08</c:v>
                </c:pt>
                <c:pt idx="155">
                  <c:v>0.02</c:v>
                </c:pt>
                <c:pt idx="156">
                  <c:v>0.05</c:v>
                </c:pt>
                <c:pt idx="157">
                  <c:v>7.0000000000000007E-2</c:v>
                </c:pt>
                <c:pt idx="158">
                  <c:v>0.11</c:v>
                </c:pt>
                <c:pt idx="159">
                  <c:v>0.04</c:v>
                </c:pt>
                <c:pt idx="160">
                  <c:v>0.05</c:v>
                </c:pt>
                <c:pt idx="161">
                  <c:v>0.06</c:v>
                </c:pt>
                <c:pt idx="162">
                  <c:v>0.03</c:v>
                </c:pt>
                <c:pt idx="163">
                  <c:v>0.05</c:v>
                </c:pt>
                <c:pt idx="164">
                  <c:v>0.06</c:v>
                </c:pt>
                <c:pt idx="165">
                  <c:v>0.14000000000000001</c:v>
                </c:pt>
                <c:pt idx="166">
                  <c:v>0.09</c:v>
                </c:pt>
                <c:pt idx="167">
                  <c:v>0.03</c:v>
                </c:pt>
                <c:pt idx="168">
                  <c:v>0.11</c:v>
                </c:pt>
                <c:pt idx="169">
                  <c:v>0.11</c:v>
                </c:pt>
                <c:pt idx="170">
                  <c:v>7.0000000000000007E-2</c:v>
                </c:pt>
                <c:pt idx="171">
                  <c:v>7.0000000000000007E-2</c:v>
                </c:pt>
                <c:pt idx="172">
                  <c:v>0.02</c:v>
                </c:pt>
                <c:pt idx="173">
                  <c:v>0.09</c:v>
                </c:pt>
                <c:pt idx="174">
                  <c:v>0.04</c:v>
                </c:pt>
                <c:pt idx="175">
                  <c:v>0.02</c:v>
                </c:pt>
                <c:pt idx="176">
                  <c:v>0.04</c:v>
                </c:pt>
                <c:pt idx="177">
                  <c:v>0.04</c:v>
                </c:pt>
                <c:pt idx="178">
                  <c:v>0.1</c:v>
                </c:pt>
                <c:pt idx="179">
                  <c:v>0.06</c:v>
                </c:pt>
                <c:pt idx="180">
                  <c:v>0.03</c:v>
                </c:pt>
                <c:pt idx="181">
                  <c:v>0.08</c:v>
                </c:pt>
                <c:pt idx="182">
                  <c:v>0.06</c:v>
                </c:pt>
                <c:pt idx="183">
                  <c:v>0.1</c:v>
                </c:pt>
                <c:pt idx="184">
                  <c:v>0.04</c:v>
                </c:pt>
                <c:pt idx="185">
                  <c:v>0.06</c:v>
                </c:pt>
                <c:pt idx="186">
                  <c:v>0.06</c:v>
                </c:pt>
                <c:pt idx="187">
                  <c:v>0.04</c:v>
                </c:pt>
                <c:pt idx="188">
                  <c:v>0.06</c:v>
                </c:pt>
                <c:pt idx="189">
                  <c:v>0.05</c:v>
                </c:pt>
                <c:pt idx="190">
                  <c:v>0.03</c:v>
                </c:pt>
                <c:pt idx="191">
                  <c:v>0.04</c:v>
                </c:pt>
                <c:pt idx="192">
                  <c:v>0.02</c:v>
                </c:pt>
                <c:pt idx="193">
                  <c:v>0.04</c:v>
                </c:pt>
                <c:pt idx="194">
                  <c:v>0.04</c:v>
                </c:pt>
                <c:pt idx="195">
                  <c:v>0.09</c:v>
                </c:pt>
                <c:pt idx="196">
                  <c:v>0.04</c:v>
                </c:pt>
                <c:pt idx="197">
                  <c:v>0.05</c:v>
                </c:pt>
                <c:pt idx="198">
                  <c:v>0.06</c:v>
                </c:pt>
                <c:pt idx="199">
                  <c:v>0.01</c:v>
                </c:pt>
                <c:pt idx="200">
                  <c:v>0.03</c:v>
                </c:pt>
                <c:pt idx="201">
                  <c:v>7.0000000000000007E-2</c:v>
                </c:pt>
                <c:pt idx="202">
                  <c:v>0.02</c:v>
                </c:pt>
                <c:pt idx="203">
                  <c:v>0.03</c:v>
                </c:pt>
                <c:pt idx="204">
                  <c:v>0.04</c:v>
                </c:pt>
                <c:pt idx="205">
                  <c:v>0.04</c:v>
                </c:pt>
                <c:pt idx="206">
                  <c:v>0.03</c:v>
                </c:pt>
                <c:pt idx="207">
                  <c:v>0.04</c:v>
                </c:pt>
                <c:pt idx="208">
                  <c:v>0.02</c:v>
                </c:pt>
                <c:pt idx="209">
                  <c:v>0.03</c:v>
                </c:pt>
                <c:pt idx="210">
                  <c:v>0.01</c:v>
                </c:pt>
                <c:pt idx="211">
                  <c:v>0.05</c:v>
                </c:pt>
                <c:pt idx="212">
                  <c:v>0.09</c:v>
                </c:pt>
                <c:pt idx="213">
                  <c:v>0.02</c:v>
                </c:pt>
                <c:pt idx="214">
                  <c:v>0.05</c:v>
                </c:pt>
                <c:pt idx="215">
                  <c:v>0.02</c:v>
                </c:pt>
                <c:pt idx="216">
                  <c:v>0.01</c:v>
                </c:pt>
                <c:pt idx="217">
                  <c:v>0.04</c:v>
                </c:pt>
                <c:pt idx="218">
                  <c:v>0.02</c:v>
                </c:pt>
                <c:pt idx="219">
                  <c:v>0.03</c:v>
                </c:pt>
                <c:pt idx="220">
                  <c:v>0.03</c:v>
                </c:pt>
                <c:pt idx="221">
                  <c:v>0.02</c:v>
                </c:pt>
                <c:pt idx="222">
                  <c:v>0.03</c:v>
                </c:pt>
                <c:pt idx="223">
                  <c:v>0.02</c:v>
                </c:pt>
                <c:pt idx="224">
                  <c:v>0.02</c:v>
                </c:pt>
                <c:pt idx="225">
                  <c:v>0.02</c:v>
                </c:pt>
                <c:pt idx="226">
                  <c:v>0.01</c:v>
                </c:pt>
                <c:pt idx="227">
                  <c:v>0.03</c:v>
                </c:pt>
                <c:pt idx="228">
                  <c:v>0.02</c:v>
                </c:pt>
                <c:pt idx="229">
                  <c:v>0.02</c:v>
                </c:pt>
                <c:pt idx="230">
                  <c:v>0.01</c:v>
                </c:pt>
                <c:pt idx="231">
                  <c:v>0.02</c:v>
                </c:pt>
                <c:pt idx="232">
                  <c:v>0.01</c:v>
                </c:pt>
                <c:pt idx="233">
                  <c:v>0.04</c:v>
                </c:pt>
                <c:pt idx="234">
                  <c:v>0.03</c:v>
                </c:pt>
                <c:pt idx="235">
                  <c:v>0.03</c:v>
                </c:pt>
                <c:pt idx="236">
                  <c:v>0.05</c:v>
                </c:pt>
                <c:pt idx="237">
                  <c:v>0.01</c:v>
                </c:pt>
                <c:pt idx="238">
                  <c:v>0.01</c:v>
                </c:pt>
                <c:pt idx="239">
                  <c:v>0.01</c:v>
                </c:pt>
                <c:pt idx="240">
                  <c:v>0.02</c:v>
                </c:pt>
                <c:pt idx="241">
                  <c:v>0.02</c:v>
                </c:pt>
                <c:pt idx="242">
                  <c:v>0.03</c:v>
                </c:pt>
                <c:pt idx="243">
                  <c:v>0.02</c:v>
                </c:pt>
                <c:pt idx="244">
                  <c:v>0.02</c:v>
                </c:pt>
                <c:pt idx="245">
                  <c:v>0.03</c:v>
                </c:pt>
                <c:pt idx="246">
                  <c:v>0.01</c:v>
                </c:pt>
                <c:pt idx="247">
                  <c:v>0.02</c:v>
                </c:pt>
                <c:pt idx="248">
                  <c:v>0.02</c:v>
                </c:pt>
                <c:pt idx="249">
                  <c:v>0.01</c:v>
                </c:pt>
                <c:pt idx="250">
                  <c:v>0.01</c:v>
                </c:pt>
                <c:pt idx="251">
                  <c:v>0.01</c:v>
                </c:pt>
                <c:pt idx="252">
                  <c:v>0.01</c:v>
                </c:pt>
                <c:pt idx="253">
                  <c:v>0.01</c:v>
                </c:pt>
                <c:pt idx="254">
                  <c:v>0.03</c:v>
                </c:pt>
                <c:pt idx="255">
                  <c:v>0.01</c:v>
                </c:pt>
                <c:pt idx="256">
                  <c:v>0.01</c:v>
                </c:pt>
                <c:pt idx="257">
                  <c:v>0.01</c:v>
                </c:pt>
                <c:pt idx="258">
                  <c:v>0.01</c:v>
                </c:pt>
                <c:pt idx="259">
                  <c:v>0.01</c:v>
                </c:pt>
                <c:pt idx="260">
                  <c:v>0.01</c:v>
                </c:pt>
                <c:pt idx="261">
                  <c:v>0.01</c:v>
                </c:pt>
                <c:pt idx="262">
                  <c:v>0.03</c:v>
                </c:pt>
                <c:pt idx="263">
                  <c:v>0.02</c:v>
                </c:pt>
                <c:pt idx="264">
                  <c:v>0.01</c:v>
                </c:pt>
                <c:pt idx="265">
                  <c:v>0.02</c:v>
                </c:pt>
                <c:pt idx="266">
                  <c:v>0.03</c:v>
                </c:pt>
                <c:pt idx="267">
                  <c:v>0.01</c:v>
                </c:pt>
                <c:pt idx="268">
                  <c:v>0.03</c:v>
                </c:pt>
                <c:pt idx="269">
                  <c:v>0.01</c:v>
                </c:pt>
                <c:pt idx="270">
                  <c:v>0.01</c:v>
                </c:pt>
                <c:pt idx="271">
                  <c:v>0.01</c:v>
                </c:pt>
                <c:pt idx="272">
                  <c:v>0.02</c:v>
                </c:pt>
                <c:pt idx="273">
                  <c:v>0.01</c:v>
                </c:pt>
                <c:pt idx="274">
                  <c:v>0.01</c:v>
                </c:pt>
                <c:pt idx="275">
                  <c:v>0.01</c:v>
                </c:pt>
                <c:pt idx="276">
                  <c:v>0.01</c:v>
                </c:pt>
                <c:pt idx="277">
                  <c:v>0.01</c:v>
                </c:pt>
                <c:pt idx="278">
                  <c:v>0.02</c:v>
                </c:pt>
                <c:pt idx="279">
                  <c:v>0.01</c:v>
                </c:pt>
                <c:pt idx="280">
                  <c:v>0.01</c:v>
                </c:pt>
                <c:pt idx="281">
                  <c:v>0.01</c:v>
                </c:pt>
                <c:pt idx="282">
                  <c:v>0.01</c:v>
                </c:pt>
                <c:pt idx="283">
                  <c:v>0.02</c:v>
                </c:pt>
                <c:pt idx="284">
                  <c:v>0.01</c:v>
                </c:pt>
                <c:pt idx="285">
                  <c:v>0.01</c:v>
                </c:pt>
                <c:pt idx="286">
                  <c:v>0.01</c:v>
                </c:pt>
                <c:pt idx="287">
                  <c:v>0.01</c:v>
                </c:pt>
                <c:pt idx="288">
                  <c:v>0.01</c:v>
                </c:pt>
                <c:pt idx="289">
                  <c:v>0.02</c:v>
                </c:pt>
                <c:pt idx="290">
                  <c:v>0.01</c:v>
                </c:pt>
                <c:pt idx="291">
                  <c:v>0.01</c:v>
                </c:pt>
                <c:pt idx="292">
                  <c:v>0.01</c:v>
                </c:pt>
                <c:pt idx="293">
                  <c:v>0.01</c:v>
                </c:pt>
                <c:pt idx="294">
                  <c:v>0.01</c:v>
                </c:pt>
                <c:pt idx="295">
                  <c:v>0.02</c:v>
                </c:pt>
                <c:pt idx="296">
                  <c:v>0.01</c:v>
                </c:pt>
                <c:pt idx="297">
                  <c:v>0.01</c:v>
                </c:pt>
                <c:pt idx="298">
                  <c:v>0.01</c:v>
                </c:pt>
                <c:pt idx="29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7ECAC4"/>
              </a:solidFill>
            </c:spPr>
            <c:extLst>
              <c:ext xmlns:c16="http://schemas.microsoft.com/office/drawing/2014/chart" uri="{C3380CC4-5D6E-409C-BE32-E72D297353CC}">
                <c16:uniqueId val="{00000099-2993-41DE-A2CB-63102DE87051}"/>
              </c:ext>
            </c:extLst>
          </c:dPt>
          <c:dPt>
            <c:idx val="49"/>
            <c:invertIfNegative val="1"/>
            <c:bubble3D val="0"/>
            <c:spPr>
              <a:solidFill>
                <a:srgbClr val="7ECAC4"/>
              </a:solidFill>
            </c:spPr>
            <c:extLst>
              <c:ext xmlns:c16="http://schemas.microsoft.com/office/drawing/2014/chart" uri="{C3380CC4-5D6E-409C-BE32-E72D297353CC}">
                <c16:uniqueId val="{0000009B-2993-41DE-A2CB-63102DE87051}"/>
              </c:ext>
            </c:extLst>
          </c:dPt>
          <c:dPt>
            <c:idx val="50"/>
            <c:invertIfNegative val="1"/>
            <c:bubble3D val="0"/>
            <c:spPr>
              <a:solidFill>
                <a:srgbClr val="7ECAC4"/>
              </a:solidFill>
            </c:spPr>
            <c:extLst>
              <c:ext xmlns:c16="http://schemas.microsoft.com/office/drawing/2014/chart" uri="{C3380CC4-5D6E-409C-BE32-E72D297353CC}">
                <c16:uniqueId val="{0000009D-2993-41DE-A2CB-63102DE87051}"/>
              </c:ext>
            </c:extLst>
          </c:dPt>
          <c:dPt>
            <c:idx val="51"/>
            <c:invertIfNegative val="1"/>
            <c:bubble3D val="0"/>
            <c:spPr>
              <a:solidFill>
                <a:srgbClr val="7ECAC4"/>
              </a:solidFill>
            </c:spPr>
            <c:extLst>
              <c:ext xmlns:c16="http://schemas.microsoft.com/office/drawing/2014/chart" uri="{C3380CC4-5D6E-409C-BE32-E72D297353CC}">
                <c16:uniqueId val="{0000009F-2993-41DE-A2CB-63102DE87051}"/>
              </c:ext>
            </c:extLst>
          </c:dPt>
          <c:dPt>
            <c:idx val="52"/>
            <c:invertIfNegative val="1"/>
            <c:bubble3D val="0"/>
            <c:spPr>
              <a:solidFill>
                <a:srgbClr val="7ECAC4"/>
              </a:solidFill>
            </c:spPr>
            <c:extLst>
              <c:ext xmlns:c16="http://schemas.microsoft.com/office/drawing/2014/chart" uri="{C3380CC4-5D6E-409C-BE32-E72D297353CC}">
                <c16:uniqueId val="{000000A1-2993-41DE-A2CB-63102DE87051}"/>
              </c:ext>
            </c:extLst>
          </c:dPt>
          <c:dPt>
            <c:idx val="53"/>
            <c:invertIfNegative val="1"/>
            <c:bubble3D val="0"/>
            <c:spPr>
              <a:solidFill>
                <a:srgbClr val="7ECAC4"/>
              </a:solidFill>
            </c:spPr>
            <c:extLst>
              <c:ext xmlns:c16="http://schemas.microsoft.com/office/drawing/2014/chart" uri="{C3380CC4-5D6E-409C-BE32-E72D297353CC}">
                <c16:uniqueId val="{000000A3-2993-41DE-A2CB-63102DE87051}"/>
              </c:ext>
            </c:extLst>
          </c:dPt>
          <c:dPt>
            <c:idx val="54"/>
            <c:invertIfNegative val="0"/>
            <c:bubble3D val="0"/>
            <c:spPr>
              <a:solidFill>
                <a:srgbClr val="7ECAC4"/>
              </a:solidFill>
            </c:spPr>
            <c:extLst>
              <c:ext xmlns:c16="http://schemas.microsoft.com/office/drawing/2014/chart" uri="{C3380CC4-5D6E-409C-BE32-E72D297353CC}">
                <c16:uniqueId val="{00000072-C76F-4230-900D-40618C09729F}"/>
              </c:ext>
            </c:extLst>
          </c:dPt>
          <c:dPt>
            <c:idx val="55"/>
            <c:invertIfNegative val="0"/>
            <c:bubble3D val="0"/>
            <c:spPr>
              <a:solidFill>
                <a:srgbClr val="7ECAC4"/>
              </a:solidFill>
            </c:spPr>
            <c:extLst>
              <c:ext xmlns:c16="http://schemas.microsoft.com/office/drawing/2014/chart" uri="{C3380CC4-5D6E-409C-BE32-E72D297353CC}">
                <c16:uniqueId val="{00000074-C76F-4230-900D-40618C09729F}"/>
              </c:ext>
            </c:extLst>
          </c:dPt>
          <c:dPt>
            <c:idx val="56"/>
            <c:invertIfNegative val="0"/>
            <c:bubble3D val="0"/>
            <c:spPr>
              <a:solidFill>
                <a:srgbClr val="7ECAC4"/>
              </a:solidFill>
            </c:spPr>
            <c:extLst>
              <c:ext xmlns:c16="http://schemas.microsoft.com/office/drawing/2014/chart" uri="{C3380CC4-5D6E-409C-BE32-E72D297353CC}">
                <c16:uniqueId val="{00000076-C76F-4230-900D-40618C09729F}"/>
              </c:ext>
            </c:extLst>
          </c:dPt>
          <c:dPt>
            <c:idx val="57"/>
            <c:invertIfNegative val="0"/>
            <c:bubble3D val="0"/>
            <c:spPr>
              <a:solidFill>
                <a:srgbClr val="7ECAC4"/>
              </a:solidFill>
            </c:spPr>
            <c:extLst>
              <c:ext xmlns:c16="http://schemas.microsoft.com/office/drawing/2014/chart" uri="{C3380CC4-5D6E-409C-BE32-E72D297353CC}">
                <c16:uniqueId val="{00000078-C76F-4230-900D-40618C09729F}"/>
              </c:ext>
            </c:extLst>
          </c:dPt>
          <c:dPt>
            <c:idx val="58"/>
            <c:invertIfNegative val="0"/>
            <c:bubble3D val="0"/>
            <c:spPr>
              <a:solidFill>
                <a:srgbClr val="7ECAC4"/>
              </a:solidFill>
            </c:spPr>
            <c:extLst>
              <c:ext xmlns:c16="http://schemas.microsoft.com/office/drawing/2014/chart" uri="{C3380CC4-5D6E-409C-BE32-E72D297353CC}">
                <c16:uniqueId val="{0000007A-C76F-4230-900D-40618C09729F}"/>
              </c:ext>
            </c:extLst>
          </c:dPt>
          <c:dPt>
            <c:idx val="59"/>
            <c:invertIfNegative val="0"/>
            <c:bubble3D val="0"/>
            <c:spPr>
              <a:solidFill>
                <a:srgbClr val="7ECAC4"/>
              </a:solidFill>
            </c:spPr>
            <c:extLst>
              <c:ext xmlns:c16="http://schemas.microsoft.com/office/drawing/2014/chart" uri="{C3380CC4-5D6E-409C-BE32-E72D297353CC}">
                <c16:uniqueId val="{0000007C-C76F-4230-900D-40618C09729F}"/>
              </c:ext>
            </c:extLst>
          </c:dPt>
          <c:dPt>
            <c:idx val="60"/>
            <c:invertIfNegative val="0"/>
            <c:bubble3D val="0"/>
            <c:spPr>
              <a:solidFill>
                <a:srgbClr val="7ECAC4"/>
              </a:solidFill>
            </c:spPr>
            <c:extLst>
              <c:ext xmlns:c16="http://schemas.microsoft.com/office/drawing/2014/chart" uri="{C3380CC4-5D6E-409C-BE32-E72D297353CC}">
                <c16:uniqueId val="{0000007E-C76F-4230-900D-40618C09729F}"/>
              </c:ext>
            </c:extLst>
          </c:dPt>
          <c:dPt>
            <c:idx val="61"/>
            <c:invertIfNegative val="0"/>
            <c:bubble3D val="0"/>
            <c:spPr>
              <a:solidFill>
                <a:srgbClr val="7ECAC4"/>
              </a:solidFill>
            </c:spPr>
            <c:extLst>
              <c:ext xmlns:c16="http://schemas.microsoft.com/office/drawing/2014/chart" uri="{C3380CC4-5D6E-409C-BE32-E72D297353CC}">
                <c16:uniqueId val="{00000080-C76F-4230-900D-40618C09729F}"/>
              </c:ext>
            </c:extLst>
          </c:dPt>
          <c:dPt>
            <c:idx val="62"/>
            <c:invertIfNegative val="0"/>
            <c:bubble3D val="0"/>
            <c:spPr>
              <a:solidFill>
                <a:srgbClr val="7ECAC4"/>
              </a:solidFill>
            </c:spPr>
            <c:extLst>
              <c:ext xmlns:c16="http://schemas.microsoft.com/office/drawing/2014/chart" uri="{C3380CC4-5D6E-409C-BE32-E72D297353CC}">
                <c16:uniqueId val="{00000082-C76F-4230-900D-40618C09729F}"/>
              </c:ext>
            </c:extLst>
          </c:dPt>
          <c:dPt>
            <c:idx val="63"/>
            <c:invertIfNegative val="0"/>
            <c:bubble3D val="0"/>
            <c:spPr>
              <a:solidFill>
                <a:srgbClr val="7ECAC4"/>
              </a:solidFill>
            </c:spPr>
            <c:extLst>
              <c:ext xmlns:c16="http://schemas.microsoft.com/office/drawing/2014/chart" uri="{C3380CC4-5D6E-409C-BE32-E72D297353CC}">
                <c16:uniqueId val="{00000084-C76F-4230-900D-40618C09729F}"/>
              </c:ext>
            </c:extLst>
          </c:dPt>
          <c:dPt>
            <c:idx val="64"/>
            <c:invertIfNegative val="0"/>
            <c:bubble3D val="0"/>
            <c:spPr>
              <a:solidFill>
                <a:srgbClr val="7ECAC4"/>
              </a:solidFill>
            </c:spPr>
            <c:extLst>
              <c:ext xmlns:c16="http://schemas.microsoft.com/office/drawing/2014/chart" uri="{C3380CC4-5D6E-409C-BE32-E72D297353CC}">
                <c16:uniqueId val="{00000086-C76F-4230-900D-40618C09729F}"/>
              </c:ext>
            </c:extLst>
          </c:dPt>
          <c:dPt>
            <c:idx val="65"/>
            <c:invertIfNegative val="0"/>
            <c:bubble3D val="0"/>
            <c:spPr>
              <a:solidFill>
                <a:srgbClr val="7ECAC4"/>
              </a:solidFill>
            </c:spPr>
            <c:extLst>
              <c:ext xmlns:c16="http://schemas.microsoft.com/office/drawing/2014/chart" uri="{C3380CC4-5D6E-409C-BE32-E72D297353CC}">
                <c16:uniqueId val="{00000088-C76F-4230-900D-40618C09729F}"/>
              </c:ext>
            </c:extLst>
          </c:dPt>
          <c:dPt>
            <c:idx val="66"/>
            <c:invertIfNegative val="0"/>
            <c:bubble3D val="0"/>
            <c:spPr>
              <a:solidFill>
                <a:srgbClr val="7ECAC4"/>
              </a:solidFill>
            </c:spPr>
            <c:extLst>
              <c:ext xmlns:c16="http://schemas.microsoft.com/office/drawing/2014/chart" uri="{C3380CC4-5D6E-409C-BE32-E72D297353CC}">
                <c16:uniqueId val="{0000008A-C76F-4230-900D-40618C09729F}"/>
              </c:ext>
            </c:extLst>
          </c:dPt>
          <c:dPt>
            <c:idx val="67"/>
            <c:invertIfNegative val="0"/>
            <c:bubble3D val="0"/>
            <c:spPr>
              <a:solidFill>
                <a:srgbClr val="7ECAC4"/>
              </a:solidFill>
            </c:spPr>
            <c:extLst>
              <c:ext xmlns:c16="http://schemas.microsoft.com/office/drawing/2014/chart" uri="{C3380CC4-5D6E-409C-BE32-E72D297353CC}">
                <c16:uniqueId val="{0000008C-C76F-4230-900D-40618C09729F}"/>
              </c:ext>
            </c:extLst>
          </c:dPt>
          <c:dPt>
            <c:idx val="68"/>
            <c:invertIfNegative val="0"/>
            <c:bubble3D val="0"/>
            <c:spPr>
              <a:solidFill>
                <a:srgbClr val="7ECAC4"/>
              </a:solidFill>
            </c:spPr>
            <c:extLst>
              <c:ext xmlns:c16="http://schemas.microsoft.com/office/drawing/2014/chart" uri="{C3380CC4-5D6E-409C-BE32-E72D297353CC}">
                <c16:uniqueId val="{0000008E-C76F-4230-900D-40618C09729F}"/>
              </c:ext>
            </c:extLst>
          </c:dPt>
          <c:dPt>
            <c:idx val="69"/>
            <c:invertIfNegative val="0"/>
            <c:bubble3D val="0"/>
            <c:spPr>
              <a:solidFill>
                <a:srgbClr val="7ECAC4"/>
              </a:solidFill>
            </c:spPr>
            <c:extLst>
              <c:ext xmlns:c16="http://schemas.microsoft.com/office/drawing/2014/chart" uri="{C3380CC4-5D6E-409C-BE32-E72D297353CC}">
                <c16:uniqueId val="{00000090-C76F-4230-900D-40618C09729F}"/>
              </c:ext>
            </c:extLst>
          </c:dPt>
          <c:dPt>
            <c:idx val="70"/>
            <c:invertIfNegative val="0"/>
            <c:bubble3D val="0"/>
            <c:spPr>
              <a:solidFill>
                <a:srgbClr val="7ECAC4"/>
              </a:solidFill>
            </c:spPr>
            <c:extLst>
              <c:ext xmlns:c16="http://schemas.microsoft.com/office/drawing/2014/chart" uri="{C3380CC4-5D6E-409C-BE32-E72D297353CC}">
                <c16:uniqueId val="{00000092-C76F-4230-900D-40618C09729F}"/>
              </c:ext>
            </c:extLst>
          </c:dPt>
          <c:dPt>
            <c:idx val="71"/>
            <c:invertIfNegative val="0"/>
            <c:bubble3D val="0"/>
            <c:spPr>
              <a:solidFill>
                <a:srgbClr val="7ECAC4"/>
              </a:solidFill>
            </c:spPr>
            <c:extLst>
              <c:ext xmlns:c16="http://schemas.microsoft.com/office/drawing/2014/chart" uri="{C3380CC4-5D6E-409C-BE32-E72D297353CC}">
                <c16:uniqueId val="{00000094-C76F-4230-900D-40618C09729F}"/>
              </c:ext>
            </c:extLst>
          </c:dPt>
          <c:dPt>
            <c:idx val="72"/>
            <c:invertIfNegative val="0"/>
            <c:bubble3D val="0"/>
            <c:spPr>
              <a:solidFill>
                <a:srgbClr val="7ECAC4"/>
              </a:solidFill>
            </c:spPr>
            <c:extLst>
              <c:ext xmlns:c16="http://schemas.microsoft.com/office/drawing/2014/chart" uri="{C3380CC4-5D6E-409C-BE32-E72D297353CC}">
                <c16:uniqueId val="{00000096-C76F-4230-900D-40618C09729F}"/>
              </c:ext>
            </c:extLst>
          </c:dPt>
          <c:dPt>
            <c:idx val="73"/>
            <c:invertIfNegative val="0"/>
            <c:bubble3D val="0"/>
            <c:spPr>
              <a:solidFill>
                <a:srgbClr val="7ECAC4"/>
              </a:solidFill>
            </c:spPr>
            <c:extLst>
              <c:ext xmlns:c16="http://schemas.microsoft.com/office/drawing/2014/chart" uri="{C3380CC4-5D6E-409C-BE32-E72D297353CC}">
                <c16:uniqueId val="{00000098-C76F-4230-900D-40618C09729F}"/>
              </c:ext>
            </c:extLst>
          </c:dPt>
          <c:dPt>
            <c:idx val="74"/>
            <c:invertIfNegative val="0"/>
            <c:bubble3D val="0"/>
            <c:spPr>
              <a:solidFill>
                <a:srgbClr val="7ECAC4"/>
              </a:solidFill>
            </c:spPr>
            <c:extLst>
              <c:ext xmlns:c16="http://schemas.microsoft.com/office/drawing/2014/chart" uri="{C3380CC4-5D6E-409C-BE32-E72D297353CC}">
                <c16:uniqueId val="{0000009A-C76F-4230-900D-40618C09729F}"/>
              </c:ext>
            </c:extLst>
          </c:dPt>
          <c:dPt>
            <c:idx val="75"/>
            <c:invertIfNegative val="0"/>
            <c:bubble3D val="0"/>
            <c:spPr>
              <a:solidFill>
                <a:srgbClr val="7ECAC4"/>
              </a:solidFill>
            </c:spPr>
            <c:extLst>
              <c:ext xmlns:c16="http://schemas.microsoft.com/office/drawing/2014/chart" uri="{C3380CC4-5D6E-409C-BE32-E72D297353CC}">
                <c16:uniqueId val="{0000009C-C76F-4230-900D-40618C09729F}"/>
              </c:ext>
            </c:extLst>
          </c:dPt>
          <c:dPt>
            <c:idx val="76"/>
            <c:invertIfNegative val="0"/>
            <c:bubble3D val="0"/>
            <c:spPr>
              <a:solidFill>
                <a:srgbClr val="7ECAC4"/>
              </a:solidFill>
            </c:spPr>
            <c:extLst>
              <c:ext xmlns:c16="http://schemas.microsoft.com/office/drawing/2014/chart" uri="{C3380CC4-5D6E-409C-BE32-E72D297353CC}">
                <c16:uniqueId val="{0000009E-C76F-4230-900D-40618C09729F}"/>
              </c:ext>
            </c:extLst>
          </c:dPt>
          <c:dPt>
            <c:idx val="77"/>
            <c:invertIfNegative val="0"/>
            <c:bubble3D val="0"/>
            <c:spPr>
              <a:solidFill>
                <a:srgbClr val="7ECAC4"/>
              </a:solidFill>
            </c:spPr>
            <c:extLst>
              <c:ext xmlns:c16="http://schemas.microsoft.com/office/drawing/2014/chart" uri="{C3380CC4-5D6E-409C-BE32-E72D297353CC}">
                <c16:uniqueId val="{000000A0-C76F-4230-900D-40618C09729F}"/>
              </c:ext>
            </c:extLst>
          </c:dPt>
          <c:dPt>
            <c:idx val="78"/>
            <c:invertIfNegative val="0"/>
            <c:bubble3D val="0"/>
            <c:spPr>
              <a:solidFill>
                <a:srgbClr val="7ECAC4"/>
              </a:solidFill>
            </c:spPr>
            <c:extLst>
              <c:ext xmlns:c16="http://schemas.microsoft.com/office/drawing/2014/chart" uri="{C3380CC4-5D6E-409C-BE32-E72D297353CC}">
                <c16:uniqueId val="{000000A2-C76F-4230-900D-40618C09729F}"/>
              </c:ext>
            </c:extLst>
          </c:dPt>
          <c:dPt>
            <c:idx val="79"/>
            <c:invertIfNegative val="0"/>
            <c:bubble3D val="0"/>
            <c:spPr>
              <a:solidFill>
                <a:srgbClr val="7ECAC4"/>
              </a:solidFill>
            </c:spPr>
            <c:extLst>
              <c:ext xmlns:c16="http://schemas.microsoft.com/office/drawing/2014/chart" uri="{C3380CC4-5D6E-409C-BE32-E72D297353CC}">
                <c16:uniqueId val="{000000A4-C76F-4230-900D-40618C09729F}"/>
              </c:ext>
            </c:extLst>
          </c:dPt>
          <c:dPt>
            <c:idx val="80"/>
            <c:invertIfNegative val="0"/>
            <c:bubble3D val="0"/>
            <c:spPr>
              <a:solidFill>
                <a:srgbClr val="7ECAC4"/>
              </a:solidFill>
            </c:spPr>
            <c:extLst>
              <c:ext xmlns:c16="http://schemas.microsoft.com/office/drawing/2014/chart" uri="{C3380CC4-5D6E-409C-BE32-E72D297353CC}">
                <c16:uniqueId val="{000000A6-C76F-4230-900D-40618C09729F}"/>
              </c:ext>
            </c:extLst>
          </c:dPt>
          <c:dPt>
            <c:idx val="81"/>
            <c:invertIfNegative val="1"/>
            <c:bubble3D val="0"/>
            <c:spPr>
              <a:solidFill>
                <a:srgbClr val="7ECAC4"/>
              </a:solidFill>
            </c:spPr>
            <c:extLst>
              <c:ext xmlns:c16="http://schemas.microsoft.com/office/drawing/2014/chart" uri="{C3380CC4-5D6E-409C-BE32-E72D297353CC}">
                <c16:uniqueId val="{000000A5-2993-41DE-A2CB-63102DE87051}"/>
              </c:ext>
            </c:extLst>
          </c:dPt>
          <c:dPt>
            <c:idx val="82"/>
            <c:invertIfNegative val="1"/>
            <c:bubble3D val="0"/>
            <c:spPr>
              <a:solidFill>
                <a:srgbClr val="7ECAC4"/>
              </a:solidFill>
            </c:spPr>
            <c:extLst>
              <c:ext xmlns:c16="http://schemas.microsoft.com/office/drawing/2014/chart" uri="{C3380CC4-5D6E-409C-BE32-E72D297353CC}">
                <c16:uniqueId val="{000000A7-2993-41DE-A2CB-63102DE87051}"/>
              </c:ext>
            </c:extLst>
          </c:dPt>
          <c:dPt>
            <c:idx val="83"/>
            <c:invertIfNegative val="1"/>
            <c:bubble3D val="0"/>
            <c:spPr>
              <a:solidFill>
                <a:srgbClr val="7ECAC4"/>
              </a:solidFill>
            </c:spPr>
            <c:extLst>
              <c:ext xmlns:c16="http://schemas.microsoft.com/office/drawing/2014/chart" uri="{C3380CC4-5D6E-409C-BE32-E72D297353CC}">
                <c16:uniqueId val="{000000A9-2993-41DE-A2CB-63102DE87051}"/>
              </c:ext>
            </c:extLst>
          </c:dPt>
          <c:dPt>
            <c:idx val="84"/>
            <c:invertIfNegative val="1"/>
            <c:bubble3D val="0"/>
            <c:spPr>
              <a:solidFill>
                <a:srgbClr val="7ECAC4"/>
              </a:solidFill>
            </c:spPr>
            <c:extLst>
              <c:ext xmlns:c16="http://schemas.microsoft.com/office/drawing/2014/chart" uri="{C3380CC4-5D6E-409C-BE32-E72D297353CC}">
                <c16:uniqueId val="{000000AB-2993-41DE-A2CB-63102DE87051}"/>
              </c:ext>
            </c:extLst>
          </c:dPt>
          <c:dPt>
            <c:idx val="85"/>
            <c:invertIfNegative val="1"/>
            <c:bubble3D val="0"/>
            <c:spPr>
              <a:solidFill>
                <a:srgbClr val="7ECAC4"/>
              </a:solidFill>
            </c:spPr>
            <c:extLst>
              <c:ext xmlns:c16="http://schemas.microsoft.com/office/drawing/2014/chart" uri="{C3380CC4-5D6E-409C-BE32-E72D297353CC}">
                <c16:uniqueId val="{000000AD-2993-41DE-A2CB-63102DE87051}"/>
              </c:ext>
            </c:extLst>
          </c:dPt>
          <c:dPt>
            <c:idx val="86"/>
            <c:invertIfNegative val="1"/>
            <c:bubble3D val="0"/>
            <c:spPr>
              <a:solidFill>
                <a:srgbClr val="7ECAC4"/>
              </a:solidFill>
            </c:spPr>
            <c:extLst>
              <c:ext xmlns:c16="http://schemas.microsoft.com/office/drawing/2014/chart" uri="{C3380CC4-5D6E-409C-BE32-E72D297353CC}">
                <c16:uniqueId val="{000000AF-2993-41DE-A2CB-63102DE87051}"/>
              </c:ext>
            </c:extLst>
          </c:dPt>
          <c:dPt>
            <c:idx val="87"/>
            <c:invertIfNegative val="1"/>
            <c:bubble3D val="0"/>
            <c:spPr>
              <a:solidFill>
                <a:srgbClr val="7ECAC4"/>
              </a:solidFill>
            </c:spPr>
            <c:extLst>
              <c:ext xmlns:c16="http://schemas.microsoft.com/office/drawing/2014/chart" uri="{C3380CC4-5D6E-409C-BE32-E72D297353CC}">
                <c16:uniqueId val="{000000B1-2993-41DE-A2CB-63102DE87051}"/>
              </c:ext>
            </c:extLst>
          </c:dPt>
          <c:dPt>
            <c:idx val="88"/>
            <c:invertIfNegative val="1"/>
            <c:bubble3D val="0"/>
            <c:spPr>
              <a:solidFill>
                <a:srgbClr val="7ECAC4"/>
              </a:solidFill>
            </c:spPr>
            <c:extLst>
              <c:ext xmlns:c16="http://schemas.microsoft.com/office/drawing/2014/chart" uri="{C3380CC4-5D6E-409C-BE32-E72D297353CC}">
                <c16:uniqueId val="{000000B3-2993-41DE-A2CB-63102DE87051}"/>
              </c:ext>
            </c:extLst>
          </c:dPt>
          <c:dPt>
            <c:idx val="89"/>
            <c:invertIfNegative val="1"/>
            <c:bubble3D val="0"/>
            <c:spPr>
              <a:solidFill>
                <a:srgbClr val="7ECAC4"/>
              </a:solidFill>
            </c:spPr>
            <c:extLst>
              <c:ext xmlns:c16="http://schemas.microsoft.com/office/drawing/2014/chart" uri="{C3380CC4-5D6E-409C-BE32-E72D297353CC}">
                <c16:uniqueId val="{000000B5-2993-41DE-A2CB-63102DE87051}"/>
              </c:ext>
            </c:extLst>
          </c:dPt>
          <c:dPt>
            <c:idx val="90"/>
            <c:invertIfNegative val="1"/>
            <c:bubble3D val="0"/>
            <c:spPr>
              <a:solidFill>
                <a:srgbClr val="7ECAC4"/>
              </a:solidFill>
            </c:spPr>
            <c:extLst>
              <c:ext xmlns:c16="http://schemas.microsoft.com/office/drawing/2014/chart" uri="{C3380CC4-5D6E-409C-BE32-E72D297353CC}">
                <c16:uniqueId val="{000000B7-2993-41DE-A2CB-63102DE87051}"/>
              </c:ext>
            </c:extLst>
          </c:dPt>
          <c:dPt>
            <c:idx val="91"/>
            <c:invertIfNegative val="1"/>
            <c:bubble3D val="0"/>
            <c:spPr>
              <a:solidFill>
                <a:srgbClr val="7ECAC4"/>
              </a:solidFill>
            </c:spPr>
            <c:extLst>
              <c:ext xmlns:c16="http://schemas.microsoft.com/office/drawing/2014/chart" uri="{C3380CC4-5D6E-409C-BE32-E72D297353CC}">
                <c16:uniqueId val="{000000B9-2993-41DE-A2CB-63102DE87051}"/>
              </c:ext>
            </c:extLst>
          </c:dPt>
          <c:dPt>
            <c:idx val="92"/>
            <c:invertIfNegative val="1"/>
            <c:bubble3D val="0"/>
            <c:spPr>
              <a:solidFill>
                <a:srgbClr val="7ECAC4"/>
              </a:solidFill>
            </c:spPr>
            <c:extLst>
              <c:ext xmlns:c16="http://schemas.microsoft.com/office/drawing/2014/chart" uri="{C3380CC4-5D6E-409C-BE32-E72D297353CC}">
                <c16:uniqueId val="{000000BB-2993-41DE-A2CB-63102DE87051}"/>
              </c:ext>
            </c:extLst>
          </c:dPt>
          <c:dPt>
            <c:idx val="93"/>
            <c:invertIfNegative val="1"/>
            <c:bubble3D val="0"/>
            <c:spPr>
              <a:solidFill>
                <a:srgbClr val="7ECAC4"/>
              </a:solidFill>
            </c:spPr>
            <c:extLst>
              <c:ext xmlns:c16="http://schemas.microsoft.com/office/drawing/2014/chart" uri="{C3380CC4-5D6E-409C-BE32-E72D297353CC}">
                <c16:uniqueId val="{000000BD-2993-41DE-A2CB-63102DE87051}"/>
              </c:ext>
            </c:extLst>
          </c:dPt>
          <c:dPt>
            <c:idx val="94"/>
            <c:invertIfNegative val="1"/>
            <c:bubble3D val="0"/>
            <c:spPr>
              <a:solidFill>
                <a:srgbClr val="7ECAC4"/>
              </a:solidFill>
            </c:spPr>
            <c:extLst>
              <c:ext xmlns:c16="http://schemas.microsoft.com/office/drawing/2014/chart" uri="{C3380CC4-5D6E-409C-BE32-E72D297353CC}">
                <c16:uniqueId val="{000000BF-2993-41DE-A2CB-63102DE87051}"/>
              </c:ext>
            </c:extLst>
          </c:dPt>
          <c:dPt>
            <c:idx val="95"/>
            <c:invertIfNegative val="1"/>
            <c:bubble3D val="0"/>
            <c:spPr>
              <a:solidFill>
                <a:srgbClr val="7ECAC4"/>
              </a:solidFill>
            </c:spPr>
            <c:extLst>
              <c:ext xmlns:c16="http://schemas.microsoft.com/office/drawing/2014/chart" uri="{C3380CC4-5D6E-409C-BE32-E72D297353CC}">
                <c16:uniqueId val="{000000C1-2993-41DE-A2CB-63102DE87051}"/>
              </c:ext>
            </c:extLst>
          </c:dPt>
          <c:dPt>
            <c:idx val="96"/>
            <c:invertIfNegative val="1"/>
            <c:bubble3D val="0"/>
            <c:spPr>
              <a:solidFill>
                <a:srgbClr val="7ECAC4"/>
              </a:solidFill>
            </c:spPr>
            <c:extLst>
              <c:ext xmlns:c16="http://schemas.microsoft.com/office/drawing/2014/chart" uri="{C3380CC4-5D6E-409C-BE32-E72D297353CC}">
                <c16:uniqueId val="{000000C3-2993-41DE-A2CB-63102DE87051}"/>
              </c:ext>
            </c:extLst>
          </c:dPt>
          <c:dPt>
            <c:idx val="97"/>
            <c:invertIfNegative val="1"/>
            <c:bubble3D val="0"/>
            <c:spPr>
              <a:solidFill>
                <a:srgbClr val="7ECAC4"/>
              </a:solidFill>
            </c:spPr>
            <c:extLst>
              <c:ext xmlns:c16="http://schemas.microsoft.com/office/drawing/2014/chart" uri="{C3380CC4-5D6E-409C-BE32-E72D297353CC}">
                <c16:uniqueId val="{000000C5-2993-41DE-A2CB-63102DE87051}"/>
              </c:ext>
            </c:extLst>
          </c:dPt>
          <c:dPt>
            <c:idx val="98"/>
            <c:invertIfNegative val="1"/>
            <c:bubble3D val="0"/>
            <c:spPr>
              <a:solidFill>
                <a:srgbClr val="7ECAC4"/>
              </a:solidFill>
            </c:spPr>
            <c:extLst>
              <c:ext xmlns:c16="http://schemas.microsoft.com/office/drawing/2014/chart" uri="{C3380CC4-5D6E-409C-BE32-E72D297353CC}">
                <c16:uniqueId val="{000000C7-2993-41DE-A2CB-63102DE87051}"/>
              </c:ext>
            </c:extLst>
          </c:dPt>
          <c:dPt>
            <c:idx val="99"/>
            <c:invertIfNegative val="1"/>
            <c:bubble3D val="0"/>
            <c:spPr>
              <a:solidFill>
                <a:srgbClr val="7ECAC4"/>
              </a:solidFill>
            </c:spPr>
            <c:extLst>
              <c:ext xmlns:c16="http://schemas.microsoft.com/office/drawing/2014/chart" uri="{C3380CC4-5D6E-409C-BE32-E72D297353CC}">
                <c16:uniqueId val="{000000C9-2993-41DE-A2CB-63102DE87051}"/>
              </c:ext>
            </c:extLst>
          </c:dPt>
          <c:dPt>
            <c:idx val="100"/>
            <c:invertIfNegative val="1"/>
            <c:bubble3D val="0"/>
            <c:spPr>
              <a:solidFill>
                <a:srgbClr val="7ECAC4"/>
              </a:solidFill>
            </c:spPr>
            <c:extLst>
              <c:ext xmlns:c16="http://schemas.microsoft.com/office/drawing/2014/chart" uri="{C3380CC4-5D6E-409C-BE32-E72D297353CC}">
                <c16:uniqueId val="{000000CB-2993-41DE-A2CB-63102DE87051}"/>
              </c:ext>
            </c:extLst>
          </c:dPt>
          <c:dPt>
            <c:idx val="101"/>
            <c:invertIfNegative val="1"/>
            <c:bubble3D val="0"/>
            <c:spPr>
              <a:solidFill>
                <a:srgbClr val="7ECAC4"/>
              </a:solidFill>
            </c:spPr>
            <c:extLst>
              <c:ext xmlns:c16="http://schemas.microsoft.com/office/drawing/2014/chart" uri="{C3380CC4-5D6E-409C-BE32-E72D297353CC}">
                <c16:uniqueId val="{000000CD-2993-41DE-A2CB-63102DE87051}"/>
              </c:ext>
            </c:extLst>
          </c:dPt>
          <c:dPt>
            <c:idx val="102"/>
            <c:invertIfNegative val="1"/>
            <c:bubble3D val="0"/>
            <c:spPr>
              <a:solidFill>
                <a:srgbClr val="7ECAC4"/>
              </a:solidFill>
            </c:spPr>
            <c:extLst>
              <c:ext xmlns:c16="http://schemas.microsoft.com/office/drawing/2014/chart" uri="{C3380CC4-5D6E-409C-BE32-E72D297353CC}">
                <c16:uniqueId val="{000000CF-2993-41DE-A2CB-63102DE87051}"/>
              </c:ext>
            </c:extLst>
          </c:dPt>
          <c:dPt>
            <c:idx val="103"/>
            <c:invertIfNegative val="1"/>
            <c:bubble3D val="0"/>
            <c:spPr>
              <a:solidFill>
                <a:srgbClr val="7ECAC4"/>
              </a:solidFill>
            </c:spPr>
            <c:extLst>
              <c:ext xmlns:c16="http://schemas.microsoft.com/office/drawing/2014/chart" uri="{C3380CC4-5D6E-409C-BE32-E72D297353CC}">
                <c16:uniqueId val="{000000D1-2993-41DE-A2CB-63102DE87051}"/>
              </c:ext>
            </c:extLst>
          </c:dPt>
          <c:dPt>
            <c:idx val="104"/>
            <c:invertIfNegative val="1"/>
            <c:bubble3D val="0"/>
            <c:spPr>
              <a:solidFill>
                <a:srgbClr val="7ECAC4"/>
              </a:solidFill>
            </c:spPr>
            <c:extLst>
              <c:ext xmlns:c16="http://schemas.microsoft.com/office/drawing/2014/chart" uri="{C3380CC4-5D6E-409C-BE32-E72D297353CC}">
                <c16:uniqueId val="{000000D3-2993-41DE-A2CB-63102DE87051}"/>
              </c:ext>
            </c:extLst>
          </c:dPt>
          <c:dPt>
            <c:idx val="105"/>
            <c:invertIfNegative val="1"/>
            <c:bubble3D val="0"/>
            <c:spPr>
              <a:solidFill>
                <a:srgbClr val="7ECAC4"/>
              </a:solidFill>
            </c:spPr>
            <c:extLst>
              <c:ext xmlns:c16="http://schemas.microsoft.com/office/drawing/2014/chart" uri="{C3380CC4-5D6E-409C-BE32-E72D297353CC}">
                <c16:uniqueId val="{000000D5-2993-41DE-A2CB-63102DE87051}"/>
              </c:ext>
            </c:extLst>
          </c:dPt>
          <c:dPt>
            <c:idx val="106"/>
            <c:invertIfNegative val="1"/>
            <c:bubble3D val="0"/>
            <c:spPr>
              <a:solidFill>
                <a:srgbClr val="7ECAC4"/>
              </a:solidFill>
            </c:spPr>
            <c:extLst>
              <c:ext xmlns:c16="http://schemas.microsoft.com/office/drawing/2014/chart" uri="{C3380CC4-5D6E-409C-BE32-E72D297353CC}">
                <c16:uniqueId val="{000000D7-2993-41DE-A2CB-63102DE87051}"/>
              </c:ext>
            </c:extLst>
          </c:dPt>
          <c:dPt>
            <c:idx val="107"/>
            <c:invertIfNegative val="1"/>
            <c:bubble3D val="0"/>
            <c:spPr>
              <a:solidFill>
                <a:srgbClr val="7ECAC4"/>
              </a:solidFill>
            </c:spPr>
            <c:extLst>
              <c:ext xmlns:c16="http://schemas.microsoft.com/office/drawing/2014/chart" uri="{C3380CC4-5D6E-409C-BE32-E72D297353CC}">
                <c16:uniqueId val="{000000D9-2993-41DE-A2CB-63102DE87051}"/>
              </c:ext>
            </c:extLst>
          </c:dPt>
          <c:dPt>
            <c:idx val="108"/>
            <c:invertIfNegative val="1"/>
            <c:bubble3D val="0"/>
            <c:spPr>
              <a:solidFill>
                <a:srgbClr val="AEABAB"/>
              </a:solidFill>
            </c:spPr>
            <c:extLst>
              <c:ext xmlns:c16="http://schemas.microsoft.com/office/drawing/2014/chart" uri="{C3380CC4-5D6E-409C-BE32-E72D297353CC}">
                <c16:uniqueId val="{000000DB-2993-41DE-A2CB-63102DE87051}"/>
              </c:ext>
            </c:extLst>
          </c:dPt>
          <c:dPt>
            <c:idx val="109"/>
            <c:invertIfNegative val="1"/>
            <c:bubble3D val="0"/>
            <c:spPr>
              <a:solidFill>
                <a:srgbClr val="AEABAB"/>
              </a:solidFill>
            </c:spPr>
            <c:extLst>
              <c:ext xmlns:c16="http://schemas.microsoft.com/office/drawing/2014/chart" uri="{C3380CC4-5D6E-409C-BE32-E72D297353CC}">
                <c16:uniqueId val="{000000DD-2993-41DE-A2CB-63102DE87051}"/>
              </c:ext>
            </c:extLst>
          </c:dPt>
          <c:dPt>
            <c:idx val="110"/>
            <c:invertIfNegative val="1"/>
            <c:bubble3D val="0"/>
            <c:spPr>
              <a:solidFill>
                <a:srgbClr val="AEABAB"/>
              </a:solidFill>
            </c:spPr>
            <c:extLst>
              <c:ext xmlns:c16="http://schemas.microsoft.com/office/drawing/2014/chart" uri="{C3380CC4-5D6E-409C-BE32-E72D297353CC}">
                <c16:uniqueId val="{000000DF-2993-41DE-A2CB-63102DE87051}"/>
              </c:ext>
            </c:extLst>
          </c:dPt>
          <c:dPt>
            <c:idx val="111"/>
            <c:invertIfNegative val="1"/>
            <c:bubble3D val="0"/>
            <c:spPr>
              <a:solidFill>
                <a:srgbClr val="AEABAB"/>
              </a:solidFill>
            </c:spPr>
            <c:extLst>
              <c:ext xmlns:c16="http://schemas.microsoft.com/office/drawing/2014/chart" uri="{C3380CC4-5D6E-409C-BE32-E72D297353CC}">
                <c16:uniqueId val="{000000E1-2993-41DE-A2CB-63102DE87051}"/>
              </c:ext>
            </c:extLst>
          </c:dPt>
          <c:dPt>
            <c:idx val="112"/>
            <c:invertIfNegative val="1"/>
            <c:bubble3D val="0"/>
            <c:spPr>
              <a:solidFill>
                <a:srgbClr val="AEABAB"/>
              </a:solidFill>
            </c:spPr>
            <c:extLst>
              <c:ext xmlns:c16="http://schemas.microsoft.com/office/drawing/2014/chart" uri="{C3380CC4-5D6E-409C-BE32-E72D297353CC}">
                <c16:uniqueId val="{000000E3-2993-41DE-A2CB-63102DE87051}"/>
              </c:ext>
            </c:extLst>
          </c:dPt>
          <c:dPt>
            <c:idx val="113"/>
            <c:invertIfNegative val="1"/>
            <c:bubble3D val="0"/>
            <c:spPr>
              <a:solidFill>
                <a:srgbClr val="AEABAB"/>
              </a:solidFill>
            </c:spPr>
            <c:extLst>
              <c:ext xmlns:c16="http://schemas.microsoft.com/office/drawing/2014/chart" uri="{C3380CC4-5D6E-409C-BE32-E72D297353CC}">
                <c16:uniqueId val="{000000E5-2993-41DE-A2CB-63102DE87051}"/>
              </c:ext>
            </c:extLst>
          </c:dPt>
          <c:dPt>
            <c:idx val="114"/>
            <c:invertIfNegative val="1"/>
            <c:bubble3D val="0"/>
            <c:spPr>
              <a:solidFill>
                <a:srgbClr val="AEABAB"/>
              </a:solidFill>
            </c:spPr>
            <c:extLst>
              <c:ext xmlns:c16="http://schemas.microsoft.com/office/drawing/2014/chart" uri="{C3380CC4-5D6E-409C-BE32-E72D297353CC}">
                <c16:uniqueId val="{000000E7-2993-41DE-A2CB-63102DE87051}"/>
              </c:ext>
            </c:extLst>
          </c:dPt>
          <c:dPt>
            <c:idx val="115"/>
            <c:invertIfNegative val="1"/>
            <c:bubble3D val="0"/>
            <c:spPr>
              <a:solidFill>
                <a:srgbClr val="AEABAB"/>
              </a:solidFill>
            </c:spPr>
            <c:extLst>
              <c:ext xmlns:c16="http://schemas.microsoft.com/office/drawing/2014/chart" uri="{C3380CC4-5D6E-409C-BE32-E72D297353CC}">
                <c16:uniqueId val="{000000E9-2993-41DE-A2CB-63102DE87051}"/>
              </c:ext>
            </c:extLst>
          </c:dPt>
          <c:dPt>
            <c:idx val="116"/>
            <c:invertIfNegative val="1"/>
            <c:bubble3D val="0"/>
            <c:spPr>
              <a:solidFill>
                <a:srgbClr val="AEABAB"/>
              </a:solidFill>
            </c:spPr>
            <c:extLst>
              <c:ext xmlns:c16="http://schemas.microsoft.com/office/drawing/2014/chart" uri="{C3380CC4-5D6E-409C-BE32-E72D297353CC}">
                <c16:uniqueId val="{000000EB-2993-41DE-A2CB-63102DE87051}"/>
              </c:ext>
            </c:extLst>
          </c:dPt>
          <c:dPt>
            <c:idx val="117"/>
            <c:invertIfNegative val="1"/>
            <c:bubble3D val="0"/>
            <c:spPr>
              <a:solidFill>
                <a:srgbClr val="AEABAB"/>
              </a:solidFill>
            </c:spPr>
            <c:extLst>
              <c:ext xmlns:c16="http://schemas.microsoft.com/office/drawing/2014/chart" uri="{C3380CC4-5D6E-409C-BE32-E72D297353CC}">
                <c16:uniqueId val="{000000ED-2993-41DE-A2CB-63102DE87051}"/>
              </c:ext>
            </c:extLst>
          </c:dPt>
          <c:dPt>
            <c:idx val="118"/>
            <c:invertIfNegative val="1"/>
            <c:bubble3D val="0"/>
            <c:spPr>
              <a:solidFill>
                <a:srgbClr val="AEABAB"/>
              </a:solidFill>
            </c:spPr>
            <c:extLst>
              <c:ext xmlns:c16="http://schemas.microsoft.com/office/drawing/2014/chart" uri="{C3380CC4-5D6E-409C-BE32-E72D297353CC}">
                <c16:uniqueId val="{000000EF-2993-41DE-A2CB-63102DE87051}"/>
              </c:ext>
            </c:extLst>
          </c:dPt>
          <c:dPt>
            <c:idx val="119"/>
            <c:invertIfNegative val="1"/>
            <c:bubble3D val="0"/>
            <c:spPr>
              <a:solidFill>
                <a:srgbClr val="AEABAB"/>
              </a:solidFill>
            </c:spPr>
            <c:extLst>
              <c:ext xmlns:c16="http://schemas.microsoft.com/office/drawing/2014/chart" uri="{C3380CC4-5D6E-409C-BE32-E72D297353CC}">
                <c16:uniqueId val="{000000F1-2993-41DE-A2CB-63102DE87051}"/>
              </c:ext>
            </c:extLst>
          </c:dPt>
          <c:dPt>
            <c:idx val="120"/>
            <c:invertIfNegative val="1"/>
            <c:bubble3D val="0"/>
            <c:spPr>
              <a:solidFill>
                <a:srgbClr val="AEABAB"/>
              </a:solidFill>
            </c:spPr>
            <c:extLst>
              <c:ext xmlns:c16="http://schemas.microsoft.com/office/drawing/2014/chart" uri="{C3380CC4-5D6E-409C-BE32-E72D297353CC}">
                <c16:uniqueId val="{000000F3-2993-41DE-A2CB-63102DE87051}"/>
              </c:ext>
            </c:extLst>
          </c:dPt>
          <c:dPt>
            <c:idx val="121"/>
            <c:invertIfNegative val="1"/>
            <c:bubble3D val="0"/>
            <c:spPr>
              <a:solidFill>
                <a:srgbClr val="AEABAB"/>
              </a:solidFill>
            </c:spPr>
            <c:extLst>
              <c:ext xmlns:c16="http://schemas.microsoft.com/office/drawing/2014/chart" uri="{C3380CC4-5D6E-409C-BE32-E72D297353CC}">
                <c16:uniqueId val="{000000F5-2993-41DE-A2CB-63102DE87051}"/>
              </c:ext>
            </c:extLst>
          </c:dPt>
          <c:dPt>
            <c:idx val="122"/>
            <c:invertIfNegative val="1"/>
            <c:bubble3D val="0"/>
            <c:spPr>
              <a:solidFill>
                <a:srgbClr val="AEABAB"/>
              </a:solidFill>
            </c:spPr>
            <c:extLst>
              <c:ext xmlns:c16="http://schemas.microsoft.com/office/drawing/2014/chart" uri="{C3380CC4-5D6E-409C-BE32-E72D297353CC}">
                <c16:uniqueId val="{000000F7-2993-41DE-A2CB-63102DE87051}"/>
              </c:ext>
            </c:extLst>
          </c:dPt>
          <c:dPt>
            <c:idx val="123"/>
            <c:invertIfNegative val="1"/>
            <c:bubble3D val="0"/>
            <c:spPr>
              <a:solidFill>
                <a:srgbClr val="AEABAB"/>
              </a:solidFill>
            </c:spPr>
            <c:extLst>
              <c:ext xmlns:c16="http://schemas.microsoft.com/office/drawing/2014/chart" uri="{C3380CC4-5D6E-409C-BE32-E72D297353CC}">
                <c16:uniqueId val="{000000F9-2993-41DE-A2CB-63102DE87051}"/>
              </c:ext>
            </c:extLst>
          </c:dPt>
          <c:dPt>
            <c:idx val="124"/>
            <c:invertIfNegative val="1"/>
            <c:bubble3D val="0"/>
            <c:spPr>
              <a:solidFill>
                <a:srgbClr val="AEABAB"/>
              </a:solidFill>
            </c:spPr>
            <c:extLst>
              <c:ext xmlns:c16="http://schemas.microsoft.com/office/drawing/2014/chart" uri="{C3380CC4-5D6E-409C-BE32-E72D297353CC}">
                <c16:uniqueId val="{000000FB-2993-41DE-A2CB-63102DE87051}"/>
              </c:ext>
            </c:extLst>
          </c:dPt>
          <c:dPt>
            <c:idx val="125"/>
            <c:invertIfNegative val="1"/>
            <c:bubble3D val="0"/>
            <c:spPr>
              <a:solidFill>
                <a:srgbClr val="AEABAB"/>
              </a:solidFill>
            </c:spPr>
            <c:extLst>
              <c:ext xmlns:c16="http://schemas.microsoft.com/office/drawing/2014/chart" uri="{C3380CC4-5D6E-409C-BE32-E72D297353CC}">
                <c16:uniqueId val="{000000FD-2993-41DE-A2CB-63102DE87051}"/>
              </c:ext>
            </c:extLst>
          </c:dPt>
          <c:dPt>
            <c:idx val="126"/>
            <c:invertIfNegative val="1"/>
            <c:bubble3D val="0"/>
            <c:spPr>
              <a:solidFill>
                <a:srgbClr val="AEABAB"/>
              </a:solidFill>
            </c:spPr>
            <c:extLst>
              <c:ext xmlns:c16="http://schemas.microsoft.com/office/drawing/2014/chart" uri="{C3380CC4-5D6E-409C-BE32-E72D297353CC}">
                <c16:uniqueId val="{000000FF-2993-41DE-A2CB-63102DE87051}"/>
              </c:ext>
            </c:extLst>
          </c:dPt>
          <c:dPt>
            <c:idx val="127"/>
            <c:invertIfNegative val="1"/>
            <c:bubble3D val="0"/>
            <c:spPr>
              <a:solidFill>
                <a:srgbClr val="AEABAB"/>
              </a:solidFill>
            </c:spPr>
            <c:extLst>
              <c:ext xmlns:c16="http://schemas.microsoft.com/office/drawing/2014/chart" uri="{C3380CC4-5D6E-409C-BE32-E72D297353CC}">
                <c16:uniqueId val="{00000101-2993-41DE-A2CB-63102DE87051}"/>
              </c:ext>
            </c:extLst>
          </c:dPt>
          <c:dPt>
            <c:idx val="128"/>
            <c:invertIfNegative val="1"/>
            <c:bubble3D val="0"/>
            <c:spPr>
              <a:solidFill>
                <a:srgbClr val="AEABAB"/>
              </a:solidFill>
            </c:spPr>
            <c:extLst>
              <c:ext xmlns:c16="http://schemas.microsoft.com/office/drawing/2014/chart" uri="{C3380CC4-5D6E-409C-BE32-E72D297353CC}">
                <c16:uniqueId val="{00000103-2993-41DE-A2CB-63102DE87051}"/>
              </c:ext>
            </c:extLst>
          </c:dPt>
          <c:dPt>
            <c:idx val="129"/>
            <c:invertIfNegative val="1"/>
            <c:bubble3D val="0"/>
            <c:spPr>
              <a:solidFill>
                <a:srgbClr val="AEABAB"/>
              </a:solidFill>
            </c:spPr>
            <c:extLst>
              <c:ext xmlns:c16="http://schemas.microsoft.com/office/drawing/2014/chart" uri="{C3380CC4-5D6E-409C-BE32-E72D297353CC}">
                <c16:uniqueId val="{00000105-2993-41DE-A2CB-63102DE87051}"/>
              </c:ext>
            </c:extLst>
          </c:dPt>
          <c:dPt>
            <c:idx val="130"/>
            <c:invertIfNegative val="1"/>
            <c:bubble3D val="0"/>
            <c:spPr>
              <a:solidFill>
                <a:srgbClr val="AEABAB"/>
              </a:solidFill>
            </c:spPr>
            <c:extLst>
              <c:ext xmlns:c16="http://schemas.microsoft.com/office/drawing/2014/chart" uri="{C3380CC4-5D6E-409C-BE32-E72D297353CC}">
                <c16:uniqueId val="{00000107-2993-41DE-A2CB-63102DE87051}"/>
              </c:ext>
            </c:extLst>
          </c:dPt>
          <c:dPt>
            <c:idx val="131"/>
            <c:invertIfNegative val="1"/>
            <c:bubble3D val="0"/>
            <c:spPr>
              <a:solidFill>
                <a:srgbClr val="AEABAB"/>
              </a:solidFill>
            </c:spPr>
            <c:extLst>
              <c:ext xmlns:c16="http://schemas.microsoft.com/office/drawing/2014/chart" uri="{C3380CC4-5D6E-409C-BE32-E72D297353CC}">
                <c16:uniqueId val="{00000109-2993-41DE-A2CB-63102DE87051}"/>
              </c:ext>
            </c:extLst>
          </c:dPt>
          <c:dPt>
            <c:idx val="132"/>
            <c:invertIfNegative val="1"/>
            <c:bubble3D val="0"/>
            <c:spPr>
              <a:solidFill>
                <a:srgbClr val="AEABAB"/>
              </a:solidFill>
            </c:spPr>
            <c:extLst>
              <c:ext xmlns:c16="http://schemas.microsoft.com/office/drawing/2014/chart" uri="{C3380CC4-5D6E-409C-BE32-E72D297353CC}">
                <c16:uniqueId val="{0000010B-2993-41DE-A2CB-63102DE87051}"/>
              </c:ext>
            </c:extLst>
          </c:dPt>
          <c:dPt>
            <c:idx val="133"/>
            <c:invertIfNegative val="1"/>
            <c:bubble3D val="0"/>
            <c:spPr>
              <a:solidFill>
                <a:srgbClr val="AEABAB"/>
              </a:solidFill>
            </c:spPr>
            <c:extLst>
              <c:ext xmlns:c16="http://schemas.microsoft.com/office/drawing/2014/chart" uri="{C3380CC4-5D6E-409C-BE32-E72D297353CC}">
                <c16:uniqueId val="{0000010D-2993-41DE-A2CB-63102DE87051}"/>
              </c:ext>
            </c:extLst>
          </c:dPt>
          <c:dPt>
            <c:idx val="134"/>
            <c:invertIfNegative val="1"/>
            <c:bubble3D val="0"/>
            <c:spPr>
              <a:solidFill>
                <a:srgbClr val="AEABAB"/>
              </a:solidFill>
            </c:spPr>
            <c:extLst>
              <c:ext xmlns:c16="http://schemas.microsoft.com/office/drawing/2014/chart" uri="{C3380CC4-5D6E-409C-BE32-E72D297353CC}">
                <c16:uniqueId val="{0000010F-2993-41DE-A2CB-63102DE87051}"/>
              </c:ext>
            </c:extLst>
          </c:dPt>
          <c:dPt>
            <c:idx val="135"/>
            <c:invertIfNegative val="1"/>
            <c:bubble3D val="0"/>
            <c:spPr>
              <a:solidFill>
                <a:srgbClr val="AEABAB"/>
              </a:solidFill>
            </c:spPr>
            <c:extLst>
              <c:ext xmlns:c16="http://schemas.microsoft.com/office/drawing/2014/chart" uri="{C3380CC4-5D6E-409C-BE32-E72D297353CC}">
                <c16:uniqueId val="{00000111-2993-41DE-A2CB-63102DE87051}"/>
              </c:ext>
            </c:extLst>
          </c:dPt>
          <c:dPt>
            <c:idx val="136"/>
            <c:invertIfNegative val="1"/>
            <c:bubble3D val="0"/>
            <c:spPr>
              <a:solidFill>
                <a:srgbClr val="AEABAB"/>
              </a:solidFill>
            </c:spPr>
            <c:extLst>
              <c:ext xmlns:c16="http://schemas.microsoft.com/office/drawing/2014/chart" uri="{C3380CC4-5D6E-409C-BE32-E72D297353CC}">
                <c16:uniqueId val="{00000113-2993-41DE-A2CB-63102DE87051}"/>
              </c:ext>
            </c:extLst>
          </c:dPt>
          <c:dPt>
            <c:idx val="137"/>
            <c:invertIfNegative val="1"/>
            <c:bubble3D val="0"/>
            <c:spPr>
              <a:solidFill>
                <a:srgbClr val="AEABAB"/>
              </a:solidFill>
            </c:spPr>
            <c:extLst>
              <c:ext xmlns:c16="http://schemas.microsoft.com/office/drawing/2014/chart" uri="{C3380CC4-5D6E-409C-BE32-E72D297353CC}">
                <c16:uniqueId val="{00000115-2993-41DE-A2CB-63102DE87051}"/>
              </c:ext>
            </c:extLst>
          </c:dPt>
          <c:dPt>
            <c:idx val="138"/>
            <c:invertIfNegative val="1"/>
            <c:bubble3D val="0"/>
            <c:spPr>
              <a:solidFill>
                <a:srgbClr val="AEABAB"/>
              </a:solidFill>
            </c:spPr>
            <c:extLst>
              <c:ext xmlns:c16="http://schemas.microsoft.com/office/drawing/2014/chart" uri="{C3380CC4-5D6E-409C-BE32-E72D297353CC}">
                <c16:uniqueId val="{00000117-2993-41DE-A2CB-63102DE87051}"/>
              </c:ext>
            </c:extLst>
          </c:dPt>
          <c:dPt>
            <c:idx val="139"/>
            <c:invertIfNegative val="1"/>
            <c:bubble3D val="0"/>
            <c:spPr>
              <a:solidFill>
                <a:srgbClr val="AEABAB"/>
              </a:solidFill>
            </c:spPr>
            <c:extLst>
              <c:ext xmlns:c16="http://schemas.microsoft.com/office/drawing/2014/chart" uri="{C3380CC4-5D6E-409C-BE32-E72D297353CC}">
                <c16:uniqueId val="{00000119-2993-41DE-A2CB-63102DE87051}"/>
              </c:ext>
            </c:extLst>
          </c:dPt>
          <c:dPt>
            <c:idx val="140"/>
            <c:invertIfNegative val="1"/>
            <c:bubble3D val="0"/>
            <c:spPr>
              <a:solidFill>
                <a:srgbClr val="AEABAB"/>
              </a:solidFill>
            </c:spPr>
            <c:extLst>
              <c:ext xmlns:c16="http://schemas.microsoft.com/office/drawing/2014/chart" uri="{C3380CC4-5D6E-409C-BE32-E72D297353CC}">
                <c16:uniqueId val="{0000011B-2993-41DE-A2CB-63102DE87051}"/>
              </c:ext>
            </c:extLst>
          </c:dPt>
          <c:dPt>
            <c:idx val="141"/>
            <c:invertIfNegative val="1"/>
            <c:bubble3D val="0"/>
            <c:spPr>
              <a:solidFill>
                <a:srgbClr val="AEABAB"/>
              </a:solidFill>
            </c:spPr>
            <c:extLst>
              <c:ext xmlns:c16="http://schemas.microsoft.com/office/drawing/2014/chart" uri="{C3380CC4-5D6E-409C-BE32-E72D297353CC}">
                <c16:uniqueId val="{0000011D-2993-41DE-A2CB-63102DE87051}"/>
              </c:ext>
            </c:extLst>
          </c:dPt>
          <c:dPt>
            <c:idx val="142"/>
            <c:invertIfNegative val="1"/>
            <c:bubble3D val="0"/>
            <c:spPr>
              <a:solidFill>
                <a:srgbClr val="AEABAB"/>
              </a:solidFill>
            </c:spPr>
            <c:extLst>
              <c:ext xmlns:c16="http://schemas.microsoft.com/office/drawing/2014/chart" uri="{C3380CC4-5D6E-409C-BE32-E72D297353CC}">
                <c16:uniqueId val="{0000011F-2993-41DE-A2CB-63102DE87051}"/>
              </c:ext>
            </c:extLst>
          </c:dPt>
          <c:dPt>
            <c:idx val="143"/>
            <c:invertIfNegative val="1"/>
            <c:bubble3D val="0"/>
            <c:spPr>
              <a:solidFill>
                <a:srgbClr val="AEABAB"/>
              </a:solidFill>
            </c:spPr>
            <c:extLst>
              <c:ext xmlns:c16="http://schemas.microsoft.com/office/drawing/2014/chart" uri="{C3380CC4-5D6E-409C-BE32-E72D297353CC}">
                <c16:uniqueId val="{00000121-2993-41DE-A2CB-63102DE87051}"/>
              </c:ext>
            </c:extLst>
          </c:dPt>
          <c:dPt>
            <c:idx val="144"/>
            <c:invertIfNegative val="1"/>
            <c:bubble3D val="0"/>
            <c:spPr>
              <a:solidFill>
                <a:srgbClr val="AEABAB"/>
              </a:solidFill>
            </c:spPr>
            <c:extLst>
              <c:ext xmlns:c16="http://schemas.microsoft.com/office/drawing/2014/chart" uri="{C3380CC4-5D6E-409C-BE32-E72D297353CC}">
                <c16:uniqueId val="{00000123-2993-41DE-A2CB-63102DE87051}"/>
              </c:ext>
            </c:extLst>
          </c:dPt>
          <c:dPt>
            <c:idx val="145"/>
            <c:invertIfNegative val="1"/>
            <c:bubble3D val="0"/>
            <c:spPr>
              <a:solidFill>
                <a:srgbClr val="AEABAB"/>
              </a:solidFill>
            </c:spPr>
            <c:extLst>
              <c:ext xmlns:c16="http://schemas.microsoft.com/office/drawing/2014/chart" uri="{C3380CC4-5D6E-409C-BE32-E72D297353CC}">
                <c16:uniqueId val="{00000125-2993-41DE-A2CB-63102DE87051}"/>
              </c:ext>
            </c:extLst>
          </c:dPt>
          <c:dPt>
            <c:idx val="146"/>
            <c:invertIfNegative val="1"/>
            <c:bubble3D val="0"/>
            <c:spPr>
              <a:solidFill>
                <a:srgbClr val="AEABAB"/>
              </a:solidFill>
            </c:spPr>
            <c:extLst>
              <c:ext xmlns:c16="http://schemas.microsoft.com/office/drawing/2014/chart" uri="{C3380CC4-5D6E-409C-BE32-E72D297353CC}">
                <c16:uniqueId val="{00000127-2993-41DE-A2CB-63102DE87051}"/>
              </c:ext>
            </c:extLst>
          </c:dPt>
          <c:dPt>
            <c:idx val="147"/>
            <c:invertIfNegative val="1"/>
            <c:bubble3D val="0"/>
            <c:spPr>
              <a:solidFill>
                <a:srgbClr val="AEABAB"/>
              </a:solidFill>
            </c:spPr>
            <c:extLst>
              <c:ext xmlns:c16="http://schemas.microsoft.com/office/drawing/2014/chart" uri="{C3380CC4-5D6E-409C-BE32-E72D297353CC}">
                <c16:uniqueId val="{00000129-2993-41DE-A2CB-63102DE87051}"/>
              </c:ext>
            </c:extLst>
          </c:dPt>
          <c:dPt>
            <c:idx val="148"/>
            <c:invertIfNegative val="1"/>
            <c:bubble3D val="0"/>
            <c:spPr>
              <a:solidFill>
                <a:srgbClr val="AEABAB"/>
              </a:solidFill>
            </c:spPr>
            <c:extLst>
              <c:ext xmlns:c16="http://schemas.microsoft.com/office/drawing/2014/chart" uri="{C3380CC4-5D6E-409C-BE32-E72D297353CC}">
                <c16:uniqueId val="{0000012B-2993-41DE-A2CB-63102DE87051}"/>
              </c:ext>
            </c:extLst>
          </c:dPt>
          <c:dPt>
            <c:idx val="149"/>
            <c:invertIfNegative val="1"/>
            <c:bubble3D val="0"/>
            <c:spPr>
              <a:solidFill>
                <a:srgbClr val="AEABAB"/>
              </a:solidFill>
            </c:spPr>
            <c:extLst>
              <c:ext xmlns:c16="http://schemas.microsoft.com/office/drawing/2014/chart" uri="{C3380CC4-5D6E-409C-BE32-E72D297353CC}">
                <c16:uniqueId val="{0000012D-2993-41DE-A2CB-63102DE87051}"/>
              </c:ext>
            </c:extLst>
          </c:dPt>
          <c:dPt>
            <c:idx val="150"/>
            <c:invertIfNegative val="1"/>
            <c:bubble3D val="0"/>
            <c:spPr>
              <a:solidFill>
                <a:srgbClr val="AEABAB"/>
              </a:solidFill>
            </c:spPr>
            <c:extLst>
              <c:ext xmlns:c16="http://schemas.microsoft.com/office/drawing/2014/chart" uri="{C3380CC4-5D6E-409C-BE32-E72D297353CC}">
                <c16:uniqueId val="{0000012F-2993-41DE-A2CB-63102DE87051}"/>
              </c:ext>
            </c:extLst>
          </c:dPt>
          <c:dPt>
            <c:idx val="151"/>
            <c:invertIfNegative val="1"/>
            <c:bubble3D val="0"/>
            <c:spPr>
              <a:solidFill>
                <a:srgbClr val="AEABAB"/>
              </a:solidFill>
            </c:spPr>
            <c:extLst>
              <c:ext xmlns:c16="http://schemas.microsoft.com/office/drawing/2014/chart" uri="{C3380CC4-5D6E-409C-BE32-E72D297353CC}">
                <c16:uniqueId val="{00000131-2993-41DE-A2CB-63102DE87051}"/>
              </c:ext>
            </c:extLst>
          </c:dPt>
          <c:dPt>
            <c:idx val="152"/>
            <c:invertIfNegative val="1"/>
            <c:bubble3D val="0"/>
            <c:spPr>
              <a:solidFill>
                <a:srgbClr val="AEABAB"/>
              </a:solidFill>
            </c:spPr>
            <c:extLst>
              <c:ext xmlns:c16="http://schemas.microsoft.com/office/drawing/2014/chart" uri="{C3380CC4-5D6E-409C-BE32-E72D297353CC}">
                <c16:uniqueId val="{00000133-2993-41DE-A2CB-63102DE87051}"/>
              </c:ext>
            </c:extLst>
          </c:dPt>
          <c:dPt>
            <c:idx val="153"/>
            <c:invertIfNegative val="1"/>
            <c:bubble3D val="0"/>
            <c:spPr>
              <a:solidFill>
                <a:srgbClr val="AEABAB"/>
              </a:solidFill>
            </c:spPr>
            <c:extLst>
              <c:ext xmlns:c16="http://schemas.microsoft.com/office/drawing/2014/chart" uri="{C3380CC4-5D6E-409C-BE32-E72D297353CC}">
                <c16:uniqueId val="{00000135-2993-41DE-A2CB-63102DE87051}"/>
              </c:ext>
            </c:extLst>
          </c:dPt>
          <c:dPt>
            <c:idx val="154"/>
            <c:invertIfNegative val="1"/>
            <c:bubble3D val="0"/>
            <c:spPr>
              <a:solidFill>
                <a:srgbClr val="AEABAB"/>
              </a:solidFill>
            </c:spPr>
            <c:extLst>
              <c:ext xmlns:c16="http://schemas.microsoft.com/office/drawing/2014/chart" uri="{C3380CC4-5D6E-409C-BE32-E72D297353CC}">
                <c16:uniqueId val="{00000137-2993-41DE-A2CB-63102DE87051}"/>
              </c:ext>
            </c:extLst>
          </c:dPt>
          <c:dPt>
            <c:idx val="155"/>
            <c:invertIfNegative val="1"/>
            <c:bubble3D val="0"/>
            <c:spPr>
              <a:solidFill>
                <a:srgbClr val="AEABAB"/>
              </a:solidFill>
            </c:spPr>
            <c:extLst>
              <c:ext xmlns:c16="http://schemas.microsoft.com/office/drawing/2014/chart" uri="{C3380CC4-5D6E-409C-BE32-E72D297353CC}">
                <c16:uniqueId val="{00000139-2993-41DE-A2CB-63102DE87051}"/>
              </c:ext>
            </c:extLst>
          </c:dPt>
          <c:dPt>
            <c:idx val="156"/>
            <c:invertIfNegative val="1"/>
            <c:bubble3D val="0"/>
            <c:spPr>
              <a:solidFill>
                <a:srgbClr val="AEABAB"/>
              </a:solidFill>
            </c:spPr>
            <c:extLst>
              <c:ext xmlns:c16="http://schemas.microsoft.com/office/drawing/2014/chart" uri="{C3380CC4-5D6E-409C-BE32-E72D297353CC}">
                <c16:uniqueId val="{0000013B-2993-41DE-A2CB-63102DE87051}"/>
              </c:ext>
            </c:extLst>
          </c:dPt>
          <c:dPt>
            <c:idx val="157"/>
            <c:invertIfNegative val="1"/>
            <c:bubble3D val="0"/>
            <c:spPr>
              <a:solidFill>
                <a:srgbClr val="AEABAB"/>
              </a:solidFill>
            </c:spPr>
            <c:extLst>
              <c:ext xmlns:c16="http://schemas.microsoft.com/office/drawing/2014/chart" uri="{C3380CC4-5D6E-409C-BE32-E72D297353CC}">
                <c16:uniqueId val="{0000013D-2993-41DE-A2CB-63102DE87051}"/>
              </c:ext>
            </c:extLst>
          </c:dPt>
          <c:dPt>
            <c:idx val="158"/>
            <c:invertIfNegative val="1"/>
            <c:bubble3D val="0"/>
            <c:spPr>
              <a:solidFill>
                <a:srgbClr val="AEABAB"/>
              </a:solidFill>
            </c:spPr>
            <c:extLst>
              <c:ext xmlns:c16="http://schemas.microsoft.com/office/drawing/2014/chart" uri="{C3380CC4-5D6E-409C-BE32-E72D297353CC}">
                <c16:uniqueId val="{0000013F-2993-41DE-A2CB-63102DE87051}"/>
              </c:ext>
            </c:extLst>
          </c:dPt>
          <c:dPt>
            <c:idx val="159"/>
            <c:invertIfNegative val="1"/>
            <c:bubble3D val="0"/>
            <c:spPr>
              <a:solidFill>
                <a:srgbClr val="AEABAB"/>
              </a:solidFill>
            </c:spPr>
            <c:extLst>
              <c:ext xmlns:c16="http://schemas.microsoft.com/office/drawing/2014/chart" uri="{C3380CC4-5D6E-409C-BE32-E72D297353CC}">
                <c16:uniqueId val="{00000141-2993-41DE-A2CB-63102DE87051}"/>
              </c:ext>
            </c:extLst>
          </c:dPt>
          <c:dPt>
            <c:idx val="160"/>
            <c:invertIfNegative val="1"/>
            <c:bubble3D val="0"/>
            <c:spPr>
              <a:solidFill>
                <a:srgbClr val="AEABAB"/>
              </a:solidFill>
            </c:spPr>
            <c:extLst>
              <c:ext xmlns:c16="http://schemas.microsoft.com/office/drawing/2014/chart" uri="{C3380CC4-5D6E-409C-BE32-E72D297353CC}">
                <c16:uniqueId val="{00000143-2993-41DE-A2CB-63102DE87051}"/>
              </c:ext>
            </c:extLst>
          </c:dPt>
          <c:dPt>
            <c:idx val="161"/>
            <c:invertIfNegative val="1"/>
            <c:bubble3D val="0"/>
            <c:spPr>
              <a:solidFill>
                <a:srgbClr val="AEABAB"/>
              </a:solidFill>
            </c:spPr>
            <c:extLst>
              <c:ext xmlns:c16="http://schemas.microsoft.com/office/drawing/2014/chart" uri="{C3380CC4-5D6E-409C-BE32-E72D297353CC}">
                <c16:uniqueId val="{00000145-2993-41DE-A2CB-63102DE87051}"/>
              </c:ext>
            </c:extLst>
          </c:dPt>
          <c:dPt>
            <c:idx val="162"/>
            <c:invertIfNegative val="1"/>
            <c:bubble3D val="0"/>
            <c:spPr>
              <a:solidFill>
                <a:srgbClr val="AEABAB"/>
              </a:solidFill>
            </c:spPr>
            <c:extLst>
              <c:ext xmlns:c16="http://schemas.microsoft.com/office/drawing/2014/chart" uri="{C3380CC4-5D6E-409C-BE32-E72D297353CC}">
                <c16:uniqueId val="{00000147-2993-41DE-A2CB-63102DE87051}"/>
              </c:ext>
            </c:extLst>
          </c:dPt>
          <c:dPt>
            <c:idx val="163"/>
            <c:invertIfNegative val="1"/>
            <c:bubble3D val="0"/>
            <c:spPr>
              <a:solidFill>
                <a:srgbClr val="AEABAB"/>
              </a:solidFill>
            </c:spPr>
            <c:extLst>
              <c:ext xmlns:c16="http://schemas.microsoft.com/office/drawing/2014/chart" uri="{C3380CC4-5D6E-409C-BE32-E72D297353CC}">
                <c16:uniqueId val="{00000149-2993-41DE-A2CB-63102DE87051}"/>
              </c:ext>
            </c:extLst>
          </c:dPt>
          <c:dPt>
            <c:idx val="164"/>
            <c:invertIfNegative val="1"/>
            <c:bubble3D val="0"/>
            <c:spPr>
              <a:solidFill>
                <a:srgbClr val="AEABAB"/>
              </a:solidFill>
            </c:spPr>
            <c:extLst>
              <c:ext xmlns:c16="http://schemas.microsoft.com/office/drawing/2014/chart" uri="{C3380CC4-5D6E-409C-BE32-E72D297353CC}">
                <c16:uniqueId val="{0000014B-2993-41DE-A2CB-63102DE87051}"/>
              </c:ext>
            </c:extLst>
          </c:dPt>
          <c:dPt>
            <c:idx val="165"/>
            <c:invertIfNegative val="1"/>
            <c:bubble3D val="0"/>
            <c:spPr>
              <a:solidFill>
                <a:srgbClr val="AEABAB"/>
              </a:solidFill>
            </c:spPr>
            <c:extLst>
              <c:ext xmlns:c16="http://schemas.microsoft.com/office/drawing/2014/chart" uri="{C3380CC4-5D6E-409C-BE32-E72D297353CC}">
                <c16:uniqueId val="{0000014D-2993-41DE-A2CB-63102DE87051}"/>
              </c:ext>
            </c:extLst>
          </c:dPt>
          <c:dPt>
            <c:idx val="166"/>
            <c:invertIfNegative val="1"/>
            <c:bubble3D val="0"/>
            <c:spPr>
              <a:solidFill>
                <a:srgbClr val="AEABAB"/>
              </a:solidFill>
            </c:spPr>
            <c:extLst>
              <c:ext xmlns:c16="http://schemas.microsoft.com/office/drawing/2014/chart" uri="{C3380CC4-5D6E-409C-BE32-E72D297353CC}">
                <c16:uniqueId val="{0000014F-2993-41DE-A2CB-63102DE87051}"/>
              </c:ext>
            </c:extLst>
          </c:dPt>
          <c:dPt>
            <c:idx val="167"/>
            <c:invertIfNegative val="1"/>
            <c:bubble3D val="0"/>
            <c:spPr>
              <a:solidFill>
                <a:srgbClr val="AEABAB"/>
              </a:solidFill>
            </c:spPr>
            <c:extLst>
              <c:ext xmlns:c16="http://schemas.microsoft.com/office/drawing/2014/chart" uri="{C3380CC4-5D6E-409C-BE32-E72D297353CC}">
                <c16:uniqueId val="{00000151-2993-41DE-A2CB-63102DE87051}"/>
              </c:ext>
            </c:extLst>
          </c:dPt>
          <c:dPt>
            <c:idx val="168"/>
            <c:invertIfNegative val="1"/>
            <c:bubble3D val="0"/>
            <c:spPr>
              <a:solidFill>
                <a:srgbClr val="AEABAB"/>
              </a:solidFill>
            </c:spPr>
            <c:extLst>
              <c:ext xmlns:c16="http://schemas.microsoft.com/office/drawing/2014/chart" uri="{C3380CC4-5D6E-409C-BE32-E72D297353CC}">
                <c16:uniqueId val="{00000153-2993-41DE-A2CB-63102DE87051}"/>
              </c:ext>
            </c:extLst>
          </c:dPt>
          <c:dPt>
            <c:idx val="169"/>
            <c:invertIfNegative val="1"/>
            <c:bubble3D val="0"/>
            <c:spPr>
              <a:solidFill>
                <a:srgbClr val="AEABAB"/>
              </a:solidFill>
            </c:spPr>
            <c:extLst>
              <c:ext xmlns:c16="http://schemas.microsoft.com/office/drawing/2014/chart" uri="{C3380CC4-5D6E-409C-BE32-E72D297353CC}">
                <c16:uniqueId val="{00000155-2993-41DE-A2CB-63102DE87051}"/>
              </c:ext>
            </c:extLst>
          </c:dPt>
          <c:dPt>
            <c:idx val="170"/>
            <c:invertIfNegative val="1"/>
            <c:bubble3D val="0"/>
            <c:spPr>
              <a:solidFill>
                <a:srgbClr val="AEABAB"/>
              </a:solidFill>
            </c:spPr>
            <c:extLst>
              <c:ext xmlns:c16="http://schemas.microsoft.com/office/drawing/2014/chart" uri="{C3380CC4-5D6E-409C-BE32-E72D297353CC}">
                <c16:uniqueId val="{00000157-2993-41DE-A2CB-63102DE87051}"/>
              </c:ext>
            </c:extLst>
          </c:dPt>
          <c:dPt>
            <c:idx val="171"/>
            <c:invertIfNegative val="1"/>
            <c:bubble3D val="0"/>
            <c:spPr>
              <a:solidFill>
                <a:srgbClr val="AEABAB"/>
              </a:solidFill>
            </c:spPr>
            <c:extLst>
              <c:ext xmlns:c16="http://schemas.microsoft.com/office/drawing/2014/chart" uri="{C3380CC4-5D6E-409C-BE32-E72D297353CC}">
                <c16:uniqueId val="{00000159-2993-41DE-A2CB-63102DE87051}"/>
              </c:ext>
            </c:extLst>
          </c:dPt>
          <c:dPt>
            <c:idx val="172"/>
            <c:invertIfNegative val="1"/>
            <c:bubble3D val="0"/>
            <c:spPr>
              <a:solidFill>
                <a:srgbClr val="AEABAB"/>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dPt>
            <c:idx val="210"/>
            <c:invertIfNegative val="1"/>
            <c:bubble3D val="0"/>
            <c:spPr>
              <a:solidFill>
                <a:srgbClr val="AEABAB"/>
              </a:solidFill>
            </c:spPr>
            <c:extLst>
              <c:ext xmlns:c16="http://schemas.microsoft.com/office/drawing/2014/chart" uri="{C3380CC4-5D6E-409C-BE32-E72D297353CC}">
                <c16:uniqueId val="{000001A7-61A4-45D4-86A8-775D26425D89}"/>
              </c:ext>
            </c:extLst>
          </c:dPt>
          <c:dPt>
            <c:idx val="211"/>
            <c:invertIfNegative val="1"/>
            <c:bubble3D val="0"/>
            <c:spPr>
              <a:solidFill>
                <a:srgbClr val="AEABAB"/>
              </a:solidFill>
            </c:spPr>
            <c:extLst>
              <c:ext xmlns:c16="http://schemas.microsoft.com/office/drawing/2014/chart" uri="{C3380CC4-5D6E-409C-BE32-E72D297353CC}">
                <c16:uniqueId val="{000001A9-61A4-45D4-86A8-775D26425D89}"/>
              </c:ext>
            </c:extLst>
          </c:dPt>
          <c:dPt>
            <c:idx val="212"/>
            <c:invertIfNegative val="1"/>
            <c:bubble3D val="0"/>
            <c:spPr>
              <a:solidFill>
                <a:srgbClr val="AEABAB"/>
              </a:solidFill>
            </c:spPr>
            <c:extLst>
              <c:ext xmlns:c16="http://schemas.microsoft.com/office/drawing/2014/chart" uri="{C3380CC4-5D6E-409C-BE32-E72D297353CC}">
                <c16:uniqueId val="{000001AB-61A4-45D4-86A8-775D26425D89}"/>
              </c:ext>
            </c:extLst>
          </c:dPt>
          <c:dPt>
            <c:idx val="213"/>
            <c:invertIfNegative val="1"/>
            <c:bubble3D val="0"/>
            <c:spPr>
              <a:solidFill>
                <a:srgbClr val="AEABAB"/>
              </a:solidFill>
            </c:spPr>
            <c:extLst>
              <c:ext xmlns:c16="http://schemas.microsoft.com/office/drawing/2014/chart" uri="{C3380CC4-5D6E-409C-BE32-E72D297353CC}">
                <c16:uniqueId val="{000001AD-61A4-45D4-86A8-775D26425D89}"/>
              </c:ext>
            </c:extLst>
          </c:dPt>
          <c:dPt>
            <c:idx val="214"/>
            <c:invertIfNegative val="1"/>
            <c:bubble3D val="0"/>
            <c:spPr>
              <a:solidFill>
                <a:srgbClr val="AEABAB"/>
              </a:solidFill>
            </c:spPr>
            <c:extLst>
              <c:ext xmlns:c16="http://schemas.microsoft.com/office/drawing/2014/chart" uri="{C3380CC4-5D6E-409C-BE32-E72D297353CC}">
                <c16:uniqueId val="{000001AF-61A4-45D4-86A8-775D26425D89}"/>
              </c:ext>
            </c:extLst>
          </c:dPt>
          <c:dPt>
            <c:idx val="215"/>
            <c:invertIfNegative val="1"/>
            <c:bubble3D val="0"/>
            <c:spPr>
              <a:solidFill>
                <a:srgbClr val="AEABAB"/>
              </a:solidFill>
            </c:spPr>
            <c:extLst>
              <c:ext xmlns:c16="http://schemas.microsoft.com/office/drawing/2014/chart" uri="{C3380CC4-5D6E-409C-BE32-E72D297353CC}">
                <c16:uniqueId val="{000001B1-61A4-45D4-86A8-775D26425D89}"/>
              </c:ext>
            </c:extLst>
          </c:dPt>
          <c:dPt>
            <c:idx val="216"/>
            <c:invertIfNegative val="1"/>
            <c:bubble3D val="0"/>
            <c:spPr>
              <a:solidFill>
                <a:srgbClr val="AEABAB"/>
              </a:solidFill>
            </c:spPr>
            <c:extLst>
              <c:ext xmlns:c16="http://schemas.microsoft.com/office/drawing/2014/chart" uri="{C3380CC4-5D6E-409C-BE32-E72D297353CC}">
                <c16:uniqueId val="{000001B3-61A4-45D4-86A8-775D26425D89}"/>
              </c:ext>
            </c:extLst>
          </c:dPt>
          <c:dPt>
            <c:idx val="217"/>
            <c:invertIfNegative val="1"/>
            <c:bubble3D val="0"/>
            <c:spPr>
              <a:solidFill>
                <a:srgbClr val="AEABAB"/>
              </a:solidFill>
            </c:spPr>
            <c:extLst>
              <c:ext xmlns:c16="http://schemas.microsoft.com/office/drawing/2014/chart" uri="{C3380CC4-5D6E-409C-BE32-E72D297353CC}">
                <c16:uniqueId val="{000001B5-61A4-45D4-86A8-775D26425D89}"/>
              </c:ext>
            </c:extLst>
          </c:dPt>
          <c:dPt>
            <c:idx val="218"/>
            <c:invertIfNegative val="1"/>
            <c:bubble3D val="0"/>
            <c:spPr>
              <a:solidFill>
                <a:srgbClr val="AEABAB"/>
              </a:solidFill>
            </c:spPr>
            <c:extLst>
              <c:ext xmlns:c16="http://schemas.microsoft.com/office/drawing/2014/chart" uri="{C3380CC4-5D6E-409C-BE32-E72D297353CC}">
                <c16:uniqueId val="{000001B7-61A4-45D4-86A8-775D26425D89}"/>
              </c:ext>
            </c:extLst>
          </c:dPt>
          <c:dPt>
            <c:idx val="219"/>
            <c:invertIfNegative val="1"/>
            <c:bubble3D val="0"/>
            <c:spPr>
              <a:solidFill>
                <a:srgbClr val="AEABAB"/>
              </a:solidFill>
            </c:spPr>
            <c:extLst>
              <c:ext xmlns:c16="http://schemas.microsoft.com/office/drawing/2014/chart" uri="{C3380CC4-5D6E-409C-BE32-E72D297353CC}">
                <c16:uniqueId val="{000001B9-61A4-45D4-86A8-775D26425D89}"/>
              </c:ext>
            </c:extLst>
          </c:dPt>
          <c:dPt>
            <c:idx val="220"/>
            <c:invertIfNegative val="1"/>
            <c:bubble3D val="0"/>
            <c:spPr>
              <a:solidFill>
                <a:srgbClr val="AEABAB"/>
              </a:solidFill>
            </c:spPr>
            <c:extLst>
              <c:ext xmlns:c16="http://schemas.microsoft.com/office/drawing/2014/chart" uri="{C3380CC4-5D6E-409C-BE32-E72D297353CC}">
                <c16:uniqueId val="{000001BB-61A4-45D4-86A8-775D26425D89}"/>
              </c:ext>
            </c:extLst>
          </c:dPt>
          <c:dPt>
            <c:idx val="221"/>
            <c:invertIfNegative val="1"/>
            <c:bubble3D val="0"/>
            <c:spPr>
              <a:solidFill>
                <a:srgbClr val="AEABAB"/>
              </a:solidFill>
            </c:spPr>
            <c:extLst>
              <c:ext xmlns:c16="http://schemas.microsoft.com/office/drawing/2014/chart" uri="{C3380CC4-5D6E-409C-BE32-E72D297353CC}">
                <c16:uniqueId val="{000001BD-61A4-45D4-86A8-775D26425D89}"/>
              </c:ext>
            </c:extLst>
          </c:dPt>
          <c:dPt>
            <c:idx val="222"/>
            <c:invertIfNegative val="1"/>
            <c:bubble3D val="0"/>
            <c:spPr>
              <a:solidFill>
                <a:srgbClr val="AEABAB"/>
              </a:solidFill>
            </c:spPr>
            <c:extLst>
              <c:ext xmlns:c16="http://schemas.microsoft.com/office/drawing/2014/chart" uri="{C3380CC4-5D6E-409C-BE32-E72D297353CC}">
                <c16:uniqueId val="{000001BF-61A4-45D4-86A8-775D26425D89}"/>
              </c:ext>
            </c:extLst>
          </c:dPt>
          <c:dPt>
            <c:idx val="223"/>
            <c:invertIfNegative val="1"/>
            <c:bubble3D val="0"/>
            <c:spPr>
              <a:solidFill>
                <a:srgbClr val="AEABAB"/>
              </a:solidFill>
            </c:spPr>
            <c:extLst>
              <c:ext xmlns:c16="http://schemas.microsoft.com/office/drawing/2014/chart" uri="{C3380CC4-5D6E-409C-BE32-E72D297353CC}">
                <c16:uniqueId val="{000001C1-61A4-45D4-86A8-775D26425D89}"/>
              </c:ext>
            </c:extLst>
          </c:dPt>
          <c:dPt>
            <c:idx val="224"/>
            <c:invertIfNegative val="1"/>
            <c:bubble3D val="0"/>
            <c:spPr>
              <a:solidFill>
                <a:srgbClr val="AEABAB"/>
              </a:solidFill>
            </c:spPr>
            <c:extLst>
              <c:ext xmlns:c16="http://schemas.microsoft.com/office/drawing/2014/chart" uri="{C3380CC4-5D6E-409C-BE32-E72D297353CC}">
                <c16:uniqueId val="{000001C3-61A4-45D4-86A8-775D26425D89}"/>
              </c:ext>
            </c:extLst>
          </c:dPt>
          <c:dPt>
            <c:idx val="225"/>
            <c:invertIfNegative val="1"/>
            <c:bubble3D val="0"/>
            <c:spPr>
              <a:solidFill>
                <a:srgbClr val="AEABAB"/>
              </a:solidFill>
            </c:spPr>
            <c:extLst>
              <c:ext xmlns:c16="http://schemas.microsoft.com/office/drawing/2014/chart" uri="{C3380CC4-5D6E-409C-BE32-E72D297353CC}">
                <c16:uniqueId val="{000001C5-61A4-45D4-86A8-775D26425D89}"/>
              </c:ext>
            </c:extLst>
          </c:dPt>
          <c:dPt>
            <c:idx val="226"/>
            <c:invertIfNegative val="1"/>
            <c:bubble3D val="0"/>
            <c:spPr>
              <a:solidFill>
                <a:srgbClr val="AEABAB"/>
              </a:solidFill>
            </c:spPr>
            <c:extLst>
              <c:ext xmlns:c16="http://schemas.microsoft.com/office/drawing/2014/chart" uri="{C3380CC4-5D6E-409C-BE32-E72D297353CC}">
                <c16:uniqueId val="{000001C7-61A4-45D4-86A8-775D26425D89}"/>
              </c:ext>
            </c:extLst>
          </c:dPt>
          <c:dPt>
            <c:idx val="227"/>
            <c:invertIfNegative val="1"/>
            <c:bubble3D val="0"/>
            <c:spPr>
              <a:solidFill>
                <a:srgbClr val="AEABAB"/>
              </a:solidFill>
            </c:spPr>
            <c:extLst>
              <c:ext xmlns:c16="http://schemas.microsoft.com/office/drawing/2014/chart" uri="{C3380CC4-5D6E-409C-BE32-E72D297353CC}">
                <c16:uniqueId val="{000001C9-61A4-45D4-86A8-775D26425D89}"/>
              </c:ext>
            </c:extLst>
          </c:dPt>
          <c:dPt>
            <c:idx val="228"/>
            <c:invertIfNegative val="1"/>
            <c:bubble3D val="0"/>
            <c:spPr>
              <a:solidFill>
                <a:srgbClr val="AEABAB"/>
              </a:solidFill>
            </c:spPr>
            <c:extLst>
              <c:ext xmlns:c16="http://schemas.microsoft.com/office/drawing/2014/chart" uri="{C3380CC4-5D6E-409C-BE32-E72D297353CC}">
                <c16:uniqueId val="{000001CB-61A4-45D4-86A8-775D26425D89}"/>
              </c:ext>
            </c:extLst>
          </c:dPt>
          <c:dPt>
            <c:idx val="229"/>
            <c:invertIfNegative val="1"/>
            <c:bubble3D val="0"/>
            <c:spPr>
              <a:solidFill>
                <a:srgbClr val="AEABAB"/>
              </a:solidFill>
            </c:spPr>
            <c:extLst>
              <c:ext xmlns:c16="http://schemas.microsoft.com/office/drawing/2014/chart" uri="{C3380CC4-5D6E-409C-BE32-E72D297353CC}">
                <c16:uniqueId val="{000001CD-61A4-45D4-86A8-775D26425D89}"/>
              </c:ext>
            </c:extLst>
          </c:dPt>
          <c:dPt>
            <c:idx val="230"/>
            <c:invertIfNegative val="1"/>
            <c:bubble3D val="0"/>
            <c:spPr>
              <a:solidFill>
                <a:srgbClr val="AEABAB"/>
              </a:solidFill>
            </c:spPr>
            <c:extLst>
              <c:ext xmlns:c16="http://schemas.microsoft.com/office/drawing/2014/chart" uri="{C3380CC4-5D6E-409C-BE32-E72D297353CC}">
                <c16:uniqueId val="{000001CF-61A4-45D4-86A8-775D26425D89}"/>
              </c:ext>
            </c:extLst>
          </c:dPt>
          <c:dPt>
            <c:idx val="231"/>
            <c:invertIfNegative val="1"/>
            <c:bubble3D val="0"/>
            <c:spPr>
              <a:solidFill>
                <a:srgbClr val="AEABAB"/>
              </a:solidFill>
            </c:spPr>
            <c:extLst>
              <c:ext xmlns:c16="http://schemas.microsoft.com/office/drawing/2014/chart" uri="{C3380CC4-5D6E-409C-BE32-E72D297353CC}">
                <c16:uniqueId val="{000001D1-61A4-45D4-86A8-775D26425D89}"/>
              </c:ext>
            </c:extLst>
          </c:dPt>
          <c:dPt>
            <c:idx val="232"/>
            <c:invertIfNegative val="1"/>
            <c:bubble3D val="0"/>
            <c:spPr>
              <a:solidFill>
                <a:srgbClr val="AEABAB"/>
              </a:solidFill>
            </c:spPr>
            <c:extLst>
              <c:ext xmlns:c16="http://schemas.microsoft.com/office/drawing/2014/chart" uri="{C3380CC4-5D6E-409C-BE32-E72D297353CC}">
                <c16:uniqueId val="{000001D3-61A4-45D4-86A8-775D26425D89}"/>
              </c:ext>
            </c:extLst>
          </c:dPt>
          <c:dPt>
            <c:idx val="233"/>
            <c:invertIfNegative val="1"/>
            <c:bubble3D val="0"/>
            <c:spPr>
              <a:solidFill>
                <a:srgbClr val="AEABAB"/>
              </a:solidFill>
            </c:spPr>
            <c:extLst>
              <c:ext xmlns:c16="http://schemas.microsoft.com/office/drawing/2014/chart" uri="{C3380CC4-5D6E-409C-BE32-E72D297353CC}">
                <c16:uniqueId val="{000001D5-61A4-45D4-86A8-775D26425D89}"/>
              </c:ext>
            </c:extLst>
          </c:dPt>
          <c:dPt>
            <c:idx val="234"/>
            <c:invertIfNegative val="1"/>
            <c:bubble3D val="0"/>
            <c:spPr>
              <a:solidFill>
                <a:srgbClr val="AEABAB"/>
              </a:solidFill>
            </c:spPr>
            <c:extLst>
              <c:ext xmlns:c16="http://schemas.microsoft.com/office/drawing/2014/chart" uri="{C3380CC4-5D6E-409C-BE32-E72D297353CC}">
                <c16:uniqueId val="{000001D7-61A4-45D4-86A8-775D26425D89}"/>
              </c:ext>
            </c:extLst>
          </c:dPt>
          <c:dPt>
            <c:idx val="235"/>
            <c:invertIfNegative val="1"/>
            <c:bubble3D val="0"/>
            <c:spPr>
              <a:solidFill>
                <a:srgbClr val="AEABAB"/>
              </a:solidFill>
            </c:spPr>
            <c:extLst>
              <c:ext xmlns:c16="http://schemas.microsoft.com/office/drawing/2014/chart" uri="{C3380CC4-5D6E-409C-BE32-E72D297353CC}">
                <c16:uniqueId val="{000001D9-61A4-45D4-86A8-775D26425D89}"/>
              </c:ext>
            </c:extLst>
          </c:dPt>
          <c:dPt>
            <c:idx val="236"/>
            <c:invertIfNegative val="1"/>
            <c:bubble3D val="0"/>
            <c:spPr>
              <a:solidFill>
                <a:srgbClr val="AEABAB"/>
              </a:solidFill>
            </c:spPr>
            <c:extLst>
              <c:ext xmlns:c16="http://schemas.microsoft.com/office/drawing/2014/chart" uri="{C3380CC4-5D6E-409C-BE32-E72D297353CC}">
                <c16:uniqueId val="{000001DB-61A4-45D4-86A8-775D26425D89}"/>
              </c:ext>
            </c:extLst>
          </c:dPt>
          <c:dPt>
            <c:idx val="237"/>
            <c:invertIfNegative val="1"/>
            <c:bubble3D val="0"/>
            <c:spPr>
              <a:solidFill>
                <a:srgbClr val="AEABAB"/>
              </a:solidFill>
            </c:spPr>
            <c:extLst>
              <c:ext xmlns:c16="http://schemas.microsoft.com/office/drawing/2014/chart" uri="{C3380CC4-5D6E-409C-BE32-E72D297353CC}">
                <c16:uniqueId val="{000001DD-61A4-45D4-86A8-775D26425D89}"/>
              </c:ext>
            </c:extLst>
          </c:dPt>
          <c:dPt>
            <c:idx val="238"/>
            <c:invertIfNegative val="1"/>
            <c:bubble3D val="0"/>
            <c:spPr>
              <a:solidFill>
                <a:srgbClr val="AEABAB"/>
              </a:solidFill>
            </c:spPr>
            <c:extLst>
              <c:ext xmlns:c16="http://schemas.microsoft.com/office/drawing/2014/chart" uri="{C3380CC4-5D6E-409C-BE32-E72D297353CC}">
                <c16:uniqueId val="{000001DF-61A4-45D4-86A8-775D26425D89}"/>
              </c:ext>
            </c:extLst>
          </c:dPt>
          <c:dPt>
            <c:idx val="239"/>
            <c:invertIfNegative val="1"/>
            <c:bubble3D val="0"/>
            <c:spPr>
              <a:solidFill>
                <a:srgbClr val="AEABAB"/>
              </a:solidFill>
            </c:spPr>
            <c:extLst>
              <c:ext xmlns:c16="http://schemas.microsoft.com/office/drawing/2014/chart" uri="{C3380CC4-5D6E-409C-BE32-E72D297353CC}">
                <c16:uniqueId val="{000001E1-61A4-45D4-86A8-775D26425D89}"/>
              </c:ext>
            </c:extLst>
          </c:dPt>
          <c:dPt>
            <c:idx val="240"/>
            <c:invertIfNegative val="1"/>
            <c:bubble3D val="0"/>
            <c:spPr>
              <a:solidFill>
                <a:srgbClr val="AEABAB"/>
              </a:solidFill>
            </c:spPr>
            <c:extLst>
              <c:ext xmlns:c16="http://schemas.microsoft.com/office/drawing/2014/chart" uri="{C3380CC4-5D6E-409C-BE32-E72D297353CC}">
                <c16:uniqueId val="{000001E3-61A4-45D4-86A8-775D26425D89}"/>
              </c:ext>
            </c:extLst>
          </c:dPt>
          <c:dPt>
            <c:idx val="241"/>
            <c:invertIfNegative val="1"/>
            <c:bubble3D val="0"/>
            <c:spPr>
              <a:solidFill>
                <a:srgbClr val="AEABAB"/>
              </a:solidFill>
            </c:spPr>
            <c:extLst>
              <c:ext xmlns:c16="http://schemas.microsoft.com/office/drawing/2014/chart" uri="{C3380CC4-5D6E-409C-BE32-E72D297353CC}">
                <c16:uniqueId val="{000001E5-61A4-45D4-86A8-775D26425D89}"/>
              </c:ext>
            </c:extLst>
          </c:dPt>
          <c:dPt>
            <c:idx val="242"/>
            <c:invertIfNegative val="1"/>
            <c:bubble3D val="0"/>
            <c:spPr>
              <a:solidFill>
                <a:srgbClr val="AEABAB"/>
              </a:solidFill>
            </c:spPr>
            <c:extLst>
              <c:ext xmlns:c16="http://schemas.microsoft.com/office/drawing/2014/chart" uri="{C3380CC4-5D6E-409C-BE32-E72D297353CC}">
                <c16:uniqueId val="{000001E7-61A4-45D4-86A8-775D26425D89}"/>
              </c:ext>
            </c:extLst>
          </c:dPt>
          <c:dPt>
            <c:idx val="243"/>
            <c:invertIfNegative val="1"/>
            <c:bubble3D val="0"/>
            <c:spPr>
              <a:solidFill>
                <a:srgbClr val="AEABAB"/>
              </a:solidFill>
            </c:spPr>
            <c:extLst>
              <c:ext xmlns:c16="http://schemas.microsoft.com/office/drawing/2014/chart" uri="{C3380CC4-5D6E-409C-BE32-E72D297353CC}">
                <c16:uniqueId val="{000001E9-61A4-45D4-86A8-775D26425D89}"/>
              </c:ext>
            </c:extLst>
          </c:dPt>
          <c:dPt>
            <c:idx val="244"/>
            <c:invertIfNegative val="1"/>
            <c:bubble3D val="0"/>
            <c:spPr>
              <a:solidFill>
                <a:srgbClr val="AEABAB"/>
              </a:solidFill>
            </c:spPr>
            <c:extLst>
              <c:ext xmlns:c16="http://schemas.microsoft.com/office/drawing/2014/chart" uri="{C3380CC4-5D6E-409C-BE32-E72D297353CC}">
                <c16:uniqueId val="{000001EB-61A4-45D4-86A8-775D26425D89}"/>
              </c:ext>
            </c:extLst>
          </c:dPt>
          <c:dPt>
            <c:idx val="245"/>
            <c:invertIfNegative val="1"/>
            <c:bubble3D val="0"/>
            <c:spPr>
              <a:solidFill>
                <a:srgbClr val="AEABAB"/>
              </a:solidFill>
            </c:spPr>
            <c:extLst>
              <c:ext xmlns:c16="http://schemas.microsoft.com/office/drawing/2014/chart" uri="{C3380CC4-5D6E-409C-BE32-E72D297353CC}">
                <c16:uniqueId val="{000001ED-61A4-45D4-86A8-775D26425D89}"/>
              </c:ext>
            </c:extLst>
          </c:dPt>
          <c:dPt>
            <c:idx val="246"/>
            <c:invertIfNegative val="1"/>
            <c:bubble3D val="0"/>
            <c:spPr>
              <a:solidFill>
                <a:srgbClr val="AEABAB"/>
              </a:solidFill>
            </c:spPr>
            <c:extLst>
              <c:ext xmlns:c16="http://schemas.microsoft.com/office/drawing/2014/chart" uri="{C3380CC4-5D6E-409C-BE32-E72D297353CC}">
                <c16:uniqueId val="{000001EF-61A4-45D4-86A8-775D26425D89}"/>
              </c:ext>
            </c:extLst>
          </c:dPt>
          <c:dPt>
            <c:idx val="247"/>
            <c:invertIfNegative val="1"/>
            <c:bubble3D val="0"/>
            <c:spPr>
              <a:solidFill>
                <a:srgbClr val="AEABAB"/>
              </a:solidFill>
            </c:spPr>
            <c:extLst>
              <c:ext xmlns:c16="http://schemas.microsoft.com/office/drawing/2014/chart" uri="{C3380CC4-5D6E-409C-BE32-E72D297353CC}">
                <c16:uniqueId val="{000001F1-61A4-45D4-86A8-775D26425D89}"/>
              </c:ext>
            </c:extLst>
          </c:dPt>
          <c:dPt>
            <c:idx val="248"/>
            <c:invertIfNegative val="1"/>
            <c:bubble3D val="0"/>
            <c:spPr>
              <a:solidFill>
                <a:srgbClr val="AEABAB"/>
              </a:solidFill>
            </c:spPr>
            <c:extLst>
              <c:ext xmlns:c16="http://schemas.microsoft.com/office/drawing/2014/chart" uri="{C3380CC4-5D6E-409C-BE32-E72D297353CC}">
                <c16:uniqueId val="{000001F3-61A4-45D4-86A8-775D26425D89}"/>
              </c:ext>
            </c:extLst>
          </c:dPt>
          <c:dPt>
            <c:idx val="249"/>
            <c:invertIfNegative val="1"/>
            <c:bubble3D val="0"/>
            <c:spPr>
              <a:solidFill>
                <a:srgbClr val="AEABAB"/>
              </a:solidFill>
            </c:spPr>
            <c:extLst>
              <c:ext xmlns:c16="http://schemas.microsoft.com/office/drawing/2014/chart" uri="{C3380CC4-5D6E-409C-BE32-E72D297353CC}">
                <c16:uniqueId val="{000001F5-61A4-45D4-86A8-775D26425D89}"/>
              </c:ext>
            </c:extLst>
          </c:dPt>
          <c:dPt>
            <c:idx val="250"/>
            <c:invertIfNegative val="1"/>
            <c:bubble3D val="0"/>
            <c:spPr>
              <a:solidFill>
                <a:srgbClr val="AEABAB"/>
              </a:solidFill>
            </c:spPr>
            <c:extLst>
              <c:ext xmlns:c16="http://schemas.microsoft.com/office/drawing/2014/chart" uri="{C3380CC4-5D6E-409C-BE32-E72D297353CC}">
                <c16:uniqueId val="{000001F7-61A4-45D4-86A8-775D26425D89}"/>
              </c:ext>
            </c:extLst>
          </c:dPt>
          <c:dPt>
            <c:idx val="251"/>
            <c:invertIfNegative val="1"/>
            <c:bubble3D val="0"/>
            <c:spPr>
              <a:solidFill>
                <a:srgbClr val="AEABAB"/>
              </a:solidFill>
            </c:spPr>
            <c:extLst>
              <c:ext xmlns:c16="http://schemas.microsoft.com/office/drawing/2014/chart" uri="{C3380CC4-5D6E-409C-BE32-E72D297353CC}">
                <c16:uniqueId val="{000001F9-61A4-45D4-86A8-775D26425D89}"/>
              </c:ext>
            </c:extLst>
          </c:dPt>
          <c:dPt>
            <c:idx val="252"/>
            <c:invertIfNegative val="1"/>
            <c:bubble3D val="0"/>
            <c:spPr>
              <a:solidFill>
                <a:srgbClr val="AEABAB"/>
              </a:solidFill>
            </c:spPr>
            <c:extLst>
              <c:ext xmlns:c16="http://schemas.microsoft.com/office/drawing/2014/chart" uri="{C3380CC4-5D6E-409C-BE32-E72D297353CC}">
                <c16:uniqueId val="{000001FB-61A4-45D4-86A8-775D26425D89}"/>
              </c:ext>
            </c:extLst>
          </c:dPt>
          <c:dPt>
            <c:idx val="253"/>
            <c:invertIfNegative val="1"/>
            <c:bubble3D val="0"/>
            <c:spPr>
              <a:solidFill>
                <a:srgbClr val="AEABAB"/>
              </a:solidFill>
            </c:spPr>
            <c:extLst>
              <c:ext xmlns:c16="http://schemas.microsoft.com/office/drawing/2014/chart" uri="{C3380CC4-5D6E-409C-BE32-E72D297353CC}">
                <c16:uniqueId val="{000001FD-61A4-45D4-86A8-775D26425D89}"/>
              </c:ext>
            </c:extLst>
          </c:dPt>
          <c:dPt>
            <c:idx val="254"/>
            <c:invertIfNegative val="1"/>
            <c:bubble3D val="0"/>
            <c:spPr>
              <a:solidFill>
                <a:srgbClr val="AEABAB"/>
              </a:solidFill>
            </c:spPr>
            <c:extLst>
              <c:ext xmlns:c16="http://schemas.microsoft.com/office/drawing/2014/chart" uri="{C3380CC4-5D6E-409C-BE32-E72D297353CC}">
                <c16:uniqueId val="{000001FF-61A4-45D4-86A8-775D26425D89}"/>
              </c:ext>
            </c:extLst>
          </c:dPt>
          <c:dPt>
            <c:idx val="255"/>
            <c:invertIfNegative val="1"/>
            <c:bubble3D val="0"/>
            <c:spPr>
              <a:solidFill>
                <a:srgbClr val="AEABAB"/>
              </a:solidFill>
            </c:spPr>
            <c:extLst>
              <c:ext xmlns:c16="http://schemas.microsoft.com/office/drawing/2014/chart" uri="{C3380CC4-5D6E-409C-BE32-E72D297353CC}">
                <c16:uniqueId val="{00000201-61A4-45D4-86A8-775D26425D89}"/>
              </c:ext>
            </c:extLst>
          </c:dPt>
          <c:dPt>
            <c:idx val="256"/>
            <c:invertIfNegative val="1"/>
            <c:bubble3D val="0"/>
            <c:spPr>
              <a:solidFill>
                <a:srgbClr val="AEABAB"/>
              </a:solidFill>
            </c:spPr>
            <c:extLst>
              <c:ext xmlns:c16="http://schemas.microsoft.com/office/drawing/2014/chart" uri="{C3380CC4-5D6E-409C-BE32-E72D297353CC}">
                <c16:uniqueId val="{00000203-61A4-45D4-86A8-775D26425D89}"/>
              </c:ext>
            </c:extLst>
          </c:dPt>
          <c:dPt>
            <c:idx val="257"/>
            <c:invertIfNegative val="1"/>
            <c:bubble3D val="0"/>
            <c:spPr>
              <a:solidFill>
                <a:srgbClr val="AEABAB"/>
              </a:solidFill>
            </c:spPr>
            <c:extLst>
              <c:ext xmlns:c16="http://schemas.microsoft.com/office/drawing/2014/chart" uri="{C3380CC4-5D6E-409C-BE32-E72D297353CC}">
                <c16:uniqueId val="{00000205-61A4-45D4-86A8-775D26425D89}"/>
              </c:ext>
            </c:extLst>
          </c:dPt>
          <c:dPt>
            <c:idx val="258"/>
            <c:invertIfNegative val="1"/>
            <c:bubble3D val="0"/>
            <c:spPr>
              <a:solidFill>
                <a:srgbClr val="AEABAB"/>
              </a:solidFill>
            </c:spPr>
            <c:extLst>
              <c:ext xmlns:c16="http://schemas.microsoft.com/office/drawing/2014/chart" uri="{C3380CC4-5D6E-409C-BE32-E72D297353CC}">
                <c16:uniqueId val="{00000207-61A4-45D4-86A8-775D26425D89}"/>
              </c:ext>
            </c:extLst>
          </c:dPt>
          <c:dPt>
            <c:idx val="259"/>
            <c:invertIfNegative val="1"/>
            <c:bubble3D val="0"/>
            <c:spPr>
              <a:solidFill>
                <a:srgbClr val="AEABAB"/>
              </a:solidFill>
            </c:spPr>
            <c:extLst>
              <c:ext xmlns:c16="http://schemas.microsoft.com/office/drawing/2014/chart" uri="{C3380CC4-5D6E-409C-BE32-E72D297353CC}">
                <c16:uniqueId val="{00000209-61A4-45D4-86A8-775D26425D89}"/>
              </c:ext>
            </c:extLst>
          </c:dPt>
          <c:dPt>
            <c:idx val="260"/>
            <c:invertIfNegative val="1"/>
            <c:bubble3D val="0"/>
            <c:spPr>
              <a:solidFill>
                <a:srgbClr val="AEABAB"/>
              </a:solidFill>
            </c:spPr>
            <c:extLst>
              <c:ext xmlns:c16="http://schemas.microsoft.com/office/drawing/2014/chart" uri="{C3380CC4-5D6E-409C-BE32-E72D297353CC}">
                <c16:uniqueId val="{0000020B-61A4-45D4-86A8-775D26425D89}"/>
              </c:ext>
            </c:extLst>
          </c:dPt>
          <c:dPt>
            <c:idx val="261"/>
            <c:invertIfNegative val="1"/>
            <c:bubble3D val="0"/>
            <c:spPr>
              <a:solidFill>
                <a:srgbClr val="AEABAB"/>
              </a:solidFill>
            </c:spPr>
            <c:extLst>
              <c:ext xmlns:c16="http://schemas.microsoft.com/office/drawing/2014/chart" uri="{C3380CC4-5D6E-409C-BE32-E72D297353CC}">
                <c16:uniqueId val="{0000020D-61A4-45D4-86A8-775D26425D89}"/>
              </c:ext>
            </c:extLst>
          </c:dPt>
          <c:dPt>
            <c:idx val="262"/>
            <c:invertIfNegative val="1"/>
            <c:bubble3D val="0"/>
            <c:spPr>
              <a:solidFill>
                <a:srgbClr val="AEABAB"/>
              </a:solidFill>
            </c:spPr>
            <c:extLst>
              <c:ext xmlns:c16="http://schemas.microsoft.com/office/drawing/2014/chart" uri="{C3380CC4-5D6E-409C-BE32-E72D297353CC}">
                <c16:uniqueId val="{0000020F-61A4-45D4-86A8-775D26425D89}"/>
              </c:ext>
            </c:extLst>
          </c:dPt>
          <c:dPt>
            <c:idx val="263"/>
            <c:invertIfNegative val="1"/>
            <c:bubble3D val="0"/>
            <c:spPr>
              <a:solidFill>
                <a:srgbClr val="AEABAB"/>
              </a:solidFill>
            </c:spPr>
            <c:extLst>
              <c:ext xmlns:c16="http://schemas.microsoft.com/office/drawing/2014/chart" uri="{C3380CC4-5D6E-409C-BE32-E72D297353CC}">
                <c16:uniqueId val="{00000211-61A4-45D4-86A8-775D26425D89}"/>
              </c:ext>
            </c:extLst>
          </c:dPt>
          <c:dPt>
            <c:idx val="264"/>
            <c:invertIfNegative val="1"/>
            <c:bubble3D val="0"/>
            <c:spPr>
              <a:solidFill>
                <a:srgbClr val="AEABAB"/>
              </a:solidFill>
            </c:spPr>
            <c:extLst>
              <c:ext xmlns:c16="http://schemas.microsoft.com/office/drawing/2014/chart" uri="{C3380CC4-5D6E-409C-BE32-E72D297353CC}">
                <c16:uniqueId val="{00000213-61A4-45D4-86A8-775D26425D89}"/>
              </c:ext>
            </c:extLst>
          </c:dPt>
          <c:dPt>
            <c:idx val="265"/>
            <c:invertIfNegative val="1"/>
            <c:bubble3D val="0"/>
            <c:spPr>
              <a:solidFill>
                <a:srgbClr val="AEABAB"/>
              </a:solidFill>
            </c:spPr>
            <c:extLst>
              <c:ext xmlns:c16="http://schemas.microsoft.com/office/drawing/2014/chart" uri="{C3380CC4-5D6E-409C-BE32-E72D297353CC}">
                <c16:uniqueId val="{00000215-61A4-45D4-86A8-775D26425D89}"/>
              </c:ext>
            </c:extLst>
          </c:dPt>
          <c:dPt>
            <c:idx val="266"/>
            <c:invertIfNegative val="1"/>
            <c:bubble3D val="0"/>
            <c:spPr>
              <a:solidFill>
                <a:srgbClr val="AEABAB"/>
              </a:solidFill>
            </c:spPr>
            <c:extLst>
              <c:ext xmlns:c16="http://schemas.microsoft.com/office/drawing/2014/chart" uri="{C3380CC4-5D6E-409C-BE32-E72D297353CC}">
                <c16:uniqueId val="{00000217-61A4-45D4-86A8-775D26425D89}"/>
              </c:ext>
            </c:extLst>
          </c:dPt>
          <c:dPt>
            <c:idx val="267"/>
            <c:invertIfNegative val="1"/>
            <c:bubble3D val="0"/>
            <c:spPr>
              <a:solidFill>
                <a:srgbClr val="AEABAB"/>
              </a:solidFill>
            </c:spPr>
            <c:extLst>
              <c:ext xmlns:c16="http://schemas.microsoft.com/office/drawing/2014/chart" uri="{C3380CC4-5D6E-409C-BE32-E72D297353CC}">
                <c16:uniqueId val="{00000219-61A4-45D4-86A8-775D26425D89}"/>
              </c:ext>
            </c:extLst>
          </c:dPt>
          <c:dPt>
            <c:idx val="268"/>
            <c:invertIfNegative val="1"/>
            <c:bubble3D val="0"/>
            <c:spPr>
              <a:solidFill>
                <a:srgbClr val="AEABAB"/>
              </a:solidFill>
            </c:spPr>
            <c:extLst>
              <c:ext xmlns:c16="http://schemas.microsoft.com/office/drawing/2014/chart" uri="{C3380CC4-5D6E-409C-BE32-E72D297353CC}">
                <c16:uniqueId val="{0000021B-61A4-45D4-86A8-775D26425D89}"/>
              </c:ext>
            </c:extLst>
          </c:dPt>
          <c:dPt>
            <c:idx val="269"/>
            <c:invertIfNegative val="1"/>
            <c:bubble3D val="0"/>
            <c:spPr>
              <a:solidFill>
                <a:srgbClr val="AEABAB"/>
              </a:solidFill>
            </c:spPr>
            <c:extLst>
              <c:ext xmlns:c16="http://schemas.microsoft.com/office/drawing/2014/chart" uri="{C3380CC4-5D6E-409C-BE32-E72D297353CC}">
                <c16:uniqueId val="{0000021D-61A4-45D4-86A8-775D26425D89}"/>
              </c:ext>
            </c:extLst>
          </c:dPt>
          <c:dPt>
            <c:idx val="270"/>
            <c:invertIfNegative val="1"/>
            <c:bubble3D val="0"/>
            <c:spPr>
              <a:solidFill>
                <a:srgbClr val="AEABAB"/>
              </a:solidFill>
            </c:spPr>
            <c:extLst>
              <c:ext xmlns:c16="http://schemas.microsoft.com/office/drawing/2014/chart" uri="{C3380CC4-5D6E-409C-BE32-E72D297353CC}">
                <c16:uniqueId val="{0000021F-61A4-45D4-86A8-775D26425D89}"/>
              </c:ext>
            </c:extLst>
          </c:dPt>
          <c:dPt>
            <c:idx val="271"/>
            <c:invertIfNegative val="1"/>
            <c:bubble3D val="0"/>
            <c:spPr>
              <a:solidFill>
                <a:srgbClr val="AEABAB"/>
              </a:solidFill>
            </c:spPr>
            <c:extLst>
              <c:ext xmlns:c16="http://schemas.microsoft.com/office/drawing/2014/chart" uri="{C3380CC4-5D6E-409C-BE32-E72D297353CC}">
                <c16:uniqueId val="{00000221-61A4-45D4-86A8-775D26425D89}"/>
              </c:ext>
            </c:extLst>
          </c:dPt>
          <c:dPt>
            <c:idx val="272"/>
            <c:invertIfNegative val="1"/>
            <c:bubble3D val="0"/>
            <c:spPr>
              <a:solidFill>
                <a:srgbClr val="AEABAB"/>
              </a:solidFill>
            </c:spPr>
            <c:extLst>
              <c:ext xmlns:c16="http://schemas.microsoft.com/office/drawing/2014/chart" uri="{C3380CC4-5D6E-409C-BE32-E72D297353CC}">
                <c16:uniqueId val="{00000223-61A4-45D4-86A8-775D26425D89}"/>
              </c:ext>
            </c:extLst>
          </c:dPt>
          <c:dPt>
            <c:idx val="273"/>
            <c:invertIfNegative val="1"/>
            <c:bubble3D val="0"/>
            <c:spPr>
              <a:solidFill>
                <a:srgbClr val="AEABAB"/>
              </a:solidFill>
            </c:spPr>
            <c:extLst>
              <c:ext xmlns:c16="http://schemas.microsoft.com/office/drawing/2014/chart" uri="{C3380CC4-5D6E-409C-BE32-E72D297353CC}">
                <c16:uniqueId val="{00000225-61A4-45D4-86A8-775D26425D89}"/>
              </c:ext>
            </c:extLst>
          </c:dPt>
          <c:dPt>
            <c:idx val="274"/>
            <c:invertIfNegative val="1"/>
            <c:bubble3D val="0"/>
            <c:spPr>
              <a:solidFill>
                <a:srgbClr val="AEABAB"/>
              </a:solidFill>
            </c:spPr>
            <c:extLst>
              <c:ext xmlns:c16="http://schemas.microsoft.com/office/drawing/2014/chart" uri="{C3380CC4-5D6E-409C-BE32-E72D297353CC}">
                <c16:uniqueId val="{00000227-61A4-45D4-86A8-775D26425D89}"/>
              </c:ext>
            </c:extLst>
          </c:dPt>
          <c:dPt>
            <c:idx val="275"/>
            <c:invertIfNegative val="1"/>
            <c:bubble3D val="0"/>
            <c:spPr>
              <a:solidFill>
                <a:srgbClr val="AEABAB"/>
              </a:solidFill>
            </c:spPr>
            <c:extLst>
              <c:ext xmlns:c16="http://schemas.microsoft.com/office/drawing/2014/chart" uri="{C3380CC4-5D6E-409C-BE32-E72D297353CC}">
                <c16:uniqueId val="{00000229-61A4-45D4-86A8-775D26425D89}"/>
              </c:ext>
            </c:extLst>
          </c:dPt>
          <c:dPt>
            <c:idx val="276"/>
            <c:invertIfNegative val="1"/>
            <c:bubble3D val="0"/>
            <c:spPr>
              <a:solidFill>
                <a:srgbClr val="AEABAB"/>
              </a:solidFill>
            </c:spPr>
            <c:extLst>
              <c:ext xmlns:c16="http://schemas.microsoft.com/office/drawing/2014/chart" uri="{C3380CC4-5D6E-409C-BE32-E72D297353CC}">
                <c16:uniqueId val="{0000022B-61A4-45D4-86A8-775D26425D89}"/>
              </c:ext>
            </c:extLst>
          </c:dPt>
          <c:dPt>
            <c:idx val="277"/>
            <c:invertIfNegative val="1"/>
            <c:bubble3D val="0"/>
            <c:spPr>
              <a:solidFill>
                <a:srgbClr val="AEABAB"/>
              </a:solidFill>
            </c:spPr>
            <c:extLst>
              <c:ext xmlns:c16="http://schemas.microsoft.com/office/drawing/2014/chart" uri="{C3380CC4-5D6E-409C-BE32-E72D297353CC}">
                <c16:uniqueId val="{0000022D-61A4-45D4-86A8-775D26425D89}"/>
              </c:ext>
            </c:extLst>
          </c:dPt>
          <c:dPt>
            <c:idx val="278"/>
            <c:invertIfNegative val="1"/>
            <c:bubble3D val="0"/>
            <c:spPr>
              <a:solidFill>
                <a:srgbClr val="AEABAB"/>
              </a:solidFill>
            </c:spPr>
            <c:extLst>
              <c:ext xmlns:c16="http://schemas.microsoft.com/office/drawing/2014/chart" uri="{C3380CC4-5D6E-409C-BE32-E72D297353CC}">
                <c16:uniqueId val="{0000022F-61A4-45D4-86A8-775D26425D89}"/>
              </c:ext>
            </c:extLst>
          </c:dPt>
          <c:dPt>
            <c:idx val="279"/>
            <c:invertIfNegative val="1"/>
            <c:bubble3D val="0"/>
            <c:spPr>
              <a:solidFill>
                <a:srgbClr val="AEABAB"/>
              </a:solidFill>
            </c:spPr>
            <c:extLst>
              <c:ext xmlns:c16="http://schemas.microsoft.com/office/drawing/2014/chart" uri="{C3380CC4-5D6E-409C-BE32-E72D297353CC}">
                <c16:uniqueId val="{00000231-61A4-45D4-86A8-775D26425D89}"/>
              </c:ext>
            </c:extLst>
          </c:dPt>
          <c:dPt>
            <c:idx val="280"/>
            <c:invertIfNegative val="1"/>
            <c:bubble3D val="0"/>
            <c:spPr>
              <a:solidFill>
                <a:srgbClr val="AEABAB"/>
              </a:solidFill>
            </c:spPr>
            <c:extLst>
              <c:ext xmlns:c16="http://schemas.microsoft.com/office/drawing/2014/chart" uri="{C3380CC4-5D6E-409C-BE32-E72D297353CC}">
                <c16:uniqueId val="{00000233-61A4-45D4-86A8-775D26425D89}"/>
              </c:ext>
            </c:extLst>
          </c:dPt>
          <c:dPt>
            <c:idx val="281"/>
            <c:invertIfNegative val="1"/>
            <c:bubble3D val="0"/>
            <c:spPr>
              <a:solidFill>
                <a:srgbClr val="AEABAB"/>
              </a:solidFill>
            </c:spPr>
            <c:extLst>
              <c:ext xmlns:c16="http://schemas.microsoft.com/office/drawing/2014/chart" uri="{C3380CC4-5D6E-409C-BE32-E72D297353CC}">
                <c16:uniqueId val="{00000235-61A4-45D4-86A8-775D26425D89}"/>
              </c:ext>
            </c:extLst>
          </c:dPt>
          <c:dPt>
            <c:idx val="282"/>
            <c:invertIfNegative val="1"/>
            <c:bubble3D val="0"/>
            <c:spPr>
              <a:solidFill>
                <a:srgbClr val="AEABAB"/>
              </a:solidFill>
            </c:spPr>
            <c:extLst>
              <c:ext xmlns:c16="http://schemas.microsoft.com/office/drawing/2014/chart" uri="{C3380CC4-5D6E-409C-BE32-E72D297353CC}">
                <c16:uniqueId val="{00000237-61A4-45D4-86A8-775D26425D89}"/>
              </c:ext>
            </c:extLst>
          </c:dPt>
          <c:dPt>
            <c:idx val="283"/>
            <c:invertIfNegative val="1"/>
            <c:bubble3D val="0"/>
            <c:spPr>
              <a:solidFill>
                <a:srgbClr val="AEABAB"/>
              </a:solidFill>
            </c:spPr>
            <c:extLst>
              <c:ext xmlns:c16="http://schemas.microsoft.com/office/drawing/2014/chart" uri="{C3380CC4-5D6E-409C-BE32-E72D297353CC}">
                <c16:uniqueId val="{00000239-61A4-45D4-86A8-775D26425D89}"/>
              </c:ext>
            </c:extLst>
          </c:dPt>
          <c:dPt>
            <c:idx val="284"/>
            <c:invertIfNegative val="1"/>
            <c:bubble3D val="0"/>
            <c:spPr>
              <a:solidFill>
                <a:srgbClr val="AEABAB"/>
              </a:solidFill>
            </c:spPr>
            <c:extLst>
              <c:ext xmlns:c16="http://schemas.microsoft.com/office/drawing/2014/chart" uri="{C3380CC4-5D6E-409C-BE32-E72D297353CC}">
                <c16:uniqueId val="{0000023B-61A4-45D4-86A8-775D26425D89}"/>
              </c:ext>
            </c:extLst>
          </c:dPt>
          <c:dPt>
            <c:idx val="285"/>
            <c:invertIfNegative val="1"/>
            <c:bubble3D val="0"/>
            <c:spPr>
              <a:solidFill>
                <a:srgbClr val="AEABAB"/>
              </a:solidFill>
            </c:spPr>
            <c:extLst>
              <c:ext xmlns:c16="http://schemas.microsoft.com/office/drawing/2014/chart" uri="{C3380CC4-5D6E-409C-BE32-E72D297353CC}">
                <c16:uniqueId val="{0000023D-61A4-45D4-86A8-775D26425D89}"/>
              </c:ext>
            </c:extLst>
          </c:dPt>
          <c:dPt>
            <c:idx val="286"/>
            <c:invertIfNegative val="1"/>
            <c:bubble3D val="0"/>
            <c:spPr>
              <a:solidFill>
                <a:srgbClr val="AEABAB"/>
              </a:solidFill>
            </c:spPr>
            <c:extLst>
              <c:ext xmlns:c16="http://schemas.microsoft.com/office/drawing/2014/chart" uri="{C3380CC4-5D6E-409C-BE32-E72D297353CC}">
                <c16:uniqueId val="{0000023F-61A4-45D4-86A8-775D26425D89}"/>
              </c:ext>
            </c:extLst>
          </c:dPt>
          <c:dPt>
            <c:idx val="287"/>
            <c:invertIfNegative val="1"/>
            <c:bubble3D val="0"/>
            <c:spPr>
              <a:solidFill>
                <a:srgbClr val="AEABAB"/>
              </a:solidFill>
            </c:spPr>
            <c:extLst>
              <c:ext xmlns:c16="http://schemas.microsoft.com/office/drawing/2014/chart" uri="{C3380CC4-5D6E-409C-BE32-E72D297353CC}">
                <c16:uniqueId val="{00000241-61A4-45D4-86A8-775D26425D89}"/>
              </c:ext>
            </c:extLst>
          </c:dPt>
          <c:dPt>
            <c:idx val="288"/>
            <c:invertIfNegative val="1"/>
            <c:bubble3D val="0"/>
            <c:spPr>
              <a:solidFill>
                <a:srgbClr val="AEABAB"/>
              </a:solidFill>
            </c:spPr>
            <c:extLst>
              <c:ext xmlns:c16="http://schemas.microsoft.com/office/drawing/2014/chart" uri="{C3380CC4-5D6E-409C-BE32-E72D297353CC}">
                <c16:uniqueId val="{00000243-61A4-45D4-86A8-775D26425D89}"/>
              </c:ext>
            </c:extLst>
          </c:dPt>
          <c:dPt>
            <c:idx val="289"/>
            <c:invertIfNegative val="1"/>
            <c:bubble3D val="0"/>
            <c:spPr>
              <a:solidFill>
                <a:srgbClr val="AEABAB"/>
              </a:solidFill>
            </c:spPr>
            <c:extLst>
              <c:ext xmlns:c16="http://schemas.microsoft.com/office/drawing/2014/chart" uri="{C3380CC4-5D6E-409C-BE32-E72D297353CC}">
                <c16:uniqueId val="{00000245-61A4-45D4-86A8-775D26425D89}"/>
              </c:ext>
            </c:extLst>
          </c:dPt>
          <c:dPt>
            <c:idx val="290"/>
            <c:invertIfNegative val="1"/>
            <c:bubble3D val="0"/>
            <c:spPr>
              <a:solidFill>
                <a:srgbClr val="AEABAB"/>
              </a:solidFill>
            </c:spPr>
            <c:extLst>
              <c:ext xmlns:c16="http://schemas.microsoft.com/office/drawing/2014/chart" uri="{C3380CC4-5D6E-409C-BE32-E72D297353CC}">
                <c16:uniqueId val="{00000247-61A4-45D4-86A8-775D26425D89}"/>
              </c:ext>
            </c:extLst>
          </c:dPt>
          <c:dPt>
            <c:idx val="291"/>
            <c:invertIfNegative val="1"/>
            <c:bubble3D val="0"/>
            <c:spPr>
              <a:solidFill>
                <a:srgbClr val="AEABAB"/>
              </a:solidFill>
            </c:spPr>
            <c:extLst>
              <c:ext xmlns:c16="http://schemas.microsoft.com/office/drawing/2014/chart" uri="{C3380CC4-5D6E-409C-BE32-E72D297353CC}">
                <c16:uniqueId val="{00000249-61A4-45D4-86A8-775D26425D89}"/>
              </c:ext>
            </c:extLst>
          </c:dPt>
          <c:dPt>
            <c:idx val="292"/>
            <c:invertIfNegative val="1"/>
            <c:bubble3D val="0"/>
            <c:spPr>
              <a:solidFill>
                <a:srgbClr val="AEABAB"/>
              </a:solidFill>
            </c:spPr>
            <c:extLst>
              <c:ext xmlns:c16="http://schemas.microsoft.com/office/drawing/2014/chart" uri="{C3380CC4-5D6E-409C-BE32-E72D297353CC}">
                <c16:uniqueId val="{0000024B-61A4-45D4-86A8-775D26425D89}"/>
              </c:ext>
            </c:extLst>
          </c:dPt>
          <c:dPt>
            <c:idx val="293"/>
            <c:invertIfNegative val="1"/>
            <c:bubble3D val="0"/>
            <c:spPr>
              <a:solidFill>
                <a:srgbClr val="AEABAB"/>
              </a:solidFill>
            </c:spPr>
            <c:extLst>
              <c:ext xmlns:c16="http://schemas.microsoft.com/office/drawing/2014/chart" uri="{C3380CC4-5D6E-409C-BE32-E72D297353CC}">
                <c16:uniqueId val="{0000024D-61A4-45D4-86A8-775D26425D89}"/>
              </c:ext>
            </c:extLst>
          </c:dPt>
          <c:dPt>
            <c:idx val="294"/>
            <c:invertIfNegative val="1"/>
            <c:bubble3D val="0"/>
            <c:spPr>
              <a:solidFill>
                <a:srgbClr val="AEABAB"/>
              </a:solidFill>
            </c:spPr>
            <c:extLst>
              <c:ext xmlns:c16="http://schemas.microsoft.com/office/drawing/2014/chart" uri="{C3380CC4-5D6E-409C-BE32-E72D297353CC}">
                <c16:uniqueId val="{0000024F-61A4-45D4-86A8-775D26425D89}"/>
              </c:ext>
            </c:extLst>
          </c:dPt>
          <c:dPt>
            <c:idx val="295"/>
            <c:invertIfNegative val="1"/>
            <c:bubble3D val="0"/>
            <c:spPr>
              <a:solidFill>
                <a:srgbClr val="AEABAB"/>
              </a:solidFill>
            </c:spPr>
            <c:extLst>
              <c:ext xmlns:c16="http://schemas.microsoft.com/office/drawing/2014/chart" uri="{C3380CC4-5D6E-409C-BE32-E72D297353CC}">
                <c16:uniqueId val="{00000251-61A4-45D4-86A8-775D26425D89}"/>
              </c:ext>
            </c:extLst>
          </c:dPt>
          <c:dPt>
            <c:idx val="296"/>
            <c:invertIfNegative val="1"/>
            <c:bubble3D val="0"/>
            <c:spPr>
              <a:solidFill>
                <a:srgbClr val="AEABAB"/>
              </a:solidFill>
            </c:spPr>
            <c:extLst>
              <c:ext xmlns:c16="http://schemas.microsoft.com/office/drawing/2014/chart" uri="{C3380CC4-5D6E-409C-BE32-E72D297353CC}">
                <c16:uniqueId val="{00000253-61A4-45D4-86A8-775D26425D89}"/>
              </c:ext>
            </c:extLst>
          </c:dPt>
          <c:dPt>
            <c:idx val="297"/>
            <c:invertIfNegative val="1"/>
            <c:bubble3D val="0"/>
            <c:spPr>
              <a:solidFill>
                <a:srgbClr val="AEABAB"/>
              </a:solidFill>
            </c:spPr>
            <c:extLst>
              <c:ext xmlns:c16="http://schemas.microsoft.com/office/drawing/2014/chart" uri="{C3380CC4-5D6E-409C-BE32-E72D297353CC}">
                <c16:uniqueId val="{00000255-61A4-45D4-86A8-775D26425D89}"/>
              </c:ext>
            </c:extLst>
          </c:dPt>
          <c:dPt>
            <c:idx val="298"/>
            <c:invertIfNegative val="1"/>
            <c:bubble3D val="0"/>
            <c:spPr>
              <a:solidFill>
                <a:srgbClr val="AEABAB"/>
              </a:solidFill>
            </c:spPr>
            <c:extLst>
              <c:ext xmlns:c16="http://schemas.microsoft.com/office/drawing/2014/chart" uri="{C3380CC4-5D6E-409C-BE32-E72D297353CC}">
                <c16:uniqueId val="{00000257-61A4-45D4-86A8-775D26425D89}"/>
              </c:ext>
            </c:extLst>
          </c:dPt>
          <c:dPt>
            <c:idx val="299"/>
            <c:invertIfNegative val="1"/>
            <c:bubble3D val="0"/>
            <c:spPr>
              <a:solidFill>
                <a:srgbClr val="AEABAB"/>
              </a:solidFill>
            </c:spPr>
            <c:extLst>
              <c:ext xmlns:c16="http://schemas.microsoft.com/office/drawing/2014/chart" uri="{C3380CC4-5D6E-409C-BE32-E72D297353CC}">
                <c16:uniqueId val="{00000259-61A4-45D4-86A8-775D26425D89}"/>
              </c:ext>
            </c:extLst>
          </c:dPt>
          <c:cat>
            <c:strRef>
              <c:f>Sheet1!$A$2:$A$301</c:f>
              <c:strCache>
                <c:ptCount val="300"/>
                <c:pt idx="0">
                  <c:v>Ruinart</c:v>
                </c:pt>
                <c:pt idx="1">
                  <c:v>Nicolas</c:v>
                </c:pt>
                <c:pt idx="2">
                  <c:v>Ruinart</c:v>
                </c:pt>
                <c:pt idx="3">
                  <c:v>Deutz</c:v>
                </c:pt>
                <c:pt idx="4">
                  <c:v>Malard</c:v>
                </c:pt>
                <c:pt idx="5">
                  <c:v>De Bligny</c:v>
                </c:pt>
                <c:pt idx="6">
                  <c:v>Heidsieck &amp;</c:v>
                </c:pt>
                <c:pt idx="7">
                  <c:v>Ayala</c:v>
                </c:pt>
                <c:pt idx="8">
                  <c:v>Canard Duch</c:v>
                </c:pt>
                <c:pt idx="9">
                  <c:v>Ruinart</c:v>
                </c:pt>
                <c:pt idx="10">
                  <c:v>Laurent Per</c:v>
                </c:pt>
                <c:pt idx="11">
                  <c:v>Nicolas Feu</c:v>
                </c:pt>
                <c:pt idx="12">
                  <c:v>Ruinart</c:v>
                </c:pt>
                <c:pt idx="13">
                  <c:v>Demoiselle</c:v>
                </c:pt>
                <c:pt idx="14">
                  <c:v>Taittinger</c:v>
                </c:pt>
                <c:pt idx="15">
                  <c:v>Besserat De</c:v>
                </c:pt>
                <c:pt idx="16">
                  <c:v>Bollinger</c:v>
                </c:pt>
                <c:pt idx="17">
                  <c:v>Ruinart</c:v>
                </c:pt>
                <c:pt idx="18">
                  <c:v>Deutz</c:v>
                </c:pt>
                <c:pt idx="19">
                  <c:v>Ruinart</c:v>
                </c:pt>
                <c:pt idx="20">
                  <c:v>Perrier Jou</c:v>
                </c:pt>
                <c:pt idx="21">
                  <c:v>Vesselle</c:v>
                </c:pt>
                <c:pt idx="22">
                  <c:v>Pommery</c:v>
                </c:pt>
                <c:pt idx="23">
                  <c:v>All Others</c:v>
                </c:pt>
                <c:pt idx="24">
                  <c:v>Deutz</c:v>
                </c:pt>
                <c:pt idx="25">
                  <c:v>Demoiselle</c:v>
                </c:pt>
                <c:pt idx="26">
                  <c:v>Ruinart</c:v>
                </c:pt>
                <c:pt idx="27">
                  <c:v>Laurent Per</c:v>
                </c:pt>
                <c:pt idx="28">
                  <c:v>Savian</c:v>
                </c:pt>
                <c:pt idx="29">
                  <c:v>Roederer</c:v>
                </c:pt>
                <c:pt idx="30">
                  <c:v>Nicolas</c:v>
                </c:pt>
                <c:pt idx="31">
                  <c:v>Malard</c:v>
                </c:pt>
                <c:pt idx="32">
                  <c:v>Dom Perigno</c:v>
                </c:pt>
                <c:pt idx="33">
                  <c:v>Taittinger</c:v>
                </c:pt>
                <c:pt idx="34">
                  <c:v>Malard</c:v>
                </c:pt>
                <c:pt idx="35">
                  <c:v>Campari: Al</c:v>
                </c:pt>
                <c:pt idx="36">
                  <c:v>Moët &amp; Chan</c:v>
                </c:pt>
                <c:pt idx="37">
                  <c:v>Besserat De</c:v>
                </c:pt>
                <c:pt idx="38">
                  <c:v>All Others</c:v>
                </c:pt>
                <c:pt idx="39">
                  <c:v>Ruinart</c:v>
                </c:pt>
                <c:pt idx="40">
                  <c:v>Nicolas</c:v>
                </c:pt>
                <c:pt idx="41">
                  <c:v>Laurent Per</c:v>
                </c:pt>
                <c:pt idx="42">
                  <c:v>All Others</c:v>
                </c:pt>
                <c:pt idx="43">
                  <c:v>Dom Perigno</c:v>
                </c:pt>
                <c:pt idx="44">
                  <c:v>Henriot</c:v>
                </c:pt>
                <c:pt idx="45">
                  <c:v>Roederer</c:v>
                </c:pt>
                <c:pt idx="46">
                  <c:v>Veuve Clicq</c:v>
                </c:pt>
                <c:pt idx="47">
                  <c:v>Nicolas</c:v>
                </c:pt>
                <c:pt idx="48">
                  <c:v>Veuve Clicq</c:v>
                </c:pt>
                <c:pt idx="49">
                  <c:v>Veuve Clicq</c:v>
                </c:pt>
                <c:pt idx="50">
                  <c:v>De Venoge</c:v>
                </c:pt>
                <c:pt idx="51">
                  <c:v>Nicolas Feu</c:v>
                </c:pt>
                <c:pt idx="52">
                  <c:v>Piper Heids</c:v>
                </c:pt>
                <c:pt idx="53">
                  <c:v>De Bligny</c:v>
                </c:pt>
                <c:pt idx="54">
                  <c:v>All Others</c:v>
                </c:pt>
                <c:pt idx="55">
                  <c:v>Ruinart</c:v>
                </c:pt>
                <c:pt idx="56">
                  <c:v>Nicolas Feu</c:v>
                </c:pt>
                <c:pt idx="57">
                  <c:v>Nicolas Feu</c:v>
                </c:pt>
                <c:pt idx="58">
                  <c:v>Moët &amp; Chan</c:v>
                </c:pt>
                <c:pt idx="59">
                  <c:v>Deutz</c:v>
                </c:pt>
                <c:pt idx="60">
                  <c:v>Lanson</c:v>
                </c:pt>
                <c:pt idx="61">
                  <c:v>Malard</c:v>
                </c:pt>
                <c:pt idx="62">
                  <c:v>Canard Duch</c:v>
                </c:pt>
                <c:pt idx="63">
                  <c:v>Henriot</c:v>
                </c:pt>
                <c:pt idx="64">
                  <c:v>Malard</c:v>
                </c:pt>
                <c:pt idx="65">
                  <c:v>Pommery</c:v>
                </c:pt>
                <c:pt idx="66">
                  <c:v>Louis Marti</c:v>
                </c:pt>
                <c:pt idx="67">
                  <c:v>Bollinger</c:v>
                </c:pt>
                <c:pt idx="68">
                  <c:v>Ayala</c:v>
                </c:pt>
                <c:pt idx="69">
                  <c:v>Ruinart</c:v>
                </c:pt>
                <c:pt idx="70">
                  <c:v>Moët &amp; Chan</c:v>
                </c:pt>
                <c:pt idx="71">
                  <c:v>All Others</c:v>
                </c:pt>
                <c:pt idx="72">
                  <c:v>Campari: Al</c:v>
                </c:pt>
                <c:pt idx="73">
                  <c:v>Besserat De</c:v>
                </c:pt>
                <c:pt idx="74">
                  <c:v>Henriot</c:v>
                </c:pt>
                <c:pt idx="75">
                  <c:v>Ruinart</c:v>
                </c:pt>
                <c:pt idx="76">
                  <c:v>Delamotte</c:v>
                </c:pt>
                <c:pt idx="77">
                  <c:v>Canard Duch</c:v>
                </c:pt>
                <c:pt idx="78">
                  <c:v>Canard Duch</c:v>
                </c:pt>
                <c:pt idx="79">
                  <c:v>Krug</c:v>
                </c:pt>
                <c:pt idx="80">
                  <c:v>Vranken</c:v>
                </c:pt>
                <c:pt idx="81">
                  <c:v>Malard</c:v>
                </c:pt>
                <c:pt idx="82">
                  <c:v>De Venoge</c:v>
                </c:pt>
                <c:pt idx="83">
                  <c:v>Roederer</c:v>
                </c:pt>
                <c:pt idx="84">
                  <c:v>Roederer</c:v>
                </c:pt>
                <c:pt idx="85">
                  <c:v>Ruinart</c:v>
                </c:pt>
                <c:pt idx="86">
                  <c:v>Henriot</c:v>
                </c:pt>
                <c:pt idx="87">
                  <c:v>All Others</c:v>
                </c:pt>
                <c:pt idx="88">
                  <c:v>Ruinart</c:v>
                </c:pt>
                <c:pt idx="89">
                  <c:v>Vranken</c:v>
                </c:pt>
                <c:pt idx="90">
                  <c:v>Roederer</c:v>
                </c:pt>
                <c:pt idx="91">
                  <c:v>Laurent Per</c:v>
                </c:pt>
                <c:pt idx="92">
                  <c:v>De Venoge</c:v>
                </c:pt>
                <c:pt idx="93">
                  <c:v>Canard Duch</c:v>
                </c:pt>
                <c:pt idx="94">
                  <c:v>Nicolas</c:v>
                </c:pt>
                <c:pt idx="95">
                  <c:v>Roederer</c:v>
                </c:pt>
                <c:pt idx="96">
                  <c:v>Nicolas</c:v>
                </c:pt>
                <c:pt idx="97">
                  <c:v>Roederer</c:v>
                </c:pt>
                <c:pt idx="98">
                  <c:v>Dom Perigno</c:v>
                </c:pt>
                <c:pt idx="99">
                  <c:v>De Venoge</c:v>
                </c:pt>
                <c:pt idx="100">
                  <c:v>Deutz</c:v>
                </c:pt>
                <c:pt idx="101">
                  <c:v>Deutz</c:v>
                </c:pt>
                <c:pt idx="102">
                  <c:v>Lanson-Bcc:</c:v>
                </c:pt>
                <c:pt idx="103">
                  <c:v>Perrier Jou</c:v>
                </c:pt>
                <c:pt idx="104">
                  <c:v>Ruinart</c:v>
                </c:pt>
                <c:pt idx="105">
                  <c:v>Veuve Clicq</c:v>
                </c:pt>
                <c:pt idx="106">
                  <c:v>All Others</c:v>
                </c:pt>
                <c:pt idx="107">
                  <c:v>Ruinart</c:v>
                </c:pt>
                <c:pt idx="108">
                  <c:v>All Others</c:v>
                </c:pt>
                <c:pt idx="109">
                  <c:v>Roederer</c:v>
                </c:pt>
                <c:pt idx="110">
                  <c:v>All Others</c:v>
                </c:pt>
                <c:pt idx="111">
                  <c:v>All Others</c:v>
                </c:pt>
                <c:pt idx="112">
                  <c:v>Bollinger</c:v>
                </c:pt>
                <c:pt idx="113">
                  <c:v>Nicolas</c:v>
                </c:pt>
                <c:pt idx="114">
                  <c:v>Nicolas</c:v>
                </c:pt>
                <c:pt idx="115">
                  <c:v>All Others</c:v>
                </c:pt>
                <c:pt idx="116">
                  <c:v>Nicolas</c:v>
                </c:pt>
                <c:pt idx="117">
                  <c:v>Nicolas</c:v>
                </c:pt>
                <c:pt idx="118">
                  <c:v>All Others</c:v>
                </c:pt>
                <c:pt idx="119">
                  <c:v>Pommery</c:v>
                </c:pt>
                <c:pt idx="120">
                  <c:v>Nicolas</c:v>
                </c:pt>
                <c:pt idx="121">
                  <c:v>Laurent Per</c:v>
                </c:pt>
                <c:pt idx="122">
                  <c:v>Bollinger</c:v>
                </c:pt>
                <c:pt idx="123">
                  <c:v>Nicolas</c:v>
                </c:pt>
                <c:pt idx="124">
                  <c:v>Nicolas</c:v>
                </c:pt>
                <c:pt idx="125">
                  <c:v>Bollinger</c:v>
                </c:pt>
                <c:pt idx="126">
                  <c:v>Roederer</c:v>
                </c:pt>
                <c:pt idx="127">
                  <c:v>Nicolas</c:v>
                </c:pt>
                <c:pt idx="128">
                  <c:v>Ruinart</c:v>
                </c:pt>
                <c:pt idx="129">
                  <c:v>Roederer</c:v>
                </c:pt>
                <c:pt idx="130">
                  <c:v>Ruinart</c:v>
                </c:pt>
                <c:pt idx="131">
                  <c:v>Dom Perigno</c:v>
                </c:pt>
                <c:pt idx="132">
                  <c:v>Lanson</c:v>
                </c:pt>
                <c:pt idx="133">
                  <c:v>Besserat De</c:v>
                </c:pt>
                <c:pt idx="134">
                  <c:v>Nicolas Feu</c:v>
                </c:pt>
                <c:pt idx="135">
                  <c:v>Vesselle</c:v>
                </c:pt>
                <c:pt idx="136">
                  <c:v>Laurent Per</c:v>
                </c:pt>
                <c:pt idx="137">
                  <c:v>Roederer</c:v>
                </c:pt>
                <c:pt idx="138">
                  <c:v>Demoiselle</c:v>
                </c:pt>
                <c:pt idx="139">
                  <c:v>Roederer</c:v>
                </c:pt>
                <c:pt idx="140">
                  <c:v>Laurent Per</c:v>
                </c:pt>
                <c:pt idx="141">
                  <c:v>Delamotte</c:v>
                </c:pt>
                <c:pt idx="142">
                  <c:v>Canard Duch</c:v>
                </c:pt>
                <c:pt idx="143">
                  <c:v>Ruinart</c:v>
                </c:pt>
                <c:pt idx="144">
                  <c:v>Louis Marti</c:v>
                </c:pt>
                <c:pt idx="145">
                  <c:v>All Others</c:v>
                </c:pt>
                <c:pt idx="146">
                  <c:v>Demoiselle</c:v>
                </c:pt>
                <c:pt idx="147">
                  <c:v>All Others</c:v>
                </c:pt>
                <c:pt idx="148">
                  <c:v>Taittinger</c:v>
                </c:pt>
                <c:pt idx="149">
                  <c:v>Piper Heids</c:v>
                </c:pt>
                <c:pt idx="150">
                  <c:v>Canard Duch</c:v>
                </c:pt>
                <c:pt idx="151">
                  <c:v>Vranken</c:v>
                </c:pt>
                <c:pt idx="152">
                  <c:v>Roederer</c:v>
                </c:pt>
                <c:pt idx="153">
                  <c:v>Nicolas</c:v>
                </c:pt>
                <c:pt idx="154">
                  <c:v>All Others</c:v>
                </c:pt>
                <c:pt idx="155">
                  <c:v>Dom Perigno</c:v>
                </c:pt>
                <c:pt idx="156">
                  <c:v>All Others</c:v>
                </c:pt>
                <c:pt idx="157">
                  <c:v>Ruinart</c:v>
                </c:pt>
                <c:pt idx="158">
                  <c:v>Moët &amp; Chan</c:v>
                </c:pt>
                <c:pt idx="159">
                  <c:v>All Others</c:v>
                </c:pt>
                <c:pt idx="160">
                  <c:v>Perrier Jou</c:v>
                </c:pt>
                <c:pt idx="161">
                  <c:v>Pommery</c:v>
                </c:pt>
                <c:pt idx="162">
                  <c:v>Deutz</c:v>
                </c:pt>
                <c:pt idx="163">
                  <c:v>Moët &amp; Chan</c:v>
                </c:pt>
                <c:pt idx="164">
                  <c:v>All Others</c:v>
                </c:pt>
                <c:pt idx="165">
                  <c:v>Pommery</c:v>
                </c:pt>
                <c:pt idx="166">
                  <c:v>Nicolas</c:v>
                </c:pt>
                <c:pt idx="167">
                  <c:v>Ayala</c:v>
                </c:pt>
                <c:pt idx="168">
                  <c:v>Nicolas</c:v>
                </c:pt>
                <c:pt idx="169">
                  <c:v>Nicolas</c:v>
                </c:pt>
                <c:pt idx="170">
                  <c:v>Roederer</c:v>
                </c:pt>
                <c:pt idx="171">
                  <c:v>All Others</c:v>
                </c:pt>
                <c:pt idx="172">
                  <c:v>Laurent Per</c:v>
                </c:pt>
                <c:pt idx="173">
                  <c:v>Piper Heids</c:v>
                </c:pt>
                <c:pt idx="174">
                  <c:v>Malard</c:v>
                </c:pt>
                <c:pt idx="175">
                  <c:v>Dom Perigno</c:v>
                </c:pt>
                <c:pt idx="176">
                  <c:v>Deutz</c:v>
                </c:pt>
                <c:pt idx="177">
                  <c:v>Taittinger</c:v>
                </c:pt>
                <c:pt idx="178">
                  <c:v>Pommery</c:v>
                </c:pt>
                <c:pt idx="179">
                  <c:v>Vesselle</c:v>
                </c:pt>
                <c:pt idx="180">
                  <c:v>Moët &amp; Chan</c:v>
                </c:pt>
                <c:pt idx="181">
                  <c:v>Nicolas</c:v>
                </c:pt>
                <c:pt idx="182">
                  <c:v>All Others</c:v>
                </c:pt>
                <c:pt idx="183">
                  <c:v>Besserat De</c:v>
                </c:pt>
                <c:pt idx="184">
                  <c:v>Deutz</c:v>
                </c:pt>
                <c:pt idx="185">
                  <c:v>Piper Heids</c:v>
                </c:pt>
                <c:pt idx="186">
                  <c:v>De Venoge</c:v>
                </c:pt>
                <c:pt idx="187">
                  <c:v>Piper Heids</c:v>
                </c:pt>
                <c:pt idx="188">
                  <c:v>Laurent Per</c:v>
                </c:pt>
                <c:pt idx="189">
                  <c:v>All Others</c:v>
                </c:pt>
                <c:pt idx="190">
                  <c:v>Roederer</c:v>
                </c:pt>
                <c:pt idx="191">
                  <c:v>Bollinger</c:v>
                </c:pt>
                <c:pt idx="192">
                  <c:v>Ruinart</c:v>
                </c:pt>
                <c:pt idx="193">
                  <c:v>Ruinart</c:v>
                </c:pt>
                <c:pt idx="194">
                  <c:v>Bollinger</c:v>
                </c:pt>
                <c:pt idx="195">
                  <c:v>Nicolas</c:v>
                </c:pt>
                <c:pt idx="196">
                  <c:v>All Others</c:v>
                </c:pt>
                <c:pt idx="197">
                  <c:v>All Others</c:v>
                </c:pt>
                <c:pt idx="198">
                  <c:v>Pommery</c:v>
                </c:pt>
                <c:pt idx="199">
                  <c:v>All Others</c:v>
                </c:pt>
                <c:pt idx="200">
                  <c:v>Ruinart</c:v>
                </c:pt>
                <c:pt idx="201">
                  <c:v>Laurent Per</c:v>
                </c:pt>
                <c:pt idx="202">
                  <c:v>Henriot</c:v>
                </c:pt>
                <c:pt idx="203">
                  <c:v>Taittinger</c:v>
                </c:pt>
                <c:pt idx="204">
                  <c:v>Nicolas</c:v>
                </c:pt>
                <c:pt idx="205">
                  <c:v>All Others</c:v>
                </c:pt>
                <c:pt idx="206">
                  <c:v>De Venoge</c:v>
                </c:pt>
                <c:pt idx="207">
                  <c:v>De Venoge</c:v>
                </c:pt>
                <c:pt idx="208">
                  <c:v>De Venoge</c:v>
                </c:pt>
                <c:pt idx="209">
                  <c:v>Nicolas Feu</c:v>
                </c:pt>
                <c:pt idx="210">
                  <c:v>Laurent Per</c:v>
                </c:pt>
                <c:pt idx="211">
                  <c:v>All Others</c:v>
                </c:pt>
                <c:pt idx="212">
                  <c:v>Canard Duch</c:v>
                </c:pt>
                <c:pt idx="213">
                  <c:v>Henriot</c:v>
                </c:pt>
                <c:pt idx="214">
                  <c:v>All Others</c:v>
                </c:pt>
                <c:pt idx="215">
                  <c:v>Roederer</c:v>
                </c:pt>
                <c:pt idx="216">
                  <c:v>Canard Duch</c:v>
                </c:pt>
                <c:pt idx="217">
                  <c:v>All Others</c:v>
                </c:pt>
                <c:pt idx="218">
                  <c:v>Veuve Clicq</c:v>
                </c:pt>
                <c:pt idx="219">
                  <c:v>Roederer</c:v>
                </c:pt>
                <c:pt idx="220">
                  <c:v>Bollinger</c:v>
                </c:pt>
                <c:pt idx="221">
                  <c:v>Laurent Per</c:v>
                </c:pt>
                <c:pt idx="222">
                  <c:v>Roederer</c:v>
                </c:pt>
                <c:pt idx="223">
                  <c:v>Lanson</c:v>
                </c:pt>
                <c:pt idx="224">
                  <c:v>Pommery</c:v>
                </c:pt>
                <c:pt idx="225">
                  <c:v>Perrier Jou</c:v>
                </c:pt>
                <c:pt idx="226">
                  <c:v>Dom Perigno</c:v>
                </c:pt>
                <c:pt idx="227">
                  <c:v>Moët &amp; Chan</c:v>
                </c:pt>
                <c:pt idx="228">
                  <c:v>All Others</c:v>
                </c:pt>
                <c:pt idx="229">
                  <c:v>Roederer</c:v>
                </c:pt>
                <c:pt idx="230">
                  <c:v>De Bligny</c:v>
                </c:pt>
                <c:pt idx="231">
                  <c:v>Malard</c:v>
                </c:pt>
                <c:pt idx="232">
                  <c:v>Deutz</c:v>
                </c:pt>
                <c:pt idx="233">
                  <c:v>Demoiselle</c:v>
                </c:pt>
                <c:pt idx="234">
                  <c:v>All Others</c:v>
                </c:pt>
                <c:pt idx="235">
                  <c:v>De Bligny</c:v>
                </c:pt>
                <c:pt idx="236">
                  <c:v>Martel</c:v>
                </c:pt>
                <c:pt idx="237">
                  <c:v>Deutz</c:v>
                </c:pt>
                <c:pt idx="238">
                  <c:v>Ruinart</c:v>
                </c:pt>
                <c:pt idx="239">
                  <c:v>Roederer</c:v>
                </c:pt>
                <c:pt idx="240">
                  <c:v>Laurent Per</c:v>
                </c:pt>
                <c:pt idx="241">
                  <c:v>Laurent Per</c:v>
                </c:pt>
                <c:pt idx="242">
                  <c:v>Roederer</c:v>
                </c:pt>
                <c:pt idx="243">
                  <c:v>Ruinart</c:v>
                </c:pt>
                <c:pt idx="244">
                  <c:v>De Venoge</c:v>
                </c:pt>
                <c:pt idx="245">
                  <c:v>Demoiselle</c:v>
                </c:pt>
                <c:pt idx="246">
                  <c:v>Pommery</c:v>
                </c:pt>
                <c:pt idx="247">
                  <c:v>Moët &amp; Chan</c:v>
                </c:pt>
                <c:pt idx="248">
                  <c:v>Perrier Jou</c:v>
                </c:pt>
                <c:pt idx="249">
                  <c:v>Bollinger</c:v>
                </c:pt>
                <c:pt idx="250">
                  <c:v>All Others</c:v>
                </c:pt>
                <c:pt idx="251">
                  <c:v>Laurent Per</c:v>
                </c:pt>
                <c:pt idx="252">
                  <c:v>Roederer</c:v>
                </c:pt>
                <c:pt idx="253">
                  <c:v>Veuve Clicq</c:v>
                </c:pt>
                <c:pt idx="254">
                  <c:v>All Others</c:v>
                </c:pt>
                <c:pt idx="255">
                  <c:v>Ayala</c:v>
                </c:pt>
                <c:pt idx="256">
                  <c:v>All Others</c:v>
                </c:pt>
                <c:pt idx="257">
                  <c:v>Roederer</c:v>
                </c:pt>
                <c:pt idx="258">
                  <c:v>Roederer</c:v>
                </c:pt>
                <c:pt idx="259">
                  <c:v>Roederer</c:v>
                </c:pt>
                <c:pt idx="260">
                  <c:v>Roederer</c:v>
                </c:pt>
                <c:pt idx="261">
                  <c:v>De Venoge</c:v>
                </c:pt>
                <c:pt idx="262">
                  <c:v>Veuve Clicq</c:v>
                </c:pt>
                <c:pt idx="263">
                  <c:v>Veuve Clicq</c:v>
                </c:pt>
                <c:pt idx="264">
                  <c:v>Veuve Clicq</c:v>
                </c:pt>
                <c:pt idx="265">
                  <c:v>Deutz</c:v>
                </c:pt>
                <c:pt idx="266">
                  <c:v>Demoiselle</c:v>
                </c:pt>
                <c:pt idx="267">
                  <c:v>Malard</c:v>
                </c:pt>
                <c:pt idx="268">
                  <c:v>Veuve Clicq</c:v>
                </c:pt>
                <c:pt idx="269">
                  <c:v>Roederer</c:v>
                </c:pt>
                <c:pt idx="270">
                  <c:v>Nicolas</c:v>
                </c:pt>
                <c:pt idx="271">
                  <c:v>De Venoge</c:v>
                </c:pt>
                <c:pt idx="272">
                  <c:v>De Venoge</c:v>
                </c:pt>
                <c:pt idx="273">
                  <c:v>Roederer</c:v>
                </c:pt>
                <c:pt idx="274">
                  <c:v>Deutz</c:v>
                </c:pt>
                <c:pt idx="275">
                  <c:v>Ayala</c:v>
                </c:pt>
                <c:pt idx="276">
                  <c:v>All Others</c:v>
                </c:pt>
                <c:pt idx="277">
                  <c:v>Laurent Per</c:v>
                </c:pt>
                <c:pt idx="278">
                  <c:v>Bollinger</c:v>
                </c:pt>
                <c:pt idx="279">
                  <c:v>Ruinart</c:v>
                </c:pt>
                <c:pt idx="280">
                  <c:v>De Bligny</c:v>
                </c:pt>
                <c:pt idx="281">
                  <c:v>Vesselle</c:v>
                </c:pt>
                <c:pt idx="282">
                  <c:v>Roederer</c:v>
                </c:pt>
                <c:pt idx="283">
                  <c:v>Besserat De</c:v>
                </c:pt>
                <c:pt idx="284">
                  <c:v>Taittinger</c:v>
                </c:pt>
                <c:pt idx="285">
                  <c:v>Roederer</c:v>
                </c:pt>
                <c:pt idx="286">
                  <c:v>Roederer</c:v>
                </c:pt>
                <c:pt idx="287">
                  <c:v>Bollinger</c:v>
                </c:pt>
                <c:pt idx="288">
                  <c:v>Laurent Per</c:v>
                </c:pt>
                <c:pt idx="289">
                  <c:v>All Others</c:v>
                </c:pt>
                <c:pt idx="290">
                  <c:v>Nicolas Feu</c:v>
                </c:pt>
                <c:pt idx="291">
                  <c:v>Besserat De</c:v>
                </c:pt>
                <c:pt idx="292">
                  <c:v>Perrier Jou</c:v>
                </c:pt>
                <c:pt idx="293">
                  <c:v>Moët &amp; Chan</c:v>
                </c:pt>
                <c:pt idx="294">
                  <c:v>All Others</c:v>
                </c:pt>
                <c:pt idx="295">
                  <c:v>Besserat De</c:v>
                </c:pt>
                <c:pt idx="296">
                  <c:v>Vranken Pom</c:v>
                </c:pt>
                <c:pt idx="297">
                  <c:v>Malard</c:v>
                </c:pt>
                <c:pt idx="298">
                  <c:v>Veuve Clicq</c:v>
                </c:pt>
                <c:pt idx="299">
                  <c:v>All Others</c:v>
                </c:pt>
              </c:strCache>
            </c:strRef>
          </c:cat>
          <c:val>
            <c:numRef>
              <c:f>Sheet1!$C$2:$C$301</c:f>
              <c:numCache>
                <c:formatCode>General</c:formatCode>
                <c:ptCount val="300"/>
                <c:pt idx="0">
                  <c:v>0.10914297870920922</c:v>
                </c:pt>
                <c:pt idx="1">
                  <c:v>0.18126589630726553</c:v>
                </c:pt>
                <c:pt idx="2">
                  <c:v>0.23431643385059456</c:v>
                </c:pt>
                <c:pt idx="3">
                  <c:v>0.27725506400711381</c:v>
                </c:pt>
                <c:pt idx="4">
                  <c:v>0.30863789434370265</c:v>
                </c:pt>
                <c:pt idx="5">
                  <c:v>0.33929231937527043</c:v>
                </c:pt>
                <c:pt idx="6">
                  <c:v>0.36946836305767689</c:v>
                </c:pt>
                <c:pt idx="7">
                  <c:v>0.39587941225238388</c:v>
                </c:pt>
                <c:pt idx="8">
                  <c:v>0.41957208457187034</c:v>
                </c:pt>
                <c:pt idx="9">
                  <c:v>0.44284229980177953</c:v>
                </c:pt>
                <c:pt idx="10">
                  <c:v>0.46610442073095948</c:v>
                </c:pt>
                <c:pt idx="11">
                  <c:v>0.48918217147686155</c:v>
                </c:pt>
                <c:pt idx="12">
                  <c:v>0.50796986107563602</c:v>
                </c:pt>
                <c:pt idx="13">
                  <c:v>0.5257399580796982</c:v>
                </c:pt>
                <c:pt idx="14">
                  <c:v>0.54313223928911425</c:v>
                </c:pt>
                <c:pt idx="15">
                  <c:v>0.55843545506485737</c:v>
                </c:pt>
                <c:pt idx="16">
                  <c:v>0.5725331923562329</c:v>
                </c:pt>
                <c:pt idx="17">
                  <c:v>0.58510707533455619</c:v>
                </c:pt>
                <c:pt idx="18">
                  <c:v>0.59740984011875564</c:v>
                </c:pt>
                <c:pt idx="19">
                  <c:v>0.60860188696954942</c:v>
                </c:pt>
                <c:pt idx="20">
                  <c:v>0.61834031187422467</c:v>
                </c:pt>
                <c:pt idx="21">
                  <c:v>0.62718353982248787</c:v>
                </c:pt>
                <c:pt idx="22">
                  <c:v>0.63601728353959353</c:v>
                </c:pt>
                <c:pt idx="23">
                  <c:v>0.64479698349122394</c:v>
                </c:pt>
                <c:pt idx="24">
                  <c:v>0.65340236981502797</c:v>
                </c:pt>
                <c:pt idx="25">
                  <c:v>0.66183548652634139</c:v>
                </c:pt>
                <c:pt idx="26">
                  <c:v>0.67016893704988734</c:v>
                </c:pt>
                <c:pt idx="27">
                  <c:v>0.67832946387603521</c:v>
                </c:pt>
                <c:pt idx="28">
                  <c:v>0.68624004850693676</c:v>
                </c:pt>
                <c:pt idx="29">
                  <c:v>0.69407484104919148</c:v>
                </c:pt>
                <c:pt idx="30">
                  <c:v>0.70186016842032284</c:v>
                </c:pt>
                <c:pt idx="31">
                  <c:v>0.70959889224180084</c:v>
                </c:pt>
                <c:pt idx="32">
                  <c:v>0.71685898943227722</c:v>
                </c:pt>
                <c:pt idx="33">
                  <c:v>0.72395376666240419</c:v>
                </c:pt>
                <c:pt idx="34">
                  <c:v>0.73068307395051257</c:v>
                </c:pt>
                <c:pt idx="35">
                  <c:v>0.73738065812061127</c:v>
                </c:pt>
                <c:pt idx="36">
                  <c:v>0.74404970783662394</c:v>
                </c:pt>
                <c:pt idx="37">
                  <c:v>0.75036195423564123</c:v>
                </c:pt>
                <c:pt idx="38">
                  <c:v>0.75656055338199502</c:v>
                </c:pt>
                <c:pt idx="39">
                  <c:v>0.76222501044083024</c:v>
                </c:pt>
                <c:pt idx="40">
                  <c:v>0.76764884601434991</c:v>
                </c:pt>
                <c:pt idx="41">
                  <c:v>0.7730605810170823</c:v>
                </c:pt>
                <c:pt idx="42">
                  <c:v>0.77828590182120116</c:v>
                </c:pt>
                <c:pt idx="43">
                  <c:v>0.78348906549908137</c:v>
                </c:pt>
                <c:pt idx="44">
                  <c:v>0.7886013931354442</c:v>
                </c:pt>
                <c:pt idx="45">
                  <c:v>0.79356254539758053</c:v>
                </c:pt>
                <c:pt idx="46">
                  <c:v>0.79852189892622139</c:v>
                </c:pt>
                <c:pt idx="47">
                  <c:v>0.80321185123362038</c:v>
                </c:pt>
                <c:pt idx="48">
                  <c:v>0.80787948289355382</c:v>
                </c:pt>
                <c:pt idx="49">
                  <c:v>0.81242537300009443</c:v>
                </c:pt>
                <c:pt idx="50">
                  <c:v>0.81683496816405221</c:v>
                </c:pt>
                <c:pt idx="51">
                  <c:v>0.82083363448492597</c:v>
                </c:pt>
                <c:pt idx="52">
                  <c:v>0.8246384463913643</c:v>
                </c:pt>
                <c:pt idx="53">
                  <c:v>0.82840793771280219</c:v>
                </c:pt>
                <c:pt idx="54">
                  <c:v>0.83214578767684388</c:v>
                </c:pt>
                <c:pt idx="55">
                  <c:v>0.83583188317258628</c:v>
                </c:pt>
                <c:pt idx="56">
                  <c:v>0.83949320520246029</c:v>
                </c:pt>
                <c:pt idx="57">
                  <c:v>0.84294849048649834</c:v>
                </c:pt>
                <c:pt idx="58">
                  <c:v>0.8463474427078852</c:v>
                </c:pt>
                <c:pt idx="59">
                  <c:v>0.84974279746228121</c:v>
                </c:pt>
                <c:pt idx="60">
                  <c:v>0.8530606431551484</c:v>
                </c:pt>
                <c:pt idx="61">
                  <c:v>0.85616288611040869</c:v>
                </c:pt>
                <c:pt idx="62">
                  <c:v>0.85923782102078439</c:v>
                </c:pt>
                <c:pt idx="63">
                  <c:v>0.86222559911724683</c:v>
                </c:pt>
                <c:pt idx="64">
                  <c:v>0.86520201248844297</c:v>
                </c:pt>
                <c:pt idx="65">
                  <c:v>0.86817670888675713</c:v>
                </c:pt>
                <c:pt idx="66">
                  <c:v>0.87114535499967771</c:v>
                </c:pt>
                <c:pt idx="67">
                  <c:v>0.87405284417375484</c:v>
                </c:pt>
                <c:pt idx="68">
                  <c:v>0.87688838400801628</c:v>
                </c:pt>
                <c:pt idx="69">
                  <c:v>0.87970618178916404</c:v>
                </c:pt>
                <c:pt idx="70">
                  <c:v>0.88249560863745269</c:v>
                </c:pt>
                <c:pt idx="71">
                  <c:v>0.88526508589606512</c:v>
                </c:pt>
                <c:pt idx="72">
                  <c:v>0.88800774567347351</c:v>
                </c:pt>
                <c:pt idx="73">
                  <c:v>0.89067984604149442</c:v>
                </c:pt>
                <c:pt idx="74">
                  <c:v>0.89330992145421384</c:v>
                </c:pt>
                <c:pt idx="75">
                  <c:v>0.89570060179081901</c:v>
                </c:pt>
                <c:pt idx="76">
                  <c:v>0.89802538307300206</c:v>
                </c:pt>
                <c:pt idx="77">
                  <c:v>0.90019972482647947</c:v>
                </c:pt>
                <c:pt idx="78">
                  <c:v>0.90236777101272292</c:v>
                </c:pt>
                <c:pt idx="79">
                  <c:v>0.90448700611275046</c:v>
                </c:pt>
                <c:pt idx="80">
                  <c:v>0.90660493304296319</c:v>
                </c:pt>
                <c:pt idx="81">
                  <c:v>0.9087101870780947</c:v>
                </c:pt>
                <c:pt idx="82">
                  <c:v>0.91078093813436012</c:v>
                </c:pt>
                <c:pt idx="83">
                  <c:v>0.91282143776365754</c:v>
                </c:pt>
                <c:pt idx="84">
                  <c:v>0.91486054746252665</c:v>
                </c:pt>
                <c:pt idx="85">
                  <c:v>0.91674341262913683</c:v>
                </c:pt>
                <c:pt idx="86">
                  <c:v>0.91860853574263335</c:v>
                </c:pt>
                <c:pt idx="87">
                  <c:v>0.92041438241139528</c:v>
                </c:pt>
                <c:pt idx="88">
                  <c:v>0.92215882685947348</c:v>
                </c:pt>
                <c:pt idx="89">
                  <c:v>0.92386402621310681</c:v>
                </c:pt>
                <c:pt idx="90">
                  <c:v>0.92555630738981864</c:v>
                </c:pt>
                <c:pt idx="91">
                  <c:v>0.92716012358280242</c:v>
                </c:pt>
                <c:pt idx="92">
                  <c:v>0.92874905934414254</c:v>
                </c:pt>
                <c:pt idx="93">
                  <c:v>0.93030512733888504</c:v>
                </c:pt>
                <c:pt idx="94">
                  <c:v>0.93184369856235416</c:v>
                </c:pt>
                <c:pt idx="95">
                  <c:v>0.93335937681406367</c:v>
                </c:pt>
                <c:pt idx="96">
                  <c:v>0.93480596734742738</c:v>
                </c:pt>
                <c:pt idx="97">
                  <c:v>0.93624740696214526</c:v>
                </c:pt>
                <c:pt idx="98">
                  <c:v>0.93767306677847162</c:v>
                </c:pt>
                <c:pt idx="99">
                  <c:v>0.93909774546743696</c:v>
                </c:pt>
                <c:pt idx="100">
                  <c:v>0.94045840559608895</c:v>
                </c:pt>
                <c:pt idx="101">
                  <c:v>0.9418153864971367</c:v>
                </c:pt>
                <c:pt idx="102">
                  <c:v>0.94314971970826522</c:v>
                </c:pt>
                <c:pt idx="103">
                  <c:v>0.94448388939816685</c:v>
                </c:pt>
                <c:pt idx="104">
                  <c:v>0.94580824781445727</c:v>
                </c:pt>
                <c:pt idx="105">
                  <c:v>0.94712426664817806</c:v>
                </c:pt>
                <c:pt idx="106">
                  <c:v>0.94843513456325301</c:v>
                </c:pt>
                <c:pt idx="107">
                  <c:v>0.94973292078017957</c:v>
                </c:pt>
                <c:pt idx="108">
                  <c:v>0.95100830458902719</c:v>
                </c:pt>
                <c:pt idx="109">
                  <c:v>0.95219211651083657</c:v>
                </c:pt>
                <c:pt idx="110">
                  <c:v>0.95336546307412728</c:v>
                </c:pt>
                <c:pt idx="111">
                  <c:v>0.95453177822466329</c:v>
                </c:pt>
                <c:pt idx="112">
                  <c:v>0.95562336417452698</c:v>
                </c:pt>
                <c:pt idx="113">
                  <c:v>0.95666090635891543</c:v>
                </c:pt>
                <c:pt idx="114">
                  <c:v>0.95769264353975059</c:v>
                </c:pt>
                <c:pt idx="115">
                  <c:v>0.95868914189619869</c:v>
                </c:pt>
                <c:pt idx="116">
                  <c:v>0.95968384151915143</c:v>
                </c:pt>
                <c:pt idx="117">
                  <c:v>0.96065344063378211</c:v>
                </c:pt>
                <c:pt idx="118">
                  <c:v>0.96161748002669978</c:v>
                </c:pt>
                <c:pt idx="119">
                  <c:v>0.96251545684396844</c:v>
                </c:pt>
                <c:pt idx="120">
                  <c:v>0.96338489920715109</c:v>
                </c:pt>
                <c:pt idx="121">
                  <c:v>0.96424690135451185</c:v>
                </c:pt>
                <c:pt idx="122">
                  <c:v>0.96510710476837724</c:v>
                </c:pt>
                <c:pt idx="123">
                  <c:v>0.96594801267747388</c:v>
                </c:pt>
                <c:pt idx="124">
                  <c:v>0.96678393318915146</c:v>
                </c:pt>
                <c:pt idx="125">
                  <c:v>0.96761208644255348</c:v>
                </c:pt>
                <c:pt idx="126">
                  <c:v>0.96842257940345522</c:v>
                </c:pt>
                <c:pt idx="127">
                  <c:v>0.96917829275336087</c:v>
                </c:pt>
                <c:pt idx="128">
                  <c:v>0.96993122624241002</c:v>
                </c:pt>
                <c:pt idx="129">
                  <c:v>0.97067042394840342</c:v>
                </c:pt>
                <c:pt idx="130">
                  <c:v>0.97140537010249861</c:v>
                </c:pt>
                <c:pt idx="131">
                  <c:v>0.97209927242865346</c:v>
                </c:pt>
                <c:pt idx="132">
                  <c:v>0.9727573636061273</c:v>
                </c:pt>
                <c:pt idx="133">
                  <c:v>0.97340940449820756</c:v>
                </c:pt>
                <c:pt idx="134">
                  <c:v>0.97399472872973136</c:v>
                </c:pt>
                <c:pt idx="135">
                  <c:v>0.97457702781855837</c:v>
                </c:pt>
                <c:pt idx="136">
                  <c:v>0.97514665401230416</c:v>
                </c:pt>
                <c:pt idx="137">
                  <c:v>0.97571611668482316</c:v>
                </c:pt>
                <c:pt idx="138">
                  <c:v>0.97627445991391604</c:v>
                </c:pt>
                <c:pt idx="139">
                  <c:v>0.97682887863356449</c:v>
                </c:pt>
                <c:pt idx="140">
                  <c:v>0.97735737923875654</c:v>
                </c:pt>
                <c:pt idx="141">
                  <c:v>0.97787525096420314</c:v>
                </c:pt>
                <c:pt idx="142">
                  <c:v>0.97838731768609632</c:v>
                </c:pt>
                <c:pt idx="143">
                  <c:v>0.97889439701057046</c:v>
                </c:pt>
                <c:pt idx="144">
                  <c:v>0.97939338203431536</c:v>
                </c:pt>
                <c:pt idx="145">
                  <c:v>0.97988517212407866</c:v>
                </c:pt>
                <c:pt idx="146">
                  <c:v>0.98036240882465198</c:v>
                </c:pt>
                <c:pt idx="147">
                  <c:v>0.98083228707001691</c:v>
                </c:pt>
                <c:pt idx="148">
                  <c:v>0.98130069362434014</c:v>
                </c:pt>
                <c:pt idx="149">
                  <c:v>0.98174203741561905</c:v>
                </c:pt>
                <c:pt idx="150">
                  <c:v>0.98216923662077504</c:v>
                </c:pt>
                <c:pt idx="151">
                  <c:v>0.98259529117734312</c:v>
                </c:pt>
                <c:pt idx="152">
                  <c:v>0.98301676713955921</c:v>
                </c:pt>
                <c:pt idx="153">
                  <c:v>0.98342696013712239</c:v>
                </c:pt>
                <c:pt idx="154">
                  <c:v>0.98383437327382905</c:v>
                </c:pt>
                <c:pt idx="155">
                  <c:v>0.98422682421827856</c:v>
                </c:pt>
                <c:pt idx="156">
                  <c:v>0.98461289783488082</c:v>
                </c:pt>
                <c:pt idx="157">
                  <c:v>0.98498785200805694</c:v>
                </c:pt>
                <c:pt idx="158">
                  <c:v>0.98535904519301543</c:v>
                </c:pt>
                <c:pt idx="159">
                  <c:v>0.98573015661736052</c:v>
                </c:pt>
                <c:pt idx="160">
                  <c:v>0.98609529951692543</c:v>
                </c:pt>
                <c:pt idx="161">
                  <c:v>0.98644973177613138</c:v>
                </c:pt>
                <c:pt idx="162">
                  <c:v>0.98679140937964271</c:v>
                </c:pt>
                <c:pt idx="163">
                  <c:v>0.98712924423432302</c:v>
                </c:pt>
                <c:pt idx="164">
                  <c:v>0.98745792190029957</c:v>
                </c:pt>
                <c:pt idx="165">
                  <c:v>0.98778022223842876</c:v>
                </c:pt>
                <c:pt idx="166">
                  <c:v>0.98809050376638419</c:v>
                </c:pt>
                <c:pt idx="167">
                  <c:v>0.98840045825188594</c:v>
                </c:pt>
                <c:pt idx="168">
                  <c:v>0.98870599766426259</c:v>
                </c:pt>
                <c:pt idx="169">
                  <c:v>0.98901104651295868</c:v>
                </c:pt>
                <c:pt idx="170">
                  <c:v>0.98931535951613392</c:v>
                </c:pt>
                <c:pt idx="171">
                  <c:v>0.9896147668825036</c:v>
                </c:pt>
                <c:pt idx="172">
                  <c:v>0.98989945733845641</c:v>
                </c:pt>
                <c:pt idx="173">
                  <c:v>0.99017932391821695</c:v>
                </c:pt>
                <c:pt idx="174">
                  <c:v>0.9904560835946673</c:v>
                </c:pt>
                <c:pt idx="175">
                  <c:v>0.99072344080057351</c:v>
                </c:pt>
                <c:pt idx="176">
                  <c:v>0.99098826342746349</c:v>
                </c:pt>
                <c:pt idx="177">
                  <c:v>0.99124507351423763</c:v>
                </c:pt>
                <c:pt idx="178">
                  <c:v>0.99149795909156735</c:v>
                </c:pt>
                <c:pt idx="179">
                  <c:v>0.99172852402143141</c:v>
                </c:pt>
                <c:pt idx="180">
                  <c:v>0.99195802606332095</c:v>
                </c:pt>
                <c:pt idx="181">
                  <c:v>0.99218311303208551</c:v>
                </c:pt>
                <c:pt idx="182">
                  <c:v>0.99239977865766704</c:v>
                </c:pt>
                <c:pt idx="183">
                  <c:v>0.99260475251552849</c:v>
                </c:pt>
                <c:pt idx="184">
                  <c:v>0.9928073553156006</c:v>
                </c:pt>
                <c:pt idx="185">
                  <c:v>0.99300766881849678</c:v>
                </c:pt>
                <c:pt idx="186">
                  <c:v>0.99320446661501549</c:v>
                </c:pt>
                <c:pt idx="187">
                  <c:v>0.9933999562417194</c:v>
                </c:pt>
                <c:pt idx="188">
                  <c:v>0.99359217544388623</c:v>
                </c:pt>
                <c:pt idx="189">
                  <c:v>0.9937780990788192</c:v>
                </c:pt>
                <c:pt idx="190">
                  <c:v>0.9939449724908237</c:v>
                </c:pt>
                <c:pt idx="191">
                  <c:v>0.99410833019645084</c:v>
                </c:pt>
                <c:pt idx="192">
                  <c:v>0.99427005268980939</c:v>
                </c:pt>
                <c:pt idx="193">
                  <c:v>0.99443136638010088</c:v>
                </c:pt>
                <c:pt idx="194">
                  <c:v>0.99459055429444321</c:v>
                </c:pt>
                <c:pt idx="195">
                  <c:v>0.99474532713566055</c:v>
                </c:pt>
                <c:pt idx="196">
                  <c:v>0.99489404969148421</c:v>
                </c:pt>
                <c:pt idx="197">
                  <c:v>0.99504179111994673</c:v>
                </c:pt>
                <c:pt idx="198">
                  <c:v>0.99518585332080511</c:v>
                </c:pt>
                <c:pt idx="199">
                  <c:v>0.99532893439430237</c:v>
                </c:pt>
                <c:pt idx="200">
                  <c:v>0.99547119786166538</c:v>
                </c:pt>
                <c:pt idx="201">
                  <c:v>0.99560953681958386</c:v>
                </c:pt>
                <c:pt idx="202">
                  <c:v>0.99574689465014121</c:v>
                </c:pt>
                <c:pt idx="203">
                  <c:v>0.99588073677432121</c:v>
                </c:pt>
                <c:pt idx="204">
                  <c:v>0.99601449713788781</c:v>
                </c:pt>
                <c:pt idx="205">
                  <c:v>0.99614032672195196</c:v>
                </c:pt>
                <c:pt idx="206">
                  <c:v>0.99626476637558781</c:v>
                </c:pt>
                <c:pt idx="207">
                  <c:v>0.99638519975916573</c:v>
                </c:pt>
                <c:pt idx="208">
                  <c:v>0.99650040046348431</c:v>
                </c:pt>
                <c:pt idx="209">
                  <c:v>0.99661527412534923</c:v>
                </c:pt>
                <c:pt idx="210">
                  <c:v>0.99672704088390396</c:v>
                </c:pt>
                <c:pt idx="211">
                  <c:v>0.99683725419080349</c:v>
                </c:pt>
                <c:pt idx="212">
                  <c:v>0.99694280714273775</c:v>
                </c:pt>
                <c:pt idx="213">
                  <c:v>0.99704500790952144</c:v>
                </c:pt>
                <c:pt idx="214">
                  <c:v>0.99714720867630513</c:v>
                </c:pt>
                <c:pt idx="215">
                  <c:v>0.9972483465551143</c:v>
                </c:pt>
                <c:pt idx="216">
                  <c:v>0.99734400647282384</c:v>
                </c:pt>
                <c:pt idx="217">
                  <c:v>0.99742993687753556</c:v>
                </c:pt>
                <c:pt idx="218">
                  <c:v>0.99751464087304598</c:v>
                </c:pt>
                <c:pt idx="219">
                  <c:v>0.99759231345580157</c:v>
                </c:pt>
                <c:pt idx="220">
                  <c:v>0.9976652439229784</c:v>
                </c:pt>
                <c:pt idx="221">
                  <c:v>0.99773760206586126</c:v>
                </c:pt>
                <c:pt idx="222">
                  <c:v>0.99780996020874413</c:v>
                </c:pt>
                <c:pt idx="223">
                  <c:v>0.99788011081506445</c:v>
                </c:pt>
                <c:pt idx="224">
                  <c:v>0.99794944381525053</c:v>
                </c:pt>
                <c:pt idx="225">
                  <c:v>0.99801869505482321</c:v>
                </c:pt>
                <c:pt idx="226">
                  <c:v>0.99808655636396759</c:v>
                </c:pt>
                <c:pt idx="227">
                  <c:v>0.99815122900918829</c:v>
                </c:pt>
                <c:pt idx="228">
                  <c:v>0.99820927904472145</c:v>
                </c:pt>
                <c:pt idx="229">
                  <c:v>0.99826585738921292</c:v>
                </c:pt>
                <c:pt idx="230">
                  <c:v>0.99831818418180618</c:v>
                </c:pt>
                <c:pt idx="231">
                  <c:v>0.99836920280458463</c:v>
                </c:pt>
                <c:pt idx="232">
                  <c:v>0.99841989438490941</c:v>
                </c:pt>
                <c:pt idx="233">
                  <c:v>0.99847025892278041</c:v>
                </c:pt>
                <c:pt idx="234">
                  <c:v>0.9985193152908366</c:v>
                </c:pt>
                <c:pt idx="235">
                  <c:v>0.99856681820723769</c:v>
                </c:pt>
                <c:pt idx="236">
                  <c:v>0.99861366703873133</c:v>
                </c:pt>
                <c:pt idx="237">
                  <c:v>0.99866027058838469</c:v>
                </c:pt>
                <c:pt idx="238">
                  <c:v>0.99870605653190381</c:v>
                </c:pt>
                <c:pt idx="239">
                  <c:v>0.99874914437517981</c:v>
                </c:pt>
                <c:pt idx="240">
                  <c:v>0.99879125109109468</c:v>
                </c:pt>
                <c:pt idx="241">
                  <c:v>0.99883188611596785</c:v>
                </c:pt>
                <c:pt idx="242">
                  <c:v>0.99886720670096829</c:v>
                </c:pt>
                <c:pt idx="243">
                  <c:v>0.99890236376474195</c:v>
                </c:pt>
                <c:pt idx="244">
                  <c:v>0.99893735730728872</c:v>
                </c:pt>
                <c:pt idx="245">
                  <c:v>0.9989707973981804</c:v>
                </c:pt>
                <c:pt idx="246">
                  <c:v>0.99900260227680349</c:v>
                </c:pt>
                <c:pt idx="247">
                  <c:v>0.9990339983523594</c:v>
                </c:pt>
                <c:pt idx="248">
                  <c:v>0.99906498562484825</c:v>
                </c:pt>
                <c:pt idx="249">
                  <c:v>0.9990958911367237</c:v>
                </c:pt>
                <c:pt idx="250">
                  <c:v>0.9991261425636917</c:v>
                </c:pt>
                <c:pt idx="251">
                  <c:v>0.99915549462391196</c:v>
                </c:pt>
                <c:pt idx="252">
                  <c:v>0.99918443788106515</c:v>
                </c:pt>
                <c:pt idx="253">
                  <c:v>0.99921305409576455</c:v>
                </c:pt>
                <c:pt idx="254">
                  <c:v>0.99924044390126254</c:v>
                </c:pt>
                <c:pt idx="255">
                  <c:v>0.99926554440958459</c:v>
                </c:pt>
                <c:pt idx="256">
                  <c:v>0.99928884618441127</c:v>
                </c:pt>
                <c:pt idx="257">
                  <c:v>0.99931018570451569</c:v>
                </c:pt>
                <c:pt idx="258">
                  <c:v>0.99933136170339332</c:v>
                </c:pt>
                <c:pt idx="259">
                  <c:v>0.99935221065981716</c:v>
                </c:pt>
                <c:pt idx="260">
                  <c:v>0.99937281433440073</c:v>
                </c:pt>
                <c:pt idx="261">
                  <c:v>0.99939309096653062</c:v>
                </c:pt>
                <c:pt idx="262">
                  <c:v>0.99941279527436655</c:v>
                </c:pt>
                <c:pt idx="263">
                  <c:v>0.99943241782158898</c:v>
                </c:pt>
                <c:pt idx="264">
                  <c:v>0.99945204036881141</c:v>
                </c:pt>
                <c:pt idx="265">
                  <c:v>0.99947060002805932</c:v>
                </c:pt>
                <c:pt idx="266">
                  <c:v>0.99948858736301327</c:v>
                </c:pt>
                <c:pt idx="267">
                  <c:v>0.99950657469796722</c:v>
                </c:pt>
                <c:pt idx="268">
                  <c:v>0.999524153229854</c:v>
                </c:pt>
                <c:pt idx="269">
                  <c:v>0.99954091415560653</c:v>
                </c:pt>
                <c:pt idx="270">
                  <c:v>0.99955702099645161</c:v>
                </c:pt>
                <c:pt idx="271">
                  <c:v>0.99960485095530649</c:v>
                </c:pt>
                <c:pt idx="272">
                  <c:v>0.99962071251431128</c:v>
                </c:pt>
                <c:pt idx="273">
                  <c:v>0.9996362470308624</c:v>
                </c:pt>
                <c:pt idx="274">
                  <c:v>0.99966617141537673</c:v>
                </c:pt>
                <c:pt idx="275">
                  <c:v>0.99968047952272643</c:v>
                </c:pt>
                <c:pt idx="276">
                  <c:v>0.99970844165251849</c:v>
                </c:pt>
                <c:pt idx="277">
                  <c:v>0.99972217743557423</c:v>
                </c:pt>
                <c:pt idx="278">
                  <c:v>0.99973583145801659</c:v>
                </c:pt>
                <c:pt idx="279">
                  <c:v>0.99976281246044751</c:v>
                </c:pt>
                <c:pt idx="280">
                  <c:v>0.99977613944043608</c:v>
                </c:pt>
                <c:pt idx="281">
                  <c:v>0.99981489397120049</c:v>
                </c:pt>
                <c:pt idx="282">
                  <c:v>0.99982748510566821</c:v>
                </c:pt>
                <c:pt idx="283">
                  <c:v>0.99983966743706887</c:v>
                </c:pt>
                <c:pt idx="284">
                  <c:v>0.99985168624724263</c:v>
                </c:pt>
                <c:pt idx="285">
                  <c:v>0.99986362329680301</c:v>
                </c:pt>
                <c:pt idx="286">
                  <c:v>0.99988717035346997</c:v>
                </c:pt>
                <c:pt idx="287">
                  <c:v>0.9998982080362826</c:v>
                </c:pt>
                <c:pt idx="288">
                  <c:v>0.99990883691602805</c:v>
                </c:pt>
                <c:pt idx="289">
                  <c:v>0.99991946579577351</c:v>
                </c:pt>
                <c:pt idx="290">
                  <c:v>0.99992952235122501</c:v>
                </c:pt>
                <c:pt idx="291">
                  <c:v>0.99993778017318113</c:v>
                </c:pt>
                <c:pt idx="292">
                  <c:v>0.9999454656708433</c:v>
                </c:pt>
                <c:pt idx="293">
                  <c:v>0.99995282412605169</c:v>
                </c:pt>
                <c:pt idx="294">
                  <c:v>0.99996647814849404</c:v>
                </c:pt>
                <c:pt idx="295">
                  <c:v>0.99997637118271876</c:v>
                </c:pt>
                <c:pt idx="296">
                  <c:v>0.99998086801645725</c:v>
                </c:pt>
                <c:pt idx="297">
                  <c:v>0.99999427675705932</c:v>
                </c:pt>
                <c:pt idx="298">
                  <c:v>0.99999713837852922</c:v>
                </c:pt>
                <c:pt idx="299">
                  <c:v>0.99999999999999911</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312</c:f>
              <c:strCache>
                <c:ptCount val="311"/>
                <c:pt idx="0">
                  <c:v>Ruinart</c:v>
                </c:pt>
                <c:pt idx="1">
                  <c:v>Nicolas</c:v>
                </c:pt>
                <c:pt idx="2">
                  <c:v>Deutz</c:v>
                </c:pt>
                <c:pt idx="3">
                  <c:v>Ruinart</c:v>
                </c:pt>
                <c:pt idx="4">
                  <c:v>Laurent Per</c:v>
                </c:pt>
                <c:pt idx="5">
                  <c:v>Malard</c:v>
                </c:pt>
                <c:pt idx="6">
                  <c:v>Ruinart</c:v>
                </c:pt>
                <c:pt idx="7">
                  <c:v>Ayala</c:v>
                </c:pt>
                <c:pt idx="8">
                  <c:v>Heidsieck &amp;</c:v>
                </c:pt>
                <c:pt idx="9">
                  <c:v>Nicolas Feu</c:v>
                </c:pt>
                <c:pt idx="10">
                  <c:v>Ruinart</c:v>
                </c:pt>
                <c:pt idx="11">
                  <c:v>Taittinger</c:v>
                </c:pt>
                <c:pt idx="12">
                  <c:v>Bollinger</c:v>
                </c:pt>
                <c:pt idx="13">
                  <c:v>De Bligny</c:v>
                </c:pt>
                <c:pt idx="14">
                  <c:v>Canard Duch</c:v>
                </c:pt>
                <c:pt idx="15">
                  <c:v>Besserat De</c:v>
                </c:pt>
                <c:pt idx="16">
                  <c:v>All Others</c:v>
                </c:pt>
                <c:pt idx="17">
                  <c:v>Perrier Jou</c:v>
                </c:pt>
                <c:pt idx="18">
                  <c:v>Dom Perigno</c:v>
                </c:pt>
                <c:pt idx="19">
                  <c:v>Vesselle</c:v>
                </c:pt>
                <c:pt idx="20">
                  <c:v>Deutz</c:v>
                </c:pt>
                <c:pt idx="21">
                  <c:v>Laurent Per</c:v>
                </c:pt>
                <c:pt idx="22">
                  <c:v>Ruinart</c:v>
                </c:pt>
                <c:pt idx="23">
                  <c:v>Demoiselle</c:v>
                </c:pt>
                <c:pt idx="24">
                  <c:v>Campari: Al</c:v>
                </c:pt>
                <c:pt idx="25">
                  <c:v>Veuve Clicq</c:v>
                </c:pt>
                <c:pt idx="26">
                  <c:v>Pommery</c:v>
                </c:pt>
                <c:pt idx="27">
                  <c:v>Dom Perigno</c:v>
                </c:pt>
                <c:pt idx="28">
                  <c:v>Ruinart</c:v>
                </c:pt>
                <c:pt idx="29">
                  <c:v>Laurent Per</c:v>
                </c:pt>
                <c:pt idx="30">
                  <c:v>All Others</c:v>
                </c:pt>
                <c:pt idx="31">
                  <c:v>Roederer</c:v>
                </c:pt>
                <c:pt idx="32">
                  <c:v>Veuve Clicq</c:v>
                </c:pt>
                <c:pt idx="33">
                  <c:v>Savian</c:v>
                </c:pt>
                <c:pt idx="34">
                  <c:v>Deutz</c:v>
                </c:pt>
                <c:pt idx="35">
                  <c:v>Moët &amp; Chan</c:v>
                </c:pt>
                <c:pt idx="36">
                  <c:v>Ruinart</c:v>
                </c:pt>
                <c:pt idx="37">
                  <c:v>Ruinart</c:v>
                </c:pt>
                <c:pt idx="38">
                  <c:v>Roederer</c:v>
                </c:pt>
                <c:pt idx="39">
                  <c:v>Malard</c:v>
                </c:pt>
                <c:pt idx="40">
                  <c:v>Taittinger</c:v>
                </c:pt>
                <c:pt idx="41">
                  <c:v>Henriot</c:v>
                </c:pt>
                <c:pt idx="42">
                  <c:v>Veuve Clicq</c:v>
                </c:pt>
                <c:pt idx="43">
                  <c:v>Nicolas Feu</c:v>
                </c:pt>
                <c:pt idx="44">
                  <c:v>All Others</c:v>
                </c:pt>
                <c:pt idx="45">
                  <c:v>Louis Marti</c:v>
                </c:pt>
                <c:pt idx="46">
                  <c:v>Malard</c:v>
                </c:pt>
                <c:pt idx="47">
                  <c:v>Ruinart</c:v>
                </c:pt>
                <c:pt idx="48">
                  <c:v>Nicolas Feu</c:v>
                </c:pt>
                <c:pt idx="49">
                  <c:v>Moët &amp; Chan</c:v>
                </c:pt>
                <c:pt idx="50">
                  <c:v>Nicolas</c:v>
                </c:pt>
                <c:pt idx="51">
                  <c:v>Deutz</c:v>
                </c:pt>
                <c:pt idx="52">
                  <c:v>Piper Heids</c:v>
                </c:pt>
                <c:pt idx="53">
                  <c:v>Demoiselle</c:v>
                </c:pt>
                <c:pt idx="54">
                  <c:v>De Venoge</c:v>
                </c:pt>
                <c:pt idx="55">
                  <c:v>Moët &amp; Chan</c:v>
                </c:pt>
                <c:pt idx="56">
                  <c:v>Krug</c:v>
                </c:pt>
                <c:pt idx="57">
                  <c:v>Besserat De</c:v>
                </c:pt>
                <c:pt idx="58">
                  <c:v>Ruinart</c:v>
                </c:pt>
                <c:pt idx="59">
                  <c:v>Delamotte</c:v>
                </c:pt>
                <c:pt idx="60">
                  <c:v>Roederer</c:v>
                </c:pt>
                <c:pt idx="61">
                  <c:v>Bollinger</c:v>
                </c:pt>
                <c:pt idx="62">
                  <c:v>Campari: Al</c:v>
                </c:pt>
                <c:pt idx="63">
                  <c:v>Laurent Per</c:v>
                </c:pt>
                <c:pt idx="64">
                  <c:v>Nicolas</c:v>
                </c:pt>
                <c:pt idx="65">
                  <c:v>Lanson</c:v>
                </c:pt>
                <c:pt idx="66">
                  <c:v>Roederer</c:v>
                </c:pt>
                <c:pt idx="67">
                  <c:v>Malard</c:v>
                </c:pt>
                <c:pt idx="68">
                  <c:v>Nicolas Feu</c:v>
                </c:pt>
                <c:pt idx="69">
                  <c:v>Nicolas</c:v>
                </c:pt>
                <c:pt idx="70">
                  <c:v>Canard Duch</c:v>
                </c:pt>
                <c:pt idx="71">
                  <c:v>Henriot</c:v>
                </c:pt>
                <c:pt idx="72">
                  <c:v>Vranken</c:v>
                </c:pt>
                <c:pt idx="73">
                  <c:v>Henriot</c:v>
                </c:pt>
                <c:pt idx="74">
                  <c:v>De Bligny</c:v>
                </c:pt>
                <c:pt idx="75">
                  <c:v>Roederer</c:v>
                </c:pt>
                <c:pt idx="76">
                  <c:v>Pommery</c:v>
                </c:pt>
                <c:pt idx="77">
                  <c:v>Roederer</c:v>
                </c:pt>
                <c:pt idx="78">
                  <c:v>Malard</c:v>
                </c:pt>
                <c:pt idx="79">
                  <c:v>Roederer</c:v>
                </c:pt>
                <c:pt idx="80">
                  <c:v>Besserat De</c:v>
                </c:pt>
                <c:pt idx="81">
                  <c:v>Nicolas</c:v>
                </c:pt>
                <c:pt idx="82">
                  <c:v>Ruinart</c:v>
                </c:pt>
                <c:pt idx="83">
                  <c:v>Henriot</c:v>
                </c:pt>
                <c:pt idx="84">
                  <c:v>Laurent Per</c:v>
                </c:pt>
                <c:pt idx="85">
                  <c:v>Roederer</c:v>
                </c:pt>
                <c:pt idx="86">
                  <c:v>Deutz</c:v>
                </c:pt>
                <c:pt idx="87">
                  <c:v>Moët &amp; Chan</c:v>
                </c:pt>
                <c:pt idx="88">
                  <c:v>Roederer</c:v>
                </c:pt>
                <c:pt idx="89">
                  <c:v>Perrier Jou</c:v>
                </c:pt>
                <c:pt idx="90">
                  <c:v>Ruinart</c:v>
                </c:pt>
                <c:pt idx="91">
                  <c:v>Laurent Per</c:v>
                </c:pt>
                <c:pt idx="92">
                  <c:v>Bollinger</c:v>
                </c:pt>
                <c:pt idx="93">
                  <c:v>Roederer</c:v>
                </c:pt>
                <c:pt idx="94">
                  <c:v>Ruinart</c:v>
                </c:pt>
                <c:pt idx="95">
                  <c:v>Deutz</c:v>
                </c:pt>
                <c:pt idx="96">
                  <c:v>De Venoge</c:v>
                </c:pt>
                <c:pt idx="97">
                  <c:v>Vranken</c:v>
                </c:pt>
                <c:pt idx="98">
                  <c:v>Ayala</c:v>
                </c:pt>
                <c:pt idx="99">
                  <c:v>De Venoge</c:v>
                </c:pt>
                <c:pt idx="100">
                  <c:v>Bollinger</c:v>
                </c:pt>
                <c:pt idx="101">
                  <c:v>Ruinart</c:v>
                </c:pt>
                <c:pt idx="102">
                  <c:v>Taittinger</c:v>
                </c:pt>
                <c:pt idx="103">
                  <c:v>Nicolas Feu</c:v>
                </c:pt>
                <c:pt idx="104">
                  <c:v>Dom Perigno</c:v>
                </c:pt>
                <c:pt idx="105">
                  <c:v>Canard Duch</c:v>
                </c:pt>
                <c:pt idx="106">
                  <c:v>Nicolas</c:v>
                </c:pt>
                <c:pt idx="107">
                  <c:v>Nicolas</c:v>
                </c:pt>
                <c:pt idx="108">
                  <c:v>Malard</c:v>
                </c:pt>
                <c:pt idx="109">
                  <c:v>Perrier Jou</c:v>
                </c:pt>
                <c:pt idx="110">
                  <c:v>Ruinart</c:v>
                </c:pt>
                <c:pt idx="111">
                  <c:v>Dom Perigno</c:v>
                </c:pt>
                <c:pt idx="112">
                  <c:v>Canard Duch</c:v>
                </c:pt>
                <c:pt idx="113">
                  <c:v>Dom Perigno</c:v>
                </c:pt>
                <c:pt idx="114">
                  <c:v>Laurent Per</c:v>
                </c:pt>
                <c:pt idx="115">
                  <c:v>Demoiselle</c:v>
                </c:pt>
                <c:pt idx="116">
                  <c:v>Taittinger</c:v>
                </c:pt>
                <c:pt idx="117">
                  <c:v>De Venoge</c:v>
                </c:pt>
                <c:pt idx="118">
                  <c:v>Roederer</c:v>
                </c:pt>
                <c:pt idx="119">
                  <c:v>Laurent Per</c:v>
                </c:pt>
                <c:pt idx="120">
                  <c:v>Nicolas</c:v>
                </c:pt>
                <c:pt idx="121">
                  <c:v>Canard Duch</c:v>
                </c:pt>
                <c:pt idx="122">
                  <c:v>Bollinger</c:v>
                </c:pt>
                <c:pt idx="123">
                  <c:v>Pommery</c:v>
                </c:pt>
                <c:pt idx="124">
                  <c:v>Nicolas</c:v>
                </c:pt>
                <c:pt idx="125">
                  <c:v>Nicolas</c:v>
                </c:pt>
                <c:pt idx="126">
                  <c:v>Laurent Per</c:v>
                </c:pt>
                <c:pt idx="127">
                  <c:v>All Others</c:v>
                </c:pt>
                <c:pt idx="128">
                  <c:v>All Others</c:v>
                </c:pt>
                <c:pt idx="129">
                  <c:v>Veuve Clicq</c:v>
                </c:pt>
                <c:pt idx="130">
                  <c:v>Roederer</c:v>
                </c:pt>
                <c:pt idx="131">
                  <c:v>Ruinart</c:v>
                </c:pt>
                <c:pt idx="132">
                  <c:v>Pommery</c:v>
                </c:pt>
                <c:pt idx="133">
                  <c:v>Deutz</c:v>
                </c:pt>
                <c:pt idx="134">
                  <c:v>Moët &amp; Chan</c:v>
                </c:pt>
                <c:pt idx="135">
                  <c:v>Nicolas</c:v>
                </c:pt>
                <c:pt idx="136">
                  <c:v>Roederer</c:v>
                </c:pt>
                <c:pt idx="137">
                  <c:v>Ruinart</c:v>
                </c:pt>
                <c:pt idx="138">
                  <c:v>Nicolas</c:v>
                </c:pt>
                <c:pt idx="139">
                  <c:v>Pommery</c:v>
                </c:pt>
                <c:pt idx="140">
                  <c:v>All Others</c:v>
                </c:pt>
                <c:pt idx="141">
                  <c:v>Roederer</c:v>
                </c:pt>
                <c:pt idx="142">
                  <c:v>Besserat De</c:v>
                </c:pt>
                <c:pt idx="143">
                  <c:v>Nicolas</c:v>
                </c:pt>
                <c:pt idx="144">
                  <c:v>Ruinart</c:v>
                </c:pt>
                <c:pt idx="145">
                  <c:v>Lanson</c:v>
                </c:pt>
                <c:pt idx="146">
                  <c:v>Canard Duch</c:v>
                </c:pt>
                <c:pt idx="147">
                  <c:v>Ruinart</c:v>
                </c:pt>
                <c:pt idx="148">
                  <c:v>Pommery</c:v>
                </c:pt>
                <c:pt idx="149">
                  <c:v>All Others</c:v>
                </c:pt>
                <c:pt idx="150">
                  <c:v>Krug</c:v>
                </c:pt>
                <c:pt idx="151">
                  <c:v>Taittinger</c:v>
                </c:pt>
                <c:pt idx="152">
                  <c:v>Nicolas</c:v>
                </c:pt>
                <c:pt idx="153">
                  <c:v>Deutz</c:v>
                </c:pt>
                <c:pt idx="154">
                  <c:v>Laurent Per</c:v>
                </c:pt>
                <c:pt idx="155">
                  <c:v>Taittinger</c:v>
                </c:pt>
                <c:pt idx="156">
                  <c:v>Laurent Per</c:v>
                </c:pt>
                <c:pt idx="157">
                  <c:v>Deutz</c:v>
                </c:pt>
                <c:pt idx="158">
                  <c:v>Piper Heids</c:v>
                </c:pt>
                <c:pt idx="159">
                  <c:v>Louis Marti</c:v>
                </c:pt>
                <c:pt idx="160">
                  <c:v>Nicolas</c:v>
                </c:pt>
                <c:pt idx="161">
                  <c:v>Pommery</c:v>
                </c:pt>
                <c:pt idx="162">
                  <c:v>Pommery</c:v>
                </c:pt>
                <c:pt idx="163">
                  <c:v>Nicolas</c:v>
                </c:pt>
                <c:pt idx="164">
                  <c:v>Laurent Per</c:v>
                </c:pt>
                <c:pt idx="165">
                  <c:v>Vesselle</c:v>
                </c:pt>
                <c:pt idx="166">
                  <c:v>Moët &amp; Chan</c:v>
                </c:pt>
                <c:pt idx="167">
                  <c:v>Vranken</c:v>
                </c:pt>
                <c:pt idx="168">
                  <c:v>Lanson</c:v>
                </c:pt>
                <c:pt idx="169">
                  <c:v>Besserat De</c:v>
                </c:pt>
                <c:pt idx="170">
                  <c:v>De Venoge</c:v>
                </c:pt>
                <c:pt idx="171">
                  <c:v>Ruinart</c:v>
                </c:pt>
                <c:pt idx="172">
                  <c:v>Ayala</c:v>
                </c:pt>
                <c:pt idx="173">
                  <c:v>Dom Perigno</c:v>
                </c:pt>
                <c:pt idx="174">
                  <c:v>Canard Duch</c:v>
                </c:pt>
                <c:pt idx="175">
                  <c:v>Perrier Jou</c:v>
                </c:pt>
                <c:pt idx="176">
                  <c:v>Delamotte</c:v>
                </c:pt>
                <c:pt idx="177">
                  <c:v>Taittinger</c:v>
                </c:pt>
                <c:pt idx="178">
                  <c:v>Bollinger</c:v>
                </c:pt>
                <c:pt idx="179">
                  <c:v>All Others</c:v>
                </c:pt>
                <c:pt idx="180">
                  <c:v>Roederer</c:v>
                </c:pt>
                <c:pt idx="181">
                  <c:v>Perrier Jou</c:v>
                </c:pt>
                <c:pt idx="182">
                  <c:v>Piper Heids</c:v>
                </c:pt>
                <c:pt idx="183">
                  <c:v>Roederer</c:v>
                </c:pt>
                <c:pt idx="184">
                  <c:v>Delamotte</c:v>
                </c:pt>
                <c:pt idx="185">
                  <c:v>Henriot</c:v>
                </c:pt>
                <c:pt idx="186">
                  <c:v>Bollinger</c:v>
                </c:pt>
                <c:pt idx="187">
                  <c:v>Nicolas</c:v>
                </c:pt>
                <c:pt idx="188">
                  <c:v>Krug</c:v>
                </c:pt>
                <c:pt idx="189">
                  <c:v>All Others</c:v>
                </c:pt>
                <c:pt idx="190">
                  <c:v>De Venoge</c:v>
                </c:pt>
                <c:pt idx="191">
                  <c:v>Canard Duch</c:v>
                </c:pt>
                <c:pt idx="192">
                  <c:v>Vesselle</c:v>
                </c:pt>
                <c:pt idx="193">
                  <c:v>All Others</c:v>
                </c:pt>
                <c:pt idx="194">
                  <c:v>Nicolas Feu</c:v>
                </c:pt>
                <c:pt idx="195">
                  <c:v>Malard</c:v>
                </c:pt>
                <c:pt idx="196">
                  <c:v>Demoiselle</c:v>
                </c:pt>
                <c:pt idx="197">
                  <c:v>Delamotte</c:v>
                </c:pt>
                <c:pt idx="198">
                  <c:v>De Venoge</c:v>
                </c:pt>
                <c:pt idx="199">
                  <c:v>Deutz</c:v>
                </c:pt>
                <c:pt idx="200">
                  <c:v>Roederer</c:v>
                </c:pt>
                <c:pt idx="201">
                  <c:v>Piper Heids</c:v>
                </c:pt>
                <c:pt idx="202">
                  <c:v>Veuve Clicq</c:v>
                </c:pt>
                <c:pt idx="203">
                  <c:v>Krug</c:v>
                </c:pt>
                <c:pt idx="204">
                  <c:v>Nicolas</c:v>
                </c:pt>
                <c:pt idx="205">
                  <c:v>Dom Perigno</c:v>
                </c:pt>
                <c:pt idx="206">
                  <c:v>All Others</c:v>
                </c:pt>
                <c:pt idx="207">
                  <c:v>Henriot</c:v>
                </c:pt>
                <c:pt idx="208">
                  <c:v>Deutz</c:v>
                </c:pt>
                <c:pt idx="209">
                  <c:v>All Others</c:v>
                </c:pt>
                <c:pt idx="210">
                  <c:v>Moët &amp; Chan</c:v>
                </c:pt>
                <c:pt idx="211">
                  <c:v>Deutz</c:v>
                </c:pt>
                <c:pt idx="212">
                  <c:v>Nicolas</c:v>
                </c:pt>
                <c:pt idx="213">
                  <c:v>All Others</c:v>
                </c:pt>
                <c:pt idx="214">
                  <c:v>De Venoge</c:v>
                </c:pt>
                <c:pt idx="215">
                  <c:v>All Others</c:v>
                </c:pt>
                <c:pt idx="216">
                  <c:v>All Others</c:v>
                </c:pt>
                <c:pt idx="217">
                  <c:v>Moët &amp; Chan</c:v>
                </c:pt>
                <c:pt idx="218">
                  <c:v>Roederer</c:v>
                </c:pt>
                <c:pt idx="219">
                  <c:v>Veuve Clicq</c:v>
                </c:pt>
                <c:pt idx="220">
                  <c:v>Heidsieck &amp;</c:v>
                </c:pt>
                <c:pt idx="221">
                  <c:v>Moët &amp; Chan</c:v>
                </c:pt>
                <c:pt idx="222">
                  <c:v>Krug</c:v>
                </c:pt>
                <c:pt idx="223">
                  <c:v>Perrier Jou</c:v>
                </c:pt>
                <c:pt idx="224">
                  <c:v>Moët &amp; Chan</c:v>
                </c:pt>
                <c:pt idx="225">
                  <c:v>All Others</c:v>
                </c:pt>
                <c:pt idx="226">
                  <c:v>Ruinart</c:v>
                </c:pt>
                <c:pt idx="227">
                  <c:v>Deutz</c:v>
                </c:pt>
                <c:pt idx="228">
                  <c:v>Perrier Jou</c:v>
                </c:pt>
                <c:pt idx="229">
                  <c:v>Ayala</c:v>
                </c:pt>
                <c:pt idx="230">
                  <c:v>All Others</c:v>
                </c:pt>
                <c:pt idx="231">
                  <c:v>All Others</c:v>
                </c:pt>
                <c:pt idx="232">
                  <c:v>All Others</c:v>
                </c:pt>
                <c:pt idx="233">
                  <c:v>Laurent Per</c:v>
                </c:pt>
                <c:pt idx="234">
                  <c:v>Roederer</c:v>
                </c:pt>
                <c:pt idx="235">
                  <c:v>Veuve Clicq</c:v>
                </c:pt>
                <c:pt idx="236">
                  <c:v>Piper Heids</c:v>
                </c:pt>
                <c:pt idx="237">
                  <c:v>All Others</c:v>
                </c:pt>
                <c:pt idx="238">
                  <c:v>Nicolas Feu</c:v>
                </c:pt>
                <c:pt idx="239">
                  <c:v>Veuve Clicq</c:v>
                </c:pt>
                <c:pt idx="240">
                  <c:v>Taittinger</c:v>
                </c:pt>
                <c:pt idx="241">
                  <c:v>Laurent Per</c:v>
                </c:pt>
                <c:pt idx="242">
                  <c:v>Pommery</c:v>
                </c:pt>
                <c:pt idx="243">
                  <c:v>De Venoge</c:v>
                </c:pt>
                <c:pt idx="244">
                  <c:v>Ruinart</c:v>
                </c:pt>
                <c:pt idx="245">
                  <c:v>Bollinger</c:v>
                </c:pt>
                <c:pt idx="246">
                  <c:v>Piper Heids</c:v>
                </c:pt>
                <c:pt idx="247">
                  <c:v>Henriot</c:v>
                </c:pt>
                <c:pt idx="248">
                  <c:v>All Others</c:v>
                </c:pt>
                <c:pt idx="249">
                  <c:v>Vesselle</c:v>
                </c:pt>
                <c:pt idx="250">
                  <c:v>Ruinart</c:v>
                </c:pt>
                <c:pt idx="251">
                  <c:v>Nicolas</c:v>
                </c:pt>
                <c:pt idx="252">
                  <c:v>Nicolas Feu</c:v>
                </c:pt>
                <c:pt idx="253">
                  <c:v>Bollinger</c:v>
                </c:pt>
                <c:pt idx="254">
                  <c:v>All Others</c:v>
                </c:pt>
                <c:pt idx="255">
                  <c:v>Nicolas</c:v>
                </c:pt>
                <c:pt idx="256">
                  <c:v>Ayala</c:v>
                </c:pt>
                <c:pt idx="257">
                  <c:v>De Bligny</c:v>
                </c:pt>
                <c:pt idx="258">
                  <c:v>Moët &amp; Chan</c:v>
                </c:pt>
                <c:pt idx="259">
                  <c:v>Canard Duch</c:v>
                </c:pt>
                <c:pt idx="260">
                  <c:v>Veuve Clicq</c:v>
                </c:pt>
                <c:pt idx="261">
                  <c:v>All Others</c:v>
                </c:pt>
                <c:pt idx="262">
                  <c:v>Veuve Clicq</c:v>
                </c:pt>
                <c:pt idx="263">
                  <c:v>De Venoge</c:v>
                </c:pt>
                <c:pt idx="264">
                  <c:v>Laurent Per</c:v>
                </c:pt>
                <c:pt idx="265">
                  <c:v>De Venoge</c:v>
                </c:pt>
                <c:pt idx="266">
                  <c:v>Bollinger</c:v>
                </c:pt>
                <c:pt idx="267">
                  <c:v>Roederer</c:v>
                </c:pt>
                <c:pt idx="268">
                  <c:v>Ruinart</c:v>
                </c:pt>
                <c:pt idx="269">
                  <c:v>Canard Duch</c:v>
                </c:pt>
                <c:pt idx="270">
                  <c:v>All Others</c:v>
                </c:pt>
                <c:pt idx="271">
                  <c:v>Bollinger</c:v>
                </c:pt>
                <c:pt idx="272">
                  <c:v>Bollinger</c:v>
                </c:pt>
                <c:pt idx="273">
                  <c:v>De Bligny</c:v>
                </c:pt>
                <c:pt idx="274">
                  <c:v>Vranken</c:v>
                </c:pt>
                <c:pt idx="275">
                  <c:v>De Venoge</c:v>
                </c:pt>
                <c:pt idx="276">
                  <c:v>Deutz</c:v>
                </c:pt>
                <c:pt idx="277">
                  <c:v>Canard Duch</c:v>
                </c:pt>
                <c:pt idx="278">
                  <c:v>Pommery</c:v>
                </c:pt>
                <c:pt idx="279">
                  <c:v>Roederer</c:v>
                </c:pt>
                <c:pt idx="280">
                  <c:v>Veuve Clicq</c:v>
                </c:pt>
                <c:pt idx="281">
                  <c:v>Ruinart</c:v>
                </c:pt>
                <c:pt idx="282">
                  <c:v>Roederer</c:v>
                </c:pt>
                <c:pt idx="283">
                  <c:v>Roederer</c:v>
                </c:pt>
                <c:pt idx="284">
                  <c:v>Demoiselle</c:v>
                </c:pt>
                <c:pt idx="285">
                  <c:v>Pommery</c:v>
                </c:pt>
                <c:pt idx="286">
                  <c:v>Bollinger</c:v>
                </c:pt>
                <c:pt idx="287">
                  <c:v>Vesselle</c:v>
                </c:pt>
                <c:pt idx="288">
                  <c:v>Besserat De</c:v>
                </c:pt>
                <c:pt idx="289">
                  <c:v>All Others</c:v>
                </c:pt>
                <c:pt idx="290">
                  <c:v>Laurent Per</c:v>
                </c:pt>
                <c:pt idx="291">
                  <c:v>All Others</c:v>
                </c:pt>
                <c:pt idx="292">
                  <c:v>Roederer</c:v>
                </c:pt>
                <c:pt idx="293">
                  <c:v>Roederer</c:v>
                </c:pt>
                <c:pt idx="294">
                  <c:v>Taittinger</c:v>
                </c:pt>
                <c:pt idx="295">
                  <c:v>Vranken</c:v>
                </c:pt>
                <c:pt idx="296">
                  <c:v>Moët &amp; Chan</c:v>
                </c:pt>
                <c:pt idx="297">
                  <c:v>Besserat De</c:v>
                </c:pt>
                <c:pt idx="298">
                  <c:v>Moët &amp; Chan</c:v>
                </c:pt>
                <c:pt idx="299">
                  <c:v>Moët &amp; Chan</c:v>
                </c:pt>
                <c:pt idx="300">
                  <c:v>Laurent Per</c:v>
                </c:pt>
                <c:pt idx="301">
                  <c:v>All Others</c:v>
                </c:pt>
                <c:pt idx="302">
                  <c:v>Besserat De</c:v>
                </c:pt>
                <c:pt idx="303">
                  <c:v>Lanson</c:v>
                </c:pt>
                <c:pt idx="304">
                  <c:v>Roederer</c:v>
                </c:pt>
                <c:pt idx="305">
                  <c:v>Roederer</c:v>
                </c:pt>
                <c:pt idx="306">
                  <c:v>Malard</c:v>
                </c:pt>
                <c:pt idx="307">
                  <c:v>Piper Heids</c:v>
                </c:pt>
                <c:pt idx="308">
                  <c:v>Martel</c:v>
                </c:pt>
                <c:pt idx="309">
                  <c:v>Vesselle</c:v>
                </c:pt>
                <c:pt idx="310">
                  <c:v>All Others</c:v>
                </c:pt>
              </c:strCache>
            </c:strRef>
          </c:cat>
          <c:val>
            <c:numRef>
              <c:f>Sheet1!$B$2:$B$312</c:f>
              <c:numCache>
                <c:formatCode>General</c:formatCode>
                <c:ptCount val="311"/>
                <c:pt idx="0">
                  <c:v>1</c:v>
                </c:pt>
                <c:pt idx="1">
                  <c:v>1</c:v>
                </c:pt>
                <c:pt idx="2">
                  <c:v>0.99</c:v>
                </c:pt>
                <c:pt idx="3">
                  <c:v>0.78</c:v>
                </c:pt>
                <c:pt idx="4">
                  <c:v>1</c:v>
                </c:pt>
                <c:pt idx="5">
                  <c:v>0.96</c:v>
                </c:pt>
                <c:pt idx="6">
                  <c:v>0.71</c:v>
                </c:pt>
                <c:pt idx="7">
                  <c:v>0.98</c:v>
                </c:pt>
                <c:pt idx="8">
                  <c:v>0.92</c:v>
                </c:pt>
                <c:pt idx="9">
                  <c:v>0.99</c:v>
                </c:pt>
                <c:pt idx="10">
                  <c:v>0.73</c:v>
                </c:pt>
                <c:pt idx="11">
                  <c:v>0.94</c:v>
                </c:pt>
                <c:pt idx="12">
                  <c:v>0.91</c:v>
                </c:pt>
                <c:pt idx="13">
                  <c:v>0.99</c:v>
                </c:pt>
                <c:pt idx="14">
                  <c:v>0.97</c:v>
                </c:pt>
                <c:pt idx="15">
                  <c:v>0.78</c:v>
                </c:pt>
                <c:pt idx="16">
                  <c:v>0.86</c:v>
                </c:pt>
                <c:pt idx="17">
                  <c:v>0.88</c:v>
                </c:pt>
                <c:pt idx="18">
                  <c:v>0.45</c:v>
                </c:pt>
                <c:pt idx="19">
                  <c:v>0.8</c:v>
                </c:pt>
                <c:pt idx="20">
                  <c:v>0.66</c:v>
                </c:pt>
                <c:pt idx="21">
                  <c:v>0.78</c:v>
                </c:pt>
                <c:pt idx="22">
                  <c:v>0.7</c:v>
                </c:pt>
                <c:pt idx="23">
                  <c:v>0.87</c:v>
                </c:pt>
                <c:pt idx="24">
                  <c:v>0.83</c:v>
                </c:pt>
                <c:pt idx="25">
                  <c:v>0.81</c:v>
                </c:pt>
                <c:pt idx="26">
                  <c:v>0.75</c:v>
                </c:pt>
                <c:pt idx="27">
                  <c:v>0.36</c:v>
                </c:pt>
                <c:pt idx="28">
                  <c:v>0.67</c:v>
                </c:pt>
                <c:pt idx="29">
                  <c:v>0.68</c:v>
                </c:pt>
                <c:pt idx="30">
                  <c:v>0.75</c:v>
                </c:pt>
                <c:pt idx="31">
                  <c:v>0.68</c:v>
                </c:pt>
                <c:pt idx="32">
                  <c:v>0.72</c:v>
                </c:pt>
                <c:pt idx="33">
                  <c:v>0.77</c:v>
                </c:pt>
                <c:pt idx="34">
                  <c:v>0.63</c:v>
                </c:pt>
                <c:pt idx="35">
                  <c:v>0.82</c:v>
                </c:pt>
                <c:pt idx="36">
                  <c:v>0.36</c:v>
                </c:pt>
                <c:pt idx="37">
                  <c:v>0.56999999999999995</c:v>
                </c:pt>
                <c:pt idx="38">
                  <c:v>0.6</c:v>
                </c:pt>
                <c:pt idx="39">
                  <c:v>0.75</c:v>
                </c:pt>
                <c:pt idx="40">
                  <c:v>0.5</c:v>
                </c:pt>
                <c:pt idx="41">
                  <c:v>0.73</c:v>
                </c:pt>
                <c:pt idx="42">
                  <c:v>0.59</c:v>
                </c:pt>
                <c:pt idx="43">
                  <c:v>0.75</c:v>
                </c:pt>
                <c:pt idx="44">
                  <c:v>0.54</c:v>
                </c:pt>
                <c:pt idx="45">
                  <c:v>0.64</c:v>
                </c:pt>
                <c:pt idx="46">
                  <c:v>0.62</c:v>
                </c:pt>
                <c:pt idx="47">
                  <c:v>0.64</c:v>
                </c:pt>
                <c:pt idx="48">
                  <c:v>0.64</c:v>
                </c:pt>
                <c:pt idx="49">
                  <c:v>0.7</c:v>
                </c:pt>
                <c:pt idx="50">
                  <c:v>0.51</c:v>
                </c:pt>
                <c:pt idx="51">
                  <c:v>0.83</c:v>
                </c:pt>
                <c:pt idx="52">
                  <c:v>0.71</c:v>
                </c:pt>
                <c:pt idx="53">
                  <c:v>0.72</c:v>
                </c:pt>
                <c:pt idx="54">
                  <c:v>0.67</c:v>
                </c:pt>
                <c:pt idx="55">
                  <c:v>0.59</c:v>
                </c:pt>
                <c:pt idx="56">
                  <c:v>0.31</c:v>
                </c:pt>
                <c:pt idx="57">
                  <c:v>0.47</c:v>
                </c:pt>
                <c:pt idx="58">
                  <c:v>0.39</c:v>
                </c:pt>
                <c:pt idx="59">
                  <c:v>0.51</c:v>
                </c:pt>
                <c:pt idx="60">
                  <c:v>0.15</c:v>
                </c:pt>
                <c:pt idx="61">
                  <c:v>0.28000000000000003</c:v>
                </c:pt>
                <c:pt idx="62">
                  <c:v>0.59</c:v>
                </c:pt>
                <c:pt idx="63">
                  <c:v>0.44</c:v>
                </c:pt>
                <c:pt idx="64">
                  <c:v>0.56000000000000005</c:v>
                </c:pt>
                <c:pt idx="65">
                  <c:v>0.66</c:v>
                </c:pt>
                <c:pt idx="66">
                  <c:v>0.23</c:v>
                </c:pt>
                <c:pt idx="67">
                  <c:v>0.54</c:v>
                </c:pt>
                <c:pt idx="68">
                  <c:v>0.43</c:v>
                </c:pt>
                <c:pt idx="69">
                  <c:v>0.77</c:v>
                </c:pt>
                <c:pt idx="70">
                  <c:v>0.74</c:v>
                </c:pt>
                <c:pt idx="71">
                  <c:v>0.64</c:v>
                </c:pt>
                <c:pt idx="72">
                  <c:v>0.43</c:v>
                </c:pt>
                <c:pt idx="73">
                  <c:v>0.44</c:v>
                </c:pt>
                <c:pt idx="74">
                  <c:v>0.56000000000000005</c:v>
                </c:pt>
                <c:pt idx="75">
                  <c:v>0.27</c:v>
                </c:pt>
                <c:pt idx="76">
                  <c:v>0.45</c:v>
                </c:pt>
                <c:pt idx="77">
                  <c:v>0.28000000000000003</c:v>
                </c:pt>
                <c:pt idx="78">
                  <c:v>0.53</c:v>
                </c:pt>
                <c:pt idx="79">
                  <c:v>0.3</c:v>
                </c:pt>
                <c:pt idx="80">
                  <c:v>0.36</c:v>
                </c:pt>
                <c:pt idx="81">
                  <c:v>0.49</c:v>
                </c:pt>
                <c:pt idx="82">
                  <c:v>0.13</c:v>
                </c:pt>
                <c:pt idx="83">
                  <c:v>0.62</c:v>
                </c:pt>
                <c:pt idx="84">
                  <c:v>0.19</c:v>
                </c:pt>
                <c:pt idx="85">
                  <c:v>0.15</c:v>
                </c:pt>
                <c:pt idx="86">
                  <c:v>0.19</c:v>
                </c:pt>
                <c:pt idx="87">
                  <c:v>0.71</c:v>
                </c:pt>
                <c:pt idx="88">
                  <c:v>0.28000000000000003</c:v>
                </c:pt>
                <c:pt idx="89">
                  <c:v>0.32</c:v>
                </c:pt>
                <c:pt idx="90">
                  <c:v>0.36</c:v>
                </c:pt>
                <c:pt idx="91">
                  <c:v>0.21</c:v>
                </c:pt>
                <c:pt idx="92">
                  <c:v>0.28000000000000003</c:v>
                </c:pt>
                <c:pt idx="93">
                  <c:v>0.19</c:v>
                </c:pt>
                <c:pt idx="94">
                  <c:v>0.23</c:v>
                </c:pt>
                <c:pt idx="95">
                  <c:v>0.54</c:v>
                </c:pt>
                <c:pt idx="96">
                  <c:v>0.41</c:v>
                </c:pt>
                <c:pt idx="97">
                  <c:v>0.2</c:v>
                </c:pt>
                <c:pt idx="98">
                  <c:v>0.42</c:v>
                </c:pt>
                <c:pt idx="99">
                  <c:v>0.4</c:v>
                </c:pt>
                <c:pt idx="100">
                  <c:v>0.25</c:v>
                </c:pt>
                <c:pt idx="101">
                  <c:v>0.19</c:v>
                </c:pt>
                <c:pt idx="102">
                  <c:v>0.18</c:v>
                </c:pt>
                <c:pt idx="103">
                  <c:v>0.43</c:v>
                </c:pt>
                <c:pt idx="104">
                  <c:v>0.21</c:v>
                </c:pt>
                <c:pt idx="105">
                  <c:v>0.36</c:v>
                </c:pt>
                <c:pt idx="106">
                  <c:v>0.3</c:v>
                </c:pt>
                <c:pt idx="107">
                  <c:v>0.28000000000000003</c:v>
                </c:pt>
                <c:pt idx="108">
                  <c:v>0.42</c:v>
                </c:pt>
                <c:pt idx="109">
                  <c:v>0.26</c:v>
                </c:pt>
                <c:pt idx="110">
                  <c:v>0.26</c:v>
                </c:pt>
                <c:pt idx="111">
                  <c:v>0.17</c:v>
                </c:pt>
                <c:pt idx="112">
                  <c:v>0.32</c:v>
                </c:pt>
                <c:pt idx="113">
                  <c:v>0.19</c:v>
                </c:pt>
                <c:pt idx="114">
                  <c:v>0.23</c:v>
                </c:pt>
                <c:pt idx="115">
                  <c:v>0.28000000000000003</c:v>
                </c:pt>
                <c:pt idx="116">
                  <c:v>0.19</c:v>
                </c:pt>
                <c:pt idx="117">
                  <c:v>0.39</c:v>
                </c:pt>
                <c:pt idx="118">
                  <c:v>0.33</c:v>
                </c:pt>
                <c:pt idx="119">
                  <c:v>0.19</c:v>
                </c:pt>
                <c:pt idx="120">
                  <c:v>0.42</c:v>
                </c:pt>
                <c:pt idx="121">
                  <c:v>0.34</c:v>
                </c:pt>
                <c:pt idx="122">
                  <c:v>0.19</c:v>
                </c:pt>
                <c:pt idx="123">
                  <c:v>0.3</c:v>
                </c:pt>
                <c:pt idx="124">
                  <c:v>0.33</c:v>
                </c:pt>
                <c:pt idx="125">
                  <c:v>0.35</c:v>
                </c:pt>
                <c:pt idx="126">
                  <c:v>0.23</c:v>
                </c:pt>
                <c:pt idx="127">
                  <c:v>0.36</c:v>
                </c:pt>
                <c:pt idx="128">
                  <c:v>0.34</c:v>
                </c:pt>
                <c:pt idx="129">
                  <c:v>0.31</c:v>
                </c:pt>
                <c:pt idx="130">
                  <c:v>0.42</c:v>
                </c:pt>
                <c:pt idx="131">
                  <c:v>0.15</c:v>
                </c:pt>
                <c:pt idx="132">
                  <c:v>0.28000000000000003</c:v>
                </c:pt>
                <c:pt idx="133">
                  <c:v>0.11</c:v>
                </c:pt>
                <c:pt idx="134">
                  <c:v>0.25</c:v>
                </c:pt>
                <c:pt idx="135">
                  <c:v>0.2</c:v>
                </c:pt>
                <c:pt idx="136">
                  <c:v>0.27</c:v>
                </c:pt>
                <c:pt idx="137">
                  <c:v>0.11</c:v>
                </c:pt>
                <c:pt idx="138">
                  <c:v>0.19</c:v>
                </c:pt>
                <c:pt idx="139">
                  <c:v>0.28000000000000003</c:v>
                </c:pt>
                <c:pt idx="140">
                  <c:v>0.24</c:v>
                </c:pt>
                <c:pt idx="141">
                  <c:v>0.08</c:v>
                </c:pt>
                <c:pt idx="142">
                  <c:v>0.27</c:v>
                </c:pt>
                <c:pt idx="143">
                  <c:v>0.39</c:v>
                </c:pt>
                <c:pt idx="144">
                  <c:v>0.1</c:v>
                </c:pt>
                <c:pt idx="145">
                  <c:v>0.2</c:v>
                </c:pt>
                <c:pt idx="146">
                  <c:v>0.27</c:v>
                </c:pt>
                <c:pt idx="147">
                  <c:v>0.09</c:v>
                </c:pt>
                <c:pt idx="148">
                  <c:v>0.11</c:v>
                </c:pt>
                <c:pt idx="149">
                  <c:v>0.19</c:v>
                </c:pt>
                <c:pt idx="150">
                  <c:v>0.11</c:v>
                </c:pt>
                <c:pt idx="151">
                  <c:v>0.15</c:v>
                </c:pt>
                <c:pt idx="152">
                  <c:v>0.13</c:v>
                </c:pt>
                <c:pt idx="153">
                  <c:v>0.18</c:v>
                </c:pt>
                <c:pt idx="154">
                  <c:v>0.11</c:v>
                </c:pt>
                <c:pt idx="155">
                  <c:v>0.03</c:v>
                </c:pt>
                <c:pt idx="156">
                  <c:v>0.17</c:v>
                </c:pt>
                <c:pt idx="157">
                  <c:v>0.12</c:v>
                </c:pt>
                <c:pt idx="158">
                  <c:v>0.17</c:v>
                </c:pt>
                <c:pt idx="159">
                  <c:v>0.22</c:v>
                </c:pt>
                <c:pt idx="160">
                  <c:v>0.16</c:v>
                </c:pt>
                <c:pt idx="161">
                  <c:v>0.23</c:v>
                </c:pt>
                <c:pt idx="162">
                  <c:v>0.16</c:v>
                </c:pt>
                <c:pt idx="163">
                  <c:v>0.37</c:v>
                </c:pt>
                <c:pt idx="164">
                  <c:v>0.22</c:v>
                </c:pt>
                <c:pt idx="165">
                  <c:v>0.2</c:v>
                </c:pt>
                <c:pt idx="166">
                  <c:v>0.22</c:v>
                </c:pt>
                <c:pt idx="167">
                  <c:v>0.19</c:v>
                </c:pt>
                <c:pt idx="168">
                  <c:v>0.11</c:v>
                </c:pt>
                <c:pt idx="169">
                  <c:v>0.18</c:v>
                </c:pt>
                <c:pt idx="170">
                  <c:v>0.19</c:v>
                </c:pt>
                <c:pt idx="171">
                  <c:v>0.09</c:v>
                </c:pt>
                <c:pt idx="172">
                  <c:v>0.12</c:v>
                </c:pt>
                <c:pt idx="173">
                  <c:v>0.11</c:v>
                </c:pt>
                <c:pt idx="174">
                  <c:v>0.24</c:v>
                </c:pt>
                <c:pt idx="175">
                  <c:v>0.19</c:v>
                </c:pt>
                <c:pt idx="176">
                  <c:v>0.08</c:v>
                </c:pt>
                <c:pt idx="177">
                  <c:v>0.15</c:v>
                </c:pt>
                <c:pt idx="178">
                  <c:v>0.06</c:v>
                </c:pt>
                <c:pt idx="179">
                  <c:v>0.15</c:v>
                </c:pt>
                <c:pt idx="180">
                  <c:v>0.06</c:v>
                </c:pt>
                <c:pt idx="181">
                  <c:v>0.1</c:v>
                </c:pt>
                <c:pt idx="182">
                  <c:v>0.09</c:v>
                </c:pt>
                <c:pt idx="183">
                  <c:v>0.06</c:v>
                </c:pt>
                <c:pt idx="184">
                  <c:v>0.19</c:v>
                </c:pt>
                <c:pt idx="185">
                  <c:v>0.12</c:v>
                </c:pt>
                <c:pt idx="186">
                  <c:v>0.15</c:v>
                </c:pt>
                <c:pt idx="187">
                  <c:v>0.18</c:v>
                </c:pt>
                <c:pt idx="188">
                  <c:v>0.15</c:v>
                </c:pt>
                <c:pt idx="189">
                  <c:v>0.19</c:v>
                </c:pt>
                <c:pt idx="190">
                  <c:v>0.17</c:v>
                </c:pt>
                <c:pt idx="191">
                  <c:v>0.13</c:v>
                </c:pt>
                <c:pt idx="192">
                  <c:v>0.22</c:v>
                </c:pt>
                <c:pt idx="193">
                  <c:v>0.19</c:v>
                </c:pt>
                <c:pt idx="194">
                  <c:v>0.11</c:v>
                </c:pt>
                <c:pt idx="195">
                  <c:v>0.09</c:v>
                </c:pt>
                <c:pt idx="196">
                  <c:v>0.2</c:v>
                </c:pt>
                <c:pt idx="197">
                  <c:v>0.14000000000000001</c:v>
                </c:pt>
                <c:pt idx="198">
                  <c:v>0.13</c:v>
                </c:pt>
                <c:pt idx="199">
                  <c:v>0.19</c:v>
                </c:pt>
                <c:pt idx="200">
                  <c:v>0.08</c:v>
                </c:pt>
                <c:pt idx="201">
                  <c:v>0.03</c:v>
                </c:pt>
                <c:pt idx="202">
                  <c:v>0.19</c:v>
                </c:pt>
                <c:pt idx="203">
                  <c:v>0.1</c:v>
                </c:pt>
                <c:pt idx="204">
                  <c:v>0.1</c:v>
                </c:pt>
                <c:pt idx="205">
                  <c:v>0.11</c:v>
                </c:pt>
                <c:pt idx="206">
                  <c:v>0.17</c:v>
                </c:pt>
                <c:pt idx="207">
                  <c:v>0.11</c:v>
                </c:pt>
                <c:pt idx="208">
                  <c:v>0.19</c:v>
                </c:pt>
                <c:pt idx="209">
                  <c:v>0.13</c:v>
                </c:pt>
                <c:pt idx="210">
                  <c:v>0.13</c:v>
                </c:pt>
                <c:pt idx="211">
                  <c:v>0.12</c:v>
                </c:pt>
                <c:pt idx="212">
                  <c:v>0.11</c:v>
                </c:pt>
                <c:pt idx="213">
                  <c:v>0.09</c:v>
                </c:pt>
                <c:pt idx="214">
                  <c:v>0.15</c:v>
                </c:pt>
                <c:pt idx="215">
                  <c:v>0.05</c:v>
                </c:pt>
                <c:pt idx="216">
                  <c:v>0.22</c:v>
                </c:pt>
                <c:pt idx="217">
                  <c:v>0.06</c:v>
                </c:pt>
                <c:pt idx="218">
                  <c:v>0.02</c:v>
                </c:pt>
                <c:pt idx="219">
                  <c:v>0.05</c:v>
                </c:pt>
                <c:pt idx="220">
                  <c:v>0.09</c:v>
                </c:pt>
                <c:pt idx="221">
                  <c:v>0.05</c:v>
                </c:pt>
                <c:pt idx="222">
                  <c:v>0.13</c:v>
                </c:pt>
                <c:pt idx="223">
                  <c:v>0.03</c:v>
                </c:pt>
                <c:pt idx="224">
                  <c:v>0.17</c:v>
                </c:pt>
                <c:pt idx="225">
                  <c:v>0.04</c:v>
                </c:pt>
                <c:pt idx="226">
                  <c:v>7.0000000000000007E-2</c:v>
                </c:pt>
                <c:pt idx="227">
                  <c:v>0.06</c:v>
                </c:pt>
                <c:pt idx="228">
                  <c:v>0.19</c:v>
                </c:pt>
                <c:pt idx="229">
                  <c:v>0.19</c:v>
                </c:pt>
                <c:pt idx="230">
                  <c:v>0.06</c:v>
                </c:pt>
                <c:pt idx="231">
                  <c:v>0.19</c:v>
                </c:pt>
                <c:pt idx="232">
                  <c:v>0.19</c:v>
                </c:pt>
                <c:pt idx="233">
                  <c:v>0.02</c:v>
                </c:pt>
                <c:pt idx="234">
                  <c:v>0.04</c:v>
                </c:pt>
                <c:pt idx="235">
                  <c:v>0.19</c:v>
                </c:pt>
                <c:pt idx="236">
                  <c:v>0.19</c:v>
                </c:pt>
                <c:pt idx="237">
                  <c:v>0.08</c:v>
                </c:pt>
                <c:pt idx="238">
                  <c:v>0.03</c:v>
                </c:pt>
                <c:pt idx="239">
                  <c:v>0.04</c:v>
                </c:pt>
                <c:pt idx="240">
                  <c:v>0.08</c:v>
                </c:pt>
                <c:pt idx="241">
                  <c:v>0.01</c:v>
                </c:pt>
                <c:pt idx="242">
                  <c:v>7.0000000000000007E-2</c:v>
                </c:pt>
                <c:pt idx="243">
                  <c:v>0.13</c:v>
                </c:pt>
                <c:pt idx="244">
                  <c:v>0.02</c:v>
                </c:pt>
                <c:pt idx="245">
                  <c:v>0.03</c:v>
                </c:pt>
                <c:pt idx="246">
                  <c:v>0.19</c:v>
                </c:pt>
                <c:pt idx="247">
                  <c:v>0.17</c:v>
                </c:pt>
                <c:pt idx="248">
                  <c:v>0.05</c:v>
                </c:pt>
                <c:pt idx="249">
                  <c:v>0.19</c:v>
                </c:pt>
                <c:pt idx="250">
                  <c:v>0.02</c:v>
                </c:pt>
                <c:pt idx="251">
                  <c:v>0.03</c:v>
                </c:pt>
                <c:pt idx="252">
                  <c:v>0.01</c:v>
                </c:pt>
                <c:pt idx="253">
                  <c:v>0.11</c:v>
                </c:pt>
                <c:pt idx="254">
                  <c:v>0.11</c:v>
                </c:pt>
                <c:pt idx="255">
                  <c:v>0.08</c:v>
                </c:pt>
                <c:pt idx="256">
                  <c:v>0.11</c:v>
                </c:pt>
                <c:pt idx="257">
                  <c:v>0.15</c:v>
                </c:pt>
                <c:pt idx="258">
                  <c:v>0.19</c:v>
                </c:pt>
                <c:pt idx="259">
                  <c:v>0.12</c:v>
                </c:pt>
                <c:pt idx="260">
                  <c:v>7.0000000000000007E-2</c:v>
                </c:pt>
                <c:pt idx="261">
                  <c:v>0.02</c:v>
                </c:pt>
                <c:pt idx="262">
                  <c:v>0.1</c:v>
                </c:pt>
                <c:pt idx="263">
                  <c:v>0.02</c:v>
                </c:pt>
                <c:pt idx="264">
                  <c:v>0.03</c:v>
                </c:pt>
                <c:pt idx="265">
                  <c:v>0.08</c:v>
                </c:pt>
                <c:pt idx="266">
                  <c:v>0.03</c:v>
                </c:pt>
                <c:pt idx="267">
                  <c:v>0.03</c:v>
                </c:pt>
                <c:pt idx="268">
                  <c:v>0.02</c:v>
                </c:pt>
                <c:pt idx="269">
                  <c:v>0.22</c:v>
                </c:pt>
                <c:pt idx="270">
                  <c:v>0.01</c:v>
                </c:pt>
                <c:pt idx="271">
                  <c:v>0.03</c:v>
                </c:pt>
                <c:pt idx="272">
                  <c:v>0.14000000000000001</c:v>
                </c:pt>
                <c:pt idx="273">
                  <c:v>0.03</c:v>
                </c:pt>
                <c:pt idx="274">
                  <c:v>0.17</c:v>
                </c:pt>
                <c:pt idx="275">
                  <c:v>0.01</c:v>
                </c:pt>
                <c:pt idx="276">
                  <c:v>0.03</c:v>
                </c:pt>
                <c:pt idx="277">
                  <c:v>7.0000000000000007E-2</c:v>
                </c:pt>
                <c:pt idx="278">
                  <c:v>0.03</c:v>
                </c:pt>
                <c:pt idx="279">
                  <c:v>0.05</c:v>
                </c:pt>
                <c:pt idx="280">
                  <c:v>0.06</c:v>
                </c:pt>
                <c:pt idx="281">
                  <c:v>0.01</c:v>
                </c:pt>
                <c:pt idx="282">
                  <c:v>0.02</c:v>
                </c:pt>
                <c:pt idx="283">
                  <c:v>0.02</c:v>
                </c:pt>
                <c:pt idx="284">
                  <c:v>0.03</c:v>
                </c:pt>
                <c:pt idx="285">
                  <c:v>7.0000000000000007E-2</c:v>
                </c:pt>
                <c:pt idx="286">
                  <c:v>0.01</c:v>
                </c:pt>
                <c:pt idx="287">
                  <c:v>0.1</c:v>
                </c:pt>
                <c:pt idx="288">
                  <c:v>0.03</c:v>
                </c:pt>
                <c:pt idx="289">
                  <c:v>0.03</c:v>
                </c:pt>
                <c:pt idx="290">
                  <c:v>0.02</c:v>
                </c:pt>
                <c:pt idx="291">
                  <c:v>0.04</c:v>
                </c:pt>
                <c:pt idx="292">
                  <c:v>0.02</c:v>
                </c:pt>
                <c:pt idx="293">
                  <c:v>0.02</c:v>
                </c:pt>
                <c:pt idx="294">
                  <c:v>0.13</c:v>
                </c:pt>
                <c:pt idx="295">
                  <c:v>7.0000000000000007E-2</c:v>
                </c:pt>
                <c:pt idx="296">
                  <c:v>0.11</c:v>
                </c:pt>
                <c:pt idx="297">
                  <c:v>0.02</c:v>
                </c:pt>
                <c:pt idx="298">
                  <c:v>0.01</c:v>
                </c:pt>
                <c:pt idx="299">
                  <c:v>0.06</c:v>
                </c:pt>
                <c:pt idx="300">
                  <c:v>0.01</c:v>
                </c:pt>
                <c:pt idx="301">
                  <c:v>0.11</c:v>
                </c:pt>
                <c:pt idx="302">
                  <c:v>0.02</c:v>
                </c:pt>
                <c:pt idx="303">
                  <c:v>0.15</c:v>
                </c:pt>
                <c:pt idx="304">
                  <c:v>0.01</c:v>
                </c:pt>
                <c:pt idx="305">
                  <c:v>0.01</c:v>
                </c:pt>
                <c:pt idx="306">
                  <c:v>0.01</c:v>
                </c:pt>
                <c:pt idx="307">
                  <c:v>0.01</c:v>
                </c:pt>
                <c:pt idx="308">
                  <c:v>0.03</c:v>
                </c:pt>
                <c:pt idx="309">
                  <c:v>0.01</c:v>
                </c:pt>
                <c:pt idx="310">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7ECAC4"/>
              </a:solidFill>
            </c:spPr>
            <c:extLst>
              <c:ext xmlns:c16="http://schemas.microsoft.com/office/drawing/2014/chart" uri="{C3380CC4-5D6E-409C-BE32-E72D297353CC}">
                <c16:uniqueId val="{0000009D-2993-41DE-A2CB-63102DE87051}"/>
              </c:ext>
            </c:extLst>
          </c:dPt>
          <c:dPt>
            <c:idx val="51"/>
            <c:invertIfNegative val="1"/>
            <c:bubble3D val="0"/>
            <c:spPr>
              <a:solidFill>
                <a:srgbClr val="7ECAC4"/>
              </a:solidFill>
            </c:spPr>
            <c:extLst>
              <c:ext xmlns:c16="http://schemas.microsoft.com/office/drawing/2014/chart" uri="{C3380CC4-5D6E-409C-BE32-E72D297353CC}">
                <c16:uniqueId val="{0000009F-2993-41DE-A2CB-63102DE87051}"/>
              </c:ext>
            </c:extLst>
          </c:dPt>
          <c:dPt>
            <c:idx val="52"/>
            <c:invertIfNegative val="1"/>
            <c:bubble3D val="0"/>
            <c:spPr>
              <a:solidFill>
                <a:srgbClr val="7ECAC4"/>
              </a:solidFill>
            </c:spPr>
            <c:extLst>
              <c:ext xmlns:c16="http://schemas.microsoft.com/office/drawing/2014/chart" uri="{C3380CC4-5D6E-409C-BE32-E72D297353CC}">
                <c16:uniqueId val="{000000A1-2993-41DE-A2CB-63102DE87051}"/>
              </c:ext>
            </c:extLst>
          </c:dPt>
          <c:dPt>
            <c:idx val="53"/>
            <c:invertIfNegative val="1"/>
            <c:bubble3D val="0"/>
            <c:spPr>
              <a:solidFill>
                <a:srgbClr val="7ECAC4"/>
              </a:solidFill>
            </c:spPr>
            <c:extLst>
              <c:ext xmlns:c16="http://schemas.microsoft.com/office/drawing/2014/chart" uri="{C3380CC4-5D6E-409C-BE32-E72D297353CC}">
                <c16:uniqueId val="{000000A3-2993-41DE-A2CB-63102DE87051}"/>
              </c:ext>
            </c:extLst>
          </c:dPt>
          <c:dPt>
            <c:idx val="54"/>
            <c:invertIfNegative val="0"/>
            <c:bubble3D val="0"/>
            <c:spPr>
              <a:solidFill>
                <a:srgbClr val="7ECAC4"/>
              </a:solidFill>
            </c:spPr>
            <c:extLst>
              <c:ext xmlns:c16="http://schemas.microsoft.com/office/drawing/2014/chart" uri="{C3380CC4-5D6E-409C-BE32-E72D297353CC}">
                <c16:uniqueId val="{00000072-C76F-4230-900D-40618C09729F}"/>
              </c:ext>
            </c:extLst>
          </c:dPt>
          <c:dPt>
            <c:idx val="55"/>
            <c:invertIfNegative val="0"/>
            <c:bubble3D val="0"/>
            <c:spPr>
              <a:solidFill>
                <a:srgbClr val="7ECAC4"/>
              </a:solidFill>
            </c:spPr>
            <c:extLst>
              <c:ext xmlns:c16="http://schemas.microsoft.com/office/drawing/2014/chart" uri="{C3380CC4-5D6E-409C-BE32-E72D297353CC}">
                <c16:uniqueId val="{00000074-C76F-4230-900D-40618C09729F}"/>
              </c:ext>
            </c:extLst>
          </c:dPt>
          <c:dPt>
            <c:idx val="56"/>
            <c:invertIfNegative val="0"/>
            <c:bubble3D val="0"/>
            <c:spPr>
              <a:solidFill>
                <a:srgbClr val="7ECAC4"/>
              </a:solidFill>
            </c:spPr>
            <c:extLst>
              <c:ext xmlns:c16="http://schemas.microsoft.com/office/drawing/2014/chart" uri="{C3380CC4-5D6E-409C-BE32-E72D297353CC}">
                <c16:uniqueId val="{00000076-C76F-4230-900D-40618C09729F}"/>
              </c:ext>
            </c:extLst>
          </c:dPt>
          <c:dPt>
            <c:idx val="57"/>
            <c:invertIfNegative val="0"/>
            <c:bubble3D val="0"/>
            <c:spPr>
              <a:solidFill>
                <a:srgbClr val="7ECAC4"/>
              </a:solidFill>
            </c:spPr>
            <c:extLst>
              <c:ext xmlns:c16="http://schemas.microsoft.com/office/drawing/2014/chart" uri="{C3380CC4-5D6E-409C-BE32-E72D297353CC}">
                <c16:uniqueId val="{00000078-C76F-4230-900D-40618C09729F}"/>
              </c:ext>
            </c:extLst>
          </c:dPt>
          <c:dPt>
            <c:idx val="58"/>
            <c:invertIfNegative val="0"/>
            <c:bubble3D val="0"/>
            <c:spPr>
              <a:solidFill>
                <a:srgbClr val="7ECAC4"/>
              </a:solidFill>
            </c:spPr>
            <c:extLst>
              <c:ext xmlns:c16="http://schemas.microsoft.com/office/drawing/2014/chart" uri="{C3380CC4-5D6E-409C-BE32-E72D297353CC}">
                <c16:uniqueId val="{0000007A-C76F-4230-900D-40618C09729F}"/>
              </c:ext>
            </c:extLst>
          </c:dPt>
          <c:dPt>
            <c:idx val="59"/>
            <c:invertIfNegative val="0"/>
            <c:bubble3D val="0"/>
            <c:spPr>
              <a:solidFill>
                <a:srgbClr val="7ECAC4"/>
              </a:solidFill>
            </c:spPr>
            <c:extLst>
              <c:ext xmlns:c16="http://schemas.microsoft.com/office/drawing/2014/chart" uri="{C3380CC4-5D6E-409C-BE32-E72D297353CC}">
                <c16:uniqueId val="{0000007C-C76F-4230-900D-40618C09729F}"/>
              </c:ext>
            </c:extLst>
          </c:dPt>
          <c:dPt>
            <c:idx val="60"/>
            <c:invertIfNegative val="0"/>
            <c:bubble3D val="0"/>
            <c:spPr>
              <a:solidFill>
                <a:srgbClr val="7ECAC4"/>
              </a:solidFill>
            </c:spPr>
            <c:extLst>
              <c:ext xmlns:c16="http://schemas.microsoft.com/office/drawing/2014/chart" uri="{C3380CC4-5D6E-409C-BE32-E72D297353CC}">
                <c16:uniqueId val="{0000007E-C76F-4230-900D-40618C09729F}"/>
              </c:ext>
            </c:extLst>
          </c:dPt>
          <c:dPt>
            <c:idx val="61"/>
            <c:invertIfNegative val="0"/>
            <c:bubble3D val="0"/>
            <c:spPr>
              <a:solidFill>
                <a:srgbClr val="7ECAC4"/>
              </a:solidFill>
            </c:spPr>
            <c:extLst>
              <c:ext xmlns:c16="http://schemas.microsoft.com/office/drawing/2014/chart" uri="{C3380CC4-5D6E-409C-BE32-E72D297353CC}">
                <c16:uniqueId val="{00000080-C76F-4230-900D-40618C09729F}"/>
              </c:ext>
            </c:extLst>
          </c:dPt>
          <c:dPt>
            <c:idx val="62"/>
            <c:invertIfNegative val="0"/>
            <c:bubble3D val="0"/>
            <c:spPr>
              <a:solidFill>
                <a:srgbClr val="7ECAC4"/>
              </a:solidFill>
            </c:spPr>
            <c:extLst>
              <c:ext xmlns:c16="http://schemas.microsoft.com/office/drawing/2014/chart" uri="{C3380CC4-5D6E-409C-BE32-E72D297353CC}">
                <c16:uniqueId val="{00000082-C76F-4230-900D-40618C09729F}"/>
              </c:ext>
            </c:extLst>
          </c:dPt>
          <c:dPt>
            <c:idx val="63"/>
            <c:invertIfNegative val="0"/>
            <c:bubble3D val="0"/>
            <c:spPr>
              <a:solidFill>
                <a:srgbClr val="7ECAC4"/>
              </a:solidFill>
            </c:spPr>
            <c:extLst>
              <c:ext xmlns:c16="http://schemas.microsoft.com/office/drawing/2014/chart" uri="{C3380CC4-5D6E-409C-BE32-E72D297353CC}">
                <c16:uniqueId val="{00000084-C76F-4230-900D-40618C09729F}"/>
              </c:ext>
            </c:extLst>
          </c:dPt>
          <c:dPt>
            <c:idx val="64"/>
            <c:invertIfNegative val="0"/>
            <c:bubble3D val="0"/>
            <c:spPr>
              <a:solidFill>
                <a:srgbClr val="7ECAC4"/>
              </a:solidFill>
            </c:spPr>
            <c:extLst>
              <c:ext xmlns:c16="http://schemas.microsoft.com/office/drawing/2014/chart" uri="{C3380CC4-5D6E-409C-BE32-E72D297353CC}">
                <c16:uniqueId val="{00000086-C76F-4230-900D-40618C09729F}"/>
              </c:ext>
            </c:extLst>
          </c:dPt>
          <c:dPt>
            <c:idx val="65"/>
            <c:invertIfNegative val="0"/>
            <c:bubble3D val="0"/>
            <c:spPr>
              <a:solidFill>
                <a:srgbClr val="7ECAC4"/>
              </a:solidFill>
            </c:spPr>
            <c:extLst>
              <c:ext xmlns:c16="http://schemas.microsoft.com/office/drawing/2014/chart" uri="{C3380CC4-5D6E-409C-BE32-E72D297353CC}">
                <c16:uniqueId val="{00000088-C76F-4230-900D-40618C09729F}"/>
              </c:ext>
            </c:extLst>
          </c:dPt>
          <c:dPt>
            <c:idx val="66"/>
            <c:invertIfNegative val="0"/>
            <c:bubble3D val="0"/>
            <c:spPr>
              <a:solidFill>
                <a:srgbClr val="7ECAC4"/>
              </a:solidFill>
            </c:spPr>
            <c:extLst>
              <c:ext xmlns:c16="http://schemas.microsoft.com/office/drawing/2014/chart" uri="{C3380CC4-5D6E-409C-BE32-E72D297353CC}">
                <c16:uniqueId val="{0000008A-C76F-4230-900D-40618C09729F}"/>
              </c:ext>
            </c:extLst>
          </c:dPt>
          <c:dPt>
            <c:idx val="67"/>
            <c:invertIfNegative val="0"/>
            <c:bubble3D val="0"/>
            <c:spPr>
              <a:solidFill>
                <a:srgbClr val="7ECAC4"/>
              </a:solidFill>
            </c:spPr>
            <c:extLst>
              <c:ext xmlns:c16="http://schemas.microsoft.com/office/drawing/2014/chart" uri="{C3380CC4-5D6E-409C-BE32-E72D297353CC}">
                <c16:uniqueId val="{0000008C-C76F-4230-900D-40618C09729F}"/>
              </c:ext>
            </c:extLst>
          </c:dPt>
          <c:dPt>
            <c:idx val="68"/>
            <c:invertIfNegative val="0"/>
            <c:bubble3D val="0"/>
            <c:spPr>
              <a:solidFill>
                <a:srgbClr val="7ECAC4"/>
              </a:solidFill>
            </c:spPr>
            <c:extLst>
              <c:ext xmlns:c16="http://schemas.microsoft.com/office/drawing/2014/chart" uri="{C3380CC4-5D6E-409C-BE32-E72D297353CC}">
                <c16:uniqueId val="{0000008E-C76F-4230-900D-40618C09729F}"/>
              </c:ext>
            </c:extLst>
          </c:dPt>
          <c:dPt>
            <c:idx val="69"/>
            <c:invertIfNegative val="0"/>
            <c:bubble3D val="0"/>
            <c:spPr>
              <a:solidFill>
                <a:srgbClr val="7ECAC4"/>
              </a:solidFill>
            </c:spPr>
            <c:extLst>
              <c:ext xmlns:c16="http://schemas.microsoft.com/office/drawing/2014/chart" uri="{C3380CC4-5D6E-409C-BE32-E72D297353CC}">
                <c16:uniqueId val="{00000090-C76F-4230-900D-40618C09729F}"/>
              </c:ext>
            </c:extLst>
          </c:dPt>
          <c:dPt>
            <c:idx val="70"/>
            <c:invertIfNegative val="0"/>
            <c:bubble3D val="0"/>
            <c:spPr>
              <a:solidFill>
                <a:srgbClr val="7ECAC4"/>
              </a:solidFill>
            </c:spPr>
            <c:extLst>
              <c:ext xmlns:c16="http://schemas.microsoft.com/office/drawing/2014/chart" uri="{C3380CC4-5D6E-409C-BE32-E72D297353CC}">
                <c16:uniqueId val="{00000092-C76F-4230-900D-40618C09729F}"/>
              </c:ext>
            </c:extLst>
          </c:dPt>
          <c:dPt>
            <c:idx val="71"/>
            <c:invertIfNegative val="0"/>
            <c:bubble3D val="0"/>
            <c:spPr>
              <a:solidFill>
                <a:srgbClr val="7ECAC4"/>
              </a:solidFill>
            </c:spPr>
            <c:extLst>
              <c:ext xmlns:c16="http://schemas.microsoft.com/office/drawing/2014/chart" uri="{C3380CC4-5D6E-409C-BE32-E72D297353CC}">
                <c16:uniqueId val="{00000094-C76F-4230-900D-40618C09729F}"/>
              </c:ext>
            </c:extLst>
          </c:dPt>
          <c:dPt>
            <c:idx val="72"/>
            <c:invertIfNegative val="0"/>
            <c:bubble3D val="0"/>
            <c:spPr>
              <a:solidFill>
                <a:srgbClr val="7ECAC4"/>
              </a:solidFill>
            </c:spPr>
            <c:extLst>
              <c:ext xmlns:c16="http://schemas.microsoft.com/office/drawing/2014/chart" uri="{C3380CC4-5D6E-409C-BE32-E72D297353CC}">
                <c16:uniqueId val="{00000096-C76F-4230-900D-40618C09729F}"/>
              </c:ext>
            </c:extLst>
          </c:dPt>
          <c:dPt>
            <c:idx val="73"/>
            <c:invertIfNegative val="0"/>
            <c:bubble3D val="0"/>
            <c:spPr>
              <a:solidFill>
                <a:srgbClr val="7ECAC4"/>
              </a:solidFill>
            </c:spPr>
            <c:extLst>
              <c:ext xmlns:c16="http://schemas.microsoft.com/office/drawing/2014/chart" uri="{C3380CC4-5D6E-409C-BE32-E72D297353CC}">
                <c16:uniqueId val="{00000098-C76F-4230-900D-40618C09729F}"/>
              </c:ext>
            </c:extLst>
          </c:dPt>
          <c:dPt>
            <c:idx val="74"/>
            <c:invertIfNegative val="0"/>
            <c:bubble3D val="0"/>
            <c:spPr>
              <a:solidFill>
                <a:srgbClr val="7ECAC4"/>
              </a:solidFill>
            </c:spPr>
            <c:extLst>
              <c:ext xmlns:c16="http://schemas.microsoft.com/office/drawing/2014/chart" uri="{C3380CC4-5D6E-409C-BE32-E72D297353CC}">
                <c16:uniqueId val="{0000009A-C76F-4230-900D-40618C09729F}"/>
              </c:ext>
            </c:extLst>
          </c:dPt>
          <c:dPt>
            <c:idx val="75"/>
            <c:invertIfNegative val="0"/>
            <c:bubble3D val="0"/>
            <c:spPr>
              <a:solidFill>
                <a:srgbClr val="7ECAC4"/>
              </a:solidFill>
            </c:spPr>
            <c:extLst>
              <c:ext xmlns:c16="http://schemas.microsoft.com/office/drawing/2014/chart" uri="{C3380CC4-5D6E-409C-BE32-E72D297353CC}">
                <c16:uniqueId val="{0000009C-C76F-4230-900D-40618C09729F}"/>
              </c:ext>
            </c:extLst>
          </c:dPt>
          <c:dPt>
            <c:idx val="76"/>
            <c:invertIfNegative val="0"/>
            <c:bubble3D val="0"/>
            <c:spPr>
              <a:solidFill>
                <a:srgbClr val="7ECAC4"/>
              </a:solidFill>
            </c:spPr>
            <c:extLst>
              <c:ext xmlns:c16="http://schemas.microsoft.com/office/drawing/2014/chart" uri="{C3380CC4-5D6E-409C-BE32-E72D297353CC}">
                <c16:uniqueId val="{0000009E-C76F-4230-900D-40618C09729F}"/>
              </c:ext>
            </c:extLst>
          </c:dPt>
          <c:dPt>
            <c:idx val="77"/>
            <c:invertIfNegative val="0"/>
            <c:bubble3D val="0"/>
            <c:spPr>
              <a:solidFill>
                <a:srgbClr val="7ECAC4"/>
              </a:solidFill>
            </c:spPr>
            <c:extLst>
              <c:ext xmlns:c16="http://schemas.microsoft.com/office/drawing/2014/chart" uri="{C3380CC4-5D6E-409C-BE32-E72D297353CC}">
                <c16:uniqueId val="{000000A0-C76F-4230-900D-40618C09729F}"/>
              </c:ext>
            </c:extLst>
          </c:dPt>
          <c:dPt>
            <c:idx val="78"/>
            <c:invertIfNegative val="0"/>
            <c:bubble3D val="0"/>
            <c:spPr>
              <a:solidFill>
                <a:srgbClr val="7ECAC4"/>
              </a:solidFill>
            </c:spPr>
            <c:extLst>
              <c:ext xmlns:c16="http://schemas.microsoft.com/office/drawing/2014/chart" uri="{C3380CC4-5D6E-409C-BE32-E72D297353CC}">
                <c16:uniqueId val="{000000A2-C76F-4230-900D-40618C09729F}"/>
              </c:ext>
            </c:extLst>
          </c:dPt>
          <c:dPt>
            <c:idx val="79"/>
            <c:invertIfNegative val="0"/>
            <c:bubble3D val="0"/>
            <c:spPr>
              <a:solidFill>
                <a:srgbClr val="7ECAC4"/>
              </a:solidFill>
            </c:spPr>
            <c:extLst>
              <c:ext xmlns:c16="http://schemas.microsoft.com/office/drawing/2014/chart" uri="{C3380CC4-5D6E-409C-BE32-E72D297353CC}">
                <c16:uniqueId val="{000000A4-C76F-4230-900D-40618C09729F}"/>
              </c:ext>
            </c:extLst>
          </c:dPt>
          <c:dPt>
            <c:idx val="80"/>
            <c:invertIfNegative val="0"/>
            <c:bubble3D val="0"/>
            <c:spPr>
              <a:solidFill>
                <a:srgbClr val="7ECAC4"/>
              </a:solidFill>
            </c:spPr>
            <c:extLst>
              <c:ext xmlns:c16="http://schemas.microsoft.com/office/drawing/2014/chart" uri="{C3380CC4-5D6E-409C-BE32-E72D297353CC}">
                <c16:uniqueId val="{000000A6-C76F-4230-900D-40618C09729F}"/>
              </c:ext>
            </c:extLst>
          </c:dPt>
          <c:dPt>
            <c:idx val="81"/>
            <c:invertIfNegative val="1"/>
            <c:bubble3D val="0"/>
            <c:spPr>
              <a:solidFill>
                <a:srgbClr val="7ECAC4"/>
              </a:solidFill>
            </c:spPr>
            <c:extLst>
              <c:ext xmlns:c16="http://schemas.microsoft.com/office/drawing/2014/chart" uri="{C3380CC4-5D6E-409C-BE32-E72D297353CC}">
                <c16:uniqueId val="{000000A5-2993-41DE-A2CB-63102DE87051}"/>
              </c:ext>
            </c:extLst>
          </c:dPt>
          <c:dPt>
            <c:idx val="82"/>
            <c:invertIfNegative val="1"/>
            <c:bubble3D val="0"/>
            <c:spPr>
              <a:solidFill>
                <a:srgbClr val="7ECAC4"/>
              </a:solidFill>
            </c:spPr>
            <c:extLst>
              <c:ext xmlns:c16="http://schemas.microsoft.com/office/drawing/2014/chart" uri="{C3380CC4-5D6E-409C-BE32-E72D297353CC}">
                <c16:uniqueId val="{000000A7-2993-41DE-A2CB-63102DE87051}"/>
              </c:ext>
            </c:extLst>
          </c:dPt>
          <c:dPt>
            <c:idx val="83"/>
            <c:invertIfNegative val="1"/>
            <c:bubble3D val="0"/>
            <c:spPr>
              <a:solidFill>
                <a:srgbClr val="7ECAC4"/>
              </a:solidFill>
            </c:spPr>
            <c:extLst>
              <c:ext xmlns:c16="http://schemas.microsoft.com/office/drawing/2014/chart" uri="{C3380CC4-5D6E-409C-BE32-E72D297353CC}">
                <c16:uniqueId val="{000000A9-2993-41DE-A2CB-63102DE87051}"/>
              </c:ext>
            </c:extLst>
          </c:dPt>
          <c:dPt>
            <c:idx val="84"/>
            <c:invertIfNegative val="1"/>
            <c:bubble3D val="0"/>
            <c:spPr>
              <a:solidFill>
                <a:srgbClr val="7ECAC4"/>
              </a:solidFill>
            </c:spPr>
            <c:extLst>
              <c:ext xmlns:c16="http://schemas.microsoft.com/office/drawing/2014/chart" uri="{C3380CC4-5D6E-409C-BE32-E72D297353CC}">
                <c16:uniqueId val="{000000AB-2993-41DE-A2CB-63102DE87051}"/>
              </c:ext>
            </c:extLst>
          </c:dPt>
          <c:dPt>
            <c:idx val="85"/>
            <c:invertIfNegative val="1"/>
            <c:bubble3D val="0"/>
            <c:spPr>
              <a:solidFill>
                <a:srgbClr val="7ECAC4"/>
              </a:solidFill>
            </c:spPr>
            <c:extLst>
              <c:ext xmlns:c16="http://schemas.microsoft.com/office/drawing/2014/chart" uri="{C3380CC4-5D6E-409C-BE32-E72D297353CC}">
                <c16:uniqueId val="{000000AD-2993-41DE-A2CB-63102DE87051}"/>
              </c:ext>
            </c:extLst>
          </c:dPt>
          <c:dPt>
            <c:idx val="86"/>
            <c:invertIfNegative val="1"/>
            <c:bubble3D val="0"/>
            <c:spPr>
              <a:solidFill>
                <a:srgbClr val="7ECAC4"/>
              </a:solidFill>
            </c:spPr>
            <c:extLst>
              <c:ext xmlns:c16="http://schemas.microsoft.com/office/drawing/2014/chart" uri="{C3380CC4-5D6E-409C-BE32-E72D297353CC}">
                <c16:uniqueId val="{000000AF-2993-41DE-A2CB-63102DE87051}"/>
              </c:ext>
            </c:extLst>
          </c:dPt>
          <c:dPt>
            <c:idx val="87"/>
            <c:invertIfNegative val="1"/>
            <c:bubble3D val="0"/>
            <c:spPr>
              <a:solidFill>
                <a:srgbClr val="7ECAC4"/>
              </a:solidFill>
            </c:spPr>
            <c:extLst>
              <c:ext xmlns:c16="http://schemas.microsoft.com/office/drawing/2014/chart" uri="{C3380CC4-5D6E-409C-BE32-E72D297353CC}">
                <c16:uniqueId val="{000000B1-2993-41DE-A2CB-63102DE87051}"/>
              </c:ext>
            </c:extLst>
          </c:dPt>
          <c:dPt>
            <c:idx val="88"/>
            <c:invertIfNegative val="1"/>
            <c:bubble3D val="0"/>
            <c:spPr>
              <a:solidFill>
                <a:srgbClr val="7ECAC4"/>
              </a:solidFill>
            </c:spPr>
            <c:extLst>
              <c:ext xmlns:c16="http://schemas.microsoft.com/office/drawing/2014/chart" uri="{C3380CC4-5D6E-409C-BE32-E72D297353CC}">
                <c16:uniqueId val="{000000B3-2993-41DE-A2CB-63102DE87051}"/>
              </c:ext>
            </c:extLst>
          </c:dPt>
          <c:dPt>
            <c:idx val="89"/>
            <c:invertIfNegative val="1"/>
            <c:bubble3D val="0"/>
            <c:spPr>
              <a:solidFill>
                <a:srgbClr val="7ECAC4"/>
              </a:solidFill>
            </c:spPr>
            <c:extLst>
              <c:ext xmlns:c16="http://schemas.microsoft.com/office/drawing/2014/chart" uri="{C3380CC4-5D6E-409C-BE32-E72D297353CC}">
                <c16:uniqueId val="{000000B5-2993-41DE-A2CB-63102DE87051}"/>
              </c:ext>
            </c:extLst>
          </c:dPt>
          <c:dPt>
            <c:idx val="90"/>
            <c:invertIfNegative val="1"/>
            <c:bubble3D val="0"/>
            <c:spPr>
              <a:solidFill>
                <a:srgbClr val="7ECAC4"/>
              </a:solidFill>
            </c:spPr>
            <c:extLst>
              <c:ext xmlns:c16="http://schemas.microsoft.com/office/drawing/2014/chart" uri="{C3380CC4-5D6E-409C-BE32-E72D297353CC}">
                <c16:uniqueId val="{000000B7-2993-41DE-A2CB-63102DE87051}"/>
              </c:ext>
            </c:extLst>
          </c:dPt>
          <c:dPt>
            <c:idx val="91"/>
            <c:invertIfNegative val="1"/>
            <c:bubble3D val="0"/>
            <c:spPr>
              <a:solidFill>
                <a:srgbClr val="7ECAC4"/>
              </a:solidFill>
            </c:spPr>
            <c:extLst>
              <c:ext xmlns:c16="http://schemas.microsoft.com/office/drawing/2014/chart" uri="{C3380CC4-5D6E-409C-BE32-E72D297353CC}">
                <c16:uniqueId val="{000000B9-2993-41DE-A2CB-63102DE87051}"/>
              </c:ext>
            </c:extLst>
          </c:dPt>
          <c:dPt>
            <c:idx val="92"/>
            <c:invertIfNegative val="1"/>
            <c:bubble3D val="0"/>
            <c:spPr>
              <a:solidFill>
                <a:srgbClr val="7ECAC4"/>
              </a:solidFill>
            </c:spPr>
            <c:extLst>
              <c:ext xmlns:c16="http://schemas.microsoft.com/office/drawing/2014/chart" uri="{C3380CC4-5D6E-409C-BE32-E72D297353CC}">
                <c16:uniqueId val="{000000BB-2993-41DE-A2CB-63102DE87051}"/>
              </c:ext>
            </c:extLst>
          </c:dPt>
          <c:dPt>
            <c:idx val="93"/>
            <c:invertIfNegative val="1"/>
            <c:bubble3D val="0"/>
            <c:spPr>
              <a:solidFill>
                <a:srgbClr val="7ECAC4"/>
              </a:solidFill>
            </c:spPr>
            <c:extLst>
              <c:ext xmlns:c16="http://schemas.microsoft.com/office/drawing/2014/chart" uri="{C3380CC4-5D6E-409C-BE32-E72D297353CC}">
                <c16:uniqueId val="{000000BD-2993-41DE-A2CB-63102DE87051}"/>
              </c:ext>
            </c:extLst>
          </c:dPt>
          <c:dPt>
            <c:idx val="94"/>
            <c:invertIfNegative val="1"/>
            <c:bubble3D val="0"/>
            <c:spPr>
              <a:solidFill>
                <a:srgbClr val="7ECAC4"/>
              </a:solidFill>
            </c:spPr>
            <c:extLst>
              <c:ext xmlns:c16="http://schemas.microsoft.com/office/drawing/2014/chart" uri="{C3380CC4-5D6E-409C-BE32-E72D297353CC}">
                <c16:uniqueId val="{000000BF-2993-41DE-A2CB-63102DE87051}"/>
              </c:ext>
            </c:extLst>
          </c:dPt>
          <c:dPt>
            <c:idx val="95"/>
            <c:invertIfNegative val="1"/>
            <c:bubble3D val="0"/>
            <c:spPr>
              <a:solidFill>
                <a:srgbClr val="7ECAC4"/>
              </a:solidFill>
            </c:spPr>
            <c:extLst>
              <c:ext xmlns:c16="http://schemas.microsoft.com/office/drawing/2014/chart" uri="{C3380CC4-5D6E-409C-BE32-E72D297353CC}">
                <c16:uniqueId val="{000000C1-2993-41DE-A2CB-63102DE87051}"/>
              </c:ext>
            </c:extLst>
          </c:dPt>
          <c:dPt>
            <c:idx val="96"/>
            <c:invertIfNegative val="1"/>
            <c:bubble3D val="0"/>
            <c:spPr>
              <a:solidFill>
                <a:srgbClr val="7ECAC4"/>
              </a:solidFill>
            </c:spPr>
            <c:extLst>
              <c:ext xmlns:c16="http://schemas.microsoft.com/office/drawing/2014/chart" uri="{C3380CC4-5D6E-409C-BE32-E72D297353CC}">
                <c16:uniqueId val="{000000C3-2993-41DE-A2CB-63102DE87051}"/>
              </c:ext>
            </c:extLst>
          </c:dPt>
          <c:dPt>
            <c:idx val="97"/>
            <c:invertIfNegative val="1"/>
            <c:bubble3D val="0"/>
            <c:spPr>
              <a:solidFill>
                <a:srgbClr val="7ECAC4"/>
              </a:solidFill>
            </c:spPr>
            <c:extLst>
              <c:ext xmlns:c16="http://schemas.microsoft.com/office/drawing/2014/chart" uri="{C3380CC4-5D6E-409C-BE32-E72D297353CC}">
                <c16:uniqueId val="{000000C5-2993-41DE-A2CB-63102DE87051}"/>
              </c:ext>
            </c:extLst>
          </c:dPt>
          <c:dPt>
            <c:idx val="98"/>
            <c:invertIfNegative val="1"/>
            <c:bubble3D val="0"/>
            <c:spPr>
              <a:solidFill>
                <a:srgbClr val="7ECAC4"/>
              </a:solidFill>
            </c:spPr>
            <c:extLst>
              <c:ext xmlns:c16="http://schemas.microsoft.com/office/drawing/2014/chart" uri="{C3380CC4-5D6E-409C-BE32-E72D297353CC}">
                <c16:uniqueId val="{000000C7-2993-41DE-A2CB-63102DE87051}"/>
              </c:ext>
            </c:extLst>
          </c:dPt>
          <c:dPt>
            <c:idx val="99"/>
            <c:invertIfNegative val="1"/>
            <c:bubble3D val="0"/>
            <c:spPr>
              <a:solidFill>
                <a:srgbClr val="7ECAC4"/>
              </a:solidFill>
            </c:spPr>
            <c:extLst>
              <c:ext xmlns:c16="http://schemas.microsoft.com/office/drawing/2014/chart" uri="{C3380CC4-5D6E-409C-BE32-E72D297353CC}">
                <c16:uniqueId val="{000000C9-2993-41DE-A2CB-63102DE87051}"/>
              </c:ext>
            </c:extLst>
          </c:dPt>
          <c:dPt>
            <c:idx val="100"/>
            <c:invertIfNegative val="1"/>
            <c:bubble3D val="0"/>
            <c:spPr>
              <a:solidFill>
                <a:srgbClr val="7ECAC4"/>
              </a:solidFill>
            </c:spPr>
            <c:extLst>
              <c:ext xmlns:c16="http://schemas.microsoft.com/office/drawing/2014/chart" uri="{C3380CC4-5D6E-409C-BE32-E72D297353CC}">
                <c16:uniqueId val="{000000CB-2993-41DE-A2CB-63102DE87051}"/>
              </c:ext>
            </c:extLst>
          </c:dPt>
          <c:dPt>
            <c:idx val="101"/>
            <c:invertIfNegative val="1"/>
            <c:bubble3D val="0"/>
            <c:spPr>
              <a:solidFill>
                <a:srgbClr val="7ECAC4"/>
              </a:solidFill>
            </c:spPr>
            <c:extLst>
              <c:ext xmlns:c16="http://schemas.microsoft.com/office/drawing/2014/chart" uri="{C3380CC4-5D6E-409C-BE32-E72D297353CC}">
                <c16:uniqueId val="{000000CD-2993-41DE-A2CB-63102DE87051}"/>
              </c:ext>
            </c:extLst>
          </c:dPt>
          <c:dPt>
            <c:idx val="102"/>
            <c:invertIfNegative val="1"/>
            <c:bubble3D val="0"/>
            <c:spPr>
              <a:solidFill>
                <a:srgbClr val="7ECAC4"/>
              </a:solidFill>
            </c:spPr>
            <c:extLst>
              <c:ext xmlns:c16="http://schemas.microsoft.com/office/drawing/2014/chart" uri="{C3380CC4-5D6E-409C-BE32-E72D297353CC}">
                <c16:uniqueId val="{000000CF-2993-41DE-A2CB-63102DE87051}"/>
              </c:ext>
            </c:extLst>
          </c:dPt>
          <c:dPt>
            <c:idx val="103"/>
            <c:invertIfNegative val="1"/>
            <c:bubble3D val="0"/>
            <c:spPr>
              <a:solidFill>
                <a:srgbClr val="7ECAC4"/>
              </a:solidFill>
            </c:spPr>
            <c:extLst>
              <c:ext xmlns:c16="http://schemas.microsoft.com/office/drawing/2014/chart" uri="{C3380CC4-5D6E-409C-BE32-E72D297353CC}">
                <c16:uniqueId val="{000000D1-2993-41DE-A2CB-63102DE87051}"/>
              </c:ext>
            </c:extLst>
          </c:dPt>
          <c:dPt>
            <c:idx val="104"/>
            <c:invertIfNegative val="1"/>
            <c:bubble3D val="0"/>
            <c:spPr>
              <a:solidFill>
                <a:srgbClr val="7ECAC4"/>
              </a:solidFill>
            </c:spPr>
            <c:extLst>
              <c:ext xmlns:c16="http://schemas.microsoft.com/office/drawing/2014/chart" uri="{C3380CC4-5D6E-409C-BE32-E72D297353CC}">
                <c16:uniqueId val="{000000D3-2993-41DE-A2CB-63102DE87051}"/>
              </c:ext>
            </c:extLst>
          </c:dPt>
          <c:dPt>
            <c:idx val="105"/>
            <c:invertIfNegative val="1"/>
            <c:bubble3D val="0"/>
            <c:spPr>
              <a:solidFill>
                <a:srgbClr val="7ECAC4"/>
              </a:solidFill>
            </c:spPr>
            <c:extLst>
              <c:ext xmlns:c16="http://schemas.microsoft.com/office/drawing/2014/chart" uri="{C3380CC4-5D6E-409C-BE32-E72D297353CC}">
                <c16:uniqueId val="{000000D5-2993-41DE-A2CB-63102DE87051}"/>
              </c:ext>
            </c:extLst>
          </c:dPt>
          <c:dPt>
            <c:idx val="106"/>
            <c:invertIfNegative val="1"/>
            <c:bubble3D val="0"/>
            <c:spPr>
              <a:solidFill>
                <a:srgbClr val="7ECAC4"/>
              </a:solidFill>
            </c:spPr>
            <c:extLst>
              <c:ext xmlns:c16="http://schemas.microsoft.com/office/drawing/2014/chart" uri="{C3380CC4-5D6E-409C-BE32-E72D297353CC}">
                <c16:uniqueId val="{000000D7-2993-41DE-A2CB-63102DE87051}"/>
              </c:ext>
            </c:extLst>
          </c:dPt>
          <c:dPt>
            <c:idx val="107"/>
            <c:invertIfNegative val="1"/>
            <c:bubble3D val="0"/>
            <c:spPr>
              <a:solidFill>
                <a:srgbClr val="7ECAC4"/>
              </a:solidFill>
            </c:spPr>
            <c:extLst>
              <c:ext xmlns:c16="http://schemas.microsoft.com/office/drawing/2014/chart" uri="{C3380CC4-5D6E-409C-BE32-E72D297353CC}">
                <c16:uniqueId val="{000000D9-2993-41DE-A2CB-63102DE87051}"/>
              </c:ext>
            </c:extLst>
          </c:dPt>
          <c:dPt>
            <c:idx val="108"/>
            <c:invertIfNegative val="1"/>
            <c:bubble3D val="0"/>
            <c:spPr>
              <a:solidFill>
                <a:srgbClr val="7ECAC4"/>
              </a:solidFill>
            </c:spPr>
            <c:extLst>
              <c:ext xmlns:c16="http://schemas.microsoft.com/office/drawing/2014/chart" uri="{C3380CC4-5D6E-409C-BE32-E72D297353CC}">
                <c16:uniqueId val="{000000DB-2993-41DE-A2CB-63102DE87051}"/>
              </c:ext>
            </c:extLst>
          </c:dPt>
          <c:dPt>
            <c:idx val="109"/>
            <c:invertIfNegative val="1"/>
            <c:bubble3D val="0"/>
            <c:spPr>
              <a:solidFill>
                <a:srgbClr val="7ECAC4"/>
              </a:solidFill>
            </c:spPr>
            <c:extLst>
              <c:ext xmlns:c16="http://schemas.microsoft.com/office/drawing/2014/chart" uri="{C3380CC4-5D6E-409C-BE32-E72D297353CC}">
                <c16:uniqueId val="{000000DD-2993-41DE-A2CB-63102DE87051}"/>
              </c:ext>
            </c:extLst>
          </c:dPt>
          <c:dPt>
            <c:idx val="110"/>
            <c:invertIfNegative val="1"/>
            <c:bubble3D val="0"/>
            <c:spPr>
              <a:solidFill>
                <a:srgbClr val="7ECAC4"/>
              </a:solidFill>
            </c:spPr>
            <c:extLst>
              <c:ext xmlns:c16="http://schemas.microsoft.com/office/drawing/2014/chart" uri="{C3380CC4-5D6E-409C-BE32-E72D297353CC}">
                <c16:uniqueId val="{000000DF-2993-41DE-A2CB-63102DE87051}"/>
              </c:ext>
            </c:extLst>
          </c:dPt>
          <c:dPt>
            <c:idx val="111"/>
            <c:invertIfNegative val="1"/>
            <c:bubble3D val="0"/>
            <c:spPr>
              <a:solidFill>
                <a:srgbClr val="7ECAC4"/>
              </a:solidFill>
            </c:spPr>
            <c:extLst>
              <c:ext xmlns:c16="http://schemas.microsoft.com/office/drawing/2014/chart" uri="{C3380CC4-5D6E-409C-BE32-E72D297353CC}">
                <c16:uniqueId val="{000000E1-2993-41DE-A2CB-63102DE87051}"/>
              </c:ext>
            </c:extLst>
          </c:dPt>
          <c:dPt>
            <c:idx val="112"/>
            <c:invertIfNegative val="1"/>
            <c:bubble3D val="0"/>
            <c:spPr>
              <a:solidFill>
                <a:srgbClr val="AEABAB"/>
              </a:solidFill>
            </c:spPr>
            <c:extLst>
              <c:ext xmlns:c16="http://schemas.microsoft.com/office/drawing/2014/chart" uri="{C3380CC4-5D6E-409C-BE32-E72D297353CC}">
                <c16:uniqueId val="{000000E3-2993-41DE-A2CB-63102DE87051}"/>
              </c:ext>
            </c:extLst>
          </c:dPt>
          <c:dPt>
            <c:idx val="113"/>
            <c:invertIfNegative val="1"/>
            <c:bubble3D val="0"/>
            <c:spPr>
              <a:solidFill>
                <a:srgbClr val="AEABAB"/>
              </a:solidFill>
            </c:spPr>
            <c:extLst>
              <c:ext xmlns:c16="http://schemas.microsoft.com/office/drawing/2014/chart" uri="{C3380CC4-5D6E-409C-BE32-E72D297353CC}">
                <c16:uniqueId val="{000000E5-2993-41DE-A2CB-63102DE87051}"/>
              </c:ext>
            </c:extLst>
          </c:dPt>
          <c:dPt>
            <c:idx val="114"/>
            <c:invertIfNegative val="1"/>
            <c:bubble3D val="0"/>
            <c:spPr>
              <a:solidFill>
                <a:srgbClr val="AEABAB"/>
              </a:solidFill>
            </c:spPr>
            <c:extLst>
              <c:ext xmlns:c16="http://schemas.microsoft.com/office/drawing/2014/chart" uri="{C3380CC4-5D6E-409C-BE32-E72D297353CC}">
                <c16:uniqueId val="{000000E7-2993-41DE-A2CB-63102DE87051}"/>
              </c:ext>
            </c:extLst>
          </c:dPt>
          <c:dPt>
            <c:idx val="115"/>
            <c:invertIfNegative val="1"/>
            <c:bubble3D val="0"/>
            <c:spPr>
              <a:solidFill>
                <a:srgbClr val="AEABAB"/>
              </a:solidFill>
            </c:spPr>
            <c:extLst>
              <c:ext xmlns:c16="http://schemas.microsoft.com/office/drawing/2014/chart" uri="{C3380CC4-5D6E-409C-BE32-E72D297353CC}">
                <c16:uniqueId val="{000000E9-2993-41DE-A2CB-63102DE87051}"/>
              </c:ext>
            </c:extLst>
          </c:dPt>
          <c:dPt>
            <c:idx val="116"/>
            <c:invertIfNegative val="1"/>
            <c:bubble3D val="0"/>
            <c:spPr>
              <a:solidFill>
                <a:srgbClr val="AEABAB"/>
              </a:solidFill>
            </c:spPr>
            <c:extLst>
              <c:ext xmlns:c16="http://schemas.microsoft.com/office/drawing/2014/chart" uri="{C3380CC4-5D6E-409C-BE32-E72D297353CC}">
                <c16:uniqueId val="{000000EB-2993-41DE-A2CB-63102DE87051}"/>
              </c:ext>
            </c:extLst>
          </c:dPt>
          <c:dPt>
            <c:idx val="117"/>
            <c:invertIfNegative val="1"/>
            <c:bubble3D val="0"/>
            <c:spPr>
              <a:solidFill>
                <a:srgbClr val="AEABAB"/>
              </a:solidFill>
            </c:spPr>
            <c:extLst>
              <c:ext xmlns:c16="http://schemas.microsoft.com/office/drawing/2014/chart" uri="{C3380CC4-5D6E-409C-BE32-E72D297353CC}">
                <c16:uniqueId val="{000000ED-2993-41DE-A2CB-63102DE87051}"/>
              </c:ext>
            </c:extLst>
          </c:dPt>
          <c:dPt>
            <c:idx val="118"/>
            <c:invertIfNegative val="1"/>
            <c:bubble3D val="0"/>
            <c:spPr>
              <a:solidFill>
                <a:srgbClr val="AEABAB"/>
              </a:solidFill>
            </c:spPr>
            <c:extLst>
              <c:ext xmlns:c16="http://schemas.microsoft.com/office/drawing/2014/chart" uri="{C3380CC4-5D6E-409C-BE32-E72D297353CC}">
                <c16:uniqueId val="{000000EF-2993-41DE-A2CB-63102DE87051}"/>
              </c:ext>
            </c:extLst>
          </c:dPt>
          <c:dPt>
            <c:idx val="119"/>
            <c:invertIfNegative val="1"/>
            <c:bubble3D val="0"/>
            <c:spPr>
              <a:solidFill>
                <a:srgbClr val="AEABAB"/>
              </a:solidFill>
            </c:spPr>
            <c:extLst>
              <c:ext xmlns:c16="http://schemas.microsoft.com/office/drawing/2014/chart" uri="{C3380CC4-5D6E-409C-BE32-E72D297353CC}">
                <c16:uniqueId val="{000000F1-2993-41DE-A2CB-63102DE87051}"/>
              </c:ext>
            </c:extLst>
          </c:dPt>
          <c:dPt>
            <c:idx val="120"/>
            <c:invertIfNegative val="1"/>
            <c:bubble3D val="0"/>
            <c:spPr>
              <a:solidFill>
                <a:srgbClr val="AEABAB"/>
              </a:solidFill>
            </c:spPr>
            <c:extLst>
              <c:ext xmlns:c16="http://schemas.microsoft.com/office/drawing/2014/chart" uri="{C3380CC4-5D6E-409C-BE32-E72D297353CC}">
                <c16:uniqueId val="{000000F3-2993-41DE-A2CB-63102DE87051}"/>
              </c:ext>
            </c:extLst>
          </c:dPt>
          <c:dPt>
            <c:idx val="121"/>
            <c:invertIfNegative val="1"/>
            <c:bubble3D val="0"/>
            <c:spPr>
              <a:solidFill>
                <a:srgbClr val="AEABAB"/>
              </a:solidFill>
            </c:spPr>
            <c:extLst>
              <c:ext xmlns:c16="http://schemas.microsoft.com/office/drawing/2014/chart" uri="{C3380CC4-5D6E-409C-BE32-E72D297353CC}">
                <c16:uniqueId val="{000000F5-2993-41DE-A2CB-63102DE87051}"/>
              </c:ext>
            </c:extLst>
          </c:dPt>
          <c:dPt>
            <c:idx val="122"/>
            <c:invertIfNegative val="1"/>
            <c:bubble3D val="0"/>
            <c:spPr>
              <a:solidFill>
                <a:srgbClr val="AEABAB"/>
              </a:solidFill>
            </c:spPr>
            <c:extLst>
              <c:ext xmlns:c16="http://schemas.microsoft.com/office/drawing/2014/chart" uri="{C3380CC4-5D6E-409C-BE32-E72D297353CC}">
                <c16:uniqueId val="{000000F7-2993-41DE-A2CB-63102DE87051}"/>
              </c:ext>
            </c:extLst>
          </c:dPt>
          <c:dPt>
            <c:idx val="123"/>
            <c:invertIfNegative val="1"/>
            <c:bubble3D val="0"/>
            <c:spPr>
              <a:solidFill>
                <a:srgbClr val="AEABAB"/>
              </a:solidFill>
            </c:spPr>
            <c:extLst>
              <c:ext xmlns:c16="http://schemas.microsoft.com/office/drawing/2014/chart" uri="{C3380CC4-5D6E-409C-BE32-E72D297353CC}">
                <c16:uniqueId val="{000000F9-2993-41DE-A2CB-63102DE87051}"/>
              </c:ext>
            </c:extLst>
          </c:dPt>
          <c:dPt>
            <c:idx val="124"/>
            <c:invertIfNegative val="1"/>
            <c:bubble3D val="0"/>
            <c:spPr>
              <a:solidFill>
                <a:srgbClr val="AEABAB"/>
              </a:solidFill>
            </c:spPr>
            <c:extLst>
              <c:ext xmlns:c16="http://schemas.microsoft.com/office/drawing/2014/chart" uri="{C3380CC4-5D6E-409C-BE32-E72D297353CC}">
                <c16:uniqueId val="{000000FB-2993-41DE-A2CB-63102DE87051}"/>
              </c:ext>
            </c:extLst>
          </c:dPt>
          <c:dPt>
            <c:idx val="125"/>
            <c:invertIfNegative val="1"/>
            <c:bubble3D val="0"/>
            <c:spPr>
              <a:solidFill>
                <a:srgbClr val="AEABAB"/>
              </a:solidFill>
            </c:spPr>
            <c:extLst>
              <c:ext xmlns:c16="http://schemas.microsoft.com/office/drawing/2014/chart" uri="{C3380CC4-5D6E-409C-BE32-E72D297353CC}">
                <c16:uniqueId val="{000000FD-2993-41DE-A2CB-63102DE87051}"/>
              </c:ext>
            </c:extLst>
          </c:dPt>
          <c:dPt>
            <c:idx val="126"/>
            <c:invertIfNegative val="1"/>
            <c:bubble3D val="0"/>
            <c:spPr>
              <a:solidFill>
                <a:srgbClr val="AEABAB"/>
              </a:solidFill>
            </c:spPr>
            <c:extLst>
              <c:ext xmlns:c16="http://schemas.microsoft.com/office/drawing/2014/chart" uri="{C3380CC4-5D6E-409C-BE32-E72D297353CC}">
                <c16:uniqueId val="{000000FF-2993-41DE-A2CB-63102DE87051}"/>
              </c:ext>
            </c:extLst>
          </c:dPt>
          <c:dPt>
            <c:idx val="127"/>
            <c:invertIfNegative val="1"/>
            <c:bubble3D val="0"/>
            <c:spPr>
              <a:solidFill>
                <a:srgbClr val="AEABAB"/>
              </a:solidFill>
            </c:spPr>
            <c:extLst>
              <c:ext xmlns:c16="http://schemas.microsoft.com/office/drawing/2014/chart" uri="{C3380CC4-5D6E-409C-BE32-E72D297353CC}">
                <c16:uniqueId val="{00000101-2993-41DE-A2CB-63102DE87051}"/>
              </c:ext>
            </c:extLst>
          </c:dPt>
          <c:dPt>
            <c:idx val="128"/>
            <c:invertIfNegative val="1"/>
            <c:bubble3D val="0"/>
            <c:spPr>
              <a:solidFill>
                <a:srgbClr val="AEABAB"/>
              </a:solidFill>
            </c:spPr>
            <c:extLst>
              <c:ext xmlns:c16="http://schemas.microsoft.com/office/drawing/2014/chart" uri="{C3380CC4-5D6E-409C-BE32-E72D297353CC}">
                <c16:uniqueId val="{00000103-2993-41DE-A2CB-63102DE87051}"/>
              </c:ext>
            </c:extLst>
          </c:dPt>
          <c:dPt>
            <c:idx val="129"/>
            <c:invertIfNegative val="1"/>
            <c:bubble3D val="0"/>
            <c:spPr>
              <a:solidFill>
                <a:srgbClr val="AEABAB"/>
              </a:solidFill>
            </c:spPr>
            <c:extLst>
              <c:ext xmlns:c16="http://schemas.microsoft.com/office/drawing/2014/chart" uri="{C3380CC4-5D6E-409C-BE32-E72D297353CC}">
                <c16:uniqueId val="{00000105-2993-41DE-A2CB-63102DE87051}"/>
              </c:ext>
            </c:extLst>
          </c:dPt>
          <c:dPt>
            <c:idx val="130"/>
            <c:invertIfNegative val="1"/>
            <c:bubble3D val="0"/>
            <c:spPr>
              <a:solidFill>
                <a:srgbClr val="AEABAB"/>
              </a:solidFill>
            </c:spPr>
            <c:extLst>
              <c:ext xmlns:c16="http://schemas.microsoft.com/office/drawing/2014/chart" uri="{C3380CC4-5D6E-409C-BE32-E72D297353CC}">
                <c16:uniqueId val="{00000107-2993-41DE-A2CB-63102DE87051}"/>
              </c:ext>
            </c:extLst>
          </c:dPt>
          <c:dPt>
            <c:idx val="131"/>
            <c:invertIfNegative val="1"/>
            <c:bubble3D val="0"/>
            <c:spPr>
              <a:solidFill>
                <a:srgbClr val="AEABAB"/>
              </a:solidFill>
            </c:spPr>
            <c:extLst>
              <c:ext xmlns:c16="http://schemas.microsoft.com/office/drawing/2014/chart" uri="{C3380CC4-5D6E-409C-BE32-E72D297353CC}">
                <c16:uniqueId val="{00000109-2993-41DE-A2CB-63102DE87051}"/>
              </c:ext>
            </c:extLst>
          </c:dPt>
          <c:dPt>
            <c:idx val="132"/>
            <c:invertIfNegative val="1"/>
            <c:bubble3D val="0"/>
            <c:spPr>
              <a:solidFill>
                <a:srgbClr val="AEABAB"/>
              </a:solidFill>
            </c:spPr>
            <c:extLst>
              <c:ext xmlns:c16="http://schemas.microsoft.com/office/drawing/2014/chart" uri="{C3380CC4-5D6E-409C-BE32-E72D297353CC}">
                <c16:uniqueId val="{0000010B-2993-41DE-A2CB-63102DE87051}"/>
              </c:ext>
            </c:extLst>
          </c:dPt>
          <c:dPt>
            <c:idx val="133"/>
            <c:invertIfNegative val="1"/>
            <c:bubble3D val="0"/>
            <c:spPr>
              <a:solidFill>
                <a:srgbClr val="AEABAB"/>
              </a:solidFill>
            </c:spPr>
            <c:extLst>
              <c:ext xmlns:c16="http://schemas.microsoft.com/office/drawing/2014/chart" uri="{C3380CC4-5D6E-409C-BE32-E72D297353CC}">
                <c16:uniqueId val="{0000010D-2993-41DE-A2CB-63102DE87051}"/>
              </c:ext>
            </c:extLst>
          </c:dPt>
          <c:dPt>
            <c:idx val="134"/>
            <c:invertIfNegative val="1"/>
            <c:bubble3D val="0"/>
            <c:spPr>
              <a:solidFill>
                <a:srgbClr val="AEABAB"/>
              </a:solidFill>
            </c:spPr>
            <c:extLst>
              <c:ext xmlns:c16="http://schemas.microsoft.com/office/drawing/2014/chart" uri="{C3380CC4-5D6E-409C-BE32-E72D297353CC}">
                <c16:uniqueId val="{0000010F-2993-41DE-A2CB-63102DE87051}"/>
              </c:ext>
            </c:extLst>
          </c:dPt>
          <c:dPt>
            <c:idx val="135"/>
            <c:invertIfNegative val="1"/>
            <c:bubble3D val="0"/>
            <c:spPr>
              <a:solidFill>
                <a:srgbClr val="AEABAB"/>
              </a:solidFill>
            </c:spPr>
            <c:extLst>
              <c:ext xmlns:c16="http://schemas.microsoft.com/office/drawing/2014/chart" uri="{C3380CC4-5D6E-409C-BE32-E72D297353CC}">
                <c16:uniqueId val="{00000111-2993-41DE-A2CB-63102DE87051}"/>
              </c:ext>
            </c:extLst>
          </c:dPt>
          <c:dPt>
            <c:idx val="136"/>
            <c:invertIfNegative val="1"/>
            <c:bubble3D val="0"/>
            <c:spPr>
              <a:solidFill>
                <a:srgbClr val="AEABAB"/>
              </a:solidFill>
            </c:spPr>
            <c:extLst>
              <c:ext xmlns:c16="http://schemas.microsoft.com/office/drawing/2014/chart" uri="{C3380CC4-5D6E-409C-BE32-E72D297353CC}">
                <c16:uniqueId val="{00000113-2993-41DE-A2CB-63102DE87051}"/>
              </c:ext>
            </c:extLst>
          </c:dPt>
          <c:dPt>
            <c:idx val="137"/>
            <c:invertIfNegative val="1"/>
            <c:bubble3D val="0"/>
            <c:spPr>
              <a:solidFill>
                <a:srgbClr val="AEABAB"/>
              </a:solidFill>
            </c:spPr>
            <c:extLst>
              <c:ext xmlns:c16="http://schemas.microsoft.com/office/drawing/2014/chart" uri="{C3380CC4-5D6E-409C-BE32-E72D297353CC}">
                <c16:uniqueId val="{00000115-2993-41DE-A2CB-63102DE87051}"/>
              </c:ext>
            </c:extLst>
          </c:dPt>
          <c:dPt>
            <c:idx val="138"/>
            <c:invertIfNegative val="1"/>
            <c:bubble3D val="0"/>
            <c:spPr>
              <a:solidFill>
                <a:srgbClr val="AEABAB"/>
              </a:solidFill>
            </c:spPr>
            <c:extLst>
              <c:ext xmlns:c16="http://schemas.microsoft.com/office/drawing/2014/chart" uri="{C3380CC4-5D6E-409C-BE32-E72D297353CC}">
                <c16:uniqueId val="{00000117-2993-41DE-A2CB-63102DE87051}"/>
              </c:ext>
            </c:extLst>
          </c:dPt>
          <c:dPt>
            <c:idx val="139"/>
            <c:invertIfNegative val="1"/>
            <c:bubble3D val="0"/>
            <c:spPr>
              <a:solidFill>
                <a:srgbClr val="AEABAB"/>
              </a:solidFill>
            </c:spPr>
            <c:extLst>
              <c:ext xmlns:c16="http://schemas.microsoft.com/office/drawing/2014/chart" uri="{C3380CC4-5D6E-409C-BE32-E72D297353CC}">
                <c16:uniqueId val="{00000119-2993-41DE-A2CB-63102DE87051}"/>
              </c:ext>
            </c:extLst>
          </c:dPt>
          <c:dPt>
            <c:idx val="140"/>
            <c:invertIfNegative val="1"/>
            <c:bubble3D val="0"/>
            <c:spPr>
              <a:solidFill>
                <a:srgbClr val="AEABAB"/>
              </a:solidFill>
            </c:spPr>
            <c:extLst>
              <c:ext xmlns:c16="http://schemas.microsoft.com/office/drawing/2014/chart" uri="{C3380CC4-5D6E-409C-BE32-E72D297353CC}">
                <c16:uniqueId val="{0000011B-2993-41DE-A2CB-63102DE87051}"/>
              </c:ext>
            </c:extLst>
          </c:dPt>
          <c:dPt>
            <c:idx val="141"/>
            <c:invertIfNegative val="1"/>
            <c:bubble3D val="0"/>
            <c:spPr>
              <a:solidFill>
                <a:srgbClr val="AEABAB"/>
              </a:solidFill>
            </c:spPr>
            <c:extLst>
              <c:ext xmlns:c16="http://schemas.microsoft.com/office/drawing/2014/chart" uri="{C3380CC4-5D6E-409C-BE32-E72D297353CC}">
                <c16:uniqueId val="{0000011D-2993-41DE-A2CB-63102DE87051}"/>
              </c:ext>
            </c:extLst>
          </c:dPt>
          <c:dPt>
            <c:idx val="142"/>
            <c:invertIfNegative val="1"/>
            <c:bubble3D val="0"/>
            <c:spPr>
              <a:solidFill>
                <a:srgbClr val="AEABAB"/>
              </a:solidFill>
            </c:spPr>
            <c:extLst>
              <c:ext xmlns:c16="http://schemas.microsoft.com/office/drawing/2014/chart" uri="{C3380CC4-5D6E-409C-BE32-E72D297353CC}">
                <c16:uniqueId val="{0000011F-2993-41DE-A2CB-63102DE87051}"/>
              </c:ext>
            </c:extLst>
          </c:dPt>
          <c:dPt>
            <c:idx val="143"/>
            <c:invertIfNegative val="1"/>
            <c:bubble3D val="0"/>
            <c:spPr>
              <a:solidFill>
                <a:srgbClr val="AEABAB"/>
              </a:solidFill>
            </c:spPr>
            <c:extLst>
              <c:ext xmlns:c16="http://schemas.microsoft.com/office/drawing/2014/chart" uri="{C3380CC4-5D6E-409C-BE32-E72D297353CC}">
                <c16:uniqueId val="{00000121-2993-41DE-A2CB-63102DE87051}"/>
              </c:ext>
            </c:extLst>
          </c:dPt>
          <c:dPt>
            <c:idx val="144"/>
            <c:invertIfNegative val="1"/>
            <c:bubble3D val="0"/>
            <c:spPr>
              <a:solidFill>
                <a:srgbClr val="AEABAB"/>
              </a:solidFill>
            </c:spPr>
            <c:extLst>
              <c:ext xmlns:c16="http://schemas.microsoft.com/office/drawing/2014/chart" uri="{C3380CC4-5D6E-409C-BE32-E72D297353CC}">
                <c16:uniqueId val="{00000123-2993-41DE-A2CB-63102DE87051}"/>
              </c:ext>
            </c:extLst>
          </c:dPt>
          <c:dPt>
            <c:idx val="145"/>
            <c:invertIfNegative val="1"/>
            <c:bubble3D val="0"/>
            <c:spPr>
              <a:solidFill>
                <a:srgbClr val="AEABAB"/>
              </a:solidFill>
            </c:spPr>
            <c:extLst>
              <c:ext xmlns:c16="http://schemas.microsoft.com/office/drawing/2014/chart" uri="{C3380CC4-5D6E-409C-BE32-E72D297353CC}">
                <c16:uniqueId val="{00000125-2993-41DE-A2CB-63102DE87051}"/>
              </c:ext>
            </c:extLst>
          </c:dPt>
          <c:dPt>
            <c:idx val="146"/>
            <c:invertIfNegative val="1"/>
            <c:bubble3D val="0"/>
            <c:spPr>
              <a:solidFill>
                <a:srgbClr val="AEABAB"/>
              </a:solidFill>
            </c:spPr>
            <c:extLst>
              <c:ext xmlns:c16="http://schemas.microsoft.com/office/drawing/2014/chart" uri="{C3380CC4-5D6E-409C-BE32-E72D297353CC}">
                <c16:uniqueId val="{00000127-2993-41DE-A2CB-63102DE87051}"/>
              </c:ext>
            </c:extLst>
          </c:dPt>
          <c:dPt>
            <c:idx val="147"/>
            <c:invertIfNegative val="1"/>
            <c:bubble3D val="0"/>
            <c:spPr>
              <a:solidFill>
                <a:srgbClr val="AEABAB"/>
              </a:solidFill>
            </c:spPr>
            <c:extLst>
              <c:ext xmlns:c16="http://schemas.microsoft.com/office/drawing/2014/chart" uri="{C3380CC4-5D6E-409C-BE32-E72D297353CC}">
                <c16:uniqueId val="{00000129-2993-41DE-A2CB-63102DE87051}"/>
              </c:ext>
            </c:extLst>
          </c:dPt>
          <c:dPt>
            <c:idx val="148"/>
            <c:invertIfNegative val="1"/>
            <c:bubble3D val="0"/>
            <c:spPr>
              <a:solidFill>
                <a:srgbClr val="AEABAB"/>
              </a:solidFill>
            </c:spPr>
            <c:extLst>
              <c:ext xmlns:c16="http://schemas.microsoft.com/office/drawing/2014/chart" uri="{C3380CC4-5D6E-409C-BE32-E72D297353CC}">
                <c16:uniqueId val="{0000012B-2993-41DE-A2CB-63102DE87051}"/>
              </c:ext>
            </c:extLst>
          </c:dPt>
          <c:dPt>
            <c:idx val="149"/>
            <c:invertIfNegative val="1"/>
            <c:bubble3D val="0"/>
            <c:spPr>
              <a:solidFill>
                <a:srgbClr val="AEABAB"/>
              </a:solidFill>
            </c:spPr>
            <c:extLst>
              <c:ext xmlns:c16="http://schemas.microsoft.com/office/drawing/2014/chart" uri="{C3380CC4-5D6E-409C-BE32-E72D297353CC}">
                <c16:uniqueId val="{0000012D-2993-41DE-A2CB-63102DE87051}"/>
              </c:ext>
            </c:extLst>
          </c:dPt>
          <c:dPt>
            <c:idx val="150"/>
            <c:invertIfNegative val="1"/>
            <c:bubble3D val="0"/>
            <c:spPr>
              <a:solidFill>
                <a:srgbClr val="AEABAB"/>
              </a:solidFill>
            </c:spPr>
            <c:extLst>
              <c:ext xmlns:c16="http://schemas.microsoft.com/office/drawing/2014/chart" uri="{C3380CC4-5D6E-409C-BE32-E72D297353CC}">
                <c16:uniqueId val="{0000012F-2993-41DE-A2CB-63102DE87051}"/>
              </c:ext>
            </c:extLst>
          </c:dPt>
          <c:dPt>
            <c:idx val="151"/>
            <c:invertIfNegative val="1"/>
            <c:bubble3D val="0"/>
            <c:spPr>
              <a:solidFill>
                <a:srgbClr val="AEABAB"/>
              </a:solidFill>
            </c:spPr>
            <c:extLst>
              <c:ext xmlns:c16="http://schemas.microsoft.com/office/drawing/2014/chart" uri="{C3380CC4-5D6E-409C-BE32-E72D297353CC}">
                <c16:uniqueId val="{00000131-2993-41DE-A2CB-63102DE87051}"/>
              </c:ext>
            </c:extLst>
          </c:dPt>
          <c:dPt>
            <c:idx val="152"/>
            <c:invertIfNegative val="1"/>
            <c:bubble3D val="0"/>
            <c:spPr>
              <a:solidFill>
                <a:srgbClr val="AEABAB"/>
              </a:solidFill>
            </c:spPr>
            <c:extLst>
              <c:ext xmlns:c16="http://schemas.microsoft.com/office/drawing/2014/chart" uri="{C3380CC4-5D6E-409C-BE32-E72D297353CC}">
                <c16:uniqueId val="{00000133-2993-41DE-A2CB-63102DE87051}"/>
              </c:ext>
            </c:extLst>
          </c:dPt>
          <c:dPt>
            <c:idx val="153"/>
            <c:invertIfNegative val="1"/>
            <c:bubble3D val="0"/>
            <c:spPr>
              <a:solidFill>
                <a:srgbClr val="AEABAB"/>
              </a:solidFill>
            </c:spPr>
            <c:extLst>
              <c:ext xmlns:c16="http://schemas.microsoft.com/office/drawing/2014/chart" uri="{C3380CC4-5D6E-409C-BE32-E72D297353CC}">
                <c16:uniqueId val="{00000135-2993-41DE-A2CB-63102DE87051}"/>
              </c:ext>
            </c:extLst>
          </c:dPt>
          <c:dPt>
            <c:idx val="154"/>
            <c:invertIfNegative val="1"/>
            <c:bubble3D val="0"/>
            <c:spPr>
              <a:solidFill>
                <a:srgbClr val="AEABAB"/>
              </a:solidFill>
            </c:spPr>
            <c:extLst>
              <c:ext xmlns:c16="http://schemas.microsoft.com/office/drawing/2014/chart" uri="{C3380CC4-5D6E-409C-BE32-E72D297353CC}">
                <c16:uniqueId val="{00000137-2993-41DE-A2CB-63102DE87051}"/>
              </c:ext>
            </c:extLst>
          </c:dPt>
          <c:dPt>
            <c:idx val="155"/>
            <c:invertIfNegative val="1"/>
            <c:bubble3D val="0"/>
            <c:spPr>
              <a:solidFill>
                <a:srgbClr val="AEABAB"/>
              </a:solidFill>
            </c:spPr>
            <c:extLst>
              <c:ext xmlns:c16="http://schemas.microsoft.com/office/drawing/2014/chart" uri="{C3380CC4-5D6E-409C-BE32-E72D297353CC}">
                <c16:uniqueId val="{00000139-2993-41DE-A2CB-63102DE87051}"/>
              </c:ext>
            </c:extLst>
          </c:dPt>
          <c:dPt>
            <c:idx val="156"/>
            <c:invertIfNegative val="1"/>
            <c:bubble3D val="0"/>
            <c:spPr>
              <a:solidFill>
                <a:srgbClr val="AEABAB"/>
              </a:solidFill>
            </c:spPr>
            <c:extLst>
              <c:ext xmlns:c16="http://schemas.microsoft.com/office/drawing/2014/chart" uri="{C3380CC4-5D6E-409C-BE32-E72D297353CC}">
                <c16:uniqueId val="{0000013B-2993-41DE-A2CB-63102DE87051}"/>
              </c:ext>
            </c:extLst>
          </c:dPt>
          <c:dPt>
            <c:idx val="157"/>
            <c:invertIfNegative val="1"/>
            <c:bubble3D val="0"/>
            <c:spPr>
              <a:solidFill>
                <a:srgbClr val="AEABAB"/>
              </a:solidFill>
            </c:spPr>
            <c:extLst>
              <c:ext xmlns:c16="http://schemas.microsoft.com/office/drawing/2014/chart" uri="{C3380CC4-5D6E-409C-BE32-E72D297353CC}">
                <c16:uniqueId val="{0000013D-2993-41DE-A2CB-63102DE87051}"/>
              </c:ext>
            </c:extLst>
          </c:dPt>
          <c:dPt>
            <c:idx val="158"/>
            <c:invertIfNegative val="1"/>
            <c:bubble3D val="0"/>
            <c:spPr>
              <a:solidFill>
                <a:srgbClr val="AEABAB"/>
              </a:solidFill>
            </c:spPr>
            <c:extLst>
              <c:ext xmlns:c16="http://schemas.microsoft.com/office/drawing/2014/chart" uri="{C3380CC4-5D6E-409C-BE32-E72D297353CC}">
                <c16:uniqueId val="{0000013F-2993-41DE-A2CB-63102DE87051}"/>
              </c:ext>
            </c:extLst>
          </c:dPt>
          <c:dPt>
            <c:idx val="159"/>
            <c:invertIfNegative val="1"/>
            <c:bubble3D val="0"/>
            <c:spPr>
              <a:solidFill>
                <a:srgbClr val="AEABAB"/>
              </a:solidFill>
            </c:spPr>
            <c:extLst>
              <c:ext xmlns:c16="http://schemas.microsoft.com/office/drawing/2014/chart" uri="{C3380CC4-5D6E-409C-BE32-E72D297353CC}">
                <c16:uniqueId val="{00000141-2993-41DE-A2CB-63102DE87051}"/>
              </c:ext>
            </c:extLst>
          </c:dPt>
          <c:dPt>
            <c:idx val="160"/>
            <c:invertIfNegative val="1"/>
            <c:bubble3D val="0"/>
            <c:spPr>
              <a:solidFill>
                <a:srgbClr val="AEABAB"/>
              </a:solidFill>
            </c:spPr>
            <c:extLst>
              <c:ext xmlns:c16="http://schemas.microsoft.com/office/drawing/2014/chart" uri="{C3380CC4-5D6E-409C-BE32-E72D297353CC}">
                <c16:uniqueId val="{00000143-2993-41DE-A2CB-63102DE87051}"/>
              </c:ext>
            </c:extLst>
          </c:dPt>
          <c:dPt>
            <c:idx val="161"/>
            <c:invertIfNegative val="1"/>
            <c:bubble3D val="0"/>
            <c:spPr>
              <a:solidFill>
                <a:srgbClr val="AEABAB"/>
              </a:solidFill>
            </c:spPr>
            <c:extLst>
              <c:ext xmlns:c16="http://schemas.microsoft.com/office/drawing/2014/chart" uri="{C3380CC4-5D6E-409C-BE32-E72D297353CC}">
                <c16:uniqueId val="{00000145-2993-41DE-A2CB-63102DE87051}"/>
              </c:ext>
            </c:extLst>
          </c:dPt>
          <c:dPt>
            <c:idx val="162"/>
            <c:invertIfNegative val="1"/>
            <c:bubble3D val="0"/>
            <c:spPr>
              <a:solidFill>
                <a:srgbClr val="AEABAB"/>
              </a:solidFill>
            </c:spPr>
            <c:extLst>
              <c:ext xmlns:c16="http://schemas.microsoft.com/office/drawing/2014/chart" uri="{C3380CC4-5D6E-409C-BE32-E72D297353CC}">
                <c16:uniqueId val="{00000147-2993-41DE-A2CB-63102DE87051}"/>
              </c:ext>
            </c:extLst>
          </c:dPt>
          <c:dPt>
            <c:idx val="163"/>
            <c:invertIfNegative val="1"/>
            <c:bubble3D val="0"/>
            <c:spPr>
              <a:solidFill>
                <a:srgbClr val="AEABAB"/>
              </a:solidFill>
            </c:spPr>
            <c:extLst>
              <c:ext xmlns:c16="http://schemas.microsoft.com/office/drawing/2014/chart" uri="{C3380CC4-5D6E-409C-BE32-E72D297353CC}">
                <c16:uniqueId val="{00000149-2993-41DE-A2CB-63102DE87051}"/>
              </c:ext>
            </c:extLst>
          </c:dPt>
          <c:dPt>
            <c:idx val="164"/>
            <c:invertIfNegative val="1"/>
            <c:bubble3D val="0"/>
            <c:spPr>
              <a:solidFill>
                <a:srgbClr val="AEABAB"/>
              </a:solidFill>
            </c:spPr>
            <c:extLst>
              <c:ext xmlns:c16="http://schemas.microsoft.com/office/drawing/2014/chart" uri="{C3380CC4-5D6E-409C-BE32-E72D297353CC}">
                <c16:uniqueId val="{0000014B-2993-41DE-A2CB-63102DE87051}"/>
              </c:ext>
            </c:extLst>
          </c:dPt>
          <c:dPt>
            <c:idx val="165"/>
            <c:invertIfNegative val="1"/>
            <c:bubble3D val="0"/>
            <c:spPr>
              <a:solidFill>
                <a:srgbClr val="AEABAB"/>
              </a:solidFill>
            </c:spPr>
            <c:extLst>
              <c:ext xmlns:c16="http://schemas.microsoft.com/office/drawing/2014/chart" uri="{C3380CC4-5D6E-409C-BE32-E72D297353CC}">
                <c16:uniqueId val="{0000014D-2993-41DE-A2CB-63102DE87051}"/>
              </c:ext>
            </c:extLst>
          </c:dPt>
          <c:dPt>
            <c:idx val="166"/>
            <c:invertIfNegative val="1"/>
            <c:bubble3D val="0"/>
            <c:spPr>
              <a:solidFill>
                <a:srgbClr val="AEABAB"/>
              </a:solidFill>
            </c:spPr>
            <c:extLst>
              <c:ext xmlns:c16="http://schemas.microsoft.com/office/drawing/2014/chart" uri="{C3380CC4-5D6E-409C-BE32-E72D297353CC}">
                <c16:uniqueId val="{0000014F-2993-41DE-A2CB-63102DE87051}"/>
              </c:ext>
            </c:extLst>
          </c:dPt>
          <c:dPt>
            <c:idx val="167"/>
            <c:invertIfNegative val="1"/>
            <c:bubble3D val="0"/>
            <c:spPr>
              <a:solidFill>
                <a:srgbClr val="AEABAB"/>
              </a:solidFill>
            </c:spPr>
            <c:extLst>
              <c:ext xmlns:c16="http://schemas.microsoft.com/office/drawing/2014/chart" uri="{C3380CC4-5D6E-409C-BE32-E72D297353CC}">
                <c16:uniqueId val="{00000151-2993-41DE-A2CB-63102DE87051}"/>
              </c:ext>
            </c:extLst>
          </c:dPt>
          <c:dPt>
            <c:idx val="168"/>
            <c:invertIfNegative val="1"/>
            <c:bubble3D val="0"/>
            <c:spPr>
              <a:solidFill>
                <a:srgbClr val="AEABAB"/>
              </a:solidFill>
            </c:spPr>
            <c:extLst>
              <c:ext xmlns:c16="http://schemas.microsoft.com/office/drawing/2014/chart" uri="{C3380CC4-5D6E-409C-BE32-E72D297353CC}">
                <c16:uniqueId val="{00000153-2993-41DE-A2CB-63102DE87051}"/>
              </c:ext>
            </c:extLst>
          </c:dPt>
          <c:dPt>
            <c:idx val="169"/>
            <c:invertIfNegative val="1"/>
            <c:bubble3D val="0"/>
            <c:spPr>
              <a:solidFill>
                <a:srgbClr val="AEABAB"/>
              </a:solidFill>
            </c:spPr>
            <c:extLst>
              <c:ext xmlns:c16="http://schemas.microsoft.com/office/drawing/2014/chart" uri="{C3380CC4-5D6E-409C-BE32-E72D297353CC}">
                <c16:uniqueId val="{00000155-2993-41DE-A2CB-63102DE87051}"/>
              </c:ext>
            </c:extLst>
          </c:dPt>
          <c:dPt>
            <c:idx val="170"/>
            <c:invertIfNegative val="1"/>
            <c:bubble3D val="0"/>
            <c:spPr>
              <a:solidFill>
                <a:srgbClr val="AEABAB"/>
              </a:solidFill>
            </c:spPr>
            <c:extLst>
              <c:ext xmlns:c16="http://schemas.microsoft.com/office/drawing/2014/chart" uri="{C3380CC4-5D6E-409C-BE32-E72D297353CC}">
                <c16:uniqueId val="{00000157-2993-41DE-A2CB-63102DE87051}"/>
              </c:ext>
            </c:extLst>
          </c:dPt>
          <c:dPt>
            <c:idx val="171"/>
            <c:invertIfNegative val="1"/>
            <c:bubble3D val="0"/>
            <c:spPr>
              <a:solidFill>
                <a:srgbClr val="AEABAB"/>
              </a:solidFill>
            </c:spPr>
            <c:extLst>
              <c:ext xmlns:c16="http://schemas.microsoft.com/office/drawing/2014/chart" uri="{C3380CC4-5D6E-409C-BE32-E72D297353CC}">
                <c16:uniqueId val="{00000159-2993-41DE-A2CB-63102DE87051}"/>
              </c:ext>
            </c:extLst>
          </c:dPt>
          <c:dPt>
            <c:idx val="172"/>
            <c:invertIfNegative val="1"/>
            <c:bubble3D val="0"/>
            <c:spPr>
              <a:solidFill>
                <a:srgbClr val="AEABAB"/>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dPt>
            <c:idx val="210"/>
            <c:invertIfNegative val="1"/>
            <c:bubble3D val="0"/>
            <c:spPr>
              <a:solidFill>
                <a:srgbClr val="AEABAB"/>
              </a:solidFill>
            </c:spPr>
            <c:extLst>
              <c:ext xmlns:c16="http://schemas.microsoft.com/office/drawing/2014/chart" uri="{C3380CC4-5D6E-409C-BE32-E72D297353CC}">
                <c16:uniqueId val="{000001A7-BBED-4478-ADEA-C6DC6634738A}"/>
              </c:ext>
            </c:extLst>
          </c:dPt>
          <c:dPt>
            <c:idx val="211"/>
            <c:invertIfNegative val="1"/>
            <c:bubble3D val="0"/>
            <c:spPr>
              <a:solidFill>
                <a:srgbClr val="AEABAB"/>
              </a:solidFill>
            </c:spPr>
            <c:extLst>
              <c:ext xmlns:c16="http://schemas.microsoft.com/office/drawing/2014/chart" uri="{C3380CC4-5D6E-409C-BE32-E72D297353CC}">
                <c16:uniqueId val="{000001A9-BBED-4478-ADEA-C6DC6634738A}"/>
              </c:ext>
            </c:extLst>
          </c:dPt>
          <c:dPt>
            <c:idx val="212"/>
            <c:invertIfNegative val="1"/>
            <c:bubble3D val="0"/>
            <c:spPr>
              <a:solidFill>
                <a:srgbClr val="AEABAB"/>
              </a:solidFill>
            </c:spPr>
            <c:extLst>
              <c:ext xmlns:c16="http://schemas.microsoft.com/office/drawing/2014/chart" uri="{C3380CC4-5D6E-409C-BE32-E72D297353CC}">
                <c16:uniqueId val="{000001AB-BBED-4478-ADEA-C6DC6634738A}"/>
              </c:ext>
            </c:extLst>
          </c:dPt>
          <c:dPt>
            <c:idx val="213"/>
            <c:invertIfNegative val="1"/>
            <c:bubble3D val="0"/>
            <c:spPr>
              <a:solidFill>
                <a:srgbClr val="AEABAB"/>
              </a:solidFill>
            </c:spPr>
            <c:extLst>
              <c:ext xmlns:c16="http://schemas.microsoft.com/office/drawing/2014/chart" uri="{C3380CC4-5D6E-409C-BE32-E72D297353CC}">
                <c16:uniqueId val="{000001AD-BBED-4478-ADEA-C6DC6634738A}"/>
              </c:ext>
            </c:extLst>
          </c:dPt>
          <c:dPt>
            <c:idx val="214"/>
            <c:invertIfNegative val="1"/>
            <c:bubble3D val="0"/>
            <c:spPr>
              <a:solidFill>
                <a:srgbClr val="AEABAB"/>
              </a:solidFill>
            </c:spPr>
            <c:extLst>
              <c:ext xmlns:c16="http://schemas.microsoft.com/office/drawing/2014/chart" uri="{C3380CC4-5D6E-409C-BE32-E72D297353CC}">
                <c16:uniqueId val="{000001AF-BBED-4478-ADEA-C6DC6634738A}"/>
              </c:ext>
            </c:extLst>
          </c:dPt>
          <c:dPt>
            <c:idx val="215"/>
            <c:invertIfNegative val="1"/>
            <c:bubble3D val="0"/>
            <c:spPr>
              <a:solidFill>
                <a:srgbClr val="AEABAB"/>
              </a:solidFill>
            </c:spPr>
            <c:extLst>
              <c:ext xmlns:c16="http://schemas.microsoft.com/office/drawing/2014/chart" uri="{C3380CC4-5D6E-409C-BE32-E72D297353CC}">
                <c16:uniqueId val="{000001B1-BBED-4478-ADEA-C6DC6634738A}"/>
              </c:ext>
            </c:extLst>
          </c:dPt>
          <c:dPt>
            <c:idx val="216"/>
            <c:invertIfNegative val="1"/>
            <c:bubble3D val="0"/>
            <c:spPr>
              <a:solidFill>
                <a:srgbClr val="AEABAB"/>
              </a:solidFill>
            </c:spPr>
            <c:extLst>
              <c:ext xmlns:c16="http://schemas.microsoft.com/office/drawing/2014/chart" uri="{C3380CC4-5D6E-409C-BE32-E72D297353CC}">
                <c16:uniqueId val="{000001B3-BBED-4478-ADEA-C6DC6634738A}"/>
              </c:ext>
            </c:extLst>
          </c:dPt>
          <c:dPt>
            <c:idx val="217"/>
            <c:invertIfNegative val="1"/>
            <c:bubble3D val="0"/>
            <c:spPr>
              <a:solidFill>
                <a:srgbClr val="AEABAB"/>
              </a:solidFill>
            </c:spPr>
            <c:extLst>
              <c:ext xmlns:c16="http://schemas.microsoft.com/office/drawing/2014/chart" uri="{C3380CC4-5D6E-409C-BE32-E72D297353CC}">
                <c16:uniqueId val="{000001B5-BBED-4478-ADEA-C6DC6634738A}"/>
              </c:ext>
            </c:extLst>
          </c:dPt>
          <c:dPt>
            <c:idx val="218"/>
            <c:invertIfNegative val="1"/>
            <c:bubble3D val="0"/>
            <c:spPr>
              <a:solidFill>
                <a:srgbClr val="AEABAB"/>
              </a:solidFill>
            </c:spPr>
            <c:extLst>
              <c:ext xmlns:c16="http://schemas.microsoft.com/office/drawing/2014/chart" uri="{C3380CC4-5D6E-409C-BE32-E72D297353CC}">
                <c16:uniqueId val="{000001B7-BBED-4478-ADEA-C6DC6634738A}"/>
              </c:ext>
            </c:extLst>
          </c:dPt>
          <c:dPt>
            <c:idx val="219"/>
            <c:invertIfNegative val="1"/>
            <c:bubble3D val="0"/>
            <c:spPr>
              <a:solidFill>
                <a:srgbClr val="AEABAB"/>
              </a:solidFill>
            </c:spPr>
            <c:extLst>
              <c:ext xmlns:c16="http://schemas.microsoft.com/office/drawing/2014/chart" uri="{C3380CC4-5D6E-409C-BE32-E72D297353CC}">
                <c16:uniqueId val="{000001B9-BBED-4478-ADEA-C6DC6634738A}"/>
              </c:ext>
            </c:extLst>
          </c:dPt>
          <c:dPt>
            <c:idx val="220"/>
            <c:invertIfNegative val="1"/>
            <c:bubble3D val="0"/>
            <c:spPr>
              <a:solidFill>
                <a:srgbClr val="AEABAB"/>
              </a:solidFill>
            </c:spPr>
            <c:extLst>
              <c:ext xmlns:c16="http://schemas.microsoft.com/office/drawing/2014/chart" uri="{C3380CC4-5D6E-409C-BE32-E72D297353CC}">
                <c16:uniqueId val="{000001BB-BBED-4478-ADEA-C6DC6634738A}"/>
              </c:ext>
            </c:extLst>
          </c:dPt>
          <c:dPt>
            <c:idx val="221"/>
            <c:invertIfNegative val="1"/>
            <c:bubble3D val="0"/>
            <c:spPr>
              <a:solidFill>
                <a:srgbClr val="AEABAB"/>
              </a:solidFill>
            </c:spPr>
            <c:extLst>
              <c:ext xmlns:c16="http://schemas.microsoft.com/office/drawing/2014/chart" uri="{C3380CC4-5D6E-409C-BE32-E72D297353CC}">
                <c16:uniqueId val="{000001BD-BBED-4478-ADEA-C6DC6634738A}"/>
              </c:ext>
            </c:extLst>
          </c:dPt>
          <c:dPt>
            <c:idx val="222"/>
            <c:invertIfNegative val="1"/>
            <c:bubble3D val="0"/>
            <c:spPr>
              <a:solidFill>
                <a:srgbClr val="AEABAB"/>
              </a:solidFill>
            </c:spPr>
            <c:extLst>
              <c:ext xmlns:c16="http://schemas.microsoft.com/office/drawing/2014/chart" uri="{C3380CC4-5D6E-409C-BE32-E72D297353CC}">
                <c16:uniqueId val="{000001BF-BBED-4478-ADEA-C6DC6634738A}"/>
              </c:ext>
            </c:extLst>
          </c:dPt>
          <c:dPt>
            <c:idx val="223"/>
            <c:invertIfNegative val="1"/>
            <c:bubble3D val="0"/>
            <c:spPr>
              <a:solidFill>
                <a:srgbClr val="AEABAB"/>
              </a:solidFill>
            </c:spPr>
            <c:extLst>
              <c:ext xmlns:c16="http://schemas.microsoft.com/office/drawing/2014/chart" uri="{C3380CC4-5D6E-409C-BE32-E72D297353CC}">
                <c16:uniqueId val="{000001C1-BBED-4478-ADEA-C6DC6634738A}"/>
              </c:ext>
            </c:extLst>
          </c:dPt>
          <c:dPt>
            <c:idx val="224"/>
            <c:invertIfNegative val="1"/>
            <c:bubble3D val="0"/>
            <c:spPr>
              <a:solidFill>
                <a:srgbClr val="AEABAB"/>
              </a:solidFill>
            </c:spPr>
            <c:extLst>
              <c:ext xmlns:c16="http://schemas.microsoft.com/office/drawing/2014/chart" uri="{C3380CC4-5D6E-409C-BE32-E72D297353CC}">
                <c16:uniqueId val="{000001C3-BBED-4478-ADEA-C6DC6634738A}"/>
              </c:ext>
            </c:extLst>
          </c:dPt>
          <c:dPt>
            <c:idx val="225"/>
            <c:invertIfNegative val="1"/>
            <c:bubble3D val="0"/>
            <c:spPr>
              <a:solidFill>
                <a:srgbClr val="AEABAB"/>
              </a:solidFill>
            </c:spPr>
            <c:extLst>
              <c:ext xmlns:c16="http://schemas.microsoft.com/office/drawing/2014/chart" uri="{C3380CC4-5D6E-409C-BE32-E72D297353CC}">
                <c16:uniqueId val="{000001C5-BBED-4478-ADEA-C6DC6634738A}"/>
              </c:ext>
            </c:extLst>
          </c:dPt>
          <c:dPt>
            <c:idx val="226"/>
            <c:invertIfNegative val="1"/>
            <c:bubble3D val="0"/>
            <c:spPr>
              <a:solidFill>
                <a:srgbClr val="AEABAB"/>
              </a:solidFill>
            </c:spPr>
            <c:extLst>
              <c:ext xmlns:c16="http://schemas.microsoft.com/office/drawing/2014/chart" uri="{C3380CC4-5D6E-409C-BE32-E72D297353CC}">
                <c16:uniqueId val="{000001C7-BBED-4478-ADEA-C6DC6634738A}"/>
              </c:ext>
            </c:extLst>
          </c:dPt>
          <c:dPt>
            <c:idx val="227"/>
            <c:invertIfNegative val="1"/>
            <c:bubble3D val="0"/>
            <c:spPr>
              <a:solidFill>
                <a:srgbClr val="AEABAB"/>
              </a:solidFill>
            </c:spPr>
            <c:extLst>
              <c:ext xmlns:c16="http://schemas.microsoft.com/office/drawing/2014/chart" uri="{C3380CC4-5D6E-409C-BE32-E72D297353CC}">
                <c16:uniqueId val="{000001C9-BBED-4478-ADEA-C6DC6634738A}"/>
              </c:ext>
            </c:extLst>
          </c:dPt>
          <c:dPt>
            <c:idx val="228"/>
            <c:invertIfNegative val="1"/>
            <c:bubble3D val="0"/>
            <c:spPr>
              <a:solidFill>
                <a:srgbClr val="AEABAB"/>
              </a:solidFill>
            </c:spPr>
            <c:extLst>
              <c:ext xmlns:c16="http://schemas.microsoft.com/office/drawing/2014/chart" uri="{C3380CC4-5D6E-409C-BE32-E72D297353CC}">
                <c16:uniqueId val="{000001CB-BBED-4478-ADEA-C6DC6634738A}"/>
              </c:ext>
            </c:extLst>
          </c:dPt>
          <c:dPt>
            <c:idx val="229"/>
            <c:invertIfNegative val="1"/>
            <c:bubble3D val="0"/>
            <c:spPr>
              <a:solidFill>
                <a:srgbClr val="AEABAB"/>
              </a:solidFill>
            </c:spPr>
            <c:extLst>
              <c:ext xmlns:c16="http://schemas.microsoft.com/office/drawing/2014/chart" uri="{C3380CC4-5D6E-409C-BE32-E72D297353CC}">
                <c16:uniqueId val="{000001CD-BBED-4478-ADEA-C6DC6634738A}"/>
              </c:ext>
            </c:extLst>
          </c:dPt>
          <c:dPt>
            <c:idx val="230"/>
            <c:invertIfNegative val="1"/>
            <c:bubble3D val="0"/>
            <c:spPr>
              <a:solidFill>
                <a:srgbClr val="AEABAB"/>
              </a:solidFill>
            </c:spPr>
            <c:extLst>
              <c:ext xmlns:c16="http://schemas.microsoft.com/office/drawing/2014/chart" uri="{C3380CC4-5D6E-409C-BE32-E72D297353CC}">
                <c16:uniqueId val="{000001CF-BBED-4478-ADEA-C6DC6634738A}"/>
              </c:ext>
            </c:extLst>
          </c:dPt>
          <c:dPt>
            <c:idx val="231"/>
            <c:invertIfNegative val="1"/>
            <c:bubble3D val="0"/>
            <c:spPr>
              <a:solidFill>
                <a:srgbClr val="AEABAB"/>
              </a:solidFill>
            </c:spPr>
            <c:extLst>
              <c:ext xmlns:c16="http://schemas.microsoft.com/office/drawing/2014/chart" uri="{C3380CC4-5D6E-409C-BE32-E72D297353CC}">
                <c16:uniqueId val="{000001D1-BBED-4478-ADEA-C6DC6634738A}"/>
              </c:ext>
            </c:extLst>
          </c:dPt>
          <c:dPt>
            <c:idx val="232"/>
            <c:invertIfNegative val="1"/>
            <c:bubble3D val="0"/>
            <c:spPr>
              <a:solidFill>
                <a:srgbClr val="AEABAB"/>
              </a:solidFill>
            </c:spPr>
            <c:extLst>
              <c:ext xmlns:c16="http://schemas.microsoft.com/office/drawing/2014/chart" uri="{C3380CC4-5D6E-409C-BE32-E72D297353CC}">
                <c16:uniqueId val="{000001D3-BBED-4478-ADEA-C6DC6634738A}"/>
              </c:ext>
            </c:extLst>
          </c:dPt>
          <c:dPt>
            <c:idx val="233"/>
            <c:invertIfNegative val="1"/>
            <c:bubble3D val="0"/>
            <c:spPr>
              <a:solidFill>
                <a:srgbClr val="AEABAB"/>
              </a:solidFill>
            </c:spPr>
            <c:extLst>
              <c:ext xmlns:c16="http://schemas.microsoft.com/office/drawing/2014/chart" uri="{C3380CC4-5D6E-409C-BE32-E72D297353CC}">
                <c16:uniqueId val="{000001D5-BBED-4478-ADEA-C6DC6634738A}"/>
              </c:ext>
            </c:extLst>
          </c:dPt>
          <c:dPt>
            <c:idx val="234"/>
            <c:invertIfNegative val="1"/>
            <c:bubble3D val="0"/>
            <c:spPr>
              <a:solidFill>
                <a:srgbClr val="AEABAB"/>
              </a:solidFill>
            </c:spPr>
            <c:extLst>
              <c:ext xmlns:c16="http://schemas.microsoft.com/office/drawing/2014/chart" uri="{C3380CC4-5D6E-409C-BE32-E72D297353CC}">
                <c16:uniqueId val="{000001D7-BBED-4478-ADEA-C6DC6634738A}"/>
              </c:ext>
            </c:extLst>
          </c:dPt>
          <c:dPt>
            <c:idx val="235"/>
            <c:invertIfNegative val="1"/>
            <c:bubble3D val="0"/>
            <c:spPr>
              <a:solidFill>
                <a:srgbClr val="AEABAB"/>
              </a:solidFill>
            </c:spPr>
            <c:extLst>
              <c:ext xmlns:c16="http://schemas.microsoft.com/office/drawing/2014/chart" uri="{C3380CC4-5D6E-409C-BE32-E72D297353CC}">
                <c16:uniqueId val="{000001D9-BBED-4478-ADEA-C6DC6634738A}"/>
              </c:ext>
            </c:extLst>
          </c:dPt>
          <c:dPt>
            <c:idx val="236"/>
            <c:invertIfNegative val="1"/>
            <c:bubble3D val="0"/>
            <c:spPr>
              <a:solidFill>
                <a:srgbClr val="AEABAB"/>
              </a:solidFill>
            </c:spPr>
            <c:extLst>
              <c:ext xmlns:c16="http://schemas.microsoft.com/office/drawing/2014/chart" uri="{C3380CC4-5D6E-409C-BE32-E72D297353CC}">
                <c16:uniqueId val="{000001DB-BBED-4478-ADEA-C6DC6634738A}"/>
              </c:ext>
            </c:extLst>
          </c:dPt>
          <c:dPt>
            <c:idx val="237"/>
            <c:invertIfNegative val="1"/>
            <c:bubble3D val="0"/>
            <c:spPr>
              <a:solidFill>
                <a:srgbClr val="AEABAB"/>
              </a:solidFill>
            </c:spPr>
            <c:extLst>
              <c:ext xmlns:c16="http://schemas.microsoft.com/office/drawing/2014/chart" uri="{C3380CC4-5D6E-409C-BE32-E72D297353CC}">
                <c16:uniqueId val="{000001DD-BBED-4478-ADEA-C6DC6634738A}"/>
              </c:ext>
            </c:extLst>
          </c:dPt>
          <c:dPt>
            <c:idx val="238"/>
            <c:invertIfNegative val="1"/>
            <c:bubble3D val="0"/>
            <c:spPr>
              <a:solidFill>
                <a:srgbClr val="AEABAB"/>
              </a:solidFill>
            </c:spPr>
            <c:extLst>
              <c:ext xmlns:c16="http://schemas.microsoft.com/office/drawing/2014/chart" uri="{C3380CC4-5D6E-409C-BE32-E72D297353CC}">
                <c16:uniqueId val="{000001DF-BBED-4478-ADEA-C6DC6634738A}"/>
              </c:ext>
            </c:extLst>
          </c:dPt>
          <c:dPt>
            <c:idx val="239"/>
            <c:invertIfNegative val="1"/>
            <c:bubble3D val="0"/>
            <c:spPr>
              <a:solidFill>
                <a:srgbClr val="AEABAB"/>
              </a:solidFill>
            </c:spPr>
            <c:extLst>
              <c:ext xmlns:c16="http://schemas.microsoft.com/office/drawing/2014/chart" uri="{C3380CC4-5D6E-409C-BE32-E72D297353CC}">
                <c16:uniqueId val="{000001E1-BBED-4478-ADEA-C6DC6634738A}"/>
              </c:ext>
            </c:extLst>
          </c:dPt>
          <c:dPt>
            <c:idx val="240"/>
            <c:invertIfNegative val="1"/>
            <c:bubble3D val="0"/>
            <c:spPr>
              <a:solidFill>
                <a:srgbClr val="AEABAB"/>
              </a:solidFill>
            </c:spPr>
            <c:extLst>
              <c:ext xmlns:c16="http://schemas.microsoft.com/office/drawing/2014/chart" uri="{C3380CC4-5D6E-409C-BE32-E72D297353CC}">
                <c16:uniqueId val="{000001E3-BBED-4478-ADEA-C6DC6634738A}"/>
              </c:ext>
            </c:extLst>
          </c:dPt>
          <c:dPt>
            <c:idx val="241"/>
            <c:invertIfNegative val="1"/>
            <c:bubble3D val="0"/>
            <c:spPr>
              <a:solidFill>
                <a:srgbClr val="AEABAB"/>
              </a:solidFill>
            </c:spPr>
            <c:extLst>
              <c:ext xmlns:c16="http://schemas.microsoft.com/office/drawing/2014/chart" uri="{C3380CC4-5D6E-409C-BE32-E72D297353CC}">
                <c16:uniqueId val="{000001E5-BBED-4478-ADEA-C6DC6634738A}"/>
              </c:ext>
            </c:extLst>
          </c:dPt>
          <c:dPt>
            <c:idx val="242"/>
            <c:invertIfNegative val="1"/>
            <c:bubble3D val="0"/>
            <c:spPr>
              <a:solidFill>
                <a:srgbClr val="AEABAB"/>
              </a:solidFill>
            </c:spPr>
            <c:extLst>
              <c:ext xmlns:c16="http://schemas.microsoft.com/office/drawing/2014/chart" uri="{C3380CC4-5D6E-409C-BE32-E72D297353CC}">
                <c16:uniqueId val="{000001E7-BBED-4478-ADEA-C6DC6634738A}"/>
              </c:ext>
            </c:extLst>
          </c:dPt>
          <c:dPt>
            <c:idx val="243"/>
            <c:invertIfNegative val="1"/>
            <c:bubble3D val="0"/>
            <c:spPr>
              <a:solidFill>
                <a:srgbClr val="AEABAB"/>
              </a:solidFill>
            </c:spPr>
            <c:extLst>
              <c:ext xmlns:c16="http://schemas.microsoft.com/office/drawing/2014/chart" uri="{C3380CC4-5D6E-409C-BE32-E72D297353CC}">
                <c16:uniqueId val="{000001E9-BBED-4478-ADEA-C6DC6634738A}"/>
              </c:ext>
            </c:extLst>
          </c:dPt>
          <c:dPt>
            <c:idx val="244"/>
            <c:invertIfNegative val="1"/>
            <c:bubble3D val="0"/>
            <c:spPr>
              <a:solidFill>
                <a:srgbClr val="AEABAB"/>
              </a:solidFill>
            </c:spPr>
            <c:extLst>
              <c:ext xmlns:c16="http://schemas.microsoft.com/office/drawing/2014/chart" uri="{C3380CC4-5D6E-409C-BE32-E72D297353CC}">
                <c16:uniqueId val="{000001EB-BBED-4478-ADEA-C6DC6634738A}"/>
              </c:ext>
            </c:extLst>
          </c:dPt>
          <c:dPt>
            <c:idx val="245"/>
            <c:invertIfNegative val="1"/>
            <c:bubble3D val="0"/>
            <c:spPr>
              <a:solidFill>
                <a:srgbClr val="AEABAB"/>
              </a:solidFill>
            </c:spPr>
            <c:extLst>
              <c:ext xmlns:c16="http://schemas.microsoft.com/office/drawing/2014/chart" uri="{C3380CC4-5D6E-409C-BE32-E72D297353CC}">
                <c16:uniqueId val="{000001ED-BBED-4478-ADEA-C6DC6634738A}"/>
              </c:ext>
            </c:extLst>
          </c:dPt>
          <c:dPt>
            <c:idx val="246"/>
            <c:invertIfNegative val="1"/>
            <c:bubble3D val="0"/>
            <c:spPr>
              <a:solidFill>
                <a:srgbClr val="AEABAB"/>
              </a:solidFill>
            </c:spPr>
            <c:extLst>
              <c:ext xmlns:c16="http://schemas.microsoft.com/office/drawing/2014/chart" uri="{C3380CC4-5D6E-409C-BE32-E72D297353CC}">
                <c16:uniqueId val="{000001EF-BBED-4478-ADEA-C6DC6634738A}"/>
              </c:ext>
            </c:extLst>
          </c:dPt>
          <c:dPt>
            <c:idx val="247"/>
            <c:invertIfNegative val="1"/>
            <c:bubble3D val="0"/>
            <c:spPr>
              <a:solidFill>
                <a:srgbClr val="AEABAB"/>
              </a:solidFill>
            </c:spPr>
            <c:extLst>
              <c:ext xmlns:c16="http://schemas.microsoft.com/office/drawing/2014/chart" uri="{C3380CC4-5D6E-409C-BE32-E72D297353CC}">
                <c16:uniqueId val="{000001F1-BBED-4478-ADEA-C6DC6634738A}"/>
              </c:ext>
            </c:extLst>
          </c:dPt>
          <c:dPt>
            <c:idx val="248"/>
            <c:invertIfNegative val="1"/>
            <c:bubble3D val="0"/>
            <c:spPr>
              <a:solidFill>
                <a:srgbClr val="AEABAB"/>
              </a:solidFill>
            </c:spPr>
            <c:extLst>
              <c:ext xmlns:c16="http://schemas.microsoft.com/office/drawing/2014/chart" uri="{C3380CC4-5D6E-409C-BE32-E72D297353CC}">
                <c16:uniqueId val="{000001F3-BBED-4478-ADEA-C6DC6634738A}"/>
              </c:ext>
            </c:extLst>
          </c:dPt>
          <c:dPt>
            <c:idx val="249"/>
            <c:invertIfNegative val="1"/>
            <c:bubble3D val="0"/>
            <c:spPr>
              <a:solidFill>
                <a:srgbClr val="AEABAB"/>
              </a:solidFill>
            </c:spPr>
            <c:extLst>
              <c:ext xmlns:c16="http://schemas.microsoft.com/office/drawing/2014/chart" uri="{C3380CC4-5D6E-409C-BE32-E72D297353CC}">
                <c16:uniqueId val="{000001F5-BBED-4478-ADEA-C6DC6634738A}"/>
              </c:ext>
            </c:extLst>
          </c:dPt>
          <c:dPt>
            <c:idx val="250"/>
            <c:invertIfNegative val="1"/>
            <c:bubble3D val="0"/>
            <c:spPr>
              <a:solidFill>
                <a:srgbClr val="AEABAB"/>
              </a:solidFill>
            </c:spPr>
            <c:extLst>
              <c:ext xmlns:c16="http://schemas.microsoft.com/office/drawing/2014/chart" uri="{C3380CC4-5D6E-409C-BE32-E72D297353CC}">
                <c16:uniqueId val="{000001F7-BBED-4478-ADEA-C6DC6634738A}"/>
              </c:ext>
            </c:extLst>
          </c:dPt>
          <c:dPt>
            <c:idx val="251"/>
            <c:invertIfNegative val="1"/>
            <c:bubble3D val="0"/>
            <c:spPr>
              <a:solidFill>
                <a:srgbClr val="AEABAB"/>
              </a:solidFill>
            </c:spPr>
            <c:extLst>
              <c:ext xmlns:c16="http://schemas.microsoft.com/office/drawing/2014/chart" uri="{C3380CC4-5D6E-409C-BE32-E72D297353CC}">
                <c16:uniqueId val="{000001F9-BBED-4478-ADEA-C6DC6634738A}"/>
              </c:ext>
            </c:extLst>
          </c:dPt>
          <c:dPt>
            <c:idx val="252"/>
            <c:invertIfNegative val="1"/>
            <c:bubble3D val="0"/>
            <c:spPr>
              <a:solidFill>
                <a:srgbClr val="AEABAB"/>
              </a:solidFill>
            </c:spPr>
            <c:extLst>
              <c:ext xmlns:c16="http://schemas.microsoft.com/office/drawing/2014/chart" uri="{C3380CC4-5D6E-409C-BE32-E72D297353CC}">
                <c16:uniqueId val="{000001FB-BBED-4478-ADEA-C6DC6634738A}"/>
              </c:ext>
            </c:extLst>
          </c:dPt>
          <c:dPt>
            <c:idx val="253"/>
            <c:invertIfNegative val="1"/>
            <c:bubble3D val="0"/>
            <c:spPr>
              <a:solidFill>
                <a:srgbClr val="AEABAB"/>
              </a:solidFill>
            </c:spPr>
            <c:extLst>
              <c:ext xmlns:c16="http://schemas.microsoft.com/office/drawing/2014/chart" uri="{C3380CC4-5D6E-409C-BE32-E72D297353CC}">
                <c16:uniqueId val="{000001FD-BBED-4478-ADEA-C6DC6634738A}"/>
              </c:ext>
            </c:extLst>
          </c:dPt>
          <c:dPt>
            <c:idx val="254"/>
            <c:invertIfNegative val="1"/>
            <c:bubble3D val="0"/>
            <c:spPr>
              <a:solidFill>
                <a:srgbClr val="AEABAB"/>
              </a:solidFill>
            </c:spPr>
            <c:extLst>
              <c:ext xmlns:c16="http://schemas.microsoft.com/office/drawing/2014/chart" uri="{C3380CC4-5D6E-409C-BE32-E72D297353CC}">
                <c16:uniqueId val="{000001FF-BBED-4478-ADEA-C6DC6634738A}"/>
              </c:ext>
            </c:extLst>
          </c:dPt>
          <c:dPt>
            <c:idx val="255"/>
            <c:invertIfNegative val="1"/>
            <c:bubble3D val="0"/>
            <c:spPr>
              <a:solidFill>
                <a:srgbClr val="AEABAB"/>
              </a:solidFill>
            </c:spPr>
            <c:extLst>
              <c:ext xmlns:c16="http://schemas.microsoft.com/office/drawing/2014/chart" uri="{C3380CC4-5D6E-409C-BE32-E72D297353CC}">
                <c16:uniqueId val="{00000201-BBED-4478-ADEA-C6DC6634738A}"/>
              </c:ext>
            </c:extLst>
          </c:dPt>
          <c:dPt>
            <c:idx val="256"/>
            <c:invertIfNegative val="1"/>
            <c:bubble3D val="0"/>
            <c:spPr>
              <a:solidFill>
                <a:srgbClr val="AEABAB"/>
              </a:solidFill>
            </c:spPr>
            <c:extLst>
              <c:ext xmlns:c16="http://schemas.microsoft.com/office/drawing/2014/chart" uri="{C3380CC4-5D6E-409C-BE32-E72D297353CC}">
                <c16:uniqueId val="{00000203-BBED-4478-ADEA-C6DC6634738A}"/>
              </c:ext>
            </c:extLst>
          </c:dPt>
          <c:dPt>
            <c:idx val="257"/>
            <c:invertIfNegative val="1"/>
            <c:bubble3D val="0"/>
            <c:spPr>
              <a:solidFill>
                <a:srgbClr val="AEABAB"/>
              </a:solidFill>
            </c:spPr>
            <c:extLst>
              <c:ext xmlns:c16="http://schemas.microsoft.com/office/drawing/2014/chart" uri="{C3380CC4-5D6E-409C-BE32-E72D297353CC}">
                <c16:uniqueId val="{00000205-BBED-4478-ADEA-C6DC6634738A}"/>
              </c:ext>
            </c:extLst>
          </c:dPt>
          <c:dPt>
            <c:idx val="258"/>
            <c:invertIfNegative val="1"/>
            <c:bubble3D val="0"/>
            <c:spPr>
              <a:solidFill>
                <a:srgbClr val="AEABAB"/>
              </a:solidFill>
            </c:spPr>
            <c:extLst>
              <c:ext xmlns:c16="http://schemas.microsoft.com/office/drawing/2014/chart" uri="{C3380CC4-5D6E-409C-BE32-E72D297353CC}">
                <c16:uniqueId val="{00000207-BBED-4478-ADEA-C6DC6634738A}"/>
              </c:ext>
            </c:extLst>
          </c:dPt>
          <c:dPt>
            <c:idx val="259"/>
            <c:invertIfNegative val="1"/>
            <c:bubble3D val="0"/>
            <c:spPr>
              <a:solidFill>
                <a:srgbClr val="AEABAB"/>
              </a:solidFill>
            </c:spPr>
            <c:extLst>
              <c:ext xmlns:c16="http://schemas.microsoft.com/office/drawing/2014/chart" uri="{C3380CC4-5D6E-409C-BE32-E72D297353CC}">
                <c16:uniqueId val="{00000209-BBED-4478-ADEA-C6DC6634738A}"/>
              </c:ext>
            </c:extLst>
          </c:dPt>
          <c:dPt>
            <c:idx val="260"/>
            <c:invertIfNegative val="1"/>
            <c:bubble3D val="0"/>
            <c:spPr>
              <a:solidFill>
                <a:srgbClr val="AEABAB"/>
              </a:solidFill>
            </c:spPr>
            <c:extLst>
              <c:ext xmlns:c16="http://schemas.microsoft.com/office/drawing/2014/chart" uri="{C3380CC4-5D6E-409C-BE32-E72D297353CC}">
                <c16:uniqueId val="{0000020B-BBED-4478-ADEA-C6DC6634738A}"/>
              </c:ext>
            </c:extLst>
          </c:dPt>
          <c:dPt>
            <c:idx val="261"/>
            <c:invertIfNegative val="1"/>
            <c:bubble3D val="0"/>
            <c:spPr>
              <a:solidFill>
                <a:srgbClr val="AEABAB"/>
              </a:solidFill>
            </c:spPr>
            <c:extLst>
              <c:ext xmlns:c16="http://schemas.microsoft.com/office/drawing/2014/chart" uri="{C3380CC4-5D6E-409C-BE32-E72D297353CC}">
                <c16:uniqueId val="{0000020D-BBED-4478-ADEA-C6DC6634738A}"/>
              </c:ext>
            </c:extLst>
          </c:dPt>
          <c:dPt>
            <c:idx val="262"/>
            <c:invertIfNegative val="1"/>
            <c:bubble3D val="0"/>
            <c:spPr>
              <a:solidFill>
                <a:srgbClr val="AEABAB"/>
              </a:solidFill>
            </c:spPr>
            <c:extLst>
              <c:ext xmlns:c16="http://schemas.microsoft.com/office/drawing/2014/chart" uri="{C3380CC4-5D6E-409C-BE32-E72D297353CC}">
                <c16:uniqueId val="{0000020F-BBED-4478-ADEA-C6DC6634738A}"/>
              </c:ext>
            </c:extLst>
          </c:dPt>
          <c:dPt>
            <c:idx val="263"/>
            <c:invertIfNegative val="1"/>
            <c:bubble3D val="0"/>
            <c:spPr>
              <a:solidFill>
                <a:srgbClr val="AEABAB"/>
              </a:solidFill>
            </c:spPr>
            <c:extLst>
              <c:ext xmlns:c16="http://schemas.microsoft.com/office/drawing/2014/chart" uri="{C3380CC4-5D6E-409C-BE32-E72D297353CC}">
                <c16:uniqueId val="{00000211-BBED-4478-ADEA-C6DC6634738A}"/>
              </c:ext>
            </c:extLst>
          </c:dPt>
          <c:dPt>
            <c:idx val="264"/>
            <c:invertIfNegative val="1"/>
            <c:bubble3D val="0"/>
            <c:spPr>
              <a:solidFill>
                <a:srgbClr val="AEABAB"/>
              </a:solidFill>
            </c:spPr>
            <c:extLst>
              <c:ext xmlns:c16="http://schemas.microsoft.com/office/drawing/2014/chart" uri="{C3380CC4-5D6E-409C-BE32-E72D297353CC}">
                <c16:uniqueId val="{00000213-BBED-4478-ADEA-C6DC6634738A}"/>
              </c:ext>
            </c:extLst>
          </c:dPt>
          <c:dPt>
            <c:idx val="265"/>
            <c:invertIfNegative val="1"/>
            <c:bubble3D val="0"/>
            <c:spPr>
              <a:solidFill>
                <a:srgbClr val="AEABAB"/>
              </a:solidFill>
            </c:spPr>
            <c:extLst>
              <c:ext xmlns:c16="http://schemas.microsoft.com/office/drawing/2014/chart" uri="{C3380CC4-5D6E-409C-BE32-E72D297353CC}">
                <c16:uniqueId val="{00000215-BBED-4478-ADEA-C6DC6634738A}"/>
              </c:ext>
            </c:extLst>
          </c:dPt>
          <c:dPt>
            <c:idx val="266"/>
            <c:invertIfNegative val="1"/>
            <c:bubble3D val="0"/>
            <c:spPr>
              <a:solidFill>
                <a:srgbClr val="AEABAB"/>
              </a:solidFill>
            </c:spPr>
            <c:extLst>
              <c:ext xmlns:c16="http://schemas.microsoft.com/office/drawing/2014/chart" uri="{C3380CC4-5D6E-409C-BE32-E72D297353CC}">
                <c16:uniqueId val="{00000217-BBED-4478-ADEA-C6DC6634738A}"/>
              </c:ext>
            </c:extLst>
          </c:dPt>
          <c:dPt>
            <c:idx val="267"/>
            <c:invertIfNegative val="1"/>
            <c:bubble3D val="0"/>
            <c:spPr>
              <a:solidFill>
                <a:srgbClr val="AEABAB"/>
              </a:solidFill>
            </c:spPr>
            <c:extLst>
              <c:ext xmlns:c16="http://schemas.microsoft.com/office/drawing/2014/chart" uri="{C3380CC4-5D6E-409C-BE32-E72D297353CC}">
                <c16:uniqueId val="{00000219-BBED-4478-ADEA-C6DC6634738A}"/>
              </c:ext>
            </c:extLst>
          </c:dPt>
          <c:dPt>
            <c:idx val="268"/>
            <c:invertIfNegative val="1"/>
            <c:bubble3D val="0"/>
            <c:spPr>
              <a:solidFill>
                <a:srgbClr val="AEABAB"/>
              </a:solidFill>
            </c:spPr>
            <c:extLst>
              <c:ext xmlns:c16="http://schemas.microsoft.com/office/drawing/2014/chart" uri="{C3380CC4-5D6E-409C-BE32-E72D297353CC}">
                <c16:uniqueId val="{0000021B-BBED-4478-ADEA-C6DC6634738A}"/>
              </c:ext>
            </c:extLst>
          </c:dPt>
          <c:dPt>
            <c:idx val="269"/>
            <c:invertIfNegative val="1"/>
            <c:bubble3D val="0"/>
            <c:spPr>
              <a:solidFill>
                <a:srgbClr val="AEABAB"/>
              </a:solidFill>
            </c:spPr>
            <c:extLst>
              <c:ext xmlns:c16="http://schemas.microsoft.com/office/drawing/2014/chart" uri="{C3380CC4-5D6E-409C-BE32-E72D297353CC}">
                <c16:uniqueId val="{0000021D-BBED-4478-ADEA-C6DC6634738A}"/>
              </c:ext>
            </c:extLst>
          </c:dPt>
          <c:dPt>
            <c:idx val="270"/>
            <c:invertIfNegative val="1"/>
            <c:bubble3D val="0"/>
            <c:spPr>
              <a:solidFill>
                <a:srgbClr val="AEABAB"/>
              </a:solidFill>
            </c:spPr>
            <c:extLst>
              <c:ext xmlns:c16="http://schemas.microsoft.com/office/drawing/2014/chart" uri="{C3380CC4-5D6E-409C-BE32-E72D297353CC}">
                <c16:uniqueId val="{0000021F-BBED-4478-ADEA-C6DC6634738A}"/>
              </c:ext>
            </c:extLst>
          </c:dPt>
          <c:dPt>
            <c:idx val="271"/>
            <c:invertIfNegative val="1"/>
            <c:bubble3D val="0"/>
            <c:spPr>
              <a:solidFill>
                <a:srgbClr val="AEABAB"/>
              </a:solidFill>
            </c:spPr>
            <c:extLst>
              <c:ext xmlns:c16="http://schemas.microsoft.com/office/drawing/2014/chart" uri="{C3380CC4-5D6E-409C-BE32-E72D297353CC}">
                <c16:uniqueId val="{00000221-BBED-4478-ADEA-C6DC6634738A}"/>
              </c:ext>
            </c:extLst>
          </c:dPt>
          <c:dPt>
            <c:idx val="272"/>
            <c:invertIfNegative val="1"/>
            <c:bubble3D val="0"/>
            <c:spPr>
              <a:solidFill>
                <a:srgbClr val="AEABAB"/>
              </a:solidFill>
            </c:spPr>
            <c:extLst>
              <c:ext xmlns:c16="http://schemas.microsoft.com/office/drawing/2014/chart" uri="{C3380CC4-5D6E-409C-BE32-E72D297353CC}">
                <c16:uniqueId val="{00000223-BBED-4478-ADEA-C6DC6634738A}"/>
              </c:ext>
            </c:extLst>
          </c:dPt>
          <c:dPt>
            <c:idx val="273"/>
            <c:invertIfNegative val="1"/>
            <c:bubble3D val="0"/>
            <c:spPr>
              <a:solidFill>
                <a:srgbClr val="AEABAB"/>
              </a:solidFill>
            </c:spPr>
            <c:extLst>
              <c:ext xmlns:c16="http://schemas.microsoft.com/office/drawing/2014/chart" uri="{C3380CC4-5D6E-409C-BE32-E72D297353CC}">
                <c16:uniqueId val="{00000225-BBED-4478-ADEA-C6DC6634738A}"/>
              </c:ext>
            </c:extLst>
          </c:dPt>
          <c:dPt>
            <c:idx val="274"/>
            <c:invertIfNegative val="1"/>
            <c:bubble3D val="0"/>
            <c:spPr>
              <a:solidFill>
                <a:srgbClr val="AEABAB"/>
              </a:solidFill>
            </c:spPr>
            <c:extLst>
              <c:ext xmlns:c16="http://schemas.microsoft.com/office/drawing/2014/chart" uri="{C3380CC4-5D6E-409C-BE32-E72D297353CC}">
                <c16:uniqueId val="{00000227-BBED-4478-ADEA-C6DC6634738A}"/>
              </c:ext>
            </c:extLst>
          </c:dPt>
          <c:dPt>
            <c:idx val="275"/>
            <c:invertIfNegative val="1"/>
            <c:bubble3D val="0"/>
            <c:spPr>
              <a:solidFill>
                <a:srgbClr val="AEABAB"/>
              </a:solidFill>
            </c:spPr>
            <c:extLst>
              <c:ext xmlns:c16="http://schemas.microsoft.com/office/drawing/2014/chart" uri="{C3380CC4-5D6E-409C-BE32-E72D297353CC}">
                <c16:uniqueId val="{00000229-BBED-4478-ADEA-C6DC6634738A}"/>
              </c:ext>
            </c:extLst>
          </c:dPt>
          <c:dPt>
            <c:idx val="276"/>
            <c:invertIfNegative val="1"/>
            <c:bubble3D val="0"/>
            <c:spPr>
              <a:solidFill>
                <a:srgbClr val="AEABAB"/>
              </a:solidFill>
            </c:spPr>
            <c:extLst>
              <c:ext xmlns:c16="http://schemas.microsoft.com/office/drawing/2014/chart" uri="{C3380CC4-5D6E-409C-BE32-E72D297353CC}">
                <c16:uniqueId val="{0000022B-BBED-4478-ADEA-C6DC6634738A}"/>
              </c:ext>
            </c:extLst>
          </c:dPt>
          <c:dPt>
            <c:idx val="277"/>
            <c:invertIfNegative val="1"/>
            <c:bubble3D val="0"/>
            <c:spPr>
              <a:solidFill>
                <a:srgbClr val="AEABAB"/>
              </a:solidFill>
            </c:spPr>
            <c:extLst>
              <c:ext xmlns:c16="http://schemas.microsoft.com/office/drawing/2014/chart" uri="{C3380CC4-5D6E-409C-BE32-E72D297353CC}">
                <c16:uniqueId val="{0000022D-BBED-4478-ADEA-C6DC6634738A}"/>
              </c:ext>
            </c:extLst>
          </c:dPt>
          <c:dPt>
            <c:idx val="278"/>
            <c:invertIfNegative val="1"/>
            <c:bubble3D val="0"/>
            <c:spPr>
              <a:solidFill>
                <a:srgbClr val="AEABAB"/>
              </a:solidFill>
            </c:spPr>
            <c:extLst>
              <c:ext xmlns:c16="http://schemas.microsoft.com/office/drawing/2014/chart" uri="{C3380CC4-5D6E-409C-BE32-E72D297353CC}">
                <c16:uniqueId val="{0000022F-BBED-4478-ADEA-C6DC6634738A}"/>
              </c:ext>
            </c:extLst>
          </c:dPt>
          <c:dPt>
            <c:idx val="279"/>
            <c:invertIfNegative val="1"/>
            <c:bubble3D val="0"/>
            <c:spPr>
              <a:solidFill>
                <a:srgbClr val="AEABAB"/>
              </a:solidFill>
            </c:spPr>
            <c:extLst>
              <c:ext xmlns:c16="http://schemas.microsoft.com/office/drawing/2014/chart" uri="{C3380CC4-5D6E-409C-BE32-E72D297353CC}">
                <c16:uniqueId val="{00000231-BBED-4478-ADEA-C6DC6634738A}"/>
              </c:ext>
            </c:extLst>
          </c:dPt>
          <c:dPt>
            <c:idx val="280"/>
            <c:invertIfNegative val="1"/>
            <c:bubble3D val="0"/>
            <c:spPr>
              <a:solidFill>
                <a:srgbClr val="AEABAB"/>
              </a:solidFill>
            </c:spPr>
            <c:extLst>
              <c:ext xmlns:c16="http://schemas.microsoft.com/office/drawing/2014/chart" uri="{C3380CC4-5D6E-409C-BE32-E72D297353CC}">
                <c16:uniqueId val="{00000233-BBED-4478-ADEA-C6DC6634738A}"/>
              </c:ext>
            </c:extLst>
          </c:dPt>
          <c:dPt>
            <c:idx val="281"/>
            <c:invertIfNegative val="1"/>
            <c:bubble3D val="0"/>
            <c:spPr>
              <a:solidFill>
                <a:srgbClr val="AEABAB"/>
              </a:solidFill>
            </c:spPr>
            <c:extLst>
              <c:ext xmlns:c16="http://schemas.microsoft.com/office/drawing/2014/chart" uri="{C3380CC4-5D6E-409C-BE32-E72D297353CC}">
                <c16:uniqueId val="{00000235-BBED-4478-ADEA-C6DC6634738A}"/>
              </c:ext>
            </c:extLst>
          </c:dPt>
          <c:dPt>
            <c:idx val="282"/>
            <c:invertIfNegative val="1"/>
            <c:bubble3D val="0"/>
            <c:spPr>
              <a:solidFill>
                <a:srgbClr val="AEABAB"/>
              </a:solidFill>
            </c:spPr>
            <c:extLst>
              <c:ext xmlns:c16="http://schemas.microsoft.com/office/drawing/2014/chart" uri="{C3380CC4-5D6E-409C-BE32-E72D297353CC}">
                <c16:uniqueId val="{00000237-BBED-4478-ADEA-C6DC6634738A}"/>
              </c:ext>
            </c:extLst>
          </c:dPt>
          <c:dPt>
            <c:idx val="283"/>
            <c:invertIfNegative val="1"/>
            <c:bubble3D val="0"/>
            <c:spPr>
              <a:solidFill>
                <a:srgbClr val="AEABAB"/>
              </a:solidFill>
            </c:spPr>
            <c:extLst>
              <c:ext xmlns:c16="http://schemas.microsoft.com/office/drawing/2014/chart" uri="{C3380CC4-5D6E-409C-BE32-E72D297353CC}">
                <c16:uniqueId val="{00000239-BBED-4478-ADEA-C6DC6634738A}"/>
              </c:ext>
            </c:extLst>
          </c:dPt>
          <c:dPt>
            <c:idx val="284"/>
            <c:invertIfNegative val="1"/>
            <c:bubble3D val="0"/>
            <c:spPr>
              <a:solidFill>
                <a:srgbClr val="AEABAB"/>
              </a:solidFill>
            </c:spPr>
            <c:extLst>
              <c:ext xmlns:c16="http://schemas.microsoft.com/office/drawing/2014/chart" uri="{C3380CC4-5D6E-409C-BE32-E72D297353CC}">
                <c16:uniqueId val="{0000023B-BBED-4478-ADEA-C6DC6634738A}"/>
              </c:ext>
            </c:extLst>
          </c:dPt>
          <c:dPt>
            <c:idx val="285"/>
            <c:invertIfNegative val="1"/>
            <c:bubble3D val="0"/>
            <c:spPr>
              <a:solidFill>
                <a:srgbClr val="AEABAB"/>
              </a:solidFill>
            </c:spPr>
            <c:extLst>
              <c:ext xmlns:c16="http://schemas.microsoft.com/office/drawing/2014/chart" uri="{C3380CC4-5D6E-409C-BE32-E72D297353CC}">
                <c16:uniqueId val="{0000023D-BBED-4478-ADEA-C6DC6634738A}"/>
              </c:ext>
            </c:extLst>
          </c:dPt>
          <c:dPt>
            <c:idx val="286"/>
            <c:invertIfNegative val="1"/>
            <c:bubble3D val="0"/>
            <c:spPr>
              <a:solidFill>
                <a:srgbClr val="AEABAB"/>
              </a:solidFill>
            </c:spPr>
            <c:extLst>
              <c:ext xmlns:c16="http://schemas.microsoft.com/office/drawing/2014/chart" uri="{C3380CC4-5D6E-409C-BE32-E72D297353CC}">
                <c16:uniqueId val="{0000023F-BBED-4478-ADEA-C6DC6634738A}"/>
              </c:ext>
            </c:extLst>
          </c:dPt>
          <c:dPt>
            <c:idx val="287"/>
            <c:invertIfNegative val="1"/>
            <c:bubble3D val="0"/>
            <c:spPr>
              <a:solidFill>
                <a:srgbClr val="AEABAB"/>
              </a:solidFill>
            </c:spPr>
            <c:extLst>
              <c:ext xmlns:c16="http://schemas.microsoft.com/office/drawing/2014/chart" uri="{C3380CC4-5D6E-409C-BE32-E72D297353CC}">
                <c16:uniqueId val="{00000241-BBED-4478-ADEA-C6DC6634738A}"/>
              </c:ext>
            </c:extLst>
          </c:dPt>
          <c:dPt>
            <c:idx val="288"/>
            <c:invertIfNegative val="1"/>
            <c:bubble3D val="0"/>
            <c:spPr>
              <a:solidFill>
                <a:srgbClr val="AEABAB"/>
              </a:solidFill>
            </c:spPr>
            <c:extLst>
              <c:ext xmlns:c16="http://schemas.microsoft.com/office/drawing/2014/chart" uri="{C3380CC4-5D6E-409C-BE32-E72D297353CC}">
                <c16:uniqueId val="{00000243-BBED-4478-ADEA-C6DC6634738A}"/>
              </c:ext>
            </c:extLst>
          </c:dPt>
          <c:dPt>
            <c:idx val="289"/>
            <c:invertIfNegative val="1"/>
            <c:bubble3D val="0"/>
            <c:spPr>
              <a:solidFill>
                <a:srgbClr val="AEABAB"/>
              </a:solidFill>
            </c:spPr>
            <c:extLst>
              <c:ext xmlns:c16="http://schemas.microsoft.com/office/drawing/2014/chart" uri="{C3380CC4-5D6E-409C-BE32-E72D297353CC}">
                <c16:uniqueId val="{00000245-BBED-4478-ADEA-C6DC6634738A}"/>
              </c:ext>
            </c:extLst>
          </c:dPt>
          <c:dPt>
            <c:idx val="290"/>
            <c:invertIfNegative val="1"/>
            <c:bubble3D val="0"/>
            <c:spPr>
              <a:solidFill>
                <a:srgbClr val="AEABAB"/>
              </a:solidFill>
            </c:spPr>
            <c:extLst>
              <c:ext xmlns:c16="http://schemas.microsoft.com/office/drawing/2014/chart" uri="{C3380CC4-5D6E-409C-BE32-E72D297353CC}">
                <c16:uniqueId val="{00000247-BBED-4478-ADEA-C6DC6634738A}"/>
              </c:ext>
            </c:extLst>
          </c:dPt>
          <c:dPt>
            <c:idx val="291"/>
            <c:invertIfNegative val="1"/>
            <c:bubble3D val="0"/>
            <c:spPr>
              <a:solidFill>
                <a:srgbClr val="AEABAB"/>
              </a:solidFill>
            </c:spPr>
            <c:extLst>
              <c:ext xmlns:c16="http://schemas.microsoft.com/office/drawing/2014/chart" uri="{C3380CC4-5D6E-409C-BE32-E72D297353CC}">
                <c16:uniqueId val="{00000249-BBED-4478-ADEA-C6DC6634738A}"/>
              </c:ext>
            </c:extLst>
          </c:dPt>
          <c:dPt>
            <c:idx val="292"/>
            <c:invertIfNegative val="1"/>
            <c:bubble3D val="0"/>
            <c:spPr>
              <a:solidFill>
                <a:srgbClr val="AEABAB"/>
              </a:solidFill>
            </c:spPr>
            <c:extLst>
              <c:ext xmlns:c16="http://schemas.microsoft.com/office/drawing/2014/chart" uri="{C3380CC4-5D6E-409C-BE32-E72D297353CC}">
                <c16:uniqueId val="{0000024B-BBED-4478-ADEA-C6DC6634738A}"/>
              </c:ext>
            </c:extLst>
          </c:dPt>
          <c:dPt>
            <c:idx val="293"/>
            <c:invertIfNegative val="1"/>
            <c:bubble3D val="0"/>
            <c:spPr>
              <a:solidFill>
                <a:srgbClr val="AEABAB"/>
              </a:solidFill>
            </c:spPr>
            <c:extLst>
              <c:ext xmlns:c16="http://schemas.microsoft.com/office/drawing/2014/chart" uri="{C3380CC4-5D6E-409C-BE32-E72D297353CC}">
                <c16:uniqueId val="{0000024D-BBED-4478-ADEA-C6DC6634738A}"/>
              </c:ext>
            </c:extLst>
          </c:dPt>
          <c:dPt>
            <c:idx val="294"/>
            <c:invertIfNegative val="1"/>
            <c:bubble3D val="0"/>
            <c:spPr>
              <a:solidFill>
                <a:srgbClr val="AEABAB"/>
              </a:solidFill>
            </c:spPr>
            <c:extLst>
              <c:ext xmlns:c16="http://schemas.microsoft.com/office/drawing/2014/chart" uri="{C3380CC4-5D6E-409C-BE32-E72D297353CC}">
                <c16:uniqueId val="{0000024F-BBED-4478-ADEA-C6DC6634738A}"/>
              </c:ext>
            </c:extLst>
          </c:dPt>
          <c:dPt>
            <c:idx val="295"/>
            <c:invertIfNegative val="1"/>
            <c:bubble3D val="0"/>
            <c:spPr>
              <a:solidFill>
                <a:srgbClr val="AEABAB"/>
              </a:solidFill>
            </c:spPr>
            <c:extLst>
              <c:ext xmlns:c16="http://schemas.microsoft.com/office/drawing/2014/chart" uri="{C3380CC4-5D6E-409C-BE32-E72D297353CC}">
                <c16:uniqueId val="{00000251-BBED-4478-ADEA-C6DC6634738A}"/>
              </c:ext>
            </c:extLst>
          </c:dPt>
          <c:dPt>
            <c:idx val="296"/>
            <c:invertIfNegative val="1"/>
            <c:bubble3D val="0"/>
            <c:spPr>
              <a:solidFill>
                <a:srgbClr val="AEABAB"/>
              </a:solidFill>
            </c:spPr>
            <c:extLst>
              <c:ext xmlns:c16="http://schemas.microsoft.com/office/drawing/2014/chart" uri="{C3380CC4-5D6E-409C-BE32-E72D297353CC}">
                <c16:uniqueId val="{00000253-BBED-4478-ADEA-C6DC6634738A}"/>
              </c:ext>
            </c:extLst>
          </c:dPt>
          <c:dPt>
            <c:idx val="297"/>
            <c:invertIfNegative val="1"/>
            <c:bubble3D val="0"/>
            <c:spPr>
              <a:solidFill>
                <a:srgbClr val="AEABAB"/>
              </a:solidFill>
            </c:spPr>
            <c:extLst>
              <c:ext xmlns:c16="http://schemas.microsoft.com/office/drawing/2014/chart" uri="{C3380CC4-5D6E-409C-BE32-E72D297353CC}">
                <c16:uniqueId val="{00000255-BBED-4478-ADEA-C6DC6634738A}"/>
              </c:ext>
            </c:extLst>
          </c:dPt>
          <c:dPt>
            <c:idx val="298"/>
            <c:invertIfNegative val="1"/>
            <c:bubble3D val="0"/>
            <c:spPr>
              <a:solidFill>
                <a:srgbClr val="AEABAB"/>
              </a:solidFill>
            </c:spPr>
            <c:extLst>
              <c:ext xmlns:c16="http://schemas.microsoft.com/office/drawing/2014/chart" uri="{C3380CC4-5D6E-409C-BE32-E72D297353CC}">
                <c16:uniqueId val="{00000257-BBED-4478-ADEA-C6DC6634738A}"/>
              </c:ext>
            </c:extLst>
          </c:dPt>
          <c:dPt>
            <c:idx val="299"/>
            <c:invertIfNegative val="1"/>
            <c:bubble3D val="0"/>
            <c:spPr>
              <a:solidFill>
                <a:srgbClr val="AEABAB"/>
              </a:solidFill>
            </c:spPr>
            <c:extLst>
              <c:ext xmlns:c16="http://schemas.microsoft.com/office/drawing/2014/chart" uri="{C3380CC4-5D6E-409C-BE32-E72D297353CC}">
                <c16:uniqueId val="{00000259-BBED-4478-ADEA-C6DC6634738A}"/>
              </c:ext>
            </c:extLst>
          </c:dPt>
          <c:dPt>
            <c:idx val="300"/>
            <c:invertIfNegative val="1"/>
            <c:bubble3D val="0"/>
            <c:spPr>
              <a:solidFill>
                <a:srgbClr val="AEABAB"/>
              </a:solidFill>
            </c:spPr>
            <c:extLst>
              <c:ext xmlns:c16="http://schemas.microsoft.com/office/drawing/2014/chart" uri="{C3380CC4-5D6E-409C-BE32-E72D297353CC}">
                <c16:uniqueId val="{0000025B-BBED-4478-ADEA-C6DC6634738A}"/>
              </c:ext>
            </c:extLst>
          </c:dPt>
          <c:dPt>
            <c:idx val="301"/>
            <c:invertIfNegative val="1"/>
            <c:bubble3D val="0"/>
            <c:spPr>
              <a:solidFill>
                <a:srgbClr val="AEABAB"/>
              </a:solidFill>
            </c:spPr>
            <c:extLst>
              <c:ext xmlns:c16="http://schemas.microsoft.com/office/drawing/2014/chart" uri="{C3380CC4-5D6E-409C-BE32-E72D297353CC}">
                <c16:uniqueId val="{0000025D-BBED-4478-ADEA-C6DC6634738A}"/>
              </c:ext>
            </c:extLst>
          </c:dPt>
          <c:dPt>
            <c:idx val="302"/>
            <c:invertIfNegative val="1"/>
            <c:bubble3D val="0"/>
            <c:spPr>
              <a:solidFill>
                <a:srgbClr val="AEABAB"/>
              </a:solidFill>
            </c:spPr>
            <c:extLst>
              <c:ext xmlns:c16="http://schemas.microsoft.com/office/drawing/2014/chart" uri="{C3380CC4-5D6E-409C-BE32-E72D297353CC}">
                <c16:uniqueId val="{0000025F-BBED-4478-ADEA-C6DC6634738A}"/>
              </c:ext>
            </c:extLst>
          </c:dPt>
          <c:dPt>
            <c:idx val="303"/>
            <c:invertIfNegative val="1"/>
            <c:bubble3D val="0"/>
            <c:spPr>
              <a:solidFill>
                <a:srgbClr val="AEABAB"/>
              </a:solidFill>
            </c:spPr>
            <c:extLst>
              <c:ext xmlns:c16="http://schemas.microsoft.com/office/drawing/2014/chart" uri="{C3380CC4-5D6E-409C-BE32-E72D297353CC}">
                <c16:uniqueId val="{00000261-BBED-4478-ADEA-C6DC6634738A}"/>
              </c:ext>
            </c:extLst>
          </c:dPt>
          <c:dPt>
            <c:idx val="304"/>
            <c:invertIfNegative val="1"/>
            <c:bubble3D val="0"/>
            <c:spPr>
              <a:solidFill>
                <a:srgbClr val="AEABAB"/>
              </a:solidFill>
            </c:spPr>
            <c:extLst>
              <c:ext xmlns:c16="http://schemas.microsoft.com/office/drawing/2014/chart" uri="{C3380CC4-5D6E-409C-BE32-E72D297353CC}">
                <c16:uniqueId val="{00000263-BBED-4478-ADEA-C6DC6634738A}"/>
              </c:ext>
            </c:extLst>
          </c:dPt>
          <c:dPt>
            <c:idx val="305"/>
            <c:invertIfNegative val="1"/>
            <c:bubble3D val="0"/>
            <c:spPr>
              <a:solidFill>
                <a:srgbClr val="AEABAB"/>
              </a:solidFill>
            </c:spPr>
            <c:extLst>
              <c:ext xmlns:c16="http://schemas.microsoft.com/office/drawing/2014/chart" uri="{C3380CC4-5D6E-409C-BE32-E72D297353CC}">
                <c16:uniqueId val="{00000265-BBED-4478-ADEA-C6DC6634738A}"/>
              </c:ext>
            </c:extLst>
          </c:dPt>
          <c:dPt>
            <c:idx val="306"/>
            <c:invertIfNegative val="1"/>
            <c:bubble3D val="0"/>
            <c:spPr>
              <a:solidFill>
                <a:srgbClr val="AEABAB"/>
              </a:solidFill>
            </c:spPr>
            <c:extLst>
              <c:ext xmlns:c16="http://schemas.microsoft.com/office/drawing/2014/chart" uri="{C3380CC4-5D6E-409C-BE32-E72D297353CC}">
                <c16:uniqueId val="{00000267-BBED-4478-ADEA-C6DC6634738A}"/>
              </c:ext>
            </c:extLst>
          </c:dPt>
          <c:dPt>
            <c:idx val="307"/>
            <c:invertIfNegative val="1"/>
            <c:bubble3D val="0"/>
            <c:spPr>
              <a:solidFill>
                <a:srgbClr val="AEABAB"/>
              </a:solidFill>
            </c:spPr>
            <c:extLst>
              <c:ext xmlns:c16="http://schemas.microsoft.com/office/drawing/2014/chart" uri="{C3380CC4-5D6E-409C-BE32-E72D297353CC}">
                <c16:uniqueId val="{00000269-BBED-4478-ADEA-C6DC6634738A}"/>
              </c:ext>
            </c:extLst>
          </c:dPt>
          <c:dPt>
            <c:idx val="308"/>
            <c:invertIfNegative val="1"/>
            <c:bubble3D val="0"/>
            <c:spPr>
              <a:solidFill>
                <a:srgbClr val="AEABAB"/>
              </a:solidFill>
            </c:spPr>
            <c:extLst>
              <c:ext xmlns:c16="http://schemas.microsoft.com/office/drawing/2014/chart" uri="{C3380CC4-5D6E-409C-BE32-E72D297353CC}">
                <c16:uniqueId val="{0000026B-BBED-4478-ADEA-C6DC6634738A}"/>
              </c:ext>
            </c:extLst>
          </c:dPt>
          <c:dPt>
            <c:idx val="309"/>
            <c:invertIfNegative val="1"/>
            <c:bubble3D val="0"/>
            <c:spPr>
              <a:solidFill>
                <a:srgbClr val="AEABAB"/>
              </a:solidFill>
            </c:spPr>
            <c:extLst>
              <c:ext xmlns:c16="http://schemas.microsoft.com/office/drawing/2014/chart" uri="{C3380CC4-5D6E-409C-BE32-E72D297353CC}">
                <c16:uniqueId val="{0000026D-BBED-4478-ADEA-C6DC6634738A}"/>
              </c:ext>
            </c:extLst>
          </c:dPt>
          <c:dPt>
            <c:idx val="310"/>
            <c:invertIfNegative val="1"/>
            <c:bubble3D val="0"/>
            <c:spPr>
              <a:solidFill>
                <a:srgbClr val="AEABAB"/>
              </a:solidFill>
            </c:spPr>
            <c:extLst>
              <c:ext xmlns:c16="http://schemas.microsoft.com/office/drawing/2014/chart" uri="{C3380CC4-5D6E-409C-BE32-E72D297353CC}">
                <c16:uniqueId val="{0000026F-BBED-4478-ADEA-C6DC6634738A}"/>
              </c:ext>
            </c:extLst>
          </c:dPt>
          <c:cat>
            <c:strRef>
              <c:f>Sheet1!$A$2:$A$312</c:f>
              <c:strCache>
                <c:ptCount val="311"/>
                <c:pt idx="0">
                  <c:v>Ruinart</c:v>
                </c:pt>
                <c:pt idx="1">
                  <c:v>Nicolas</c:v>
                </c:pt>
                <c:pt idx="2">
                  <c:v>Deutz</c:v>
                </c:pt>
                <c:pt idx="3">
                  <c:v>Ruinart</c:v>
                </c:pt>
                <c:pt idx="4">
                  <c:v>Laurent Per</c:v>
                </c:pt>
                <c:pt idx="5">
                  <c:v>Malard</c:v>
                </c:pt>
                <c:pt idx="6">
                  <c:v>Ruinart</c:v>
                </c:pt>
                <c:pt idx="7">
                  <c:v>Ayala</c:v>
                </c:pt>
                <c:pt idx="8">
                  <c:v>Heidsieck &amp;</c:v>
                </c:pt>
                <c:pt idx="9">
                  <c:v>Nicolas Feu</c:v>
                </c:pt>
                <c:pt idx="10">
                  <c:v>Ruinart</c:v>
                </c:pt>
                <c:pt idx="11">
                  <c:v>Taittinger</c:v>
                </c:pt>
                <c:pt idx="12">
                  <c:v>Bollinger</c:v>
                </c:pt>
                <c:pt idx="13">
                  <c:v>De Bligny</c:v>
                </c:pt>
                <c:pt idx="14">
                  <c:v>Canard Duch</c:v>
                </c:pt>
                <c:pt idx="15">
                  <c:v>Besserat De</c:v>
                </c:pt>
                <c:pt idx="16">
                  <c:v>All Others</c:v>
                </c:pt>
                <c:pt idx="17">
                  <c:v>Perrier Jou</c:v>
                </c:pt>
                <c:pt idx="18">
                  <c:v>Dom Perigno</c:v>
                </c:pt>
                <c:pt idx="19">
                  <c:v>Vesselle</c:v>
                </c:pt>
                <c:pt idx="20">
                  <c:v>Deutz</c:v>
                </c:pt>
                <c:pt idx="21">
                  <c:v>Laurent Per</c:v>
                </c:pt>
                <c:pt idx="22">
                  <c:v>Ruinart</c:v>
                </c:pt>
                <c:pt idx="23">
                  <c:v>Demoiselle</c:v>
                </c:pt>
                <c:pt idx="24">
                  <c:v>Campari: Al</c:v>
                </c:pt>
                <c:pt idx="25">
                  <c:v>Veuve Clicq</c:v>
                </c:pt>
                <c:pt idx="26">
                  <c:v>Pommery</c:v>
                </c:pt>
                <c:pt idx="27">
                  <c:v>Dom Perigno</c:v>
                </c:pt>
                <c:pt idx="28">
                  <c:v>Ruinart</c:v>
                </c:pt>
                <c:pt idx="29">
                  <c:v>Laurent Per</c:v>
                </c:pt>
                <c:pt idx="30">
                  <c:v>All Others</c:v>
                </c:pt>
                <c:pt idx="31">
                  <c:v>Roederer</c:v>
                </c:pt>
                <c:pt idx="32">
                  <c:v>Veuve Clicq</c:v>
                </c:pt>
                <c:pt idx="33">
                  <c:v>Savian</c:v>
                </c:pt>
                <c:pt idx="34">
                  <c:v>Deutz</c:v>
                </c:pt>
                <c:pt idx="35">
                  <c:v>Moët &amp; Chan</c:v>
                </c:pt>
                <c:pt idx="36">
                  <c:v>Ruinart</c:v>
                </c:pt>
                <c:pt idx="37">
                  <c:v>Ruinart</c:v>
                </c:pt>
                <c:pt idx="38">
                  <c:v>Roederer</c:v>
                </c:pt>
                <c:pt idx="39">
                  <c:v>Malard</c:v>
                </c:pt>
                <c:pt idx="40">
                  <c:v>Taittinger</c:v>
                </c:pt>
                <c:pt idx="41">
                  <c:v>Henriot</c:v>
                </c:pt>
                <c:pt idx="42">
                  <c:v>Veuve Clicq</c:v>
                </c:pt>
                <c:pt idx="43">
                  <c:v>Nicolas Feu</c:v>
                </c:pt>
                <c:pt idx="44">
                  <c:v>All Others</c:v>
                </c:pt>
                <c:pt idx="45">
                  <c:v>Louis Marti</c:v>
                </c:pt>
                <c:pt idx="46">
                  <c:v>Malard</c:v>
                </c:pt>
                <c:pt idx="47">
                  <c:v>Ruinart</c:v>
                </c:pt>
                <c:pt idx="48">
                  <c:v>Nicolas Feu</c:v>
                </c:pt>
                <c:pt idx="49">
                  <c:v>Moët &amp; Chan</c:v>
                </c:pt>
                <c:pt idx="50">
                  <c:v>Nicolas</c:v>
                </c:pt>
                <c:pt idx="51">
                  <c:v>Deutz</c:v>
                </c:pt>
                <c:pt idx="52">
                  <c:v>Piper Heids</c:v>
                </c:pt>
                <c:pt idx="53">
                  <c:v>Demoiselle</c:v>
                </c:pt>
                <c:pt idx="54">
                  <c:v>De Venoge</c:v>
                </c:pt>
                <c:pt idx="55">
                  <c:v>Moët &amp; Chan</c:v>
                </c:pt>
                <c:pt idx="56">
                  <c:v>Krug</c:v>
                </c:pt>
                <c:pt idx="57">
                  <c:v>Besserat De</c:v>
                </c:pt>
                <c:pt idx="58">
                  <c:v>Ruinart</c:v>
                </c:pt>
                <c:pt idx="59">
                  <c:v>Delamotte</c:v>
                </c:pt>
                <c:pt idx="60">
                  <c:v>Roederer</c:v>
                </c:pt>
                <c:pt idx="61">
                  <c:v>Bollinger</c:v>
                </c:pt>
                <c:pt idx="62">
                  <c:v>Campari: Al</c:v>
                </c:pt>
                <c:pt idx="63">
                  <c:v>Laurent Per</c:v>
                </c:pt>
                <c:pt idx="64">
                  <c:v>Nicolas</c:v>
                </c:pt>
                <c:pt idx="65">
                  <c:v>Lanson</c:v>
                </c:pt>
                <c:pt idx="66">
                  <c:v>Roederer</c:v>
                </c:pt>
                <c:pt idx="67">
                  <c:v>Malard</c:v>
                </c:pt>
                <c:pt idx="68">
                  <c:v>Nicolas Feu</c:v>
                </c:pt>
                <c:pt idx="69">
                  <c:v>Nicolas</c:v>
                </c:pt>
                <c:pt idx="70">
                  <c:v>Canard Duch</c:v>
                </c:pt>
                <c:pt idx="71">
                  <c:v>Henriot</c:v>
                </c:pt>
                <c:pt idx="72">
                  <c:v>Vranken</c:v>
                </c:pt>
                <c:pt idx="73">
                  <c:v>Henriot</c:v>
                </c:pt>
                <c:pt idx="74">
                  <c:v>De Bligny</c:v>
                </c:pt>
                <c:pt idx="75">
                  <c:v>Roederer</c:v>
                </c:pt>
                <c:pt idx="76">
                  <c:v>Pommery</c:v>
                </c:pt>
                <c:pt idx="77">
                  <c:v>Roederer</c:v>
                </c:pt>
                <c:pt idx="78">
                  <c:v>Malard</c:v>
                </c:pt>
                <c:pt idx="79">
                  <c:v>Roederer</c:v>
                </c:pt>
                <c:pt idx="80">
                  <c:v>Besserat De</c:v>
                </c:pt>
                <c:pt idx="81">
                  <c:v>Nicolas</c:v>
                </c:pt>
                <c:pt idx="82">
                  <c:v>Ruinart</c:v>
                </c:pt>
                <c:pt idx="83">
                  <c:v>Henriot</c:v>
                </c:pt>
                <c:pt idx="84">
                  <c:v>Laurent Per</c:v>
                </c:pt>
                <c:pt idx="85">
                  <c:v>Roederer</c:v>
                </c:pt>
                <c:pt idx="86">
                  <c:v>Deutz</c:v>
                </c:pt>
                <c:pt idx="87">
                  <c:v>Moët &amp; Chan</c:v>
                </c:pt>
                <c:pt idx="88">
                  <c:v>Roederer</c:v>
                </c:pt>
                <c:pt idx="89">
                  <c:v>Perrier Jou</c:v>
                </c:pt>
                <c:pt idx="90">
                  <c:v>Ruinart</c:v>
                </c:pt>
                <c:pt idx="91">
                  <c:v>Laurent Per</c:v>
                </c:pt>
                <c:pt idx="92">
                  <c:v>Bollinger</c:v>
                </c:pt>
                <c:pt idx="93">
                  <c:v>Roederer</c:v>
                </c:pt>
                <c:pt idx="94">
                  <c:v>Ruinart</c:v>
                </c:pt>
                <c:pt idx="95">
                  <c:v>Deutz</c:v>
                </c:pt>
                <c:pt idx="96">
                  <c:v>De Venoge</c:v>
                </c:pt>
                <c:pt idx="97">
                  <c:v>Vranken</c:v>
                </c:pt>
                <c:pt idx="98">
                  <c:v>Ayala</c:v>
                </c:pt>
                <c:pt idx="99">
                  <c:v>De Venoge</c:v>
                </c:pt>
                <c:pt idx="100">
                  <c:v>Bollinger</c:v>
                </c:pt>
                <c:pt idx="101">
                  <c:v>Ruinart</c:v>
                </c:pt>
                <c:pt idx="102">
                  <c:v>Taittinger</c:v>
                </c:pt>
                <c:pt idx="103">
                  <c:v>Nicolas Feu</c:v>
                </c:pt>
                <c:pt idx="104">
                  <c:v>Dom Perigno</c:v>
                </c:pt>
                <c:pt idx="105">
                  <c:v>Canard Duch</c:v>
                </c:pt>
                <c:pt idx="106">
                  <c:v>Nicolas</c:v>
                </c:pt>
                <c:pt idx="107">
                  <c:v>Nicolas</c:v>
                </c:pt>
                <c:pt idx="108">
                  <c:v>Malard</c:v>
                </c:pt>
                <c:pt idx="109">
                  <c:v>Perrier Jou</c:v>
                </c:pt>
                <c:pt idx="110">
                  <c:v>Ruinart</c:v>
                </c:pt>
                <c:pt idx="111">
                  <c:v>Dom Perigno</c:v>
                </c:pt>
                <c:pt idx="112">
                  <c:v>Canard Duch</c:v>
                </c:pt>
                <c:pt idx="113">
                  <c:v>Dom Perigno</c:v>
                </c:pt>
                <c:pt idx="114">
                  <c:v>Laurent Per</c:v>
                </c:pt>
                <c:pt idx="115">
                  <c:v>Demoiselle</c:v>
                </c:pt>
                <c:pt idx="116">
                  <c:v>Taittinger</c:v>
                </c:pt>
                <c:pt idx="117">
                  <c:v>De Venoge</c:v>
                </c:pt>
                <c:pt idx="118">
                  <c:v>Roederer</c:v>
                </c:pt>
                <c:pt idx="119">
                  <c:v>Laurent Per</c:v>
                </c:pt>
                <c:pt idx="120">
                  <c:v>Nicolas</c:v>
                </c:pt>
                <c:pt idx="121">
                  <c:v>Canard Duch</c:v>
                </c:pt>
                <c:pt idx="122">
                  <c:v>Bollinger</c:v>
                </c:pt>
                <c:pt idx="123">
                  <c:v>Pommery</c:v>
                </c:pt>
                <c:pt idx="124">
                  <c:v>Nicolas</c:v>
                </c:pt>
                <c:pt idx="125">
                  <c:v>Nicolas</c:v>
                </c:pt>
                <c:pt idx="126">
                  <c:v>Laurent Per</c:v>
                </c:pt>
                <c:pt idx="127">
                  <c:v>All Others</c:v>
                </c:pt>
                <c:pt idx="128">
                  <c:v>All Others</c:v>
                </c:pt>
                <c:pt idx="129">
                  <c:v>Veuve Clicq</c:v>
                </c:pt>
                <c:pt idx="130">
                  <c:v>Roederer</c:v>
                </c:pt>
                <c:pt idx="131">
                  <c:v>Ruinart</c:v>
                </c:pt>
                <c:pt idx="132">
                  <c:v>Pommery</c:v>
                </c:pt>
                <c:pt idx="133">
                  <c:v>Deutz</c:v>
                </c:pt>
                <c:pt idx="134">
                  <c:v>Moët &amp; Chan</c:v>
                </c:pt>
                <c:pt idx="135">
                  <c:v>Nicolas</c:v>
                </c:pt>
                <c:pt idx="136">
                  <c:v>Roederer</c:v>
                </c:pt>
                <c:pt idx="137">
                  <c:v>Ruinart</c:v>
                </c:pt>
                <c:pt idx="138">
                  <c:v>Nicolas</c:v>
                </c:pt>
                <c:pt idx="139">
                  <c:v>Pommery</c:v>
                </c:pt>
                <c:pt idx="140">
                  <c:v>All Others</c:v>
                </c:pt>
                <c:pt idx="141">
                  <c:v>Roederer</c:v>
                </c:pt>
                <c:pt idx="142">
                  <c:v>Besserat De</c:v>
                </c:pt>
                <c:pt idx="143">
                  <c:v>Nicolas</c:v>
                </c:pt>
                <c:pt idx="144">
                  <c:v>Ruinart</c:v>
                </c:pt>
                <c:pt idx="145">
                  <c:v>Lanson</c:v>
                </c:pt>
                <c:pt idx="146">
                  <c:v>Canard Duch</c:v>
                </c:pt>
                <c:pt idx="147">
                  <c:v>Ruinart</c:v>
                </c:pt>
                <c:pt idx="148">
                  <c:v>Pommery</c:v>
                </c:pt>
                <c:pt idx="149">
                  <c:v>All Others</c:v>
                </c:pt>
                <c:pt idx="150">
                  <c:v>Krug</c:v>
                </c:pt>
                <c:pt idx="151">
                  <c:v>Taittinger</c:v>
                </c:pt>
                <c:pt idx="152">
                  <c:v>Nicolas</c:v>
                </c:pt>
                <c:pt idx="153">
                  <c:v>Deutz</c:v>
                </c:pt>
                <c:pt idx="154">
                  <c:v>Laurent Per</c:v>
                </c:pt>
                <c:pt idx="155">
                  <c:v>Taittinger</c:v>
                </c:pt>
                <c:pt idx="156">
                  <c:v>Laurent Per</c:v>
                </c:pt>
                <c:pt idx="157">
                  <c:v>Deutz</c:v>
                </c:pt>
                <c:pt idx="158">
                  <c:v>Piper Heids</c:v>
                </c:pt>
                <c:pt idx="159">
                  <c:v>Louis Marti</c:v>
                </c:pt>
                <c:pt idx="160">
                  <c:v>Nicolas</c:v>
                </c:pt>
                <c:pt idx="161">
                  <c:v>Pommery</c:v>
                </c:pt>
                <c:pt idx="162">
                  <c:v>Pommery</c:v>
                </c:pt>
                <c:pt idx="163">
                  <c:v>Nicolas</c:v>
                </c:pt>
                <c:pt idx="164">
                  <c:v>Laurent Per</c:v>
                </c:pt>
                <c:pt idx="165">
                  <c:v>Vesselle</c:v>
                </c:pt>
                <c:pt idx="166">
                  <c:v>Moët &amp; Chan</c:v>
                </c:pt>
                <c:pt idx="167">
                  <c:v>Vranken</c:v>
                </c:pt>
                <c:pt idx="168">
                  <c:v>Lanson</c:v>
                </c:pt>
                <c:pt idx="169">
                  <c:v>Besserat De</c:v>
                </c:pt>
                <c:pt idx="170">
                  <c:v>De Venoge</c:v>
                </c:pt>
                <c:pt idx="171">
                  <c:v>Ruinart</c:v>
                </c:pt>
                <c:pt idx="172">
                  <c:v>Ayala</c:v>
                </c:pt>
                <c:pt idx="173">
                  <c:v>Dom Perigno</c:v>
                </c:pt>
                <c:pt idx="174">
                  <c:v>Canard Duch</c:v>
                </c:pt>
                <c:pt idx="175">
                  <c:v>Perrier Jou</c:v>
                </c:pt>
                <c:pt idx="176">
                  <c:v>Delamotte</c:v>
                </c:pt>
                <c:pt idx="177">
                  <c:v>Taittinger</c:v>
                </c:pt>
                <c:pt idx="178">
                  <c:v>Bollinger</c:v>
                </c:pt>
                <c:pt idx="179">
                  <c:v>All Others</c:v>
                </c:pt>
                <c:pt idx="180">
                  <c:v>Roederer</c:v>
                </c:pt>
                <c:pt idx="181">
                  <c:v>Perrier Jou</c:v>
                </c:pt>
                <c:pt idx="182">
                  <c:v>Piper Heids</c:v>
                </c:pt>
                <c:pt idx="183">
                  <c:v>Roederer</c:v>
                </c:pt>
                <c:pt idx="184">
                  <c:v>Delamotte</c:v>
                </c:pt>
                <c:pt idx="185">
                  <c:v>Henriot</c:v>
                </c:pt>
                <c:pt idx="186">
                  <c:v>Bollinger</c:v>
                </c:pt>
                <c:pt idx="187">
                  <c:v>Nicolas</c:v>
                </c:pt>
                <c:pt idx="188">
                  <c:v>Krug</c:v>
                </c:pt>
                <c:pt idx="189">
                  <c:v>All Others</c:v>
                </c:pt>
                <c:pt idx="190">
                  <c:v>De Venoge</c:v>
                </c:pt>
                <c:pt idx="191">
                  <c:v>Canard Duch</c:v>
                </c:pt>
                <c:pt idx="192">
                  <c:v>Vesselle</c:v>
                </c:pt>
                <c:pt idx="193">
                  <c:v>All Others</c:v>
                </c:pt>
                <c:pt idx="194">
                  <c:v>Nicolas Feu</c:v>
                </c:pt>
                <c:pt idx="195">
                  <c:v>Malard</c:v>
                </c:pt>
                <c:pt idx="196">
                  <c:v>Demoiselle</c:v>
                </c:pt>
                <c:pt idx="197">
                  <c:v>Delamotte</c:v>
                </c:pt>
                <c:pt idx="198">
                  <c:v>De Venoge</c:v>
                </c:pt>
                <c:pt idx="199">
                  <c:v>Deutz</c:v>
                </c:pt>
                <c:pt idx="200">
                  <c:v>Roederer</c:v>
                </c:pt>
                <c:pt idx="201">
                  <c:v>Piper Heids</c:v>
                </c:pt>
                <c:pt idx="202">
                  <c:v>Veuve Clicq</c:v>
                </c:pt>
                <c:pt idx="203">
                  <c:v>Krug</c:v>
                </c:pt>
                <c:pt idx="204">
                  <c:v>Nicolas</c:v>
                </c:pt>
                <c:pt idx="205">
                  <c:v>Dom Perigno</c:v>
                </c:pt>
                <c:pt idx="206">
                  <c:v>All Others</c:v>
                </c:pt>
                <c:pt idx="207">
                  <c:v>Henriot</c:v>
                </c:pt>
                <c:pt idx="208">
                  <c:v>Deutz</c:v>
                </c:pt>
                <c:pt idx="209">
                  <c:v>All Others</c:v>
                </c:pt>
                <c:pt idx="210">
                  <c:v>Moët &amp; Chan</c:v>
                </c:pt>
                <c:pt idx="211">
                  <c:v>Deutz</c:v>
                </c:pt>
                <c:pt idx="212">
                  <c:v>Nicolas</c:v>
                </c:pt>
                <c:pt idx="213">
                  <c:v>All Others</c:v>
                </c:pt>
                <c:pt idx="214">
                  <c:v>De Venoge</c:v>
                </c:pt>
                <c:pt idx="215">
                  <c:v>All Others</c:v>
                </c:pt>
                <c:pt idx="216">
                  <c:v>All Others</c:v>
                </c:pt>
                <c:pt idx="217">
                  <c:v>Moët &amp; Chan</c:v>
                </c:pt>
                <c:pt idx="218">
                  <c:v>Roederer</c:v>
                </c:pt>
                <c:pt idx="219">
                  <c:v>Veuve Clicq</c:v>
                </c:pt>
                <c:pt idx="220">
                  <c:v>Heidsieck &amp;</c:v>
                </c:pt>
                <c:pt idx="221">
                  <c:v>Moët &amp; Chan</c:v>
                </c:pt>
                <c:pt idx="222">
                  <c:v>Krug</c:v>
                </c:pt>
                <c:pt idx="223">
                  <c:v>Perrier Jou</c:v>
                </c:pt>
                <c:pt idx="224">
                  <c:v>Moët &amp; Chan</c:v>
                </c:pt>
                <c:pt idx="225">
                  <c:v>All Others</c:v>
                </c:pt>
                <c:pt idx="226">
                  <c:v>Ruinart</c:v>
                </c:pt>
                <c:pt idx="227">
                  <c:v>Deutz</c:v>
                </c:pt>
                <c:pt idx="228">
                  <c:v>Perrier Jou</c:v>
                </c:pt>
                <c:pt idx="229">
                  <c:v>Ayala</c:v>
                </c:pt>
                <c:pt idx="230">
                  <c:v>All Others</c:v>
                </c:pt>
                <c:pt idx="231">
                  <c:v>All Others</c:v>
                </c:pt>
                <c:pt idx="232">
                  <c:v>All Others</c:v>
                </c:pt>
                <c:pt idx="233">
                  <c:v>Laurent Per</c:v>
                </c:pt>
                <c:pt idx="234">
                  <c:v>Roederer</c:v>
                </c:pt>
                <c:pt idx="235">
                  <c:v>Veuve Clicq</c:v>
                </c:pt>
                <c:pt idx="236">
                  <c:v>Piper Heids</c:v>
                </c:pt>
                <c:pt idx="237">
                  <c:v>All Others</c:v>
                </c:pt>
                <c:pt idx="238">
                  <c:v>Nicolas Feu</c:v>
                </c:pt>
                <c:pt idx="239">
                  <c:v>Veuve Clicq</c:v>
                </c:pt>
                <c:pt idx="240">
                  <c:v>Taittinger</c:v>
                </c:pt>
                <c:pt idx="241">
                  <c:v>Laurent Per</c:v>
                </c:pt>
                <c:pt idx="242">
                  <c:v>Pommery</c:v>
                </c:pt>
                <c:pt idx="243">
                  <c:v>De Venoge</c:v>
                </c:pt>
                <c:pt idx="244">
                  <c:v>Ruinart</c:v>
                </c:pt>
                <c:pt idx="245">
                  <c:v>Bollinger</c:v>
                </c:pt>
                <c:pt idx="246">
                  <c:v>Piper Heids</c:v>
                </c:pt>
                <c:pt idx="247">
                  <c:v>Henriot</c:v>
                </c:pt>
                <c:pt idx="248">
                  <c:v>All Others</c:v>
                </c:pt>
                <c:pt idx="249">
                  <c:v>Vesselle</c:v>
                </c:pt>
                <c:pt idx="250">
                  <c:v>Ruinart</c:v>
                </c:pt>
                <c:pt idx="251">
                  <c:v>Nicolas</c:v>
                </c:pt>
                <c:pt idx="252">
                  <c:v>Nicolas Feu</c:v>
                </c:pt>
                <c:pt idx="253">
                  <c:v>Bollinger</c:v>
                </c:pt>
                <c:pt idx="254">
                  <c:v>All Others</c:v>
                </c:pt>
                <c:pt idx="255">
                  <c:v>Nicolas</c:v>
                </c:pt>
                <c:pt idx="256">
                  <c:v>Ayala</c:v>
                </c:pt>
                <c:pt idx="257">
                  <c:v>De Bligny</c:v>
                </c:pt>
                <c:pt idx="258">
                  <c:v>Moët &amp; Chan</c:v>
                </c:pt>
                <c:pt idx="259">
                  <c:v>Canard Duch</c:v>
                </c:pt>
                <c:pt idx="260">
                  <c:v>Veuve Clicq</c:v>
                </c:pt>
                <c:pt idx="261">
                  <c:v>All Others</c:v>
                </c:pt>
                <c:pt idx="262">
                  <c:v>Veuve Clicq</c:v>
                </c:pt>
                <c:pt idx="263">
                  <c:v>De Venoge</c:v>
                </c:pt>
                <c:pt idx="264">
                  <c:v>Laurent Per</c:v>
                </c:pt>
                <c:pt idx="265">
                  <c:v>De Venoge</c:v>
                </c:pt>
                <c:pt idx="266">
                  <c:v>Bollinger</c:v>
                </c:pt>
                <c:pt idx="267">
                  <c:v>Roederer</c:v>
                </c:pt>
                <c:pt idx="268">
                  <c:v>Ruinart</c:v>
                </c:pt>
                <c:pt idx="269">
                  <c:v>Canard Duch</c:v>
                </c:pt>
                <c:pt idx="270">
                  <c:v>All Others</c:v>
                </c:pt>
                <c:pt idx="271">
                  <c:v>Bollinger</c:v>
                </c:pt>
                <c:pt idx="272">
                  <c:v>Bollinger</c:v>
                </c:pt>
                <c:pt idx="273">
                  <c:v>De Bligny</c:v>
                </c:pt>
                <c:pt idx="274">
                  <c:v>Vranken</c:v>
                </c:pt>
                <c:pt idx="275">
                  <c:v>De Venoge</c:v>
                </c:pt>
                <c:pt idx="276">
                  <c:v>Deutz</c:v>
                </c:pt>
                <c:pt idx="277">
                  <c:v>Canard Duch</c:v>
                </c:pt>
                <c:pt idx="278">
                  <c:v>Pommery</c:v>
                </c:pt>
                <c:pt idx="279">
                  <c:v>Roederer</c:v>
                </c:pt>
                <c:pt idx="280">
                  <c:v>Veuve Clicq</c:v>
                </c:pt>
                <c:pt idx="281">
                  <c:v>Ruinart</c:v>
                </c:pt>
                <c:pt idx="282">
                  <c:v>Roederer</c:v>
                </c:pt>
                <c:pt idx="283">
                  <c:v>Roederer</c:v>
                </c:pt>
                <c:pt idx="284">
                  <c:v>Demoiselle</c:v>
                </c:pt>
                <c:pt idx="285">
                  <c:v>Pommery</c:v>
                </c:pt>
                <c:pt idx="286">
                  <c:v>Bollinger</c:v>
                </c:pt>
                <c:pt idx="287">
                  <c:v>Vesselle</c:v>
                </c:pt>
                <c:pt idx="288">
                  <c:v>Besserat De</c:v>
                </c:pt>
                <c:pt idx="289">
                  <c:v>All Others</c:v>
                </c:pt>
                <c:pt idx="290">
                  <c:v>Laurent Per</c:v>
                </c:pt>
                <c:pt idx="291">
                  <c:v>All Others</c:v>
                </c:pt>
                <c:pt idx="292">
                  <c:v>Roederer</c:v>
                </c:pt>
                <c:pt idx="293">
                  <c:v>Roederer</c:v>
                </c:pt>
                <c:pt idx="294">
                  <c:v>Taittinger</c:v>
                </c:pt>
                <c:pt idx="295">
                  <c:v>Vranken</c:v>
                </c:pt>
                <c:pt idx="296">
                  <c:v>Moët &amp; Chan</c:v>
                </c:pt>
                <c:pt idx="297">
                  <c:v>Besserat De</c:v>
                </c:pt>
                <c:pt idx="298">
                  <c:v>Moët &amp; Chan</c:v>
                </c:pt>
                <c:pt idx="299">
                  <c:v>Moët &amp; Chan</c:v>
                </c:pt>
                <c:pt idx="300">
                  <c:v>Laurent Per</c:v>
                </c:pt>
                <c:pt idx="301">
                  <c:v>All Others</c:v>
                </c:pt>
                <c:pt idx="302">
                  <c:v>Besserat De</c:v>
                </c:pt>
                <c:pt idx="303">
                  <c:v>Lanson</c:v>
                </c:pt>
                <c:pt idx="304">
                  <c:v>Roederer</c:v>
                </c:pt>
                <c:pt idx="305">
                  <c:v>Roederer</c:v>
                </c:pt>
                <c:pt idx="306">
                  <c:v>Malard</c:v>
                </c:pt>
                <c:pt idx="307">
                  <c:v>Piper Heids</c:v>
                </c:pt>
                <c:pt idx="308">
                  <c:v>Martel</c:v>
                </c:pt>
                <c:pt idx="309">
                  <c:v>Vesselle</c:v>
                </c:pt>
                <c:pt idx="310">
                  <c:v>All Others</c:v>
                </c:pt>
              </c:strCache>
            </c:strRef>
          </c:cat>
          <c:val>
            <c:numRef>
              <c:f>Sheet1!$C$2:$C$312</c:f>
              <c:numCache>
                <c:formatCode>General</c:formatCode>
                <c:ptCount val="311"/>
                <c:pt idx="0">
                  <c:v>9.3978429476584704E-2</c:v>
                </c:pt>
                <c:pt idx="1">
                  <c:v>0.15318431126081397</c:v>
                </c:pt>
                <c:pt idx="2">
                  <c:v>0.20308382218636181</c:v>
                </c:pt>
                <c:pt idx="3">
                  <c:v>0.24899047251240047</c:v>
                </c:pt>
                <c:pt idx="4">
                  <c:v>0.28705109585640909</c:v>
                </c:pt>
                <c:pt idx="5">
                  <c:v>0.3165522257090238</c:v>
                </c:pt>
                <c:pt idx="6">
                  <c:v>0.34338969464448943</c:v>
                </c:pt>
                <c:pt idx="7">
                  <c:v>0.36952882403382442</c:v>
                </c:pt>
                <c:pt idx="8">
                  <c:v>0.39506668951934271</c:v>
                </c:pt>
                <c:pt idx="9">
                  <c:v>0.41858674964836384</c:v>
                </c:pt>
                <c:pt idx="10">
                  <c:v>0.44089757349040465</c:v>
                </c:pt>
                <c:pt idx="11">
                  <c:v>0.46316235874869227</c:v>
                </c:pt>
                <c:pt idx="12">
                  <c:v>0.48517866719352337</c:v>
                </c:pt>
                <c:pt idx="13">
                  <c:v>0.50590431682753634</c:v>
                </c:pt>
                <c:pt idx="14">
                  <c:v>0.52179210054195291</c:v>
                </c:pt>
                <c:pt idx="15">
                  <c:v>0.53627912746097595</c:v>
                </c:pt>
                <c:pt idx="16">
                  <c:v>0.54902826361272128</c:v>
                </c:pt>
                <c:pt idx="17">
                  <c:v>0.56151116521156241</c:v>
                </c:pt>
                <c:pt idx="18">
                  <c:v>0.57243638421381682</c:v>
                </c:pt>
                <c:pt idx="19">
                  <c:v>0.58263590359731021</c:v>
                </c:pt>
                <c:pt idx="20">
                  <c:v>0.59280464289909429</c:v>
                </c:pt>
                <c:pt idx="21">
                  <c:v>0.60290340355357352</c:v>
                </c:pt>
                <c:pt idx="22">
                  <c:v>0.61298401185217299</c:v>
                </c:pt>
                <c:pt idx="23">
                  <c:v>0.62294715599279638</c:v>
                </c:pt>
                <c:pt idx="24">
                  <c:v>0.63247858975662552</c:v>
                </c:pt>
                <c:pt idx="25">
                  <c:v>0.64189190166842502</c:v>
                </c:pt>
                <c:pt idx="26">
                  <c:v>0.65130363511449585</c:v>
                </c:pt>
                <c:pt idx="27">
                  <c:v>0.66052319035809981</c:v>
                </c:pt>
                <c:pt idx="28">
                  <c:v>0.66947138103518133</c:v>
                </c:pt>
                <c:pt idx="29">
                  <c:v>0.67831749759514148</c:v>
                </c:pt>
                <c:pt idx="30">
                  <c:v>0.68712310020139888</c:v>
                </c:pt>
                <c:pt idx="31">
                  <c:v>0.69572218687482046</c:v>
                </c:pt>
                <c:pt idx="32">
                  <c:v>0.70356584615825757</c:v>
                </c:pt>
                <c:pt idx="33">
                  <c:v>0.71131650750251318</c:v>
                </c:pt>
                <c:pt idx="34">
                  <c:v>0.71886867678138722</c:v>
                </c:pt>
                <c:pt idx="35">
                  <c:v>0.72634849971436333</c:v>
                </c:pt>
                <c:pt idx="36">
                  <c:v>0.73377412865732139</c:v>
                </c:pt>
                <c:pt idx="37">
                  <c:v>0.73980413081850405</c:v>
                </c:pt>
                <c:pt idx="38">
                  <c:v>0.74583031835417568</c:v>
                </c:pt>
                <c:pt idx="39">
                  <c:v>0.75183743276229242</c:v>
                </c:pt>
                <c:pt idx="40">
                  <c:v>0.75734627815538891</c:v>
                </c:pt>
                <c:pt idx="41">
                  <c:v>0.76283552426568757</c:v>
                </c:pt>
                <c:pt idx="42">
                  <c:v>0.76813127678541215</c:v>
                </c:pt>
                <c:pt idx="43">
                  <c:v>0.7733928292143486</c:v>
                </c:pt>
                <c:pt idx="44">
                  <c:v>0.77864648931464164</c:v>
                </c:pt>
                <c:pt idx="45">
                  <c:v>0.78378176448528369</c:v>
                </c:pt>
                <c:pt idx="46">
                  <c:v>0.78841942833495904</c:v>
                </c:pt>
                <c:pt idx="47">
                  <c:v>0.79285702165352412</c:v>
                </c:pt>
                <c:pt idx="48">
                  <c:v>0.79729251035111759</c:v>
                </c:pt>
                <c:pt idx="49">
                  <c:v>0.80157173094157164</c:v>
                </c:pt>
                <c:pt idx="50">
                  <c:v>0.80580833295735133</c:v>
                </c:pt>
                <c:pt idx="51">
                  <c:v>0.80997771864085133</c:v>
                </c:pt>
                <c:pt idx="52">
                  <c:v>0.81413763352997925</c:v>
                </c:pt>
                <c:pt idx="53">
                  <c:v>0.81827387143317698</c:v>
                </c:pt>
                <c:pt idx="54">
                  <c:v>0.82235578380754593</c:v>
                </c:pt>
                <c:pt idx="55">
                  <c:v>0.82640349609112673</c:v>
                </c:pt>
                <c:pt idx="56">
                  <c:v>0.83037978280048474</c:v>
                </c:pt>
                <c:pt idx="57">
                  <c:v>0.83422400454387646</c:v>
                </c:pt>
                <c:pt idx="58">
                  <c:v>0.83804441776252725</c:v>
                </c:pt>
                <c:pt idx="59">
                  <c:v>0.84184957247913417</c:v>
                </c:pt>
                <c:pt idx="60">
                  <c:v>0.8456477556387727</c:v>
                </c:pt>
                <c:pt idx="61">
                  <c:v>0.84939700636082216</c:v>
                </c:pt>
                <c:pt idx="62">
                  <c:v>0.85314257399617133</c:v>
                </c:pt>
                <c:pt idx="63">
                  <c:v>0.85672003503141592</c:v>
                </c:pt>
                <c:pt idx="64">
                  <c:v>0.86017306035171626</c:v>
                </c:pt>
                <c:pt idx="65">
                  <c:v>0.86355321317087574</c:v>
                </c:pt>
                <c:pt idx="66">
                  <c:v>0.86687680430142422</c:v>
                </c:pt>
                <c:pt idx="67">
                  <c:v>0.86993639703885084</c:v>
                </c:pt>
                <c:pt idx="68">
                  <c:v>0.87284064244081305</c:v>
                </c:pt>
                <c:pt idx="69">
                  <c:v>0.87568648461081411</c:v>
                </c:pt>
                <c:pt idx="70">
                  <c:v>0.87847116123382873</c:v>
                </c:pt>
                <c:pt idx="71">
                  <c:v>0.88122005930032665</c:v>
                </c:pt>
                <c:pt idx="72">
                  <c:v>0.8839213403173426</c:v>
                </c:pt>
                <c:pt idx="73">
                  <c:v>0.88636796219679803</c:v>
                </c:pt>
                <c:pt idx="74">
                  <c:v>0.88880971714025669</c:v>
                </c:pt>
                <c:pt idx="75">
                  <c:v>0.89121135274644481</c:v>
                </c:pt>
                <c:pt idx="76">
                  <c:v>0.89359694061772466</c:v>
                </c:pt>
                <c:pt idx="77">
                  <c:v>0.89595293225659167</c:v>
                </c:pt>
                <c:pt idx="78">
                  <c:v>0.89827524995991348</c:v>
                </c:pt>
                <c:pt idx="79">
                  <c:v>0.90058993841221335</c:v>
                </c:pt>
                <c:pt idx="80">
                  <c:v>0.90265246696435641</c:v>
                </c:pt>
                <c:pt idx="81">
                  <c:v>0.90446717639709662</c:v>
                </c:pt>
                <c:pt idx="82">
                  <c:v>0.90626833733233225</c:v>
                </c:pt>
                <c:pt idx="83">
                  <c:v>0.90805147745049886</c:v>
                </c:pt>
                <c:pt idx="84">
                  <c:v>0.90979384053734114</c:v>
                </c:pt>
                <c:pt idx="85">
                  <c:v>0.91148148347892255</c:v>
                </c:pt>
                <c:pt idx="86">
                  <c:v>0.91316689026072162</c:v>
                </c:pt>
                <c:pt idx="87">
                  <c:v>0.91484282624814861</c:v>
                </c:pt>
                <c:pt idx="88">
                  <c:v>0.91650915990239279</c:v>
                </c:pt>
                <c:pt idx="89">
                  <c:v>0.91816681199512928</c:v>
                </c:pt>
                <c:pt idx="90">
                  <c:v>0.91981315175014355</c:v>
                </c:pt>
                <c:pt idx="91">
                  <c:v>0.92145515072440387</c:v>
                </c:pt>
                <c:pt idx="92">
                  <c:v>0.92309030968050665</c:v>
                </c:pt>
                <c:pt idx="93">
                  <c:v>0.92471218321672632</c:v>
                </c:pt>
                <c:pt idx="94">
                  <c:v>0.92632879520051703</c:v>
                </c:pt>
                <c:pt idx="95">
                  <c:v>0.92791646864594857</c:v>
                </c:pt>
                <c:pt idx="96">
                  <c:v>0.92947217816037431</c:v>
                </c:pt>
                <c:pt idx="97">
                  <c:v>0.93100631530984146</c:v>
                </c:pt>
                <c:pt idx="98">
                  <c:v>0.93247915537351156</c:v>
                </c:pt>
                <c:pt idx="99">
                  <c:v>0.93391476995374689</c:v>
                </c:pt>
                <c:pt idx="100">
                  <c:v>0.93533091678999514</c:v>
                </c:pt>
                <c:pt idx="101">
                  <c:v>0.93670786506064785</c:v>
                </c:pt>
                <c:pt idx="102">
                  <c:v>0.93806889713520303</c:v>
                </c:pt>
                <c:pt idx="103">
                  <c:v>0.93939322988156637</c:v>
                </c:pt>
                <c:pt idx="104">
                  <c:v>0.94068204714903436</c:v>
                </c:pt>
                <c:pt idx="105">
                  <c:v>0.94193311277782477</c:v>
                </c:pt>
                <c:pt idx="106">
                  <c:v>0.94317773300488972</c:v>
                </c:pt>
                <c:pt idx="107">
                  <c:v>0.94442011707217233</c:v>
                </c:pt>
                <c:pt idx="108">
                  <c:v>0.9456473741762218</c:v>
                </c:pt>
                <c:pt idx="109">
                  <c:v>0.94687173742643527</c:v>
                </c:pt>
                <c:pt idx="110">
                  <c:v>0.9480863668046553</c:v>
                </c:pt>
                <c:pt idx="111">
                  <c:v>0.94928336998223839</c:v>
                </c:pt>
                <c:pt idx="112">
                  <c:v>0.95047037621020647</c:v>
                </c:pt>
                <c:pt idx="113">
                  <c:v>0.95161739463971462</c:v>
                </c:pt>
                <c:pt idx="114">
                  <c:v>0.95275546843009362</c:v>
                </c:pt>
                <c:pt idx="115">
                  <c:v>0.95385329134439123</c:v>
                </c:pt>
                <c:pt idx="116">
                  <c:v>0.95494716809436708</c:v>
                </c:pt>
                <c:pt idx="117">
                  <c:v>0.95603591483072481</c:v>
                </c:pt>
                <c:pt idx="118">
                  <c:v>0.9570800699102473</c:v>
                </c:pt>
                <c:pt idx="119">
                  <c:v>0.95809252413638535</c:v>
                </c:pt>
                <c:pt idx="120">
                  <c:v>0.95905959747282388</c:v>
                </c:pt>
                <c:pt idx="121">
                  <c:v>0.96001207000127209</c:v>
                </c:pt>
                <c:pt idx="122">
                  <c:v>0.96095546635178042</c:v>
                </c:pt>
                <c:pt idx="123">
                  <c:v>0.96189873116347802</c:v>
                </c:pt>
                <c:pt idx="124">
                  <c:v>0.96284186443636488</c:v>
                </c:pt>
                <c:pt idx="125">
                  <c:v>0.96378170923898365</c:v>
                </c:pt>
                <c:pt idx="126">
                  <c:v>0.96471997557587374</c:v>
                </c:pt>
                <c:pt idx="127">
                  <c:v>0.96564482495407</c:v>
                </c:pt>
                <c:pt idx="128">
                  <c:v>0.96651429649295173</c:v>
                </c:pt>
                <c:pt idx="129">
                  <c:v>0.96737995340632255</c:v>
                </c:pt>
                <c:pt idx="130">
                  <c:v>0.96823613952532128</c:v>
                </c:pt>
                <c:pt idx="131">
                  <c:v>0.96907877714681545</c:v>
                </c:pt>
                <c:pt idx="132">
                  <c:v>0.96979145442331494</c:v>
                </c:pt>
                <c:pt idx="133">
                  <c:v>0.97047177315237643</c:v>
                </c:pt>
                <c:pt idx="134">
                  <c:v>0.97113538645247599</c:v>
                </c:pt>
                <c:pt idx="135">
                  <c:v>0.97179018665225714</c:v>
                </c:pt>
                <c:pt idx="136">
                  <c:v>0.97241946832275794</c:v>
                </c:pt>
                <c:pt idx="137">
                  <c:v>0.9730307291761896</c:v>
                </c:pt>
                <c:pt idx="138">
                  <c:v>0.97363843848173182</c:v>
                </c:pt>
                <c:pt idx="139">
                  <c:v>0.97424549009322037</c:v>
                </c:pt>
                <c:pt idx="140">
                  <c:v>0.97484964785087302</c:v>
                </c:pt>
                <c:pt idx="141">
                  <c:v>0.9754364424855102</c:v>
                </c:pt>
                <c:pt idx="142">
                  <c:v>0.97598417009336247</c:v>
                </c:pt>
                <c:pt idx="143">
                  <c:v>0.97650914148695955</c:v>
                </c:pt>
                <c:pt idx="144">
                  <c:v>0.97702990363861353</c:v>
                </c:pt>
                <c:pt idx="145">
                  <c:v>0.97754921886334956</c:v>
                </c:pt>
                <c:pt idx="146">
                  <c:v>0.97805761636679556</c:v>
                </c:pt>
                <c:pt idx="147">
                  <c:v>0.97856364617164848</c:v>
                </c:pt>
                <c:pt idx="148">
                  <c:v>0.97906217826429021</c:v>
                </c:pt>
                <c:pt idx="149">
                  <c:v>0.97955939496882471</c:v>
                </c:pt>
                <c:pt idx="150">
                  <c:v>0.98003951162796521</c:v>
                </c:pt>
                <c:pt idx="151">
                  <c:v>0.98049989746549715</c:v>
                </c:pt>
                <c:pt idx="152">
                  <c:v>0.98095120712508921</c:v>
                </c:pt>
                <c:pt idx="153">
                  <c:v>0.98140093831895259</c:v>
                </c:pt>
                <c:pt idx="154">
                  <c:v>0.98184882796946582</c:v>
                </c:pt>
                <c:pt idx="155">
                  <c:v>0.98228448451058181</c:v>
                </c:pt>
                <c:pt idx="156">
                  <c:v>0.98270988102446133</c:v>
                </c:pt>
                <c:pt idx="157">
                  <c:v>0.9831172567212717</c:v>
                </c:pt>
                <c:pt idx="158">
                  <c:v>0.98350792698912026</c:v>
                </c:pt>
                <c:pt idx="159">
                  <c:v>0.98389386185978278</c:v>
                </c:pt>
                <c:pt idx="160">
                  <c:v>0.98427821826471662</c:v>
                </c:pt>
                <c:pt idx="161">
                  <c:v>0.98464179153755615</c:v>
                </c:pt>
                <c:pt idx="162">
                  <c:v>0.9850012871072632</c:v>
                </c:pt>
                <c:pt idx="163">
                  <c:v>0.98535788882313435</c:v>
                </c:pt>
                <c:pt idx="164">
                  <c:v>0.98569817972647578</c:v>
                </c:pt>
                <c:pt idx="165">
                  <c:v>0.98603465600430629</c:v>
                </c:pt>
                <c:pt idx="166">
                  <c:v>0.98636626534614003</c:v>
                </c:pt>
                <c:pt idx="167">
                  <c:v>0.98668708850549447</c:v>
                </c:pt>
                <c:pt idx="168">
                  <c:v>0.98700475473339155</c:v>
                </c:pt>
                <c:pt idx="169">
                  <c:v>0.98731137170118788</c:v>
                </c:pt>
                <c:pt idx="170">
                  <c:v>0.98761641020325552</c:v>
                </c:pt>
                <c:pt idx="171">
                  <c:v>0.98791934408435156</c:v>
                </c:pt>
                <c:pt idx="172">
                  <c:v>0.98822122565496184</c:v>
                </c:pt>
                <c:pt idx="173">
                  <c:v>0.98851047949974258</c:v>
                </c:pt>
                <c:pt idx="174">
                  <c:v>0.98879854949522683</c:v>
                </c:pt>
                <c:pt idx="175">
                  <c:v>0.9890721502215315</c:v>
                </c:pt>
                <c:pt idx="176">
                  <c:v>0.98933220245033171</c:v>
                </c:pt>
                <c:pt idx="177">
                  <c:v>0.98958857159243163</c:v>
                </c:pt>
                <c:pt idx="178">
                  <c:v>0.98982757761151607</c:v>
                </c:pt>
                <c:pt idx="179">
                  <c:v>0.99006145361698228</c:v>
                </c:pt>
                <c:pt idx="180">
                  <c:v>0.99028599036688714</c:v>
                </c:pt>
                <c:pt idx="181">
                  <c:v>0.99050105632241991</c:v>
                </c:pt>
                <c:pt idx="182">
                  <c:v>0.99071533304508841</c:v>
                </c:pt>
                <c:pt idx="183">
                  <c:v>0.99092829437964958</c:v>
                </c:pt>
                <c:pt idx="184">
                  <c:v>0.99113533646772822</c:v>
                </c:pt>
                <c:pt idx="185">
                  <c:v>0.99133290776143479</c:v>
                </c:pt>
                <c:pt idx="186">
                  <c:v>0.99152784827892693</c:v>
                </c:pt>
                <c:pt idx="187">
                  <c:v>0.99171857955447584</c:v>
                </c:pt>
                <c:pt idx="188">
                  <c:v>0.99190668005381033</c:v>
                </c:pt>
                <c:pt idx="189">
                  <c:v>0.99209241285455174</c:v>
                </c:pt>
                <c:pt idx="190">
                  <c:v>0.9922770933448074</c:v>
                </c:pt>
                <c:pt idx="191">
                  <c:v>0.99245690689906629</c:v>
                </c:pt>
                <c:pt idx="192">
                  <c:v>0.9926359312204609</c:v>
                </c:pt>
                <c:pt idx="193">
                  <c:v>0.99281456092542331</c:v>
                </c:pt>
                <c:pt idx="194">
                  <c:v>0.99298806061676748</c:v>
                </c:pt>
                <c:pt idx="195">
                  <c:v>0.99316116569167945</c:v>
                </c:pt>
                <c:pt idx="196">
                  <c:v>0.99332940383059465</c:v>
                </c:pt>
                <c:pt idx="197">
                  <c:v>0.99349422196043113</c:v>
                </c:pt>
                <c:pt idx="198">
                  <c:v>0.99365759316334956</c:v>
                </c:pt>
                <c:pt idx="199">
                  <c:v>0.99382043821102517</c:v>
                </c:pt>
                <c:pt idx="200">
                  <c:v>0.99398288864226858</c:v>
                </c:pt>
                <c:pt idx="201">
                  <c:v>0.99414389214659404</c:v>
                </c:pt>
                <c:pt idx="202">
                  <c:v>0.99430160718065141</c:v>
                </c:pt>
                <c:pt idx="203">
                  <c:v>0.994453534507037</c:v>
                </c:pt>
                <c:pt idx="204">
                  <c:v>0.99459322872402522</c:v>
                </c:pt>
                <c:pt idx="205">
                  <c:v>0.99473265986339199</c:v>
                </c:pt>
                <c:pt idx="206">
                  <c:v>0.99486906561011212</c:v>
                </c:pt>
                <c:pt idx="207">
                  <c:v>0.99499600056246018</c:v>
                </c:pt>
                <c:pt idx="208">
                  <c:v>0.9951182001176222</c:v>
                </c:pt>
                <c:pt idx="209">
                  <c:v>0.99523934736229847</c:v>
                </c:pt>
                <c:pt idx="210">
                  <c:v>0.99536023152935327</c:v>
                </c:pt>
                <c:pt idx="211">
                  <c:v>0.99547966876949012</c:v>
                </c:pt>
                <c:pt idx="212">
                  <c:v>0.99558937213763343</c:v>
                </c:pt>
                <c:pt idx="213">
                  <c:v>0.99569697088480513</c:v>
                </c:pt>
                <c:pt idx="214">
                  <c:v>0.99579667730333343</c:v>
                </c:pt>
                <c:pt idx="215">
                  <c:v>0.99589506833375452</c:v>
                </c:pt>
                <c:pt idx="216">
                  <c:v>0.99599188089844692</c:v>
                </c:pt>
                <c:pt idx="217">
                  <c:v>0.99608724653622138</c:v>
                </c:pt>
                <c:pt idx="218">
                  <c:v>0.99618195447994229</c:v>
                </c:pt>
                <c:pt idx="219">
                  <c:v>0.99627653088485246</c:v>
                </c:pt>
                <c:pt idx="220">
                  <c:v>0.99636860805235883</c:v>
                </c:pt>
                <c:pt idx="221">
                  <c:v>0.99645989598700091</c:v>
                </c:pt>
                <c:pt idx="222">
                  <c:v>0.99654671160207842</c:v>
                </c:pt>
                <c:pt idx="223">
                  <c:v>0.99663234336785933</c:v>
                </c:pt>
                <c:pt idx="224">
                  <c:v>0.99671744897839742</c:v>
                </c:pt>
                <c:pt idx="225">
                  <c:v>0.99680202843369259</c:v>
                </c:pt>
                <c:pt idx="226">
                  <c:v>0.99688424019039468</c:v>
                </c:pt>
                <c:pt idx="227">
                  <c:v>0.99696513655898955</c:v>
                </c:pt>
                <c:pt idx="228">
                  <c:v>0.99704524369472014</c:v>
                </c:pt>
                <c:pt idx="229">
                  <c:v>0.99712469313639707</c:v>
                </c:pt>
                <c:pt idx="230">
                  <c:v>0.99720361642283106</c:v>
                </c:pt>
                <c:pt idx="231">
                  <c:v>0.99728161893759004</c:v>
                </c:pt>
                <c:pt idx="232">
                  <c:v>0.99735791144780961</c:v>
                </c:pt>
                <c:pt idx="233">
                  <c:v>0.99743420395802918</c:v>
                </c:pt>
                <c:pt idx="234">
                  <c:v>0.99750812876965578</c:v>
                </c:pt>
                <c:pt idx="235">
                  <c:v>0.99757915972744637</c:v>
                </c:pt>
                <c:pt idx="236">
                  <c:v>0.99764992760761562</c:v>
                </c:pt>
                <c:pt idx="237">
                  <c:v>0.997719643177299</c:v>
                </c:pt>
                <c:pt idx="238">
                  <c:v>0.99778870105292883</c:v>
                </c:pt>
                <c:pt idx="239">
                  <c:v>0.99785775892855866</c:v>
                </c:pt>
                <c:pt idx="240">
                  <c:v>0.99792563295489189</c:v>
                </c:pt>
                <c:pt idx="241">
                  <c:v>0.99799324390360378</c:v>
                </c:pt>
                <c:pt idx="242">
                  <c:v>0.998060197158262</c:v>
                </c:pt>
                <c:pt idx="243">
                  <c:v>0.9981262296412452</c:v>
                </c:pt>
                <c:pt idx="244">
                  <c:v>0.99819173596898547</c:v>
                </c:pt>
                <c:pt idx="245">
                  <c:v>0.99825618998623999</c:v>
                </c:pt>
                <c:pt idx="246">
                  <c:v>0.99831972323181939</c:v>
                </c:pt>
                <c:pt idx="247">
                  <c:v>0.99837760030853773</c:v>
                </c:pt>
                <c:pt idx="248">
                  <c:v>0.99843534584644533</c:v>
                </c:pt>
                <c:pt idx="249">
                  <c:v>0.99849190753505634</c:v>
                </c:pt>
                <c:pt idx="250">
                  <c:v>0.998548206146046</c:v>
                </c:pt>
                <c:pt idx="251">
                  <c:v>0.99860437321822493</c:v>
                </c:pt>
                <c:pt idx="252">
                  <c:v>0.99865935644110726</c:v>
                </c:pt>
                <c:pt idx="253">
                  <c:v>0.99871302427588238</c:v>
                </c:pt>
                <c:pt idx="254">
                  <c:v>0.99876432441206453</c:v>
                </c:pt>
                <c:pt idx="255">
                  <c:v>0.99881430916013947</c:v>
                </c:pt>
                <c:pt idx="256">
                  <c:v>0.99886416236940367</c:v>
                </c:pt>
                <c:pt idx="257">
                  <c:v>0.99891296326818202</c:v>
                </c:pt>
                <c:pt idx="258">
                  <c:v>0.99896084339528535</c:v>
                </c:pt>
                <c:pt idx="259">
                  <c:v>0.99900780275071366</c:v>
                </c:pt>
                <c:pt idx="260">
                  <c:v>0.9990544990285205</c:v>
                </c:pt>
                <c:pt idx="261">
                  <c:v>0.9990993537629772</c:v>
                </c:pt>
                <c:pt idx="262">
                  <c:v>0.99914276157051596</c:v>
                </c:pt>
                <c:pt idx="263">
                  <c:v>0.99918524860637958</c:v>
                </c:pt>
                <c:pt idx="264">
                  <c:v>0.99922471024959658</c:v>
                </c:pt>
                <c:pt idx="265">
                  <c:v>0.99925864726276326</c:v>
                </c:pt>
                <c:pt idx="266">
                  <c:v>0.99929218965949773</c:v>
                </c:pt>
                <c:pt idx="267">
                  <c:v>0.99932573205623221</c:v>
                </c:pt>
                <c:pt idx="268">
                  <c:v>0.99935835368129167</c:v>
                </c:pt>
                <c:pt idx="269">
                  <c:v>0.99938926530181171</c:v>
                </c:pt>
                <c:pt idx="270">
                  <c:v>0.9994191246118459</c:v>
                </c:pt>
                <c:pt idx="271">
                  <c:v>0.99944674776209785</c:v>
                </c:pt>
                <c:pt idx="272">
                  <c:v>0.99947437091234981</c:v>
                </c:pt>
                <c:pt idx="273">
                  <c:v>0.99950199406260176</c:v>
                </c:pt>
                <c:pt idx="274">
                  <c:v>0.99952909105761079</c:v>
                </c:pt>
                <c:pt idx="275">
                  <c:v>0.99955474112570186</c:v>
                </c:pt>
                <c:pt idx="276">
                  <c:v>0.99957973349973928</c:v>
                </c:pt>
                <c:pt idx="277">
                  <c:v>0.99960327894685874</c:v>
                </c:pt>
                <c:pt idx="278">
                  <c:v>0.99962577208349246</c:v>
                </c:pt>
                <c:pt idx="279">
                  <c:v>0.99964708137082969</c:v>
                </c:pt>
                <c:pt idx="280">
                  <c:v>0.99966812758054546</c:v>
                </c:pt>
                <c:pt idx="281">
                  <c:v>0.99968733224691109</c:v>
                </c:pt>
                <c:pt idx="282">
                  <c:v>0.99970640537446598</c:v>
                </c:pt>
                <c:pt idx="283">
                  <c:v>0.99972376849748146</c:v>
                </c:pt>
                <c:pt idx="284">
                  <c:v>0.99974113162049694</c:v>
                </c:pt>
                <c:pt idx="285">
                  <c:v>0.99975810012708022</c:v>
                </c:pt>
                <c:pt idx="286">
                  <c:v>0.99977467401723141</c:v>
                </c:pt>
                <c:pt idx="287">
                  <c:v>0.99979098482976114</c:v>
                </c:pt>
                <c:pt idx="288">
                  <c:v>0.99980650640942648</c:v>
                </c:pt>
                <c:pt idx="289">
                  <c:v>0.99983544494778565</c:v>
                </c:pt>
                <c:pt idx="290">
                  <c:v>0.99984807267361508</c:v>
                </c:pt>
                <c:pt idx="291">
                  <c:v>0.99985991116658024</c:v>
                </c:pt>
                <c:pt idx="292">
                  <c:v>0.99987148658192393</c:v>
                </c:pt>
                <c:pt idx="293">
                  <c:v>0.99988279891964615</c:v>
                </c:pt>
                <c:pt idx="294">
                  <c:v>0.99989345356331472</c:v>
                </c:pt>
                <c:pt idx="295">
                  <c:v>0.99990384512936181</c:v>
                </c:pt>
                <c:pt idx="296">
                  <c:v>0.99992449672264538</c:v>
                </c:pt>
                <c:pt idx="297">
                  <c:v>0.999933704439396</c:v>
                </c:pt>
                <c:pt idx="298">
                  <c:v>0.99994212292328233</c:v>
                </c:pt>
                <c:pt idx="299">
                  <c:v>0.99995001525192573</c:v>
                </c:pt>
                <c:pt idx="300">
                  <c:v>0.99995685527008338</c:v>
                </c:pt>
                <c:pt idx="301">
                  <c:v>0.99996369528824103</c:v>
                </c:pt>
                <c:pt idx="302">
                  <c:v>0.99996895684067</c:v>
                </c:pt>
                <c:pt idx="303">
                  <c:v>0.99997369223785604</c:v>
                </c:pt>
                <c:pt idx="304">
                  <c:v>0.99997829609623134</c:v>
                </c:pt>
                <c:pt idx="305">
                  <c:v>0.99998276841579592</c:v>
                </c:pt>
                <c:pt idx="306">
                  <c:v>0.99998724073536049</c:v>
                </c:pt>
                <c:pt idx="307">
                  <c:v>0.99999158151611434</c:v>
                </c:pt>
                <c:pt idx="308">
                  <c:v>0.99999486998638243</c:v>
                </c:pt>
                <c:pt idx="309">
                  <c:v>0.99999789537902906</c:v>
                </c:pt>
                <c:pt idx="310">
                  <c:v>1.0000000000000007</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71</c:f>
              <c:strCache>
                <c:ptCount val="270"/>
                <c:pt idx="0">
                  <c:v>Ruinart</c:v>
                </c:pt>
                <c:pt idx="1">
                  <c:v>Ruinart</c:v>
                </c:pt>
                <c:pt idx="2">
                  <c:v>Deutz</c:v>
                </c:pt>
                <c:pt idx="3">
                  <c:v>Nicolas</c:v>
                </c:pt>
                <c:pt idx="4">
                  <c:v>Laurent Per</c:v>
                </c:pt>
                <c:pt idx="5">
                  <c:v>Nicolas Feu</c:v>
                </c:pt>
                <c:pt idx="6">
                  <c:v>Ruinart</c:v>
                </c:pt>
                <c:pt idx="7">
                  <c:v>Ayala</c:v>
                </c:pt>
                <c:pt idx="8">
                  <c:v>Heidsieck &amp;</c:v>
                </c:pt>
                <c:pt idx="9">
                  <c:v>Malard</c:v>
                </c:pt>
                <c:pt idx="10">
                  <c:v>Bollinger</c:v>
                </c:pt>
                <c:pt idx="11">
                  <c:v>Ruinart</c:v>
                </c:pt>
                <c:pt idx="12">
                  <c:v>Taittinger</c:v>
                </c:pt>
                <c:pt idx="13">
                  <c:v>Besserat De</c:v>
                </c:pt>
                <c:pt idx="14">
                  <c:v>Ruinart</c:v>
                </c:pt>
                <c:pt idx="15">
                  <c:v>Veuve Clicq</c:v>
                </c:pt>
                <c:pt idx="16">
                  <c:v>Dom Perigno</c:v>
                </c:pt>
                <c:pt idx="17">
                  <c:v>All Others</c:v>
                </c:pt>
                <c:pt idx="18">
                  <c:v>Perrier Jou</c:v>
                </c:pt>
                <c:pt idx="19">
                  <c:v>Deutz</c:v>
                </c:pt>
                <c:pt idx="20">
                  <c:v>Moët &amp; Chan</c:v>
                </c:pt>
                <c:pt idx="21">
                  <c:v>De Bligny</c:v>
                </c:pt>
                <c:pt idx="22">
                  <c:v>Laurent Per</c:v>
                </c:pt>
                <c:pt idx="23">
                  <c:v>Roederer</c:v>
                </c:pt>
                <c:pt idx="24">
                  <c:v>Ruinart</c:v>
                </c:pt>
                <c:pt idx="25">
                  <c:v>Ruinart</c:v>
                </c:pt>
                <c:pt idx="26">
                  <c:v>Dom Perigno</c:v>
                </c:pt>
                <c:pt idx="27">
                  <c:v>Canard Duch</c:v>
                </c:pt>
                <c:pt idx="28">
                  <c:v>Veuve Clicq</c:v>
                </c:pt>
                <c:pt idx="29">
                  <c:v>Roederer</c:v>
                </c:pt>
                <c:pt idx="30">
                  <c:v>Pommery</c:v>
                </c:pt>
                <c:pt idx="31">
                  <c:v>Moët &amp; Chan</c:v>
                </c:pt>
                <c:pt idx="32">
                  <c:v>Demoiselle</c:v>
                </c:pt>
                <c:pt idx="33">
                  <c:v>Campari: Al</c:v>
                </c:pt>
                <c:pt idx="34">
                  <c:v>Laurent Per</c:v>
                </c:pt>
                <c:pt idx="35">
                  <c:v>Veuve Clicq</c:v>
                </c:pt>
                <c:pt idx="36">
                  <c:v>Deutz</c:v>
                </c:pt>
                <c:pt idx="37">
                  <c:v>Dom Perigno</c:v>
                </c:pt>
                <c:pt idx="38">
                  <c:v>All Others</c:v>
                </c:pt>
                <c:pt idx="39">
                  <c:v>Taittinger</c:v>
                </c:pt>
                <c:pt idx="40">
                  <c:v>Ruinart</c:v>
                </c:pt>
                <c:pt idx="41">
                  <c:v>Ruinart</c:v>
                </c:pt>
                <c:pt idx="42">
                  <c:v>Perrier Jou</c:v>
                </c:pt>
                <c:pt idx="43">
                  <c:v>Malard</c:v>
                </c:pt>
                <c:pt idx="44">
                  <c:v>Moët &amp; Chan</c:v>
                </c:pt>
                <c:pt idx="45">
                  <c:v>Ruinart</c:v>
                </c:pt>
                <c:pt idx="46">
                  <c:v>Laurent Per</c:v>
                </c:pt>
                <c:pt idx="47">
                  <c:v>Demoiselle</c:v>
                </c:pt>
                <c:pt idx="48">
                  <c:v>Henriot</c:v>
                </c:pt>
                <c:pt idx="49">
                  <c:v>Nicolas</c:v>
                </c:pt>
                <c:pt idx="50">
                  <c:v>Nicolas Feu</c:v>
                </c:pt>
                <c:pt idx="51">
                  <c:v>Krug</c:v>
                </c:pt>
                <c:pt idx="52">
                  <c:v>Savian</c:v>
                </c:pt>
                <c:pt idx="53">
                  <c:v>Vesselle</c:v>
                </c:pt>
                <c:pt idx="54">
                  <c:v>Roederer</c:v>
                </c:pt>
                <c:pt idx="55">
                  <c:v>Besserat De</c:v>
                </c:pt>
                <c:pt idx="56">
                  <c:v>Deutz</c:v>
                </c:pt>
                <c:pt idx="57">
                  <c:v>Malard</c:v>
                </c:pt>
                <c:pt idx="58">
                  <c:v>Nicolas Feu</c:v>
                </c:pt>
                <c:pt idx="59">
                  <c:v>Piper Heids</c:v>
                </c:pt>
                <c:pt idx="60">
                  <c:v>Nicolas</c:v>
                </c:pt>
                <c:pt idx="61">
                  <c:v>Bollinger</c:v>
                </c:pt>
                <c:pt idx="62">
                  <c:v>Dom Perigno</c:v>
                </c:pt>
                <c:pt idx="63">
                  <c:v>All Others</c:v>
                </c:pt>
                <c:pt idx="64">
                  <c:v>Campari: Al</c:v>
                </c:pt>
                <c:pt idx="65">
                  <c:v>Roederer</c:v>
                </c:pt>
                <c:pt idx="66">
                  <c:v>Henriot</c:v>
                </c:pt>
                <c:pt idx="67">
                  <c:v>Bollinger</c:v>
                </c:pt>
                <c:pt idx="68">
                  <c:v>Delamotte</c:v>
                </c:pt>
                <c:pt idx="69">
                  <c:v>Roederer</c:v>
                </c:pt>
                <c:pt idx="70">
                  <c:v>Louis Marti</c:v>
                </c:pt>
                <c:pt idx="71">
                  <c:v>Lanson</c:v>
                </c:pt>
                <c:pt idx="72">
                  <c:v>Nicolas Feu</c:v>
                </c:pt>
                <c:pt idx="73">
                  <c:v>De Venoge</c:v>
                </c:pt>
                <c:pt idx="74">
                  <c:v>Besserat De</c:v>
                </c:pt>
                <c:pt idx="75">
                  <c:v>Malard</c:v>
                </c:pt>
                <c:pt idx="76">
                  <c:v>Laurent Per</c:v>
                </c:pt>
                <c:pt idx="77">
                  <c:v>Ruinart</c:v>
                </c:pt>
                <c:pt idx="78">
                  <c:v>Ruinart</c:v>
                </c:pt>
                <c:pt idx="79">
                  <c:v>Malard</c:v>
                </c:pt>
                <c:pt idx="80">
                  <c:v>Henriot</c:v>
                </c:pt>
                <c:pt idx="81">
                  <c:v>Roederer</c:v>
                </c:pt>
                <c:pt idx="82">
                  <c:v>Nicolas</c:v>
                </c:pt>
                <c:pt idx="83">
                  <c:v>Canard Duch</c:v>
                </c:pt>
                <c:pt idx="84">
                  <c:v>Laurent Per</c:v>
                </c:pt>
                <c:pt idx="85">
                  <c:v>Deutz</c:v>
                </c:pt>
                <c:pt idx="86">
                  <c:v>Pommery</c:v>
                </c:pt>
                <c:pt idx="87">
                  <c:v>Roederer</c:v>
                </c:pt>
                <c:pt idx="88">
                  <c:v>Henriot</c:v>
                </c:pt>
                <c:pt idx="89">
                  <c:v>Ruinart</c:v>
                </c:pt>
                <c:pt idx="90">
                  <c:v>Moët &amp; Chan</c:v>
                </c:pt>
                <c:pt idx="91">
                  <c:v>Veuve Clicq</c:v>
                </c:pt>
                <c:pt idx="92">
                  <c:v>De Venoge</c:v>
                </c:pt>
                <c:pt idx="93">
                  <c:v>Ayala</c:v>
                </c:pt>
                <c:pt idx="94">
                  <c:v>Vranken</c:v>
                </c:pt>
                <c:pt idx="95">
                  <c:v>Roederer</c:v>
                </c:pt>
                <c:pt idx="96">
                  <c:v>Roederer</c:v>
                </c:pt>
                <c:pt idx="97">
                  <c:v>Roederer</c:v>
                </c:pt>
                <c:pt idx="98">
                  <c:v>Laurent Per</c:v>
                </c:pt>
                <c:pt idx="99">
                  <c:v>De Bligny</c:v>
                </c:pt>
                <c:pt idx="100">
                  <c:v>Laurent Per</c:v>
                </c:pt>
                <c:pt idx="101">
                  <c:v>Roederer</c:v>
                </c:pt>
                <c:pt idx="102">
                  <c:v>Bollinger</c:v>
                </c:pt>
                <c:pt idx="103">
                  <c:v>Ruinart</c:v>
                </c:pt>
                <c:pt idx="104">
                  <c:v>Deutz</c:v>
                </c:pt>
                <c:pt idx="105">
                  <c:v>Canard Duch</c:v>
                </c:pt>
                <c:pt idx="106">
                  <c:v>Moët &amp; Chan</c:v>
                </c:pt>
                <c:pt idx="107">
                  <c:v>Laurent Per</c:v>
                </c:pt>
                <c:pt idx="108">
                  <c:v>Veuve Clicq</c:v>
                </c:pt>
                <c:pt idx="109">
                  <c:v>Ruinart</c:v>
                </c:pt>
                <c:pt idx="110">
                  <c:v>Nicolas</c:v>
                </c:pt>
                <c:pt idx="111">
                  <c:v>De Venoge</c:v>
                </c:pt>
                <c:pt idx="112">
                  <c:v>De Venoge</c:v>
                </c:pt>
                <c:pt idx="113">
                  <c:v>Nicolas</c:v>
                </c:pt>
                <c:pt idx="114">
                  <c:v>Nicolas</c:v>
                </c:pt>
                <c:pt idx="115">
                  <c:v>Malard</c:v>
                </c:pt>
                <c:pt idx="116">
                  <c:v>Moët &amp; Chan</c:v>
                </c:pt>
                <c:pt idx="117">
                  <c:v>Taittinger</c:v>
                </c:pt>
                <c:pt idx="118">
                  <c:v>Roederer</c:v>
                </c:pt>
                <c:pt idx="119">
                  <c:v>Vranken</c:v>
                </c:pt>
                <c:pt idx="120">
                  <c:v>Roederer</c:v>
                </c:pt>
                <c:pt idx="121">
                  <c:v>Canard Duch</c:v>
                </c:pt>
                <c:pt idx="122">
                  <c:v>Ruinart</c:v>
                </c:pt>
                <c:pt idx="123">
                  <c:v>Nicolas</c:v>
                </c:pt>
                <c:pt idx="124">
                  <c:v>Taittinger</c:v>
                </c:pt>
                <c:pt idx="125">
                  <c:v>Deutz</c:v>
                </c:pt>
                <c:pt idx="126">
                  <c:v>All Others</c:v>
                </c:pt>
                <c:pt idx="127">
                  <c:v>Ruinart</c:v>
                </c:pt>
                <c:pt idx="128">
                  <c:v>Nicolas</c:v>
                </c:pt>
                <c:pt idx="129">
                  <c:v>Ruinart</c:v>
                </c:pt>
                <c:pt idx="130">
                  <c:v>Nicolas Feu</c:v>
                </c:pt>
                <c:pt idx="131">
                  <c:v>All Others</c:v>
                </c:pt>
                <c:pt idx="132">
                  <c:v>Veuve Clicq</c:v>
                </c:pt>
                <c:pt idx="133">
                  <c:v>Pommery</c:v>
                </c:pt>
                <c:pt idx="134">
                  <c:v>Veuve Clicq</c:v>
                </c:pt>
                <c:pt idx="135">
                  <c:v>Canard Duch</c:v>
                </c:pt>
                <c:pt idx="136">
                  <c:v>Moët &amp; Chan</c:v>
                </c:pt>
                <c:pt idx="137">
                  <c:v>Ruinart</c:v>
                </c:pt>
                <c:pt idx="138">
                  <c:v>Lanson</c:v>
                </c:pt>
                <c:pt idx="139">
                  <c:v>Nicolas</c:v>
                </c:pt>
                <c:pt idx="140">
                  <c:v>All Others</c:v>
                </c:pt>
                <c:pt idx="141">
                  <c:v>Demoiselle</c:v>
                </c:pt>
                <c:pt idx="142">
                  <c:v>Nicolas</c:v>
                </c:pt>
                <c:pt idx="143">
                  <c:v>Perrier Jou</c:v>
                </c:pt>
                <c:pt idx="144">
                  <c:v>Roederer</c:v>
                </c:pt>
                <c:pt idx="145">
                  <c:v>Pommery</c:v>
                </c:pt>
                <c:pt idx="146">
                  <c:v>Nicolas</c:v>
                </c:pt>
                <c:pt idx="147">
                  <c:v>Pommery</c:v>
                </c:pt>
                <c:pt idx="148">
                  <c:v>Moët &amp; Chan</c:v>
                </c:pt>
                <c:pt idx="149">
                  <c:v>Roederer</c:v>
                </c:pt>
                <c:pt idx="150">
                  <c:v>Dom Perigno</c:v>
                </c:pt>
                <c:pt idx="151">
                  <c:v>Pommery</c:v>
                </c:pt>
                <c:pt idx="152">
                  <c:v>Besserat De</c:v>
                </c:pt>
                <c:pt idx="153">
                  <c:v>Nicolas</c:v>
                </c:pt>
                <c:pt idx="154">
                  <c:v>Laurent Per</c:v>
                </c:pt>
                <c:pt idx="155">
                  <c:v>Roederer</c:v>
                </c:pt>
                <c:pt idx="156">
                  <c:v>Canard Duch</c:v>
                </c:pt>
                <c:pt idx="157">
                  <c:v>Perrier Jou</c:v>
                </c:pt>
                <c:pt idx="158">
                  <c:v>Louis Marti</c:v>
                </c:pt>
                <c:pt idx="159">
                  <c:v>Nicolas</c:v>
                </c:pt>
                <c:pt idx="160">
                  <c:v>Dom Perigno</c:v>
                </c:pt>
                <c:pt idx="161">
                  <c:v>Bollinger</c:v>
                </c:pt>
                <c:pt idx="162">
                  <c:v>Moët &amp; Chan</c:v>
                </c:pt>
                <c:pt idx="163">
                  <c:v>Ruinart</c:v>
                </c:pt>
                <c:pt idx="164">
                  <c:v>Roederer</c:v>
                </c:pt>
                <c:pt idx="165">
                  <c:v>Dom Perigno</c:v>
                </c:pt>
                <c:pt idx="166">
                  <c:v>Deutz</c:v>
                </c:pt>
                <c:pt idx="167">
                  <c:v>Nicolas</c:v>
                </c:pt>
                <c:pt idx="168">
                  <c:v>Krug</c:v>
                </c:pt>
                <c:pt idx="169">
                  <c:v>Roederer</c:v>
                </c:pt>
                <c:pt idx="170">
                  <c:v>Nicolas</c:v>
                </c:pt>
                <c:pt idx="171">
                  <c:v>All Others</c:v>
                </c:pt>
                <c:pt idx="172">
                  <c:v>Besserat De</c:v>
                </c:pt>
                <c:pt idx="173">
                  <c:v>Pommery</c:v>
                </c:pt>
                <c:pt idx="174">
                  <c:v>Laurent Per</c:v>
                </c:pt>
                <c:pt idx="175">
                  <c:v>Dom Perigno</c:v>
                </c:pt>
                <c:pt idx="176">
                  <c:v>Vesselle</c:v>
                </c:pt>
                <c:pt idx="177">
                  <c:v>All Others</c:v>
                </c:pt>
                <c:pt idx="178">
                  <c:v>Roederer</c:v>
                </c:pt>
                <c:pt idx="179">
                  <c:v>Nicolas</c:v>
                </c:pt>
                <c:pt idx="180">
                  <c:v>Piper Heids</c:v>
                </c:pt>
                <c:pt idx="181">
                  <c:v>Bollinger</c:v>
                </c:pt>
                <c:pt idx="182">
                  <c:v>Henriot</c:v>
                </c:pt>
                <c:pt idx="183">
                  <c:v>Deutz</c:v>
                </c:pt>
                <c:pt idx="184">
                  <c:v>Dom Perigno</c:v>
                </c:pt>
                <c:pt idx="185">
                  <c:v>Dom Perigno</c:v>
                </c:pt>
                <c:pt idx="186">
                  <c:v>Ayala</c:v>
                </c:pt>
                <c:pt idx="187">
                  <c:v>De Venoge</c:v>
                </c:pt>
                <c:pt idx="188">
                  <c:v>Piper Heids</c:v>
                </c:pt>
                <c:pt idx="189">
                  <c:v>Demoiselle</c:v>
                </c:pt>
                <c:pt idx="190">
                  <c:v>Laurent Per</c:v>
                </c:pt>
                <c:pt idx="191">
                  <c:v>Perrier Jou</c:v>
                </c:pt>
                <c:pt idx="192">
                  <c:v>Bollinger</c:v>
                </c:pt>
                <c:pt idx="193">
                  <c:v>De Venoge</c:v>
                </c:pt>
                <c:pt idx="194">
                  <c:v>De Venoge</c:v>
                </c:pt>
                <c:pt idx="195">
                  <c:v>Veuve Clicq</c:v>
                </c:pt>
                <c:pt idx="196">
                  <c:v>Malard</c:v>
                </c:pt>
                <c:pt idx="197">
                  <c:v>Ruinart</c:v>
                </c:pt>
                <c:pt idx="198">
                  <c:v>Dom Perigno</c:v>
                </c:pt>
                <c:pt idx="199">
                  <c:v>Ruinart</c:v>
                </c:pt>
                <c:pt idx="200">
                  <c:v>Dom Perigno</c:v>
                </c:pt>
                <c:pt idx="201">
                  <c:v>Deutz</c:v>
                </c:pt>
                <c:pt idx="202">
                  <c:v>Taittinger</c:v>
                </c:pt>
                <c:pt idx="203">
                  <c:v>All Others</c:v>
                </c:pt>
                <c:pt idx="204">
                  <c:v>Ruinart</c:v>
                </c:pt>
                <c:pt idx="205">
                  <c:v>Dom Perigno</c:v>
                </c:pt>
                <c:pt idx="206">
                  <c:v>Nicolas</c:v>
                </c:pt>
                <c:pt idx="207">
                  <c:v>Pommery</c:v>
                </c:pt>
                <c:pt idx="208">
                  <c:v>Piper Heids</c:v>
                </c:pt>
                <c:pt idx="209">
                  <c:v>Nicolas Feu</c:v>
                </c:pt>
                <c:pt idx="210">
                  <c:v>Nicolas</c:v>
                </c:pt>
                <c:pt idx="211">
                  <c:v>Roederer</c:v>
                </c:pt>
                <c:pt idx="212">
                  <c:v>Vranken</c:v>
                </c:pt>
                <c:pt idx="213">
                  <c:v>Roederer</c:v>
                </c:pt>
                <c:pt idx="214">
                  <c:v>Deutz</c:v>
                </c:pt>
                <c:pt idx="215">
                  <c:v>Bollinger</c:v>
                </c:pt>
                <c:pt idx="216">
                  <c:v>Moët &amp; Chan</c:v>
                </c:pt>
                <c:pt idx="217">
                  <c:v>Bollinger</c:v>
                </c:pt>
                <c:pt idx="218">
                  <c:v>Canard Duch</c:v>
                </c:pt>
                <c:pt idx="219">
                  <c:v>Deutz</c:v>
                </c:pt>
                <c:pt idx="220">
                  <c:v>Deutz</c:v>
                </c:pt>
                <c:pt idx="221">
                  <c:v>Bollinger</c:v>
                </c:pt>
                <c:pt idx="222">
                  <c:v>Taittinger</c:v>
                </c:pt>
                <c:pt idx="223">
                  <c:v>Laurent Per</c:v>
                </c:pt>
                <c:pt idx="224">
                  <c:v>All Others</c:v>
                </c:pt>
                <c:pt idx="225">
                  <c:v>Roederer</c:v>
                </c:pt>
                <c:pt idx="226">
                  <c:v>Bollinger</c:v>
                </c:pt>
                <c:pt idx="227">
                  <c:v>Laurent Per</c:v>
                </c:pt>
                <c:pt idx="228">
                  <c:v>Bollinger</c:v>
                </c:pt>
                <c:pt idx="229">
                  <c:v>Roederer</c:v>
                </c:pt>
                <c:pt idx="230">
                  <c:v>Ruinart</c:v>
                </c:pt>
                <c:pt idx="231">
                  <c:v>All Others</c:v>
                </c:pt>
                <c:pt idx="232">
                  <c:v>All Others</c:v>
                </c:pt>
                <c:pt idx="233">
                  <c:v>Piper Heids</c:v>
                </c:pt>
                <c:pt idx="234">
                  <c:v>Veuve Clicq</c:v>
                </c:pt>
                <c:pt idx="235">
                  <c:v>Canard Duch</c:v>
                </c:pt>
                <c:pt idx="236">
                  <c:v>Canard Duch</c:v>
                </c:pt>
                <c:pt idx="237">
                  <c:v>All Others</c:v>
                </c:pt>
                <c:pt idx="238">
                  <c:v>Delamotte</c:v>
                </c:pt>
                <c:pt idx="239">
                  <c:v>Ayala</c:v>
                </c:pt>
                <c:pt idx="240">
                  <c:v>Vesselle</c:v>
                </c:pt>
                <c:pt idx="241">
                  <c:v>Perrier Jou</c:v>
                </c:pt>
                <c:pt idx="242">
                  <c:v>Roederer</c:v>
                </c:pt>
                <c:pt idx="243">
                  <c:v>Nicolas</c:v>
                </c:pt>
                <c:pt idx="244">
                  <c:v>Lanson</c:v>
                </c:pt>
                <c:pt idx="245">
                  <c:v>Taittinger</c:v>
                </c:pt>
                <c:pt idx="246">
                  <c:v>De Bligny</c:v>
                </c:pt>
                <c:pt idx="247">
                  <c:v>Roederer</c:v>
                </c:pt>
                <c:pt idx="248">
                  <c:v>Roederer</c:v>
                </c:pt>
                <c:pt idx="249">
                  <c:v>De Bligny</c:v>
                </c:pt>
                <c:pt idx="250">
                  <c:v>Nicolas Feu</c:v>
                </c:pt>
                <c:pt idx="251">
                  <c:v>Demoiselle</c:v>
                </c:pt>
                <c:pt idx="252">
                  <c:v>All Others</c:v>
                </c:pt>
                <c:pt idx="253">
                  <c:v>Besserat De</c:v>
                </c:pt>
                <c:pt idx="254">
                  <c:v>Roederer</c:v>
                </c:pt>
                <c:pt idx="255">
                  <c:v>All Others</c:v>
                </c:pt>
                <c:pt idx="256">
                  <c:v>Laurent Per</c:v>
                </c:pt>
                <c:pt idx="257">
                  <c:v>Ruinart</c:v>
                </c:pt>
                <c:pt idx="258">
                  <c:v>Malard</c:v>
                </c:pt>
                <c:pt idx="259">
                  <c:v>Roederer</c:v>
                </c:pt>
                <c:pt idx="260">
                  <c:v>Laurent Per</c:v>
                </c:pt>
                <c:pt idx="261">
                  <c:v>Roederer</c:v>
                </c:pt>
                <c:pt idx="262">
                  <c:v>Roederer</c:v>
                </c:pt>
                <c:pt idx="263">
                  <c:v>Martel</c:v>
                </c:pt>
                <c:pt idx="264">
                  <c:v>Pommery</c:v>
                </c:pt>
                <c:pt idx="265">
                  <c:v>Roederer</c:v>
                </c:pt>
                <c:pt idx="266">
                  <c:v>Delamotte</c:v>
                </c:pt>
                <c:pt idx="267">
                  <c:v>Malard</c:v>
                </c:pt>
                <c:pt idx="268">
                  <c:v>Moët &amp; Chan</c:v>
                </c:pt>
                <c:pt idx="269">
                  <c:v>Nicolas</c:v>
                </c:pt>
              </c:strCache>
            </c:strRef>
          </c:cat>
          <c:val>
            <c:numRef>
              <c:f>Sheet1!$B$2:$B$271</c:f>
              <c:numCache>
                <c:formatCode>General</c:formatCode>
                <c:ptCount val="270"/>
                <c:pt idx="0">
                  <c:v>0.9</c:v>
                </c:pt>
                <c:pt idx="1">
                  <c:v>1</c:v>
                </c:pt>
                <c:pt idx="2">
                  <c:v>1</c:v>
                </c:pt>
                <c:pt idx="3">
                  <c:v>1</c:v>
                </c:pt>
                <c:pt idx="4">
                  <c:v>0.99</c:v>
                </c:pt>
                <c:pt idx="5">
                  <c:v>1</c:v>
                </c:pt>
                <c:pt idx="6">
                  <c:v>0.79</c:v>
                </c:pt>
                <c:pt idx="7">
                  <c:v>1</c:v>
                </c:pt>
                <c:pt idx="8">
                  <c:v>1</c:v>
                </c:pt>
                <c:pt idx="9">
                  <c:v>0.99</c:v>
                </c:pt>
                <c:pt idx="10">
                  <c:v>0.95</c:v>
                </c:pt>
                <c:pt idx="11">
                  <c:v>0.76</c:v>
                </c:pt>
                <c:pt idx="12">
                  <c:v>0.95</c:v>
                </c:pt>
                <c:pt idx="13">
                  <c:v>0.96</c:v>
                </c:pt>
                <c:pt idx="14">
                  <c:v>0.83</c:v>
                </c:pt>
                <c:pt idx="15">
                  <c:v>0.7</c:v>
                </c:pt>
                <c:pt idx="16">
                  <c:v>0.43</c:v>
                </c:pt>
                <c:pt idx="17">
                  <c:v>0.93</c:v>
                </c:pt>
                <c:pt idx="18">
                  <c:v>1</c:v>
                </c:pt>
                <c:pt idx="19">
                  <c:v>0.92</c:v>
                </c:pt>
                <c:pt idx="20">
                  <c:v>0.98</c:v>
                </c:pt>
                <c:pt idx="21">
                  <c:v>1</c:v>
                </c:pt>
                <c:pt idx="22">
                  <c:v>0.95</c:v>
                </c:pt>
                <c:pt idx="23">
                  <c:v>0.75</c:v>
                </c:pt>
                <c:pt idx="24">
                  <c:v>0.56000000000000005</c:v>
                </c:pt>
                <c:pt idx="25">
                  <c:v>0.77</c:v>
                </c:pt>
                <c:pt idx="26">
                  <c:v>0.56000000000000005</c:v>
                </c:pt>
                <c:pt idx="27">
                  <c:v>0.95</c:v>
                </c:pt>
                <c:pt idx="28">
                  <c:v>0.92</c:v>
                </c:pt>
                <c:pt idx="29">
                  <c:v>0.27</c:v>
                </c:pt>
                <c:pt idx="30">
                  <c:v>0.87</c:v>
                </c:pt>
                <c:pt idx="31">
                  <c:v>0.88</c:v>
                </c:pt>
                <c:pt idx="32">
                  <c:v>0.91</c:v>
                </c:pt>
                <c:pt idx="33">
                  <c:v>0.82</c:v>
                </c:pt>
                <c:pt idx="34">
                  <c:v>0.69</c:v>
                </c:pt>
                <c:pt idx="35">
                  <c:v>0.79</c:v>
                </c:pt>
                <c:pt idx="36">
                  <c:v>0.81</c:v>
                </c:pt>
                <c:pt idx="37">
                  <c:v>0.32</c:v>
                </c:pt>
                <c:pt idx="38">
                  <c:v>0.69</c:v>
                </c:pt>
                <c:pt idx="39">
                  <c:v>0.7</c:v>
                </c:pt>
                <c:pt idx="40">
                  <c:v>0.59</c:v>
                </c:pt>
                <c:pt idx="41">
                  <c:v>0.62</c:v>
                </c:pt>
                <c:pt idx="42">
                  <c:v>0.39</c:v>
                </c:pt>
                <c:pt idx="43">
                  <c:v>0.75</c:v>
                </c:pt>
                <c:pt idx="44">
                  <c:v>0.62</c:v>
                </c:pt>
                <c:pt idx="45">
                  <c:v>0.74</c:v>
                </c:pt>
                <c:pt idx="46">
                  <c:v>0.48</c:v>
                </c:pt>
                <c:pt idx="47">
                  <c:v>0.79</c:v>
                </c:pt>
                <c:pt idx="48">
                  <c:v>0.79</c:v>
                </c:pt>
                <c:pt idx="49">
                  <c:v>0.59</c:v>
                </c:pt>
                <c:pt idx="50">
                  <c:v>0.71</c:v>
                </c:pt>
                <c:pt idx="51">
                  <c:v>0.27</c:v>
                </c:pt>
                <c:pt idx="52">
                  <c:v>0.72</c:v>
                </c:pt>
                <c:pt idx="53">
                  <c:v>0.74</c:v>
                </c:pt>
                <c:pt idx="54">
                  <c:v>0.59</c:v>
                </c:pt>
                <c:pt idx="55">
                  <c:v>0.61</c:v>
                </c:pt>
                <c:pt idx="56">
                  <c:v>0.87</c:v>
                </c:pt>
                <c:pt idx="57">
                  <c:v>0.69</c:v>
                </c:pt>
                <c:pt idx="58">
                  <c:v>0.65</c:v>
                </c:pt>
                <c:pt idx="59">
                  <c:v>0.59</c:v>
                </c:pt>
                <c:pt idx="60">
                  <c:v>0.64</c:v>
                </c:pt>
                <c:pt idx="61">
                  <c:v>0.36</c:v>
                </c:pt>
                <c:pt idx="62">
                  <c:v>0.25</c:v>
                </c:pt>
                <c:pt idx="63">
                  <c:v>0.46</c:v>
                </c:pt>
                <c:pt idx="64">
                  <c:v>0.64</c:v>
                </c:pt>
                <c:pt idx="65">
                  <c:v>0.23</c:v>
                </c:pt>
                <c:pt idx="66">
                  <c:v>0.54</c:v>
                </c:pt>
                <c:pt idx="67">
                  <c:v>0.43</c:v>
                </c:pt>
                <c:pt idx="68">
                  <c:v>0.44</c:v>
                </c:pt>
                <c:pt idx="69">
                  <c:v>0.24</c:v>
                </c:pt>
                <c:pt idx="70">
                  <c:v>0.56000000000000005</c:v>
                </c:pt>
                <c:pt idx="71">
                  <c:v>0.48</c:v>
                </c:pt>
                <c:pt idx="72">
                  <c:v>0.61</c:v>
                </c:pt>
                <c:pt idx="73">
                  <c:v>0.73</c:v>
                </c:pt>
                <c:pt idx="74">
                  <c:v>0.43</c:v>
                </c:pt>
                <c:pt idx="75">
                  <c:v>0.63</c:v>
                </c:pt>
                <c:pt idx="76">
                  <c:v>0.41</c:v>
                </c:pt>
                <c:pt idx="77">
                  <c:v>0.41</c:v>
                </c:pt>
                <c:pt idx="78">
                  <c:v>0.44</c:v>
                </c:pt>
                <c:pt idx="79">
                  <c:v>0.64</c:v>
                </c:pt>
                <c:pt idx="80">
                  <c:v>0.77</c:v>
                </c:pt>
                <c:pt idx="81">
                  <c:v>0.25</c:v>
                </c:pt>
                <c:pt idx="82">
                  <c:v>0.6</c:v>
                </c:pt>
                <c:pt idx="83">
                  <c:v>0.71</c:v>
                </c:pt>
                <c:pt idx="84">
                  <c:v>0.2</c:v>
                </c:pt>
                <c:pt idx="85">
                  <c:v>0.2</c:v>
                </c:pt>
                <c:pt idx="86">
                  <c:v>0.38</c:v>
                </c:pt>
                <c:pt idx="87">
                  <c:v>0.28000000000000003</c:v>
                </c:pt>
                <c:pt idx="88">
                  <c:v>0.53</c:v>
                </c:pt>
                <c:pt idx="89">
                  <c:v>0.25</c:v>
                </c:pt>
                <c:pt idx="90">
                  <c:v>0.35</c:v>
                </c:pt>
                <c:pt idx="91">
                  <c:v>0.23</c:v>
                </c:pt>
                <c:pt idx="92">
                  <c:v>0.24</c:v>
                </c:pt>
                <c:pt idx="93">
                  <c:v>0.42</c:v>
                </c:pt>
                <c:pt idx="94">
                  <c:v>0.31</c:v>
                </c:pt>
                <c:pt idx="95">
                  <c:v>0.6</c:v>
                </c:pt>
                <c:pt idx="96">
                  <c:v>0.3</c:v>
                </c:pt>
                <c:pt idx="97">
                  <c:v>0.42</c:v>
                </c:pt>
                <c:pt idx="98">
                  <c:v>0.31</c:v>
                </c:pt>
                <c:pt idx="99">
                  <c:v>0.56000000000000005</c:v>
                </c:pt>
                <c:pt idx="100">
                  <c:v>0.36</c:v>
                </c:pt>
                <c:pt idx="101">
                  <c:v>0.23</c:v>
                </c:pt>
                <c:pt idx="102">
                  <c:v>0.27</c:v>
                </c:pt>
                <c:pt idx="103">
                  <c:v>0.28000000000000003</c:v>
                </c:pt>
                <c:pt idx="104">
                  <c:v>0.47</c:v>
                </c:pt>
                <c:pt idx="105">
                  <c:v>0.4</c:v>
                </c:pt>
                <c:pt idx="106">
                  <c:v>0.65</c:v>
                </c:pt>
                <c:pt idx="107">
                  <c:v>0.23</c:v>
                </c:pt>
                <c:pt idx="108">
                  <c:v>0.23</c:v>
                </c:pt>
                <c:pt idx="109">
                  <c:v>0.34</c:v>
                </c:pt>
                <c:pt idx="110">
                  <c:v>0.43</c:v>
                </c:pt>
                <c:pt idx="111">
                  <c:v>0.46</c:v>
                </c:pt>
                <c:pt idx="112">
                  <c:v>0.48</c:v>
                </c:pt>
                <c:pt idx="113">
                  <c:v>0.28000000000000003</c:v>
                </c:pt>
                <c:pt idx="114">
                  <c:v>0.39</c:v>
                </c:pt>
                <c:pt idx="115">
                  <c:v>0.44</c:v>
                </c:pt>
                <c:pt idx="116">
                  <c:v>0.35</c:v>
                </c:pt>
                <c:pt idx="117">
                  <c:v>0.14000000000000001</c:v>
                </c:pt>
                <c:pt idx="118">
                  <c:v>0.2</c:v>
                </c:pt>
                <c:pt idx="119">
                  <c:v>0.28000000000000003</c:v>
                </c:pt>
                <c:pt idx="120">
                  <c:v>0.48</c:v>
                </c:pt>
                <c:pt idx="121">
                  <c:v>0.26</c:v>
                </c:pt>
                <c:pt idx="122">
                  <c:v>0.32</c:v>
                </c:pt>
                <c:pt idx="123">
                  <c:v>0.15</c:v>
                </c:pt>
                <c:pt idx="124">
                  <c:v>0.12</c:v>
                </c:pt>
                <c:pt idx="125">
                  <c:v>0.19</c:v>
                </c:pt>
                <c:pt idx="126">
                  <c:v>0.18</c:v>
                </c:pt>
                <c:pt idx="127">
                  <c:v>0.2</c:v>
                </c:pt>
                <c:pt idx="128">
                  <c:v>0.38</c:v>
                </c:pt>
                <c:pt idx="129">
                  <c:v>0.27</c:v>
                </c:pt>
                <c:pt idx="130">
                  <c:v>0.4</c:v>
                </c:pt>
                <c:pt idx="131">
                  <c:v>0.17</c:v>
                </c:pt>
                <c:pt idx="132">
                  <c:v>0.2</c:v>
                </c:pt>
                <c:pt idx="133">
                  <c:v>0.2</c:v>
                </c:pt>
                <c:pt idx="134">
                  <c:v>0.24</c:v>
                </c:pt>
                <c:pt idx="135">
                  <c:v>0.17</c:v>
                </c:pt>
                <c:pt idx="136">
                  <c:v>0.15</c:v>
                </c:pt>
                <c:pt idx="137">
                  <c:v>0.18</c:v>
                </c:pt>
                <c:pt idx="138">
                  <c:v>0.18</c:v>
                </c:pt>
                <c:pt idx="139">
                  <c:v>0.23</c:v>
                </c:pt>
                <c:pt idx="140">
                  <c:v>0.27</c:v>
                </c:pt>
                <c:pt idx="141">
                  <c:v>0.46</c:v>
                </c:pt>
                <c:pt idx="142">
                  <c:v>0.44</c:v>
                </c:pt>
                <c:pt idx="143">
                  <c:v>0.23</c:v>
                </c:pt>
                <c:pt idx="144">
                  <c:v>0.21</c:v>
                </c:pt>
                <c:pt idx="145">
                  <c:v>0.34</c:v>
                </c:pt>
                <c:pt idx="146">
                  <c:v>0.19</c:v>
                </c:pt>
                <c:pt idx="147">
                  <c:v>0.34</c:v>
                </c:pt>
                <c:pt idx="148">
                  <c:v>0.32</c:v>
                </c:pt>
                <c:pt idx="149">
                  <c:v>0.04</c:v>
                </c:pt>
                <c:pt idx="150">
                  <c:v>0.1</c:v>
                </c:pt>
                <c:pt idx="151">
                  <c:v>0.12</c:v>
                </c:pt>
                <c:pt idx="152">
                  <c:v>0.3</c:v>
                </c:pt>
                <c:pt idx="153">
                  <c:v>0.4</c:v>
                </c:pt>
                <c:pt idx="154">
                  <c:v>0.15</c:v>
                </c:pt>
                <c:pt idx="155">
                  <c:v>0.25</c:v>
                </c:pt>
                <c:pt idx="156">
                  <c:v>0.17</c:v>
                </c:pt>
                <c:pt idx="157">
                  <c:v>0.19</c:v>
                </c:pt>
                <c:pt idx="158">
                  <c:v>0.35</c:v>
                </c:pt>
                <c:pt idx="159">
                  <c:v>0.2</c:v>
                </c:pt>
                <c:pt idx="160">
                  <c:v>0.11</c:v>
                </c:pt>
                <c:pt idx="161">
                  <c:v>0.25</c:v>
                </c:pt>
                <c:pt idx="162">
                  <c:v>0.15</c:v>
                </c:pt>
                <c:pt idx="163">
                  <c:v>0.16</c:v>
                </c:pt>
                <c:pt idx="164">
                  <c:v>0.21</c:v>
                </c:pt>
                <c:pt idx="165">
                  <c:v>0.19</c:v>
                </c:pt>
                <c:pt idx="166">
                  <c:v>0.13</c:v>
                </c:pt>
                <c:pt idx="167">
                  <c:v>0.16</c:v>
                </c:pt>
                <c:pt idx="168">
                  <c:v>0.2</c:v>
                </c:pt>
                <c:pt idx="169">
                  <c:v>0.05</c:v>
                </c:pt>
                <c:pt idx="170">
                  <c:v>0.28000000000000003</c:v>
                </c:pt>
                <c:pt idx="171">
                  <c:v>0.25</c:v>
                </c:pt>
                <c:pt idx="172">
                  <c:v>0.25</c:v>
                </c:pt>
                <c:pt idx="173">
                  <c:v>0.28000000000000003</c:v>
                </c:pt>
                <c:pt idx="174">
                  <c:v>0.12</c:v>
                </c:pt>
                <c:pt idx="175">
                  <c:v>0.04</c:v>
                </c:pt>
                <c:pt idx="176">
                  <c:v>0.17</c:v>
                </c:pt>
                <c:pt idx="177">
                  <c:v>0.21</c:v>
                </c:pt>
                <c:pt idx="178">
                  <c:v>0.11</c:v>
                </c:pt>
                <c:pt idx="179">
                  <c:v>0.1</c:v>
                </c:pt>
                <c:pt idx="180">
                  <c:v>0.06</c:v>
                </c:pt>
                <c:pt idx="181">
                  <c:v>0.16</c:v>
                </c:pt>
                <c:pt idx="182">
                  <c:v>0.08</c:v>
                </c:pt>
                <c:pt idx="183">
                  <c:v>0.23</c:v>
                </c:pt>
                <c:pt idx="184">
                  <c:v>0.12</c:v>
                </c:pt>
                <c:pt idx="185">
                  <c:v>0.04</c:v>
                </c:pt>
                <c:pt idx="186">
                  <c:v>0.11</c:v>
                </c:pt>
                <c:pt idx="187">
                  <c:v>0.14000000000000001</c:v>
                </c:pt>
                <c:pt idx="188">
                  <c:v>0.06</c:v>
                </c:pt>
                <c:pt idx="189">
                  <c:v>0.26</c:v>
                </c:pt>
                <c:pt idx="190">
                  <c:v>0.06</c:v>
                </c:pt>
                <c:pt idx="191">
                  <c:v>0.18</c:v>
                </c:pt>
                <c:pt idx="192">
                  <c:v>0.17</c:v>
                </c:pt>
                <c:pt idx="193">
                  <c:v>0.05</c:v>
                </c:pt>
                <c:pt idx="194">
                  <c:v>0.09</c:v>
                </c:pt>
                <c:pt idx="195">
                  <c:v>0.27</c:v>
                </c:pt>
                <c:pt idx="196">
                  <c:v>0.1</c:v>
                </c:pt>
                <c:pt idx="197">
                  <c:v>0.05</c:v>
                </c:pt>
                <c:pt idx="198">
                  <c:v>0.28000000000000003</c:v>
                </c:pt>
                <c:pt idx="199">
                  <c:v>0.25</c:v>
                </c:pt>
                <c:pt idx="200">
                  <c:v>0.04</c:v>
                </c:pt>
                <c:pt idx="201">
                  <c:v>0.13</c:v>
                </c:pt>
                <c:pt idx="202">
                  <c:v>0.19</c:v>
                </c:pt>
                <c:pt idx="203">
                  <c:v>0.16</c:v>
                </c:pt>
                <c:pt idx="204">
                  <c:v>0.03</c:v>
                </c:pt>
                <c:pt idx="205">
                  <c:v>0.08</c:v>
                </c:pt>
                <c:pt idx="206">
                  <c:v>0.2</c:v>
                </c:pt>
                <c:pt idx="207">
                  <c:v>0.03</c:v>
                </c:pt>
                <c:pt idx="208">
                  <c:v>0.03</c:v>
                </c:pt>
                <c:pt idx="209">
                  <c:v>0.06</c:v>
                </c:pt>
                <c:pt idx="210">
                  <c:v>0.08</c:v>
                </c:pt>
                <c:pt idx="211">
                  <c:v>0.05</c:v>
                </c:pt>
                <c:pt idx="212">
                  <c:v>0.14000000000000001</c:v>
                </c:pt>
                <c:pt idx="213">
                  <c:v>0.03</c:v>
                </c:pt>
                <c:pt idx="214">
                  <c:v>0.13</c:v>
                </c:pt>
                <c:pt idx="215">
                  <c:v>0.08</c:v>
                </c:pt>
                <c:pt idx="216">
                  <c:v>0.04</c:v>
                </c:pt>
                <c:pt idx="217">
                  <c:v>0.03</c:v>
                </c:pt>
                <c:pt idx="218">
                  <c:v>0.13</c:v>
                </c:pt>
                <c:pt idx="219">
                  <c:v>0.03</c:v>
                </c:pt>
                <c:pt idx="220">
                  <c:v>0.13</c:v>
                </c:pt>
                <c:pt idx="221">
                  <c:v>0.08</c:v>
                </c:pt>
                <c:pt idx="222">
                  <c:v>0.09</c:v>
                </c:pt>
                <c:pt idx="223">
                  <c:v>0.04</c:v>
                </c:pt>
                <c:pt idx="224">
                  <c:v>0.06</c:v>
                </c:pt>
                <c:pt idx="225">
                  <c:v>0.04</c:v>
                </c:pt>
                <c:pt idx="226">
                  <c:v>0.09</c:v>
                </c:pt>
                <c:pt idx="227">
                  <c:v>0.02</c:v>
                </c:pt>
                <c:pt idx="228">
                  <c:v>0.04</c:v>
                </c:pt>
                <c:pt idx="229">
                  <c:v>7.0000000000000007E-2</c:v>
                </c:pt>
                <c:pt idx="230">
                  <c:v>0.03</c:v>
                </c:pt>
                <c:pt idx="231">
                  <c:v>0.04</c:v>
                </c:pt>
                <c:pt idx="232">
                  <c:v>0.02</c:v>
                </c:pt>
                <c:pt idx="233">
                  <c:v>0.02</c:v>
                </c:pt>
                <c:pt idx="234">
                  <c:v>0.09</c:v>
                </c:pt>
                <c:pt idx="235">
                  <c:v>0.03</c:v>
                </c:pt>
                <c:pt idx="236">
                  <c:v>0.1</c:v>
                </c:pt>
                <c:pt idx="237">
                  <c:v>7.0000000000000007E-2</c:v>
                </c:pt>
                <c:pt idx="238">
                  <c:v>0.1</c:v>
                </c:pt>
                <c:pt idx="239">
                  <c:v>0.14000000000000001</c:v>
                </c:pt>
                <c:pt idx="240">
                  <c:v>0.04</c:v>
                </c:pt>
                <c:pt idx="241">
                  <c:v>0.06</c:v>
                </c:pt>
                <c:pt idx="242">
                  <c:v>0.03</c:v>
                </c:pt>
                <c:pt idx="243">
                  <c:v>0.14000000000000001</c:v>
                </c:pt>
                <c:pt idx="244">
                  <c:v>0.08</c:v>
                </c:pt>
                <c:pt idx="245">
                  <c:v>0.02</c:v>
                </c:pt>
                <c:pt idx="246">
                  <c:v>0.03</c:v>
                </c:pt>
                <c:pt idx="247">
                  <c:v>0.02</c:v>
                </c:pt>
                <c:pt idx="248">
                  <c:v>0.02</c:v>
                </c:pt>
                <c:pt idx="249">
                  <c:v>0.05</c:v>
                </c:pt>
                <c:pt idx="250">
                  <c:v>0.11</c:v>
                </c:pt>
                <c:pt idx="251">
                  <c:v>0.04</c:v>
                </c:pt>
                <c:pt idx="252">
                  <c:v>0.06</c:v>
                </c:pt>
                <c:pt idx="253">
                  <c:v>0.08</c:v>
                </c:pt>
                <c:pt idx="254">
                  <c:v>0.02</c:v>
                </c:pt>
                <c:pt idx="255">
                  <c:v>0.03</c:v>
                </c:pt>
                <c:pt idx="256">
                  <c:v>0.01</c:v>
                </c:pt>
                <c:pt idx="257">
                  <c:v>0.02</c:v>
                </c:pt>
                <c:pt idx="258">
                  <c:v>0.03</c:v>
                </c:pt>
                <c:pt idx="259">
                  <c:v>0.01</c:v>
                </c:pt>
                <c:pt idx="260">
                  <c:v>0.02</c:v>
                </c:pt>
                <c:pt idx="261">
                  <c:v>0.01</c:v>
                </c:pt>
                <c:pt idx="262">
                  <c:v>0.06</c:v>
                </c:pt>
                <c:pt idx="263">
                  <c:v>0.02</c:v>
                </c:pt>
                <c:pt idx="264">
                  <c:v>0.12</c:v>
                </c:pt>
                <c:pt idx="265">
                  <c:v>0.06</c:v>
                </c:pt>
                <c:pt idx="266">
                  <c:v>0.03</c:v>
                </c:pt>
                <c:pt idx="267">
                  <c:v>0.04</c:v>
                </c:pt>
                <c:pt idx="268">
                  <c:v>0.11</c:v>
                </c:pt>
                <c:pt idx="269">
                  <c:v>0.03</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7ECAC4"/>
              </a:solidFill>
            </c:spPr>
            <c:extLst>
              <c:ext xmlns:c16="http://schemas.microsoft.com/office/drawing/2014/chart" uri="{C3380CC4-5D6E-409C-BE32-E72D297353CC}">
                <c16:uniqueId val="{00000095-2993-41DE-A2CB-63102DE87051}"/>
              </c:ext>
            </c:extLst>
          </c:dPt>
          <c:dPt>
            <c:idx val="47"/>
            <c:invertIfNegative val="1"/>
            <c:bubble3D val="0"/>
            <c:spPr>
              <a:solidFill>
                <a:srgbClr val="7ECAC4"/>
              </a:solidFill>
            </c:spPr>
            <c:extLst>
              <c:ext xmlns:c16="http://schemas.microsoft.com/office/drawing/2014/chart" uri="{C3380CC4-5D6E-409C-BE32-E72D297353CC}">
                <c16:uniqueId val="{00000097-2993-41DE-A2CB-63102DE87051}"/>
              </c:ext>
            </c:extLst>
          </c:dPt>
          <c:dPt>
            <c:idx val="48"/>
            <c:invertIfNegative val="1"/>
            <c:bubble3D val="0"/>
            <c:spPr>
              <a:solidFill>
                <a:srgbClr val="7ECAC4"/>
              </a:solidFill>
            </c:spPr>
            <c:extLst>
              <c:ext xmlns:c16="http://schemas.microsoft.com/office/drawing/2014/chart" uri="{C3380CC4-5D6E-409C-BE32-E72D297353CC}">
                <c16:uniqueId val="{00000099-2993-41DE-A2CB-63102DE87051}"/>
              </c:ext>
            </c:extLst>
          </c:dPt>
          <c:dPt>
            <c:idx val="49"/>
            <c:invertIfNegative val="1"/>
            <c:bubble3D val="0"/>
            <c:spPr>
              <a:solidFill>
                <a:srgbClr val="7ECAC4"/>
              </a:solidFill>
            </c:spPr>
            <c:extLst>
              <c:ext xmlns:c16="http://schemas.microsoft.com/office/drawing/2014/chart" uri="{C3380CC4-5D6E-409C-BE32-E72D297353CC}">
                <c16:uniqueId val="{0000009B-2993-41DE-A2CB-63102DE87051}"/>
              </c:ext>
            </c:extLst>
          </c:dPt>
          <c:dPt>
            <c:idx val="50"/>
            <c:invertIfNegative val="1"/>
            <c:bubble3D val="0"/>
            <c:spPr>
              <a:solidFill>
                <a:srgbClr val="7ECAC4"/>
              </a:solidFill>
            </c:spPr>
            <c:extLst>
              <c:ext xmlns:c16="http://schemas.microsoft.com/office/drawing/2014/chart" uri="{C3380CC4-5D6E-409C-BE32-E72D297353CC}">
                <c16:uniqueId val="{0000009D-2993-41DE-A2CB-63102DE87051}"/>
              </c:ext>
            </c:extLst>
          </c:dPt>
          <c:dPt>
            <c:idx val="51"/>
            <c:invertIfNegative val="1"/>
            <c:bubble3D val="0"/>
            <c:spPr>
              <a:solidFill>
                <a:srgbClr val="7ECAC4"/>
              </a:solidFill>
            </c:spPr>
            <c:extLst>
              <c:ext xmlns:c16="http://schemas.microsoft.com/office/drawing/2014/chart" uri="{C3380CC4-5D6E-409C-BE32-E72D297353CC}">
                <c16:uniqueId val="{0000009F-2993-41DE-A2CB-63102DE87051}"/>
              </c:ext>
            </c:extLst>
          </c:dPt>
          <c:dPt>
            <c:idx val="52"/>
            <c:invertIfNegative val="1"/>
            <c:bubble3D val="0"/>
            <c:spPr>
              <a:solidFill>
                <a:srgbClr val="7ECAC4"/>
              </a:solidFill>
            </c:spPr>
            <c:extLst>
              <c:ext xmlns:c16="http://schemas.microsoft.com/office/drawing/2014/chart" uri="{C3380CC4-5D6E-409C-BE32-E72D297353CC}">
                <c16:uniqueId val="{000000A1-2993-41DE-A2CB-63102DE87051}"/>
              </c:ext>
            </c:extLst>
          </c:dPt>
          <c:dPt>
            <c:idx val="53"/>
            <c:invertIfNegative val="1"/>
            <c:bubble3D val="0"/>
            <c:spPr>
              <a:solidFill>
                <a:srgbClr val="7ECAC4"/>
              </a:solidFill>
            </c:spPr>
            <c:extLst>
              <c:ext xmlns:c16="http://schemas.microsoft.com/office/drawing/2014/chart" uri="{C3380CC4-5D6E-409C-BE32-E72D297353CC}">
                <c16:uniqueId val="{000000A3-2993-41DE-A2CB-63102DE87051}"/>
              </c:ext>
            </c:extLst>
          </c:dPt>
          <c:dPt>
            <c:idx val="54"/>
            <c:invertIfNegative val="0"/>
            <c:bubble3D val="0"/>
            <c:spPr>
              <a:solidFill>
                <a:srgbClr val="7ECAC4"/>
              </a:solidFill>
            </c:spPr>
            <c:extLst>
              <c:ext xmlns:c16="http://schemas.microsoft.com/office/drawing/2014/chart" uri="{C3380CC4-5D6E-409C-BE32-E72D297353CC}">
                <c16:uniqueId val="{00000072-C76F-4230-900D-40618C09729F}"/>
              </c:ext>
            </c:extLst>
          </c:dPt>
          <c:dPt>
            <c:idx val="55"/>
            <c:invertIfNegative val="0"/>
            <c:bubble3D val="0"/>
            <c:spPr>
              <a:solidFill>
                <a:srgbClr val="7ECAC4"/>
              </a:solidFill>
            </c:spPr>
            <c:extLst>
              <c:ext xmlns:c16="http://schemas.microsoft.com/office/drawing/2014/chart" uri="{C3380CC4-5D6E-409C-BE32-E72D297353CC}">
                <c16:uniqueId val="{00000074-C76F-4230-900D-40618C09729F}"/>
              </c:ext>
            </c:extLst>
          </c:dPt>
          <c:dPt>
            <c:idx val="56"/>
            <c:invertIfNegative val="0"/>
            <c:bubble3D val="0"/>
            <c:spPr>
              <a:solidFill>
                <a:srgbClr val="7ECAC4"/>
              </a:solidFill>
            </c:spPr>
            <c:extLst>
              <c:ext xmlns:c16="http://schemas.microsoft.com/office/drawing/2014/chart" uri="{C3380CC4-5D6E-409C-BE32-E72D297353CC}">
                <c16:uniqueId val="{00000076-C76F-4230-900D-40618C09729F}"/>
              </c:ext>
            </c:extLst>
          </c:dPt>
          <c:dPt>
            <c:idx val="57"/>
            <c:invertIfNegative val="0"/>
            <c:bubble3D val="0"/>
            <c:spPr>
              <a:solidFill>
                <a:srgbClr val="7ECAC4"/>
              </a:solidFill>
            </c:spPr>
            <c:extLst>
              <c:ext xmlns:c16="http://schemas.microsoft.com/office/drawing/2014/chart" uri="{C3380CC4-5D6E-409C-BE32-E72D297353CC}">
                <c16:uniqueId val="{00000078-C76F-4230-900D-40618C09729F}"/>
              </c:ext>
            </c:extLst>
          </c:dPt>
          <c:dPt>
            <c:idx val="58"/>
            <c:invertIfNegative val="0"/>
            <c:bubble3D val="0"/>
            <c:spPr>
              <a:solidFill>
                <a:srgbClr val="7ECAC4"/>
              </a:solidFill>
            </c:spPr>
            <c:extLst>
              <c:ext xmlns:c16="http://schemas.microsoft.com/office/drawing/2014/chart" uri="{C3380CC4-5D6E-409C-BE32-E72D297353CC}">
                <c16:uniqueId val="{0000007A-C76F-4230-900D-40618C09729F}"/>
              </c:ext>
            </c:extLst>
          </c:dPt>
          <c:dPt>
            <c:idx val="59"/>
            <c:invertIfNegative val="0"/>
            <c:bubble3D val="0"/>
            <c:spPr>
              <a:solidFill>
                <a:srgbClr val="7ECAC4"/>
              </a:solidFill>
            </c:spPr>
            <c:extLst>
              <c:ext xmlns:c16="http://schemas.microsoft.com/office/drawing/2014/chart" uri="{C3380CC4-5D6E-409C-BE32-E72D297353CC}">
                <c16:uniqueId val="{0000007C-C76F-4230-900D-40618C09729F}"/>
              </c:ext>
            </c:extLst>
          </c:dPt>
          <c:dPt>
            <c:idx val="60"/>
            <c:invertIfNegative val="0"/>
            <c:bubble3D val="0"/>
            <c:spPr>
              <a:solidFill>
                <a:srgbClr val="7ECAC4"/>
              </a:solidFill>
            </c:spPr>
            <c:extLst>
              <c:ext xmlns:c16="http://schemas.microsoft.com/office/drawing/2014/chart" uri="{C3380CC4-5D6E-409C-BE32-E72D297353CC}">
                <c16:uniqueId val="{0000007E-C76F-4230-900D-40618C09729F}"/>
              </c:ext>
            </c:extLst>
          </c:dPt>
          <c:dPt>
            <c:idx val="61"/>
            <c:invertIfNegative val="0"/>
            <c:bubble3D val="0"/>
            <c:spPr>
              <a:solidFill>
                <a:srgbClr val="7ECAC4"/>
              </a:solidFill>
            </c:spPr>
            <c:extLst>
              <c:ext xmlns:c16="http://schemas.microsoft.com/office/drawing/2014/chart" uri="{C3380CC4-5D6E-409C-BE32-E72D297353CC}">
                <c16:uniqueId val="{00000080-C76F-4230-900D-40618C09729F}"/>
              </c:ext>
            </c:extLst>
          </c:dPt>
          <c:dPt>
            <c:idx val="62"/>
            <c:invertIfNegative val="0"/>
            <c:bubble3D val="0"/>
            <c:spPr>
              <a:solidFill>
                <a:srgbClr val="7ECAC4"/>
              </a:solidFill>
            </c:spPr>
            <c:extLst>
              <c:ext xmlns:c16="http://schemas.microsoft.com/office/drawing/2014/chart" uri="{C3380CC4-5D6E-409C-BE32-E72D297353CC}">
                <c16:uniqueId val="{00000082-C76F-4230-900D-40618C09729F}"/>
              </c:ext>
            </c:extLst>
          </c:dPt>
          <c:dPt>
            <c:idx val="63"/>
            <c:invertIfNegative val="0"/>
            <c:bubble3D val="0"/>
            <c:spPr>
              <a:solidFill>
                <a:srgbClr val="7ECAC4"/>
              </a:solidFill>
            </c:spPr>
            <c:extLst>
              <c:ext xmlns:c16="http://schemas.microsoft.com/office/drawing/2014/chart" uri="{C3380CC4-5D6E-409C-BE32-E72D297353CC}">
                <c16:uniqueId val="{00000084-C76F-4230-900D-40618C09729F}"/>
              </c:ext>
            </c:extLst>
          </c:dPt>
          <c:dPt>
            <c:idx val="64"/>
            <c:invertIfNegative val="0"/>
            <c:bubble3D val="0"/>
            <c:spPr>
              <a:solidFill>
                <a:srgbClr val="7ECAC4"/>
              </a:solidFill>
            </c:spPr>
            <c:extLst>
              <c:ext xmlns:c16="http://schemas.microsoft.com/office/drawing/2014/chart" uri="{C3380CC4-5D6E-409C-BE32-E72D297353CC}">
                <c16:uniqueId val="{00000086-C76F-4230-900D-40618C09729F}"/>
              </c:ext>
            </c:extLst>
          </c:dPt>
          <c:dPt>
            <c:idx val="65"/>
            <c:invertIfNegative val="0"/>
            <c:bubble3D val="0"/>
            <c:spPr>
              <a:solidFill>
                <a:srgbClr val="7ECAC4"/>
              </a:solidFill>
            </c:spPr>
            <c:extLst>
              <c:ext xmlns:c16="http://schemas.microsoft.com/office/drawing/2014/chart" uri="{C3380CC4-5D6E-409C-BE32-E72D297353CC}">
                <c16:uniqueId val="{00000088-C76F-4230-900D-40618C09729F}"/>
              </c:ext>
            </c:extLst>
          </c:dPt>
          <c:dPt>
            <c:idx val="66"/>
            <c:invertIfNegative val="0"/>
            <c:bubble3D val="0"/>
            <c:spPr>
              <a:solidFill>
                <a:srgbClr val="7ECAC4"/>
              </a:solidFill>
            </c:spPr>
            <c:extLst>
              <c:ext xmlns:c16="http://schemas.microsoft.com/office/drawing/2014/chart" uri="{C3380CC4-5D6E-409C-BE32-E72D297353CC}">
                <c16:uniqueId val="{0000008A-C76F-4230-900D-40618C09729F}"/>
              </c:ext>
            </c:extLst>
          </c:dPt>
          <c:dPt>
            <c:idx val="67"/>
            <c:invertIfNegative val="0"/>
            <c:bubble3D val="0"/>
            <c:spPr>
              <a:solidFill>
                <a:srgbClr val="7ECAC4"/>
              </a:solidFill>
            </c:spPr>
            <c:extLst>
              <c:ext xmlns:c16="http://schemas.microsoft.com/office/drawing/2014/chart" uri="{C3380CC4-5D6E-409C-BE32-E72D297353CC}">
                <c16:uniqueId val="{0000008C-C76F-4230-900D-40618C09729F}"/>
              </c:ext>
            </c:extLst>
          </c:dPt>
          <c:dPt>
            <c:idx val="68"/>
            <c:invertIfNegative val="0"/>
            <c:bubble3D val="0"/>
            <c:spPr>
              <a:solidFill>
                <a:srgbClr val="7ECAC4"/>
              </a:solidFill>
            </c:spPr>
            <c:extLst>
              <c:ext xmlns:c16="http://schemas.microsoft.com/office/drawing/2014/chart" uri="{C3380CC4-5D6E-409C-BE32-E72D297353CC}">
                <c16:uniqueId val="{0000008E-C76F-4230-900D-40618C09729F}"/>
              </c:ext>
            </c:extLst>
          </c:dPt>
          <c:dPt>
            <c:idx val="69"/>
            <c:invertIfNegative val="0"/>
            <c:bubble3D val="0"/>
            <c:spPr>
              <a:solidFill>
                <a:srgbClr val="7ECAC4"/>
              </a:solidFill>
            </c:spPr>
            <c:extLst>
              <c:ext xmlns:c16="http://schemas.microsoft.com/office/drawing/2014/chart" uri="{C3380CC4-5D6E-409C-BE32-E72D297353CC}">
                <c16:uniqueId val="{00000090-C76F-4230-900D-40618C09729F}"/>
              </c:ext>
            </c:extLst>
          </c:dPt>
          <c:dPt>
            <c:idx val="70"/>
            <c:invertIfNegative val="0"/>
            <c:bubble3D val="0"/>
            <c:spPr>
              <a:solidFill>
                <a:srgbClr val="7ECAC4"/>
              </a:solidFill>
            </c:spPr>
            <c:extLst>
              <c:ext xmlns:c16="http://schemas.microsoft.com/office/drawing/2014/chart" uri="{C3380CC4-5D6E-409C-BE32-E72D297353CC}">
                <c16:uniqueId val="{00000092-C76F-4230-900D-40618C09729F}"/>
              </c:ext>
            </c:extLst>
          </c:dPt>
          <c:dPt>
            <c:idx val="71"/>
            <c:invertIfNegative val="0"/>
            <c:bubble3D val="0"/>
            <c:spPr>
              <a:solidFill>
                <a:srgbClr val="7ECAC4"/>
              </a:solidFill>
            </c:spPr>
            <c:extLst>
              <c:ext xmlns:c16="http://schemas.microsoft.com/office/drawing/2014/chart" uri="{C3380CC4-5D6E-409C-BE32-E72D297353CC}">
                <c16:uniqueId val="{00000094-C76F-4230-900D-40618C09729F}"/>
              </c:ext>
            </c:extLst>
          </c:dPt>
          <c:dPt>
            <c:idx val="72"/>
            <c:invertIfNegative val="0"/>
            <c:bubble3D val="0"/>
            <c:spPr>
              <a:solidFill>
                <a:srgbClr val="7ECAC4"/>
              </a:solidFill>
            </c:spPr>
            <c:extLst>
              <c:ext xmlns:c16="http://schemas.microsoft.com/office/drawing/2014/chart" uri="{C3380CC4-5D6E-409C-BE32-E72D297353CC}">
                <c16:uniqueId val="{00000096-C76F-4230-900D-40618C09729F}"/>
              </c:ext>
            </c:extLst>
          </c:dPt>
          <c:dPt>
            <c:idx val="73"/>
            <c:invertIfNegative val="0"/>
            <c:bubble3D val="0"/>
            <c:spPr>
              <a:solidFill>
                <a:srgbClr val="7ECAC4"/>
              </a:solidFill>
            </c:spPr>
            <c:extLst>
              <c:ext xmlns:c16="http://schemas.microsoft.com/office/drawing/2014/chart" uri="{C3380CC4-5D6E-409C-BE32-E72D297353CC}">
                <c16:uniqueId val="{00000098-C76F-4230-900D-40618C09729F}"/>
              </c:ext>
            </c:extLst>
          </c:dPt>
          <c:dPt>
            <c:idx val="74"/>
            <c:invertIfNegative val="0"/>
            <c:bubble3D val="0"/>
            <c:spPr>
              <a:solidFill>
                <a:srgbClr val="7ECAC4"/>
              </a:solidFill>
            </c:spPr>
            <c:extLst>
              <c:ext xmlns:c16="http://schemas.microsoft.com/office/drawing/2014/chart" uri="{C3380CC4-5D6E-409C-BE32-E72D297353CC}">
                <c16:uniqueId val="{0000009A-C76F-4230-900D-40618C09729F}"/>
              </c:ext>
            </c:extLst>
          </c:dPt>
          <c:dPt>
            <c:idx val="75"/>
            <c:invertIfNegative val="0"/>
            <c:bubble3D val="0"/>
            <c:spPr>
              <a:solidFill>
                <a:srgbClr val="7ECAC4"/>
              </a:solidFill>
            </c:spPr>
            <c:extLst>
              <c:ext xmlns:c16="http://schemas.microsoft.com/office/drawing/2014/chart" uri="{C3380CC4-5D6E-409C-BE32-E72D297353CC}">
                <c16:uniqueId val="{0000009C-C76F-4230-900D-40618C09729F}"/>
              </c:ext>
            </c:extLst>
          </c:dPt>
          <c:dPt>
            <c:idx val="76"/>
            <c:invertIfNegative val="0"/>
            <c:bubble3D val="0"/>
            <c:spPr>
              <a:solidFill>
                <a:srgbClr val="7ECAC4"/>
              </a:solidFill>
            </c:spPr>
            <c:extLst>
              <c:ext xmlns:c16="http://schemas.microsoft.com/office/drawing/2014/chart" uri="{C3380CC4-5D6E-409C-BE32-E72D297353CC}">
                <c16:uniqueId val="{0000009E-C76F-4230-900D-40618C09729F}"/>
              </c:ext>
            </c:extLst>
          </c:dPt>
          <c:dPt>
            <c:idx val="77"/>
            <c:invertIfNegative val="0"/>
            <c:bubble3D val="0"/>
            <c:spPr>
              <a:solidFill>
                <a:srgbClr val="7ECAC4"/>
              </a:solidFill>
            </c:spPr>
            <c:extLst>
              <c:ext xmlns:c16="http://schemas.microsoft.com/office/drawing/2014/chart" uri="{C3380CC4-5D6E-409C-BE32-E72D297353CC}">
                <c16:uniqueId val="{000000A0-C76F-4230-900D-40618C09729F}"/>
              </c:ext>
            </c:extLst>
          </c:dPt>
          <c:dPt>
            <c:idx val="78"/>
            <c:invertIfNegative val="0"/>
            <c:bubble3D val="0"/>
            <c:spPr>
              <a:solidFill>
                <a:srgbClr val="7ECAC4"/>
              </a:solidFill>
            </c:spPr>
            <c:extLst>
              <c:ext xmlns:c16="http://schemas.microsoft.com/office/drawing/2014/chart" uri="{C3380CC4-5D6E-409C-BE32-E72D297353CC}">
                <c16:uniqueId val="{000000A2-C76F-4230-900D-40618C09729F}"/>
              </c:ext>
            </c:extLst>
          </c:dPt>
          <c:dPt>
            <c:idx val="79"/>
            <c:invertIfNegative val="0"/>
            <c:bubble3D val="0"/>
            <c:spPr>
              <a:solidFill>
                <a:srgbClr val="7ECAC4"/>
              </a:solidFill>
            </c:spPr>
            <c:extLst>
              <c:ext xmlns:c16="http://schemas.microsoft.com/office/drawing/2014/chart" uri="{C3380CC4-5D6E-409C-BE32-E72D297353CC}">
                <c16:uniqueId val="{000000A4-C76F-4230-900D-40618C09729F}"/>
              </c:ext>
            </c:extLst>
          </c:dPt>
          <c:dPt>
            <c:idx val="80"/>
            <c:invertIfNegative val="0"/>
            <c:bubble3D val="0"/>
            <c:spPr>
              <a:solidFill>
                <a:srgbClr val="7ECAC4"/>
              </a:solidFill>
            </c:spPr>
            <c:extLst>
              <c:ext xmlns:c16="http://schemas.microsoft.com/office/drawing/2014/chart" uri="{C3380CC4-5D6E-409C-BE32-E72D297353CC}">
                <c16:uniqueId val="{000000A6-C76F-4230-900D-40618C09729F}"/>
              </c:ext>
            </c:extLst>
          </c:dPt>
          <c:dPt>
            <c:idx val="81"/>
            <c:invertIfNegative val="1"/>
            <c:bubble3D val="0"/>
            <c:spPr>
              <a:solidFill>
                <a:srgbClr val="7ECAC4"/>
              </a:solidFill>
            </c:spPr>
            <c:extLst>
              <c:ext xmlns:c16="http://schemas.microsoft.com/office/drawing/2014/chart" uri="{C3380CC4-5D6E-409C-BE32-E72D297353CC}">
                <c16:uniqueId val="{000000A5-2993-41DE-A2CB-63102DE87051}"/>
              </c:ext>
            </c:extLst>
          </c:dPt>
          <c:dPt>
            <c:idx val="82"/>
            <c:invertIfNegative val="1"/>
            <c:bubble3D val="0"/>
            <c:spPr>
              <a:solidFill>
                <a:srgbClr val="7ECAC4"/>
              </a:solidFill>
            </c:spPr>
            <c:extLst>
              <c:ext xmlns:c16="http://schemas.microsoft.com/office/drawing/2014/chart" uri="{C3380CC4-5D6E-409C-BE32-E72D297353CC}">
                <c16:uniqueId val="{000000A7-2993-41DE-A2CB-63102DE87051}"/>
              </c:ext>
            </c:extLst>
          </c:dPt>
          <c:dPt>
            <c:idx val="83"/>
            <c:invertIfNegative val="1"/>
            <c:bubble3D val="0"/>
            <c:spPr>
              <a:solidFill>
                <a:srgbClr val="7ECAC4"/>
              </a:solidFill>
            </c:spPr>
            <c:extLst>
              <c:ext xmlns:c16="http://schemas.microsoft.com/office/drawing/2014/chart" uri="{C3380CC4-5D6E-409C-BE32-E72D297353CC}">
                <c16:uniqueId val="{000000A9-2993-41DE-A2CB-63102DE87051}"/>
              </c:ext>
            </c:extLst>
          </c:dPt>
          <c:dPt>
            <c:idx val="84"/>
            <c:invertIfNegative val="1"/>
            <c:bubble3D val="0"/>
            <c:spPr>
              <a:solidFill>
                <a:srgbClr val="7ECAC4"/>
              </a:solidFill>
            </c:spPr>
            <c:extLst>
              <c:ext xmlns:c16="http://schemas.microsoft.com/office/drawing/2014/chart" uri="{C3380CC4-5D6E-409C-BE32-E72D297353CC}">
                <c16:uniqueId val="{000000AB-2993-41DE-A2CB-63102DE87051}"/>
              </c:ext>
            </c:extLst>
          </c:dPt>
          <c:dPt>
            <c:idx val="85"/>
            <c:invertIfNegative val="1"/>
            <c:bubble3D val="0"/>
            <c:spPr>
              <a:solidFill>
                <a:srgbClr val="7ECAC4"/>
              </a:solidFill>
            </c:spPr>
            <c:extLst>
              <c:ext xmlns:c16="http://schemas.microsoft.com/office/drawing/2014/chart" uri="{C3380CC4-5D6E-409C-BE32-E72D297353CC}">
                <c16:uniqueId val="{000000AD-2993-41DE-A2CB-63102DE87051}"/>
              </c:ext>
            </c:extLst>
          </c:dPt>
          <c:dPt>
            <c:idx val="86"/>
            <c:invertIfNegative val="1"/>
            <c:bubble3D val="0"/>
            <c:spPr>
              <a:solidFill>
                <a:srgbClr val="7ECAC4"/>
              </a:solidFill>
            </c:spPr>
            <c:extLst>
              <c:ext xmlns:c16="http://schemas.microsoft.com/office/drawing/2014/chart" uri="{C3380CC4-5D6E-409C-BE32-E72D297353CC}">
                <c16:uniqueId val="{000000AF-2993-41DE-A2CB-63102DE87051}"/>
              </c:ext>
            </c:extLst>
          </c:dPt>
          <c:dPt>
            <c:idx val="87"/>
            <c:invertIfNegative val="1"/>
            <c:bubble3D val="0"/>
            <c:spPr>
              <a:solidFill>
                <a:srgbClr val="7ECAC4"/>
              </a:solidFill>
            </c:spPr>
            <c:extLst>
              <c:ext xmlns:c16="http://schemas.microsoft.com/office/drawing/2014/chart" uri="{C3380CC4-5D6E-409C-BE32-E72D297353CC}">
                <c16:uniqueId val="{000000B1-2993-41DE-A2CB-63102DE87051}"/>
              </c:ext>
            </c:extLst>
          </c:dPt>
          <c:dPt>
            <c:idx val="88"/>
            <c:invertIfNegative val="1"/>
            <c:bubble3D val="0"/>
            <c:spPr>
              <a:solidFill>
                <a:srgbClr val="7ECAC4"/>
              </a:solidFill>
            </c:spPr>
            <c:extLst>
              <c:ext xmlns:c16="http://schemas.microsoft.com/office/drawing/2014/chart" uri="{C3380CC4-5D6E-409C-BE32-E72D297353CC}">
                <c16:uniqueId val="{000000B3-2993-41DE-A2CB-63102DE87051}"/>
              </c:ext>
            </c:extLst>
          </c:dPt>
          <c:dPt>
            <c:idx val="89"/>
            <c:invertIfNegative val="1"/>
            <c:bubble3D val="0"/>
            <c:spPr>
              <a:solidFill>
                <a:srgbClr val="7ECAC4"/>
              </a:solidFill>
            </c:spPr>
            <c:extLst>
              <c:ext xmlns:c16="http://schemas.microsoft.com/office/drawing/2014/chart" uri="{C3380CC4-5D6E-409C-BE32-E72D297353CC}">
                <c16:uniqueId val="{000000B5-2993-41DE-A2CB-63102DE87051}"/>
              </c:ext>
            </c:extLst>
          </c:dPt>
          <c:dPt>
            <c:idx val="90"/>
            <c:invertIfNegative val="1"/>
            <c:bubble3D val="0"/>
            <c:spPr>
              <a:solidFill>
                <a:srgbClr val="7ECAC4"/>
              </a:solidFill>
            </c:spPr>
            <c:extLst>
              <c:ext xmlns:c16="http://schemas.microsoft.com/office/drawing/2014/chart" uri="{C3380CC4-5D6E-409C-BE32-E72D297353CC}">
                <c16:uniqueId val="{000000B7-2993-41DE-A2CB-63102DE87051}"/>
              </c:ext>
            </c:extLst>
          </c:dPt>
          <c:dPt>
            <c:idx val="91"/>
            <c:invertIfNegative val="1"/>
            <c:bubble3D val="0"/>
            <c:spPr>
              <a:solidFill>
                <a:srgbClr val="7ECAC4"/>
              </a:solidFill>
            </c:spPr>
            <c:extLst>
              <c:ext xmlns:c16="http://schemas.microsoft.com/office/drawing/2014/chart" uri="{C3380CC4-5D6E-409C-BE32-E72D297353CC}">
                <c16:uniqueId val="{000000B9-2993-41DE-A2CB-63102DE87051}"/>
              </c:ext>
            </c:extLst>
          </c:dPt>
          <c:dPt>
            <c:idx val="92"/>
            <c:invertIfNegative val="1"/>
            <c:bubble3D val="0"/>
            <c:spPr>
              <a:solidFill>
                <a:srgbClr val="7ECAC4"/>
              </a:solidFill>
            </c:spPr>
            <c:extLst>
              <c:ext xmlns:c16="http://schemas.microsoft.com/office/drawing/2014/chart" uri="{C3380CC4-5D6E-409C-BE32-E72D297353CC}">
                <c16:uniqueId val="{000000BB-2993-41DE-A2CB-63102DE87051}"/>
              </c:ext>
            </c:extLst>
          </c:dPt>
          <c:dPt>
            <c:idx val="93"/>
            <c:invertIfNegative val="1"/>
            <c:bubble3D val="0"/>
            <c:spPr>
              <a:solidFill>
                <a:srgbClr val="7ECAC4"/>
              </a:solidFill>
            </c:spPr>
            <c:extLst>
              <c:ext xmlns:c16="http://schemas.microsoft.com/office/drawing/2014/chart" uri="{C3380CC4-5D6E-409C-BE32-E72D297353CC}">
                <c16:uniqueId val="{000000BD-2993-41DE-A2CB-63102DE87051}"/>
              </c:ext>
            </c:extLst>
          </c:dPt>
          <c:dPt>
            <c:idx val="94"/>
            <c:invertIfNegative val="1"/>
            <c:bubble3D val="0"/>
            <c:spPr>
              <a:solidFill>
                <a:srgbClr val="7ECAC4"/>
              </a:solidFill>
            </c:spPr>
            <c:extLst>
              <c:ext xmlns:c16="http://schemas.microsoft.com/office/drawing/2014/chart" uri="{C3380CC4-5D6E-409C-BE32-E72D297353CC}">
                <c16:uniqueId val="{000000BF-2993-41DE-A2CB-63102DE87051}"/>
              </c:ext>
            </c:extLst>
          </c:dPt>
          <c:dPt>
            <c:idx val="95"/>
            <c:invertIfNegative val="1"/>
            <c:bubble3D val="0"/>
            <c:spPr>
              <a:solidFill>
                <a:srgbClr val="7ECAC4"/>
              </a:solidFill>
            </c:spPr>
            <c:extLst>
              <c:ext xmlns:c16="http://schemas.microsoft.com/office/drawing/2014/chart" uri="{C3380CC4-5D6E-409C-BE32-E72D297353CC}">
                <c16:uniqueId val="{000000C1-2993-41DE-A2CB-63102DE87051}"/>
              </c:ext>
            </c:extLst>
          </c:dPt>
          <c:dPt>
            <c:idx val="96"/>
            <c:invertIfNegative val="1"/>
            <c:bubble3D val="0"/>
            <c:spPr>
              <a:solidFill>
                <a:srgbClr val="7ECAC4"/>
              </a:solidFill>
            </c:spPr>
            <c:extLst>
              <c:ext xmlns:c16="http://schemas.microsoft.com/office/drawing/2014/chart" uri="{C3380CC4-5D6E-409C-BE32-E72D297353CC}">
                <c16:uniqueId val="{000000C3-2993-41DE-A2CB-63102DE87051}"/>
              </c:ext>
            </c:extLst>
          </c:dPt>
          <c:dPt>
            <c:idx val="97"/>
            <c:invertIfNegative val="1"/>
            <c:bubble3D val="0"/>
            <c:spPr>
              <a:solidFill>
                <a:srgbClr val="7ECAC4"/>
              </a:solidFill>
            </c:spPr>
            <c:extLst>
              <c:ext xmlns:c16="http://schemas.microsoft.com/office/drawing/2014/chart" uri="{C3380CC4-5D6E-409C-BE32-E72D297353CC}">
                <c16:uniqueId val="{000000C5-2993-41DE-A2CB-63102DE87051}"/>
              </c:ext>
            </c:extLst>
          </c:dPt>
          <c:dPt>
            <c:idx val="98"/>
            <c:invertIfNegative val="1"/>
            <c:bubble3D val="0"/>
            <c:spPr>
              <a:solidFill>
                <a:srgbClr val="7ECAC4"/>
              </a:solidFill>
            </c:spPr>
            <c:extLst>
              <c:ext xmlns:c16="http://schemas.microsoft.com/office/drawing/2014/chart" uri="{C3380CC4-5D6E-409C-BE32-E72D297353CC}">
                <c16:uniqueId val="{000000C7-2993-41DE-A2CB-63102DE87051}"/>
              </c:ext>
            </c:extLst>
          </c:dPt>
          <c:dPt>
            <c:idx val="99"/>
            <c:invertIfNegative val="1"/>
            <c:bubble3D val="0"/>
            <c:spPr>
              <a:solidFill>
                <a:srgbClr val="7ECAC4"/>
              </a:solidFill>
            </c:spPr>
            <c:extLst>
              <c:ext xmlns:c16="http://schemas.microsoft.com/office/drawing/2014/chart" uri="{C3380CC4-5D6E-409C-BE32-E72D297353CC}">
                <c16:uniqueId val="{000000C9-2993-41DE-A2CB-63102DE87051}"/>
              </c:ext>
            </c:extLst>
          </c:dPt>
          <c:dPt>
            <c:idx val="100"/>
            <c:invertIfNegative val="1"/>
            <c:bubble3D val="0"/>
            <c:spPr>
              <a:solidFill>
                <a:srgbClr val="7ECAC4"/>
              </a:solidFill>
            </c:spPr>
            <c:extLst>
              <c:ext xmlns:c16="http://schemas.microsoft.com/office/drawing/2014/chart" uri="{C3380CC4-5D6E-409C-BE32-E72D297353CC}">
                <c16:uniqueId val="{000000CB-2993-41DE-A2CB-63102DE87051}"/>
              </c:ext>
            </c:extLst>
          </c:dPt>
          <c:dPt>
            <c:idx val="101"/>
            <c:invertIfNegative val="1"/>
            <c:bubble3D val="0"/>
            <c:spPr>
              <a:solidFill>
                <a:srgbClr val="7ECAC4"/>
              </a:solidFill>
            </c:spPr>
            <c:extLst>
              <c:ext xmlns:c16="http://schemas.microsoft.com/office/drawing/2014/chart" uri="{C3380CC4-5D6E-409C-BE32-E72D297353CC}">
                <c16:uniqueId val="{000000CD-2993-41DE-A2CB-63102DE87051}"/>
              </c:ext>
            </c:extLst>
          </c:dPt>
          <c:dPt>
            <c:idx val="102"/>
            <c:invertIfNegative val="1"/>
            <c:bubble3D val="0"/>
            <c:spPr>
              <a:solidFill>
                <a:srgbClr val="7ECAC4"/>
              </a:solidFill>
            </c:spPr>
            <c:extLst>
              <c:ext xmlns:c16="http://schemas.microsoft.com/office/drawing/2014/chart" uri="{C3380CC4-5D6E-409C-BE32-E72D297353CC}">
                <c16:uniqueId val="{000000CF-2993-41DE-A2CB-63102DE87051}"/>
              </c:ext>
            </c:extLst>
          </c:dPt>
          <c:dPt>
            <c:idx val="103"/>
            <c:invertIfNegative val="1"/>
            <c:bubble3D val="0"/>
            <c:spPr>
              <a:solidFill>
                <a:srgbClr val="7ECAC4"/>
              </a:solidFill>
            </c:spPr>
            <c:extLst>
              <c:ext xmlns:c16="http://schemas.microsoft.com/office/drawing/2014/chart" uri="{C3380CC4-5D6E-409C-BE32-E72D297353CC}">
                <c16:uniqueId val="{000000D1-2993-41DE-A2CB-63102DE87051}"/>
              </c:ext>
            </c:extLst>
          </c:dPt>
          <c:dPt>
            <c:idx val="104"/>
            <c:invertIfNegative val="1"/>
            <c:bubble3D val="0"/>
            <c:spPr>
              <a:solidFill>
                <a:srgbClr val="7ECAC4"/>
              </a:solidFill>
            </c:spPr>
            <c:extLst>
              <c:ext xmlns:c16="http://schemas.microsoft.com/office/drawing/2014/chart" uri="{C3380CC4-5D6E-409C-BE32-E72D297353CC}">
                <c16:uniqueId val="{000000D3-2993-41DE-A2CB-63102DE87051}"/>
              </c:ext>
            </c:extLst>
          </c:dPt>
          <c:dPt>
            <c:idx val="105"/>
            <c:invertIfNegative val="1"/>
            <c:bubble3D val="0"/>
            <c:spPr>
              <a:solidFill>
                <a:srgbClr val="7ECAC4"/>
              </a:solidFill>
            </c:spPr>
            <c:extLst>
              <c:ext xmlns:c16="http://schemas.microsoft.com/office/drawing/2014/chart" uri="{C3380CC4-5D6E-409C-BE32-E72D297353CC}">
                <c16:uniqueId val="{000000D5-2993-41DE-A2CB-63102DE87051}"/>
              </c:ext>
            </c:extLst>
          </c:dPt>
          <c:dPt>
            <c:idx val="106"/>
            <c:invertIfNegative val="1"/>
            <c:bubble3D val="0"/>
            <c:spPr>
              <a:solidFill>
                <a:srgbClr val="AEABAB"/>
              </a:solidFill>
            </c:spPr>
            <c:extLst>
              <c:ext xmlns:c16="http://schemas.microsoft.com/office/drawing/2014/chart" uri="{C3380CC4-5D6E-409C-BE32-E72D297353CC}">
                <c16:uniqueId val="{000000D7-2993-41DE-A2CB-63102DE87051}"/>
              </c:ext>
            </c:extLst>
          </c:dPt>
          <c:dPt>
            <c:idx val="107"/>
            <c:invertIfNegative val="1"/>
            <c:bubble3D val="0"/>
            <c:spPr>
              <a:solidFill>
                <a:srgbClr val="AEABAB"/>
              </a:solidFill>
            </c:spPr>
            <c:extLst>
              <c:ext xmlns:c16="http://schemas.microsoft.com/office/drawing/2014/chart" uri="{C3380CC4-5D6E-409C-BE32-E72D297353CC}">
                <c16:uniqueId val="{000000D9-2993-41DE-A2CB-63102DE87051}"/>
              </c:ext>
            </c:extLst>
          </c:dPt>
          <c:dPt>
            <c:idx val="108"/>
            <c:invertIfNegative val="1"/>
            <c:bubble3D val="0"/>
            <c:spPr>
              <a:solidFill>
                <a:srgbClr val="AEABAB"/>
              </a:solidFill>
            </c:spPr>
            <c:extLst>
              <c:ext xmlns:c16="http://schemas.microsoft.com/office/drawing/2014/chart" uri="{C3380CC4-5D6E-409C-BE32-E72D297353CC}">
                <c16:uniqueId val="{000000DB-2993-41DE-A2CB-63102DE87051}"/>
              </c:ext>
            </c:extLst>
          </c:dPt>
          <c:dPt>
            <c:idx val="109"/>
            <c:invertIfNegative val="1"/>
            <c:bubble3D val="0"/>
            <c:spPr>
              <a:solidFill>
                <a:srgbClr val="AEABAB"/>
              </a:solidFill>
            </c:spPr>
            <c:extLst>
              <c:ext xmlns:c16="http://schemas.microsoft.com/office/drawing/2014/chart" uri="{C3380CC4-5D6E-409C-BE32-E72D297353CC}">
                <c16:uniqueId val="{000000DD-2993-41DE-A2CB-63102DE87051}"/>
              </c:ext>
            </c:extLst>
          </c:dPt>
          <c:dPt>
            <c:idx val="110"/>
            <c:invertIfNegative val="1"/>
            <c:bubble3D val="0"/>
            <c:spPr>
              <a:solidFill>
                <a:srgbClr val="AEABAB"/>
              </a:solidFill>
            </c:spPr>
            <c:extLst>
              <c:ext xmlns:c16="http://schemas.microsoft.com/office/drawing/2014/chart" uri="{C3380CC4-5D6E-409C-BE32-E72D297353CC}">
                <c16:uniqueId val="{000000DF-2993-41DE-A2CB-63102DE87051}"/>
              </c:ext>
            </c:extLst>
          </c:dPt>
          <c:dPt>
            <c:idx val="111"/>
            <c:invertIfNegative val="1"/>
            <c:bubble3D val="0"/>
            <c:spPr>
              <a:solidFill>
                <a:srgbClr val="AEABAB"/>
              </a:solidFill>
            </c:spPr>
            <c:extLst>
              <c:ext xmlns:c16="http://schemas.microsoft.com/office/drawing/2014/chart" uri="{C3380CC4-5D6E-409C-BE32-E72D297353CC}">
                <c16:uniqueId val="{000000E1-2993-41DE-A2CB-63102DE87051}"/>
              </c:ext>
            </c:extLst>
          </c:dPt>
          <c:dPt>
            <c:idx val="112"/>
            <c:invertIfNegative val="1"/>
            <c:bubble3D val="0"/>
            <c:spPr>
              <a:solidFill>
                <a:srgbClr val="AEABAB"/>
              </a:solidFill>
            </c:spPr>
            <c:extLst>
              <c:ext xmlns:c16="http://schemas.microsoft.com/office/drawing/2014/chart" uri="{C3380CC4-5D6E-409C-BE32-E72D297353CC}">
                <c16:uniqueId val="{000000E3-2993-41DE-A2CB-63102DE87051}"/>
              </c:ext>
            </c:extLst>
          </c:dPt>
          <c:dPt>
            <c:idx val="113"/>
            <c:invertIfNegative val="1"/>
            <c:bubble3D val="0"/>
            <c:spPr>
              <a:solidFill>
                <a:srgbClr val="AEABAB"/>
              </a:solidFill>
            </c:spPr>
            <c:extLst>
              <c:ext xmlns:c16="http://schemas.microsoft.com/office/drawing/2014/chart" uri="{C3380CC4-5D6E-409C-BE32-E72D297353CC}">
                <c16:uniqueId val="{000000E5-2993-41DE-A2CB-63102DE87051}"/>
              </c:ext>
            </c:extLst>
          </c:dPt>
          <c:dPt>
            <c:idx val="114"/>
            <c:invertIfNegative val="1"/>
            <c:bubble3D val="0"/>
            <c:spPr>
              <a:solidFill>
                <a:srgbClr val="AEABAB"/>
              </a:solidFill>
            </c:spPr>
            <c:extLst>
              <c:ext xmlns:c16="http://schemas.microsoft.com/office/drawing/2014/chart" uri="{C3380CC4-5D6E-409C-BE32-E72D297353CC}">
                <c16:uniqueId val="{000000E7-2993-41DE-A2CB-63102DE87051}"/>
              </c:ext>
            </c:extLst>
          </c:dPt>
          <c:dPt>
            <c:idx val="115"/>
            <c:invertIfNegative val="1"/>
            <c:bubble3D val="0"/>
            <c:spPr>
              <a:solidFill>
                <a:srgbClr val="AEABAB"/>
              </a:solidFill>
            </c:spPr>
            <c:extLst>
              <c:ext xmlns:c16="http://schemas.microsoft.com/office/drawing/2014/chart" uri="{C3380CC4-5D6E-409C-BE32-E72D297353CC}">
                <c16:uniqueId val="{000000E9-2993-41DE-A2CB-63102DE87051}"/>
              </c:ext>
            </c:extLst>
          </c:dPt>
          <c:dPt>
            <c:idx val="116"/>
            <c:invertIfNegative val="1"/>
            <c:bubble3D val="0"/>
            <c:spPr>
              <a:solidFill>
                <a:srgbClr val="AEABAB"/>
              </a:solidFill>
            </c:spPr>
            <c:extLst>
              <c:ext xmlns:c16="http://schemas.microsoft.com/office/drawing/2014/chart" uri="{C3380CC4-5D6E-409C-BE32-E72D297353CC}">
                <c16:uniqueId val="{000000EB-2993-41DE-A2CB-63102DE87051}"/>
              </c:ext>
            </c:extLst>
          </c:dPt>
          <c:dPt>
            <c:idx val="117"/>
            <c:invertIfNegative val="1"/>
            <c:bubble3D val="0"/>
            <c:spPr>
              <a:solidFill>
                <a:srgbClr val="AEABAB"/>
              </a:solidFill>
            </c:spPr>
            <c:extLst>
              <c:ext xmlns:c16="http://schemas.microsoft.com/office/drawing/2014/chart" uri="{C3380CC4-5D6E-409C-BE32-E72D297353CC}">
                <c16:uniqueId val="{000000ED-2993-41DE-A2CB-63102DE87051}"/>
              </c:ext>
            </c:extLst>
          </c:dPt>
          <c:dPt>
            <c:idx val="118"/>
            <c:invertIfNegative val="1"/>
            <c:bubble3D val="0"/>
            <c:spPr>
              <a:solidFill>
                <a:srgbClr val="AEABAB"/>
              </a:solidFill>
            </c:spPr>
            <c:extLst>
              <c:ext xmlns:c16="http://schemas.microsoft.com/office/drawing/2014/chart" uri="{C3380CC4-5D6E-409C-BE32-E72D297353CC}">
                <c16:uniqueId val="{000000EF-2993-41DE-A2CB-63102DE87051}"/>
              </c:ext>
            </c:extLst>
          </c:dPt>
          <c:dPt>
            <c:idx val="119"/>
            <c:invertIfNegative val="1"/>
            <c:bubble3D val="0"/>
            <c:spPr>
              <a:solidFill>
                <a:srgbClr val="AEABAB"/>
              </a:solidFill>
            </c:spPr>
            <c:extLst>
              <c:ext xmlns:c16="http://schemas.microsoft.com/office/drawing/2014/chart" uri="{C3380CC4-5D6E-409C-BE32-E72D297353CC}">
                <c16:uniqueId val="{000000F1-2993-41DE-A2CB-63102DE87051}"/>
              </c:ext>
            </c:extLst>
          </c:dPt>
          <c:dPt>
            <c:idx val="120"/>
            <c:invertIfNegative val="1"/>
            <c:bubble3D val="0"/>
            <c:spPr>
              <a:solidFill>
                <a:srgbClr val="AEABAB"/>
              </a:solidFill>
            </c:spPr>
            <c:extLst>
              <c:ext xmlns:c16="http://schemas.microsoft.com/office/drawing/2014/chart" uri="{C3380CC4-5D6E-409C-BE32-E72D297353CC}">
                <c16:uniqueId val="{000000F3-2993-41DE-A2CB-63102DE87051}"/>
              </c:ext>
            </c:extLst>
          </c:dPt>
          <c:dPt>
            <c:idx val="121"/>
            <c:invertIfNegative val="1"/>
            <c:bubble3D val="0"/>
            <c:spPr>
              <a:solidFill>
                <a:srgbClr val="AEABAB"/>
              </a:solidFill>
            </c:spPr>
            <c:extLst>
              <c:ext xmlns:c16="http://schemas.microsoft.com/office/drawing/2014/chart" uri="{C3380CC4-5D6E-409C-BE32-E72D297353CC}">
                <c16:uniqueId val="{000000F5-2993-41DE-A2CB-63102DE87051}"/>
              </c:ext>
            </c:extLst>
          </c:dPt>
          <c:dPt>
            <c:idx val="122"/>
            <c:invertIfNegative val="1"/>
            <c:bubble3D val="0"/>
            <c:spPr>
              <a:solidFill>
                <a:srgbClr val="AEABAB"/>
              </a:solidFill>
            </c:spPr>
            <c:extLst>
              <c:ext xmlns:c16="http://schemas.microsoft.com/office/drawing/2014/chart" uri="{C3380CC4-5D6E-409C-BE32-E72D297353CC}">
                <c16:uniqueId val="{000000F7-2993-41DE-A2CB-63102DE87051}"/>
              </c:ext>
            </c:extLst>
          </c:dPt>
          <c:dPt>
            <c:idx val="123"/>
            <c:invertIfNegative val="1"/>
            <c:bubble3D val="0"/>
            <c:spPr>
              <a:solidFill>
                <a:srgbClr val="AEABAB"/>
              </a:solidFill>
            </c:spPr>
            <c:extLst>
              <c:ext xmlns:c16="http://schemas.microsoft.com/office/drawing/2014/chart" uri="{C3380CC4-5D6E-409C-BE32-E72D297353CC}">
                <c16:uniqueId val="{000000F9-2993-41DE-A2CB-63102DE87051}"/>
              </c:ext>
            </c:extLst>
          </c:dPt>
          <c:dPt>
            <c:idx val="124"/>
            <c:invertIfNegative val="1"/>
            <c:bubble3D val="0"/>
            <c:spPr>
              <a:solidFill>
                <a:srgbClr val="AEABAB"/>
              </a:solidFill>
            </c:spPr>
            <c:extLst>
              <c:ext xmlns:c16="http://schemas.microsoft.com/office/drawing/2014/chart" uri="{C3380CC4-5D6E-409C-BE32-E72D297353CC}">
                <c16:uniqueId val="{000000FB-2993-41DE-A2CB-63102DE87051}"/>
              </c:ext>
            </c:extLst>
          </c:dPt>
          <c:dPt>
            <c:idx val="125"/>
            <c:invertIfNegative val="1"/>
            <c:bubble3D val="0"/>
            <c:spPr>
              <a:solidFill>
                <a:srgbClr val="AEABAB"/>
              </a:solidFill>
            </c:spPr>
            <c:extLst>
              <c:ext xmlns:c16="http://schemas.microsoft.com/office/drawing/2014/chart" uri="{C3380CC4-5D6E-409C-BE32-E72D297353CC}">
                <c16:uniqueId val="{000000FD-2993-41DE-A2CB-63102DE87051}"/>
              </c:ext>
            </c:extLst>
          </c:dPt>
          <c:dPt>
            <c:idx val="126"/>
            <c:invertIfNegative val="1"/>
            <c:bubble3D val="0"/>
            <c:spPr>
              <a:solidFill>
                <a:srgbClr val="AEABAB"/>
              </a:solidFill>
            </c:spPr>
            <c:extLst>
              <c:ext xmlns:c16="http://schemas.microsoft.com/office/drawing/2014/chart" uri="{C3380CC4-5D6E-409C-BE32-E72D297353CC}">
                <c16:uniqueId val="{000000FF-2993-41DE-A2CB-63102DE87051}"/>
              </c:ext>
            </c:extLst>
          </c:dPt>
          <c:dPt>
            <c:idx val="127"/>
            <c:invertIfNegative val="1"/>
            <c:bubble3D val="0"/>
            <c:spPr>
              <a:solidFill>
                <a:srgbClr val="AEABAB"/>
              </a:solidFill>
            </c:spPr>
            <c:extLst>
              <c:ext xmlns:c16="http://schemas.microsoft.com/office/drawing/2014/chart" uri="{C3380CC4-5D6E-409C-BE32-E72D297353CC}">
                <c16:uniqueId val="{00000101-2993-41DE-A2CB-63102DE87051}"/>
              </c:ext>
            </c:extLst>
          </c:dPt>
          <c:dPt>
            <c:idx val="128"/>
            <c:invertIfNegative val="1"/>
            <c:bubble3D val="0"/>
            <c:spPr>
              <a:solidFill>
                <a:srgbClr val="AEABAB"/>
              </a:solidFill>
            </c:spPr>
            <c:extLst>
              <c:ext xmlns:c16="http://schemas.microsoft.com/office/drawing/2014/chart" uri="{C3380CC4-5D6E-409C-BE32-E72D297353CC}">
                <c16:uniqueId val="{00000103-2993-41DE-A2CB-63102DE87051}"/>
              </c:ext>
            </c:extLst>
          </c:dPt>
          <c:dPt>
            <c:idx val="129"/>
            <c:invertIfNegative val="1"/>
            <c:bubble3D val="0"/>
            <c:spPr>
              <a:solidFill>
                <a:srgbClr val="AEABAB"/>
              </a:solidFill>
            </c:spPr>
            <c:extLst>
              <c:ext xmlns:c16="http://schemas.microsoft.com/office/drawing/2014/chart" uri="{C3380CC4-5D6E-409C-BE32-E72D297353CC}">
                <c16:uniqueId val="{00000105-2993-41DE-A2CB-63102DE87051}"/>
              </c:ext>
            </c:extLst>
          </c:dPt>
          <c:dPt>
            <c:idx val="130"/>
            <c:invertIfNegative val="1"/>
            <c:bubble3D val="0"/>
            <c:spPr>
              <a:solidFill>
                <a:srgbClr val="AEABAB"/>
              </a:solidFill>
            </c:spPr>
            <c:extLst>
              <c:ext xmlns:c16="http://schemas.microsoft.com/office/drawing/2014/chart" uri="{C3380CC4-5D6E-409C-BE32-E72D297353CC}">
                <c16:uniqueId val="{00000107-2993-41DE-A2CB-63102DE87051}"/>
              </c:ext>
            </c:extLst>
          </c:dPt>
          <c:dPt>
            <c:idx val="131"/>
            <c:invertIfNegative val="1"/>
            <c:bubble3D val="0"/>
            <c:spPr>
              <a:solidFill>
                <a:srgbClr val="AEABAB"/>
              </a:solidFill>
            </c:spPr>
            <c:extLst>
              <c:ext xmlns:c16="http://schemas.microsoft.com/office/drawing/2014/chart" uri="{C3380CC4-5D6E-409C-BE32-E72D297353CC}">
                <c16:uniqueId val="{00000109-2993-41DE-A2CB-63102DE87051}"/>
              </c:ext>
            </c:extLst>
          </c:dPt>
          <c:dPt>
            <c:idx val="132"/>
            <c:invertIfNegative val="1"/>
            <c:bubble3D val="0"/>
            <c:spPr>
              <a:solidFill>
                <a:srgbClr val="AEABAB"/>
              </a:solidFill>
            </c:spPr>
            <c:extLst>
              <c:ext xmlns:c16="http://schemas.microsoft.com/office/drawing/2014/chart" uri="{C3380CC4-5D6E-409C-BE32-E72D297353CC}">
                <c16:uniqueId val="{0000010B-2993-41DE-A2CB-63102DE87051}"/>
              </c:ext>
            </c:extLst>
          </c:dPt>
          <c:dPt>
            <c:idx val="133"/>
            <c:invertIfNegative val="1"/>
            <c:bubble3D val="0"/>
            <c:spPr>
              <a:solidFill>
                <a:srgbClr val="AEABAB"/>
              </a:solidFill>
            </c:spPr>
            <c:extLst>
              <c:ext xmlns:c16="http://schemas.microsoft.com/office/drawing/2014/chart" uri="{C3380CC4-5D6E-409C-BE32-E72D297353CC}">
                <c16:uniqueId val="{0000010D-2993-41DE-A2CB-63102DE87051}"/>
              </c:ext>
            </c:extLst>
          </c:dPt>
          <c:dPt>
            <c:idx val="134"/>
            <c:invertIfNegative val="1"/>
            <c:bubble3D val="0"/>
            <c:spPr>
              <a:solidFill>
                <a:srgbClr val="AEABAB"/>
              </a:solidFill>
            </c:spPr>
            <c:extLst>
              <c:ext xmlns:c16="http://schemas.microsoft.com/office/drawing/2014/chart" uri="{C3380CC4-5D6E-409C-BE32-E72D297353CC}">
                <c16:uniqueId val="{0000010F-2993-41DE-A2CB-63102DE87051}"/>
              </c:ext>
            </c:extLst>
          </c:dPt>
          <c:dPt>
            <c:idx val="135"/>
            <c:invertIfNegative val="1"/>
            <c:bubble3D val="0"/>
            <c:spPr>
              <a:solidFill>
                <a:srgbClr val="AEABAB"/>
              </a:solidFill>
            </c:spPr>
            <c:extLst>
              <c:ext xmlns:c16="http://schemas.microsoft.com/office/drawing/2014/chart" uri="{C3380CC4-5D6E-409C-BE32-E72D297353CC}">
                <c16:uniqueId val="{00000111-2993-41DE-A2CB-63102DE87051}"/>
              </c:ext>
            </c:extLst>
          </c:dPt>
          <c:dPt>
            <c:idx val="136"/>
            <c:invertIfNegative val="1"/>
            <c:bubble3D val="0"/>
            <c:spPr>
              <a:solidFill>
                <a:srgbClr val="AEABAB"/>
              </a:solidFill>
            </c:spPr>
            <c:extLst>
              <c:ext xmlns:c16="http://schemas.microsoft.com/office/drawing/2014/chart" uri="{C3380CC4-5D6E-409C-BE32-E72D297353CC}">
                <c16:uniqueId val="{00000113-2993-41DE-A2CB-63102DE87051}"/>
              </c:ext>
            </c:extLst>
          </c:dPt>
          <c:dPt>
            <c:idx val="137"/>
            <c:invertIfNegative val="1"/>
            <c:bubble3D val="0"/>
            <c:spPr>
              <a:solidFill>
                <a:srgbClr val="AEABAB"/>
              </a:solidFill>
            </c:spPr>
            <c:extLst>
              <c:ext xmlns:c16="http://schemas.microsoft.com/office/drawing/2014/chart" uri="{C3380CC4-5D6E-409C-BE32-E72D297353CC}">
                <c16:uniqueId val="{00000115-2993-41DE-A2CB-63102DE87051}"/>
              </c:ext>
            </c:extLst>
          </c:dPt>
          <c:dPt>
            <c:idx val="138"/>
            <c:invertIfNegative val="1"/>
            <c:bubble3D val="0"/>
            <c:spPr>
              <a:solidFill>
                <a:srgbClr val="AEABAB"/>
              </a:solidFill>
            </c:spPr>
            <c:extLst>
              <c:ext xmlns:c16="http://schemas.microsoft.com/office/drawing/2014/chart" uri="{C3380CC4-5D6E-409C-BE32-E72D297353CC}">
                <c16:uniqueId val="{00000117-2993-41DE-A2CB-63102DE87051}"/>
              </c:ext>
            </c:extLst>
          </c:dPt>
          <c:dPt>
            <c:idx val="139"/>
            <c:invertIfNegative val="1"/>
            <c:bubble3D val="0"/>
            <c:spPr>
              <a:solidFill>
                <a:srgbClr val="AEABAB"/>
              </a:solidFill>
            </c:spPr>
            <c:extLst>
              <c:ext xmlns:c16="http://schemas.microsoft.com/office/drawing/2014/chart" uri="{C3380CC4-5D6E-409C-BE32-E72D297353CC}">
                <c16:uniqueId val="{00000119-2993-41DE-A2CB-63102DE87051}"/>
              </c:ext>
            </c:extLst>
          </c:dPt>
          <c:dPt>
            <c:idx val="140"/>
            <c:invertIfNegative val="1"/>
            <c:bubble3D val="0"/>
            <c:spPr>
              <a:solidFill>
                <a:srgbClr val="AEABAB"/>
              </a:solidFill>
            </c:spPr>
            <c:extLst>
              <c:ext xmlns:c16="http://schemas.microsoft.com/office/drawing/2014/chart" uri="{C3380CC4-5D6E-409C-BE32-E72D297353CC}">
                <c16:uniqueId val="{0000011B-2993-41DE-A2CB-63102DE87051}"/>
              </c:ext>
            </c:extLst>
          </c:dPt>
          <c:dPt>
            <c:idx val="141"/>
            <c:invertIfNegative val="1"/>
            <c:bubble3D val="0"/>
            <c:spPr>
              <a:solidFill>
                <a:srgbClr val="AEABAB"/>
              </a:solidFill>
            </c:spPr>
            <c:extLst>
              <c:ext xmlns:c16="http://schemas.microsoft.com/office/drawing/2014/chart" uri="{C3380CC4-5D6E-409C-BE32-E72D297353CC}">
                <c16:uniqueId val="{0000011D-2993-41DE-A2CB-63102DE87051}"/>
              </c:ext>
            </c:extLst>
          </c:dPt>
          <c:dPt>
            <c:idx val="142"/>
            <c:invertIfNegative val="1"/>
            <c:bubble3D val="0"/>
            <c:spPr>
              <a:solidFill>
                <a:srgbClr val="AEABAB"/>
              </a:solidFill>
            </c:spPr>
            <c:extLst>
              <c:ext xmlns:c16="http://schemas.microsoft.com/office/drawing/2014/chart" uri="{C3380CC4-5D6E-409C-BE32-E72D297353CC}">
                <c16:uniqueId val="{0000011F-2993-41DE-A2CB-63102DE87051}"/>
              </c:ext>
            </c:extLst>
          </c:dPt>
          <c:dPt>
            <c:idx val="143"/>
            <c:invertIfNegative val="1"/>
            <c:bubble3D val="0"/>
            <c:spPr>
              <a:solidFill>
                <a:srgbClr val="AEABAB"/>
              </a:solidFill>
            </c:spPr>
            <c:extLst>
              <c:ext xmlns:c16="http://schemas.microsoft.com/office/drawing/2014/chart" uri="{C3380CC4-5D6E-409C-BE32-E72D297353CC}">
                <c16:uniqueId val="{00000121-2993-41DE-A2CB-63102DE87051}"/>
              </c:ext>
            </c:extLst>
          </c:dPt>
          <c:dPt>
            <c:idx val="144"/>
            <c:invertIfNegative val="1"/>
            <c:bubble3D val="0"/>
            <c:spPr>
              <a:solidFill>
                <a:srgbClr val="AEABAB"/>
              </a:solidFill>
            </c:spPr>
            <c:extLst>
              <c:ext xmlns:c16="http://schemas.microsoft.com/office/drawing/2014/chart" uri="{C3380CC4-5D6E-409C-BE32-E72D297353CC}">
                <c16:uniqueId val="{00000123-2993-41DE-A2CB-63102DE87051}"/>
              </c:ext>
            </c:extLst>
          </c:dPt>
          <c:dPt>
            <c:idx val="145"/>
            <c:invertIfNegative val="1"/>
            <c:bubble3D val="0"/>
            <c:spPr>
              <a:solidFill>
                <a:srgbClr val="AEABAB"/>
              </a:solidFill>
            </c:spPr>
            <c:extLst>
              <c:ext xmlns:c16="http://schemas.microsoft.com/office/drawing/2014/chart" uri="{C3380CC4-5D6E-409C-BE32-E72D297353CC}">
                <c16:uniqueId val="{00000125-2993-41DE-A2CB-63102DE87051}"/>
              </c:ext>
            </c:extLst>
          </c:dPt>
          <c:dPt>
            <c:idx val="146"/>
            <c:invertIfNegative val="1"/>
            <c:bubble3D val="0"/>
            <c:spPr>
              <a:solidFill>
                <a:srgbClr val="AEABAB"/>
              </a:solidFill>
            </c:spPr>
            <c:extLst>
              <c:ext xmlns:c16="http://schemas.microsoft.com/office/drawing/2014/chart" uri="{C3380CC4-5D6E-409C-BE32-E72D297353CC}">
                <c16:uniqueId val="{00000127-2993-41DE-A2CB-63102DE87051}"/>
              </c:ext>
            </c:extLst>
          </c:dPt>
          <c:dPt>
            <c:idx val="147"/>
            <c:invertIfNegative val="1"/>
            <c:bubble3D val="0"/>
            <c:spPr>
              <a:solidFill>
                <a:srgbClr val="AEABAB"/>
              </a:solidFill>
            </c:spPr>
            <c:extLst>
              <c:ext xmlns:c16="http://schemas.microsoft.com/office/drawing/2014/chart" uri="{C3380CC4-5D6E-409C-BE32-E72D297353CC}">
                <c16:uniqueId val="{00000129-2993-41DE-A2CB-63102DE87051}"/>
              </c:ext>
            </c:extLst>
          </c:dPt>
          <c:dPt>
            <c:idx val="148"/>
            <c:invertIfNegative val="1"/>
            <c:bubble3D val="0"/>
            <c:spPr>
              <a:solidFill>
                <a:srgbClr val="AEABAB"/>
              </a:solidFill>
            </c:spPr>
            <c:extLst>
              <c:ext xmlns:c16="http://schemas.microsoft.com/office/drawing/2014/chart" uri="{C3380CC4-5D6E-409C-BE32-E72D297353CC}">
                <c16:uniqueId val="{0000012B-2993-41DE-A2CB-63102DE87051}"/>
              </c:ext>
            </c:extLst>
          </c:dPt>
          <c:dPt>
            <c:idx val="149"/>
            <c:invertIfNegative val="1"/>
            <c:bubble3D val="0"/>
            <c:spPr>
              <a:solidFill>
                <a:srgbClr val="AEABAB"/>
              </a:solidFill>
            </c:spPr>
            <c:extLst>
              <c:ext xmlns:c16="http://schemas.microsoft.com/office/drawing/2014/chart" uri="{C3380CC4-5D6E-409C-BE32-E72D297353CC}">
                <c16:uniqueId val="{0000012D-2993-41DE-A2CB-63102DE87051}"/>
              </c:ext>
            </c:extLst>
          </c:dPt>
          <c:dPt>
            <c:idx val="150"/>
            <c:invertIfNegative val="1"/>
            <c:bubble3D val="0"/>
            <c:spPr>
              <a:solidFill>
                <a:srgbClr val="AEABAB"/>
              </a:solidFill>
            </c:spPr>
            <c:extLst>
              <c:ext xmlns:c16="http://schemas.microsoft.com/office/drawing/2014/chart" uri="{C3380CC4-5D6E-409C-BE32-E72D297353CC}">
                <c16:uniqueId val="{0000012F-2993-41DE-A2CB-63102DE87051}"/>
              </c:ext>
            </c:extLst>
          </c:dPt>
          <c:dPt>
            <c:idx val="151"/>
            <c:invertIfNegative val="1"/>
            <c:bubble3D val="0"/>
            <c:spPr>
              <a:solidFill>
                <a:srgbClr val="AEABAB"/>
              </a:solidFill>
            </c:spPr>
            <c:extLst>
              <c:ext xmlns:c16="http://schemas.microsoft.com/office/drawing/2014/chart" uri="{C3380CC4-5D6E-409C-BE32-E72D297353CC}">
                <c16:uniqueId val="{00000131-2993-41DE-A2CB-63102DE87051}"/>
              </c:ext>
            </c:extLst>
          </c:dPt>
          <c:dPt>
            <c:idx val="152"/>
            <c:invertIfNegative val="1"/>
            <c:bubble3D val="0"/>
            <c:spPr>
              <a:solidFill>
                <a:srgbClr val="AEABAB"/>
              </a:solidFill>
            </c:spPr>
            <c:extLst>
              <c:ext xmlns:c16="http://schemas.microsoft.com/office/drawing/2014/chart" uri="{C3380CC4-5D6E-409C-BE32-E72D297353CC}">
                <c16:uniqueId val="{00000133-2993-41DE-A2CB-63102DE87051}"/>
              </c:ext>
            </c:extLst>
          </c:dPt>
          <c:dPt>
            <c:idx val="153"/>
            <c:invertIfNegative val="1"/>
            <c:bubble3D val="0"/>
            <c:spPr>
              <a:solidFill>
                <a:srgbClr val="AEABAB"/>
              </a:solidFill>
            </c:spPr>
            <c:extLst>
              <c:ext xmlns:c16="http://schemas.microsoft.com/office/drawing/2014/chart" uri="{C3380CC4-5D6E-409C-BE32-E72D297353CC}">
                <c16:uniqueId val="{00000135-2993-41DE-A2CB-63102DE87051}"/>
              </c:ext>
            </c:extLst>
          </c:dPt>
          <c:dPt>
            <c:idx val="154"/>
            <c:invertIfNegative val="1"/>
            <c:bubble3D val="0"/>
            <c:spPr>
              <a:solidFill>
                <a:srgbClr val="AEABAB"/>
              </a:solidFill>
            </c:spPr>
            <c:extLst>
              <c:ext xmlns:c16="http://schemas.microsoft.com/office/drawing/2014/chart" uri="{C3380CC4-5D6E-409C-BE32-E72D297353CC}">
                <c16:uniqueId val="{00000137-2993-41DE-A2CB-63102DE87051}"/>
              </c:ext>
            </c:extLst>
          </c:dPt>
          <c:dPt>
            <c:idx val="155"/>
            <c:invertIfNegative val="1"/>
            <c:bubble3D val="0"/>
            <c:spPr>
              <a:solidFill>
                <a:srgbClr val="AEABAB"/>
              </a:solidFill>
            </c:spPr>
            <c:extLst>
              <c:ext xmlns:c16="http://schemas.microsoft.com/office/drawing/2014/chart" uri="{C3380CC4-5D6E-409C-BE32-E72D297353CC}">
                <c16:uniqueId val="{00000139-2993-41DE-A2CB-63102DE87051}"/>
              </c:ext>
            </c:extLst>
          </c:dPt>
          <c:dPt>
            <c:idx val="156"/>
            <c:invertIfNegative val="1"/>
            <c:bubble3D val="0"/>
            <c:spPr>
              <a:solidFill>
                <a:srgbClr val="AEABAB"/>
              </a:solidFill>
            </c:spPr>
            <c:extLst>
              <c:ext xmlns:c16="http://schemas.microsoft.com/office/drawing/2014/chart" uri="{C3380CC4-5D6E-409C-BE32-E72D297353CC}">
                <c16:uniqueId val="{0000013B-2993-41DE-A2CB-63102DE87051}"/>
              </c:ext>
            </c:extLst>
          </c:dPt>
          <c:dPt>
            <c:idx val="157"/>
            <c:invertIfNegative val="1"/>
            <c:bubble3D val="0"/>
            <c:spPr>
              <a:solidFill>
                <a:srgbClr val="AEABAB"/>
              </a:solidFill>
            </c:spPr>
            <c:extLst>
              <c:ext xmlns:c16="http://schemas.microsoft.com/office/drawing/2014/chart" uri="{C3380CC4-5D6E-409C-BE32-E72D297353CC}">
                <c16:uniqueId val="{0000013D-2993-41DE-A2CB-63102DE87051}"/>
              </c:ext>
            </c:extLst>
          </c:dPt>
          <c:dPt>
            <c:idx val="158"/>
            <c:invertIfNegative val="1"/>
            <c:bubble3D val="0"/>
            <c:spPr>
              <a:solidFill>
                <a:srgbClr val="AEABAB"/>
              </a:solidFill>
            </c:spPr>
            <c:extLst>
              <c:ext xmlns:c16="http://schemas.microsoft.com/office/drawing/2014/chart" uri="{C3380CC4-5D6E-409C-BE32-E72D297353CC}">
                <c16:uniqueId val="{0000013F-2993-41DE-A2CB-63102DE87051}"/>
              </c:ext>
            </c:extLst>
          </c:dPt>
          <c:dPt>
            <c:idx val="159"/>
            <c:invertIfNegative val="1"/>
            <c:bubble3D val="0"/>
            <c:spPr>
              <a:solidFill>
                <a:srgbClr val="AEABAB"/>
              </a:solidFill>
            </c:spPr>
            <c:extLst>
              <c:ext xmlns:c16="http://schemas.microsoft.com/office/drawing/2014/chart" uri="{C3380CC4-5D6E-409C-BE32-E72D297353CC}">
                <c16:uniqueId val="{00000141-2993-41DE-A2CB-63102DE87051}"/>
              </c:ext>
            </c:extLst>
          </c:dPt>
          <c:dPt>
            <c:idx val="160"/>
            <c:invertIfNegative val="1"/>
            <c:bubble3D val="0"/>
            <c:spPr>
              <a:solidFill>
                <a:srgbClr val="AEABAB"/>
              </a:solidFill>
            </c:spPr>
            <c:extLst>
              <c:ext xmlns:c16="http://schemas.microsoft.com/office/drawing/2014/chart" uri="{C3380CC4-5D6E-409C-BE32-E72D297353CC}">
                <c16:uniqueId val="{00000143-2993-41DE-A2CB-63102DE87051}"/>
              </c:ext>
            </c:extLst>
          </c:dPt>
          <c:dPt>
            <c:idx val="161"/>
            <c:invertIfNegative val="1"/>
            <c:bubble3D val="0"/>
            <c:spPr>
              <a:solidFill>
                <a:srgbClr val="AEABAB"/>
              </a:solidFill>
            </c:spPr>
            <c:extLst>
              <c:ext xmlns:c16="http://schemas.microsoft.com/office/drawing/2014/chart" uri="{C3380CC4-5D6E-409C-BE32-E72D297353CC}">
                <c16:uniqueId val="{00000145-2993-41DE-A2CB-63102DE87051}"/>
              </c:ext>
            </c:extLst>
          </c:dPt>
          <c:dPt>
            <c:idx val="162"/>
            <c:invertIfNegative val="1"/>
            <c:bubble3D val="0"/>
            <c:spPr>
              <a:solidFill>
                <a:srgbClr val="AEABAB"/>
              </a:solidFill>
            </c:spPr>
            <c:extLst>
              <c:ext xmlns:c16="http://schemas.microsoft.com/office/drawing/2014/chart" uri="{C3380CC4-5D6E-409C-BE32-E72D297353CC}">
                <c16:uniqueId val="{00000147-2993-41DE-A2CB-63102DE87051}"/>
              </c:ext>
            </c:extLst>
          </c:dPt>
          <c:dPt>
            <c:idx val="163"/>
            <c:invertIfNegative val="1"/>
            <c:bubble3D val="0"/>
            <c:spPr>
              <a:solidFill>
                <a:srgbClr val="AEABAB"/>
              </a:solidFill>
            </c:spPr>
            <c:extLst>
              <c:ext xmlns:c16="http://schemas.microsoft.com/office/drawing/2014/chart" uri="{C3380CC4-5D6E-409C-BE32-E72D297353CC}">
                <c16:uniqueId val="{00000149-2993-41DE-A2CB-63102DE87051}"/>
              </c:ext>
            </c:extLst>
          </c:dPt>
          <c:dPt>
            <c:idx val="164"/>
            <c:invertIfNegative val="1"/>
            <c:bubble3D val="0"/>
            <c:spPr>
              <a:solidFill>
                <a:srgbClr val="AEABAB"/>
              </a:solidFill>
            </c:spPr>
            <c:extLst>
              <c:ext xmlns:c16="http://schemas.microsoft.com/office/drawing/2014/chart" uri="{C3380CC4-5D6E-409C-BE32-E72D297353CC}">
                <c16:uniqueId val="{0000014B-2993-41DE-A2CB-63102DE87051}"/>
              </c:ext>
            </c:extLst>
          </c:dPt>
          <c:dPt>
            <c:idx val="165"/>
            <c:invertIfNegative val="1"/>
            <c:bubble3D val="0"/>
            <c:spPr>
              <a:solidFill>
                <a:srgbClr val="AEABAB"/>
              </a:solidFill>
            </c:spPr>
            <c:extLst>
              <c:ext xmlns:c16="http://schemas.microsoft.com/office/drawing/2014/chart" uri="{C3380CC4-5D6E-409C-BE32-E72D297353CC}">
                <c16:uniqueId val="{0000014D-2993-41DE-A2CB-63102DE87051}"/>
              </c:ext>
            </c:extLst>
          </c:dPt>
          <c:dPt>
            <c:idx val="166"/>
            <c:invertIfNegative val="1"/>
            <c:bubble3D val="0"/>
            <c:spPr>
              <a:solidFill>
                <a:srgbClr val="AEABAB"/>
              </a:solidFill>
            </c:spPr>
            <c:extLst>
              <c:ext xmlns:c16="http://schemas.microsoft.com/office/drawing/2014/chart" uri="{C3380CC4-5D6E-409C-BE32-E72D297353CC}">
                <c16:uniqueId val="{0000014F-2993-41DE-A2CB-63102DE87051}"/>
              </c:ext>
            </c:extLst>
          </c:dPt>
          <c:dPt>
            <c:idx val="167"/>
            <c:invertIfNegative val="1"/>
            <c:bubble3D val="0"/>
            <c:spPr>
              <a:solidFill>
                <a:srgbClr val="AEABAB"/>
              </a:solidFill>
            </c:spPr>
            <c:extLst>
              <c:ext xmlns:c16="http://schemas.microsoft.com/office/drawing/2014/chart" uri="{C3380CC4-5D6E-409C-BE32-E72D297353CC}">
                <c16:uniqueId val="{00000151-2993-41DE-A2CB-63102DE87051}"/>
              </c:ext>
            </c:extLst>
          </c:dPt>
          <c:dPt>
            <c:idx val="168"/>
            <c:invertIfNegative val="1"/>
            <c:bubble3D val="0"/>
            <c:spPr>
              <a:solidFill>
                <a:srgbClr val="AEABAB"/>
              </a:solidFill>
            </c:spPr>
            <c:extLst>
              <c:ext xmlns:c16="http://schemas.microsoft.com/office/drawing/2014/chart" uri="{C3380CC4-5D6E-409C-BE32-E72D297353CC}">
                <c16:uniqueId val="{00000153-2993-41DE-A2CB-63102DE87051}"/>
              </c:ext>
            </c:extLst>
          </c:dPt>
          <c:dPt>
            <c:idx val="169"/>
            <c:invertIfNegative val="1"/>
            <c:bubble3D val="0"/>
            <c:spPr>
              <a:solidFill>
                <a:srgbClr val="AEABAB"/>
              </a:solidFill>
            </c:spPr>
            <c:extLst>
              <c:ext xmlns:c16="http://schemas.microsoft.com/office/drawing/2014/chart" uri="{C3380CC4-5D6E-409C-BE32-E72D297353CC}">
                <c16:uniqueId val="{00000155-2993-41DE-A2CB-63102DE87051}"/>
              </c:ext>
            </c:extLst>
          </c:dPt>
          <c:dPt>
            <c:idx val="170"/>
            <c:invertIfNegative val="1"/>
            <c:bubble3D val="0"/>
            <c:spPr>
              <a:solidFill>
                <a:srgbClr val="AEABAB"/>
              </a:solidFill>
            </c:spPr>
            <c:extLst>
              <c:ext xmlns:c16="http://schemas.microsoft.com/office/drawing/2014/chart" uri="{C3380CC4-5D6E-409C-BE32-E72D297353CC}">
                <c16:uniqueId val="{00000157-2993-41DE-A2CB-63102DE87051}"/>
              </c:ext>
            </c:extLst>
          </c:dPt>
          <c:dPt>
            <c:idx val="171"/>
            <c:invertIfNegative val="1"/>
            <c:bubble3D val="0"/>
            <c:spPr>
              <a:solidFill>
                <a:srgbClr val="AEABAB"/>
              </a:solidFill>
            </c:spPr>
            <c:extLst>
              <c:ext xmlns:c16="http://schemas.microsoft.com/office/drawing/2014/chart" uri="{C3380CC4-5D6E-409C-BE32-E72D297353CC}">
                <c16:uniqueId val="{00000159-2993-41DE-A2CB-63102DE87051}"/>
              </c:ext>
            </c:extLst>
          </c:dPt>
          <c:dPt>
            <c:idx val="172"/>
            <c:invertIfNegative val="1"/>
            <c:bubble3D val="0"/>
            <c:spPr>
              <a:solidFill>
                <a:srgbClr val="AEABAB"/>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dPt>
            <c:idx val="210"/>
            <c:invertIfNegative val="1"/>
            <c:bubble3D val="0"/>
            <c:spPr>
              <a:solidFill>
                <a:srgbClr val="AEABAB"/>
              </a:solidFill>
            </c:spPr>
            <c:extLst>
              <c:ext xmlns:c16="http://schemas.microsoft.com/office/drawing/2014/chart" uri="{C3380CC4-5D6E-409C-BE32-E72D297353CC}">
                <c16:uniqueId val="{000001A7-9A60-4BE2-B9C9-86A4CD91EAD6}"/>
              </c:ext>
            </c:extLst>
          </c:dPt>
          <c:dPt>
            <c:idx val="211"/>
            <c:invertIfNegative val="1"/>
            <c:bubble3D val="0"/>
            <c:spPr>
              <a:solidFill>
                <a:srgbClr val="AEABAB"/>
              </a:solidFill>
            </c:spPr>
            <c:extLst>
              <c:ext xmlns:c16="http://schemas.microsoft.com/office/drawing/2014/chart" uri="{C3380CC4-5D6E-409C-BE32-E72D297353CC}">
                <c16:uniqueId val="{000001A9-9A60-4BE2-B9C9-86A4CD91EAD6}"/>
              </c:ext>
            </c:extLst>
          </c:dPt>
          <c:dPt>
            <c:idx val="212"/>
            <c:invertIfNegative val="1"/>
            <c:bubble3D val="0"/>
            <c:spPr>
              <a:solidFill>
                <a:srgbClr val="AEABAB"/>
              </a:solidFill>
            </c:spPr>
            <c:extLst>
              <c:ext xmlns:c16="http://schemas.microsoft.com/office/drawing/2014/chart" uri="{C3380CC4-5D6E-409C-BE32-E72D297353CC}">
                <c16:uniqueId val="{000001AB-9A60-4BE2-B9C9-86A4CD91EAD6}"/>
              </c:ext>
            </c:extLst>
          </c:dPt>
          <c:dPt>
            <c:idx val="213"/>
            <c:invertIfNegative val="1"/>
            <c:bubble3D val="0"/>
            <c:spPr>
              <a:solidFill>
                <a:srgbClr val="AEABAB"/>
              </a:solidFill>
            </c:spPr>
            <c:extLst>
              <c:ext xmlns:c16="http://schemas.microsoft.com/office/drawing/2014/chart" uri="{C3380CC4-5D6E-409C-BE32-E72D297353CC}">
                <c16:uniqueId val="{000001AD-9A60-4BE2-B9C9-86A4CD91EAD6}"/>
              </c:ext>
            </c:extLst>
          </c:dPt>
          <c:dPt>
            <c:idx val="214"/>
            <c:invertIfNegative val="1"/>
            <c:bubble3D val="0"/>
            <c:spPr>
              <a:solidFill>
                <a:srgbClr val="AEABAB"/>
              </a:solidFill>
            </c:spPr>
            <c:extLst>
              <c:ext xmlns:c16="http://schemas.microsoft.com/office/drawing/2014/chart" uri="{C3380CC4-5D6E-409C-BE32-E72D297353CC}">
                <c16:uniqueId val="{000001AF-9A60-4BE2-B9C9-86A4CD91EAD6}"/>
              </c:ext>
            </c:extLst>
          </c:dPt>
          <c:dPt>
            <c:idx val="215"/>
            <c:invertIfNegative val="1"/>
            <c:bubble3D val="0"/>
            <c:spPr>
              <a:solidFill>
                <a:srgbClr val="AEABAB"/>
              </a:solidFill>
            </c:spPr>
            <c:extLst>
              <c:ext xmlns:c16="http://schemas.microsoft.com/office/drawing/2014/chart" uri="{C3380CC4-5D6E-409C-BE32-E72D297353CC}">
                <c16:uniqueId val="{000001B1-9A60-4BE2-B9C9-86A4CD91EAD6}"/>
              </c:ext>
            </c:extLst>
          </c:dPt>
          <c:dPt>
            <c:idx val="216"/>
            <c:invertIfNegative val="1"/>
            <c:bubble3D val="0"/>
            <c:spPr>
              <a:solidFill>
                <a:srgbClr val="AEABAB"/>
              </a:solidFill>
            </c:spPr>
            <c:extLst>
              <c:ext xmlns:c16="http://schemas.microsoft.com/office/drawing/2014/chart" uri="{C3380CC4-5D6E-409C-BE32-E72D297353CC}">
                <c16:uniqueId val="{000001B3-9A60-4BE2-B9C9-86A4CD91EAD6}"/>
              </c:ext>
            </c:extLst>
          </c:dPt>
          <c:dPt>
            <c:idx val="217"/>
            <c:invertIfNegative val="1"/>
            <c:bubble3D val="0"/>
            <c:spPr>
              <a:solidFill>
                <a:srgbClr val="AEABAB"/>
              </a:solidFill>
            </c:spPr>
            <c:extLst>
              <c:ext xmlns:c16="http://schemas.microsoft.com/office/drawing/2014/chart" uri="{C3380CC4-5D6E-409C-BE32-E72D297353CC}">
                <c16:uniqueId val="{000001B5-9A60-4BE2-B9C9-86A4CD91EAD6}"/>
              </c:ext>
            </c:extLst>
          </c:dPt>
          <c:dPt>
            <c:idx val="218"/>
            <c:invertIfNegative val="1"/>
            <c:bubble3D val="0"/>
            <c:spPr>
              <a:solidFill>
                <a:srgbClr val="AEABAB"/>
              </a:solidFill>
            </c:spPr>
            <c:extLst>
              <c:ext xmlns:c16="http://schemas.microsoft.com/office/drawing/2014/chart" uri="{C3380CC4-5D6E-409C-BE32-E72D297353CC}">
                <c16:uniqueId val="{000001B7-9A60-4BE2-B9C9-86A4CD91EAD6}"/>
              </c:ext>
            </c:extLst>
          </c:dPt>
          <c:dPt>
            <c:idx val="219"/>
            <c:invertIfNegative val="1"/>
            <c:bubble3D val="0"/>
            <c:spPr>
              <a:solidFill>
                <a:srgbClr val="AEABAB"/>
              </a:solidFill>
            </c:spPr>
            <c:extLst>
              <c:ext xmlns:c16="http://schemas.microsoft.com/office/drawing/2014/chart" uri="{C3380CC4-5D6E-409C-BE32-E72D297353CC}">
                <c16:uniqueId val="{000001B9-9A60-4BE2-B9C9-86A4CD91EAD6}"/>
              </c:ext>
            </c:extLst>
          </c:dPt>
          <c:dPt>
            <c:idx val="220"/>
            <c:invertIfNegative val="1"/>
            <c:bubble3D val="0"/>
            <c:spPr>
              <a:solidFill>
                <a:srgbClr val="AEABAB"/>
              </a:solidFill>
            </c:spPr>
            <c:extLst>
              <c:ext xmlns:c16="http://schemas.microsoft.com/office/drawing/2014/chart" uri="{C3380CC4-5D6E-409C-BE32-E72D297353CC}">
                <c16:uniqueId val="{000001BB-9A60-4BE2-B9C9-86A4CD91EAD6}"/>
              </c:ext>
            </c:extLst>
          </c:dPt>
          <c:dPt>
            <c:idx val="221"/>
            <c:invertIfNegative val="1"/>
            <c:bubble3D val="0"/>
            <c:spPr>
              <a:solidFill>
                <a:srgbClr val="AEABAB"/>
              </a:solidFill>
            </c:spPr>
            <c:extLst>
              <c:ext xmlns:c16="http://schemas.microsoft.com/office/drawing/2014/chart" uri="{C3380CC4-5D6E-409C-BE32-E72D297353CC}">
                <c16:uniqueId val="{000001BD-9A60-4BE2-B9C9-86A4CD91EAD6}"/>
              </c:ext>
            </c:extLst>
          </c:dPt>
          <c:dPt>
            <c:idx val="222"/>
            <c:invertIfNegative val="1"/>
            <c:bubble3D val="0"/>
            <c:spPr>
              <a:solidFill>
                <a:srgbClr val="AEABAB"/>
              </a:solidFill>
            </c:spPr>
            <c:extLst>
              <c:ext xmlns:c16="http://schemas.microsoft.com/office/drawing/2014/chart" uri="{C3380CC4-5D6E-409C-BE32-E72D297353CC}">
                <c16:uniqueId val="{000001BF-9A60-4BE2-B9C9-86A4CD91EAD6}"/>
              </c:ext>
            </c:extLst>
          </c:dPt>
          <c:dPt>
            <c:idx val="223"/>
            <c:invertIfNegative val="1"/>
            <c:bubble3D val="0"/>
            <c:spPr>
              <a:solidFill>
                <a:srgbClr val="AEABAB"/>
              </a:solidFill>
            </c:spPr>
            <c:extLst>
              <c:ext xmlns:c16="http://schemas.microsoft.com/office/drawing/2014/chart" uri="{C3380CC4-5D6E-409C-BE32-E72D297353CC}">
                <c16:uniqueId val="{000001C1-9A60-4BE2-B9C9-86A4CD91EAD6}"/>
              </c:ext>
            </c:extLst>
          </c:dPt>
          <c:dPt>
            <c:idx val="224"/>
            <c:invertIfNegative val="1"/>
            <c:bubble3D val="0"/>
            <c:spPr>
              <a:solidFill>
                <a:srgbClr val="AEABAB"/>
              </a:solidFill>
            </c:spPr>
            <c:extLst>
              <c:ext xmlns:c16="http://schemas.microsoft.com/office/drawing/2014/chart" uri="{C3380CC4-5D6E-409C-BE32-E72D297353CC}">
                <c16:uniqueId val="{000001C3-9A60-4BE2-B9C9-86A4CD91EAD6}"/>
              </c:ext>
            </c:extLst>
          </c:dPt>
          <c:dPt>
            <c:idx val="225"/>
            <c:invertIfNegative val="1"/>
            <c:bubble3D val="0"/>
            <c:spPr>
              <a:solidFill>
                <a:srgbClr val="AEABAB"/>
              </a:solidFill>
            </c:spPr>
            <c:extLst>
              <c:ext xmlns:c16="http://schemas.microsoft.com/office/drawing/2014/chart" uri="{C3380CC4-5D6E-409C-BE32-E72D297353CC}">
                <c16:uniqueId val="{000001C5-9A60-4BE2-B9C9-86A4CD91EAD6}"/>
              </c:ext>
            </c:extLst>
          </c:dPt>
          <c:dPt>
            <c:idx val="226"/>
            <c:invertIfNegative val="1"/>
            <c:bubble3D val="0"/>
            <c:spPr>
              <a:solidFill>
                <a:srgbClr val="AEABAB"/>
              </a:solidFill>
            </c:spPr>
            <c:extLst>
              <c:ext xmlns:c16="http://schemas.microsoft.com/office/drawing/2014/chart" uri="{C3380CC4-5D6E-409C-BE32-E72D297353CC}">
                <c16:uniqueId val="{000001C7-9A60-4BE2-B9C9-86A4CD91EAD6}"/>
              </c:ext>
            </c:extLst>
          </c:dPt>
          <c:dPt>
            <c:idx val="227"/>
            <c:invertIfNegative val="1"/>
            <c:bubble3D val="0"/>
            <c:spPr>
              <a:solidFill>
                <a:srgbClr val="AEABAB"/>
              </a:solidFill>
            </c:spPr>
            <c:extLst>
              <c:ext xmlns:c16="http://schemas.microsoft.com/office/drawing/2014/chart" uri="{C3380CC4-5D6E-409C-BE32-E72D297353CC}">
                <c16:uniqueId val="{000001C9-9A60-4BE2-B9C9-86A4CD91EAD6}"/>
              </c:ext>
            </c:extLst>
          </c:dPt>
          <c:dPt>
            <c:idx val="228"/>
            <c:invertIfNegative val="1"/>
            <c:bubble3D val="0"/>
            <c:spPr>
              <a:solidFill>
                <a:srgbClr val="AEABAB"/>
              </a:solidFill>
            </c:spPr>
            <c:extLst>
              <c:ext xmlns:c16="http://schemas.microsoft.com/office/drawing/2014/chart" uri="{C3380CC4-5D6E-409C-BE32-E72D297353CC}">
                <c16:uniqueId val="{000001CB-9A60-4BE2-B9C9-86A4CD91EAD6}"/>
              </c:ext>
            </c:extLst>
          </c:dPt>
          <c:dPt>
            <c:idx val="229"/>
            <c:invertIfNegative val="1"/>
            <c:bubble3D val="0"/>
            <c:spPr>
              <a:solidFill>
                <a:srgbClr val="AEABAB"/>
              </a:solidFill>
            </c:spPr>
            <c:extLst>
              <c:ext xmlns:c16="http://schemas.microsoft.com/office/drawing/2014/chart" uri="{C3380CC4-5D6E-409C-BE32-E72D297353CC}">
                <c16:uniqueId val="{000001CD-9A60-4BE2-B9C9-86A4CD91EAD6}"/>
              </c:ext>
            </c:extLst>
          </c:dPt>
          <c:dPt>
            <c:idx val="230"/>
            <c:invertIfNegative val="1"/>
            <c:bubble3D val="0"/>
            <c:spPr>
              <a:solidFill>
                <a:srgbClr val="AEABAB"/>
              </a:solidFill>
            </c:spPr>
            <c:extLst>
              <c:ext xmlns:c16="http://schemas.microsoft.com/office/drawing/2014/chart" uri="{C3380CC4-5D6E-409C-BE32-E72D297353CC}">
                <c16:uniqueId val="{000001CF-9A60-4BE2-B9C9-86A4CD91EAD6}"/>
              </c:ext>
            </c:extLst>
          </c:dPt>
          <c:dPt>
            <c:idx val="231"/>
            <c:invertIfNegative val="1"/>
            <c:bubble3D val="0"/>
            <c:spPr>
              <a:solidFill>
                <a:srgbClr val="AEABAB"/>
              </a:solidFill>
            </c:spPr>
            <c:extLst>
              <c:ext xmlns:c16="http://schemas.microsoft.com/office/drawing/2014/chart" uri="{C3380CC4-5D6E-409C-BE32-E72D297353CC}">
                <c16:uniqueId val="{000001D1-9A60-4BE2-B9C9-86A4CD91EAD6}"/>
              </c:ext>
            </c:extLst>
          </c:dPt>
          <c:dPt>
            <c:idx val="232"/>
            <c:invertIfNegative val="1"/>
            <c:bubble3D val="0"/>
            <c:spPr>
              <a:solidFill>
                <a:srgbClr val="AEABAB"/>
              </a:solidFill>
            </c:spPr>
            <c:extLst>
              <c:ext xmlns:c16="http://schemas.microsoft.com/office/drawing/2014/chart" uri="{C3380CC4-5D6E-409C-BE32-E72D297353CC}">
                <c16:uniqueId val="{000001D3-9A60-4BE2-B9C9-86A4CD91EAD6}"/>
              </c:ext>
            </c:extLst>
          </c:dPt>
          <c:dPt>
            <c:idx val="233"/>
            <c:invertIfNegative val="1"/>
            <c:bubble3D val="0"/>
            <c:spPr>
              <a:solidFill>
                <a:srgbClr val="AEABAB"/>
              </a:solidFill>
            </c:spPr>
            <c:extLst>
              <c:ext xmlns:c16="http://schemas.microsoft.com/office/drawing/2014/chart" uri="{C3380CC4-5D6E-409C-BE32-E72D297353CC}">
                <c16:uniqueId val="{000001D5-9A60-4BE2-B9C9-86A4CD91EAD6}"/>
              </c:ext>
            </c:extLst>
          </c:dPt>
          <c:dPt>
            <c:idx val="234"/>
            <c:invertIfNegative val="1"/>
            <c:bubble3D val="0"/>
            <c:spPr>
              <a:solidFill>
                <a:srgbClr val="AEABAB"/>
              </a:solidFill>
            </c:spPr>
            <c:extLst>
              <c:ext xmlns:c16="http://schemas.microsoft.com/office/drawing/2014/chart" uri="{C3380CC4-5D6E-409C-BE32-E72D297353CC}">
                <c16:uniqueId val="{000001D7-9A60-4BE2-B9C9-86A4CD91EAD6}"/>
              </c:ext>
            </c:extLst>
          </c:dPt>
          <c:dPt>
            <c:idx val="235"/>
            <c:invertIfNegative val="1"/>
            <c:bubble3D val="0"/>
            <c:spPr>
              <a:solidFill>
                <a:srgbClr val="AEABAB"/>
              </a:solidFill>
            </c:spPr>
            <c:extLst>
              <c:ext xmlns:c16="http://schemas.microsoft.com/office/drawing/2014/chart" uri="{C3380CC4-5D6E-409C-BE32-E72D297353CC}">
                <c16:uniqueId val="{000001D9-9A60-4BE2-B9C9-86A4CD91EAD6}"/>
              </c:ext>
            </c:extLst>
          </c:dPt>
          <c:dPt>
            <c:idx val="236"/>
            <c:invertIfNegative val="1"/>
            <c:bubble3D val="0"/>
            <c:spPr>
              <a:solidFill>
                <a:srgbClr val="AEABAB"/>
              </a:solidFill>
            </c:spPr>
            <c:extLst>
              <c:ext xmlns:c16="http://schemas.microsoft.com/office/drawing/2014/chart" uri="{C3380CC4-5D6E-409C-BE32-E72D297353CC}">
                <c16:uniqueId val="{000001DB-9A60-4BE2-B9C9-86A4CD91EAD6}"/>
              </c:ext>
            </c:extLst>
          </c:dPt>
          <c:dPt>
            <c:idx val="237"/>
            <c:invertIfNegative val="1"/>
            <c:bubble3D val="0"/>
            <c:spPr>
              <a:solidFill>
                <a:srgbClr val="AEABAB"/>
              </a:solidFill>
            </c:spPr>
            <c:extLst>
              <c:ext xmlns:c16="http://schemas.microsoft.com/office/drawing/2014/chart" uri="{C3380CC4-5D6E-409C-BE32-E72D297353CC}">
                <c16:uniqueId val="{000001DD-9A60-4BE2-B9C9-86A4CD91EAD6}"/>
              </c:ext>
            </c:extLst>
          </c:dPt>
          <c:dPt>
            <c:idx val="238"/>
            <c:invertIfNegative val="1"/>
            <c:bubble3D val="0"/>
            <c:spPr>
              <a:solidFill>
                <a:srgbClr val="AEABAB"/>
              </a:solidFill>
            </c:spPr>
            <c:extLst>
              <c:ext xmlns:c16="http://schemas.microsoft.com/office/drawing/2014/chart" uri="{C3380CC4-5D6E-409C-BE32-E72D297353CC}">
                <c16:uniqueId val="{000001DF-9A60-4BE2-B9C9-86A4CD91EAD6}"/>
              </c:ext>
            </c:extLst>
          </c:dPt>
          <c:dPt>
            <c:idx val="239"/>
            <c:invertIfNegative val="1"/>
            <c:bubble3D val="0"/>
            <c:spPr>
              <a:solidFill>
                <a:srgbClr val="AEABAB"/>
              </a:solidFill>
            </c:spPr>
            <c:extLst>
              <c:ext xmlns:c16="http://schemas.microsoft.com/office/drawing/2014/chart" uri="{C3380CC4-5D6E-409C-BE32-E72D297353CC}">
                <c16:uniqueId val="{000001E1-9A60-4BE2-B9C9-86A4CD91EAD6}"/>
              </c:ext>
            </c:extLst>
          </c:dPt>
          <c:dPt>
            <c:idx val="240"/>
            <c:invertIfNegative val="1"/>
            <c:bubble3D val="0"/>
            <c:spPr>
              <a:solidFill>
                <a:srgbClr val="AEABAB"/>
              </a:solidFill>
            </c:spPr>
            <c:extLst>
              <c:ext xmlns:c16="http://schemas.microsoft.com/office/drawing/2014/chart" uri="{C3380CC4-5D6E-409C-BE32-E72D297353CC}">
                <c16:uniqueId val="{000001E3-9A60-4BE2-B9C9-86A4CD91EAD6}"/>
              </c:ext>
            </c:extLst>
          </c:dPt>
          <c:dPt>
            <c:idx val="241"/>
            <c:invertIfNegative val="1"/>
            <c:bubble3D val="0"/>
            <c:spPr>
              <a:solidFill>
                <a:srgbClr val="AEABAB"/>
              </a:solidFill>
            </c:spPr>
            <c:extLst>
              <c:ext xmlns:c16="http://schemas.microsoft.com/office/drawing/2014/chart" uri="{C3380CC4-5D6E-409C-BE32-E72D297353CC}">
                <c16:uniqueId val="{000001E5-9A60-4BE2-B9C9-86A4CD91EAD6}"/>
              </c:ext>
            </c:extLst>
          </c:dPt>
          <c:dPt>
            <c:idx val="242"/>
            <c:invertIfNegative val="1"/>
            <c:bubble3D val="0"/>
            <c:spPr>
              <a:solidFill>
                <a:srgbClr val="AEABAB"/>
              </a:solidFill>
            </c:spPr>
            <c:extLst>
              <c:ext xmlns:c16="http://schemas.microsoft.com/office/drawing/2014/chart" uri="{C3380CC4-5D6E-409C-BE32-E72D297353CC}">
                <c16:uniqueId val="{000001E7-9A60-4BE2-B9C9-86A4CD91EAD6}"/>
              </c:ext>
            </c:extLst>
          </c:dPt>
          <c:dPt>
            <c:idx val="243"/>
            <c:invertIfNegative val="1"/>
            <c:bubble3D val="0"/>
            <c:spPr>
              <a:solidFill>
                <a:srgbClr val="AEABAB"/>
              </a:solidFill>
            </c:spPr>
            <c:extLst>
              <c:ext xmlns:c16="http://schemas.microsoft.com/office/drawing/2014/chart" uri="{C3380CC4-5D6E-409C-BE32-E72D297353CC}">
                <c16:uniqueId val="{000001E9-9A60-4BE2-B9C9-86A4CD91EAD6}"/>
              </c:ext>
            </c:extLst>
          </c:dPt>
          <c:dPt>
            <c:idx val="244"/>
            <c:invertIfNegative val="1"/>
            <c:bubble3D val="0"/>
            <c:spPr>
              <a:solidFill>
                <a:srgbClr val="AEABAB"/>
              </a:solidFill>
            </c:spPr>
            <c:extLst>
              <c:ext xmlns:c16="http://schemas.microsoft.com/office/drawing/2014/chart" uri="{C3380CC4-5D6E-409C-BE32-E72D297353CC}">
                <c16:uniqueId val="{000001EB-9A60-4BE2-B9C9-86A4CD91EAD6}"/>
              </c:ext>
            </c:extLst>
          </c:dPt>
          <c:dPt>
            <c:idx val="245"/>
            <c:invertIfNegative val="1"/>
            <c:bubble3D val="0"/>
            <c:spPr>
              <a:solidFill>
                <a:srgbClr val="AEABAB"/>
              </a:solidFill>
            </c:spPr>
            <c:extLst>
              <c:ext xmlns:c16="http://schemas.microsoft.com/office/drawing/2014/chart" uri="{C3380CC4-5D6E-409C-BE32-E72D297353CC}">
                <c16:uniqueId val="{000001ED-9A60-4BE2-B9C9-86A4CD91EAD6}"/>
              </c:ext>
            </c:extLst>
          </c:dPt>
          <c:dPt>
            <c:idx val="246"/>
            <c:invertIfNegative val="1"/>
            <c:bubble3D val="0"/>
            <c:spPr>
              <a:solidFill>
                <a:srgbClr val="AEABAB"/>
              </a:solidFill>
            </c:spPr>
            <c:extLst>
              <c:ext xmlns:c16="http://schemas.microsoft.com/office/drawing/2014/chart" uri="{C3380CC4-5D6E-409C-BE32-E72D297353CC}">
                <c16:uniqueId val="{000001EF-9A60-4BE2-B9C9-86A4CD91EAD6}"/>
              </c:ext>
            </c:extLst>
          </c:dPt>
          <c:dPt>
            <c:idx val="247"/>
            <c:invertIfNegative val="1"/>
            <c:bubble3D val="0"/>
            <c:spPr>
              <a:solidFill>
                <a:srgbClr val="AEABAB"/>
              </a:solidFill>
            </c:spPr>
            <c:extLst>
              <c:ext xmlns:c16="http://schemas.microsoft.com/office/drawing/2014/chart" uri="{C3380CC4-5D6E-409C-BE32-E72D297353CC}">
                <c16:uniqueId val="{000001F1-9A60-4BE2-B9C9-86A4CD91EAD6}"/>
              </c:ext>
            </c:extLst>
          </c:dPt>
          <c:dPt>
            <c:idx val="248"/>
            <c:invertIfNegative val="1"/>
            <c:bubble3D val="0"/>
            <c:spPr>
              <a:solidFill>
                <a:srgbClr val="AEABAB"/>
              </a:solidFill>
            </c:spPr>
            <c:extLst>
              <c:ext xmlns:c16="http://schemas.microsoft.com/office/drawing/2014/chart" uri="{C3380CC4-5D6E-409C-BE32-E72D297353CC}">
                <c16:uniqueId val="{000001F3-9A60-4BE2-B9C9-86A4CD91EAD6}"/>
              </c:ext>
            </c:extLst>
          </c:dPt>
          <c:dPt>
            <c:idx val="249"/>
            <c:invertIfNegative val="1"/>
            <c:bubble3D val="0"/>
            <c:spPr>
              <a:solidFill>
                <a:srgbClr val="AEABAB"/>
              </a:solidFill>
            </c:spPr>
            <c:extLst>
              <c:ext xmlns:c16="http://schemas.microsoft.com/office/drawing/2014/chart" uri="{C3380CC4-5D6E-409C-BE32-E72D297353CC}">
                <c16:uniqueId val="{000001F5-9A60-4BE2-B9C9-86A4CD91EAD6}"/>
              </c:ext>
            </c:extLst>
          </c:dPt>
          <c:dPt>
            <c:idx val="250"/>
            <c:invertIfNegative val="1"/>
            <c:bubble3D val="0"/>
            <c:spPr>
              <a:solidFill>
                <a:srgbClr val="AEABAB"/>
              </a:solidFill>
            </c:spPr>
            <c:extLst>
              <c:ext xmlns:c16="http://schemas.microsoft.com/office/drawing/2014/chart" uri="{C3380CC4-5D6E-409C-BE32-E72D297353CC}">
                <c16:uniqueId val="{000001F7-9A60-4BE2-B9C9-86A4CD91EAD6}"/>
              </c:ext>
            </c:extLst>
          </c:dPt>
          <c:dPt>
            <c:idx val="251"/>
            <c:invertIfNegative val="1"/>
            <c:bubble3D val="0"/>
            <c:spPr>
              <a:solidFill>
                <a:srgbClr val="AEABAB"/>
              </a:solidFill>
            </c:spPr>
            <c:extLst>
              <c:ext xmlns:c16="http://schemas.microsoft.com/office/drawing/2014/chart" uri="{C3380CC4-5D6E-409C-BE32-E72D297353CC}">
                <c16:uniqueId val="{000001F9-9A60-4BE2-B9C9-86A4CD91EAD6}"/>
              </c:ext>
            </c:extLst>
          </c:dPt>
          <c:dPt>
            <c:idx val="252"/>
            <c:invertIfNegative val="1"/>
            <c:bubble3D val="0"/>
            <c:spPr>
              <a:solidFill>
                <a:srgbClr val="AEABAB"/>
              </a:solidFill>
            </c:spPr>
            <c:extLst>
              <c:ext xmlns:c16="http://schemas.microsoft.com/office/drawing/2014/chart" uri="{C3380CC4-5D6E-409C-BE32-E72D297353CC}">
                <c16:uniqueId val="{000001FB-9A60-4BE2-B9C9-86A4CD91EAD6}"/>
              </c:ext>
            </c:extLst>
          </c:dPt>
          <c:dPt>
            <c:idx val="253"/>
            <c:invertIfNegative val="1"/>
            <c:bubble3D val="0"/>
            <c:spPr>
              <a:solidFill>
                <a:srgbClr val="AEABAB"/>
              </a:solidFill>
            </c:spPr>
            <c:extLst>
              <c:ext xmlns:c16="http://schemas.microsoft.com/office/drawing/2014/chart" uri="{C3380CC4-5D6E-409C-BE32-E72D297353CC}">
                <c16:uniqueId val="{000001FD-9A60-4BE2-B9C9-86A4CD91EAD6}"/>
              </c:ext>
            </c:extLst>
          </c:dPt>
          <c:dPt>
            <c:idx val="254"/>
            <c:invertIfNegative val="1"/>
            <c:bubble3D val="0"/>
            <c:spPr>
              <a:solidFill>
                <a:srgbClr val="AEABAB"/>
              </a:solidFill>
            </c:spPr>
            <c:extLst>
              <c:ext xmlns:c16="http://schemas.microsoft.com/office/drawing/2014/chart" uri="{C3380CC4-5D6E-409C-BE32-E72D297353CC}">
                <c16:uniqueId val="{000001FF-9A60-4BE2-B9C9-86A4CD91EAD6}"/>
              </c:ext>
            </c:extLst>
          </c:dPt>
          <c:dPt>
            <c:idx val="255"/>
            <c:invertIfNegative val="1"/>
            <c:bubble3D val="0"/>
            <c:spPr>
              <a:solidFill>
                <a:srgbClr val="AEABAB"/>
              </a:solidFill>
            </c:spPr>
            <c:extLst>
              <c:ext xmlns:c16="http://schemas.microsoft.com/office/drawing/2014/chart" uri="{C3380CC4-5D6E-409C-BE32-E72D297353CC}">
                <c16:uniqueId val="{00000201-9A60-4BE2-B9C9-86A4CD91EAD6}"/>
              </c:ext>
            </c:extLst>
          </c:dPt>
          <c:dPt>
            <c:idx val="256"/>
            <c:invertIfNegative val="1"/>
            <c:bubble3D val="0"/>
            <c:spPr>
              <a:solidFill>
                <a:srgbClr val="AEABAB"/>
              </a:solidFill>
            </c:spPr>
            <c:extLst>
              <c:ext xmlns:c16="http://schemas.microsoft.com/office/drawing/2014/chart" uri="{C3380CC4-5D6E-409C-BE32-E72D297353CC}">
                <c16:uniqueId val="{00000203-9A60-4BE2-B9C9-86A4CD91EAD6}"/>
              </c:ext>
            </c:extLst>
          </c:dPt>
          <c:dPt>
            <c:idx val="257"/>
            <c:invertIfNegative val="1"/>
            <c:bubble3D val="0"/>
            <c:spPr>
              <a:solidFill>
                <a:srgbClr val="AEABAB"/>
              </a:solidFill>
            </c:spPr>
            <c:extLst>
              <c:ext xmlns:c16="http://schemas.microsoft.com/office/drawing/2014/chart" uri="{C3380CC4-5D6E-409C-BE32-E72D297353CC}">
                <c16:uniqueId val="{00000205-9A60-4BE2-B9C9-86A4CD91EAD6}"/>
              </c:ext>
            </c:extLst>
          </c:dPt>
          <c:dPt>
            <c:idx val="258"/>
            <c:invertIfNegative val="1"/>
            <c:bubble3D val="0"/>
            <c:spPr>
              <a:solidFill>
                <a:srgbClr val="AEABAB"/>
              </a:solidFill>
            </c:spPr>
            <c:extLst>
              <c:ext xmlns:c16="http://schemas.microsoft.com/office/drawing/2014/chart" uri="{C3380CC4-5D6E-409C-BE32-E72D297353CC}">
                <c16:uniqueId val="{00000207-9A60-4BE2-B9C9-86A4CD91EAD6}"/>
              </c:ext>
            </c:extLst>
          </c:dPt>
          <c:dPt>
            <c:idx val="259"/>
            <c:invertIfNegative val="1"/>
            <c:bubble3D val="0"/>
            <c:spPr>
              <a:solidFill>
                <a:srgbClr val="AEABAB"/>
              </a:solidFill>
            </c:spPr>
            <c:extLst>
              <c:ext xmlns:c16="http://schemas.microsoft.com/office/drawing/2014/chart" uri="{C3380CC4-5D6E-409C-BE32-E72D297353CC}">
                <c16:uniqueId val="{00000209-9A60-4BE2-B9C9-86A4CD91EAD6}"/>
              </c:ext>
            </c:extLst>
          </c:dPt>
          <c:dPt>
            <c:idx val="260"/>
            <c:invertIfNegative val="1"/>
            <c:bubble3D val="0"/>
            <c:spPr>
              <a:solidFill>
                <a:srgbClr val="AEABAB"/>
              </a:solidFill>
            </c:spPr>
            <c:extLst>
              <c:ext xmlns:c16="http://schemas.microsoft.com/office/drawing/2014/chart" uri="{C3380CC4-5D6E-409C-BE32-E72D297353CC}">
                <c16:uniqueId val="{0000020B-9A60-4BE2-B9C9-86A4CD91EAD6}"/>
              </c:ext>
            </c:extLst>
          </c:dPt>
          <c:dPt>
            <c:idx val="261"/>
            <c:invertIfNegative val="1"/>
            <c:bubble3D val="0"/>
            <c:spPr>
              <a:solidFill>
                <a:srgbClr val="AEABAB"/>
              </a:solidFill>
            </c:spPr>
            <c:extLst>
              <c:ext xmlns:c16="http://schemas.microsoft.com/office/drawing/2014/chart" uri="{C3380CC4-5D6E-409C-BE32-E72D297353CC}">
                <c16:uniqueId val="{0000020D-9A60-4BE2-B9C9-86A4CD91EAD6}"/>
              </c:ext>
            </c:extLst>
          </c:dPt>
          <c:dPt>
            <c:idx val="262"/>
            <c:invertIfNegative val="1"/>
            <c:bubble3D val="0"/>
            <c:spPr>
              <a:solidFill>
                <a:srgbClr val="AEABAB"/>
              </a:solidFill>
            </c:spPr>
            <c:extLst>
              <c:ext xmlns:c16="http://schemas.microsoft.com/office/drawing/2014/chart" uri="{C3380CC4-5D6E-409C-BE32-E72D297353CC}">
                <c16:uniqueId val="{0000020F-9A60-4BE2-B9C9-86A4CD91EAD6}"/>
              </c:ext>
            </c:extLst>
          </c:dPt>
          <c:dPt>
            <c:idx val="263"/>
            <c:invertIfNegative val="1"/>
            <c:bubble3D val="0"/>
            <c:spPr>
              <a:solidFill>
                <a:srgbClr val="AEABAB"/>
              </a:solidFill>
            </c:spPr>
            <c:extLst>
              <c:ext xmlns:c16="http://schemas.microsoft.com/office/drawing/2014/chart" uri="{C3380CC4-5D6E-409C-BE32-E72D297353CC}">
                <c16:uniqueId val="{00000211-9A60-4BE2-B9C9-86A4CD91EAD6}"/>
              </c:ext>
            </c:extLst>
          </c:dPt>
          <c:dPt>
            <c:idx val="264"/>
            <c:invertIfNegative val="1"/>
            <c:bubble3D val="0"/>
            <c:spPr>
              <a:solidFill>
                <a:srgbClr val="AEABAB"/>
              </a:solidFill>
            </c:spPr>
            <c:extLst>
              <c:ext xmlns:c16="http://schemas.microsoft.com/office/drawing/2014/chart" uri="{C3380CC4-5D6E-409C-BE32-E72D297353CC}">
                <c16:uniqueId val="{00000213-9A60-4BE2-B9C9-86A4CD91EAD6}"/>
              </c:ext>
            </c:extLst>
          </c:dPt>
          <c:dPt>
            <c:idx val="265"/>
            <c:invertIfNegative val="1"/>
            <c:bubble3D val="0"/>
            <c:spPr>
              <a:solidFill>
                <a:srgbClr val="AEABAB"/>
              </a:solidFill>
            </c:spPr>
            <c:extLst>
              <c:ext xmlns:c16="http://schemas.microsoft.com/office/drawing/2014/chart" uri="{C3380CC4-5D6E-409C-BE32-E72D297353CC}">
                <c16:uniqueId val="{00000215-9A60-4BE2-B9C9-86A4CD91EAD6}"/>
              </c:ext>
            </c:extLst>
          </c:dPt>
          <c:dPt>
            <c:idx val="266"/>
            <c:invertIfNegative val="1"/>
            <c:bubble3D val="0"/>
            <c:spPr>
              <a:solidFill>
                <a:srgbClr val="AEABAB"/>
              </a:solidFill>
            </c:spPr>
            <c:extLst>
              <c:ext xmlns:c16="http://schemas.microsoft.com/office/drawing/2014/chart" uri="{C3380CC4-5D6E-409C-BE32-E72D297353CC}">
                <c16:uniqueId val="{00000217-9A60-4BE2-B9C9-86A4CD91EAD6}"/>
              </c:ext>
            </c:extLst>
          </c:dPt>
          <c:dPt>
            <c:idx val="267"/>
            <c:invertIfNegative val="1"/>
            <c:bubble3D val="0"/>
            <c:spPr>
              <a:solidFill>
                <a:srgbClr val="AEABAB"/>
              </a:solidFill>
            </c:spPr>
            <c:extLst>
              <c:ext xmlns:c16="http://schemas.microsoft.com/office/drawing/2014/chart" uri="{C3380CC4-5D6E-409C-BE32-E72D297353CC}">
                <c16:uniqueId val="{00000219-9A60-4BE2-B9C9-86A4CD91EAD6}"/>
              </c:ext>
            </c:extLst>
          </c:dPt>
          <c:dPt>
            <c:idx val="268"/>
            <c:invertIfNegative val="1"/>
            <c:bubble3D val="0"/>
            <c:spPr>
              <a:solidFill>
                <a:srgbClr val="AEABAB"/>
              </a:solidFill>
            </c:spPr>
            <c:extLst>
              <c:ext xmlns:c16="http://schemas.microsoft.com/office/drawing/2014/chart" uri="{C3380CC4-5D6E-409C-BE32-E72D297353CC}">
                <c16:uniqueId val="{0000021B-9A60-4BE2-B9C9-86A4CD91EAD6}"/>
              </c:ext>
            </c:extLst>
          </c:dPt>
          <c:dPt>
            <c:idx val="269"/>
            <c:invertIfNegative val="1"/>
            <c:bubble3D val="0"/>
            <c:spPr>
              <a:solidFill>
                <a:srgbClr val="AEABAB"/>
              </a:solidFill>
            </c:spPr>
            <c:extLst>
              <c:ext xmlns:c16="http://schemas.microsoft.com/office/drawing/2014/chart" uri="{C3380CC4-5D6E-409C-BE32-E72D297353CC}">
                <c16:uniqueId val="{0000021D-9A60-4BE2-B9C9-86A4CD91EAD6}"/>
              </c:ext>
            </c:extLst>
          </c:dPt>
          <c:cat>
            <c:strRef>
              <c:f>Sheet1!$A$2:$A$271</c:f>
              <c:strCache>
                <c:ptCount val="270"/>
                <c:pt idx="0">
                  <c:v>Ruinart</c:v>
                </c:pt>
                <c:pt idx="1">
                  <c:v>Ruinart</c:v>
                </c:pt>
                <c:pt idx="2">
                  <c:v>Deutz</c:v>
                </c:pt>
                <c:pt idx="3">
                  <c:v>Nicolas</c:v>
                </c:pt>
                <c:pt idx="4">
                  <c:v>Laurent Per</c:v>
                </c:pt>
                <c:pt idx="5">
                  <c:v>Nicolas Feu</c:v>
                </c:pt>
                <c:pt idx="6">
                  <c:v>Ruinart</c:v>
                </c:pt>
                <c:pt idx="7">
                  <c:v>Ayala</c:v>
                </c:pt>
                <c:pt idx="8">
                  <c:v>Heidsieck &amp;</c:v>
                </c:pt>
                <c:pt idx="9">
                  <c:v>Malard</c:v>
                </c:pt>
                <c:pt idx="10">
                  <c:v>Bollinger</c:v>
                </c:pt>
                <c:pt idx="11">
                  <c:v>Ruinart</c:v>
                </c:pt>
                <c:pt idx="12">
                  <c:v>Taittinger</c:v>
                </c:pt>
                <c:pt idx="13">
                  <c:v>Besserat De</c:v>
                </c:pt>
                <c:pt idx="14">
                  <c:v>Ruinart</c:v>
                </c:pt>
                <c:pt idx="15">
                  <c:v>Veuve Clicq</c:v>
                </c:pt>
                <c:pt idx="16">
                  <c:v>Dom Perigno</c:v>
                </c:pt>
                <c:pt idx="17">
                  <c:v>All Others</c:v>
                </c:pt>
                <c:pt idx="18">
                  <c:v>Perrier Jou</c:v>
                </c:pt>
                <c:pt idx="19">
                  <c:v>Deutz</c:v>
                </c:pt>
                <c:pt idx="20">
                  <c:v>Moët &amp; Chan</c:v>
                </c:pt>
                <c:pt idx="21">
                  <c:v>De Bligny</c:v>
                </c:pt>
                <c:pt idx="22">
                  <c:v>Laurent Per</c:v>
                </c:pt>
                <c:pt idx="23">
                  <c:v>Roederer</c:v>
                </c:pt>
                <c:pt idx="24">
                  <c:v>Ruinart</c:v>
                </c:pt>
                <c:pt idx="25">
                  <c:v>Ruinart</c:v>
                </c:pt>
                <c:pt idx="26">
                  <c:v>Dom Perigno</c:v>
                </c:pt>
                <c:pt idx="27">
                  <c:v>Canard Duch</c:v>
                </c:pt>
                <c:pt idx="28">
                  <c:v>Veuve Clicq</c:v>
                </c:pt>
                <c:pt idx="29">
                  <c:v>Roederer</c:v>
                </c:pt>
                <c:pt idx="30">
                  <c:v>Pommery</c:v>
                </c:pt>
                <c:pt idx="31">
                  <c:v>Moët &amp; Chan</c:v>
                </c:pt>
                <c:pt idx="32">
                  <c:v>Demoiselle</c:v>
                </c:pt>
                <c:pt idx="33">
                  <c:v>Campari: Al</c:v>
                </c:pt>
                <c:pt idx="34">
                  <c:v>Laurent Per</c:v>
                </c:pt>
                <c:pt idx="35">
                  <c:v>Veuve Clicq</c:v>
                </c:pt>
                <c:pt idx="36">
                  <c:v>Deutz</c:v>
                </c:pt>
                <c:pt idx="37">
                  <c:v>Dom Perigno</c:v>
                </c:pt>
                <c:pt idx="38">
                  <c:v>All Others</c:v>
                </c:pt>
                <c:pt idx="39">
                  <c:v>Taittinger</c:v>
                </c:pt>
                <c:pt idx="40">
                  <c:v>Ruinart</c:v>
                </c:pt>
                <c:pt idx="41">
                  <c:v>Ruinart</c:v>
                </c:pt>
                <c:pt idx="42">
                  <c:v>Perrier Jou</c:v>
                </c:pt>
                <c:pt idx="43">
                  <c:v>Malard</c:v>
                </c:pt>
                <c:pt idx="44">
                  <c:v>Moët &amp; Chan</c:v>
                </c:pt>
                <c:pt idx="45">
                  <c:v>Ruinart</c:v>
                </c:pt>
                <c:pt idx="46">
                  <c:v>Laurent Per</c:v>
                </c:pt>
                <c:pt idx="47">
                  <c:v>Demoiselle</c:v>
                </c:pt>
                <c:pt idx="48">
                  <c:v>Henriot</c:v>
                </c:pt>
                <c:pt idx="49">
                  <c:v>Nicolas</c:v>
                </c:pt>
                <c:pt idx="50">
                  <c:v>Nicolas Feu</c:v>
                </c:pt>
                <c:pt idx="51">
                  <c:v>Krug</c:v>
                </c:pt>
                <c:pt idx="52">
                  <c:v>Savian</c:v>
                </c:pt>
                <c:pt idx="53">
                  <c:v>Vesselle</c:v>
                </c:pt>
                <c:pt idx="54">
                  <c:v>Roederer</c:v>
                </c:pt>
                <c:pt idx="55">
                  <c:v>Besserat De</c:v>
                </c:pt>
                <c:pt idx="56">
                  <c:v>Deutz</c:v>
                </c:pt>
                <c:pt idx="57">
                  <c:v>Malard</c:v>
                </c:pt>
                <c:pt idx="58">
                  <c:v>Nicolas Feu</c:v>
                </c:pt>
                <c:pt idx="59">
                  <c:v>Piper Heids</c:v>
                </c:pt>
                <c:pt idx="60">
                  <c:v>Nicolas</c:v>
                </c:pt>
                <c:pt idx="61">
                  <c:v>Bollinger</c:v>
                </c:pt>
                <c:pt idx="62">
                  <c:v>Dom Perigno</c:v>
                </c:pt>
                <c:pt idx="63">
                  <c:v>All Others</c:v>
                </c:pt>
                <c:pt idx="64">
                  <c:v>Campari: Al</c:v>
                </c:pt>
                <c:pt idx="65">
                  <c:v>Roederer</c:v>
                </c:pt>
                <c:pt idx="66">
                  <c:v>Henriot</c:v>
                </c:pt>
                <c:pt idx="67">
                  <c:v>Bollinger</c:v>
                </c:pt>
                <c:pt idx="68">
                  <c:v>Delamotte</c:v>
                </c:pt>
                <c:pt idx="69">
                  <c:v>Roederer</c:v>
                </c:pt>
                <c:pt idx="70">
                  <c:v>Louis Marti</c:v>
                </c:pt>
                <c:pt idx="71">
                  <c:v>Lanson</c:v>
                </c:pt>
                <c:pt idx="72">
                  <c:v>Nicolas Feu</c:v>
                </c:pt>
                <c:pt idx="73">
                  <c:v>De Venoge</c:v>
                </c:pt>
                <c:pt idx="74">
                  <c:v>Besserat De</c:v>
                </c:pt>
                <c:pt idx="75">
                  <c:v>Malard</c:v>
                </c:pt>
                <c:pt idx="76">
                  <c:v>Laurent Per</c:v>
                </c:pt>
                <c:pt idx="77">
                  <c:v>Ruinart</c:v>
                </c:pt>
                <c:pt idx="78">
                  <c:v>Ruinart</c:v>
                </c:pt>
                <c:pt idx="79">
                  <c:v>Malard</c:v>
                </c:pt>
                <c:pt idx="80">
                  <c:v>Henriot</c:v>
                </c:pt>
                <c:pt idx="81">
                  <c:v>Roederer</c:v>
                </c:pt>
                <c:pt idx="82">
                  <c:v>Nicolas</c:v>
                </c:pt>
                <c:pt idx="83">
                  <c:v>Canard Duch</c:v>
                </c:pt>
                <c:pt idx="84">
                  <c:v>Laurent Per</c:v>
                </c:pt>
                <c:pt idx="85">
                  <c:v>Deutz</c:v>
                </c:pt>
                <c:pt idx="86">
                  <c:v>Pommery</c:v>
                </c:pt>
                <c:pt idx="87">
                  <c:v>Roederer</c:v>
                </c:pt>
                <c:pt idx="88">
                  <c:v>Henriot</c:v>
                </c:pt>
                <c:pt idx="89">
                  <c:v>Ruinart</c:v>
                </c:pt>
                <c:pt idx="90">
                  <c:v>Moët &amp; Chan</c:v>
                </c:pt>
                <c:pt idx="91">
                  <c:v>Veuve Clicq</c:v>
                </c:pt>
                <c:pt idx="92">
                  <c:v>De Venoge</c:v>
                </c:pt>
                <c:pt idx="93">
                  <c:v>Ayala</c:v>
                </c:pt>
                <c:pt idx="94">
                  <c:v>Vranken</c:v>
                </c:pt>
                <c:pt idx="95">
                  <c:v>Roederer</c:v>
                </c:pt>
                <c:pt idx="96">
                  <c:v>Roederer</c:v>
                </c:pt>
                <c:pt idx="97">
                  <c:v>Roederer</c:v>
                </c:pt>
                <c:pt idx="98">
                  <c:v>Laurent Per</c:v>
                </c:pt>
                <c:pt idx="99">
                  <c:v>De Bligny</c:v>
                </c:pt>
                <c:pt idx="100">
                  <c:v>Laurent Per</c:v>
                </c:pt>
                <c:pt idx="101">
                  <c:v>Roederer</c:v>
                </c:pt>
                <c:pt idx="102">
                  <c:v>Bollinger</c:v>
                </c:pt>
                <c:pt idx="103">
                  <c:v>Ruinart</c:v>
                </c:pt>
                <c:pt idx="104">
                  <c:v>Deutz</c:v>
                </c:pt>
                <c:pt idx="105">
                  <c:v>Canard Duch</c:v>
                </c:pt>
                <c:pt idx="106">
                  <c:v>Moët &amp; Chan</c:v>
                </c:pt>
                <c:pt idx="107">
                  <c:v>Laurent Per</c:v>
                </c:pt>
                <c:pt idx="108">
                  <c:v>Veuve Clicq</c:v>
                </c:pt>
                <c:pt idx="109">
                  <c:v>Ruinart</c:v>
                </c:pt>
                <c:pt idx="110">
                  <c:v>Nicolas</c:v>
                </c:pt>
                <c:pt idx="111">
                  <c:v>De Venoge</c:v>
                </c:pt>
                <c:pt idx="112">
                  <c:v>De Venoge</c:v>
                </c:pt>
                <c:pt idx="113">
                  <c:v>Nicolas</c:v>
                </c:pt>
                <c:pt idx="114">
                  <c:v>Nicolas</c:v>
                </c:pt>
                <c:pt idx="115">
                  <c:v>Malard</c:v>
                </c:pt>
                <c:pt idx="116">
                  <c:v>Moët &amp; Chan</c:v>
                </c:pt>
                <c:pt idx="117">
                  <c:v>Taittinger</c:v>
                </c:pt>
                <c:pt idx="118">
                  <c:v>Roederer</c:v>
                </c:pt>
                <c:pt idx="119">
                  <c:v>Vranken</c:v>
                </c:pt>
                <c:pt idx="120">
                  <c:v>Roederer</c:v>
                </c:pt>
                <c:pt idx="121">
                  <c:v>Canard Duch</c:v>
                </c:pt>
                <c:pt idx="122">
                  <c:v>Ruinart</c:v>
                </c:pt>
                <c:pt idx="123">
                  <c:v>Nicolas</c:v>
                </c:pt>
                <c:pt idx="124">
                  <c:v>Taittinger</c:v>
                </c:pt>
                <c:pt idx="125">
                  <c:v>Deutz</c:v>
                </c:pt>
                <c:pt idx="126">
                  <c:v>All Others</c:v>
                </c:pt>
                <c:pt idx="127">
                  <c:v>Ruinart</c:v>
                </c:pt>
                <c:pt idx="128">
                  <c:v>Nicolas</c:v>
                </c:pt>
                <c:pt idx="129">
                  <c:v>Ruinart</c:v>
                </c:pt>
                <c:pt idx="130">
                  <c:v>Nicolas Feu</c:v>
                </c:pt>
                <c:pt idx="131">
                  <c:v>All Others</c:v>
                </c:pt>
                <c:pt idx="132">
                  <c:v>Veuve Clicq</c:v>
                </c:pt>
                <c:pt idx="133">
                  <c:v>Pommery</c:v>
                </c:pt>
                <c:pt idx="134">
                  <c:v>Veuve Clicq</c:v>
                </c:pt>
                <c:pt idx="135">
                  <c:v>Canard Duch</c:v>
                </c:pt>
                <c:pt idx="136">
                  <c:v>Moët &amp; Chan</c:v>
                </c:pt>
                <c:pt idx="137">
                  <c:v>Ruinart</c:v>
                </c:pt>
                <c:pt idx="138">
                  <c:v>Lanson</c:v>
                </c:pt>
                <c:pt idx="139">
                  <c:v>Nicolas</c:v>
                </c:pt>
                <c:pt idx="140">
                  <c:v>All Others</c:v>
                </c:pt>
                <c:pt idx="141">
                  <c:v>Demoiselle</c:v>
                </c:pt>
                <c:pt idx="142">
                  <c:v>Nicolas</c:v>
                </c:pt>
                <c:pt idx="143">
                  <c:v>Perrier Jou</c:v>
                </c:pt>
                <c:pt idx="144">
                  <c:v>Roederer</c:v>
                </c:pt>
                <c:pt idx="145">
                  <c:v>Pommery</c:v>
                </c:pt>
                <c:pt idx="146">
                  <c:v>Nicolas</c:v>
                </c:pt>
                <c:pt idx="147">
                  <c:v>Pommery</c:v>
                </c:pt>
                <c:pt idx="148">
                  <c:v>Moët &amp; Chan</c:v>
                </c:pt>
                <c:pt idx="149">
                  <c:v>Roederer</c:v>
                </c:pt>
                <c:pt idx="150">
                  <c:v>Dom Perigno</c:v>
                </c:pt>
                <c:pt idx="151">
                  <c:v>Pommery</c:v>
                </c:pt>
                <c:pt idx="152">
                  <c:v>Besserat De</c:v>
                </c:pt>
                <c:pt idx="153">
                  <c:v>Nicolas</c:v>
                </c:pt>
                <c:pt idx="154">
                  <c:v>Laurent Per</c:v>
                </c:pt>
                <c:pt idx="155">
                  <c:v>Roederer</c:v>
                </c:pt>
                <c:pt idx="156">
                  <c:v>Canard Duch</c:v>
                </c:pt>
                <c:pt idx="157">
                  <c:v>Perrier Jou</c:v>
                </c:pt>
                <c:pt idx="158">
                  <c:v>Louis Marti</c:v>
                </c:pt>
                <c:pt idx="159">
                  <c:v>Nicolas</c:v>
                </c:pt>
                <c:pt idx="160">
                  <c:v>Dom Perigno</c:v>
                </c:pt>
                <c:pt idx="161">
                  <c:v>Bollinger</c:v>
                </c:pt>
                <c:pt idx="162">
                  <c:v>Moët &amp; Chan</c:v>
                </c:pt>
                <c:pt idx="163">
                  <c:v>Ruinart</c:v>
                </c:pt>
                <c:pt idx="164">
                  <c:v>Roederer</c:v>
                </c:pt>
                <c:pt idx="165">
                  <c:v>Dom Perigno</c:v>
                </c:pt>
                <c:pt idx="166">
                  <c:v>Deutz</c:v>
                </c:pt>
                <c:pt idx="167">
                  <c:v>Nicolas</c:v>
                </c:pt>
                <c:pt idx="168">
                  <c:v>Krug</c:v>
                </c:pt>
                <c:pt idx="169">
                  <c:v>Roederer</c:v>
                </c:pt>
                <c:pt idx="170">
                  <c:v>Nicolas</c:v>
                </c:pt>
                <c:pt idx="171">
                  <c:v>All Others</c:v>
                </c:pt>
                <c:pt idx="172">
                  <c:v>Besserat De</c:v>
                </c:pt>
                <c:pt idx="173">
                  <c:v>Pommery</c:v>
                </c:pt>
                <c:pt idx="174">
                  <c:v>Laurent Per</c:v>
                </c:pt>
                <c:pt idx="175">
                  <c:v>Dom Perigno</c:v>
                </c:pt>
                <c:pt idx="176">
                  <c:v>Vesselle</c:v>
                </c:pt>
                <c:pt idx="177">
                  <c:v>All Others</c:v>
                </c:pt>
                <c:pt idx="178">
                  <c:v>Roederer</c:v>
                </c:pt>
                <c:pt idx="179">
                  <c:v>Nicolas</c:v>
                </c:pt>
                <c:pt idx="180">
                  <c:v>Piper Heids</c:v>
                </c:pt>
                <c:pt idx="181">
                  <c:v>Bollinger</c:v>
                </c:pt>
                <c:pt idx="182">
                  <c:v>Henriot</c:v>
                </c:pt>
                <c:pt idx="183">
                  <c:v>Deutz</c:v>
                </c:pt>
                <c:pt idx="184">
                  <c:v>Dom Perigno</c:v>
                </c:pt>
                <c:pt idx="185">
                  <c:v>Dom Perigno</c:v>
                </c:pt>
                <c:pt idx="186">
                  <c:v>Ayala</c:v>
                </c:pt>
                <c:pt idx="187">
                  <c:v>De Venoge</c:v>
                </c:pt>
                <c:pt idx="188">
                  <c:v>Piper Heids</c:v>
                </c:pt>
                <c:pt idx="189">
                  <c:v>Demoiselle</c:v>
                </c:pt>
                <c:pt idx="190">
                  <c:v>Laurent Per</c:v>
                </c:pt>
                <c:pt idx="191">
                  <c:v>Perrier Jou</c:v>
                </c:pt>
                <c:pt idx="192">
                  <c:v>Bollinger</c:v>
                </c:pt>
                <c:pt idx="193">
                  <c:v>De Venoge</c:v>
                </c:pt>
                <c:pt idx="194">
                  <c:v>De Venoge</c:v>
                </c:pt>
                <c:pt idx="195">
                  <c:v>Veuve Clicq</c:v>
                </c:pt>
                <c:pt idx="196">
                  <c:v>Malard</c:v>
                </c:pt>
                <c:pt idx="197">
                  <c:v>Ruinart</c:v>
                </c:pt>
                <c:pt idx="198">
                  <c:v>Dom Perigno</c:v>
                </c:pt>
                <c:pt idx="199">
                  <c:v>Ruinart</c:v>
                </c:pt>
                <c:pt idx="200">
                  <c:v>Dom Perigno</c:v>
                </c:pt>
                <c:pt idx="201">
                  <c:v>Deutz</c:v>
                </c:pt>
                <c:pt idx="202">
                  <c:v>Taittinger</c:v>
                </c:pt>
                <c:pt idx="203">
                  <c:v>All Others</c:v>
                </c:pt>
                <c:pt idx="204">
                  <c:v>Ruinart</c:v>
                </c:pt>
                <c:pt idx="205">
                  <c:v>Dom Perigno</c:v>
                </c:pt>
                <c:pt idx="206">
                  <c:v>Nicolas</c:v>
                </c:pt>
                <c:pt idx="207">
                  <c:v>Pommery</c:v>
                </c:pt>
                <c:pt idx="208">
                  <c:v>Piper Heids</c:v>
                </c:pt>
                <c:pt idx="209">
                  <c:v>Nicolas Feu</c:v>
                </c:pt>
                <c:pt idx="210">
                  <c:v>Nicolas</c:v>
                </c:pt>
                <c:pt idx="211">
                  <c:v>Roederer</c:v>
                </c:pt>
                <c:pt idx="212">
                  <c:v>Vranken</c:v>
                </c:pt>
                <c:pt idx="213">
                  <c:v>Roederer</c:v>
                </c:pt>
                <c:pt idx="214">
                  <c:v>Deutz</c:v>
                </c:pt>
                <c:pt idx="215">
                  <c:v>Bollinger</c:v>
                </c:pt>
                <c:pt idx="216">
                  <c:v>Moët &amp; Chan</c:v>
                </c:pt>
                <c:pt idx="217">
                  <c:v>Bollinger</c:v>
                </c:pt>
                <c:pt idx="218">
                  <c:v>Canard Duch</c:v>
                </c:pt>
                <c:pt idx="219">
                  <c:v>Deutz</c:v>
                </c:pt>
                <c:pt idx="220">
                  <c:v>Deutz</c:v>
                </c:pt>
                <c:pt idx="221">
                  <c:v>Bollinger</c:v>
                </c:pt>
                <c:pt idx="222">
                  <c:v>Taittinger</c:v>
                </c:pt>
                <c:pt idx="223">
                  <c:v>Laurent Per</c:v>
                </c:pt>
                <c:pt idx="224">
                  <c:v>All Others</c:v>
                </c:pt>
                <c:pt idx="225">
                  <c:v>Roederer</c:v>
                </c:pt>
                <c:pt idx="226">
                  <c:v>Bollinger</c:v>
                </c:pt>
                <c:pt idx="227">
                  <c:v>Laurent Per</c:v>
                </c:pt>
                <c:pt idx="228">
                  <c:v>Bollinger</c:v>
                </c:pt>
                <c:pt idx="229">
                  <c:v>Roederer</c:v>
                </c:pt>
                <c:pt idx="230">
                  <c:v>Ruinart</c:v>
                </c:pt>
                <c:pt idx="231">
                  <c:v>All Others</c:v>
                </c:pt>
                <c:pt idx="232">
                  <c:v>All Others</c:v>
                </c:pt>
                <c:pt idx="233">
                  <c:v>Piper Heids</c:v>
                </c:pt>
                <c:pt idx="234">
                  <c:v>Veuve Clicq</c:v>
                </c:pt>
                <c:pt idx="235">
                  <c:v>Canard Duch</c:v>
                </c:pt>
                <c:pt idx="236">
                  <c:v>Canard Duch</c:v>
                </c:pt>
                <c:pt idx="237">
                  <c:v>All Others</c:v>
                </c:pt>
                <c:pt idx="238">
                  <c:v>Delamotte</c:v>
                </c:pt>
                <c:pt idx="239">
                  <c:v>Ayala</c:v>
                </c:pt>
                <c:pt idx="240">
                  <c:v>Vesselle</c:v>
                </c:pt>
                <c:pt idx="241">
                  <c:v>Perrier Jou</c:v>
                </c:pt>
                <c:pt idx="242">
                  <c:v>Roederer</c:v>
                </c:pt>
                <c:pt idx="243">
                  <c:v>Nicolas</c:v>
                </c:pt>
                <c:pt idx="244">
                  <c:v>Lanson</c:v>
                </c:pt>
                <c:pt idx="245">
                  <c:v>Taittinger</c:v>
                </c:pt>
                <c:pt idx="246">
                  <c:v>De Bligny</c:v>
                </c:pt>
                <c:pt idx="247">
                  <c:v>Roederer</c:v>
                </c:pt>
                <c:pt idx="248">
                  <c:v>Roederer</c:v>
                </c:pt>
                <c:pt idx="249">
                  <c:v>De Bligny</c:v>
                </c:pt>
                <c:pt idx="250">
                  <c:v>Nicolas Feu</c:v>
                </c:pt>
                <c:pt idx="251">
                  <c:v>Demoiselle</c:v>
                </c:pt>
                <c:pt idx="252">
                  <c:v>All Others</c:v>
                </c:pt>
                <c:pt idx="253">
                  <c:v>Besserat De</c:v>
                </c:pt>
                <c:pt idx="254">
                  <c:v>Roederer</c:v>
                </c:pt>
                <c:pt idx="255">
                  <c:v>All Others</c:v>
                </c:pt>
                <c:pt idx="256">
                  <c:v>Laurent Per</c:v>
                </c:pt>
                <c:pt idx="257">
                  <c:v>Ruinart</c:v>
                </c:pt>
                <c:pt idx="258">
                  <c:v>Malard</c:v>
                </c:pt>
                <c:pt idx="259">
                  <c:v>Roederer</c:v>
                </c:pt>
                <c:pt idx="260">
                  <c:v>Laurent Per</c:v>
                </c:pt>
                <c:pt idx="261">
                  <c:v>Roederer</c:v>
                </c:pt>
                <c:pt idx="262">
                  <c:v>Roederer</c:v>
                </c:pt>
                <c:pt idx="263">
                  <c:v>Martel</c:v>
                </c:pt>
                <c:pt idx="264">
                  <c:v>Pommery</c:v>
                </c:pt>
                <c:pt idx="265">
                  <c:v>Roederer</c:v>
                </c:pt>
                <c:pt idx="266">
                  <c:v>Delamotte</c:v>
                </c:pt>
                <c:pt idx="267">
                  <c:v>Malard</c:v>
                </c:pt>
                <c:pt idx="268">
                  <c:v>Moët &amp; Chan</c:v>
                </c:pt>
                <c:pt idx="269">
                  <c:v>Nicolas</c:v>
                </c:pt>
              </c:strCache>
            </c:strRef>
          </c:cat>
          <c:val>
            <c:numRef>
              <c:f>Sheet1!$C$2:$C$271</c:f>
              <c:numCache>
                <c:formatCode>General</c:formatCode>
                <c:ptCount val="270"/>
                <c:pt idx="0">
                  <c:v>9.6079409528401605E-2</c:v>
                </c:pt>
                <c:pt idx="1">
                  <c:v>0.18869591825380636</c:v>
                </c:pt>
                <c:pt idx="2">
                  <c:v>0.2420642397492721</c:v>
                </c:pt>
                <c:pt idx="3">
                  <c:v>0.28813586039352407</c:v>
                </c:pt>
                <c:pt idx="4">
                  <c:v>0.32663260575264724</c:v>
                </c:pt>
                <c:pt idx="5">
                  <c:v>0.35229215733545977</c:v>
                </c:pt>
                <c:pt idx="6">
                  <c:v>0.37777275003245364</c:v>
                </c:pt>
                <c:pt idx="7">
                  <c:v>0.4030052111343953</c:v>
                </c:pt>
                <c:pt idx="8">
                  <c:v>0.42782226508169052</c:v>
                </c:pt>
                <c:pt idx="9">
                  <c:v>0.45255327040409471</c:v>
                </c:pt>
                <c:pt idx="10">
                  <c:v>0.47276820651669971</c:v>
                </c:pt>
                <c:pt idx="11">
                  <c:v>0.49177345474101958</c:v>
                </c:pt>
                <c:pt idx="12">
                  <c:v>0.51025072788976877</c:v>
                </c:pt>
                <c:pt idx="13">
                  <c:v>0.52507297442649703</c:v>
                </c:pt>
                <c:pt idx="14">
                  <c:v>0.53829015447953565</c:v>
                </c:pt>
                <c:pt idx="15">
                  <c:v>0.55129369656732752</c:v>
                </c:pt>
                <c:pt idx="16">
                  <c:v>0.56320382768021071</c:v>
                </c:pt>
                <c:pt idx="17">
                  <c:v>0.57477736772805677</c:v>
                </c:pt>
                <c:pt idx="18">
                  <c:v>0.58632605752647304</c:v>
                </c:pt>
                <c:pt idx="19">
                  <c:v>0.59779314949094087</c:v>
                </c:pt>
                <c:pt idx="20">
                  <c:v>0.60907831537562829</c:v>
                </c:pt>
                <c:pt idx="21">
                  <c:v>0.62011664781262177</c:v>
                </c:pt>
                <c:pt idx="22">
                  <c:v>0.63106095729095202</c:v>
                </c:pt>
                <c:pt idx="23">
                  <c:v>0.64181295551063566</c:v>
                </c:pt>
                <c:pt idx="24">
                  <c:v>0.65224653672829791</c:v>
                </c:pt>
                <c:pt idx="25">
                  <c:v>0.66261762142314051</c:v>
                </c:pt>
                <c:pt idx="26">
                  <c:v>0.67276319937688933</c:v>
                </c:pt>
                <c:pt idx="27">
                  <c:v>0.68253899078315383</c:v>
                </c:pt>
                <c:pt idx="28">
                  <c:v>0.69116499452923619</c:v>
                </c:pt>
                <c:pt idx="29">
                  <c:v>0.6996574745470393</c:v>
                </c:pt>
                <c:pt idx="30">
                  <c:v>0.7074561875266584</c:v>
                </c:pt>
                <c:pt idx="31">
                  <c:v>0.71494742503199005</c:v>
                </c:pt>
                <c:pt idx="32">
                  <c:v>0.722233555254715</c:v>
                </c:pt>
                <c:pt idx="33">
                  <c:v>0.7294855627468797</c:v>
                </c:pt>
                <c:pt idx="34">
                  <c:v>0.73659699942510604</c:v>
                </c:pt>
                <c:pt idx="35">
                  <c:v>0.74361311499731086</c:v>
                </c:pt>
                <c:pt idx="36">
                  <c:v>0.75035161248446847</c:v>
                </c:pt>
                <c:pt idx="37">
                  <c:v>0.75697049496504265</c:v>
                </c:pt>
                <c:pt idx="38">
                  <c:v>0.76341486935074077</c:v>
                </c:pt>
                <c:pt idx="39">
                  <c:v>0.76951857277970426</c:v>
                </c:pt>
                <c:pt idx="40">
                  <c:v>0.77546501492869446</c:v>
                </c:pt>
                <c:pt idx="41">
                  <c:v>0.78089108543664099</c:v>
                </c:pt>
                <c:pt idx="42">
                  <c:v>0.78625836841422014</c:v>
                </c:pt>
                <c:pt idx="43">
                  <c:v>0.79159894664614339</c:v>
                </c:pt>
                <c:pt idx="44">
                  <c:v>0.79614227695046624</c:v>
                </c:pt>
                <c:pt idx="45">
                  <c:v>0.80066650594366029</c:v>
                </c:pt>
                <c:pt idx="46">
                  <c:v>0.805089108543664</c:v>
                </c:pt>
                <c:pt idx="47">
                  <c:v>0.80949446432876493</c:v>
                </c:pt>
                <c:pt idx="48">
                  <c:v>0.81381043339576786</c:v>
                </c:pt>
                <c:pt idx="49">
                  <c:v>0.81812195167182822</c:v>
                </c:pt>
                <c:pt idx="50">
                  <c:v>0.82242901915694588</c:v>
                </c:pt>
                <c:pt idx="51">
                  <c:v>0.82660998089868876</c:v>
                </c:pt>
                <c:pt idx="52">
                  <c:v>0.83078055746156543</c:v>
                </c:pt>
                <c:pt idx="53">
                  <c:v>0.83491868034048533</c:v>
                </c:pt>
                <c:pt idx="54">
                  <c:v>0.83885614672774123</c:v>
                </c:pt>
                <c:pt idx="55">
                  <c:v>0.84274168722066634</c:v>
                </c:pt>
                <c:pt idx="56">
                  <c:v>0.84650464551304616</c:v>
                </c:pt>
                <c:pt idx="57">
                  <c:v>0.85019472210374025</c:v>
                </c:pt>
                <c:pt idx="58">
                  <c:v>0.85381247334161647</c:v>
                </c:pt>
                <c:pt idx="59">
                  <c:v>0.85718598742651531</c:v>
                </c:pt>
                <c:pt idx="60">
                  <c:v>0.86055171262726449</c:v>
                </c:pt>
                <c:pt idx="61">
                  <c:v>0.86376666728483176</c:v>
                </c:pt>
                <c:pt idx="62">
                  <c:v>0.86692246351278646</c:v>
                </c:pt>
                <c:pt idx="63">
                  <c:v>0.87002355210207116</c:v>
                </c:pt>
                <c:pt idx="64">
                  <c:v>0.87286630936706011</c:v>
                </c:pt>
                <c:pt idx="65">
                  <c:v>0.87570220499601248</c:v>
                </c:pt>
                <c:pt idx="66">
                  <c:v>0.87845743003912946</c:v>
                </c:pt>
                <c:pt idx="67">
                  <c:v>0.88119819001168287</c:v>
                </c:pt>
                <c:pt idx="68">
                  <c:v>0.88392337221593709</c:v>
                </c:pt>
                <c:pt idx="69">
                  <c:v>0.88656232034567761</c:v>
                </c:pt>
                <c:pt idx="70">
                  <c:v>0.88914544813901253</c:v>
                </c:pt>
                <c:pt idx="71">
                  <c:v>0.89167794818537494</c:v>
                </c:pt>
                <c:pt idx="72">
                  <c:v>0.89420321569645556</c:v>
                </c:pt>
                <c:pt idx="73">
                  <c:v>0.89645846855701594</c:v>
                </c:pt>
                <c:pt idx="74">
                  <c:v>0.89863342173098626</c:v>
                </c:pt>
                <c:pt idx="75">
                  <c:v>0.90079075719080859</c:v>
                </c:pt>
                <c:pt idx="76">
                  <c:v>0.90293436937855776</c:v>
                </c:pt>
                <c:pt idx="77">
                  <c:v>0.90507779611668437</c:v>
                </c:pt>
                <c:pt idx="78">
                  <c:v>0.90718988186858984</c:v>
                </c:pt>
                <c:pt idx="79">
                  <c:v>0.90925838695918193</c:v>
                </c:pt>
                <c:pt idx="80">
                  <c:v>0.91121376777998198</c:v>
                </c:pt>
                <c:pt idx="81">
                  <c:v>0.91312000445079033</c:v>
                </c:pt>
                <c:pt idx="82">
                  <c:v>0.91500658346160202</c:v>
                </c:pt>
                <c:pt idx="83">
                  <c:v>0.9168564434471369</c:v>
                </c:pt>
                <c:pt idx="84">
                  <c:v>0.91867384974871513</c:v>
                </c:pt>
                <c:pt idx="85">
                  <c:v>0.92048142722029502</c:v>
                </c:pt>
                <c:pt idx="86">
                  <c:v>0.92225469651169201</c:v>
                </c:pt>
                <c:pt idx="87">
                  <c:v>0.92400441370101749</c:v>
                </c:pt>
                <c:pt idx="88">
                  <c:v>0.92572631344695155</c:v>
                </c:pt>
                <c:pt idx="89">
                  <c:v>0.92743560261854807</c:v>
                </c:pt>
                <c:pt idx="90">
                  <c:v>0.92913302301429757</c:v>
                </c:pt>
                <c:pt idx="91">
                  <c:v>0.93078018656231976</c:v>
                </c:pt>
                <c:pt idx="92">
                  <c:v>0.93234167238469612</c:v>
                </c:pt>
                <c:pt idx="93">
                  <c:v>0.93386940637575744</c:v>
                </c:pt>
                <c:pt idx="94">
                  <c:v>0.93533965098380967</c:v>
                </c:pt>
                <c:pt idx="95">
                  <c:v>0.93680544480091921</c:v>
                </c:pt>
                <c:pt idx="96">
                  <c:v>0.93825844259406865</c:v>
                </c:pt>
                <c:pt idx="97">
                  <c:v>0.93964690391854988</c:v>
                </c:pt>
                <c:pt idx="98">
                  <c:v>0.94101682028077005</c:v>
                </c:pt>
                <c:pt idx="99">
                  <c:v>0.94237857685959536</c:v>
                </c:pt>
                <c:pt idx="100">
                  <c:v>0.94371659588672663</c:v>
                </c:pt>
                <c:pt idx="101">
                  <c:v>0.94503681175008736</c:v>
                </c:pt>
                <c:pt idx="102">
                  <c:v>0.94631938134005822</c:v>
                </c:pt>
                <c:pt idx="103">
                  <c:v>0.94759694379021864</c:v>
                </c:pt>
                <c:pt idx="104">
                  <c:v>0.94879420655378888</c:v>
                </c:pt>
                <c:pt idx="105">
                  <c:v>0.94998627672792613</c:v>
                </c:pt>
                <c:pt idx="106">
                  <c:v>0.95114663501659702</c:v>
                </c:pt>
                <c:pt idx="107">
                  <c:v>0.95229364093243996</c:v>
                </c:pt>
                <c:pt idx="108">
                  <c:v>0.9534063386681001</c:v>
                </c:pt>
                <c:pt idx="109">
                  <c:v>0.95449845149565049</c:v>
                </c:pt>
                <c:pt idx="110">
                  <c:v>0.95558444448565472</c:v>
                </c:pt>
                <c:pt idx="111">
                  <c:v>0.95661851158132816</c:v>
                </c:pt>
                <c:pt idx="112">
                  <c:v>0.95763013927266583</c:v>
                </c:pt>
                <c:pt idx="113">
                  <c:v>0.95863750162268346</c:v>
                </c:pt>
                <c:pt idx="114">
                  <c:v>0.95959367987686073</c:v>
                </c:pt>
                <c:pt idx="115">
                  <c:v>0.96053520761085176</c:v>
                </c:pt>
                <c:pt idx="116">
                  <c:v>0.96147488084861676</c:v>
                </c:pt>
                <c:pt idx="117">
                  <c:v>0.96237152977393625</c:v>
                </c:pt>
                <c:pt idx="118">
                  <c:v>0.96325705172189913</c:v>
                </c:pt>
                <c:pt idx="119">
                  <c:v>0.9641058546445852</c:v>
                </c:pt>
                <c:pt idx="120">
                  <c:v>0.96494390148915987</c:v>
                </c:pt>
                <c:pt idx="121">
                  <c:v>0.96577935203901799</c:v>
                </c:pt>
                <c:pt idx="122">
                  <c:v>0.96659329043265341</c:v>
                </c:pt>
                <c:pt idx="123">
                  <c:v>0.96737403334384153</c:v>
                </c:pt>
                <c:pt idx="124">
                  <c:v>0.96813771488974953</c:v>
                </c:pt>
                <c:pt idx="125">
                  <c:v>0.96888507686886793</c:v>
                </c:pt>
                <c:pt idx="126">
                  <c:v>0.96961537748270621</c:v>
                </c:pt>
                <c:pt idx="127">
                  <c:v>0.97033659106503656</c:v>
                </c:pt>
                <c:pt idx="128">
                  <c:v>0.97104148508057719</c:v>
                </c:pt>
                <c:pt idx="129">
                  <c:v>0.97172505238951767</c:v>
                </c:pt>
                <c:pt idx="130">
                  <c:v>0.97240713610147733</c:v>
                </c:pt>
                <c:pt idx="131">
                  <c:v>0.97308532537136216</c:v>
                </c:pt>
                <c:pt idx="132">
                  <c:v>0.97375461305936173</c:v>
                </c:pt>
                <c:pt idx="133">
                  <c:v>0.97437197485303051</c:v>
                </c:pt>
                <c:pt idx="134">
                  <c:v>0.97498878029783143</c:v>
                </c:pt>
                <c:pt idx="135">
                  <c:v>0.97560484394414193</c:v>
                </c:pt>
                <c:pt idx="136">
                  <c:v>0.97618604306140178</c:v>
                </c:pt>
                <c:pt idx="137">
                  <c:v>0.97676223503885107</c:v>
                </c:pt>
                <c:pt idx="138">
                  <c:v>0.97733675796969688</c:v>
                </c:pt>
                <c:pt idx="139">
                  <c:v>0.97790645921035491</c:v>
                </c:pt>
                <c:pt idx="140">
                  <c:v>0.97847374960591893</c:v>
                </c:pt>
                <c:pt idx="141">
                  <c:v>0.97903510561355944</c:v>
                </c:pt>
                <c:pt idx="142">
                  <c:v>0.97958922908591817</c:v>
                </c:pt>
                <c:pt idx="143">
                  <c:v>0.98012666209224197</c:v>
                </c:pt>
                <c:pt idx="144">
                  <c:v>0.98066075700535882</c:v>
                </c:pt>
                <c:pt idx="145">
                  <c:v>0.98119299742224952</c:v>
                </c:pt>
                <c:pt idx="146">
                  <c:v>0.98172319789329154</c:v>
                </c:pt>
                <c:pt idx="147">
                  <c:v>0.9822472785267875</c:v>
                </c:pt>
                <c:pt idx="148">
                  <c:v>0.9827389054763267</c:v>
                </c:pt>
                <c:pt idx="149">
                  <c:v>0.9832129147117179</c:v>
                </c:pt>
                <c:pt idx="150">
                  <c:v>0.98368395675314735</c:v>
                </c:pt>
                <c:pt idx="151">
                  <c:v>0.98414850805778542</c:v>
                </c:pt>
                <c:pt idx="152">
                  <c:v>0.98461009216846174</c:v>
                </c:pt>
                <c:pt idx="153">
                  <c:v>0.9850687090851763</c:v>
                </c:pt>
                <c:pt idx="154">
                  <c:v>0.98550896648925246</c:v>
                </c:pt>
                <c:pt idx="155">
                  <c:v>0.98592400274465364</c:v>
                </c:pt>
                <c:pt idx="156">
                  <c:v>0.98633903900005482</c:v>
                </c:pt>
                <c:pt idx="157">
                  <c:v>0.9867377556886664</c:v>
                </c:pt>
                <c:pt idx="158">
                  <c:v>0.98711829831426212</c:v>
                </c:pt>
                <c:pt idx="159">
                  <c:v>0.98747269254306991</c:v>
                </c:pt>
                <c:pt idx="160">
                  <c:v>0.98782597407414197</c:v>
                </c:pt>
                <c:pt idx="161">
                  <c:v>0.98817628841125227</c:v>
                </c:pt>
                <c:pt idx="162">
                  <c:v>0.98848339298629451</c:v>
                </c:pt>
                <c:pt idx="163">
                  <c:v>0.9887726943975661</c:v>
                </c:pt>
                <c:pt idx="164">
                  <c:v>0.98906125401034728</c:v>
                </c:pt>
                <c:pt idx="165">
                  <c:v>0.98934499193294057</c:v>
                </c:pt>
                <c:pt idx="166">
                  <c:v>0.98962650446006262</c:v>
                </c:pt>
                <c:pt idx="167">
                  <c:v>0.98990746063831681</c:v>
                </c:pt>
                <c:pt idx="168">
                  <c:v>0.99018192607977962</c:v>
                </c:pt>
                <c:pt idx="169">
                  <c:v>0.99045082803256412</c:v>
                </c:pt>
                <c:pt idx="170">
                  <c:v>0.99071824638836781</c:v>
                </c:pt>
                <c:pt idx="171">
                  <c:v>0.9909784322088897</c:v>
                </c:pt>
                <c:pt idx="172">
                  <c:v>0.99123750533167587</c:v>
                </c:pt>
                <c:pt idx="173">
                  <c:v>0.9914919422138968</c:v>
                </c:pt>
                <c:pt idx="174">
                  <c:v>0.99174137195630729</c:v>
                </c:pt>
                <c:pt idx="175">
                  <c:v>0.99198598000852989</c:v>
                </c:pt>
                <c:pt idx="176">
                  <c:v>0.99222928991339421</c:v>
                </c:pt>
                <c:pt idx="177">
                  <c:v>0.99246629453108981</c:v>
                </c:pt>
                <c:pt idx="178">
                  <c:v>0.99269959015633324</c:v>
                </c:pt>
                <c:pt idx="179">
                  <c:v>0.9929288058898792</c:v>
                </c:pt>
                <c:pt idx="180">
                  <c:v>0.99315709437531208</c:v>
                </c:pt>
                <c:pt idx="181">
                  <c:v>0.99338130296904759</c:v>
                </c:pt>
                <c:pt idx="182">
                  <c:v>0.99359939172523692</c:v>
                </c:pt>
                <c:pt idx="183">
                  <c:v>0.99381636778369065</c:v>
                </c:pt>
                <c:pt idx="184">
                  <c:v>0.99402407136101389</c:v>
                </c:pt>
                <c:pt idx="185">
                  <c:v>0.99423177493833714</c:v>
                </c:pt>
                <c:pt idx="186">
                  <c:v>0.99443280232924636</c:v>
                </c:pt>
                <c:pt idx="187">
                  <c:v>0.99462400089015723</c:v>
                </c:pt>
                <c:pt idx="188">
                  <c:v>0.99480945051276726</c:v>
                </c:pt>
                <c:pt idx="189">
                  <c:v>0.99499397288726421</c:v>
                </c:pt>
                <c:pt idx="190">
                  <c:v>0.99517830981213862</c:v>
                </c:pt>
                <c:pt idx="191">
                  <c:v>0.99534391632512942</c:v>
                </c:pt>
                <c:pt idx="192">
                  <c:v>0.9955087810396297</c:v>
                </c:pt>
                <c:pt idx="193">
                  <c:v>0.99567012221130047</c:v>
                </c:pt>
                <c:pt idx="194">
                  <c:v>0.99582385994844413</c:v>
                </c:pt>
                <c:pt idx="195">
                  <c:v>0.99597463049162605</c:v>
                </c:pt>
                <c:pt idx="196">
                  <c:v>0.99612002299575231</c:v>
                </c:pt>
                <c:pt idx="197">
                  <c:v>0.99625855386384199</c:v>
                </c:pt>
                <c:pt idx="198">
                  <c:v>0.99639430298759257</c:v>
                </c:pt>
                <c:pt idx="199">
                  <c:v>0.99652782671587181</c:v>
                </c:pt>
                <c:pt idx="200">
                  <c:v>0.99665764145169877</c:v>
                </c:pt>
                <c:pt idx="201">
                  <c:v>0.99678393264469622</c:v>
                </c:pt>
                <c:pt idx="202">
                  <c:v>0.99690447489939271</c:v>
                </c:pt>
                <c:pt idx="203">
                  <c:v>0.99701574467295873</c:v>
                </c:pt>
                <c:pt idx="204">
                  <c:v>0.99712571629916646</c:v>
                </c:pt>
                <c:pt idx="205">
                  <c:v>0.99722771359160201</c:v>
                </c:pt>
                <c:pt idx="206">
                  <c:v>0.9973274854885662</c:v>
                </c:pt>
                <c:pt idx="207">
                  <c:v>0.99742187934647475</c:v>
                </c:pt>
                <c:pt idx="208">
                  <c:v>0.99751274966155368</c:v>
                </c:pt>
                <c:pt idx="209">
                  <c:v>0.99760102368191605</c:v>
                </c:pt>
                <c:pt idx="210">
                  <c:v>0.99768558870982627</c:v>
                </c:pt>
                <c:pt idx="211">
                  <c:v>0.99776496114830338</c:v>
                </c:pt>
                <c:pt idx="212">
                  <c:v>0.9978422936409318</c:v>
                </c:pt>
                <c:pt idx="213">
                  <c:v>0.99791925523431491</c:v>
                </c:pt>
                <c:pt idx="214">
                  <c:v>0.9979951041299624</c:v>
                </c:pt>
                <c:pt idx="215">
                  <c:v>0.99807058212636468</c:v>
                </c:pt>
                <c:pt idx="216">
                  <c:v>0.99814476197540869</c:v>
                </c:pt>
                <c:pt idx="217">
                  <c:v>0.99821690187860401</c:v>
                </c:pt>
                <c:pt idx="218">
                  <c:v>0.99828792908406361</c:v>
                </c:pt>
                <c:pt idx="219">
                  <c:v>0.99835839994065545</c:v>
                </c:pt>
                <c:pt idx="220">
                  <c:v>0.99842608905290808</c:v>
                </c:pt>
                <c:pt idx="221">
                  <c:v>0.99849006917270855</c:v>
                </c:pt>
                <c:pt idx="222">
                  <c:v>0.99855219479628288</c:v>
                </c:pt>
                <c:pt idx="223">
                  <c:v>0.99861190957476331</c:v>
                </c:pt>
                <c:pt idx="224">
                  <c:v>0.99866698811267851</c:v>
                </c:pt>
                <c:pt idx="225">
                  <c:v>0.9987216957513485</c:v>
                </c:pt>
                <c:pt idx="226">
                  <c:v>0.99877621794039584</c:v>
                </c:pt>
                <c:pt idx="227">
                  <c:v>0.99882999833095276</c:v>
                </c:pt>
                <c:pt idx="228">
                  <c:v>0.99888285147339662</c:v>
                </c:pt>
                <c:pt idx="229">
                  <c:v>0.99893551916621781</c:v>
                </c:pt>
                <c:pt idx="230">
                  <c:v>0.99898559056432257</c:v>
                </c:pt>
                <c:pt idx="231">
                  <c:v>0.99903473471431425</c:v>
                </c:pt>
                <c:pt idx="232">
                  <c:v>0.9990820243680798</c:v>
                </c:pt>
                <c:pt idx="233">
                  <c:v>0.99912653227750625</c:v>
                </c:pt>
                <c:pt idx="234">
                  <c:v>0.9991710401869327</c:v>
                </c:pt>
                <c:pt idx="235">
                  <c:v>0.99921462084824608</c:v>
                </c:pt>
                <c:pt idx="236">
                  <c:v>0.99925690336220119</c:v>
                </c:pt>
                <c:pt idx="237">
                  <c:v>0.99929900042653363</c:v>
                </c:pt>
                <c:pt idx="238">
                  <c:v>0.99933979934350781</c:v>
                </c:pt>
                <c:pt idx="239">
                  <c:v>0.99938041281085943</c:v>
                </c:pt>
                <c:pt idx="240">
                  <c:v>0.99942102627821106</c:v>
                </c:pt>
                <c:pt idx="241">
                  <c:v>0.99946126884631747</c:v>
                </c:pt>
                <c:pt idx="242">
                  <c:v>0.99949854422046214</c:v>
                </c:pt>
                <c:pt idx="243">
                  <c:v>0.99953544869536148</c:v>
                </c:pt>
                <c:pt idx="244">
                  <c:v>0.99957142592214787</c:v>
                </c:pt>
                <c:pt idx="245">
                  <c:v>0.99960554865270812</c:v>
                </c:pt>
                <c:pt idx="246">
                  <c:v>0.99963800233666489</c:v>
                </c:pt>
                <c:pt idx="247">
                  <c:v>0.99966656157854683</c:v>
                </c:pt>
                <c:pt idx="248">
                  <c:v>0.99969363722344784</c:v>
                </c:pt>
                <c:pt idx="249">
                  <c:v>0.99971960017061323</c:v>
                </c:pt>
                <c:pt idx="250">
                  <c:v>0.9997440795207978</c:v>
                </c:pt>
                <c:pt idx="251">
                  <c:v>0.99976837342135971</c:v>
                </c:pt>
                <c:pt idx="252">
                  <c:v>0.99979229642267642</c:v>
                </c:pt>
                <c:pt idx="253">
                  <c:v>0.99981455037738964</c:v>
                </c:pt>
                <c:pt idx="254">
                  <c:v>0.99983643343285766</c:v>
                </c:pt>
                <c:pt idx="255">
                  <c:v>0.99985757468983516</c:v>
                </c:pt>
                <c:pt idx="256">
                  <c:v>0.99987593420247356</c:v>
                </c:pt>
                <c:pt idx="257">
                  <c:v>0.99989114107152754</c:v>
                </c:pt>
                <c:pt idx="258">
                  <c:v>0.99990523524284591</c:v>
                </c:pt>
                <c:pt idx="259">
                  <c:v>0.99991654766982507</c:v>
                </c:pt>
                <c:pt idx="260">
                  <c:v>0.99992767464718169</c:v>
                </c:pt>
                <c:pt idx="261">
                  <c:v>0.99993861617491564</c:v>
                </c:pt>
                <c:pt idx="262">
                  <c:v>0.99994918680340439</c:v>
                </c:pt>
                <c:pt idx="263">
                  <c:v>0.99995845928453486</c:v>
                </c:pt>
                <c:pt idx="264">
                  <c:v>0.99996773176566534</c:v>
                </c:pt>
                <c:pt idx="265">
                  <c:v>0.9999762624483054</c:v>
                </c:pt>
                <c:pt idx="266">
                  <c:v>0.9999842367820776</c:v>
                </c:pt>
                <c:pt idx="267">
                  <c:v>0.99999128386773672</c:v>
                </c:pt>
                <c:pt idx="268">
                  <c:v>0.99999610555792462</c:v>
                </c:pt>
                <c:pt idx="269">
                  <c:v>0.9999999999999994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75</c:f>
              <c:strCache>
                <c:ptCount val="274"/>
                <c:pt idx="0">
                  <c:v>Ruinart</c:v>
                </c:pt>
                <c:pt idx="1">
                  <c:v>Ruinart</c:v>
                </c:pt>
                <c:pt idx="2">
                  <c:v>Nicolas</c:v>
                </c:pt>
                <c:pt idx="3">
                  <c:v>Deutz</c:v>
                </c:pt>
                <c:pt idx="4">
                  <c:v>Ruinart</c:v>
                </c:pt>
                <c:pt idx="5">
                  <c:v>Ruinart</c:v>
                </c:pt>
                <c:pt idx="6">
                  <c:v>Heidsieck &amp;</c:v>
                </c:pt>
                <c:pt idx="7">
                  <c:v>De Bligny</c:v>
                </c:pt>
                <c:pt idx="8">
                  <c:v>Malard</c:v>
                </c:pt>
                <c:pt idx="9">
                  <c:v>Nicolas Feu</c:v>
                </c:pt>
                <c:pt idx="10">
                  <c:v>Laurent Per</c:v>
                </c:pt>
                <c:pt idx="11">
                  <c:v>Taittinger</c:v>
                </c:pt>
                <c:pt idx="12">
                  <c:v>Canard Duch</c:v>
                </c:pt>
                <c:pt idx="13">
                  <c:v>Ruinart</c:v>
                </c:pt>
                <c:pt idx="14">
                  <c:v>Ruinart</c:v>
                </c:pt>
                <c:pt idx="15">
                  <c:v>Ayala</c:v>
                </c:pt>
                <c:pt idx="16">
                  <c:v>Bollinger</c:v>
                </c:pt>
                <c:pt idx="17">
                  <c:v>Dom Perigno</c:v>
                </c:pt>
                <c:pt idx="18">
                  <c:v>Deutz</c:v>
                </c:pt>
                <c:pt idx="19">
                  <c:v>Ruinart</c:v>
                </c:pt>
                <c:pt idx="20">
                  <c:v>Demoiselle</c:v>
                </c:pt>
                <c:pt idx="21">
                  <c:v>Besserat De</c:v>
                </c:pt>
                <c:pt idx="22">
                  <c:v>Savian</c:v>
                </c:pt>
                <c:pt idx="23">
                  <c:v>Deutz</c:v>
                </c:pt>
                <c:pt idx="24">
                  <c:v>Taittinger</c:v>
                </c:pt>
                <c:pt idx="25">
                  <c:v>Ruinart</c:v>
                </c:pt>
                <c:pt idx="26">
                  <c:v>Ruinart</c:v>
                </c:pt>
                <c:pt idx="27">
                  <c:v>Laurent Per</c:v>
                </c:pt>
                <c:pt idx="28">
                  <c:v>Perrier Jou</c:v>
                </c:pt>
                <c:pt idx="29">
                  <c:v>Campari: Al</c:v>
                </c:pt>
                <c:pt idx="30">
                  <c:v>Roederer</c:v>
                </c:pt>
                <c:pt idx="31">
                  <c:v>Dom Perigno</c:v>
                </c:pt>
                <c:pt idx="32">
                  <c:v>Demoiselle</c:v>
                </c:pt>
                <c:pt idx="33">
                  <c:v>Malard</c:v>
                </c:pt>
                <c:pt idx="34">
                  <c:v>Moët &amp; Chan</c:v>
                </c:pt>
                <c:pt idx="35">
                  <c:v>Vesselle</c:v>
                </c:pt>
                <c:pt idx="36">
                  <c:v>All Others</c:v>
                </c:pt>
                <c:pt idx="37">
                  <c:v>Pommery</c:v>
                </c:pt>
                <c:pt idx="38">
                  <c:v>Laurent Per</c:v>
                </c:pt>
                <c:pt idx="39">
                  <c:v>Nicolas</c:v>
                </c:pt>
                <c:pt idx="40">
                  <c:v>Roederer</c:v>
                </c:pt>
                <c:pt idx="41">
                  <c:v>Besserat De</c:v>
                </c:pt>
                <c:pt idx="42">
                  <c:v>Veuve Clicq</c:v>
                </c:pt>
                <c:pt idx="43">
                  <c:v>Moët &amp; Chan</c:v>
                </c:pt>
                <c:pt idx="44">
                  <c:v>Veuve Clicq</c:v>
                </c:pt>
                <c:pt idx="45">
                  <c:v>Nicolas Feu</c:v>
                </c:pt>
                <c:pt idx="46">
                  <c:v>Ruinart</c:v>
                </c:pt>
                <c:pt idx="47">
                  <c:v>Nicolas</c:v>
                </c:pt>
                <c:pt idx="48">
                  <c:v>Veuve Clicq</c:v>
                </c:pt>
                <c:pt idx="49">
                  <c:v>All Others</c:v>
                </c:pt>
                <c:pt idx="50">
                  <c:v>De Venoge</c:v>
                </c:pt>
                <c:pt idx="51">
                  <c:v>Nicolas Feu</c:v>
                </c:pt>
                <c:pt idx="52">
                  <c:v>Henriot</c:v>
                </c:pt>
                <c:pt idx="53">
                  <c:v>Ruinart</c:v>
                </c:pt>
                <c:pt idx="54">
                  <c:v>Ayala</c:v>
                </c:pt>
                <c:pt idx="55">
                  <c:v>Ruinart</c:v>
                </c:pt>
                <c:pt idx="56">
                  <c:v>Malard</c:v>
                </c:pt>
                <c:pt idx="57">
                  <c:v>Nicolas</c:v>
                </c:pt>
                <c:pt idx="58">
                  <c:v>Vranken</c:v>
                </c:pt>
                <c:pt idx="59">
                  <c:v>Lanson</c:v>
                </c:pt>
                <c:pt idx="60">
                  <c:v>Malard</c:v>
                </c:pt>
                <c:pt idx="61">
                  <c:v>De Venoge</c:v>
                </c:pt>
                <c:pt idx="62">
                  <c:v>Canard Duch</c:v>
                </c:pt>
                <c:pt idx="63">
                  <c:v>Roederer</c:v>
                </c:pt>
                <c:pt idx="64">
                  <c:v>Roederer</c:v>
                </c:pt>
                <c:pt idx="65">
                  <c:v>Moët &amp; Chan</c:v>
                </c:pt>
                <c:pt idx="66">
                  <c:v>De Bligny</c:v>
                </c:pt>
                <c:pt idx="67">
                  <c:v>Malard</c:v>
                </c:pt>
                <c:pt idx="68">
                  <c:v>Pommery</c:v>
                </c:pt>
                <c:pt idx="69">
                  <c:v>Campari: Al</c:v>
                </c:pt>
                <c:pt idx="70">
                  <c:v>Krug</c:v>
                </c:pt>
                <c:pt idx="71">
                  <c:v>Laurent Per</c:v>
                </c:pt>
                <c:pt idx="72">
                  <c:v>Malard</c:v>
                </c:pt>
                <c:pt idx="73">
                  <c:v>Perrier Jou</c:v>
                </c:pt>
                <c:pt idx="74">
                  <c:v>Deutz</c:v>
                </c:pt>
                <c:pt idx="75">
                  <c:v>Deutz</c:v>
                </c:pt>
                <c:pt idx="76">
                  <c:v>Ruinart</c:v>
                </c:pt>
                <c:pt idx="77">
                  <c:v>Bollinger</c:v>
                </c:pt>
                <c:pt idx="78">
                  <c:v>Besserat De</c:v>
                </c:pt>
                <c:pt idx="79">
                  <c:v>Henriot</c:v>
                </c:pt>
                <c:pt idx="80">
                  <c:v>Piper Heids</c:v>
                </c:pt>
                <c:pt idx="81">
                  <c:v>Canard Duch</c:v>
                </c:pt>
                <c:pt idx="82">
                  <c:v>Roederer</c:v>
                </c:pt>
                <c:pt idx="83">
                  <c:v>Dom Perigno</c:v>
                </c:pt>
                <c:pt idx="84">
                  <c:v>Canard Duch</c:v>
                </c:pt>
                <c:pt idx="85">
                  <c:v>Roederer</c:v>
                </c:pt>
                <c:pt idx="86">
                  <c:v>Vesselle</c:v>
                </c:pt>
                <c:pt idx="87">
                  <c:v>Delamotte</c:v>
                </c:pt>
                <c:pt idx="88">
                  <c:v>Veuve Clicq</c:v>
                </c:pt>
                <c:pt idx="89">
                  <c:v>Nicolas Feu</c:v>
                </c:pt>
                <c:pt idx="90">
                  <c:v>De Venoge</c:v>
                </c:pt>
                <c:pt idx="91">
                  <c:v>Ruinart</c:v>
                </c:pt>
                <c:pt idx="92">
                  <c:v>Canard Duch</c:v>
                </c:pt>
                <c:pt idx="93">
                  <c:v>Bollinger</c:v>
                </c:pt>
                <c:pt idx="94">
                  <c:v>All Others</c:v>
                </c:pt>
                <c:pt idx="95">
                  <c:v>Vranken</c:v>
                </c:pt>
                <c:pt idx="96">
                  <c:v>Louis Marti</c:v>
                </c:pt>
                <c:pt idx="97">
                  <c:v>Roederer</c:v>
                </c:pt>
                <c:pt idx="98">
                  <c:v>Bollinger</c:v>
                </c:pt>
                <c:pt idx="99">
                  <c:v>Roederer</c:v>
                </c:pt>
                <c:pt idx="100">
                  <c:v>Deutz</c:v>
                </c:pt>
                <c:pt idx="101">
                  <c:v>Ruinart</c:v>
                </c:pt>
                <c:pt idx="102">
                  <c:v>Nicolas</c:v>
                </c:pt>
                <c:pt idx="103">
                  <c:v>Delamotte</c:v>
                </c:pt>
                <c:pt idx="104">
                  <c:v>Henriot</c:v>
                </c:pt>
                <c:pt idx="105">
                  <c:v>Pommery</c:v>
                </c:pt>
                <c:pt idx="106">
                  <c:v>Henriot</c:v>
                </c:pt>
                <c:pt idx="107">
                  <c:v>Laurent Per</c:v>
                </c:pt>
                <c:pt idx="108">
                  <c:v>Nicolas</c:v>
                </c:pt>
                <c:pt idx="109">
                  <c:v>Ruinart</c:v>
                </c:pt>
                <c:pt idx="110">
                  <c:v>Taittinger</c:v>
                </c:pt>
                <c:pt idx="111">
                  <c:v>Ruinart</c:v>
                </c:pt>
                <c:pt idx="112">
                  <c:v>All Others</c:v>
                </c:pt>
                <c:pt idx="113">
                  <c:v>Ruinart</c:v>
                </c:pt>
                <c:pt idx="114">
                  <c:v>Lanson</c:v>
                </c:pt>
                <c:pt idx="115">
                  <c:v>Canard Duch</c:v>
                </c:pt>
                <c:pt idx="116">
                  <c:v>Roederer</c:v>
                </c:pt>
                <c:pt idx="117">
                  <c:v>De Venoge</c:v>
                </c:pt>
                <c:pt idx="118">
                  <c:v>Nicolas Feu</c:v>
                </c:pt>
                <c:pt idx="119">
                  <c:v>Ruinart</c:v>
                </c:pt>
                <c:pt idx="120">
                  <c:v>Dom Perigno</c:v>
                </c:pt>
                <c:pt idx="121">
                  <c:v>Nicolas</c:v>
                </c:pt>
                <c:pt idx="122">
                  <c:v>Roederer</c:v>
                </c:pt>
                <c:pt idx="123">
                  <c:v>Ruinart</c:v>
                </c:pt>
                <c:pt idx="124">
                  <c:v>Deutz</c:v>
                </c:pt>
                <c:pt idx="125">
                  <c:v>Deutz</c:v>
                </c:pt>
                <c:pt idx="126">
                  <c:v>Nicolas</c:v>
                </c:pt>
                <c:pt idx="127">
                  <c:v>Moët &amp; Chan</c:v>
                </c:pt>
                <c:pt idx="128">
                  <c:v>Nicolas</c:v>
                </c:pt>
                <c:pt idx="129">
                  <c:v>Demoiselle</c:v>
                </c:pt>
                <c:pt idx="130">
                  <c:v>All Others</c:v>
                </c:pt>
                <c:pt idx="131">
                  <c:v>Pommery</c:v>
                </c:pt>
                <c:pt idx="132">
                  <c:v>Piper Heids</c:v>
                </c:pt>
                <c:pt idx="133">
                  <c:v>Ayala</c:v>
                </c:pt>
                <c:pt idx="134">
                  <c:v>Ruinart</c:v>
                </c:pt>
                <c:pt idx="135">
                  <c:v>Nicolas</c:v>
                </c:pt>
                <c:pt idx="136">
                  <c:v>Pommery</c:v>
                </c:pt>
                <c:pt idx="137">
                  <c:v>Nicolas</c:v>
                </c:pt>
                <c:pt idx="138">
                  <c:v>Perrier Jou</c:v>
                </c:pt>
                <c:pt idx="139">
                  <c:v>Piper Heids</c:v>
                </c:pt>
                <c:pt idx="140">
                  <c:v>Laurent Per</c:v>
                </c:pt>
                <c:pt idx="141">
                  <c:v>Nicolas</c:v>
                </c:pt>
                <c:pt idx="142">
                  <c:v>Besserat De</c:v>
                </c:pt>
                <c:pt idx="143">
                  <c:v>Vesselle</c:v>
                </c:pt>
                <c:pt idx="144">
                  <c:v>Nicolas</c:v>
                </c:pt>
                <c:pt idx="145">
                  <c:v>Dom Perigno</c:v>
                </c:pt>
                <c:pt idx="146">
                  <c:v>All Others</c:v>
                </c:pt>
                <c:pt idx="147">
                  <c:v>Taittinger</c:v>
                </c:pt>
                <c:pt idx="148">
                  <c:v>Malard</c:v>
                </c:pt>
                <c:pt idx="149">
                  <c:v>Nicolas</c:v>
                </c:pt>
                <c:pt idx="150">
                  <c:v>Roederer</c:v>
                </c:pt>
                <c:pt idx="151">
                  <c:v>Roederer</c:v>
                </c:pt>
                <c:pt idx="152">
                  <c:v>Roederer</c:v>
                </c:pt>
                <c:pt idx="153">
                  <c:v>Nicolas</c:v>
                </c:pt>
                <c:pt idx="154">
                  <c:v>Laurent Per</c:v>
                </c:pt>
                <c:pt idx="155">
                  <c:v>Nicolas</c:v>
                </c:pt>
                <c:pt idx="156">
                  <c:v>Ruinart</c:v>
                </c:pt>
                <c:pt idx="157">
                  <c:v>Deutz</c:v>
                </c:pt>
                <c:pt idx="158">
                  <c:v>Pommery</c:v>
                </c:pt>
                <c:pt idx="159">
                  <c:v>Nicolas</c:v>
                </c:pt>
                <c:pt idx="160">
                  <c:v>Lanson</c:v>
                </c:pt>
                <c:pt idx="161">
                  <c:v>All Others</c:v>
                </c:pt>
                <c:pt idx="162">
                  <c:v>Moët &amp; Chan</c:v>
                </c:pt>
                <c:pt idx="163">
                  <c:v>Deutz</c:v>
                </c:pt>
                <c:pt idx="164">
                  <c:v>Nicolas</c:v>
                </c:pt>
                <c:pt idx="165">
                  <c:v>All Others</c:v>
                </c:pt>
                <c:pt idx="166">
                  <c:v>De Venoge</c:v>
                </c:pt>
                <c:pt idx="167">
                  <c:v>Lanson</c:v>
                </c:pt>
                <c:pt idx="168">
                  <c:v>Besserat De</c:v>
                </c:pt>
                <c:pt idx="169">
                  <c:v>Laurent Per</c:v>
                </c:pt>
                <c:pt idx="170">
                  <c:v>Demoiselle</c:v>
                </c:pt>
                <c:pt idx="171">
                  <c:v>Canard Duch</c:v>
                </c:pt>
                <c:pt idx="172">
                  <c:v>Pommery</c:v>
                </c:pt>
                <c:pt idx="173">
                  <c:v>Laurent Per</c:v>
                </c:pt>
                <c:pt idx="174">
                  <c:v>Vranken</c:v>
                </c:pt>
                <c:pt idx="175">
                  <c:v>Bollinger</c:v>
                </c:pt>
                <c:pt idx="176">
                  <c:v>Piper Heids</c:v>
                </c:pt>
                <c:pt idx="177">
                  <c:v>Bollinger</c:v>
                </c:pt>
                <c:pt idx="178">
                  <c:v>Bollinger</c:v>
                </c:pt>
                <c:pt idx="179">
                  <c:v>Roederer</c:v>
                </c:pt>
                <c:pt idx="180">
                  <c:v>Louis Marti</c:v>
                </c:pt>
                <c:pt idx="181">
                  <c:v>Veuve Clicq</c:v>
                </c:pt>
                <c:pt idx="182">
                  <c:v>De Venoge</c:v>
                </c:pt>
                <c:pt idx="183">
                  <c:v>All Others</c:v>
                </c:pt>
                <c:pt idx="184">
                  <c:v>Pommery</c:v>
                </c:pt>
                <c:pt idx="185">
                  <c:v>Deutz</c:v>
                </c:pt>
                <c:pt idx="186">
                  <c:v>All Others</c:v>
                </c:pt>
                <c:pt idx="187">
                  <c:v>Roederer</c:v>
                </c:pt>
                <c:pt idx="188">
                  <c:v>Nicolas</c:v>
                </c:pt>
                <c:pt idx="189">
                  <c:v>Taittinger</c:v>
                </c:pt>
                <c:pt idx="190">
                  <c:v>Laurent Per</c:v>
                </c:pt>
                <c:pt idx="191">
                  <c:v>Moët &amp; Chan</c:v>
                </c:pt>
                <c:pt idx="192">
                  <c:v>De Venoge</c:v>
                </c:pt>
                <c:pt idx="193">
                  <c:v>Henriot</c:v>
                </c:pt>
                <c:pt idx="194">
                  <c:v>Ayala</c:v>
                </c:pt>
                <c:pt idx="195">
                  <c:v>Vesselle</c:v>
                </c:pt>
                <c:pt idx="196">
                  <c:v>Krug</c:v>
                </c:pt>
                <c:pt idx="197">
                  <c:v>Veuve Clicq</c:v>
                </c:pt>
                <c:pt idx="198">
                  <c:v>Perrier Jou</c:v>
                </c:pt>
                <c:pt idx="199">
                  <c:v>Perrier Jou</c:v>
                </c:pt>
                <c:pt idx="200">
                  <c:v>Pommery</c:v>
                </c:pt>
                <c:pt idx="201">
                  <c:v>All Others</c:v>
                </c:pt>
                <c:pt idx="202">
                  <c:v>Canard Duch</c:v>
                </c:pt>
                <c:pt idx="203">
                  <c:v>Bollinger</c:v>
                </c:pt>
                <c:pt idx="204">
                  <c:v>Roederer</c:v>
                </c:pt>
                <c:pt idx="205">
                  <c:v>Moët &amp; Chan</c:v>
                </c:pt>
                <c:pt idx="206">
                  <c:v>Laurent Per</c:v>
                </c:pt>
                <c:pt idx="207">
                  <c:v>Krug</c:v>
                </c:pt>
                <c:pt idx="208">
                  <c:v>Dom Perigno</c:v>
                </c:pt>
                <c:pt idx="209">
                  <c:v>Nicolas</c:v>
                </c:pt>
                <c:pt idx="210">
                  <c:v>Laurent Per</c:v>
                </c:pt>
                <c:pt idx="211">
                  <c:v>Roederer</c:v>
                </c:pt>
                <c:pt idx="212">
                  <c:v>Veuve Clicq</c:v>
                </c:pt>
                <c:pt idx="213">
                  <c:v>Veuve Clicq</c:v>
                </c:pt>
                <c:pt idx="214">
                  <c:v>All Others</c:v>
                </c:pt>
                <c:pt idx="215">
                  <c:v>Taittinger</c:v>
                </c:pt>
                <c:pt idx="216">
                  <c:v>All Others</c:v>
                </c:pt>
                <c:pt idx="217">
                  <c:v>Laurent Per</c:v>
                </c:pt>
                <c:pt idx="218">
                  <c:v>Laurent Per</c:v>
                </c:pt>
                <c:pt idx="219">
                  <c:v>Perrier Jou</c:v>
                </c:pt>
                <c:pt idx="220">
                  <c:v>All Others</c:v>
                </c:pt>
                <c:pt idx="221">
                  <c:v>Dom Perigno</c:v>
                </c:pt>
                <c:pt idx="222">
                  <c:v>Malard</c:v>
                </c:pt>
                <c:pt idx="223">
                  <c:v>All Others</c:v>
                </c:pt>
                <c:pt idx="224">
                  <c:v>Laurent Per</c:v>
                </c:pt>
                <c:pt idx="225">
                  <c:v>Roederer</c:v>
                </c:pt>
                <c:pt idx="226">
                  <c:v>Veuve Clicq</c:v>
                </c:pt>
                <c:pt idx="227">
                  <c:v>De Venoge</c:v>
                </c:pt>
                <c:pt idx="228">
                  <c:v>Ruinart</c:v>
                </c:pt>
                <c:pt idx="229">
                  <c:v>Moët &amp; Chan</c:v>
                </c:pt>
                <c:pt idx="230">
                  <c:v>Canard Duch</c:v>
                </c:pt>
                <c:pt idx="231">
                  <c:v>Besserat De</c:v>
                </c:pt>
                <c:pt idx="232">
                  <c:v>Canard Duch</c:v>
                </c:pt>
                <c:pt idx="233">
                  <c:v>Henriot</c:v>
                </c:pt>
                <c:pt idx="234">
                  <c:v>Canard Duch</c:v>
                </c:pt>
                <c:pt idx="235">
                  <c:v>All Others</c:v>
                </c:pt>
                <c:pt idx="236">
                  <c:v>Ruinart</c:v>
                </c:pt>
                <c:pt idx="237">
                  <c:v>Laurent Per</c:v>
                </c:pt>
                <c:pt idx="238">
                  <c:v>All Others</c:v>
                </c:pt>
                <c:pt idx="239">
                  <c:v>Pommery</c:v>
                </c:pt>
                <c:pt idx="240">
                  <c:v>All Others</c:v>
                </c:pt>
                <c:pt idx="241">
                  <c:v>All Others</c:v>
                </c:pt>
                <c:pt idx="242">
                  <c:v>Roederer</c:v>
                </c:pt>
                <c:pt idx="243">
                  <c:v>Piper Heids</c:v>
                </c:pt>
                <c:pt idx="244">
                  <c:v>Nicolas</c:v>
                </c:pt>
                <c:pt idx="245">
                  <c:v>Roederer</c:v>
                </c:pt>
                <c:pt idx="246">
                  <c:v>All Others</c:v>
                </c:pt>
                <c:pt idx="247">
                  <c:v>De Venoge</c:v>
                </c:pt>
                <c:pt idx="248">
                  <c:v>Roederer</c:v>
                </c:pt>
                <c:pt idx="249">
                  <c:v>Bollinger</c:v>
                </c:pt>
                <c:pt idx="250">
                  <c:v>Martel</c:v>
                </c:pt>
                <c:pt idx="251">
                  <c:v>Besserat De</c:v>
                </c:pt>
                <c:pt idx="252">
                  <c:v>Moët &amp; Chan</c:v>
                </c:pt>
                <c:pt idx="253">
                  <c:v>Malard</c:v>
                </c:pt>
                <c:pt idx="254">
                  <c:v>Ruinart</c:v>
                </c:pt>
                <c:pt idx="255">
                  <c:v>Moët &amp; Chan</c:v>
                </c:pt>
                <c:pt idx="256">
                  <c:v>All Others</c:v>
                </c:pt>
                <c:pt idx="257">
                  <c:v>Bollinger</c:v>
                </c:pt>
                <c:pt idx="258">
                  <c:v>Roederer</c:v>
                </c:pt>
                <c:pt idx="259">
                  <c:v>Roederer</c:v>
                </c:pt>
                <c:pt idx="260">
                  <c:v>Nicolas</c:v>
                </c:pt>
                <c:pt idx="261">
                  <c:v>Lanson</c:v>
                </c:pt>
                <c:pt idx="262">
                  <c:v>Henriot</c:v>
                </c:pt>
                <c:pt idx="263">
                  <c:v>Roederer</c:v>
                </c:pt>
                <c:pt idx="264">
                  <c:v>Roederer</c:v>
                </c:pt>
                <c:pt idx="265">
                  <c:v>Roederer</c:v>
                </c:pt>
                <c:pt idx="266">
                  <c:v>Deutz</c:v>
                </c:pt>
                <c:pt idx="267">
                  <c:v>Deutz</c:v>
                </c:pt>
                <c:pt idx="268">
                  <c:v>De Venoge</c:v>
                </c:pt>
                <c:pt idx="269">
                  <c:v>Henriot</c:v>
                </c:pt>
                <c:pt idx="270">
                  <c:v>Nicolas</c:v>
                </c:pt>
                <c:pt idx="271">
                  <c:v>Besserat De</c:v>
                </c:pt>
                <c:pt idx="272">
                  <c:v>Veuve Clicq</c:v>
                </c:pt>
                <c:pt idx="273">
                  <c:v>Vesselle</c:v>
                </c:pt>
              </c:strCache>
            </c:strRef>
          </c:cat>
          <c:val>
            <c:numRef>
              <c:f>Sheet1!$B$2:$B$275</c:f>
              <c:numCache>
                <c:formatCode>General</c:formatCode>
                <c:ptCount val="274"/>
                <c:pt idx="0">
                  <c:v>1</c:v>
                </c:pt>
                <c:pt idx="1">
                  <c:v>0.97</c:v>
                </c:pt>
                <c:pt idx="2">
                  <c:v>1</c:v>
                </c:pt>
                <c:pt idx="3">
                  <c:v>0.96</c:v>
                </c:pt>
                <c:pt idx="4">
                  <c:v>0.86</c:v>
                </c:pt>
                <c:pt idx="5">
                  <c:v>0.81</c:v>
                </c:pt>
                <c:pt idx="6">
                  <c:v>0.94</c:v>
                </c:pt>
                <c:pt idx="7">
                  <c:v>0.96</c:v>
                </c:pt>
                <c:pt idx="8">
                  <c:v>0.91</c:v>
                </c:pt>
                <c:pt idx="9">
                  <c:v>0.95</c:v>
                </c:pt>
                <c:pt idx="10">
                  <c:v>0.92</c:v>
                </c:pt>
                <c:pt idx="11">
                  <c:v>0.89</c:v>
                </c:pt>
                <c:pt idx="12">
                  <c:v>0.95</c:v>
                </c:pt>
                <c:pt idx="13">
                  <c:v>0.76</c:v>
                </c:pt>
                <c:pt idx="14">
                  <c:v>0.56000000000000005</c:v>
                </c:pt>
                <c:pt idx="15">
                  <c:v>0.91</c:v>
                </c:pt>
                <c:pt idx="16">
                  <c:v>0.89</c:v>
                </c:pt>
                <c:pt idx="17">
                  <c:v>0.56000000000000005</c:v>
                </c:pt>
                <c:pt idx="18">
                  <c:v>0.7</c:v>
                </c:pt>
                <c:pt idx="19">
                  <c:v>0.78</c:v>
                </c:pt>
                <c:pt idx="20">
                  <c:v>0.9</c:v>
                </c:pt>
                <c:pt idx="21">
                  <c:v>0.83</c:v>
                </c:pt>
                <c:pt idx="22">
                  <c:v>0.8</c:v>
                </c:pt>
                <c:pt idx="23">
                  <c:v>0.88</c:v>
                </c:pt>
                <c:pt idx="24">
                  <c:v>0.71</c:v>
                </c:pt>
                <c:pt idx="25">
                  <c:v>0.45</c:v>
                </c:pt>
                <c:pt idx="26">
                  <c:v>0.84</c:v>
                </c:pt>
                <c:pt idx="27">
                  <c:v>0.77</c:v>
                </c:pt>
                <c:pt idx="28">
                  <c:v>0.8</c:v>
                </c:pt>
                <c:pt idx="29">
                  <c:v>0.68</c:v>
                </c:pt>
                <c:pt idx="30">
                  <c:v>0.9</c:v>
                </c:pt>
                <c:pt idx="31">
                  <c:v>0.51</c:v>
                </c:pt>
                <c:pt idx="32">
                  <c:v>0.77</c:v>
                </c:pt>
                <c:pt idx="33">
                  <c:v>0.66</c:v>
                </c:pt>
                <c:pt idx="34">
                  <c:v>0.79</c:v>
                </c:pt>
                <c:pt idx="35">
                  <c:v>0.73</c:v>
                </c:pt>
                <c:pt idx="36">
                  <c:v>0.91</c:v>
                </c:pt>
                <c:pt idx="37">
                  <c:v>0.79</c:v>
                </c:pt>
                <c:pt idx="38">
                  <c:v>0.73</c:v>
                </c:pt>
                <c:pt idx="39">
                  <c:v>0.65</c:v>
                </c:pt>
                <c:pt idx="40">
                  <c:v>0.75</c:v>
                </c:pt>
                <c:pt idx="41">
                  <c:v>0.67</c:v>
                </c:pt>
                <c:pt idx="42">
                  <c:v>0.56999999999999995</c:v>
                </c:pt>
                <c:pt idx="43">
                  <c:v>0.55000000000000004</c:v>
                </c:pt>
                <c:pt idx="44">
                  <c:v>0.53</c:v>
                </c:pt>
                <c:pt idx="45">
                  <c:v>0.71</c:v>
                </c:pt>
                <c:pt idx="46">
                  <c:v>0.65</c:v>
                </c:pt>
                <c:pt idx="47">
                  <c:v>0.82</c:v>
                </c:pt>
                <c:pt idx="48">
                  <c:v>0.64</c:v>
                </c:pt>
                <c:pt idx="49">
                  <c:v>0.54</c:v>
                </c:pt>
                <c:pt idx="50">
                  <c:v>0.52</c:v>
                </c:pt>
                <c:pt idx="51">
                  <c:v>0.56999999999999995</c:v>
                </c:pt>
                <c:pt idx="52">
                  <c:v>0.64</c:v>
                </c:pt>
                <c:pt idx="53">
                  <c:v>0.35</c:v>
                </c:pt>
                <c:pt idx="54">
                  <c:v>0.49</c:v>
                </c:pt>
                <c:pt idx="55">
                  <c:v>0.43</c:v>
                </c:pt>
                <c:pt idx="56">
                  <c:v>0.56999999999999995</c:v>
                </c:pt>
                <c:pt idx="57">
                  <c:v>0.76</c:v>
                </c:pt>
                <c:pt idx="58">
                  <c:v>0.46</c:v>
                </c:pt>
                <c:pt idx="59">
                  <c:v>0.61</c:v>
                </c:pt>
                <c:pt idx="60">
                  <c:v>0.54</c:v>
                </c:pt>
                <c:pt idx="61">
                  <c:v>0.37</c:v>
                </c:pt>
                <c:pt idx="62">
                  <c:v>0.4</c:v>
                </c:pt>
                <c:pt idx="63">
                  <c:v>0.41</c:v>
                </c:pt>
                <c:pt idx="64">
                  <c:v>0.24</c:v>
                </c:pt>
                <c:pt idx="65">
                  <c:v>0.61</c:v>
                </c:pt>
                <c:pt idx="66">
                  <c:v>0.44</c:v>
                </c:pt>
                <c:pt idx="67">
                  <c:v>0.51</c:v>
                </c:pt>
                <c:pt idx="68">
                  <c:v>0.55000000000000004</c:v>
                </c:pt>
                <c:pt idx="69">
                  <c:v>0.51</c:v>
                </c:pt>
                <c:pt idx="70">
                  <c:v>0.3</c:v>
                </c:pt>
                <c:pt idx="71">
                  <c:v>0.31</c:v>
                </c:pt>
                <c:pt idx="72">
                  <c:v>0.55000000000000004</c:v>
                </c:pt>
                <c:pt idx="73">
                  <c:v>0.42</c:v>
                </c:pt>
                <c:pt idx="74">
                  <c:v>0.31</c:v>
                </c:pt>
                <c:pt idx="75">
                  <c:v>0.65</c:v>
                </c:pt>
                <c:pt idx="76">
                  <c:v>0.49</c:v>
                </c:pt>
                <c:pt idx="77">
                  <c:v>0.28000000000000003</c:v>
                </c:pt>
                <c:pt idx="78">
                  <c:v>0.53</c:v>
                </c:pt>
                <c:pt idx="79">
                  <c:v>0.45</c:v>
                </c:pt>
                <c:pt idx="80">
                  <c:v>0.54</c:v>
                </c:pt>
                <c:pt idx="81">
                  <c:v>0.65</c:v>
                </c:pt>
                <c:pt idx="82">
                  <c:v>0.28000000000000003</c:v>
                </c:pt>
                <c:pt idx="83">
                  <c:v>0.41</c:v>
                </c:pt>
                <c:pt idx="84">
                  <c:v>0.68</c:v>
                </c:pt>
                <c:pt idx="85">
                  <c:v>0.37</c:v>
                </c:pt>
                <c:pt idx="86">
                  <c:v>0.47</c:v>
                </c:pt>
                <c:pt idx="87">
                  <c:v>0.31</c:v>
                </c:pt>
                <c:pt idx="88">
                  <c:v>0.41</c:v>
                </c:pt>
                <c:pt idx="89">
                  <c:v>0.6</c:v>
                </c:pt>
                <c:pt idx="90">
                  <c:v>0.37</c:v>
                </c:pt>
                <c:pt idx="91">
                  <c:v>0.35</c:v>
                </c:pt>
                <c:pt idx="92">
                  <c:v>0.46</c:v>
                </c:pt>
                <c:pt idx="93">
                  <c:v>0.41</c:v>
                </c:pt>
                <c:pt idx="94">
                  <c:v>0.52</c:v>
                </c:pt>
                <c:pt idx="95">
                  <c:v>0.34</c:v>
                </c:pt>
                <c:pt idx="96">
                  <c:v>0.21</c:v>
                </c:pt>
                <c:pt idx="97">
                  <c:v>0.42</c:v>
                </c:pt>
                <c:pt idx="98">
                  <c:v>0.25</c:v>
                </c:pt>
                <c:pt idx="99">
                  <c:v>0.38</c:v>
                </c:pt>
                <c:pt idx="100">
                  <c:v>0.46</c:v>
                </c:pt>
                <c:pt idx="101">
                  <c:v>0.3</c:v>
                </c:pt>
                <c:pt idx="102">
                  <c:v>0.35</c:v>
                </c:pt>
                <c:pt idx="103">
                  <c:v>0.36</c:v>
                </c:pt>
                <c:pt idx="104">
                  <c:v>0.42</c:v>
                </c:pt>
                <c:pt idx="105">
                  <c:v>0.31</c:v>
                </c:pt>
                <c:pt idx="106">
                  <c:v>0.32</c:v>
                </c:pt>
                <c:pt idx="107">
                  <c:v>0.34</c:v>
                </c:pt>
                <c:pt idx="108">
                  <c:v>0.34</c:v>
                </c:pt>
                <c:pt idx="109">
                  <c:v>0.24</c:v>
                </c:pt>
                <c:pt idx="110">
                  <c:v>0.24</c:v>
                </c:pt>
                <c:pt idx="111">
                  <c:v>0.36</c:v>
                </c:pt>
                <c:pt idx="112">
                  <c:v>0.42</c:v>
                </c:pt>
                <c:pt idx="113">
                  <c:v>0.26</c:v>
                </c:pt>
                <c:pt idx="114">
                  <c:v>0.28000000000000003</c:v>
                </c:pt>
                <c:pt idx="115">
                  <c:v>0.37</c:v>
                </c:pt>
                <c:pt idx="116">
                  <c:v>0.19</c:v>
                </c:pt>
                <c:pt idx="117">
                  <c:v>0.46</c:v>
                </c:pt>
                <c:pt idx="118">
                  <c:v>0.53</c:v>
                </c:pt>
                <c:pt idx="119">
                  <c:v>0.24</c:v>
                </c:pt>
                <c:pt idx="120">
                  <c:v>0.12</c:v>
                </c:pt>
                <c:pt idx="121">
                  <c:v>0.53</c:v>
                </c:pt>
                <c:pt idx="122">
                  <c:v>0.17</c:v>
                </c:pt>
                <c:pt idx="123">
                  <c:v>0.42</c:v>
                </c:pt>
                <c:pt idx="124">
                  <c:v>0.16</c:v>
                </c:pt>
                <c:pt idx="125">
                  <c:v>0.15</c:v>
                </c:pt>
                <c:pt idx="126">
                  <c:v>0.39</c:v>
                </c:pt>
                <c:pt idx="127">
                  <c:v>0.17</c:v>
                </c:pt>
                <c:pt idx="128">
                  <c:v>0.61</c:v>
                </c:pt>
                <c:pt idx="129">
                  <c:v>0.36</c:v>
                </c:pt>
                <c:pt idx="130">
                  <c:v>0.28000000000000003</c:v>
                </c:pt>
                <c:pt idx="131">
                  <c:v>0.21</c:v>
                </c:pt>
                <c:pt idx="132">
                  <c:v>0.17</c:v>
                </c:pt>
                <c:pt idx="133">
                  <c:v>0.17</c:v>
                </c:pt>
                <c:pt idx="134">
                  <c:v>0.19</c:v>
                </c:pt>
                <c:pt idx="135">
                  <c:v>0.43</c:v>
                </c:pt>
                <c:pt idx="136">
                  <c:v>0.27</c:v>
                </c:pt>
                <c:pt idx="137">
                  <c:v>0.36</c:v>
                </c:pt>
                <c:pt idx="138">
                  <c:v>0.24</c:v>
                </c:pt>
                <c:pt idx="139">
                  <c:v>0.21</c:v>
                </c:pt>
                <c:pt idx="140">
                  <c:v>0.16</c:v>
                </c:pt>
                <c:pt idx="141">
                  <c:v>0.23</c:v>
                </c:pt>
                <c:pt idx="142">
                  <c:v>0.26</c:v>
                </c:pt>
                <c:pt idx="143">
                  <c:v>0.19</c:v>
                </c:pt>
                <c:pt idx="144">
                  <c:v>0.17</c:v>
                </c:pt>
                <c:pt idx="145">
                  <c:v>0.11</c:v>
                </c:pt>
                <c:pt idx="146">
                  <c:v>0.1</c:v>
                </c:pt>
                <c:pt idx="147">
                  <c:v>0.15</c:v>
                </c:pt>
                <c:pt idx="148">
                  <c:v>0.13</c:v>
                </c:pt>
                <c:pt idx="149">
                  <c:v>0.18</c:v>
                </c:pt>
                <c:pt idx="150">
                  <c:v>0.25</c:v>
                </c:pt>
                <c:pt idx="151">
                  <c:v>0.19</c:v>
                </c:pt>
                <c:pt idx="152">
                  <c:v>0.2</c:v>
                </c:pt>
                <c:pt idx="153">
                  <c:v>0.05</c:v>
                </c:pt>
                <c:pt idx="154">
                  <c:v>0.27</c:v>
                </c:pt>
                <c:pt idx="155">
                  <c:v>0.16</c:v>
                </c:pt>
                <c:pt idx="156">
                  <c:v>0.1</c:v>
                </c:pt>
                <c:pt idx="157">
                  <c:v>0.14000000000000001</c:v>
                </c:pt>
                <c:pt idx="158">
                  <c:v>0.22</c:v>
                </c:pt>
                <c:pt idx="159">
                  <c:v>0.21</c:v>
                </c:pt>
                <c:pt idx="160">
                  <c:v>0.03</c:v>
                </c:pt>
                <c:pt idx="161">
                  <c:v>0.19</c:v>
                </c:pt>
                <c:pt idx="162">
                  <c:v>0.24</c:v>
                </c:pt>
                <c:pt idx="163">
                  <c:v>0.23</c:v>
                </c:pt>
                <c:pt idx="164">
                  <c:v>0.21</c:v>
                </c:pt>
                <c:pt idx="165">
                  <c:v>0.26</c:v>
                </c:pt>
                <c:pt idx="166">
                  <c:v>0.15</c:v>
                </c:pt>
                <c:pt idx="167">
                  <c:v>0.19</c:v>
                </c:pt>
                <c:pt idx="168">
                  <c:v>0.2</c:v>
                </c:pt>
                <c:pt idx="169">
                  <c:v>0.19</c:v>
                </c:pt>
                <c:pt idx="170">
                  <c:v>0.16</c:v>
                </c:pt>
                <c:pt idx="171">
                  <c:v>0.21</c:v>
                </c:pt>
                <c:pt idx="172">
                  <c:v>0.25</c:v>
                </c:pt>
                <c:pt idx="173">
                  <c:v>7.0000000000000007E-2</c:v>
                </c:pt>
                <c:pt idx="174">
                  <c:v>7.0000000000000007E-2</c:v>
                </c:pt>
                <c:pt idx="175">
                  <c:v>0.16</c:v>
                </c:pt>
                <c:pt idx="176">
                  <c:v>0.22</c:v>
                </c:pt>
                <c:pt idx="177">
                  <c:v>0.13</c:v>
                </c:pt>
                <c:pt idx="178">
                  <c:v>0.17</c:v>
                </c:pt>
                <c:pt idx="179">
                  <c:v>0.06</c:v>
                </c:pt>
                <c:pt idx="180">
                  <c:v>0.2</c:v>
                </c:pt>
                <c:pt idx="181">
                  <c:v>0.24</c:v>
                </c:pt>
                <c:pt idx="182">
                  <c:v>0.06</c:v>
                </c:pt>
                <c:pt idx="183">
                  <c:v>0.11</c:v>
                </c:pt>
                <c:pt idx="184">
                  <c:v>0.1</c:v>
                </c:pt>
                <c:pt idx="185">
                  <c:v>0.11</c:v>
                </c:pt>
                <c:pt idx="186">
                  <c:v>0.17</c:v>
                </c:pt>
                <c:pt idx="187">
                  <c:v>0.05</c:v>
                </c:pt>
                <c:pt idx="188">
                  <c:v>0.09</c:v>
                </c:pt>
                <c:pt idx="189">
                  <c:v>0.08</c:v>
                </c:pt>
                <c:pt idx="190">
                  <c:v>0.16</c:v>
                </c:pt>
                <c:pt idx="191">
                  <c:v>0.23</c:v>
                </c:pt>
                <c:pt idx="192">
                  <c:v>0.12</c:v>
                </c:pt>
                <c:pt idx="193">
                  <c:v>0.05</c:v>
                </c:pt>
                <c:pt idx="194">
                  <c:v>0.19</c:v>
                </c:pt>
                <c:pt idx="195">
                  <c:v>0.18</c:v>
                </c:pt>
                <c:pt idx="196">
                  <c:v>0.14000000000000001</c:v>
                </c:pt>
                <c:pt idx="197">
                  <c:v>0.28000000000000003</c:v>
                </c:pt>
                <c:pt idx="198">
                  <c:v>0.15</c:v>
                </c:pt>
                <c:pt idx="199">
                  <c:v>0.14000000000000001</c:v>
                </c:pt>
                <c:pt idx="200">
                  <c:v>0.16</c:v>
                </c:pt>
                <c:pt idx="201">
                  <c:v>7.0000000000000007E-2</c:v>
                </c:pt>
                <c:pt idx="202">
                  <c:v>0.09</c:v>
                </c:pt>
                <c:pt idx="203">
                  <c:v>0.06</c:v>
                </c:pt>
                <c:pt idx="204">
                  <c:v>0.11</c:v>
                </c:pt>
                <c:pt idx="205">
                  <c:v>0.08</c:v>
                </c:pt>
                <c:pt idx="206">
                  <c:v>0.09</c:v>
                </c:pt>
                <c:pt idx="207">
                  <c:v>0.15</c:v>
                </c:pt>
                <c:pt idx="208">
                  <c:v>0.1</c:v>
                </c:pt>
                <c:pt idx="209">
                  <c:v>0.09</c:v>
                </c:pt>
                <c:pt idx="210">
                  <c:v>0.16</c:v>
                </c:pt>
                <c:pt idx="211">
                  <c:v>0.03</c:v>
                </c:pt>
                <c:pt idx="212">
                  <c:v>0.04</c:v>
                </c:pt>
                <c:pt idx="213">
                  <c:v>0.11</c:v>
                </c:pt>
                <c:pt idx="214">
                  <c:v>0.18</c:v>
                </c:pt>
                <c:pt idx="215">
                  <c:v>0.15</c:v>
                </c:pt>
                <c:pt idx="216">
                  <c:v>0.11</c:v>
                </c:pt>
                <c:pt idx="217">
                  <c:v>0.12</c:v>
                </c:pt>
                <c:pt idx="218">
                  <c:v>0.14000000000000001</c:v>
                </c:pt>
                <c:pt idx="219">
                  <c:v>0.14000000000000001</c:v>
                </c:pt>
                <c:pt idx="220">
                  <c:v>0.13</c:v>
                </c:pt>
                <c:pt idx="221">
                  <c:v>0.03</c:v>
                </c:pt>
                <c:pt idx="222">
                  <c:v>0.05</c:v>
                </c:pt>
                <c:pt idx="223">
                  <c:v>0.16</c:v>
                </c:pt>
                <c:pt idx="224">
                  <c:v>0.03</c:v>
                </c:pt>
                <c:pt idx="225">
                  <c:v>0.05</c:v>
                </c:pt>
                <c:pt idx="226">
                  <c:v>0.14000000000000001</c:v>
                </c:pt>
                <c:pt idx="227">
                  <c:v>0.05</c:v>
                </c:pt>
                <c:pt idx="228">
                  <c:v>0.12</c:v>
                </c:pt>
                <c:pt idx="229">
                  <c:v>0.17</c:v>
                </c:pt>
                <c:pt idx="230">
                  <c:v>0.17</c:v>
                </c:pt>
                <c:pt idx="231">
                  <c:v>0.08</c:v>
                </c:pt>
                <c:pt idx="232">
                  <c:v>0.1</c:v>
                </c:pt>
                <c:pt idx="233">
                  <c:v>0.15</c:v>
                </c:pt>
                <c:pt idx="234">
                  <c:v>0.17</c:v>
                </c:pt>
                <c:pt idx="235">
                  <c:v>0.12</c:v>
                </c:pt>
                <c:pt idx="236">
                  <c:v>0.1</c:v>
                </c:pt>
                <c:pt idx="237">
                  <c:v>0.06</c:v>
                </c:pt>
                <c:pt idx="238">
                  <c:v>0.06</c:v>
                </c:pt>
                <c:pt idx="239">
                  <c:v>0.04</c:v>
                </c:pt>
                <c:pt idx="240">
                  <c:v>0.03</c:v>
                </c:pt>
                <c:pt idx="241">
                  <c:v>0.03</c:v>
                </c:pt>
                <c:pt idx="242">
                  <c:v>0.03</c:v>
                </c:pt>
                <c:pt idx="243">
                  <c:v>0.02</c:v>
                </c:pt>
                <c:pt idx="244">
                  <c:v>0.03</c:v>
                </c:pt>
                <c:pt idx="245">
                  <c:v>0.04</c:v>
                </c:pt>
                <c:pt idx="246">
                  <c:v>0.16</c:v>
                </c:pt>
                <c:pt idx="247">
                  <c:v>0.06</c:v>
                </c:pt>
                <c:pt idx="248">
                  <c:v>0.05</c:v>
                </c:pt>
                <c:pt idx="249">
                  <c:v>0.05</c:v>
                </c:pt>
                <c:pt idx="250">
                  <c:v>0.03</c:v>
                </c:pt>
                <c:pt idx="251">
                  <c:v>0.05</c:v>
                </c:pt>
                <c:pt idx="252">
                  <c:v>0.15</c:v>
                </c:pt>
                <c:pt idx="253">
                  <c:v>0.18</c:v>
                </c:pt>
                <c:pt idx="254">
                  <c:v>0.01</c:v>
                </c:pt>
                <c:pt idx="255">
                  <c:v>0.19</c:v>
                </c:pt>
                <c:pt idx="256">
                  <c:v>0.12</c:v>
                </c:pt>
                <c:pt idx="257">
                  <c:v>0.03</c:v>
                </c:pt>
                <c:pt idx="258">
                  <c:v>0.06</c:v>
                </c:pt>
                <c:pt idx="259">
                  <c:v>0.02</c:v>
                </c:pt>
                <c:pt idx="260">
                  <c:v>0.03</c:v>
                </c:pt>
                <c:pt idx="261">
                  <c:v>0.05</c:v>
                </c:pt>
                <c:pt idx="262">
                  <c:v>0.1</c:v>
                </c:pt>
                <c:pt idx="263">
                  <c:v>0.04</c:v>
                </c:pt>
                <c:pt idx="264">
                  <c:v>0.03</c:v>
                </c:pt>
                <c:pt idx="265">
                  <c:v>0.05</c:v>
                </c:pt>
                <c:pt idx="266">
                  <c:v>0.04</c:v>
                </c:pt>
                <c:pt idx="267">
                  <c:v>0.12</c:v>
                </c:pt>
                <c:pt idx="268">
                  <c:v>0.03</c:v>
                </c:pt>
                <c:pt idx="269">
                  <c:v>0.03</c:v>
                </c:pt>
                <c:pt idx="270">
                  <c:v>0.05</c:v>
                </c:pt>
                <c:pt idx="271">
                  <c:v>0.02</c:v>
                </c:pt>
                <c:pt idx="272">
                  <c:v>0.15</c:v>
                </c:pt>
                <c:pt idx="273">
                  <c:v>0.02</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7ECAC4"/>
              </a:solidFill>
            </c:spPr>
            <c:extLst>
              <c:ext xmlns:c16="http://schemas.microsoft.com/office/drawing/2014/chart" uri="{C3380CC4-5D6E-409C-BE32-E72D297353CC}">
                <c16:uniqueId val="{00000093-2993-41DE-A2CB-63102DE87051}"/>
              </c:ext>
            </c:extLst>
          </c:dPt>
          <c:dPt>
            <c:idx val="46"/>
            <c:invertIfNegative val="1"/>
            <c:bubble3D val="0"/>
            <c:spPr>
              <a:solidFill>
                <a:srgbClr val="7ECAC4"/>
              </a:solidFill>
            </c:spPr>
            <c:extLst>
              <c:ext xmlns:c16="http://schemas.microsoft.com/office/drawing/2014/chart" uri="{C3380CC4-5D6E-409C-BE32-E72D297353CC}">
                <c16:uniqueId val="{00000095-2993-41DE-A2CB-63102DE87051}"/>
              </c:ext>
            </c:extLst>
          </c:dPt>
          <c:dPt>
            <c:idx val="47"/>
            <c:invertIfNegative val="1"/>
            <c:bubble3D val="0"/>
            <c:spPr>
              <a:solidFill>
                <a:srgbClr val="7ECAC4"/>
              </a:solidFill>
            </c:spPr>
            <c:extLst>
              <c:ext xmlns:c16="http://schemas.microsoft.com/office/drawing/2014/chart" uri="{C3380CC4-5D6E-409C-BE32-E72D297353CC}">
                <c16:uniqueId val="{00000097-2993-41DE-A2CB-63102DE87051}"/>
              </c:ext>
            </c:extLst>
          </c:dPt>
          <c:dPt>
            <c:idx val="48"/>
            <c:invertIfNegative val="1"/>
            <c:bubble3D val="0"/>
            <c:spPr>
              <a:solidFill>
                <a:srgbClr val="7ECAC4"/>
              </a:solidFill>
            </c:spPr>
            <c:extLst>
              <c:ext xmlns:c16="http://schemas.microsoft.com/office/drawing/2014/chart" uri="{C3380CC4-5D6E-409C-BE32-E72D297353CC}">
                <c16:uniqueId val="{00000099-2993-41DE-A2CB-63102DE87051}"/>
              </c:ext>
            </c:extLst>
          </c:dPt>
          <c:dPt>
            <c:idx val="49"/>
            <c:invertIfNegative val="1"/>
            <c:bubble3D val="0"/>
            <c:spPr>
              <a:solidFill>
                <a:srgbClr val="7ECAC4"/>
              </a:solidFill>
            </c:spPr>
            <c:extLst>
              <c:ext xmlns:c16="http://schemas.microsoft.com/office/drawing/2014/chart" uri="{C3380CC4-5D6E-409C-BE32-E72D297353CC}">
                <c16:uniqueId val="{0000009B-2993-41DE-A2CB-63102DE87051}"/>
              </c:ext>
            </c:extLst>
          </c:dPt>
          <c:dPt>
            <c:idx val="50"/>
            <c:invertIfNegative val="1"/>
            <c:bubble3D val="0"/>
            <c:spPr>
              <a:solidFill>
                <a:srgbClr val="7ECAC4"/>
              </a:solidFill>
            </c:spPr>
            <c:extLst>
              <c:ext xmlns:c16="http://schemas.microsoft.com/office/drawing/2014/chart" uri="{C3380CC4-5D6E-409C-BE32-E72D297353CC}">
                <c16:uniqueId val="{0000009D-2993-41DE-A2CB-63102DE87051}"/>
              </c:ext>
            </c:extLst>
          </c:dPt>
          <c:dPt>
            <c:idx val="51"/>
            <c:invertIfNegative val="1"/>
            <c:bubble3D val="0"/>
            <c:spPr>
              <a:solidFill>
                <a:srgbClr val="7ECAC4"/>
              </a:solidFill>
            </c:spPr>
            <c:extLst>
              <c:ext xmlns:c16="http://schemas.microsoft.com/office/drawing/2014/chart" uri="{C3380CC4-5D6E-409C-BE32-E72D297353CC}">
                <c16:uniqueId val="{0000009F-2993-41DE-A2CB-63102DE87051}"/>
              </c:ext>
            </c:extLst>
          </c:dPt>
          <c:dPt>
            <c:idx val="52"/>
            <c:invertIfNegative val="1"/>
            <c:bubble3D val="0"/>
            <c:spPr>
              <a:solidFill>
                <a:srgbClr val="7ECAC4"/>
              </a:solidFill>
            </c:spPr>
            <c:extLst>
              <c:ext xmlns:c16="http://schemas.microsoft.com/office/drawing/2014/chart" uri="{C3380CC4-5D6E-409C-BE32-E72D297353CC}">
                <c16:uniqueId val="{000000A1-2993-41DE-A2CB-63102DE87051}"/>
              </c:ext>
            </c:extLst>
          </c:dPt>
          <c:dPt>
            <c:idx val="53"/>
            <c:invertIfNegative val="1"/>
            <c:bubble3D val="0"/>
            <c:spPr>
              <a:solidFill>
                <a:srgbClr val="7ECAC4"/>
              </a:solidFill>
            </c:spPr>
            <c:extLst>
              <c:ext xmlns:c16="http://schemas.microsoft.com/office/drawing/2014/chart" uri="{C3380CC4-5D6E-409C-BE32-E72D297353CC}">
                <c16:uniqueId val="{000000A3-2993-41DE-A2CB-63102DE87051}"/>
              </c:ext>
            </c:extLst>
          </c:dPt>
          <c:dPt>
            <c:idx val="54"/>
            <c:invertIfNegative val="0"/>
            <c:bubble3D val="0"/>
            <c:spPr>
              <a:solidFill>
                <a:srgbClr val="7ECAC4"/>
              </a:solidFill>
            </c:spPr>
            <c:extLst>
              <c:ext xmlns:c16="http://schemas.microsoft.com/office/drawing/2014/chart" uri="{C3380CC4-5D6E-409C-BE32-E72D297353CC}">
                <c16:uniqueId val="{00000072-C76F-4230-900D-40618C09729F}"/>
              </c:ext>
            </c:extLst>
          </c:dPt>
          <c:dPt>
            <c:idx val="55"/>
            <c:invertIfNegative val="0"/>
            <c:bubble3D val="0"/>
            <c:spPr>
              <a:solidFill>
                <a:srgbClr val="7ECAC4"/>
              </a:solidFill>
            </c:spPr>
            <c:extLst>
              <c:ext xmlns:c16="http://schemas.microsoft.com/office/drawing/2014/chart" uri="{C3380CC4-5D6E-409C-BE32-E72D297353CC}">
                <c16:uniqueId val="{00000074-C76F-4230-900D-40618C09729F}"/>
              </c:ext>
            </c:extLst>
          </c:dPt>
          <c:dPt>
            <c:idx val="56"/>
            <c:invertIfNegative val="0"/>
            <c:bubble3D val="0"/>
            <c:spPr>
              <a:solidFill>
                <a:srgbClr val="7ECAC4"/>
              </a:solidFill>
            </c:spPr>
            <c:extLst>
              <c:ext xmlns:c16="http://schemas.microsoft.com/office/drawing/2014/chart" uri="{C3380CC4-5D6E-409C-BE32-E72D297353CC}">
                <c16:uniqueId val="{00000076-C76F-4230-900D-40618C09729F}"/>
              </c:ext>
            </c:extLst>
          </c:dPt>
          <c:dPt>
            <c:idx val="57"/>
            <c:invertIfNegative val="0"/>
            <c:bubble3D val="0"/>
            <c:spPr>
              <a:solidFill>
                <a:srgbClr val="7ECAC4"/>
              </a:solidFill>
            </c:spPr>
            <c:extLst>
              <c:ext xmlns:c16="http://schemas.microsoft.com/office/drawing/2014/chart" uri="{C3380CC4-5D6E-409C-BE32-E72D297353CC}">
                <c16:uniqueId val="{00000078-C76F-4230-900D-40618C09729F}"/>
              </c:ext>
            </c:extLst>
          </c:dPt>
          <c:dPt>
            <c:idx val="58"/>
            <c:invertIfNegative val="0"/>
            <c:bubble3D val="0"/>
            <c:spPr>
              <a:solidFill>
                <a:srgbClr val="7ECAC4"/>
              </a:solidFill>
            </c:spPr>
            <c:extLst>
              <c:ext xmlns:c16="http://schemas.microsoft.com/office/drawing/2014/chart" uri="{C3380CC4-5D6E-409C-BE32-E72D297353CC}">
                <c16:uniqueId val="{0000007A-C76F-4230-900D-40618C09729F}"/>
              </c:ext>
            </c:extLst>
          </c:dPt>
          <c:dPt>
            <c:idx val="59"/>
            <c:invertIfNegative val="0"/>
            <c:bubble3D val="0"/>
            <c:spPr>
              <a:solidFill>
                <a:srgbClr val="7ECAC4"/>
              </a:solidFill>
            </c:spPr>
            <c:extLst>
              <c:ext xmlns:c16="http://schemas.microsoft.com/office/drawing/2014/chart" uri="{C3380CC4-5D6E-409C-BE32-E72D297353CC}">
                <c16:uniqueId val="{0000007C-C76F-4230-900D-40618C09729F}"/>
              </c:ext>
            </c:extLst>
          </c:dPt>
          <c:dPt>
            <c:idx val="60"/>
            <c:invertIfNegative val="0"/>
            <c:bubble3D val="0"/>
            <c:spPr>
              <a:solidFill>
                <a:srgbClr val="7ECAC4"/>
              </a:solidFill>
            </c:spPr>
            <c:extLst>
              <c:ext xmlns:c16="http://schemas.microsoft.com/office/drawing/2014/chart" uri="{C3380CC4-5D6E-409C-BE32-E72D297353CC}">
                <c16:uniqueId val="{0000007E-C76F-4230-900D-40618C09729F}"/>
              </c:ext>
            </c:extLst>
          </c:dPt>
          <c:dPt>
            <c:idx val="61"/>
            <c:invertIfNegative val="0"/>
            <c:bubble3D val="0"/>
            <c:spPr>
              <a:solidFill>
                <a:srgbClr val="7ECAC4"/>
              </a:solidFill>
            </c:spPr>
            <c:extLst>
              <c:ext xmlns:c16="http://schemas.microsoft.com/office/drawing/2014/chart" uri="{C3380CC4-5D6E-409C-BE32-E72D297353CC}">
                <c16:uniqueId val="{00000080-C76F-4230-900D-40618C09729F}"/>
              </c:ext>
            </c:extLst>
          </c:dPt>
          <c:dPt>
            <c:idx val="62"/>
            <c:invertIfNegative val="0"/>
            <c:bubble3D val="0"/>
            <c:spPr>
              <a:solidFill>
                <a:srgbClr val="7ECAC4"/>
              </a:solidFill>
            </c:spPr>
            <c:extLst>
              <c:ext xmlns:c16="http://schemas.microsoft.com/office/drawing/2014/chart" uri="{C3380CC4-5D6E-409C-BE32-E72D297353CC}">
                <c16:uniqueId val="{00000082-C76F-4230-900D-40618C09729F}"/>
              </c:ext>
            </c:extLst>
          </c:dPt>
          <c:dPt>
            <c:idx val="63"/>
            <c:invertIfNegative val="0"/>
            <c:bubble3D val="0"/>
            <c:spPr>
              <a:solidFill>
                <a:srgbClr val="7ECAC4"/>
              </a:solidFill>
            </c:spPr>
            <c:extLst>
              <c:ext xmlns:c16="http://schemas.microsoft.com/office/drawing/2014/chart" uri="{C3380CC4-5D6E-409C-BE32-E72D297353CC}">
                <c16:uniqueId val="{00000084-C76F-4230-900D-40618C09729F}"/>
              </c:ext>
            </c:extLst>
          </c:dPt>
          <c:dPt>
            <c:idx val="64"/>
            <c:invertIfNegative val="0"/>
            <c:bubble3D val="0"/>
            <c:spPr>
              <a:solidFill>
                <a:srgbClr val="7ECAC4"/>
              </a:solidFill>
            </c:spPr>
            <c:extLst>
              <c:ext xmlns:c16="http://schemas.microsoft.com/office/drawing/2014/chart" uri="{C3380CC4-5D6E-409C-BE32-E72D297353CC}">
                <c16:uniqueId val="{00000086-C76F-4230-900D-40618C09729F}"/>
              </c:ext>
            </c:extLst>
          </c:dPt>
          <c:dPt>
            <c:idx val="65"/>
            <c:invertIfNegative val="0"/>
            <c:bubble3D val="0"/>
            <c:spPr>
              <a:solidFill>
                <a:srgbClr val="7ECAC4"/>
              </a:solidFill>
            </c:spPr>
            <c:extLst>
              <c:ext xmlns:c16="http://schemas.microsoft.com/office/drawing/2014/chart" uri="{C3380CC4-5D6E-409C-BE32-E72D297353CC}">
                <c16:uniqueId val="{00000088-C76F-4230-900D-40618C09729F}"/>
              </c:ext>
            </c:extLst>
          </c:dPt>
          <c:dPt>
            <c:idx val="66"/>
            <c:invertIfNegative val="0"/>
            <c:bubble3D val="0"/>
            <c:spPr>
              <a:solidFill>
                <a:srgbClr val="7ECAC4"/>
              </a:solidFill>
            </c:spPr>
            <c:extLst>
              <c:ext xmlns:c16="http://schemas.microsoft.com/office/drawing/2014/chart" uri="{C3380CC4-5D6E-409C-BE32-E72D297353CC}">
                <c16:uniqueId val="{0000008A-C76F-4230-900D-40618C09729F}"/>
              </c:ext>
            </c:extLst>
          </c:dPt>
          <c:dPt>
            <c:idx val="67"/>
            <c:invertIfNegative val="0"/>
            <c:bubble3D val="0"/>
            <c:spPr>
              <a:solidFill>
                <a:srgbClr val="7ECAC4"/>
              </a:solidFill>
            </c:spPr>
            <c:extLst>
              <c:ext xmlns:c16="http://schemas.microsoft.com/office/drawing/2014/chart" uri="{C3380CC4-5D6E-409C-BE32-E72D297353CC}">
                <c16:uniqueId val="{0000008C-C76F-4230-900D-40618C09729F}"/>
              </c:ext>
            </c:extLst>
          </c:dPt>
          <c:dPt>
            <c:idx val="68"/>
            <c:invertIfNegative val="0"/>
            <c:bubble3D val="0"/>
            <c:spPr>
              <a:solidFill>
                <a:srgbClr val="7ECAC4"/>
              </a:solidFill>
            </c:spPr>
            <c:extLst>
              <c:ext xmlns:c16="http://schemas.microsoft.com/office/drawing/2014/chart" uri="{C3380CC4-5D6E-409C-BE32-E72D297353CC}">
                <c16:uniqueId val="{0000008E-C76F-4230-900D-40618C09729F}"/>
              </c:ext>
            </c:extLst>
          </c:dPt>
          <c:dPt>
            <c:idx val="69"/>
            <c:invertIfNegative val="0"/>
            <c:bubble3D val="0"/>
            <c:spPr>
              <a:solidFill>
                <a:srgbClr val="7ECAC4"/>
              </a:solidFill>
            </c:spPr>
            <c:extLst>
              <c:ext xmlns:c16="http://schemas.microsoft.com/office/drawing/2014/chart" uri="{C3380CC4-5D6E-409C-BE32-E72D297353CC}">
                <c16:uniqueId val="{00000090-C76F-4230-900D-40618C09729F}"/>
              </c:ext>
            </c:extLst>
          </c:dPt>
          <c:dPt>
            <c:idx val="70"/>
            <c:invertIfNegative val="0"/>
            <c:bubble3D val="0"/>
            <c:spPr>
              <a:solidFill>
                <a:srgbClr val="7ECAC4"/>
              </a:solidFill>
            </c:spPr>
            <c:extLst>
              <c:ext xmlns:c16="http://schemas.microsoft.com/office/drawing/2014/chart" uri="{C3380CC4-5D6E-409C-BE32-E72D297353CC}">
                <c16:uniqueId val="{00000092-C76F-4230-900D-40618C09729F}"/>
              </c:ext>
            </c:extLst>
          </c:dPt>
          <c:dPt>
            <c:idx val="71"/>
            <c:invertIfNegative val="0"/>
            <c:bubble3D val="0"/>
            <c:spPr>
              <a:solidFill>
                <a:srgbClr val="7ECAC4"/>
              </a:solidFill>
            </c:spPr>
            <c:extLst>
              <c:ext xmlns:c16="http://schemas.microsoft.com/office/drawing/2014/chart" uri="{C3380CC4-5D6E-409C-BE32-E72D297353CC}">
                <c16:uniqueId val="{00000094-C76F-4230-900D-40618C09729F}"/>
              </c:ext>
            </c:extLst>
          </c:dPt>
          <c:dPt>
            <c:idx val="72"/>
            <c:invertIfNegative val="0"/>
            <c:bubble3D val="0"/>
            <c:spPr>
              <a:solidFill>
                <a:srgbClr val="7ECAC4"/>
              </a:solidFill>
            </c:spPr>
            <c:extLst>
              <c:ext xmlns:c16="http://schemas.microsoft.com/office/drawing/2014/chart" uri="{C3380CC4-5D6E-409C-BE32-E72D297353CC}">
                <c16:uniqueId val="{00000096-C76F-4230-900D-40618C09729F}"/>
              </c:ext>
            </c:extLst>
          </c:dPt>
          <c:dPt>
            <c:idx val="73"/>
            <c:invertIfNegative val="0"/>
            <c:bubble3D val="0"/>
            <c:spPr>
              <a:solidFill>
                <a:srgbClr val="7ECAC4"/>
              </a:solidFill>
            </c:spPr>
            <c:extLst>
              <c:ext xmlns:c16="http://schemas.microsoft.com/office/drawing/2014/chart" uri="{C3380CC4-5D6E-409C-BE32-E72D297353CC}">
                <c16:uniqueId val="{00000098-C76F-4230-900D-40618C09729F}"/>
              </c:ext>
            </c:extLst>
          </c:dPt>
          <c:dPt>
            <c:idx val="74"/>
            <c:invertIfNegative val="0"/>
            <c:bubble3D val="0"/>
            <c:spPr>
              <a:solidFill>
                <a:srgbClr val="7ECAC4"/>
              </a:solidFill>
            </c:spPr>
            <c:extLst>
              <c:ext xmlns:c16="http://schemas.microsoft.com/office/drawing/2014/chart" uri="{C3380CC4-5D6E-409C-BE32-E72D297353CC}">
                <c16:uniqueId val="{0000009A-C76F-4230-900D-40618C09729F}"/>
              </c:ext>
            </c:extLst>
          </c:dPt>
          <c:dPt>
            <c:idx val="75"/>
            <c:invertIfNegative val="0"/>
            <c:bubble3D val="0"/>
            <c:spPr>
              <a:solidFill>
                <a:srgbClr val="7ECAC4"/>
              </a:solidFill>
            </c:spPr>
            <c:extLst>
              <c:ext xmlns:c16="http://schemas.microsoft.com/office/drawing/2014/chart" uri="{C3380CC4-5D6E-409C-BE32-E72D297353CC}">
                <c16:uniqueId val="{0000009C-C76F-4230-900D-40618C09729F}"/>
              </c:ext>
            </c:extLst>
          </c:dPt>
          <c:dPt>
            <c:idx val="76"/>
            <c:invertIfNegative val="0"/>
            <c:bubble3D val="0"/>
            <c:spPr>
              <a:solidFill>
                <a:srgbClr val="7ECAC4"/>
              </a:solidFill>
            </c:spPr>
            <c:extLst>
              <c:ext xmlns:c16="http://schemas.microsoft.com/office/drawing/2014/chart" uri="{C3380CC4-5D6E-409C-BE32-E72D297353CC}">
                <c16:uniqueId val="{0000009E-C76F-4230-900D-40618C09729F}"/>
              </c:ext>
            </c:extLst>
          </c:dPt>
          <c:dPt>
            <c:idx val="77"/>
            <c:invertIfNegative val="0"/>
            <c:bubble3D val="0"/>
            <c:spPr>
              <a:solidFill>
                <a:srgbClr val="7ECAC4"/>
              </a:solidFill>
            </c:spPr>
            <c:extLst>
              <c:ext xmlns:c16="http://schemas.microsoft.com/office/drawing/2014/chart" uri="{C3380CC4-5D6E-409C-BE32-E72D297353CC}">
                <c16:uniqueId val="{000000A0-C76F-4230-900D-40618C09729F}"/>
              </c:ext>
            </c:extLst>
          </c:dPt>
          <c:dPt>
            <c:idx val="78"/>
            <c:invertIfNegative val="0"/>
            <c:bubble3D val="0"/>
            <c:spPr>
              <a:solidFill>
                <a:srgbClr val="7ECAC4"/>
              </a:solidFill>
            </c:spPr>
            <c:extLst>
              <c:ext xmlns:c16="http://schemas.microsoft.com/office/drawing/2014/chart" uri="{C3380CC4-5D6E-409C-BE32-E72D297353CC}">
                <c16:uniqueId val="{000000A2-C76F-4230-900D-40618C09729F}"/>
              </c:ext>
            </c:extLst>
          </c:dPt>
          <c:dPt>
            <c:idx val="79"/>
            <c:invertIfNegative val="0"/>
            <c:bubble3D val="0"/>
            <c:spPr>
              <a:solidFill>
                <a:srgbClr val="7ECAC4"/>
              </a:solidFill>
            </c:spPr>
            <c:extLst>
              <c:ext xmlns:c16="http://schemas.microsoft.com/office/drawing/2014/chart" uri="{C3380CC4-5D6E-409C-BE32-E72D297353CC}">
                <c16:uniqueId val="{000000A4-C76F-4230-900D-40618C09729F}"/>
              </c:ext>
            </c:extLst>
          </c:dPt>
          <c:dPt>
            <c:idx val="80"/>
            <c:invertIfNegative val="0"/>
            <c:bubble3D val="0"/>
            <c:spPr>
              <a:solidFill>
                <a:srgbClr val="7ECAC4"/>
              </a:solidFill>
            </c:spPr>
            <c:extLst>
              <c:ext xmlns:c16="http://schemas.microsoft.com/office/drawing/2014/chart" uri="{C3380CC4-5D6E-409C-BE32-E72D297353CC}">
                <c16:uniqueId val="{000000A6-C76F-4230-900D-40618C09729F}"/>
              </c:ext>
            </c:extLst>
          </c:dPt>
          <c:dPt>
            <c:idx val="81"/>
            <c:invertIfNegative val="1"/>
            <c:bubble3D val="0"/>
            <c:spPr>
              <a:solidFill>
                <a:srgbClr val="7ECAC4"/>
              </a:solidFill>
            </c:spPr>
            <c:extLst>
              <c:ext xmlns:c16="http://schemas.microsoft.com/office/drawing/2014/chart" uri="{C3380CC4-5D6E-409C-BE32-E72D297353CC}">
                <c16:uniqueId val="{000000A5-2993-41DE-A2CB-63102DE87051}"/>
              </c:ext>
            </c:extLst>
          </c:dPt>
          <c:dPt>
            <c:idx val="82"/>
            <c:invertIfNegative val="1"/>
            <c:bubble3D val="0"/>
            <c:spPr>
              <a:solidFill>
                <a:srgbClr val="7ECAC4"/>
              </a:solidFill>
            </c:spPr>
            <c:extLst>
              <c:ext xmlns:c16="http://schemas.microsoft.com/office/drawing/2014/chart" uri="{C3380CC4-5D6E-409C-BE32-E72D297353CC}">
                <c16:uniqueId val="{000000A7-2993-41DE-A2CB-63102DE87051}"/>
              </c:ext>
            </c:extLst>
          </c:dPt>
          <c:dPt>
            <c:idx val="83"/>
            <c:invertIfNegative val="1"/>
            <c:bubble3D val="0"/>
            <c:spPr>
              <a:solidFill>
                <a:srgbClr val="7ECAC4"/>
              </a:solidFill>
            </c:spPr>
            <c:extLst>
              <c:ext xmlns:c16="http://schemas.microsoft.com/office/drawing/2014/chart" uri="{C3380CC4-5D6E-409C-BE32-E72D297353CC}">
                <c16:uniqueId val="{000000A9-2993-41DE-A2CB-63102DE87051}"/>
              </c:ext>
            </c:extLst>
          </c:dPt>
          <c:dPt>
            <c:idx val="84"/>
            <c:invertIfNegative val="1"/>
            <c:bubble3D val="0"/>
            <c:spPr>
              <a:solidFill>
                <a:srgbClr val="7ECAC4"/>
              </a:solidFill>
            </c:spPr>
            <c:extLst>
              <c:ext xmlns:c16="http://schemas.microsoft.com/office/drawing/2014/chart" uri="{C3380CC4-5D6E-409C-BE32-E72D297353CC}">
                <c16:uniqueId val="{000000AB-2993-41DE-A2CB-63102DE87051}"/>
              </c:ext>
            </c:extLst>
          </c:dPt>
          <c:dPt>
            <c:idx val="85"/>
            <c:invertIfNegative val="1"/>
            <c:bubble3D val="0"/>
            <c:spPr>
              <a:solidFill>
                <a:srgbClr val="7ECAC4"/>
              </a:solidFill>
            </c:spPr>
            <c:extLst>
              <c:ext xmlns:c16="http://schemas.microsoft.com/office/drawing/2014/chart" uri="{C3380CC4-5D6E-409C-BE32-E72D297353CC}">
                <c16:uniqueId val="{000000AD-2993-41DE-A2CB-63102DE87051}"/>
              </c:ext>
            </c:extLst>
          </c:dPt>
          <c:dPt>
            <c:idx val="86"/>
            <c:invertIfNegative val="1"/>
            <c:bubble3D val="0"/>
            <c:spPr>
              <a:solidFill>
                <a:srgbClr val="7ECAC4"/>
              </a:solidFill>
            </c:spPr>
            <c:extLst>
              <c:ext xmlns:c16="http://schemas.microsoft.com/office/drawing/2014/chart" uri="{C3380CC4-5D6E-409C-BE32-E72D297353CC}">
                <c16:uniqueId val="{000000AF-2993-41DE-A2CB-63102DE87051}"/>
              </c:ext>
            </c:extLst>
          </c:dPt>
          <c:dPt>
            <c:idx val="87"/>
            <c:invertIfNegative val="1"/>
            <c:bubble3D val="0"/>
            <c:spPr>
              <a:solidFill>
                <a:srgbClr val="7ECAC4"/>
              </a:solidFill>
            </c:spPr>
            <c:extLst>
              <c:ext xmlns:c16="http://schemas.microsoft.com/office/drawing/2014/chart" uri="{C3380CC4-5D6E-409C-BE32-E72D297353CC}">
                <c16:uniqueId val="{000000B1-2993-41DE-A2CB-63102DE87051}"/>
              </c:ext>
            </c:extLst>
          </c:dPt>
          <c:dPt>
            <c:idx val="88"/>
            <c:invertIfNegative val="1"/>
            <c:bubble3D val="0"/>
            <c:spPr>
              <a:solidFill>
                <a:srgbClr val="7ECAC4"/>
              </a:solidFill>
            </c:spPr>
            <c:extLst>
              <c:ext xmlns:c16="http://schemas.microsoft.com/office/drawing/2014/chart" uri="{C3380CC4-5D6E-409C-BE32-E72D297353CC}">
                <c16:uniqueId val="{000000B3-2993-41DE-A2CB-63102DE87051}"/>
              </c:ext>
            </c:extLst>
          </c:dPt>
          <c:dPt>
            <c:idx val="89"/>
            <c:invertIfNegative val="1"/>
            <c:bubble3D val="0"/>
            <c:spPr>
              <a:solidFill>
                <a:srgbClr val="7ECAC4"/>
              </a:solidFill>
            </c:spPr>
            <c:extLst>
              <c:ext xmlns:c16="http://schemas.microsoft.com/office/drawing/2014/chart" uri="{C3380CC4-5D6E-409C-BE32-E72D297353CC}">
                <c16:uniqueId val="{000000B5-2993-41DE-A2CB-63102DE87051}"/>
              </c:ext>
            </c:extLst>
          </c:dPt>
          <c:dPt>
            <c:idx val="90"/>
            <c:invertIfNegative val="1"/>
            <c:bubble3D val="0"/>
            <c:spPr>
              <a:solidFill>
                <a:srgbClr val="7ECAC4"/>
              </a:solidFill>
            </c:spPr>
            <c:extLst>
              <c:ext xmlns:c16="http://schemas.microsoft.com/office/drawing/2014/chart" uri="{C3380CC4-5D6E-409C-BE32-E72D297353CC}">
                <c16:uniqueId val="{000000B7-2993-41DE-A2CB-63102DE87051}"/>
              </c:ext>
            </c:extLst>
          </c:dPt>
          <c:dPt>
            <c:idx val="91"/>
            <c:invertIfNegative val="1"/>
            <c:bubble3D val="0"/>
            <c:spPr>
              <a:solidFill>
                <a:srgbClr val="7ECAC4"/>
              </a:solidFill>
            </c:spPr>
            <c:extLst>
              <c:ext xmlns:c16="http://schemas.microsoft.com/office/drawing/2014/chart" uri="{C3380CC4-5D6E-409C-BE32-E72D297353CC}">
                <c16:uniqueId val="{000000B9-2993-41DE-A2CB-63102DE87051}"/>
              </c:ext>
            </c:extLst>
          </c:dPt>
          <c:dPt>
            <c:idx val="92"/>
            <c:invertIfNegative val="1"/>
            <c:bubble3D val="0"/>
            <c:spPr>
              <a:solidFill>
                <a:srgbClr val="7ECAC4"/>
              </a:solidFill>
            </c:spPr>
            <c:extLst>
              <c:ext xmlns:c16="http://schemas.microsoft.com/office/drawing/2014/chart" uri="{C3380CC4-5D6E-409C-BE32-E72D297353CC}">
                <c16:uniqueId val="{000000BB-2993-41DE-A2CB-63102DE87051}"/>
              </c:ext>
            </c:extLst>
          </c:dPt>
          <c:dPt>
            <c:idx val="93"/>
            <c:invertIfNegative val="1"/>
            <c:bubble3D val="0"/>
            <c:spPr>
              <a:solidFill>
                <a:srgbClr val="7ECAC4"/>
              </a:solidFill>
            </c:spPr>
            <c:extLst>
              <c:ext xmlns:c16="http://schemas.microsoft.com/office/drawing/2014/chart" uri="{C3380CC4-5D6E-409C-BE32-E72D297353CC}">
                <c16:uniqueId val="{000000BD-2993-41DE-A2CB-63102DE87051}"/>
              </c:ext>
            </c:extLst>
          </c:dPt>
          <c:dPt>
            <c:idx val="94"/>
            <c:invertIfNegative val="1"/>
            <c:bubble3D val="0"/>
            <c:spPr>
              <a:solidFill>
                <a:srgbClr val="7ECAC4"/>
              </a:solidFill>
            </c:spPr>
            <c:extLst>
              <c:ext xmlns:c16="http://schemas.microsoft.com/office/drawing/2014/chart" uri="{C3380CC4-5D6E-409C-BE32-E72D297353CC}">
                <c16:uniqueId val="{000000BF-2993-41DE-A2CB-63102DE87051}"/>
              </c:ext>
            </c:extLst>
          </c:dPt>
          <c:dPt>
            <c:idx val="95"/>
            <c:invertIfNegative val="1"/>
            <c:bubble3D val="0"/>
            <c:spPr>
              <a:solidFill>
                <a:srgbClr val="7ECAC4"/>
              </a:solidFill>
            </c:spPr>
            <c:extLst>
              <c:ext xmlns:c16="http://schemas.microsoft.com/office/drawing/2014/chart" uri="{C3380CC4-5D6E-409C-BE32-E72D297353CC}">
                <c16:uniqueId val="{000000C1-2993-41DE-A2CB-63102DE87051}"/>
              </c:ext>
            </c:extLst>
          </c:dPt>
          <c:dPt>
            <c:idx val="96"/>
            <c:invertIfNegative val="1"/>
            <c:bubble3D val="0"/>
            <c:spPr>
              <a:solidFill>
                <a:srgbClr val="7ECAC4"/>
              </a:solidFill>
            </c:spPr>
            <c:extLst>
              <c:ext xmlns:c16="http://schemas.microsoft.com/office/drawing/2014/chart" uri="{C3380CC4-5D6E-409C-BE32-E72D297353CC}">
                <c16:uniqueId val="{000000C3-2993-41DE-A2CB-63102DE87051}"/>
              </c:ext>
            </c:extLst>
          </c:dPt>
          <c:dPt>
            <c:idx val="97"/>
            <c:invertIfNegative val="1"/>
            <c:bubble3D val="0"/>
            <c:spPr>
              <a:solidFill>
                <a:srgbClr val="7ECAC4"/>
              </a:solidFill>
            </c:spPr>
            <c:extLst>
              <c:ext xmlns:c16="http://schemas.microsoft.com/office/drawing/2014/chart" uri="{C3380CC4-5D6E-409C-BE32-E72D297353CC}">
                <c16:uniqueId val="{000000C5-2993-41DE-A2CB-63102DE87051}"/>
              </c:ext>
            </c:extLst>
          </c:dPt>
          <c:dPt>
            <c:idx val="98"/>
            <c:invertIfNegative val="1"/>
            <c:bubble3D val="0"/>
            <c:spPr>
              <a:solidFill>
                <a:srgbClr val="7ECAC4"/>
              </a:solidFill>
            </c:spPr>
            <c:extLst>
              <c:ext xmlns:c16="http://schemas.microsoft.com/office/drawing/2014/chart" uri="{C3380CC4-5D6E-409C-BE32-E72D297353CC}">
                <c16:uniqueId val="{000000C7-2993-41DE-A2CB-63102DE87051}"/>
              </c:ext>
            </c:extLst>
          </c:dPt>
          <c:dPt>
            <c:idx val="99"/>
            <c:invertIfNegative val="1"/>
            <c:bubble3D val="0"/>
            <c:spPr>
              <a:solidFill>
                <a:srgbClr val="7ECAC4"/>
              </a:solidFill>
            </c:spPr>
            <c:extLst>
              <c:ext xmlns:c16="http://schemas.microsoft.com/office/drawing/2014/chart" uri="{C3380CC4-5D6E-409C-BE32-E72D297353CC}">
                <c16:uniqueId val="{000000C9-2993-41DE-A2CB-63102DE87051}"/>
              </c:ext>
            </c:extLst>
          </c:dPt>
          <c:dPt>
            <c:idx val="100"/>
            <c:invertIfNegative val="1"/>
            <c:bubble3D val="0"/>
            <c:spPr>
              <a:solidFill>
                <a:srgbClr val="7ECAC4"/>
              </a:solidFill>
            </c:spPr>
            <c:extLst>
              <c:ext xmlns:c16="http://schemas.microsoft.com/office/drawing/2014/chart" uri="{C3380CC4-5D6E-409C-BE32-E72D297353CC}">
                <c16:uniqueId val="{000000CB-2993-41DE-A2CB-63102DE87051}"/>
              </c:ext>
            </c:extLst>
          </c:dPt>
          <c:dPt>
            <c:idx val="101"/>
            <c:invertIfNegative val="1"/>
            <c:bubble3D val="0"/>
            <c:spPr>
              <a:solidFill>
                <a:srgbClr val="7ECAC4"/>
              </a:solidFill>
            </c:spPr>
            <c:extLst>
              <c:ext xmlns:c16="http://schemas.microsoft.com/office/drawing/2014/chart" uri="{C3380CC4-5D6E-409C-BE32-E72D297353CC}">
                <c16:uniqueId val="{000000CD-2993-41DE-A2CB-63102DE87051}"/>
              </c:ext>
            </c:extLst>
          </c:dPt>
          <c:dPt>
            <c:idx val="102"/>
            <c:invertIfNegative val="1"/>
            <c:bubble3D val="0"/>
            <c:spPr>
              <a:solidFill>
                <a:srgbClr val="7ECAC4"/>
              </a:solidFill>
            </c:spPr>
            <c:extLst>
              <c:ext xmlns:c16="http://schemas.microsoft.com/office/drawing/2014/chart" uri="{C3380CC4-5D6E-409C-BE32-E72D297353CC}">
                <c16:uniqueId val="{000000CF-2993-41DE-A2CB-63102DE87051}"/>
              </c:ext>
            </c:extLst>
          </c:dPt>
          <c:dPt>
            <c:idx val="103"/>
            <c:invertIfNegative val="1"/>
            <c:bubble3D val="0"/>
            <c:spPr>
              <a:solidFill>
                <a:srgbClr val="7ECAC4"/>
              </a:solidFill>
            </c:spPr>
            <c:extLst>
              <c:ext xmlns:c16="http://schemas.microsoft.com/office/drawing/2014/chart" uri="{C3380CC4-5D6E-409C-BE32-E72D297353CC}">
                <c16:uniqueId val="{000000D1-2993-41DE-A2CB-63102DE87051}"/>
              </c:ext>
            </c:extLst>
          </c:dPt>
          <c:dPt>
            <c:idx val="104"/>
            <c:invertIfNegative val="1"/>
            <c:bubble3D val="0"/>
            <c:spPr>
              <a:solidFill>
                <a:srgbClr val="7ECAC4"/>
              </a:solidFill>
            </c:spPr>
            <c:extLst>
              <c:ext xmlns:c16="http://schemas.microsoft.com/office/drawing/2014/chart" uri="{C3380CC4-5D6E-409C-BE32-E72D297353CC}">
                <c16:uniqueId val="{000000D3-2993-41DE-A2CB-63102DE87051}"/>
              </c:ext>
            </c:extLst>
          </c:dPt>
          <c:dPt>
            <c:idx val="105"/>
            <c:invertIfNegative val="1"/>
            <c:bubble3D val="0"/>
            <c:spPr>
              <a:solidFill>
                <a:srgbClr val="7ECAC4"/>
              </a:solidFill>
            </c:spPr>
            <c:extLst>
              <c:ext xmlns:c16="http://schemas.microsoft.com/office/drawing/2014/chart" uri="{C3380CC4-5D6E-409C-BE32-E72D297353CC}">
                <c16:uniqueId val="{000000D5-2993-41DE-A2CB-63102DE87051}"/>
              </c:ext>
            </c:extLst>
          </c:dPt>
          <c:dPt>
            <c:idx val="106"/>
            <c:invertIfNegative val="1"/>
            <c:bubble3D val="0"/>
            <c:spPr>
              <a:solidFill>
                <a:srgbClr val="7ECAC4"/>
              </a:solidFill>
            </c:spPr>
            <c:extLst>
              <c:ext xmlns:c16="http://schemas.microsoft.com/office/drawing/2014/chart" uri="{C3380CC4-5D6E-409C-BE32-E72D297353CC}">
                <c16:uniqueId val="{000000D7-2993-41DE-A2CB-63102DE87051}"/>
              </c:ext>
            </c:extLst>
          </c:dPt>
          <c:dPt>
            <c:idx val="107"/>
            <c:invertIfNegative val="1"/>
            <c:bubble3D val="0"/>
            <c:spPr>
              <a:solidFill>
                <a:srgbClr val="7ECAC4"/>
              </a:solidFill>
            </c:spPr>
            <c:extLst>
              <c:ext xmlns:c16="http://schemas.microsoft.com/office/drawing/2014/chart" uri="{C3380CC4-5D6E-409C-BE32-E72D297353CC}">
                <c16:uniqueId val="{000000D9-2993-41DE-A2CB-63102DE87051}"/>
              </c:ext>
            </c:extLst>
          </c:dPt>
          <c:dPt>
            <c:idx val="108"/>
            <c:invertIfNegative val="1"/>
            <c:bubble3D val="0"/>
            <c:spPr>
              <a:solidFill>
                <a:srgbClr val="AEABAB"/>
              </a:solidFill>
            </c:spPr>
            <c:extLst>
              <c:ext xmlns:c16="http://schemas.microsoft.com/office/drawing/2014/chart" uri="{C3380CC4-5D6E-409C-BE32-E72D297353CC}">
                <c16:uniqueId val="{000000DB-2993-41DE-A2CB-63102DE87051}"/>
              </c:ext>
            </c:extLst>
          </c:dPt>
          <c:dPt>
            <c:idx val="109"/>
            <c:invertIfNegative val="1"/>
            <c:bubble3D val="0"/>
            <c:spPr>
              <a:solidFill>
                <a:srgbClr val="AEABAB"/>
              </a:solidFill>
            </c:spPr>
            <c:extLst>
              <c:ext xmlns:c16="http://schemas.microsoft.com/office/drawing/2014/chart" uri="{C3380CC4-5D6E-409C-BE32-E72D297353CC}">
                <c16:uniqueId val="{000000DD-2993-41DE-A2CB-63102DE87051}"/>
              </c:ext>
            </c:extLst>
          </c:dPt>
          <c:dPt>
            <c:idx val="110"/>
            <c:invertIfNegative val="1"/>
            <c:bubble3D val="0"/>
            <c:spPr>
              <a:solidFill>
                <a:srgbClr val="AEABAB"/>
              </a:solidFill>
            </c:spPr>
            <c:extLst>
              <c:ext xmlns:c16="http://schemas.microsoft.com/office/drawing/2014/chart" uri="{C3380CC4-5D6E-409C-BE32-E72D297353CC}">
                <c16:uniqueId val="{000000DF-2993-41DE-A2CB-63102DE87051}"/>
              </c:ext>
            </c:extLst>
          </c:dPt>
          <c:dPt>
            <c:idx val="111"/>
            <c:invertIfNegative val="1"/>
            <c:bubble3D val="0"/>
            <c:spPr>
              <a:solidFill>
                <a:srgbClr val="AEABAB"/>
              </a:solidFill>
            </c:spPr>
            <c:extLst>
              <c:ext xmlns:c16="http://schemas.microsoft.com/office/drawing/2014/chart" uri="{C3380CC4-5D6E-409C-BE32-E72D297353CC}">
                <c16:uniqueId val="{000000E1-2993-41DE-A2CB-63102DE87051}"/>
              </c:ext>
            </c:extLst>
          </c:dPt>
          <c:dPt>
            <c:idx val="112"/>
            <c:invertIfNegative val="1"/>
            <c:bubble3D val="0"/>
            <c:spPr>
              <a:solidFill>
                <a:srgbClr val="AEABAB"/>
              </a:solidFill>
            </c:spPr>
            <c:extLst>
              <c:ext xmlns:c16="http://schemas.microsoft.com/office/drawing/2014/chart" uri="{C3380CC4-5D6E-409C-BE32-E72D297353CC}">
                <c16:uniqueId val="{000000E3-2993-41DE-A2CB-63102DE87051}"/>
              </c:ext>
            </c:extLst>
          </c:dPt>
          <c:dPt>
            <c:idx val="113"/>
            <c:invertIfNegative val="1"/>
            <c:bubble3D val="0"/>
            <c:spPr>
              <a:solidFill>
                <a:srgbClr val="AEABAB"/>
              </a:solidFill>
            </c:spPr>
            <c:extLst>
              <c:ext xmlns:c16="http://schemas.microsoft.com/office/drawing/2014/chart" uri="{C3380CC4-5D6E-409C-BE32-E72D297353CC}">
                <c16:uniqueId val="{000000E5-2993-41DE-A2CB-63102DE87051}"/>
              </c:ext>
            </c:extLst>
          </c:dPt>
          <c:dPt>
            <c:idx val="114"/>
            <c:invertIfNegative val="1"/>
            <c:bubble3D val="0"/>
            <c:spPr>
              <a:solidFill>
                <a:srgbClr val="AEABAB"/>
              </a:solidFill>
            </c:spPr>
            <c:extLst>
              <c:ext xmlns:c16="http://schemas.microsoft.com/office/drawing/2014/chart" uri="{C3380CC4-5D6E-409C-BE32-E72D297353CC}">
                <c16:uniqueId val="{000000E7-2993-41DE-A2CB-63102DE87051}"/>
              </c:ext>
            </c:extLst>
          </c:dPt>
          <c:dPt>
            <c:idx val="115"/>
            <c:invertIfNegative val="1"/>
            <c:bubble3D val="0"/>
            <c:spPr>
              <a:solidFill>
                <a:srgbClr val="AEABAB"/>
              </a:solidFill>
            </c:spPr>
            <c:extLst>
              <c:ext xmlns:c16="http://schemas.microsoft.com/office/drawing/2014/chart" uri="{C3380CC4-5D6E-409C-BE32-E72D297353CC}">
                <c16:uniqueId val="{000000E9-2993-41DE-A2CB-63102DE87051}"/>
              </c:ext>
            </c:extLst>
          </c:dPt>
          <c:dPt>
            <c:idx val="116"/>
            <c:invertIfNegative val="1"/>
            <c:bubble3D val="0"/>
            <c:spPr>
              <a:solidFill>
                <a:srgbClr val="AEABAB"/>
              </a:solidFill>
            </c:spPr>
            <c:extLst>
              <c:ext xmlns:c16="http://schemas.microsoft.com/office/drawing/2014/chart" uri="{C3380CC4-5D6E-409C-BE32-E72D297353CC}">
                <c16:uniqueId val="{000000EB-2993-41DE-A2CB-63102DE87051}"/>
              </c:ext>
            </c:extLst>
          </c:dPt>
          <c:dPt>
            <c:idx val="117"/>
            <c:invertIfNegative val="1"/>
            <c:bubble3D val="0"/>
            <c:spPr>
              <a:solidFill>
                <a:srgbClr val="AEABAB"/>
              </a:solidFill>
            </c:spPr>
            <c:extLst>
              <c:ext xmlns:c16="http://schemas.microsoft.com/office/drawing/2014/chart" uri="{C3380CC4-5D6E-409C-BE32-E72D297353CC}">
                <c16:uniqueId val="{000000ED-2993-41DE-A2CB-63102DE87051}"/>
              </c:ext>
            </c:extLst>
          </c:dPt>
          <c:dPt>
            <c:idx val="118"/>
            <c:invertIfNegative val="1"/>
            <c:bubble3D val="0"/>
            <c:spPr>
              <a:solidFill>
                <a:srgbClr val="AEABAB"/>
              </a:solidFill>
            </c:spPr>
            <c:extLst>
              <c:ext xmlns:c16="http://schemas.microsoft.com/office/drawing/2014/chart" uri="{C3380CC4-5D6E-409C-BE32-E72D297353CC}">
                <c16:uniqueId val="{000000EF-2993-41DE-A2CB-63102DE87051}"/>
              </c:ext>
            </c:extLst>
          </c:dPt>
          <c:dPt>
            <c:idx val="119"/>
            <c:invertIfNegative val="1"/>
            <c:bubble3D val="0"/>
            <c:spPr>
              <a:solidFill>
                <a:srgbClr val="AEABAB"/>
              </a:solidFill>
            </c:spPr>
            <c:extLst>
              <c:ext xmlns:c16="http://schemas.microsoft.com/office/drawing/2014/chart" uri="{C3380CC4-5D6E-409C-BE32-E72D297353CC}">
                <c16:uniqueId val="{000000F1-2993-41DE-A2CB-63102DE87051}"/>
              </c:ext>
            </c:extLst>
          </c:dPt>
          <c:dPt>
            <c:idx val="120"/>
            <c:invertIfNegative val="1"/>
            <c:bubble3D val="0"/>
            <c:spPr>
              <a:solidFill>
                <a:srgbClr val="AEABAB"/>
              </a:solidFill>
            </c:spPr>
            <c:extLst>
              <c:ext xmlns:c16="http://schemas.microsoft.com/office/drawing/2014/chart" uri="{C3380CC4-5D6E-409C-BE32-E72D297353CC}">
                <c16:uniqueId val="{000000F3-2993-41DE-A2CB-63102DE87051}"/>
              </c:ext>
            </c:extLst>
          </c:dPt>
          <c:dPt>
            <c:idx val="121"/>
            <c:invertIfNegative val="1"/>
            <c:bubble3D val="0"/>
            <c:spPr>
              <a:solidFill>
                <a:srgbClr val="AEABAB"/>
              </a:solidFill>
            </c:spPr>
            <c:extLst>
              <c:ext xmlns:c16="http://schemas.microsoft.com/office/drawing/2014/chart" uri="{C3380CC4-5D6E-409C-BE32-E72D297353CC}">
                <c16:uniqueId val="{000000F5-2993-41DE-A2CB-63102DE87051}"/>
              </c:ext>
            </c:extLst>
          </c:dPt>
          <c:dPt>
            <c:idx val="122"/>
            <c:invertIfNegative val="1"/>
            <c:bubble3D val="0"/>
            <c:spPr>
              <a:solidFill>
                <a:srgbClr val="AEABAB"/>
              </a:solidFill>
            </c:spPr>
            <c:extLst>
              <c:ext xmlns:c16="http://schemas.microsoft.com/office/drawing/2014/chart" uri="{C3380CC4-5D6E-409C-BE32-E72D297353CC}">
                <c16:uniqueId val="{000000F7-2993-41DE-A2CB-63102DE87051}"/>
              </c:ext>
            </c:extLst>
          </c:dPt>
          <c:dPt>
            <c:idx val="123"/>
            <c:invertIfNegative val="1"/>
            <c:bubble3D val="0"/>
            <c:spPr>
              <a:solidFill>
                <a:srgbClr val="AEABAB"/>
              </a:solidFill>
            </c:spPr>
            <c:extLst>
              <c:ext xmlns:c16="http://schemas.microsoft.com/office/drawing/2014/chart" uri="{C3380CC4-5D6E-409C-BE32-E72D297353CC}">
                <c16:uniqueId val="{000000F9-2993-41DE-A2CB-63102DE87051}"/>
              </c:ext>
            </c:extLst>
          </c:dPt>
          <c:dPt>
            <c:idx val="124"/>
            <c:invertIfNegative val="1"/>
            <c:bubble3D val="0"/>
            <c:spPr>
              <a:solidFill>
                <a:srgbClr val="AEABAB"/>
              </a:solidFill>
            </c:spPr>
            <c:extLst>
              <c:ext xmlns:c16="http://schemas.microsoft.com/office/drawing/2014/chart" uri="{C3380CC4-5D6E-409C-BE32-E72D297353CC}">
                <c16:uniqueId val="{000000FB-2993-41DE-A2CB-63102DE87051}"/>
              </c:ext>
            </c:extLst>
          </c:dPt>
          <c:dPt>
            <c:idx val="125"/>
            <c:invertIfNegative val="1"/>
            <c:bubble3D val="0"/>
            <c:spPr>
              <a:solidFill>
                <a:srgbClr val="AEABAB"/>
              </a:solidFill>
            </c:spPr>
            <c:extLst>
              <c:ext xmlns:c16="http://schemas.microsoft.com/office/drawing/2014/chart" uri="{C3380CC4-5D6E-409C-BE32-E72D297353CC}">
                <c16:uniqueId val="{000000FD-2993-41DE-A2CB-63102DE87051}"/>
              </c:ext>
            </c:extLst>
          </c:dPt>
          <c:dPt>
            <c:idx val="126"/>
            <c:invertIfNegative val="1"/>
            <c:bubble3D val="0"/>
            <c:spPr>
              <a:solidFill>
                <a:srgbClr val="AEABAB"/>
              </a:solidFill>
            </c:spPr>
            <c:extLst>
              <c:ext xmlns:c16="http://schemas.microsoft.com/office/drawing/2014/chart" uri="{C3380CC4-5D6E-409C-BE32-E72D297353CC}">
                <c16:uniqueId val="{000000FF-2993-41DE-A2CB-63102DE87051}"/>
              </c:ext>
            </c:extLst>
          </c:dPt>
          <c:dPt>
            <c:idx val="127"/>
            <c:invertIfNegative val="1"/>
            <c:bubble3D val="0"/>
            <c:spPr>
              <a:solidFill>
                <a:srgbClr val="AEABAB"/>
              </a:solidFill>
            </c:spPr>
            <c:extLst>
              <c:ext xmlns:c16="http://schemas.microsoft.com/office/drawing/2014/chart" uri="{C3380CC4-5D6E-409C-BE32-E72D297353CC}">
                <c16:uniqueId val="{00000101-2993-41DE-A2CB-63102DE87051}"/>
              </c:ext>
            </c:extLst>
          </c:dPt>
          <c:dPt>
            <c:idx val="128"/>
            <c:invertIfNegative val="1"/>
            <c:bubble3D val="0"/>
            <c:spPr>
              <a:solidFill>
                <a:srgbClr val="AEABAB"/>
              </a:solidFill>
            </c:spPr>
            <c:extLst>
              <c:ext xmlns:c16="http://schemas.microsoft.com/office/drawing/2014/chart" uri="{C3380CC4-5D6E-409C-BE32-E72D297353CC}">
                <c16:uniqueId val="{00000103-2993-41DE-A2CB-63102DE87051}"/>
              </c:ext>
            </c:extLst>
          </c:dPt>
          <c:dPt>
            <c:idx val="129"/>
            <c:invertIfNegative val="1"/>
            <c:bubble3D val="0"/>
            <c:spPr>
              <a:solidFill>
                <a:srgbClr val="AEABAB"/>
              </a:solidFill>
            </c:spPr>
            <c:extLst>
              <c:ext xmlns:c16="http://schemas.microsoft.com/office/drawing/2014/chart" uri="{C3380CC4-5D6E-409C-BE32-E72D297353CC}">
                <c16:uniqueId val="{00000105-2993-41DE-A2CB-63102DE87051}"/>
              </c:ext>
            </c:extLst>
          </c:dPt>
          <c:dPt>
            <c:idx val="130"/>
            <c:invertIfNegative val="1"/>
            <c:bubble3D val="0"/>
            <c:spPr>
              <a:solidFill>
                <a:srgbClr val="AEABAB"/>
              </a:solidFill>
            </c:spPr>
            <c:extLst>
              <c:ext xmlns:c16="http://schemas.microsoft.com/office/drawing/2014/chart" uri="{C3380CC4-5D6E-409C-BE32-E72D297353CC}">
                <c16:uniqueId val="{00000107-2993-41DE-A2CB-63102DE87051}"/>
              </c:ext>
            </c:extLst>
          </c:dPt>
          <c:dPt>
            <c:idx val="131"/>
            <c:invertIfNegative val="1"/>
            <c:bubble3D val="0"/>
            <c:spPr>
              <a:solidFill>
                <a:srgbClr val="AEABAB"/>
              </a:solidFill>
            </c:spPr>
            <c:extLst>
              <c:ext xmlns:c16="http://schemas.microsoft.com/office/drawing/2014/chart" uri="{C3380CC4-5D6E-409C-BE32-E72D297353CC}">
                <c16:uniqueId val="{00000109-2993-41DE-A2CB-63102DE87051}"/>
              </c:ext>
            </c:extLst>
          </c:dPt>
          <c:dPt>
            <c:idx val="132"/>
            <c:invertIfNegative val="1"/>
            <c:bubble3D val="0"/>
            <c:spPr>
              <a:solidFill>
                <a:srgbClr val="AEABAB"/>
              </a:solidFill>
            </c:spPr>
            <c:extLst>
              <c:ext xmlns:c16="http://schemas.microsoft.com/office/drawing/2014/chart" uri="{C3380CC4-5D6E-409C-BE32-E72D297353CC}">
                <c16:uniqueId val="{0000010B-2993-41DE-A2CB-63102DE87051}"/>
              </c:ext>
            </c:extLst>
          </c:dPt>
          <c:dPt>
            <c:idx val="133"/>
            <c:invertIfNegative val="1"/>
            <c:bubble3D val="0"/>
            <c:spPr>
              <a:solidFill>
                <a:srgbClr val="AEABAB"/>
              </a:solidFill>
            </c:spPr>
            <c:extLst>
              <c:ext xmlns:c16="http://schemas.microsoft.com/office/drawing/2014/chart" uri="{C3380CC4-5D6E-409C-BE32-E72D297353CC}">
                <c16:uniqueId val="{0000010D-2993-41DE-A2CB-63102DE87051}"/>
              </c:ext>
            </c:extLst>
          </c:dPt>
          <c:dPt>
            <c:idx val="134"/>
            <c:invertIfNegative val="1"/>
            <c:bubble3D val="0"/>
            <c:spPr>
              <a:solidFill>
                <a:srgbClr val="AEABAB"/>
              </a:solidFill>
            </c:spPr>
            <c:extLst>
              <c:ext xmlns:c16="http://schemas.microsoft.com/office/drawing/2014/chart" uri="{C3380CC4-5D6E-409C-BE32-E72D297353CC}">
                <c16:uniqueId val="{0000010F-2993-41DE-A2CB-63102DE87051}"/>
              </c:ext>
            </c:extLst>
          </c:dPt>
          <c:dPt>
            <c:idx val="135"/>
            <c:invertIfNegative val="1"/>
            <c:bubble3D val="0"/>
            <c:spPr>
              <a:solidFill>
                <a:srgbClr val="AEABAB"/>
              </a:solidFill>
            </c:spPr>
            <c:extLst>
              <c:ext xmlns:c16="http://schemas.microsoft.com/office/drawing/2014/chart" uri="{C3380CC4-5D6E-409C-BE32-E72D297353CC}">
                <c16:uniqueId val="{00000111-2993-41DE-A2CB-63102DE87051}"/>
              </c:ext>
            </c:extLst>
          </c:dPt>
          <c:dPt>
            <c:idx val="136"/>
            <c:invertIfNegative val="1"/>
            <c:bubble3D val="0"/>
            <c:spPr>
              <a:solidFill>
                <a:srgbClr val="AEABAB"/>
              </a:solidFill>
            </c:spPr>
            <c:extLst>
              <c:ext xmlns:c16="http://schemas.microsoft.com/office/drawing/2014/chart" uri="{C3380CC4-5D6E-409C-BE32-E72D297353CC}">
                <c16:uniqueId val="{00000113-2993-41DE-A2CB-63102DE87051}"/>
              </c:ext>
            </c:extLst>
          </c:dPt>
          <c:dPt>
            <c:idx val="137"/>
            <c:invertIfNegative val="1"/>
            <c:bubble3D val="0"/>
            <c:spPr>
              <a:solidFill>
                <a:srgbClr val="AEABAB"/>
              </a:solidFill>
            </c:spPr>
            <c:extLst>
              <c:ext xmlns:c16="http://schemas.microsoft.com/office/drawing/2014/chart" uri="{C3380CC4-5D6E-409C-BE32-E72D297353CC}">
                <c16:uniqueId val="{00000115-2993-41DE-A2CB-63102DE87051}"/>
              </c:ext>
            </c:extLst>
          </c:dPt>
          <c:dPt>
            <c:idx val="138"/>
            <c:invertIfNegative val="1"/>
            <c:bubble3D val="0"/>
            <c:spPr>
              <a:solidFill>
                <a:srgbClr val="AEABAB"/>
              </a:solidFill>
            </c:spPr>
            <c:extLst>
              <c:ext xmlns:c16="http://schemas.microsoft.com/office/drawing/2014/chart" uri="{C3380CC4-5D6E-409C-BE32-E72D297353CC}">
                <c16:uniqueId val="{00000117-2993-41DE-A2CB-63102DE87051}"/>
              </c:ext>
            </c:extLst>
          </c:dPt>
          <c:dPt>
            <c:idx val="139"/>
            <c:invertIfNegative val="1"/>
            <c:bubble3D val="0"/>
            <c:spPr>
              <a:solidFill>
                <a:srgbClr val="AEABAB"/>
              </a:solidFill>
            </c:spPr>
            <c:extLst>
              <c:ext xmlns:c16="http://schemas.microsoft.com/office/drawing/2014/chart" uri="{C3380CC4-5D6E-409C-BE32-E72D297353CC}">
                <c16:uniqueId val="{00000119-2993-41DE-A2CB-63102DE87051}"/>
              </c:ext>
            </c:extLst>
          </c:dPt>
          <c:dPt>
            <c:idx val="140"/>
            <c:invertIfNegative val="1"/>
            <c:bubble3D val="0"/>
            <c:spPr>
              <a:solidFill>
                <a:srgbClr val="AEABAB"/>
              </a:solidFill>
            </c:spPr>
            <c:extLst>
              <c:ext xmlns:c16="http://schemas.microsoft.com/office/drawing/2014/chart" uri="{C3380CC4-5D6E-409C-BE32-E72D297353CC}">
                <c16:uniqueId val="{0000011B-2993-41DE-A2CB-63102DE87051}"/>
              </c:ext>
            </c:extLst>
          </c:dPt>
          <c:dPt>
            <c:idx val="141"/>
            <c:invertIfNegative val="1"/>
            <c:bubble3D val="0"/>
            <c:spPr>
              <a:solidFill>
                <a:srgbClr val="AEABAB"/>
              </a:solidFill>
            </c:spPr>
            <c:extLst>
              <c:ext xmlns:c16="http://schemas.microsoft.com/office/drawing/2014/chart" uri="{C3380CC4-5D6E-409C-BE32-E72D297353CC}">
                <c16:uniqueId val="{0000011D-2993-41DE-A2CB-63102DE87051}"/>
              </c:ext>
            </c:extLst>
          </c:dPt>
          <c:dPt>
            <c:idx val="142"/>
            <c:invertIfNegative val="1"/>
            <c:bubble3D val="0"/>
            <c:spPr>
              <a:solidFill>
                <a:srgbClr val="AEABAB"/>
              </a:solidFill>
            </c:spPr>
            <c:extLst>
              <c:ext xmlns:c16="http://schemas.microsoft.com/office/drawing/2014/chart" uri="{C3380CC4-5D6E-409C-BE32-E72D297353CC}">
                <c16:uniqueId val="{0000011F-2993-41DE-A2CB-63102DE87051}"/>
              </c:ext>
            </c:extLst>
          </c:dPt>
          <c:dPt>
            <c:idx val="143"/>
            <c:invertIfNegative val="1"/>
            <c:bubble3D val="0"/>
            <c:spPr>
              <a:solidFill>
                <a:srgbClr val="AEABAB"/>
              </a:solidFill>
            </c:spPr>
            <c:extLst>
              <c:ext xmlns:c16="http://schemas.microsoft.com/office/drawing/2014/chart" uri="{C3380CC4-5D6E-409C-BE32-E72D297353CC}">
                <c16:uniqueId val="{00000121-2993-41DE-A2CB-63102DE87051}"/>
              </c:ext>
            </c:extLst>
          </c:dPt>
          <c:dPt>
            <c:idx val="144"/>
            <c:invertIfNegative val="1"/>
            <c:bubble3D val="0"/>
            <c:spPr>
              <a:solidFill>
                <a:srgbClr val="AEABAB"/>
              </a:solidFill>
            </c:spPr>
            <c:extLst>
              <c:ext xmlns:c16="http://schemas.microsoft.com/office/drawing/2014/chart" uri="{C3380CC4-5D6E-409C-BE32-E72D297353CC}">
                <c16:uniqueId val="{00000123-2993-41DE-A2CB-63102DE87051}"/>
              </c:ext>
            </c:extLst>
          </c:dPt>
          <c:dPt>
            <c:idx val="145"/>
            <c:invertIfNegative val="1"/>
            <c:bubble3D val="0"/>
            <c:spPr>
              <a:solidFill>
                <a:srgbClr val="AEABAB"/>
              </a:solidFill>
            </c:spPr>
            <c:extLst>
              <c:ext xmlns:c16="http://schemas.microsoft.com/office/drawing/2014/chart" uri="{C3380CC4-5D6E-409C-BE32-E72D297353CC}">
                <c16:uniqueId val="{00000125-2993-41DE-A2CB-63102DE87051}"/>
              </c:ext>
            </c:extLst>
          </c:dPt>
          <c:dPt>
            <c:idx val="146"/>
            <c:invertIfNegative val="1"/>
            <c:bubble3D val="0"/>
            <c:spPr>
              <a:solidFill>
                <a:srgbClr val="AEABAB"/>
              </a:solidFill>
            </c:spPr>
            <c:extLst>
              <c:ext xmlns:c16="http://schemas.microsoft.com/office/drawing/2014/chart" uri="{C3380CC4-5D6E-409C-BE32-E72D297353CC}">
                <c16:uniqueId val="{00000127-2993-41DE-A2CB-63102DE87051}"/>
              </c:ext>
            </c:extLst>
          </c:dPt>
          <c:dPt>
            <c:idx val="147"/>
            <c:invertIfNegative val="1"/>
            <c:bubble3D val="0"/>
            <c:spPr>
              <a:solidFill>
                <a:srgbClr val="AEABAB"/>
              </a:solidFill>
            </c:spPr>
            <c:extLst>
              <c:ext xmlns:c16="http://schemas.microsoft.com/office/drawing/2014/chart" uri="{C3380CC4-5D6E-409C-BE32-E72D297353CC}">
                <c16:uniqueId val="{00000129-2993-41DE-A2CB-63102DE87051}"/>
              </c:ext>
            </c:extLst>
          </c:dPt>
          <c:dPt>
            <c:idx val="148"/>
            <c:invertIfNegative val="1"/>
            <c:bubble3D val="0"/>
            <c:spPr>
              <a:solidFill>
                <a:srgbClr val="AEABAB"/>
              </a:solidFill>
            </c:spPr>
            <c:extLst>
              <c:ext xmlns:c16="http://schemas.microsoft.com/office/drawing/2014/chart" uri="{C3380CC4-5D6E-409C-BE32-E72D297353CC}">
                <c16:uniqueId val="{0000012B-2993-41DE-A2CB-63102DE87051}"/>
              </c:ext>
            </c:extLst>
          </c:dPt>
          <c:dPt>
            <c:idx val="149"/>
            <c:invertIfNegative val="1"/>
            <c:bubble3D val="0"/>
            <c:spPr>
              <a:solidFill>
                <a:srgbClr val="AEABAB"/>
              </a:solidFill>
            </c:spPr>
            <c:extLst>
              <c:ext xmlns:c16="http://schemas.microsoft.com/office/drawing/2014/chart" uri="{C3380CC4-5D6E-409C-BE32-E72D297353CC}">
                <c16:uniqueId val="{0000012D-2993-41DE-A2CB-63102DE87051}"/>
              </c:ext>
            </c:extLst>
          </c:dPt>
          <c:dPt>
            <c:idx val="150"/>
            <c:invertIfNegative val="1"/>
            <c:bubble3D val="0"/>
            <c:spPr>
              <a:solidFill>
                <a:srgbClr val="AEABAB"/>
              </a:solidFill>
            </c:spPr>
            <c:extLst>
              <c:ext xmlns:c16="http://schemas.microsoft.com/office/drawing/2014/chart" uri="{C3380CC4-5D6E-409C-BE32-E72D297353CC}">
                <c16:uniqueId val="{0000012F-2993-41DE-A2CB-63102DE87051}"/>
              </c:ext>
            </c:extLst>
          </c:dPt>
          <c:dPt>
            <c:idx val="151"/>
            <c:invertIfNegative val="1"/>
            <c:bubble3D val="0"/>
            <c:spPr>
              <a:solidFill>
                <a:srgbClr val="AEABAB"/>
              </a:solidFill>
            </c:spPr>
            <c:extLst>
              <c:ext xmlns:c16="http://schemas.microsoft.com/office/drawing/2014/chart" uri="{C3380CC4-5D6E-409C-BE32-E72D297353CC}">
                <c16:uniqueId val="{00000131-2993-41DE-A2CB-63102DE87051}"/>
              </c:ext>
            </c:extLst>
          </c:dPt>
          <c:dPt>
            <c:idx val="152"/>
            <c:invertIfNegative val="1"/>
            <c:bubble3D val="0"/>
            <c:spPr>
              <a:solidFill>
                <a:srgbClr val="AEABAB"/>
              </a:solidFill>
            </c:spPr>
            <c:extLst>
              <c:ext xmlns:c16="http://schemas.microsoft.com/office/drawing/2014/chart" uri="{C3380CC4-5D6E-409C-BE32-E72D297353CC}">
                <c16:uniqueId val="{00000133-2993-41DE-A2CB-63102DE87051}"/>
              </c:ext>
            </c:extLst>
          </c:dPt>
          <c:dPt>
            <c:idx val="153"/>
            <c:invertIfNegative val="1"/>
            <c:bubble3D val="0"/>
            <c:spPr>
              <a:solidFill>
                <a:srgbClr val="AEABAB"/>
              </a:solidFill>
            </c:spPr>
            <c:extLst>
              <c:ext xmlns:c16="http://schemas.microsoft.com/office/drawing/2014/chart" uri="{C3380CC4-5D6E-409C-BE32-E72D297353CC}">
                <c16:uniqueId val="{00000135-2993-41DE-A2CB-63102DE87051}"/>
              </c:ext>
            </c:extLst>
          </c:dPt>
          <c:dPt>
            <c:idx val="154"/>
            <c:invertIfNegative val="1"/>
            <c:bubble3D val="0"/>
            <c:spPr>
              <a:solidFill>
                <a:srgbClr val="AEABAB"/>
              </a:solidFill>
            </c:spPr>
            <c:extLst>
              <c:ext xmlns:c16="http://schemas.microsoft.com/office/drawing/2014/chart" uri="{C3380CC4-5D6E-409C-BE32-E72D297353CC}">
                <c16:uniqueId val="{00000137-2993-41DE-A2CB-63102DE87051}"/>
              </c:ext>
            </c:extLst>
          </c:dPt>
          <c:dPt>
            <c:idx val="155"/>
            <c:invertIfNegative val="1"/>
            <c:bubble3D val="0"/>
            <c:spPr>
              <a:solidFill>
                <a:srgbClr val="AEABAB"/>
              </a:solidFill>
            </c:spPr>
            <c:extLst>
              <c:ext xmlns:c16="http://schemas.microsoft.com/office/drawing/2014/chart" uri="{C3380CC4-5D6E-409C-BE32-E72D297353CC}">
                <c16:uniqueId val="{00000139-2993-41DE-A2CB-63102DE87051}"/>
              </c:ext>
            </c:extLst>
          </c:dPt>
          <c:dPt>
            <c:idx val="156"/>
            <c:invertIfNegative val="1"/>
            <c:bubble3D val="0"/>
            <c:spPr>
              <a:solidFill>
                <a:srgbClr val="AEABAB"/>
              </a:solidFill>
            </c:spPr>
            <c:extLst>
              <c:ext xmlns:c16="http://schemas.microsoft.com/office/drawing/2014/chart" uri="{C3380CC4-5D6E-409C-BE32-E72D297353CC}">
                <c16:uniqueId val="{0000013B-2993-41DE-A2CB-63102DE87051}"/>
              </c:ext>
            </c:extLst>
          </c:dPt>
          <c:dPt>
            <c:idx val="157"/>
            <c:invertIfNegative val="1"/>
            <c:bubble3D val="0"/>
            <c:spPr>
              <a:solidFill>
                <a:srgbClr val="AEABAB"/>
              </a:solidFill>
            </c:spPr>
            <c:extLst>
              <c:ext xmlns:c16="http://schemas.microsoft.com/office/drawing/2014/chart" uri="{C3380CC4-5D6E-409C-BE32-E72D297353CC}">
                <c16:uniqueId val="{0000013D-2993-41DE-A2CB-63102DE87051}"/>
              </c:ext>
            </c:extLst>
          </c:dPt>
          <c:dPt>
            <c:idx val="158"/>
            <c:invertIfNegative val="1"/>
            <c:bubble3D val="0"/>
            <c:spPr>
              <a:solidFill>
                <a:srgbClr val="AEABAB"/>
              </a:solidFill>
            </c:spPr>
            <c:extLst>
              <c:ext xmlns:c16="http://schemas.microsoft.com/office/drawing/2014/chart" uri="{C3380CC4-5D6E-409C-BE32-E72D297353CC}">
                <c16:uniqueId val="{0000013F-2993-41DE-A2CB-63102DE87051}"/>
              </c:ext>
            </c:extLst>
          </c:dPt>
          <c:dPt>
            <c:idx val="159"/>
            <c:invertIfNegative val="1"/>
            <c:bubble3D val="0"/>
            <c:spPr>
              <a:solidFill>
                <a:srgbClr val="AEABAB"/>
              </a:solidFill>
            </c:spPr>
            <c:extLst>
              <c:ext xmlns:c16="http://schemas.microsoft.com/office/drawing/2014/chart" uri="{C3380CC4-5D6E-409C-BE32-E72D297353CC}">
                <c16:uniqueId val="{00000141-2993-41DE-A2CB-63102DE87051}"/>
              </c:ext>
            </c:extLst>
          </c:dPt>
          <c:dPt>
            <c:idx val="160"/>
            <c:invertIfNegative val="1"/>
            <c:bubble3D val="0"/>
            <c:spPr>
              <a:solidFill>
                <a:srgbClr val="AEABAB"/>
              </a:solidFill>
            </c:spPr>
            <c:extLst>
              <c:ext xmlns:c16="http://schemas.microsoft.com/office/drawing/2014/chart" uri="{C3380CC4-5D6E-409C-BE32-E72D297353CC}">
                <c16:uniqueId val="{00000143-2993-41DE-A2CB-63102DE87051}"/>
              </c:ext>
            </c:extLst>
          </c:dPt>
          <c:dPt>
            <c:idx val="161"/>
            <c:invertIfNegative val="1"/>
            <c:bubble3D val="0"/>
            <c:spPr>
              <a:solidFill>
                <a:srgbClr val="AEABAB"/>
              </a:solidFill>
            </c:spPr>
            <c:extLst>
              <c:ext xmlns:c16="http://schemas.microsoft.com/office/drawing/2014/chart" uri="{C3380CC4-5D6E-409C-BE32-E72D297353CC}">
                <c16:uniqueId val="{00000145-2993-41DE-A2CB-63102DE87051}"/>
              </c:ext>
            </c:extLst>
          </c:dPt>
          <c:dPt>
            <c:idx val="162"/>
            <c:invertIfNegative val="1"/>
            <c:bubble3D val="0"/>
            <c:spPr>
              <a:solidFill>
                <a:srgbClr val="AEABAB"/>
              </a:solidFill>
            </c:spPr>
            <c:extLst>
              <c:ext xmlns:c16="http://schemas.microsoft.com/office/drawing/2014/chart" uri="{C3380CC4-5D6E-409C-BE32-E72D297353CC}">
                <c16:uniqueId val="{00000147-2993-41DE-A2CB-63102DE87051}"/>
              </c:ext>
            </c:extLst>
          </c:dPt>
          <c:dPt>
            <c:idx val="163"/>
            <c:invertIfNegative val="1"/>
            <c:bubble3D val="0"/>
            <c:spPr>
              <a:solidFill>
                <a:srgbClr val="AEABAB"/>
              </a:solidFill>
            </c:spPr>
            <c:extLst>
              <c:ext xmlns:c16="http://schemas.microsoft.com/office/drawing/2014/chart" uri="{C3380CC4-5D6E-409C-BE32-E72D297353CC}">
                <c16:uniqueId val="{00000149-2993-41DE-A2CB-63102DE87051}"/>
              </c:ext>
            </c:extLst>
          </c:dPt>
          <c:dPt>
            <c:idx val="164"/>
            <c:invertIfNegative val="1"/>
            <c:bubble3D val="0"/>
            <c:spPr>
              <a:solidFill>
                <a:srgbClr val="AEABAB"/>
              </a:solidFill>
            </c:spPr>
            <c:extLst>
              <c:ext xmlns:c16="http://schemas.microsoft.com/office/drawing/2014/chart" uri="{C3380CC4-5D6E-409C-BE32-E72D297353CC}">
                <c16:uniqueId val="{0000014B-2993-41DE-A2CB-63102DE87051}"/>
              </c:ext>
            </c:extLst>
          </c:dPt>
          <c:dPt>
            <c:idx val="165"/>
            <c:invertIfNegative val="1"/>
            <c:bubble3D val="0"/>
            <c:spPr>
              <a:solidFill>
                <a:srgbClr val="AEABAB"/>
              </a:solidFill>
            </c:spPr>
            <c:extLst>
              <c:ext xmlns:c16="http://schemas.microsoft.com/office/drawing/2014/chart" uri="{C3380CC4-5D6E-409C-BE32-E72D297353CC}">
                <c16:uniqueId val="{0000014D-2993-41DE-A2CB-63102DE87051}"/>
              </c:ext>
            </c:extLst>
          </c:dPt>
          <c:dPt>
            <c:idx val="166"/>
            <c:invertIfNegative val="1"/>
            <c:bubble3D val="0"/>
            <c:spPr>
              <a:solidFill>
                <a:srgbClr val="AEABAB"/>
              </a:solidFill>
            </c:spPr>
            <c:extLst>
              <c:ext xmlns:c16="http://schemas.microsoft.com/office/drawing/2014/chart" uri="{C3380CC4-5D6E-409C-BE32-E72D297353CC}">
                <c16:uniqueId val="{0000014F-2993-41DE-A2CB-63102DE87051}"/>
              </c:ext>
            </c:extLst>
          </c:dPt>
          <c:dPt>
            <c:idx val="167"/>
            <c:invertIfNegative val="1"/>
            <c:bubble3D val="0"/>
            <c:spPr>
              <a:solidFill>
                <a:srgbClr val="AEABAB"/>
              </a:solidFill>
            </c:spPr>
            <c:extLst>
              <c:ext xmlns:c16="http://schemas.microsoft.com/office/drawing/2014/chart" uri="{C3380CC4-5D6E-409C-BE32-E72D297353CC}">
                <c16:uniqueId val="{00000151-2993-41DE-A2CB-63102DE87051}"/>
              </c:ext>
            </c:extLst>
          </c:dPt>
          <c:dPt>
            <c:idx val="168"/>
            <c:invertIfNegative val="1"/>
            <c:bubble3D val="0"/>
            <c:spPr>
              <a:solidFill>
                <a:srgbClr val="AEABAB"/>
              </a:solidFill>
            </c:spPr>
            <c:extLst>
              <c:ext xmlns:c16="http://schemas.microsoft.com/office/drawing/2014/chart" uri="{C3380CC4-5D6E-409C-BE32-E72D297353CC}">
                <c16:uniqueId val="{00000153-2993-41DE-A2CB-63102DE87051}"/>
              </c:ext>
            </c:extLst>
          </c:dPt>
          <c:dPt>
            <c:idx val="169"/>
            <c:invertIfNegative val="1"/>
            <c:bubble3D val="0"/>
            <c:spPr>
              <a:solidFill>
                <a:srgbClr val="AEABAB"/>
              </a:solidFill>
            </c:spPr>
            <c:extLst>
              <c:ext xmlns:c16="http://schemas.microsoft.com/office/drawing/2014/chart" uri="{C3380CC4-5D6E-409C-BE32-E72D297353CC}">
                <c16:uniqueId val="{00000155-2993-41DE-A2CB-63102DE87051}"/>
              </c:ext>
            </c:extLst>
          </c:dPt>
          <c:dPt>
            <c:idx val="170"/>
            <c:invertIfNegative val="1"/>
            <c:bubble3D val="0"/>
            <c:spPr>
              <a:solidFill>
                <a:srgbClr val="AEABAB"/>
              </a:solidFill>
            </c:spPr>
            <c:extLst>
              <c:ext xmlns:c16="http://schemas.microsoft.com/office/drawing/2014/chart" uri="{C3380CC4-5D6E-409C-BE32-E72D297353CC}">
                <c16:uniqueId val="{00000157-2993-41DE-A2CB-63102DE87051}"/>
              </c:ext>
            </c:extLst>
          </c:dPt>
          <c:dPt>
            <c:idx val="171"/>
            <c:invertIfNegative val="1"/>
            <c:bubble3D val="0"/>
            <c:spPr>
              <a:solidFill>
                <a:srgbClr val="AEABAB"/>
              </a:solidFill>
            </c:spPr>
            <c:extLst>
              <c:ext xmlns:c16="http://schemas.microsoft.com/office/drawing/2014/chart" uri="{C3380CC4-5D6E-409C-BE32-E72D297353CC}">
                <c16:uniqueId val="{00000159-2993-41DE-A2CB-63102DE87051}"/>
              </c:ext>
            </c:extLst>
          </c:dPt>
          <c:dPt>
            <c:idx val="172"/>
            <c:invertIfNegative val="1"/>
            <c:bubble3D val="0"/>
            <c:spPr>
              <a:solidFill>
                <a:srgbClr val="AEABAB"/>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dPt>
            <c:idx val="210"/>
            <c:invertIfNegative val="1"/>
            <c:bubble3D val="0"/>
            <c:spPr>
              <a:solidFill>
                <a:srgbClr val="AEABAB"/>
              </a:solidFill>
            </c:spPr>
            <c:extLst>
              <c:ext xmlns:c16="http://schemas.microsoft.com/office/drawing/2014/chart" uri="{C3380CC4-5D6E-409C-BE32-E72D297353CC}">
                <c16:uniqueId val="{000001A7-EDD4-4D2E-9ABD-C05A9F2892C8}"/>
              </c:ext>
            </c:extLst>
          </c:dPt>
          <c:dPt>
            <c:idx val="211"/>
            <c:invertIfNegative val="1"/>
            <c:bubble3D val="0"/>
            <c:spPr>
              <a:solidFill>
                <a:srgbClr val="AEABAB"/>
              </a:solidFill>
            </c:spPr>
            <c:extLst>
              <c:ext xmlns:c16="http://schemas.microsoft.com/office/drawing/2014/chart" uri="{C3380CC4-5D6E-409C-BE32-E72D297353CC}">
                <c16:uniqueId val="{000001A9-EDD4-4D2E-9ABD-C05A9F2892C8}"/>
              </c:ext>
            </c:extLst>
          </c:dPt>
          <c:dPt>
            <c:idx val="212"/>
            <c:invertIfNegative val="1"/>
            <c:bubble3D val="0"/>
            <c:spPr>
              <a:solidFill>
                <a:srgbClr val="AEABAB"/>
              </a:solidFill>
            </c:spPr>
            <c:extLst>
              <c:ext xmlns:c16="http://schemas.microsoft.com/office/drawing/2014/chart" uri="{C3380CC4-5D6E-409C-BE32-E72D297353CC}">
                <c16:uniqueId val="{000001AB-EDD4-4D2E-9ABD-C05A9F2892C8}"/>
              </c:ext>
            </c:extLst>
          </c:dPt>
          <c:dPt>
            <c:idx val="213"/>
            <c:invertIfNegative val="1"/>
            <c:bubble3D val="0"/>
            <c:spPr>
              <a:solidFill>
                <a:srgbClr val="AEABAB"/>
              </a:solidFill>
            </c:spPr>
            <c:extLst>
              <c:ext xmlns:c16="http://schemas.microsoft.com/office/drawing/2014/chart" uri="{C3380CC4-5D6E-409C-BE32-E72D297353CC}">
                <c16:uniqueId val="{000001AD-EDD4-4D2E-9ABD-C05A9F2892C8}"/>
              </c:ext>
            </c:extLst>
          </c:dPt>
          <c:dPt>
            <c:idx val="214"/>
            <c:invertIfNegative val="1"/>
            <c:bubble3D val="0"/>
            <c:spPr>
              <a:solidFill>
                <a:srgbClr val="AEABAB"/>
              </a:solidFill>
            </c:spPr>
            <c:extLst>
              <c:ext xmlns:c16="http://schemas.microsoft.com/office/drawing/2014/chart" uri="{C3380CC4-5D6E-409C-BE32-E72D297353CC}">
                <c16:uniqueId val="{000001AF-EDD4-4D2E-9ABD-C05A9F2892C8}"/>
              </c:ext>
            </c:extLst>
          </c:dPt>
          <c:dPt>
            <c:idx val="215"/>
            <c:invertIfNegative val="1"/>
            <c:bubble3D val="0"/>
            <c:spPr>
              <a:solidFill>
                <a:srgbClr val="AEABAB"/>
              </a:solidFill>
            </c:spPr>
            <c:extLst>
              <c:ext xmlns:c16="http://schemas.microsoft.com/office/drawing/2014/chart" uri="{C3380CC4-5D6E-409C-BE32-E72D297353CC}">
                <c16:uniqueId val="{000001B1-EDD4-4D2E-9ABD-C05A9F2892C8}"/>
              </c:ext>
            </c:extLst>
          </c:dPt>
          <c:dPt>
            <c:idx val="216"/>
            <c:invertIfNegative val="1"/>
            <c:bubble3D val="0"/>
            <c:spPr>
              <a:solidFill>
                <a:srgbClr val="AEABAB"/>
              </a:solidFill>
            </c:spPr>
            <c:extLst>
              <c:ext xmlns:c16="http://schemas.microsoft.com/office/drawing/2014/chart" uri="{C3380CC4-5D6E-409C-BE32-E72D297353CC}">
                <c16:uniqueId val="{000001B3-EDD4-4D2E-9ABD-C05A9F2892C8}"/>
              </c:ext>
            </c:extLst>
          </c:dPt>
          <c:dPt>
            <c:idx val="217"/>
            <c:invertIfNegative val="1"/>
            <c:bubble3D val="0"/>
            <c:spPr>
              <a:solidFill>
                <a:srgbClr val="AEABAB"/>
              </a:solidFill>
            </c:spPr>
            <c:extLst>
              <c:ext xmlns:c16="http://schemas.microsoft.com/office/drawing/2014/chart" uri="{C3380CC4-5D6E-409C-BE32-E72D297353CC}">
                <c16:uniqueId val="{000001B5-EDD4-4D2E-9ABD-C05A9F2892C8}"/>
              </c:ext>
            </c:extLst>
          </c:dPt>
          <c:dPt>
            <c:idx val="218"/>
            <c:invertIfNegative val="1"/>
            <c:bubble3D val="0"/>
            <c:spPr>
              <a:solidFill>
                <a:srgbClr val="AEABAB"/>
              </a:solidFill>
            </c:spPr>
            <c:extLst>
              <c:ext xmlns:c16="http://schemas.microsoft.com/office/drawing/2014/chart" uri="{C3380CC4-5D6E-409C-BE32-E72D297353CC}">
                <c16:uniqueId val="{000001B7-EDD4-4D2E-9ABD-C05A9F2892C8}"/>
              </c:ext>
            </c:extLst>
          </c:dPt>
          <c:dPt>
            <c:idx val="219"/>
            <c:invertIfNegative val="1"/>
            <c:bubble3D val="0"/>
            <c:spPr>
              <a:solidFill>
                <a:srgbClr val="AEABAB"/>
              </a:solidFill>
            </c:spPr>
            <c:extLst>
              <c:ext xmlns:c16="http://schemas.microsoft.com/office/drawing/2014/chart" uri="{C3380CC4-5D6E-409C-BE32-E72D297353CC}">
                <c16:uniqueId val="{000001B9-EDD4-4D2E-9ABD-C05A9F2892C8}"/>
              </c:ext>
            </c:extLst>
          </c:dPt>
          <c:dPt>
            <c:idx val="220"/>
            <c:invertIfNegative val="1"/>
            <c:bubble3D val="0"/>
            <c:spPr>
              <a:solidFill>
                <a:srgbClr val="AEABAB"/>
              </a:solidFill>
            </c:spPr>
            <c:extLst>
              <c:ext xmlns:c16="http://schemas.microsoft.com/office/drawing/2014/chart" uri="{C3380CC4-5D6E-409C-BE32-E72D297353CC}">
                <c16:uniqueId val="{000001BB-EDD4-4D2E-9ABD-C05A9F2892C8}"/>
              </c:ext>
            </c:extLst>
          </c:dPt>
          <c:dPt>
            <c:idx val="221"/>
            <c:invertIfNegative val="1"/>
            <c:bubble3D val="0"/>
            <c:spPr>
              <a:solidFill>
                <a:srgbClr val="AEABAB"/>
              </a:solidFill>
            </c:spPr>
            <c:extLst>
              <c:ext xmlns:c16="http://schemas.microsoft.com/office/drawing/2014/chart" uri="{C3380CC4-5D6E-409C-BE32-E72D297353CC}">
                <c16:uniqueId val="{000001BD-EDD4-4D2E-9ABD-C05A9F2892C8}"/>
              </c:ext>
            </c:extLst>
          </c:dPt>
          <c:dPt>
            <c:idx val="222"/>
            <c:invertIfNegative val="1"/>
            <c:bubble3D val="0"/>
            <c:spPr>
              <a:solidFill>
                <a:srgbClr val="AEABAB"/>
              </a:solidFill>
            </c:spPr>
            <c:extLst>
              <c:ext xmlns:c16="http://schemas.microsoft.com/office/drawing/2014/chart" uri="{C3380CC4-5D6E-409C-BE32-E72D297353CC}">
                <c16:uniqueId val="{000001BF-EDD4-4D2E-9ABD-C05A9F2892C8}"/>
              </c:ext>
            </c:extLst>
          </c:dPt>
          <c:dPt>
            <c:idx val="223"/>
            <c:invertIfNegative val="1"/>
            <c:bubble3D val="0"/>
            <c:spPr>
              <a:solidFill>
                <a:srgbClr val="AEABAB"/>
              </a:solidFill>
            </c:spPr>
            <c:extLst>
              <c:ext xmlns:c16="http://schemas.microsoft.com/office/drawing/2014/chart" uri="{C3380CC4-5D6E-409C-BE32-E72D297353CC}">
                <c16:uniqueId val="{000001C1-EDD4-4D2E-9ABD-C05A9F2892C8}"/>
              </c:ext>
            </c:extLst>
          </c:dPt>
          <c:dPt>
            <c:idx val="224"/>
            <c:invertIfNegative val="1"/>
            <c:bubble3D val="0"/>
            <c:spPr>
              <a:solidFill>
                <a:srgbClr val="AEABAB"/>
              </a:solidFill>
            </c:spPr>
            <c:extLst>
              <c:ext xmlns:c16="http://schemas.microsoft.com/office/drawing/2014/chart" uri="{C3380CC4-5D6E-409C-BE32-E72D297353CC}">
                <c16:uniqueId val="{000001C3-EDD4-4D2E-9ABD-C05A9F2892C8}"/>
              </c:ext>
            </c:extLst>
          </c:dPt>
          <c:dPt>
            <c:idx val="225"/>
            <c:invertIfNegative val="1"/>
            <c:bubble3D val="0"/>
            <c:spPr>
              <a:solidFill>
                <a:srgbClr val="AEABAB"/>
              </a:solidFill>
            </c:spPr>
            <c:extLst>
              <c:ext xmlns:c16="http://schemas.microsoft.com/office/drawing/2014/chart" uri="{C3380CC4-5D6E-409C-BE32-E72D297353CC}">
                <c16:uniqueId val="{000001C5-EDD4-4D2E-9ABD-C05A9F2892C8}"/>
              </c:ext>
            </c:extLst>
          </c:dPt>
          <c:dPt>
            <c:idx val="226"/>
            <c:invertIfNegative val="1"/>
            <c:bubble3D val="0"/>
            <c:spPr>
              <a:solidFill>
                <a:srgbClr val="AEABAB"/>
              </a:solidFill>
            </c:spPr>
            <c:extLst>
              <c:ext xmlns:c16="http://schemas.microsoft.com/office/drawing/2014/chart" uri="{C3380CC4-5D6E-409C-BE32-E72D297353CC}">
                <c16:uniqueId val="{000001C7-EDD4-4D2E-9ABD-C05A9F2892C8}"/>
              </c:ext>
            </c:extLst>
          </c:dPt>
          <c:dPt>
            <c:idx val="227"/>
            <c:invertIfNegative val="1"/>
            <c:bubble3D val="0"/>
            <c:spPr>
              <a:solidFill>
                <a:srgbClr val="AEABAB"/>
              </a:solidFill>
            </c:spPr>
            <c:extLst>
              <c:ext xmlns:c16="http://schemas.microsoft.com/office/drawing/2014/chart" uri="{C3380CC4-5D6E-409C-BE32-E72D297353CC}">
                <c16:uniqueId val="{000001C9-EDD4-4D2E-9ABD-C05A9F2892C8}"/>
              </c:ext>
            </c:extLst>
          </c:dPt>
          <c:dPt>
            <c:idx val="228"/>
            <c:invertIfNegative val="1"/>
            <c:bubble3D val="0"/>
            <c:spPr>
              <a:solidFill>
                <a:srgbClr val="AEABAB"/>
              </a:solidFill>
            </c:spPr>
            <c:extLst>
              <c:ext xmlns:c16="http://schemas.microsoft.com/office/drawing/2014/chart" uri="{C3380CC4-5D6E-409C-BE32-E72D297353CC}">
                <c16:uniqueId val="{000001CB-EDD4-4D2E-9ABD-C05A9F2892C8}"/>
              </c:ext>
            </c:extLst>
          </c:dPt>
          <c:dPt>
            <c:idx val="229"/>
            <c:invertIfNegative val="1"/>
            <c:bubble3D val="0"/>
            <c:spPr>
              <a:solidFill>
                <a:srgbClr val="AEABAB"/>
              </a:solidFill>
            </c:spPr>
            <c:extLst>
              <c:ext xmlns:c16="http://schemas.microsoft.com/office/drawing/2014/chart" uri="{C3380CC4-5D6E-409C-BE32-E72D297353CC}">
                <c16:uniqueId val="{000001CD-EDD4-4D2E-9ABD-C05A9F2892C8}"/>
              </c:ext>
            </c:extLst>
          </c:dPt>
          <c:dPt>
            <c:idx val="230"/>
            <c:invertIfNegative val="1"/>
            <c:bubble3D val="0"/>
            <c:spPr>
              <a:solidFill>
                <a:srgbClr val="AEABAB"/>
              </a:solidFill>
            </c:spPr>
            <c:extLst>
              <c:ext xmlns:c16="http://schemas.microsoft.com/office/drawing/2014/chart" uri="{C3380CC4-5D6E-409C-BE32-E72D297353CC}">
                <c16:uniqueId val="{000001CF-EDD4-4D2E-9ABD-C05A9F2892C8}"/>
              </c:ext>
            </c:extLst>
          </c:dPt>
          <c:dPt>
            <c:idx val="231"/>
            <c:invertIfNegative val="1"/>
            <c:bubble3D val="0"/>
            <c:spPr>
              <a:solidFill>
                <a:srgbClr val="AEABAB"/>
              </a:solidFill>
            </c:spPr>
            <c:extLst>
              <c:ext xmlns:c16="http://schemas.microsoft.com/office/drawing/2014/chart" uri="{C3380CC4-5D6E-409C-BE32-E72D297353CC}">
                <c16:uniqueId val="{000001D1-EDD4-4D2E-9ABD-C05A9F2892C8}"/>
              </c:ext>
            </c:extLst>
          </c:dPt>
          <c:dPt>
            <c:idx val="232"/>
            <c:invertIfNegative val="1"/>
            <c:bubble3D val="0"/>
            <c:spPr>
              <a:solidFill>
                <a:srgbClr val="AEABAB"/>
              </a:solidFill>
            </c:spPr>
            <c:extLst>
              <c:ext xmlns:c16="http://schemas.microsoft.com/office/drawing/2014/chart" uri="{C3380CC4-5D6E-409C-BE32-E72D297353CC}">
                <c16:uniqueId val="{000001D3-EDD4-4D2E-9ABD-C05A9F2892C8}"/>
              </c:ext>
            </c:extLst>
          </c:dPt>
          <c:dPt>
            <c:idx val="233"/>
            <c:invertIfNegative val="1"/>
            <c:bubble3D val="0"/>
            <c:spPr>
              <a:solidFill>
                <a:srgbClr val="AEABAB"/>
              </a:solidFill>
            </c:spPr>
            <c:extLst>
              <c:ext xmlns:c16="http://schemas.microsoft.com/office/drawing/2014/chart" uri="{C3380CC4-5D6E-409C-BE32-E72D297353CC}">
                <c16:uniqueId val="{000001D5-EDD4-4D2E-9ABD-C05A9F2892C8}"/>
              </c:ext>
            </c:extLst>
          </c:dPt>
          <c:dPt>
            <c:idx val="234"/>
            <c:invertIfNegative val="1"/>
            <c:bubble3D val="0"/>
            <c:spPr>
              <a:solidFill>
                <a:srgbClr val="AEABAB"/>
              </a:solidFill>
            </c:spPr>
            <c:extLst>
              <c:ext xmlns:c16="http://schemas.microsoft.com/office/drawing/2014/chart" uri="{C3380CC4-5D6E-409C-BE32-E72D297353CC}">
                <c16:uniqueId val="{000001D7-EDD4-4D2E-9ABD-C05A9F2892C8}"/>
              </c:ext>
            </c:extLst>
          </c:dPt>
          <c:dPt>
            <c:idx val="235"/>
            <c:invertIfNegative val="1"/>
            <c:bubble3D val="0"/>
            <c:spPr>
              <a:solidFill>
                <a:srgbClr val="AEABAB"/>
              </a:solidFill>
            </c:spPr>
            <c:extLst>
              <c:ext xmlns:c16="http://schemas.microsoft.com/office/drawing/2014/chart" uri="{C3380CC4-5D6E-409C-BE32-E72D297353CC}">
                <c16:uniqueId val="{000001D9-EDD4-4D2E-9ABD-C05A9F2892C8}"/>
              </c:ext>
            </c:extLst>
          </c:dPt>
          <c:dPt>
            <c:idx val="236"/>
            <c:invertIfNegative val="1"/>
            <c:bubble3D val="0"/>
            <c:spPr>
              <a:solidFill>
                <a:srgbClr val="AEABAB"/>
              </a:solidFill>
            </c:spPr>
            <c:extLst>
              <c:ext xmlns:c16="http://schemas.microsoft.com/office/drawing/2014/chart" uri="{C3380CC4-5D6E-409C-BE32-E72D297353CC}">
                <c16:uniqueId val="{000001DB-EDD4-4D2E-9ABD-C05A9F2892C8}"/>
              </c:ext>
            </c:extLst>
          </c:dPt>
          <c:dPt>
            <c:idx val="237"/>
            <c:invertIfNegative val="1"/>
            <c:bubble3D val="0"/>
            <c:spPr>
              <a:solidFill>
                <a:srgbClr val="AEABAB"/>
              </a:solidFill>
            </c:spPr>
            <c:extLst>
              <c:ext xmlns:c16="http://schemas.microsoft.com/office/drawing/2014/chart" uri="{C3380CC4-5D6E-409C-BE32-E72D297353CC}">
                <c16:uniqueId val="{000001DD-EDD4-4D2E-9ABD-C05A9F2892C8}"/>
              </c:ext>
            </c:extLst>
          </c:dPt>
          <c:dPt>
            <c:idx val="238"/>
            <c:invertIfNegative val="1"/>
            <c:bubble3D val="0"/>
            <c:spPr>
              <a:solidFill>
                <a:srgbClr val="AEABAB"/>
              </a:solidFill>
            </c:spPr>
            <c:extLst>
              <c:ext xmlns:c16="http://schemas.microsoft.com/office/drawing/2014/chart" uri="{C3380CC4-5D6E-409C-BE32-E72D297353CC}">
                <c16:uniqueId val="{000001DF-EDD4-4D2E-9ABD-C05A9F2892C8}"/>
              </c:ext>
            </c:extLst>
          </c:dPt>
          <c:dPt>
            <c:idx val="239"/>
            <c:invertIfNegative val="1"/>
            <c:bubble3D val="0"/>
            <c:spPr>
              <a:solidFill>
                <a:srgbClr val="AEABAB"/>
              </a:solidFill>
            </c:spPr>
            <c:extLst>
              <c:ext xmlns:c16="http://schemas.microsoft.com/office/drawing/2014/chart" uri="{C3380CC4-5D6E-409C-BE32-E72D297353CC}">
                <c16:uniqueId val="{000001E1-EDD4-4D2E-9ABD-C05A9F2892C8}"/>
              </c:ext>
            </c:extLst>
          </c:dPt>
          <c:dPt>
            <c:idx val="240"/>
            <c:invertIfNegative val="1"/>
            <c:bubble3D val="0"/>
            <c:spPr>
              <a:solidFill>
                <a:srgbClr val="AEABAB"/>
              </a:solidFill>
            </c:spPr>
            <c:extLst>
              <c:ext xmlns:c16="http://schemas.microsoft.com/office/drawing/2014/chart" uri="{C3380CC4-5D6E-409C-BE32-E72D297353CC}">
                <c16:uniqueId val="{000001E3-EDD4-4D2E-9ABD-C05A9F2892C8}"/>
              </c:ext>
            </c:extLst>
          </c:dPt>
          <c:dPt>
            <c:idx val="241"/>
            <c:invertIfNegative val="1"/>
            <c:bubble3D val="0"/>
            <c:spPr>
              <a:solidFill>
                <a:srgbClr val="AEABAB"/>
              </a:solidFill>
            </c:spPr>
            <c:extLst>
              <c:ext xmlns:c16="http://schemas.microsoft.com/office/drawing/2014/chart" uri="{C3380CC4-5D6E-409C-BE32-E72D297353CC}">
                <c16:uniqueId val="{000001E5-EDD4-4D2E-9ABD-C05A9F2892C8}"/>
              </c:ext>
            </c:extLst>
          </c:dPt>
          <c:dPt>
            <c:idx val="242"/>
            <c:invertIfNegative val="1"/>
            <c:bubble3D val="0"/>
            <c:spPr>
              <a:solidFill>
                <a:srgbClr val="AEABAB"/>
              </a:solidFill>
            </c:spPr>
            <c:extLst>
              <c:ext xmlns:c16="http://schemas.microsoft.com/office/drawing/2014/chart" uri="{C3380CC4-5D6E-409C-BE32-E72D297353CC}">
                <c16:uniqueId val="{000001E7-EDD4-4D2E-9ABD-C05A9F2892C8}"/>
              </c:ext>
            </c:extLst>
          </c:dPt>
          <c:dPt>
            <c:idx val="243"/>
            <c:invertIfNegative val="1"/>
            <c:bubble3D val="0"/>
            <c:spPr>
              <a:solidFill>
                <a:srgbClr val="AEABAB"/>
              </a:solidFill>
            </c:spPr>
            <c:extLst>
              <c:ext xmlns:c16="http://schemas.microsoft.com/office/drawing/2014/chart" uri="{C3380CC4-5D6E-409C-BE32-E72D297353CC}">
                <c16:uniqueId val="{000001E9-EDD4-4D2E-9ABD-C05A9F2892C8}"/>
              </c:ext>
            </c:extLst>
          </c:dPt>
          <c:dPt>
            <c:idx val="244"/>
            <c:invertIfNegative val="1"/>
            <c:bubble3D val="0"/>
            <c:spPr>
              <a:solidFill>
                <a:srgbClr val="AEABAB"/>
              </a:solidFill>
            </c:spPr>
            <c:extLst>
              <c:ext xmlns:c16="http://schemas.microsoft.com/office/drawing/2014/chart" uri="{C3380CC4-5D6E-409C-BE32-E72D297353CC}">
                <c16:uniqueId val="{000001EB-EDD4-4D2E-9ABD-C05A9F2892C8}"/>
              </c:ext>
            </c:extLst>
          </c:dPt>
          <c:dPt>
            <c:idx val="245"/>
            <c:invertIfNegative val="1"/>
            <c:bubble3D val="0"/>
            <c:spPr>
              <a:solidFill>
                <a:srgbClr val="AEABAB"/>
              </a:solidFill>
            </c:spPr>
            <c:extLst>
              <c:ext xmlns:c16="http://schemas.microsoft.com/office/drawing/2014/chart" uri="{C3380CC4-5D6E-409C-BE32-E72D297353CC}">
                <c16:uniqueId val="{000001ED-EDD4-4D2E-9ABD-C05A9F2892C8}"/>
              </c:ext>
            </c:extLst>
          </c:dPt>
          <c:dPt>
            <c:idx val="246"/>
            <c:invertIfNegative val="1"/>
            <c:bubble3D val="0"/>
            <c:spPr>
              <a:solidFill>
                <a:srgbClr val="AEABAB"/>
              </a:solidFill>
            </c:spPr>
            <c:extLst>
              <c:ext xmlns:c16="http://schemas.microsoft.com/office/drawing/2014/chart" uri="{C3380CC4-5D6E-409C-BE32-E72D297353CC}">
                <c16:uniqueId val="{000001EF-EDD4-4D2E-9ABD-C05A9F2892C8}"/>
              </c:ext>
            </c:extLst>
          </c:dPt>
          <c:dPt>
            <c:idx val="247"/>
            <c:invertIfNegative val="1"/>
            <c:bubble3D val="0"/>
            <c:spPr>
              <a:solidFill>
                <a:srgbClr val="AEABAB"/>
              </a:solidFill>
            </c:spPr>
            <c:extLst>
              <c:ext xmlns:c16="http://schemas.microsoft.com/office/drawing/2014/chart" uri="{C3380CC4-5D6E-409C-BE32-E72D297353CC}">
                <c16:uniqueId val="{000001F1-EDD4-4D2E-9ABD-C05A9F2892C8}"/>
              </c:ext>
            </c:extLst>
          </c:dPt>
          <c:dPt>
            <c:idx val="248"/>
            <c:invertIfNegative val="1"/>
            <c:bubble3D val="0"/>
            <c:spPr>
              <a:solidFill>
                <a:srgbClr val="AEABAB"/>
              </a:solidFill>
            </c:spPr>
            <c:extLst>
              <c:ext xmlns:c16="http://schemas.microsoft.com/office/drawing/2014/chart" uri="{C3380CC4-5D6E-409C-BE32-E72D297353CC}">
                <c16:uniqueId val="{000001F3-EDD4-4D2E-9ABD-C05A9F2892C8}"/>
              </c:ext>
            </c:extLst>
          </c:dPt>
          <c:dPt>
            <c:idx val="249"/>
            <c:invertIfNegative val="1"/>
            <c:bubble3D val="0"/>
            <c:spPr>
              <a:solidFill>
                <a:srgbClr val="AEABAB"/>
              </a:solidFill>
            </c:spPr>
            <c:extLst>
              <c:ext xmlns:c16="http://schemas.microsoft.com/office/drawing/2014/chart" uri="{C3380CC4-5D6E-409C-BE32-E72D297353CC}">
                <c16:uniqueId val="{000001F5-EDD4-4D2E-9ABD-C05A9F2892C8}"/>
              </c:ext>
            </c:extLst>
          </c:dPt>
          <c:dPt>
            <c:idx val="250"/>
            <c:invertIfNegative val="1"/>
            <c:bubble3D val="0"/>
            <c:spPr>
              <a:solidFill>
                <a:srgbClr val="AEABAB"/>
              </a:solidFill>
            </c:spPr>
            <c:extLst>
              <c:ext xmlns:c16="http://schemas.microsoft.com/office/drawing/2014/chart" uri="{C3380CC4-5D6E-409C-BE32-E72D297353CC}">
                <c16:uniqueId val="{000001F7-EDD4-4D2E-9ABD-C05A9F2892C8}"/>
              </c:ext>
            </c:extLst>
          </c:dPt>
          <c:dPt>
            <c:idx val="251"/>
            <c:invertIfNegative val="1"/>
            <c:bubble3D val="0"/>
            <c:spPr>
              <a:solidFill>
                <a:srgbClr val="AEABAB"/>
              </a:solidFill>
            </c:spPr>
            <c:extLst>
              <c:ext xmlns:c16="http://schemas.microsoft.com/office/drawing/2014/chart" uri="{C3380CC4-5D6E-409C-BE32-E72D297353CC}">
                <c16:uniqueId val="{000001F9-EDD4-4D2E-9ABD-C05A9F2892C8}"/>
              </c:ext>
            </c:extLst>
          </c:dPt>
          <c:dPt>
            <c:idx val="252"/>
            <c:invertIfNegative val="1"/>
            <c:bubble3D val="0"/>
            <c:spPr>
              <a:solidFill>
                <a:srgbClr val="AEABAB"/>
              </a:solidFill>
            </c:spPr>
            <c:extLst>
              <c:ext xmlns:c16="http://schemas.microsoft.com/office/drawing/2014/chart" uri="{C3380CC4-5D6E-409C-BE32-E72D297353CC}">
                <c16:uniqueId val="{000001FB-EDD4-4D2E-9ABD-C05A9F2892C8}"/>
              </c:ext>
            </c:extLst>
          </c:dPt>
          <c:dPt>
            <c:idx val="253"/>
            <c:invertIfNegative val="1"/>
            <c:bubble3D val="0"/>
            <c:spPr>
              <a:solidFill>
                <a:srgbClr val="AEABAB"/>
              </a:solidFill>
            </c:spPr>
            <c:extLst>
              <c:ext xmlns:c16="http://schemas.microsoft.com/office/drawing/2014/chart" uri="{C3380CC4-5D6E-409C-BE32-E72D297353CC}">
                <c16:uniqueId val="{000001FD-EDD4-4D2E-9ABD-C05A9F2892C8}"/>
              </c:ext>
            </c:extLst>
          </c:dPt>
          <c:dPt>
            <c:idx val="254"/>
            <c:invertIfNegative val="1"/>
            <c:bubble3D val="0"/>
            <c:spPr>
              <a:solidFill>
                <a:srgbClr val="AEABAB"/>
              </a:solidFill>
            </c:spPr>
            <c:extLst>
              <c:ext xmlns:c16="http://schemas.microsoft.com/office/drawing/2014/chart" uri="{C3380CC4-5D6E-409C-BE32-E72D297353CC}">
                <c16:uniqueId val="{000001FF-EDD4-4D2E-9ABD-C05A9F2892C8}"/>
              </c:ext>
            </c:extLst>
          </c:dPt>
          <c:dPt>
            <c:idx val="255"/>
            <c:invertIfNegative val="1"/>
            <c:bubble3D val="0"/>
            <c:spPr>
              <a:solidFill>
                <a:srgbClr val="AEABAB"/>
              </a:solidFill>
            </c:spPr>
            <c:extLst>
              <c:ext xmlns:c16="http://schemas.microsoft.com/office/drawing/2014/chart" uri="{C3380CC4-5D6E-409C-BE32-E72D297353CC}">
                <c16:uniqueId val="{00000201-EDD4-4D2E-9ABD-C05A9F2892C8}"/>
              </c:ext>
            </c:extLst>
          </c:dPt>
          <c:dPt>
            <c:idx val="256"/>
            <c:invertIfNegative val="1"/>
            <c:bubble3D val="0"/>
            <c:spPr>
              <a:solidFill>
                <a:srgbClr val="AEABAB"/>
              </a:solidFill>
            </c:spPr>
            <c:extLst>
              <c:ext xmlns:c16="http://schemas.microsoft.com/office/drawing/2014/chart" uri="{C3380CC4-5D6E-409C-BE32-E72D297353CC}">
                <c16:uniqueId val="{00000203-EDD4-4D2E-9ABD-C05A9F2892C8}"/>
              </c:ext>
            </c:extLst>
          </c:dPt>
          <c:dPt>
            <c:idx val="257"/>
            <c:invertIfNegative val="1"/>
            <c:bubble3D val="0"/>
            <c:spPr>
              <a:solidFill>
                <a:srgbClr val="AEABAB"/>
              </a:solidFill>
            </c:spPr>
            <c:extLst>
              <c:ext xmlns:c16="http://schemas.microsoft.com/office/drawing/2014/chart" uri="{C3380CC4-5D6E-409C-BE32-E72D297353CC}">
                <c16:uniqueId val="{00000205-EDD4-4D2E-9ABD-C05A9F2892C8}"/>
              </c:ext>
            </c:extLst>
          </c:dPt>
          <c:dPt>
            <c:idx val="258"/>
            <c:invertIfNegative val="1"/>
            <c:bubble3D val="0"/>
            <c:spPr>
              <a:solidFill>
                <a:srgbClr val="AEABAB"/>
              </a:solidFill>
            </c:spPr>
            <c:extLst>
              <c:ext xmlns:c16="http://schemas.microsoft.com/office/drawing/2014/chart" uri="{C3380CC4-5D6E-409C-BE32-E72D297353CC}">
                <c16:uniqueId val="{00000207-EDD4-4D2E-9ABD-C05A9F2892C8}"/>
              </c:ext>
            </c:extLst>
          </c:dPt>
          <c:dPt>
            <c:idx val="259"/>
            <c:invertIfNegative val="1"/>
            <c:bubble3D val="0"/>
            <c:spPr>
              <a:solidFill>
                <a:srgbClr val="AEABAB"/>
              </a:solidFill>
            </c:spPr>
            <c:extLst>
              <c:ext xmlns:c16="http://schemas.microsoft.com/office/drawing/2014/chart" uri="{C3380CC4-5D6E-409C-BE32-E72D297353CC}">
                <c16:uniqueId val="{00000209-EDD4-4D2E-9ABD-C05A9F2892C8}"/>
              </c:ext>
            </c:extLst>
          </c:dPt>
          <c:dPt>
            <c:idx val="260"/>
            <c:invertIfNegative val="1"/>
            <c:bubble3D val="0"/>
            <c:spPr>
              <a:solidFill>
                <a:srgbClr val="AEABAB"/>
              </a:solidFill>
            </c:spPr>
            <c:extLst>
              <c:ext xmlns:c16="http://schemas.microsoft.com/office/drawing/2014/chart" uri="{C3380CC4-5D6E-409C-BE32-E72D297353CC}">
                <c16:uniqueId val="{0000020B-EDD4-4D2E-9ABD-C05A9F2892C8}"/>
              </c:ext>
            </c:extLst>
          </c:dPt>
          <c:dPt>
            <c:idx val="261"/>
            <c:invertIfNegative val="1"/>
            <c:bubble3D val="0"/>
            <c:spPr>
              <a:solidFill>
                <a:srgbClr val="AEABAB"/>
              </a:solidFill>
            </c:spPr>
            <c:extLst>
              <c:ext xmlns:c16="http://schemas.microsoft.com/office/drawing/2014/chart" uri="{C3380CC4-5D6E-409C-BE32-E72D297353CC}">
                <c16:uniqueId val="{0000020D-EDD4-4D2E-9ABD-C05A9F2892C8}"/>
              </c:ext>
            </c:extLst>
          </c:dPt>
          <c:dPt>
            <c:idx val="262"/>
            <c:invertIfNegative val="1"/>
            <c:bubble3D val="0"/>
            <c:spPr>
              <a:solidFill>
                <a:srgbClr val="AEABAB"/>
              </a:solidFill>
            </c:spPr>
            <c:extLst>
              <c:ext xmlns:c16="http://schemas.microsoft.com/office/drawing/2014/chart" uri="{C3380CC4-5D6E-409C-BE32-E72D297353CC}">
                <c16:uniqueId val="{0000020F-EDD4-4D2E-9ABD-C05A9F2892C8}"/>
              </c:ext>
            </c:extLst>
          </c:dPt>
          <c:dPt>
            <c:idx val="263"/>
            <c:invertIfNegative val="1"/>
            <c:bubble3D val="0"/>
            <c:spPr>
              <a:solidFill>
                <a:srgbClr val="AEABAB"/>
              </a:solidFill>
            </c:spPr>
            <c:extLst>
              <c:ext xmlns:c16="http://schemas.microsoft.com/office/drawing/2014/chart" uri="{C3380CC4-5D6E-409C-BE32-E72D297353CC}">
                <c16:uniqueId val="{00000211-EDD4-4D2E-9ABD-C05A9F2892C8}"/>
              </c:ext>
            </c:extLst>
          </c:dPt>
          <c:dPt>
            <c:idx val="264"/>
            <c:invertIfNegative val="1"/>
            <c:bubble3D val="0"/>
            <c:spPr>
              <a:solidFill>
                <a:srgbClr val="AEABAB"/>
              </a:solidFill>
            </c:spPr>
            <c:extLst>
              <c:ext xmlns:c16="http://schemas.microsoft.com/office/drawing/2014/chart" uri="{C3380CC4-5D6E-409C-BE32-E72D297353CC}">
                <c16:uniqueId val="{00000213-EDD4-4D2E-9ABD-C05A9F2892C8}"/>
              </c:ext>
            </c:extLst>
          </c:dPt>
          <c:dPt>
            <c:idx val="265"/>
            <c:invertIfNegative val="1"/>
            <c:bubble3D val="0"/>
            <c:spPr>
              <a:solidFill>
                <a:srgbClr val="AEABAB"/>
              </a:solidFill>
            </c:spPr>
            <c:extLst>
              <c:ext xmlns:c16="http://schemas.microsoft.com/office/drawing/2014/chart" uri="{C3380CC4-5D6E-409C-BE32-E72D297353CC}">
                <c16:uniqueId val="{00000215-EDD4-4D2E-9ABD-C05A9F2892C8}"/>
              </c:ext>
            </c:extLst>
          </c:dPt>
          <c:dPt>
            <c:idx val="266"/>
            <c:invertIfNegative val="1"/>
            <c:bubble3D val="0"/>
            <c:spPr>
              <a:solidFill>
                <a:srgbClr val="AEABAB"/>
              </a:solidFill>
            </c:spPr>
            <c:extLst>
              <c:ext xmlns:c16="http://schemas.microsoft.com/office/drawing/2014/chart" uri="{C3380CC4-5D6E-409C-BE32-E72D297353CC}">
                <c16:uniqueId val="{00000217-EDD4-4D2E-9ABD-C05A9F2892C8}"/>
              </c:ext>
            </c:extLst>
          </c:dPt>
          <c:dPt>
            <c:idx val="267"/>
            <c:invertIfNegative val="1"/>
            <c:bubble3D val="0"/>
            <c:spPr>
              <a:solidFill>
                <a:srgbClr val="AEABAB"/>
              </a:solidFill>
            </c:spPr>
            <c:extLst>
              <c:ext xmlns:c16="http://schemas.microsoft.com/office/drawing/2014/chart" uri="{C3380CC4-5D6E-409C-BE32-E72D297353CC}">
                <c16:uniqueId val="{00000219-EDD4-4D2E-9ABD-C05A9F2892C8}"/>
              </c:ext>
            </c:extLst>
          </c:dPt>
          <c:dPt>
            <c:idx val="268"/>
            <c:invertIfNegative val="1"/>
            <c:bubble3D val="0"/>
            <c:spPr>
              <a:solidFill>
                <a:srgbClr val="AEABAB"/>
              </a:solidFill>
            </c:spPr>
            <c:extLst>
              <c:ext xmlns:c16="http://schemas.microsoft.com/office/drawing/2014/chart" uri="{C3380CC4-5D6E-409C-BE32-E72D297353CC}">
                <c16:uniqueId val="{0000021B-EDD4-4D2E-9ABD-C05A9F2892C8}"/>
              </c:ext>
            </c:extLst>
          </c:dPt>
          <c:dPt>
            <c:idx val="269"/>
            <c:invertIfNegative val="1"/>
            <c:bubble3D val="0"/>
            <c:spPr>
              <a:solidFill>
                <a:srgbClr val="AEABAB"/>
              </a:solidFill>
            </c:spPr>
            <c:extLst>
              <c:ext xmlns:c16="http://schemas.microsoft.com/office/drawing/2014/chart" uri="{C3380CC4-5D6E-409C-BE32-E72D297353CC}">
                <c16:uniqueId val="{0000021D-EDD4-4D2E-9ABD-C05A9F2892C8}"/>
              </c:ext>
            </c:extLst>
          </c:dPt>
          <c:dPt>
            <c:idx val="270"/>
            <c:invertIfNegative val="1"/>
            <c:bubble3D val="0"/>
            <c:spPr>
              <a:solidFill>
                <a:srgbClr val="AEABAB"/>
              </a:solidFill>
            </c:spPr>
            <c:extLst>
              <c:ext xmlns:c16="http://schemas.microsoft.com/office/drawing/2014/chart" uri="{C3380CC4-5D6E-409C-BE32-E72D297353CC}">
                <c16:uniqueId val="{0000021F-EDD4-4D2E-9ABD-C05A9F2892C8}"/>
              </c:ext>
            </c:extLst>
          </c:dPt>
          <c:dPt>
            <c:idx val="271"/>
            <c:invertIfNegative val="1"/>
            <c:bubble3D val="0"/>
            <c:spPr>
              <a:solidFill>
                <a:srgbClr val="AEABAB"/>
              </a:solidFill>
            </c:spPr>
            <c:extLst>
              <c:ext xmlns:c16="http://schemas.microsoft.com/office/drawing/2014/chart" uri="{C3380CC4-5D6E-409C-BE32-E72D297353CC}">
                <c16:uniqueId val="{00000221-EDD4-4D2E-9ABD-C05A9F2892C8}"/>
              </c:ext>
            </c:extLst>
          </c:dPt>
          <c:dPt>
            <c:idx val="272"/>
            <c:invertIfNegative val="1"/>
            <c:bubble3D val="0"/>
            <c:spPr>
              <a:solidFill>
                <a:srgbClr val="AEABAB"/>
              </a:solidFill>
            </c:spPr>
            <c:extLst>
              <c:ext xmlns:c16="http://schemas.microsoft.com/office/drawing/2014/chart" uri="{C3380CC4-5D6E-409C-BE32-E72D297353CC}">
                <c16:uniqueId val="{00000223-EDD4-4D2E-9ABD-C05A9F2892C8}"/>
              </c:ext>
            </c:extLst>
          </c:dPt>
          <c:dPt>
            <c:idx val="273"/>
            <c:invertIfNegative val="1"/>
            <c:bubble3D val="0"/>
            <c:spPr>
              <a:solidFill>
                <a:srgbClr val="AEABAB"/>
              </a:solidFill>
            </c:spPr>
            <c:extLst>
              <c:ext xmlns:c16="http://schemas.microsoft.com/office/drawing/2014/chart" uri="{C3380CC4-5D6E-409C-BE32-E72D297353CC}">
                <c16:uniqueId val="{00000225-EDD4-4D2E-9ABD-C05A9F2892C8}"/>
              </c:ext>
            </c:extLst>
          </c:dPt>
          <c:cat>
            <c:strRef>
              <c:f>Sheet1!$A$2:$A$275</c:f>
              <c:strCache>
                <c:ptCount val="274"/>
                <c:pt idx="0">
                  <c:v>Ruinart</c:v>
                </c:pt>
                <c:pt idx="1">
                  <c:v>Ruinart</c:v>
                </c:pt>
                <c:pt idx="2">
                  <c:v>Nicolas</c:v>
                </c:pt>
                <c:pt idx="3">
                  <c:v>Deutz</c:v>
                </c:pt>
                <c:pt idx="4">
                  <c:v>Ruinart</c:v>
                </c:pt>
                <c:pt idx="5">
                  <c:v>Ruinart</c:v>
                </c:pt>
                <c:pt idx="6">
                  <c:v>Heidsieck &amp;</c:v>
                </c:pt>
                <c:pt idx="7">
                  <c:v>De Bligny</c:v>
                </c:pt>
                <c:pt idx="8">
                  <c:v>Malard</c:v>
                </c:pt>
                <c:pt idx="9">
                  <c:v>Nicolas Feu</c:v>
                </c:pt>
                <c:pt idx="10">
                  <c:v>Laurent Per</c:v>
                </c:pt>
                <c:pt idx="11">
                  <c:v>Taittinger</c:v>
                </c:pt>
                <c:pt idx="12">
                  <c:v>Canard Duch</c:v>
                </c:pt>
                <c:pt idx="13">
                  <c:v>Ruinart</c:v>
                </c:pt>
                <c:pt idx="14">
                  <c:v>Ruinart</c:v>
                </c:pt>
                <c:pt idx="15">
                  <c:v>Ayala</c:v>
                </c:pt>
                <c:pt idx="16">
                  <c:v>Bollinger</c:v>
                </c:pt>
                <c:pt idx="17">
                  <c:v>Dom Perigno</c:v>
                </c:pt>
                <c:pt idx="18">
                  <c:v>Deutz</c:v>
                </c:pt>
                <c:pt idx="19">
                  <c:v>Ruinart</c:v>
                </c:pt>
                <c:pt idx="20">
                  <c:v>Demoiselle</c:v>
                </c:pt>
                <c:pt idx="21">
                  <c:v>Besserat De</c:v>
                </c:pt>
                <c:pt idx="22">
                  <c:v>Savian</c:v>
                </c:pt>
                <c:pt idx="23">
                  <c:v>Deutz</c:v>
                </c:pt>
                <c:pt idx="24">
                  <c:v>Taittinger</c:v>
                </c:pt>
                <c:pt idx="25">
                  <c:v>Ruinart</c:v>
                </c:pt>
                <c:pt idx="26">
                  <c:v>Ruinart</c:v>
                </c:pt>
                <c:pt idx="27">
                  <c:v>Laurent Per</c:v>
                </c:pt>
                <c:pt idx="28">
                  <c:v>Perrier Jou</c:v>
                </c:pt>
                <c:pt idx="29">
                  <c:v>Campari: Al</c:v>
                </c:pt>
                <c:pt idx="30">
                  <c:v>Roederer</c:v>
                </c:pt>
                <c:pt idx="31">
                  <c:v>Dom Perigno</c:v>
                </c:pt>
                <c:pt idx="32">
                  <c:v>Demoiselle</c:v>
                </c:pt>
                <c:pt idx="33">
                  <c:v>Malard</c:v>
                </c:pt>
                <c:pt idx="34">
                  <c:v>Moët &amp; Chan</c:v>
                </c:pt>
                <c:pt idx="35">
                  <c:v>Vesselle</c:v>
                </c:pt>
                <c:pt idx="36">
                  <c:v>All Others</c:v>
                </c:pt>
                <c:pt idx="37">
                  <c:v>Pommery</c:v>
                </c:pt>
                <c:pt idx="38">
                  <c:v>Laurent Per</c:v>
                </c:pt>
                <c:pt idx="39">
                  <c:v>Nicolas</c:v>
                </c:pt>
                <c:pt idx="40">
                  <c:v>Roederer</c:v>
                </c:pt>
                <c:pt idx="41">
                  <c:v>Besserat De</c:v>
                </c:pt>
                <c:pt idx="42">
                  <c:v>Veuve Clicq</c:v>
                </c:pt>
                <c:pt idx="43">
                  <c:v>Moët &amp; Chan</c:v>
                </c:pt>
                <c:pt idx="44">
                  <c:v>Veuve Clicq</c:v>
                </c:pt>
                <c:pt idx="45">
                  <c:v>Nicolas Feu</c:v>
                </c:pt>
                <c:pt idx="46">
                  <c:v>Ruinart</c:v>
                </c:pt>
                <c:pt idx="47">
                  <c:v>Nicolas</c:v>
                </c:pt>
                <c:pt idx="48">
                  <c:v>Veuve Clicq</c:v>
                </c:pt>
                <c:pt idx="49">
                  <c:v>All Others</c:v>
                </c:pt>
                <c:pt idx="50">
                  <c:v>De Venoge</c:v>
                </c:pt>
                <c:pt idx="51">
                  <c:v>Nicolas Feu</c:v>
                </c:pt>
                <c:pt idx="52">
                  <c:v>Henriot</c:v>
                </c:pt>
                <c:pt idx="53">
                  <c:v>Ruinart</c:v>
                </c:pt>
                <c:pt idx="54">
                  <c:v>Ayala</c:v>
                </c:pt>
                <c:pt idx="55">
                  <c:v>Ruinart</c:v>
                </c:pt>
                <c:pt idx="56">
                  <c:v>Malard</c:v>
                </c:pt>
                <c:pt idx="57">
                  <c:v>Nicolas</c:v>
                </c:pt>
                <c:pt idx="58">
                  <c:v>Vranken</c:v>
                </c:pt>
                <c:pt idx="59">
                  <c:v>Lanson</c:v>
                </c:pt>
                <c:pt idx="60">
                  <c:v>Malard</c:v>
                </c:pt>
                <c:pt idx="61">
                  <c:v>De Venoge</c:v>
                </c:pt>
                <c:pt idx="62">
                  <c:v>Canard Duch</c:v>
                </c:pt>
                <c:pt idx="63">
                  <c:v>Roederer</c:v>
                </c:pt>
                <c:pt idx="64">
                  <c:v>Roederer</c:v>
                </c:pt>
                <c:pt idx="65">
                  <c:v>Moët &amp; Chan</c:v>
                </c:pt>
                <c:pt idx="66">
                  <c:v>De Bligny</c:v>
                </c:pt>
                <c:pt idx="67">
                  <c:v>Malard</c:v>
                </c:pt>
                <c:pt idx="68">
                  <c:v>Pommery</c:v>
                </c:pt>
                <c:pt idx="69">
                  <c:v>Campari: Al</c:v>
                </c:pt>
                <c:pt idx="70">
                  <c:v>Krug</c:v>
                </c:pt>
                <c:pt idx="71">
                  <c:v>Laurent Per</c:v>
                </c:pt>
                <c:pt idx="72">
                  <c:v>Malard</c:v>
                </c:pt>
                <c:pt idx="73">
                  <c:v>Perrier Jou</c:v>
                </c:pt>
                <c:pt idx="74">
                  <c:v>Deutz</c:v>
                </c:pt>
                <c:pt idx="75">
                  <c:v>Deutz</c:v>
                </c:pt>
                <c:pt idx="76">
                  <c:v>Ruinart</c:v>
                </c:pt>
                <c:pt idx="77">
                  <c:v>Bollinger</c:v>
                </c:pt>
                <c:pt idx="78">
                  <c:v>Besserat De</c:v>
                </c:pt>
                <c:pt idx="79">
                  <c:v>Henriot</c:v>
                </c:pt>
                <c:pt idx="80">
                  <c:v>Piper Heids</c:v>
                </c:pt>
                <c:pt idx="81">
                  <c:v>Canard Duch</c:v>
                </c:pt>
                <c:pt idx="82">
                  <c:v>Roederer</c:v>
                </c:pt>
                <c:pt idx="83">
                  <c:v>Dom Perigno</c:v>
                </c:pt>
                <c:pt idx="84">
                  <c:v>Canard Duch</c:v>
                </c:pt>
                <c:pt idx="85">
                  <c:v>Roederer</c:v>
                </c:pt>
                <c:pt idx="86">
                  <c:v>Vesselle</c:v>
                </c:pt>
                <c:pt idx="87">
                  <c:v>Delamotte</c:v>
                </c:pt>
                <c:pt idx="88">
                  <c:v>Veuve Clicq</c:v>
                </c:pt>
                <c:pt idx="89">
                  <c:v>Nicolas Feu</c:v>
                </c:pt>
                <c:pt idx="90">
                  <c:v>De Venoge</c:v>
                </c:pt>
                <c:pt idx="91">
                  <c:v>Ruinart</c:v>
                </c:pt>
                <c:pt idx="92">
                  <c:v>Canard Duch</c:v>
                </c:pt>
                <c:pt idx="93">
                  <c:v>Bollinger</c:v>
                </c:pt>
                <c:pt idx="94">
                  <c:v>All Others</c:v>
                </c:pt>
                <c:pt idx="95">
                  <c:v>Vranken</c:v>
                </c:pt>
                <c:pt idx="96">
                  <c:v>Louis Marti</c:v>
                </c:pt>
                <c:pt idx="97">
                  <c:v>Roederer</c:v>
                </c:pt>
                <c:pt idx="98">
                  <c:v>Bollinger</c:v>
                </c:pt>
                <c:pt idx="99">
                  <c:v>Roederer</c:v>
                </c:pt>
                <c:pt idx="100">
                  <c:v>Deutz</c:v>
                </c:pt>
                <c:pt idx="101">
                  <c:v>Ruinart</c:v>
                </c:pt>
                <c:pt idx="102">
                  <c:v>Nicolas</c:v>
                </c:pt>
                <c:pt idx="103">
                  <c:v>Delamotte</c:v>
                </c:pt>
                <c:pt idx="104">
                  <c:v>Henriot</c:v>
                </c:pt>
                <c:pt idx="105">
                  <c:v>Pommery</c:v>
                </c:pt>
                <c:pt idx="106">
                  <c:v>Henriot</c:v>
                </c:pt>
                <c:pt idx="107">
                  <c:v>Laurent Per</c:v>
                </c:pt>
                <c:pt idx="108">
                  <c:v>Nicolas</c:v>
                </c:pt>
                <c:pt idx="109">
                  <c:v>Ruinart</c:v>
                </c:pt>
                <c:pt idx="110">
                  <c:v>Taittinger</c:v>
                </c:pt>
                <c:pt idx="111">
                  <c:v>Ruinart</c:v>
                </c:pt>
                <c:pt idx="112">
                  <c:v>All Others</c:v>
                </c:pt>
                <c:pt idx="113">
                  <c:v>Ruinart</c:v>
                </c:pt>
                <c:pt idx="114">
                  <c:v>Lanson</c:v>
                </c:pt>
                <c:pt idx="115">
                  <c:v>Canard Duch</c:v>
                </c:pt>
                <c:pt idx="116">
                  <c:v>Roederer</c:v>
                </c:pt>
                <c:pt idx="117">
                  <c:v>De Venoge</c:v>
                </c:pt>
                <c:pt idx="118">
                  <c:v>Nicolas Feu</c:v>
                </c:pt>
                <c:pt idx="119">
                  <c:v>Ruinart</c:v>
                </c:pt>
                <c:pt idx="120">
                  <c:v>Dom Perigno</c:v>
                </c:pt>
                <c:pt idx="121">
                  <c:v>Nicolas</c:v>
                </c:pt>
                <c:pt idx="122">
                  <c:v>Roederer</c:v>
                </c:pt>
                <c:pt idx="123">
                  <c:v>Ruinart</c:v>
                </c:pt>
                <c:pt idx="124">
                  <c:v>Deutz</c:v>
                </c:pt>
                <c:pt idx="125">
                  <c:v>Deutz</c:v>
                </c:pt>
                <c:pt idx="126">
                  <c:v>Nicolas</c:v>
                </c:pt>
                <c:pt idx="127">
                  <c:v>Moët &amp; Chan</c:v>
                </c:pt>
                <c:pt idx="128">
                  <c:v>Nicolas</c:v>
                </c:pt>
                <c:pt idx="129">
                  <c:v>Demoiselle</c:v>
                </c:pt>
                <c:pt idx="130">
                  <c:v>All Others</c:v>
                </c:pt>
                <c:pt idx="131">
                  <c:v>Pommery</c:v>
                </c:pt>
                <c:pt idx="132">
                  <c:v>Piper Heids</c:v>
                </c:pt>
                <c:pt idx="133">
                  <c:v>Ayala</c:v>
                </c:pt>
                <c:pt idx="134">
                  <c:v>Ruinart</c:v>
                </c:pt>
                <c:pt idx="135">
                  <c:v>Nicolas</c:v>
                </c:pt>
                <c:pt idx="136">
                  <c:v>Pommery</c:v>
                </c:pt>
                <c:pt idx="137">
                  <c:v>Nicolas</c:v>
                </c:pt>
                <c:pt idx="138">
                  <c:v>Perrier Jou</c:v>
                </c:pt>
                <c:pt idx="139">
                  <c:v>Piper Heids</c:v>
                </c:pt>
                <c:pt idx="140">
                  <c:v>Laurent Per</c:v>
                </c:pt>
                <c:pt idx="141">
                  <c:v>Nicolas</c:v>
                </c:pt>
                <c:pt idx="142">
                  <c:v>Besserat De</c:v>
                </c:pt>
                <c:pt idx="143">
                  <c:v>Vesselle</c:v>
                </c:pt>
                <c:pt idx="144">
                  <c:v>Nicolas</c:v>
                </c:pt>
                <c:pt idx="145">
                  <c:v>Dom Perigno</c:v>
                </c:pt>
                <c:pt idx="146">
                  <c:v>All Others</c:v>
                </c:pt>
                <c:pt idx="147">
                  <c:v>Taittinger</c:v>
                </c:pt>
                <c:pt idx="148">
                  <c:v>Malard</c:v>
                </c:pt>
                <c:pt idx="149">
                  <c:v>Nicolas</c:v>
                </c:pt>
                <c:pt idx="150">
                  <c:v>Roederer</c:v>
                </c:pt>
                <c:pt idx="151">
                  <c:v>Roederer</c:v>
                </c:pt>
                <c:pt idx="152">
                  <c:v>Roederer</c:v>
                </c:pt>
                <c:pt idx="153">
                  <c:v>Nicolas</c:v>
                </c:pt>
                <c:pt idx="154">
                  <c:v>Laurent Per</c:v>
                </c:pt>
                <c:pt idx="155">
                  <c:v>Nicolas</c:v>
                </c:pt>
                <c:pt idx="156">
                  <c:v>Ruinart</c:v>
                </c:pt>
                <c:pt idx="157">
                  <c:v>Deutz</c:v>
                </c:pt>
                <c:pt idx="158">
                  <c:v>Pommery</c:v>
                </c:pt>
                <c:pt idx="159">
                  <c:v>Nicolas</c:v>
                </c:pt>
                <c:pt idx="160">
                  <c:v>Lanson</c:v>
                </c:pt>
                <c:pt idx="161">
                  <c:v>All Others</c:v>
                </c:pt>
                <c:pt idx="162">
                  <c:v>Moët &amp; Chan</c:v>
                </c:pt>
                <c:pt idx="163">
                  <c:v>Deutz</c:v>
                </c:pt>
                <c:pt idx="164">
                  <c:v>Nicolas</c:v>
                </c:pt>
                <c:pt idx="165">
                  <c:v>All Others</c:v>
                </c:pt>
                <c:pt idx="166">
                  <c:v>De Venoge</c:v>
                </c:pt>
                <c:pt idx="167">
                  <c:v>Lanson</c:v>
                </c:pt>
                <c:pt idx="168">
                  <c:v>Besserat De</c:v>
                </c:pt>
                <c:pt idx="169">
                  <c:v>Laurent Per</c:v>
                </c:pt>
                <c:pt idx="170">
                  <c:v>Demoiselle</c:v>
                </c:pt>
                <c:pt idx="171">
                  <c:v>Canard Duch</c:v>
                </c:pt>
                <c:pt idx="172">
                  <c:v>Pommery</c:v>
                </c:pt>
                <c:pt idx="173">
                  <c:v>Laurent Per</c:v>
                </c:pt>
                <c:pt idx="174">
                  <c:v>Vranken</c:v>
                </c:pt>
                <c:pt idx="175">
                  <c:v>Bollinger</c:v>
                </c:pt>
                <c:pt idx="176">
                  <c:v>Piper Heids</c:v>
                </c:pt>
                <c:pt idx="177">
                  <c:v>Bollinger</c:v>
                </c:pt>
                <c:pt idx="178">
                  <c:v>Bollinger</c:v>
                </c:pt>
                <c:pt idx="179">
                  <c:v>Roederer</c:v>
                </c:pt>
                <c:pt idx="180">
                  <c:v>Louis Marti</c:v>
                </c:pt>
                <c:pt idx="181">
                  <c:v>Veuve Clicq</c:v>
                </c:pt>
                <c:pt idx="182">
                  <c:v>De Venoge</c:v>
                </c:pt>
                <c:pt idx="183">
                  <c:v>All Others</c:v>
                </c:pt>
                <c:pt idx="184">
                  <c:v>Pommery</c:v>
                </c:pt>
                <c:pt idx="185">
                  <c:v>Deutz</c:v>
                </c:pt>
                <c:pt idx="186">
                  <c:v>All Others</c:v>
                </c:pt>
                <c:pt idx="187">
                  <c:v>Roederer</c:v>
                </c:pt>
                <c:pt idx="188">
                  <c:v>Nicolas</c:v>
                </c:pt>
                <c:pt idx="189">
                  <c:v>Taittinger</c:v>
                </c:pt>
                <c:pt idx="190">
                  <c:v>Laurent Per</c:v>
                </c:pt>
                <c:pt idx="191">
                  <c:v>Moët &amp; Chan</c:v>
                </c:pt>
                <c:pt idx="192">
                  <c:v>De Venoge</c:v>
                </c:pt>
                <c:pt idx="193">
                  <c:v>Henriot</c:v>
                </c:pt>
                <c:pt idx="194">
                  <c:v>Ayala</c:v>
                </c:pt>
                <c:pt idx="195">
                  <c:v>Vesselle</c:v>
                </c:pt>
                <c:pt idx="196">
                  <c:v>Krug</c:v>
                </c:pt>
                <c:pt idx="197">
                  <c:v>Veuve Clicq</c:v>
                </c:pt>
                <c:pt idx="198">
                  <c:v>Perrier Jou</c:v>
                </c:pt>
                <c:pt idx="199">
                  <c:v>Perrier Jou</c:v>
                </c:pt>
                <c:pt idx="200">
                  <c:v>Pommery</c:v>
                </c:pt>
                <c:pt idx="201">
                  <c:v>All Others</c:v>
                </c:pt>
                <c:pt idx="202">
                  <c:v>Canard Duch</c:v>
                </c:pt>
                <c:pt idx="203">
                  <c:v>Bollinger</c:v>
                </c:pt>
                <c:pt idx="204">
                  <c:v>Roederer</c:v>
                </c:pt>
                <c:pt idx="205">
                  <c:v>Moët &amp; Chan</c:v>
                </c:pt>
                <c:pt idx="206">
                  <c:v>Laurent Per</c:v>
                </c:pt>
                <c:pt idx="207">
                  <c:v>Krug</c:v>
                </c:pt>
                <c:pt idx="208">
                  <c:v>Dom Perigno</c:v>
                </c:pt>
                <c:pt idx="209">
                  <c:v>Nicolas</c:v>
                </c:pt>
                <c:pt idx="210">
                  <c:v>Laurent Per</c:v>
                </c:pt>
                <c:pt idx="211">
                  <c:v>Roederer</c:v>
                </c:pt>
                <c:pt idx="212">
                  <c:v>Veuve Clicq</c:v>
                </c:pt>
                <c:pt idx="213">
                  <c:v>Veuve Clicq</c:v>
                </c:pt>
                <c:pt idx="214">
                  <c:v>All Others</c:v>
                </c:pt>
                <c:pt idx="215">
                  <c:v>Taittinger</c:v>
                </c:pt>
                <c:pt idx="216">
                  <c:v>All Others</c:v>
                </c:pt>
                <c:pt idx="217">
                  <c:v>Laurent Per</c:v>
                </c:pt>
                <c:pt idx="218">
                  <c:v>Laurent Per</c:v>
                </c:pt>
                <c:pt idx="219">
                  <c:v>Perrier Jou</c:v>
                </c:pt>
                <c:pt idx="220">
                  <c:v>All Others</c:v>
                </c:pt>
                <c:pt idx="221">
                  <c:v>Dom Perigno</c:v>
                </c:pt>
                <c:pt idx="222">
                  <c:v>Malard</c:v>
                </c:pt>
                <c:pt idx="223">
                  <c:v>All Others</c:v>
                </c:pt>
                <c:pt idx="224">
                  <c:v>Laurent Per</c:v>
                </c:pt>
                <c:pt idx="225">
                  <c:v>Roederer</c:v>
                </c:pt>
                <c:pt idx="226">
                  <c:v>Veuve Clicq</c:v>
                </c:pt>
                <c:pt idx="227">
                  <c:v>De Venoge</c:v>
                </c:pt>
                <c:pt idx="228">
                  <c:v>Ruinart</c:v>
                </c:pt>
                <c:pt idx="229">
                  <c:v>Moët &amp; Chan</c:v>
                </c:pt>
                <c:pt idx="230">
                  <c:v>Canard Duch</c:v>
                </c:pt>
                <c:pt idx="231">
                  <c:v>Besserat De</c:v>
                </c:pt>
                <c:pt idx="232">
                  <c:v>Canard Duch</c:v>
                </c:pt>
                <c:pt idx="233">
                  <c:v>Henriot</c:v>
                </c:pt>
                <c:pt idx="234">
                  <c:v>Canard Duch</c:v>
                </c:pt>
                <c:pt idx="235">
                  <c:v>All Others</c:v>
                </c:pt>
                <c:pt idx="236">
                  <c:v>Ruinart</c:v>
                </c:pt>
                <c:pt idx="237">
                  <c:v>Laurent Per</c:v>
                </c:pt>
                <c:pt idx="238">
                  <c:v>All Others</c:v>
                </c:pt>
                <c:pt idx="239">
                  <c:v>Pommery</c:v>
                </c:pt>
                <c:pt idx="240">
                  <c:v>All Others</c:v>
                </c:pt>
                <c:pt idx="241">
                  <c:v>All Others</c:v>
                </c:pt>
                <c:pt idx="242">
                  <c:v>Roederer</c:v>
                </c:pt>
                <c:pt idx="243">
                  <c:v>Piper Heids</c:v>
                </c:pt>
                <c:pt idx="244">
                  <c:v>Nicolas</c:v>
                </c:pt>
                <c:pt idx="245">
                  <c:v>Roederer</c:v>
                </c:pt>
                <c:pt idx="246">
                  <c:v>All Others</c:v>
                </c:pt>
                <c:pt idx="247">
                  <c:v>De Venoge</c:v>
                </c:pt>
                <c:pt idx="248">
                  <c:v>Roederer</c:v>
                </c:pt>
                <c:pt idx="249">
                  <c:v>Bollinger</c:v>
                </c:pt>
                <c:pt idx="250">
                  <c:v>Martel</c:v>
                </c:pt>
                <c:pt idx="251">
                  <c:v>Besserat De</c:v>
                </c:pt>
                <c:pt idx="252">
                  <c:v>Moët &amp; Chan</c:v>
                </c:pt>
                <c:pt idx="253">
                  <c:v>Malard</c:v>
                </c:pt>
                <c:pt idx="254">
                  <c:v>Ruinart</c:v>
                </c:pt>
                <c:pt idx="255">
                  <c:v>Moët &amp; Chan</c:v>
                </c:pt>
                <c:pt idx="256">
                  <c:v>All Others</c:v>
                </c:pt>
                <c:pt idx="257">
                  <c:v>Bollinger</c:v>
                </c:pt>
                <c:pt idx="258">
                  <c:v>Roederer</c:v>
                </c:pt>
                <c:pt idx="259">
                  <c:v>Roederer</c:v>
                </c:pt>
                <c:pt idx="260">
                  <c:v>Nicolas</c:v>
                </c:pt>
                <c:pt idx="261">
                  <c:v>Lanson</c:v>
                </c:pt>
                <c:pt idx="262">
                  <c:v>Henriot</c:v>
                </c:pt>
                <c:pt idx="263">
                  <c:v>Roederer</c:v>
                </c:pt>
                <c:pt idx="264">
                  <c:v>Roederer</c:v>
                </c:pt>
                <c:pt idx="265">
                  <c:v>Roederer</c:v>
                </c:pt>
                <c:pt idx="266">
                  <c:v>Deutz</c:v>
                </c:pt>
                <c:pt idx="267">
                  <c:v>Deutz</c:v>
                </c:pt>
                <c:pt idx="268">
                  <c:v>De Venoge</c:v>
                </c:pt>
                <c:pt idx="269">
                  <c:v>Henriot</c:v>
                </c:pt>
                <c:pt idx="270">
                  <c:v>Nicolas</c:v>
                </c:pt>
                <c:pt idx="271">
                  <c:v>Besserat De</c:v>
                </c:pt>
                <c:pt idx="272">
                  <c:v>Veuve Clicq</c:v>
                </c:pt>
                <c:pt idx="273">
                  <c:v>Vesselle</c:v>
                </c:pt>
              </c:strCache>
            </c:strRef>
          </c:cat>
          <c:val>
            <c:numRef>
              <c:f>Sheet1!$C$2:$C$275</c:f>
              <c:numCache>
                <c:formatCode>General</c:formatCode>
                <c:ptCount val="274"/>
                <c:pt idx="0">
                  <c:v>0.10832583970188217</c:v>
                </c:pt>
                <c:pt idx="1">
                  <c:v>0.18176239002421213</c:v>
                </c:pt>
                <c:pt idx="2">
                  <c:v>0.23608301864232836</c:v>
                </c:pt>
                <c:pt idx="3">
                  <c:v>0.27963025467552782</c:v>
                </c:pt>
                <c:pt idx="4">
                  <c:v>0.31931868567101418</c:v>
                </c:pt>
                <c:pt idx="5">
                  <c:v>0.35379945796757767</c:v>
                </c:pt>
                <c:pt idx="6">
                  <c:v>0.37977672299552623</c:v>
                </c:pt>
                <c:pt idx="7">
                  <c:v>0.40298342018472944</c:v>
                </c:pt>
                <c:pt idx="8">
                  <c:v>0.42608487440590659</c:v>
                </c:pt>
                <c:pt idx="9">
                  <c:v>0.44894968763388898</c:v>
                </c:pt>
                <c:pt idx="10">
                  <c:v>0.46789933790341059</c:v>
                </c:pt>
                <c:pt idx="11">
                  <c:v>0.48659677869334317</c:v>
                </c:pt>
                <c:pt idx="12">
                  <c:v>0.50521793389994318</c:v>
                </c:pt>
                <c:pt idx="13">
                  <c:v>0.52173547522493346</c:v>
                </c:pt>
                <c:pt idx="14">
                  <c:v>0.53723763986728179</c:v>
                </c:pt>
                <c:pt idx="15">
                  <c:v>0.552496002012694</c:v>
                </c:pt>
                <c:pt idx="16">
                  <c:v>0.56767153981048801</c:v>
                </c:pt>
                <c:pt idx="17">
                  <c:v>0.58068181252055051</c:v>
                </c:pt>
                <c:pt idx="18">
                  <c:v>0.59312944013231983</c:v>
                </c:pt>
                <c:pt idx="19">
                  <c:v>0.60546497464204951</c:v>
                </c:pt>
                <c:pt idx="20">
                  <c:v>0.61779241353885417</c:v>
                </c:pt>
                <c:pt idx="21">
                  <c:v>0.62932056634417088</c:v>
                </c:pt>
                <c:pt idx="22">
                  <c:v>0.63956836682841312</c:v>
                </c:pt>
                <c:pt idx="23">
                  <c:v>0.64976136624054703</c:v>
                </c:pt>
                <c:pt idx="24">
                  <c:v>0.65992385141934795</c:v>
                </c:pt>
                <c:pt idx="25">
                  <c:v>0.66980423562468261</c:v>
                </c:pt>
                <c:pt idx="26">
                  <c:v>0.679551976325937</c:v>
                </c:pt>
                <c:pt idx="27">
                  <c:v>0.68875824507039463</c:v>
                </c:pt>
                <c:pt idx="28">
                  <c:v>0.69781287675737091</c:v>
                </c:pt>
                <c:pt idx="29">
                  <c:v>0.70678437272700112</c:v>
                </c:pt>
                <c:pt idx="30">
                  <c:v>0.71568487639867295</c:v>
                </c:pt>
                <c:pt idx="31">
                  <c:v>0.72432164991082382</c:v>
                </c:pt>
                <c:pt idx="32">
                  <c:v>0.73263055109950892</c:v>
                </c:pt>
                <c:pt idx="33">
                  <c:v>0.74056954505146333</c:v>
                </c:pt>
                <c:pt idx="34">
                  <c:v>0.74779986150274513</c:v>
                </c:pt>
                <c:pt idx="35">
                  <c:v>0.75438782220539446</c:v>
                </c:pt>
                <c:pt idx="36">
                  <c:v>0.76079051791995067</c:v>
                </c:pt>
                <c:pt idx="37">
                  <c:v>0.76676196656138229</c:v>
                </c:pt>
                <c:pt idx="38">
                  <c:v>0.7725229292667618</c:v>
                </c:pt>
                <c:pt idx="39">
                  <c:v>0.77811544094935403</c:v>
                </c:pt>
                <c:pt idx="40">
                  <c:v>0.78360738020983844</c:v>
                </c:pt>
                <c:pt idx="41">
                  <c:v>0.78853075834719988</c:v>
                </c:pt>
                <c:pt idx="42">
                  <c:v>0.79326326684136605</c:v>
                </c:pt>
                <c:pt idx="43">
                  <c:v>0.79796339288383189</c:v>
                </c:pt>
                <c:pt idx="44">
                  <c:v>0.80259875402289704</c:v>
                </c:pt>
                <c:pt idx="45">
                  <c:v>0.80687821956298655</c:v>
                </c:pt>
                <c:pt idx="46">
                  <c:v>0.81106769925171651</c:v>
                </c:pt>
                <c:pt idx="47">
                  <c:v>0.8152316466227596</c:v>
                </c:pt>
                <c:pt idx="48">
                  <c:v>0.81935947510536777</c:v>
                </c:pt>
                <c:pt idx="49">
                  <c:v>0.82310774388968067</c:v>
                </c:pt>
                <c:pt idx="50">
                  <c:v>0.82678875681276986</c:v>
                </c:pt>
                <c:pt idx="51">
                  <c:v>0.83041683688211809</c:v>
                </c:pt>
                <c:pt idx="52">
                  <c:v>0.83392379412731799</c:v>
                </c:pt>
                <c:pt idx="53">
                  <c:v>0.83742265575959285</c:v>
                </c:pt>
                <c:pt idx="54">
                  <c:v>0.84080475374390973</c:v>
                </c:pt>
                <c:pt idx="55">
                  <c:v>0.8440984227255065</c:v>
                </c:pt>
                <c:pt idx="56">
                  <c:v>0.8473182970815939</c:v>
                </c:pt>
                <c:pt idx="57">
                  <c:v>0.85050610035570884</c:v>
                </c:pt>
                <c:pt idx="58">
                  <c:v>0.85362073174377018</c:v>
                </c:pt>
                <c:pt idx="59">
                  <c:v>0.85668460986618578</c:v>
                </c:pt>
                <c:pt idx="60">
                  <c:v>0.85971797375526837</c:v>
                </c:pt>
                <c:pt idx="61">
                  <c:v>0.86273794874605181</c:v>
                </c:pt>
                <c:pt idx="62">
                  <c:v>0.86568848828751632</c:v>
                </c:pt>
                <c:pt idx="63">
                  <c:v>0.86846372667217997</c:v>
                </c:pt>
                <c:pt idx="64">
                  <c:v>0.87104155664936278</c:v>
                </c:pt>
                <c:pt idx="65">
                  <c:v>0.87360537498879065</c:v>
                </c:pt>
                <c:pt idx="66">
                  <c:v>0.87610723075236885</c:v>
                </c:pt>
                <c:pt idx="67">
                  <c:v>0.87856674023295434</c:v>
                </c:pt>
                <c:pt idx="68">
                  <c:v>0.881014729033608</c:v>
                </c:pt>
                <c:pt idx="69">
                  <c:v>0.88336557047916064</c:v>
                </c:pt>
                <c:pt idx="70">
                  <c:v>0.88571392096689017</c:v>
                </c:pt>
                <c:pt idx="71">
                  <c:v>0.88805510995087833</c:v>
                </c:pt>
                <c:pt idx="72">
                  <c:v>0.89032032472126188</c:v>
                </c:pt>
                <c:pt idx="73">
                  <c:v>0.89258086894572708</c:v>
                </c:pt>
                <c:pt idx="74">
                  <c:v>0.89483020385998835</c:v>
                </c:pt>
                <c:pt idx="75">
                  <c:v>0.89705929974193688</c:v>
                </c:pt>
                <c:pt idx="76">
                  <c:v>0.89926659974293321</c:v>
                </c:pt>
                <c:pt idx="77">
                  <c:v>0.90145303797216114</c:v>
                </c:pt>
                <c:pt idx="78">
                  <c:v>0.90351056913404348</c:v>
                </c:pt>
                <c:pt idx="79">
                  <c:v>0.90553696332313705</c:v>
                </c:pt>
                <c:pt idx="80">
                  <c:v>0.90752661588433992</c:v>
                </c:pt>
                <c:pt idx="81">
                  <c:v>0.90951315474826389</c:v>
                </c:pt>
                <c:pt idx="82">
                  <c:v>0.91148070005878667</c:v>
                </c:pt>
                <c:pt idx="83">
                  <c:v>0.91344201797475177</c:v>
                </c:pt>
                <c:pt idx="84">
                  <c:v>0.91533794824786041</c:v>
                </c:pt>
                <c:pt idx="85">
                  <c:v>0.91721737592539099</c:v>
                </c:pt>
                <c:pt idx="86">
                  <c:v>0.9190834147046224</c:v>
                </c:pt>
                <c:pt idx="87">
                  <c:v>0.92094914211412593</c:v>
                </c:pt>
                <c:pt idx="88">
                  <c:v>0.92280552843179275</c:v>
                </c:pt>
                <c:pt idx="89">
                  <c:v>0.92465070543925565</c:v>
                </c:pt>
                <c:pt idx="90">
                  <c:v>0.92637258003447498</c:v>
                </c:pt>
                <c:pt idx="91">
                  <c:v>0.92806362902663342</c:v>
                </c:pt>
                <c:pt idx="92">
                  <c:v>0.92975218706096874</c:v>
                </c:pt>
                <c:pt idx="93">
                  <c:v>0.93137629156163138</c:v>
                </c:pt>
                <c:pt idx="94">
                  <c:v>0.93299946195311034</c:v>
                </c:pt>
                <c:pt idx="95">
                  <c:v>0.93449621623506685</c:v>
                </c:pt>
                <c:pt idx="96">
                  <c:v>0.93598456353437043</c:v>
                </c:pt>
                <c:pt idx="97">
                  <c:v>0.93746263563265364</c:v>
                </c:pt>
                <c:pt idx="98">
                  <c:v>0.93887314049998527</c:v>
                </c:pt>
                <c:pt idx="99">
                  <c:v>0.94023756264758951</c:v>
                </c:pt>
                <c:pt idx="100">
                  <c:v>0.94154126769825564</c:v>
                </c:pt>
                <c:pt idx="101">
                  <c:v>0.94283064974143893</c:v>
                </c:pt>
                <c:pt idx="102">
                  <c:v>0.94411006795332975</c:v>
                </c:pt>
                <c:pt idx="103">
                  <c:v>0.94537796548528874</c:v>
                </c:pt>
                <c:pt idx="104">
                  <c:v>0.94657705030738448</c:v>
                </c:pt>
                <c:pt idx="105">
                  <c:v>0.94773254336757595</c:v>
                </c:pt>
                <c:pt idx="106">
                  <c:v>0.9488855454699443</c:v>
                </c:pt>
                <c:pt idx="107">
                  <c:v>0.94999464444068049</c:v>
                </c:pt>
                <c:pt idx="108">
                  <c:v>0.95109159999202908</c:v>
                </c:pt>
                <c:pt idx="109">
                  <c:v>0.95217174157807172</c:v>
                </c:pt>
                <c:pt idx="110">
                  <c:v>0.9532506376852028</c:v>
                </c:pt>
                <c:pt idx="111">
                  <c:v>0.95430773791138179</c:v>
                </c:pt>
                <c:pt idx="112">
                  <c:v>0.95535736526409143</c:v>
                </c:pt>
                <c:pt idx="113">
                  <c:v>0.95639547193686925</c:v>
                </c:pt>
                <c:pt idx="114">
                  <c:v>0.95740150752767461</c:v>
                </c:pt>
                <c:pt idx="115">
                  <c:v>0.95839415422018082</c:v>
                </c:pt>
                <c:pt idx="116">
                  <c:v>0.95937247790520419</c:v>
                </c:pt>
                <c:pt idx="117">
                  <c:v>0.96034301734703031</c:v>
                </c:pt>
                <c:pt idx="118">
                  <c:v>0.96126062393511558</c:v>
                </c:pt>
                <c:pt idx="119">
                  <c:v>0.9621243635602762</c:v>
                </c:pt>
                <c:pt idx="120">
                  <c:v>0.96297128922013098</c:v>
                </c:pt>
                <c:pt idx="121">
                  <c:v>0.96379890995685669</c:v>
                </c:pt>
                <c:pt idx="122">
                  <c:v>0.96459819604834462</c:v>
                </c:pt>
                <c:pt idx="123">
                  <c:v>0.96538378187180551</c:v>
                </c:pt>
                <c:pt idx="124">
                  <c:v>0.96615224236023256</c:v>
                </c:pt>
                <c:pt idx="125">
                  <c:v>0.96691758915138071</c:v>
                </c:pt>
                <c:pt idx="126">
                  <c:v>0.96766207417076033</c:v>
                </c:pt>
                <c:pt idx="127">
                  <c:v>0.96840624782041207</c:v>
                </c:pt>
                <c:pt idx="128">
                  <c:v>0.96914543955441768</c:v>
                </c:pt>
                <c:pt idx="129">
                  <c:v>0.96988276307005594</c:v>
                </c:pt>
                <c:pt idx="130">
                  <c:v>0.97058926098263332</c:v>
                </c:pt>
                <c:pt idx="131">
                  <c:v>0.97129451341629913</c:v>
                </c:pt>
                <c:pt idx="132">
                  <c:v>0.97199447256459082</c:v>
                </c:pt>
                <c:pt idx="133">
                  <c:v>0.97266858802546785</c:v>
                </c:pt>
                <c:pt idx="134">
                  <c:v>0.97334083526797754</c:v>
                </c:pt>
                <c:pt idx="135">
                  <c:v>0.97398537060470525</c:v>
                </c:pt>
                <c:pt idx="136">
                  <c:v>0.97461184649721544</c:v>
                </c:pt>
                <c:pt idx="137">
                  <c:v>0.97522586760061014</c:v>
                </c:pt>
                <c:pt idx="138">
                  <c:v>0.97583677500672594</c:v>
                </c:pt>
                <c:pt idx="139">
                  <c:v>0.97644705967338596</c:v>
                </c:pt>
                <c:pt idx="140">
                  <c:v>0.97705173968494397</c:v>
                </c:pt>
                <c:pt idx="141">
                  <c:v>0.97761127108595824</c:v>
                </c:pt>
                <c:pt idx="142">
                  <c:v>0.97815056345465989</c:v>
                </c:pt>
                <c:pt idx="143">
                  <c:v>0.97867179637914403</c:v>
                </c:pt>
                <c:pt idx="144">
                  <c:v>0.97919178382471661</c:v>
                </c:pt>
                <c:pt idx="145">
                  <c:v>0.97970554387573139</c:v>
                </c:pt>
                <c:pt idx="146">
                  <c:v>0.98020996283490958</c:v>
                </c:pt>
                <c:pt idx="147">
                  <c:v>0.98071344768490409</c:v>
                </c:pt>
                <c:pt idx="148">
                  <c:v>0.98121039377061292</c:v>
                </c:pt>
                <c:pt idx="149">
                  <c:v>0.98166810727060794</c:v>
                </c:pt>
                <c:pt idx="150">
                  <c:v>0.98210651584747388</c:v>
                </c:pt>
                <c:pt idx="151">
                  <c:v>0.9825427448362446</c:v>
                </c:pt>
                <c:pt idx="152">
                  <c:v>0.98295655520460745</c:v>
                </c:pt>
                <c:pt idx="153">
                  <c:v>0.98335604256548748</c:v>
                </c:pt>
                <c:pt idx="154">
                  <c:v>0.98375459581718383</c:v>
                </c:pt>
                <c:pt idx="155">
                  <c:v>0.98414847852296183</c:v>
                </c:pt>
                <c:pt idx="156">
                  <c:v>0.98453613383418215</c:v>
                </c:pt>
                <c:pt idx="157">
                  <c:v>0.98492223229676301</c:v>
                </c:pt>
                <c:pt idx="158">
                  <c:v>0.98528778035730324</c:v>
                </c:pt>
                <c:pt idx="159">
                  <c:v>0.98565083746002036</c:v>
                </c:pt>
                <c:pt idx="160">
                  <c:v>0.98600891264709134</c:v>
                </c:pt>
                <c:pt idx="161">
                  <c:v>0.98636636509470654</c:v>
                </c:pt>
                <c:pt idx="162">
                  <c:v>0.98671852425694762</c:v>
                </c:pt>
                <c:pt idx="163">
                  <c:v>0.98705418082361063</c:v>
                </c:pt>
                <c:pt idx="164">
                  <c:v>0.98738921465081786</c:v>
                </c:pt>
                <c:pt idx="165">
                  <c:v>0.98770681177326336</c:v>
                </c:pt>
                <c:pt idx="166">
                  <c:v>0.98800977451849814</c:v>
                </c:pt>
                <c:pt idx="167">
                  <c:v>0.98831149178482136</c:v>
                </c:pt>
                <c:pt idx="168">
                  <c:v>0.98861102946304935</c:v>
                </c:pt>
                <c:pt idx="169">
                  <c:v>0.98890932166236578</c:v>
                </c:pt>
                <c:pt idx="170">
                  <c:v>0.98920636838277076</c:v>
                </c:pt>
                <c:pt idx="171">
                  <c:v>0.98950123551508051</c:v>
                </c:pt>
                <c:pt idx="172">
                  <c:v>0.98977991142154009</c:v>
                </c:pt>
                <c:pt idx="173">
                  <c:v>0.99005360541235343</c:v>
                </c:pt>
                <c:pt idx="174">
                  <c:v>0.99032449707561576</c:v>
                </c:pt>
                <c:pt idx="175">
                  <c:v>0.99059040682323196</c:v>
                </c:pt>
                <c:pt idx="176">
                  <c:v>0.99084790958819513</c:v>
                </c:pt>
                <c:pt idx="177">
                  <c:v>0.99110011906778417</c:v>
                </c:pt>
                <c:pt idx="178">
                  <c:v>0.99135232854737321</c:v>
                </c:pt>
                <c:pt idx="179">
                  <c:v>0.99160080159022768</c:v>
                </c:pt>
                <c:pt idx="180">
                  <c:v>0.99184491545689168</c:v>
                </c:pt>
                <c:pt idx="181">
                  <c:v>0.99206910166097084</c:v>
                </c:pt>
                <c:pt idx="182">
                  <c:v>0.99228612636130864</c:v>
                </c:pt>
                <c:pt idx="183">
                  <c:v>0.99249785777627231</c:v>
                </c:pt>
                <c:pt idx="184">
                  <c:v>0.99270896645178019</c:v>
                </c:pt>
                <c:pt idx="185">
                  <c:v>0.99290201568307057</c:v>
                </c:pt>
                <c:pt idx="186">
                  <c:v>0.99309226258681005</c:v>
                </c:pt>
                <c:pt idx="187">
                  <c:v>0.99328001853272641</c:v>
                </c:pt>
                <c:pt idx="188">
                  <c:v>0.99345874475653395</c:v>
                </c:pt>
                <c:pt idx="189">
                  <c:v>0.99363030947660014</c:v>
                </c:pt>
                <c:pt idx="190">
                  <c:v>0.99379689228102008</c:v>
                </c:pt>
                <c:pt idx="191">
                  <c:v>0.99396098412761691</c:v>
                </c:pt>
                <c:pt idx="192">
                  <c:v>0.99412102816775128</c:v>
                </c:pt>
                <c:pt idx="193">
                  <c:v>0.99427795851060674</c:v>
                </c:pt>
                <c:pt idx="194">
                  <c:v>0.99442835008917652</c:v>
                </c:pt>
                <c:pt idx="195">
                  <c:v>0.99457718481910684</c:v>
                </c:pt>
                <c:pt idx="196">
                  <c:v>0.99471792393611214</c:v>
                </c:pt>
                <c:pt idx="197">
                  <c:v>0.99485492661638275</c:v>
                </c:pt>
                <c:pt idx="198">
                  <c:v>0.99499006107828603</c:v>
                </c:pt>
                <c:pt idx="199">
                  <c:v>0.99512395006127774</c:v>
                </c:pt>
                <c:pt idx="200">
                  <c:v>0.99525783904426945</c:v>
                </c:pt>
                <c:pt idx="201">
                  <c:v>0.99538923706943805</c:v>
                </c:pt>
                <c:pt idx="202">
                  <c:v>0.99552001235515086</c:v>
                </c:pt>
                <c:pt idx="203">
                  <c:v>0.99564705120412911</c:v>
                </c:pt>
                <c:pt idx="204">
                  <c:v>0.99577191046501212</c:v>
                </c:pt>
                <c:pt idx="205">
                  <c:v>0.99589614698643936</c:v>
                </c:pt>
                <c:pt idx="206">
                  <c:v>0.9960200721381387</c:v>
                </c:pt>
                <c:pt idx="207">
                  <c:v>0.99613994948337548</c:v>
                </c:pt>
                <c:pt idx="208">
                  <c:v>0.9962582699799728</c:v>
                </c:pt>
                <c:pt idx="209">
                  <c:v>0.996374099518747</c:v>
                </c:pt>
                <c:pt idx="210">
                  <c:v>0.99648806083915398</c:v>
                </c:pt>
                <c:pt idx="211">
                  <c:v>0.99659984257146572</c:v>
                </c:pt>
                <c:pt idx="212">
                  <c:v>0.9967106901945938</c:v>
                </c:pt>
                <c:pt idx="213">
                  <c:v>0.99681966959935453</c:v>
                </c:pt>
                <c:pt idx="214">
                  <c:v>0.99692522393710847</c:v>
                </c:pt>
                <c:pt idx="215">
                  <c:v>0.99702922142622297</c:v>
                </c:pt>
                <c:pt idx="216">
                  <c:v>0.99713041658778645</c:v>
                </c:pt>
                <c:pt idx="217">
                  <c:v>0.99722382750615279</c:v>
                </c:pt>
                <c:pt idx="218">
                  <c:v>0.99731723842451914</c:v>
                </c:pt>
                <c:pt idx="219">
                  <c:v>0.99741033797315759</c:v>
                </c:pt>
                <c:pt idx="220">
                  <c:v>0.99750343752179604</c:v>
                </c:pt>
                <c:pt idx="221">
                  <c:v>0.99759529159152294</c:v>
                </c:pt>
                <c:pt idx="222">
                  <c:v>0.99768683429152194</c:v>
                </c:pt>
                <c:pt idx="223">
                  <c:v>0.99777744288233727</c:v>
                </c:pt>
                <c:pt idx="224">
                  <c:v>0.99786774010342472</c:v>
                </c:pt>
                <c:pt idx="225">
                  <c:v>0.99795430088777748</c:v>
                </c:pt>
                <c:pt idx="226">
                  <c:v>0.99803961619321868</c:v>
                </c:pt>
                <c:pt idx="227">
                  <c:v>0.99812368601974832</c:v>
                </c:pt>
                <c:pt idx="228">
                  <c:v>0.99820744447655019</c:v>
                </c:pt>
                <c:pt idx="229">
                  <c:v>0.99828933471498471</c:v>
                </c:pt>
                <c:pt idx="230">
                  <c:v>0.99836811125614033</c:v>
                </c:pt>
                <c:pt idx="231">
                  <c:v>0.99844595368811229</c:v>
                </c:pt>
                <c:pt idx="232">
                  <c:v>0.99851912557416589</c:v>
                </c:pt>
                <c:pt idx="233">
                  <c:v>0.99859011787212426</c:v>
                </c:pt>
                <c:pt idx="234">
                  <c:v>0.99866079880035474</c:v>
                </c:pt>
                <c:pt idx="235">
                  <c:v>0.99873085698912945</c:v>
                </c:pt>
                <c:pt idx="236">
                  <c:v>0.99879126271633967</c:v>
                </c:pt>
                <c:pt idx="237">
                  <c:v>0.99884699789763154</c:v>
                </c:pt>
                <c:pt idx="238">
                  <c:v>0.99890242170919552</c:v>
                </c:pt>
                <c:pt idx="239">
                  <c:v>0.99895597730239216</c:v>
                </c:pt>
                <c:pt idx="240">
                  <c:v>0.99900922152586102</c:v>
                </c:pt>
                <c:pt idx="241">
                  <c:v>0.99906246574932989</c:v>
                </c:pt>
                <c:pt idx="242">
                  <c:v>0.99911290764524774</c:v>
                </c:pt>
                <c:pt idx="243">
                  <c:v>0.99916148132279825</c:v>
                </c:pt>
                <c:pt idx="244">
                  <c:v>0.99920849815170931</c:v>
                </c:pt>
                <c:pt idx="245">
                  <c:v>0.99925271265306936</c:v>
                </c:pt>
                <c:pt idx="246">
                  <c:v>0.99929319071769473</c:v>
                </c:pt>
                <c:pt idx="247">
                  <c:v>0.99933335741259222</c:v>
                </c:pt>
                <c:pt idx="248">
                  <c:v>0.99937290136803392</c:v>
                </c:pt>
                <c:pt idx="249">
                  <c:v>0.99941213395374773</c:v>
                </c:pt>
                <c:pt idx="250">
                  <c:v>0.99945074380000576</c:v>
                </c:pt>
                <c:pt idx="251">
                  <c:v>0.99948810816735234</c:v>
                </c:pt>
                <c:pt idx="252">
                  <c:v>0.99952547253469892</c:v>
                </c:pt>
                <c:pt idx="253">
                  <c:v>0.99956096868367816</c:v>
                </c:pt>
                <c:pt idx="254">
                  <c:v>0.99959521935374585</c:v>
                </c:pt>
                <c:pt idx="255">
                  <c:v>0.99962760180544619</c:v>
                </c:pt>
                <c:pt idx="256">
                  <c:v>0.99965873877823497</c:v>
                </c:pt>
                <c:pt idx="257">
                  <c:v>0.99968863027211219</c:v>
                </c:pt>
                <c:pt idx="258">
                  <c:v>0.99971821039626152</c:v>
                </c:pt>
                <c:pt idx="259">
                  <c:v>0.99974654504149929</c:v>
                </c:pt>
                <c:pt idx="260">
                  <c:v>0.99977425694728128</c:v>
                </c:pt>
                <c:pt idx="261">
                  <c:v>0.99979667556768925</c:v>
                </c:pt>
                <c:pt idx="262">
                  <c:v>0.99981909418809722</c:v>
                </c:pt>
                <c:pt idx="263">
                  <c:v>0.99984120143877731</c:v>
                </c:pt>
                <c:pt idx="264">
                  <c:v>0.99986206321054583</c:v>
                </c:pt>
                <c:pt idx="265">
                  <c:v>0.9998813681336749</c:v>
                </c:pt>
                <c:pt idx="266">
                  <c:v>0.99990036168707608</c:v>
                </c:pt>
                <c:pt idx="267">
                  <c:v>0.99991904387074937</c:v>
                </c:pt>
                <c:pt idx="268">
                  <c:v>0.99993772605442266</c:v>
                </c:pt>
                <c:pt idx="269">
                  <c:v>0.99995516275918439</c:v>
                </c:pt>
                <c:pt idx="270">
                  <c:v>0.99996948576666722</c:v>
                </c:pt>
                <c:pt idx="271">
                  <c:v>0.99998038370714326</c:v>
                </c:pt>
                <c:pt idx="272">
                  <c:v>0.99999034753843563</c:v>
                </c:pt>
                <c:pt idx="273">
                  <c:v>1.0000000000000002</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356</c:f>
              <c:strCache>
                <c:ptCount val="355"/>
                <c:pt idx="0">
                  <c:v>Ruinart</c:v>
                </c:pt>
                <c:pt idx="1">
                  <c:v>Nicolas</c:v>
                </c:pt>
                <c:pt idx="2">
                  <c:v>Deutz</c:v>
                </c:pt>
                <c:pt idx="3">
                  <c:v>Ruinart</c:v>
                </c:pt>
                <c:pt idx="4">
                  <c:v>Malard</c:v>
                </c:pt>
                <c:pt idx="5">
                  <c:v>Laurent Per</c:v>
                </c:pt>
                <c:pt idx="6">
                  <c:v>Heidsieck &amp;</c:v>
                </c:pt>
                <c:pt idx="7">
                  <c:v>Ayala</c:v>
                </c:pt>
                <c:pt idx="8">
                  <c:v>Nicolas Feu</c:v>
                </c:pt>
                <c:pt idx="9">
                  <c:v>De Bligny</c:v>
                </c:pt>
                <c:pt idx="10">
                  <c:v>Ruinart</c:v>
                </c:pt>
                <c:pt idx="11">
                  <c:v>Taittinger</c:v>
                </c:pt>
                <c:pt idx="12">
                  <c:v>Canard Duch</c:v>
                </c:pt>
                <c:pt idx="13">
                  <c:v>Bollinger</c:v>
                </c:pt>
                <c:pt idx="14">
                  <c:v>Besserat De</c:v>
                </c:pt>
                <c:pt idx="15">
                  <c:v>Ruinart</c:v>
                </c:pt>
                <c:pt idx="16">
                  <c:v>Demoiselle</c:v>
                </c:pt>
                <c:pt idx="17">
                  <c:v>Perrier Jou</c:v>
                </c:pt>
                <c:pt idx="18">
                  <c:v>Ruinart</c:v>
                </c:pt>
                <c:pt idx="19">
                  <c:v>All Others</c:v>
                </c:pt>
                <c:pt idx="20">
                  <c:v>Ruinart</c:v>
                </c:pt>
                <c:pt idx="21">
                  <c:v>Deutz</c:v>
                </c:pt>
                <c:pt idx="22">
                  <c:v>Laurent Per</c:v>
                </c:pt>
                <c:pt idx="23">
                  <c:v>Campari: Al</c:v>
                </c:pt>
                <c:pt idx="24">
                  <c:v>Vesselle</c:v>
                </c:pt>
                <c:pt idx="25">
                  <c:v>Roederer</c:v>
                </c:pt>
                <c:pt idx="26">
                  <c:v>Pommery</c:v>
                </c:pt>
                <c:pt idx="27">
                  <c:v>Dom Perigno</c:v>
                </c:pt>
                <c:pt idx="28">
                  <c:v>Deutz</c:v>
                </c:pt>
                <c:pt idx="29">
                  <c:v>All Others</c:v>
                </c:pt>
                <c:pt idx="30">
                  <c:v>Moët &amp; Chan</c:v>
                </c:pt>
                <c:pt idx="31">
                  <c:v>Veuve Clicq</c:v>
                </c:pt>
                <c:pt idx="32">
                  <c:v>Malard</c:v>
                </c:pt>
                <c:pt idx="33">
                  <c:v>Ruinart</c:v>
                </c:pt>
                <c:pt idx="34">
                  <c:v>Savian</c:v>
                </c:pt>
                <c:pt idx="35">
                  <c:v>Veuve Clicq</c:v>
                </c:pt>
                <c:pt idx="36">
                  <c:v>Demoiselle</c:v>
                </c:pt>
                <c:pt idx="37">
                  <c:v>Dom Perigno</c:v>
                </c:pt>
                <c:pt idx="38">
                  <c:v>Nicolas</c:v>
                </c:pt>
                <c:pt idx="39">
                  <c:v>Taittinger</c:v>
                </c:pt>
                <c:pt idx="40">
                  <c:v>Henriot</c:v>
                </c:pt>
                <c:pt idx="41">
                  <c:v>Laurent Per</c:v>
                </c:pt>
                <c:pt idx="42">
                  <c:v>Veuve Clicq</c:v>
                </c:pt>
                <c:pt idx="43">
                  <c:v>All Others</c:v>
                </c:pt>
                <c:pt idx="44">
                  <c:v>Malard</c:v>
                </c:pt>
                <c:pt idx="45">
                  <c:v>Ruinart</c:v>
                </c:pt>
                <c:pt idx="46">
                  <c:v>Roederer</c:v>
                </c:pt>
                <c:pt idx="47">
                  <c:v>De Venoge</c:v>
                </c:pt>
                <c:pt idx="48">
                  <c:v>Besserat De</c:v>
                </c:pt>
                <c:pt idx="49">
                  <c:v>Nicolas Feu</c:v>
                </c:pt>
                <c:pt idx="50">
                  <c:v>Ruinart</c:v>
                </c:pt>
                <c:pt idx="51">
                  <c:v>Moët &amp; Chan</c:v>
                </c:pt>
                <c:pt idx="52">
                  <c:v>Deutz</c:v>
                </c:pt>
                <c:pt idx="53">
                  <c:v>Piper Heids</c:v>
                </c:pt>
                <c:pt idx="54">
                  <c:v>Louis Marti</c:v>
                </c:pt>
                <c:pt idx="55">
                  <c:v>Moët &amp; Chan</c:v>
                </c:pt>
                <c:pt idx="56">
                  <c:v>Nicolas</c:v>
                </c:pt>
                <c:pt idx="57">
                  <c:v>Ruinart</c:v>
                </c:pt>
                <c:pt idx="58">
                  <c:v>Nicolas Feu</c:v>
                </c:pt>
                <c:pt idx="59">
                  <c:v>Nicolas</c:v>
                </c:pt>
                <c:pt idx="60">
                  <c:v>Campari: Al</c:v>
                </c:pt>
                <c:pt idx="61">
                  <c:v>Lanson</c:v>
                </c:pt>
                <c:pt idx="62">
                  <c:v>Roederer</c:v>
                </c:pt>
                <c:pt idx="63">
                  <c:v>Malard</c:v>
                </c:pt>
                <c:pt idx="64">
                  <c:v>Nicolas Feu</c:v>
                </c:pt>
                <c:pt idx="65">
                  <c:v>Malard</c:v>
                </c:pt>
                <c:pt idx="66">
                  <c:v>Canard Duch</c:v>
                </c:pt>
                <c:pt idx="67">
                  <c:v>Henriot</c:v>
                </c:pt>
                <c:pt idx="68">
                  <c:v>Delamotte</c:v>
                </c:pt>
                <c:pt idx="69">
                  <c:v>Krug</c:v>
                </c:pt>
                <c:pt idx="70">
                  <c:v>Bollinger</c:v>
                </c:pt>
                <c:pt idx="71">
                  <c:v>De Bligny</c:v>
                </c:pt>
                <c:pt idx="72">
                  <c:v>Laurent Per</c:v>
                </c:pt>
                <c:pt idx="73">
                  <c:v>Henriot</c:v>
                </c:pt>
                <c:pt idx="74">
                  <c:v>Besserat De</c:v>
                </c:pt>
                <c:pt idx="75">
                  <c:v>Pommery</c:v>
                </c:pt>
                <c:pt idx="76">
                  <c:v>Vranken</c:v>
                </c:pt>
                <c:pt idx="77">
                  <c:v>Dom Perigno</c:v>
                </c:pt>
                <c:pt idx="78">
                  <c:v>Perrier Jou</c:v>
                </c:pt>
                <c:pt idx="79">
                  <c:v>Ayala</c:v>
                </c:pt>
                <c:pt idx="80">
                  <c:v>Roederer</c:v>
                </c:pt>
                <c:pt idx="81">
                  <c:v>Roederer</c:v>
                </c:pt>
                <c:pt idx="82">
                  <c:v>Henriot</c:v>
                </c:pt>
                <c:pt idx="83">
                  <c:v>De Venoge</c:v>
                </c:pt>
                <c:pt idx="84">
                  <c:v>Roederer</c:v>
                </c:pt>
                <c:pt idx="85">
                  <c:v>Roederer</c:v>
                </c:pt>
                <c:pt idx="86">
                  <c:v>Ruinart</c:v>
                </c:pt>
                <c:pt idx="87">
                  <c:v>Bollinger</c:v>
                </c:pt>
                <c:pt idx="88">
                  <c:v>De Venoge</c:v>
                </c:pt>
                <c:pt idx="89">
                  <c:v>Ruinart</c:v>
                </c:pt>
                <c:pt idx="90">
                  <c:v>Canard Duch</c:v>
                </c:pt>
                <c:pt idx="91">
                  <c:v>Ruinart</c:v>
                </c:pt>
                <c:pt idx="92">
                  <c:v>Nicolas</c:v>
                </c:pt>
                <c:pt idx="93">
                  <c:v>Roederer</c:v>
                </c:pt>
                <c:pt idx="94">
                  <c:v>Roederer</c:v>
                </c:pt>
                <c:pt idx="95">
                  <c:v>Ruinart</c:v>
                </c:pt>
                <c:pt idx="96">
                  <c:v>Dom Perigno</c:v>
                </c:pt>
                <c:pt idx="97">
                  <c:v>Malard</c:v>
                </c:pt>
                <c:pt idx="98">
                  <c:v>De Venoge</c:v>
                </c:pt>
                <c:pt idx="99">
                  <c:v>Deutz</c:v>
                </c:pt>
                <c:pt idx="100">
                  <c:v>Ruinart</c:v>
                </c:pt>
                <c:pt idx="101">
                  <c:v>Vranken</c:v>
                </c:pt>
                <c:pt idx="102">
                  <c:v>Moët &amp; Chan</c:v>
                </c:pt>
                <c:pt idx="103">
                  <c:v>Deutz</c:v>
                </c:pt>
                <c:pt idx="104">
                  <c:v>Nicolas</c:v>
                </c:pt>
                <c:pt idx="105">
                  <c:v>Roederer</c:v>
                </c:pt>
                <c:pt idx="106">
                  <c:v>Canard Duch</c:v>
                </c:pt>
                <c:pt idx="107">
                  <c:v>Laurent Per</c:v>
                </c:pt>
                <c:pt idx="108">
                  <c:v>Veuve Clicq</c:v>
                </c:pt>
                <c:pt idx="109">
                  <c:v>Canard Duch</c:v>
                </c:pt>
                <c:pt idx="110">
                  <c:v>Laurent Per</c:v>
                </c:pt>
                <c:pt idx="111">
                  <c:v>Nicolas</c:v>
                </c:pt>
                <c:pt idx="112">
                  <c:v>Nicolas</c:v>
                </c:pt>
                <c:pt idx="113">
                  <c:v>Bollinger</c:v>
                </c:pt>
                <c:pt idx="114">
                  <c:v>Nicolas Feu</c:v>
                </c:pt>
                <c:pt idx="115">
                  <c:v>Nicolas</c:v>
                </c:pt>
                <c:pt idx="116">
                  <c:v>Nicolas</c:v>
                </c:pt>
                <c:pt idx="117">
                  <c:v>Nicolas</c:v>
                </c:pt>
                <c:pt idx="118">
                  <c:v>All Others</c:v>
                </c:pt>
                <c:pt idx="119">
                  <c:v>Roederer</c:v>
                </c:pt>
                <c:pt idx="120">
                  <c:v>All Others</c:v>
                </c:pt>
                <c:pt idx="121">
                  <c:v>Taittinger</c:v>
                </c:pt>
                <c:pt idx="122">
                  <c:v>Roederer</c:v>
                </c:pt>
                <c:pt idx="123">
                  <c:v>Veuve Clicq</c:v>
                </c:pt>
                <c:pt idx="124">
                  <c:v>Perrier Jou</c:v>
                </c:pt>
                <c:pt idx="125">
                  <c:v>Besserat De</c:v>
                </c:pt>
                <c:pt idx="126">
                  <c:v>Demoiselle</c:v>
                </c:pt>
                <c:pt idx="127">
                  <c:v>Nicolas</c:v>
                </c:pt>
                <c:pt idx="128">
                  <c:v>Laurent Per</c:v>
                </c:pt>
                <c:pt idx="129">
                  <c:v>Laurent Per</c:v>
                </c:pt>
                <c:pt idx="130">
                  <c:v>Pommery</c:v>
                </c:pt>
                <c:pt idx="131">
                  <c:v>Nicolas</c:v>
                </c:pt>
                <c:pt idx="132">
                  <c:v>Laurent Per</c:v>
                </c:pt>
                <c:pt idx="133">
                  <c:v>Ruinart</c:v>
                </c:pt>
                <c:pt idx="134">
                  <c:v>Roederer</c:v>
                </c:pt>
                <c:pt idx="135">
                  <c:v>Lanson</c:v>
                </c:pt>
                <c:pt idx="136">
                  <c:v>Ruinart</c:v>
                </c:pt>
                <c:pt idx="137">
                  <c:v>Canard Duch</c:v>
                </c:pt>
                <c:pt idx="138">
                  <c:v>Vesselle</c:v>
                </c:pt>
                <c:pt idx="139">
                  <c:v>Pommery</c:v>
                </c:pt>
                <c:pt idx="140">
                  <c:v>Moët &amp; Chan</c:v>
                </c:pt>
                <c:pt idx="141">
                  <c:v>Pommery</c:v>
                </c:pt>
                <c:pt idx="142">
                  <c:v>Nicolas</c:v>
                </c:pt>
                <c:pt idx="143">
                  <c:v>Louis Marti</c:v>
                </c:pt>
                <c:pt idx="144">
                  <c:v>Roederer</c:v>
                </c:pt>
                <c:pt idx="145">
                  <c:v>Dom Perigno</c:v>
                </c:pt>
                <c:pt idx="146">
                  <c:v>All Others</c:v>
                </c:pt>
                <c:pt idx="147">
                  <c:v>Ruinart</c:v>
                </c:pt>
                <c:pt idx="148">
                  <c:v>Ruinart</c:v>
                </c:pt>
                <c:pt idx="149">
                  <c:v>Roederer</c:v>
                </c:pt>
                <c:pt idx="150">
                  <c:v>Demoiselle</c:v>
                </c:pt>
                <c:pt idx="151">
                  <c:v>Nicolas</c:v>
                </c:pt>
                <c:pt idx="152">
                  <c:v>Perrier Jou</c:v>
                </c:pt>
                <c:pt idx="153">
                  <c:v>Vranken</c:v>
                </c:pt>
                <c:pt idx="154">
                  <c:v>Taittinger</c:v>
                </c:pt>
                <c:pt idx="155">
                  <c:v>Deutz</c:v>
                </c:pt>
                <c:pt idx="156">
                  <c:v>Pommery</c:v>
                </c:pt>
                <c:pt idx="157">
                  <c:v>Laurent Per</c:v>
                </c:pt>
                <c:pt idx="158">
                  <c:v>Delamotte</c:v>
                </c:pt>
                <c:pt idx="159">
                  <c:v>Veuve Clicq</c:v>
                </c:pt>
                <c:pt idx="160">
                  <c:v>Veuve Clicq</c:v>
                </c:pt>
                <c:pt idx="161">
                  <c:v>Deutz</c:v>
                </c:pt>
                <c:pt idx="162">
                  <c:v>Ayala</c:v>
                </c:pt>
                <c:pt idx="163">
                  <c:v>Nicolas</c:v>
                </c:pt>
                <c:pt idx="164">
                  <c:v>Roederer</c:v>
                </c:pt>
                <c:pt idx="165">
                  <c:v>Pommery</c:v>
                </c:pt>
                <c:pt idx="166">
                  <c:v>Dom Perigno</c:v>
                </c:pt>
                <c:pt idx="167">
                  <c:v>Bollinger</c:v>
                </c:pt>
                <c:pt idx="168">
                  <c:v>Canard Duch</c:v>
                </c:pt>
                <c:pt idx="169">
                  <c:v>Piper Heids</c:v>
                </c:pt>
                <c:pt idx="170">
                  <c:v>Piper Heids</c:v>
                </c:pt>
                <c:pt idx="171">
                  <c:v>Nicolas</c:v>
                </c:pt>
                <c:pt idx="172">
                  <c:v>Moët &amp; Chan</c:v>
                </c:pt>
                <c:pt idx="173">
                  <c:v>Vesselle</c:v>
                </c:pt>
                <c:pt idx="174">
                  <c:v>Ruinart</c:v>
                </c:pt>
                <c:pt idx="175">
                  <c:v>Nicolas</c:v>
                </c:pt>
                <c:pt idx="176">
                  <c:v>Laurent Per</c:v>
                </c:pt>
                <c:pt idx="177">
                  <c:v>Besserat De</c:v>
                </c:pt>
                <c:pt idx="178">
                  <c:v>Roederer</c:v>
                </c:pt>
                <c:pt idx="179">
                  <c:v>Taittinger</c:v>
                </c:pt>
                <c:pt idx="180">
                  <c:v>Malard</c:v>
                </c:pt>
                <c:pt idx="181">
                  <c:v>Bollinger</c:v>
                </c:pt>
                <c:pt idx="182">
                  <c:v>Bollinger</c:v>
                </c:pt>
                <c:pt idx="183">
                  <c:v>All Others</c:v>
                </c:pt>
                <c:pt idx="184">
                  <c:v>Piper Heids</c:v>
                </c:pt>
                <c:pt idx="185">
                  <c:v>Bollinger</c:v>
                </c:pt>
                <c:pt idx="186">
                  <c:v>All Others</c:v>
                </c:pt>
                <c:pt idx="187">
                  <c:v>Moët &amp; Chan</c:v>
                </c:pt>
                <c:pt idx="188">
                  <c:v>Henriot</c:v>
                </c:pt>
                <c:pt idx="189">
                  <c:v>Roederer</c:v>
                </c:pt>
                <c:pt idx="190">
                  <c:v>Deutz</c:v>
                </c:pt>
                <c:pt idx="191">
                  <c:v>Dom Perigno</c:v>
                </c:pt>
                <c:pt idx="192">
                  <c:v>Canard Duch</c:v>
                </c:pt>
                <c:pt idx="193">
                  <c:v>Moët &amp; Chan</c:v>
                </c:pt>
                <c:pt idx="194">
                  <c:v>Deutz</c:v>
                </c:pt>
                <c:pt idx="195">
                  <c:v>Nicolas</c:v>
                </c:pt>
                <c:pt idx="196">
                  <c:v>De Venoge</c:v>
                </c:pt>
                <c:pt idx="197">
                  <c:v>Ruinart</c:v>
                </c:pt>
                <c:pt idx="198">
                  <c:v>Nicolas</c:v>
                </c:pt>
                <c:pt idx="199">
                  <c:v>All Others</c:v>
                </c:pt>
                <c:pt idx="200">
                  <c:v>Laurent Per</c:v>
                </c:pt>
                <c:pt idx="201">
                  <c:v>Henriot</c:v>
                </c:pt>
                <c:pt idx="202">
                  <c:v>De Venoge</c:v>
                </c:pt>
                <c:pt idx="203">
                  <c:v>Krug</c:v>
                </c:pt>
                <c:pt idx="204">
                  <c:v>Perrier Jou</c:v>
                </c:pt>
                <c:pt idx="205">
                  <c:v>Nicolas</c:v>
                </c:pt>
                <c:pt idx="206">
                  <c:v>De Venoge</c:v>
                </c:pt>
                <c:pt idx="207">
                  <c:v>Lanson</c:v>
                </c:pt>
                <c:pt idx="208">
                  <c:v>Roederer</c:v>
                </c:pt>
                <c:pt idx="209">
                  <c:v>Pommery</c:v>
                </c:pt>
                <c:pt idx="210">
                  <c:v>All Others</c:v>
                </c:pt>
                <c:pt idx="211">
                  <c:v>Deutz</c:v>
                </c:pt>
                <c:pt idx="212">
                  <c:v>Krug</c:v>
                </c:pt>
                <c:pt idx="213">
                  <c:v>Taittinger</c:v>
                </c:pt>
                <c:pt idx="214">
                  <c:v>Ruinart</c:v>
                </c:pt>
                <c:pt idx="215">
                  <c:v>Laurent Per</c:v>
                </c:pt>
                <c:pt idx="216">
                  <c:v>Moët &amp; Chan</c:v>
                </c:pt>
                <c:pt idx="217">
                  <c:v>De Venoge</c:v>
                </c:pt>
                <c:pt idx="218">
                  <c:v>All Others</c:v>
                </c:pt>
                <c:pt idx="219">
                  <c:v>All Others</c:v>
                </c:pt>
                <c:pt idx="220">
                  <c:v>All Others</c:v>
                </c:pt>
                <c:pt idx="221">
                  <c:v>Krug</c:v>
                </c:pt>
                <c:pt idx="222">
                  <c:v>Roederer</c:v>
                </c:pt>
                <c:pt idx="223">
                  <c:v>Veuve Clicq</c:v>
                </c:pt>
                <c:pt idx="224">
                  <c:v>Nicolas Feu</c:v>
                </c:pt>
                <c:pt idx="225">
                  <c:v>All Others</c:v>
                </c:pt>
                <c:pt idx="226">
                  <c:v>Deutz</c:v>
                </c:pt>
                <c:pt idx="227">
                  <c:v>Dom Perigno</c:v>
                </c:pt>
                <c:pt idx="228">
                  <c:v>Roederer</c:v>
                </c:pt>
                <c:pt idx="229">
                  <c:v>Roederer</c:v>
                </c:pt>
                <c:pt idx="230">
                  <c:v>Veuve Clicq</c:v>
                </c:pt>
                <c:pt idx="231">
                  <c:v>Laurent Per</c:v>
                </c:pt>
                <c:pt idx="232">
                  <c:v>All Others</c:v>
                </c:pt>
                <c:pt idx="233">
                  <c:v>Dom Perigno</c:v>
                </c:pt>
                <c:pt idx="234">
                  <c:v>Piper Heids</c:v>
                </c:pt>
                <c:pt idx="235">
                  <c:v>Laurent Per</c:v>
                </c:pt>
                <c:pt idx="236">
                  <c:v>Bollinger</c:v>
                </c:pt>
                <c:pt idx="237">
                  <c:v>Bollinger</c:v>
                </c:pt>
                <c:pt idx="238">
                  <c:v>Ruinart</c:v>
                </c:pt>
                <c:pt idx="239">
                  <c:v>Pommery</c:v>
                </c:pt>
                <c:pt idx="240">
                  <c:v>Canard Duch</c:v>
                </c:pt>
                <c:pt idx="241">
                  <c:v>Veuve Clicq</c:v>
                </c:pt>
                <c:pt idx="242">
                  <c:v>Perrier Jou</c:v>
                </c:pt>
                <c:pt idx="243">
                  <c:v>Deutz</c:v>
                </c:pt>
                <c:pt idx="244">
                  <c:v>Ruinart</c:v>
                </c:pt>
                <c:pt idx="245">
                  <c:v>Taittinger</c:v>
                </c:pt>
                <c:pt idx="246">
                  <c:v>Dom Perigno</c:v>
                </c:pt>
                <c:pt idx="247">
                  <c:v>Deutz</c:v>
                </c:pt>
                <c:pt idx="248">
                  <c:v>Martel</c:v>
                </c:pt>
                <c:pt idx="249">
                  <c:v>Perrier Jou</c:v>
                </c:pt>
                <c:pt idx="250">
                  <c:v>Moët &amp; Chan</c:v>
                </c:pt>
                <c:pt idx="251">
                  <c:v>Delamotte</c:v>
                </c:pt>
                <c:pt idx="252">
                  <c:v>All Others</c:v>
                </c:pt>
                <c:pt idx="253">
                  <c:v>Roederer</c:v>
                </c:pt>
                <c:pt idx="254">
                  <c:v>Bollinger</c:v>
                </c:pt>
                <c:pt idx="255">
                  <c:v>De Bligny</c:v>
                </c:pt>
                <c:pt idx="256">
                  <c:v>Ruinart</c:v>
                </c:pt>
                <c:pt idx="257">
                  <c:v>Bollinger</c:v>
                </c:pt>
                <c:pt idx="258">
                  <c:v>Malard</c:v>
                </c:pt>
                <c:pt idx="259">
                  <c:v>Pommery</c:v>
                </c:pt>
                <c:pt idx="260">
                  <c:v>Roederer</c:v>
                </c:pt>
                <c:pt idx="261">
                  <c:v>All Others</c:v>
                </c:pt>
                <c:pt idx="262">
                  <c:v>Bollinger</c:v>
                </c:pt>
                <c:pt idx="263">
                  <c:v>Ruinart</c:v>
                </c:pt>
                <c:pt idx="264">
                  <c:v>Ayala</c:v>
                </c:pt>
                <c:pt idx="265">
                  <c:v>Lanson</c:v>
                </c:pt>
                <c:pt idx="266">
                  <c:v>Delamotte</c:v>
                </c:pt>
                <c:pt idx="267">
                  <c:v>All Others</c:v>
                </c:pt>
                <c:pt idx="268">
                  <c:v>Ruinart</c:v>
                </c:pt>
                <c:pt idx="269">
                  <c:v>Roederer</c:v>
                </c:pt>
                <c:pt idx="270">
                  <c:v>De Venoge</c:v>
                </c:pt>
                <c:pt idx="271">
                  <c:v>De Venoge</c:v>
                </c:pt>
                <c:pt idx="272">
                  <c:v>Ayala</c:v>
                </c:pt>
                <c:pt idx="273">
                  <c:v>Laurent Per</c:v>
                </c:pt>
                <c:pt idx="274">
                  <c:v>Perrier Jou</c:v>
                </c:pt>
                <c:pt idx="275">
                  <c:v>All Others</c:v>
                </c:pt>
                <c:pt idx="276">
                  <c:v>Moët &amp; Chan</c:v>
                </c:pt>
                <c:pt idx="277">
                  <c:v>Vesselle</c:v>
                </c:pt>
                <c:pt idx="278">
                  <c:v>Bollinger</c:v>
                </c:pt>
                <c:pt idx="279">
                  <c:v>All Others</c:v>
                </c:pt>
                <c:pt idx="280">
                  <c:v>Besserat De</c:v>
                </c:pt>
                <c:pt idx="281">
                  <c:v>Ayala</c:v>
                </c:pt>
                <c:pt idx="282">
                  <c:v>Canard Duch</c:v>
                </c:pt>
                <c:pt idx="283">
                  <c:v>Demoiselle</c:v>
                </c:pt>
                <c:pt idx="284">
                  <c:v>Ruinart</c:v>
                </c:pt>
                <c:pt idx="285">
                  <c:v>Roederer</c:v>
                </c:pt>
                <c:pt idx="286">
                  <c:v>Deutz</c:v>
                </c:pt>
                <c:pt idx="287">
                  <c:v>Dom Perigno</c:v>
                </c:pt>
                <c:pt idx="288">
                  <c:v>Heidsieck &amp;</c:v>
                </c:pt>
                <c:pt idx="289">
                  <c:v>Dom Perigno</c:v>
                </c:pt>
                <c:pt idx="290">
                  <c:v>Roederer</c:v>
                </c:pt>
                <c:pt idx="291">
                  <c:v>Taittinger</c:v>
                </c:pt>
                <c:pt idx="292">
                  <c:v>Krug</c:v>
                </c:pt>
                <c:pt idx="293">
                  <c:v>Moët &amp; Chan</c:v>
                </c:pt>
                <c:pt idx="294">
                  <c:v>Taittinger</c:v>
                </c:pt>
                <c:pt idx="295">
                  <c:v>Vranken</c:v>
                </c:pt>
                <c:pt idx="296">
                  <c:v>Canard Duch</c:v>
                </c:pt>
                <c:pt idx="297">
                  <c:v>Laurent Per</c:v>
                </c:pt>
                <c:pt idx="298">
                  <c:v>Laurent Per</c:v>
                </c:pt>
                <c:pt idx="299">
                  <c:v>Nicolas Feu</c:v>
                </c:pt>
                <c:pt idx="300">
                  <c:v>Dom Perigno</c:v>
                </c:pt>
                <c:pt idx="301">
                  <c:v>Piper Heids</c:v>
                </c:pt>
                <c:pt idx="302">
                  <c:v>Laurent Per</c:v>
                </c:pt>
                <c:pt idx="303">
                  <c:v>Veuve Clicq</c:v>
                </c:pt>
                <c:pt idx="304">
                  <c:v>All Others</c:v>
                </c:pt>
                <c:pt idx="305">
                  <c:v>Heidsieck &amp;</c:v>
                </c:pt>
                <c:pt idx="306">
                  <c:v>Taittinger</c:v>
                </c:pt>
                <c:pt idx="307">
                  <c:v>Laurent Per</c:v>
                </c:pt>
                <c:pt idx="308">
                  <c:v>All Others</c:v>
                </c:pt>
                <c:pt idx="309">
                  <c:v>Piper Heids</c:v>
                </c:pt>
                <c:pt idx="310">
                  <c:v>Nicolas Feu</c:v>
                </c:pt>
                <c:pt idx="311">
                  <c:v>Ayala</c:v>
                </c:pt>
                <c:pt idx="312">
                  <c:v>Roederer</c:v>
                </c:pt>
                <c:pt idx="313">
                  <c:v>All Others</c:v>
                </c:pt>
                <c:pt idx="314">
                  <c:v>Krug</c:v>
                </c:pt>
                <c:pt idx="315">
                  <c:v>Demoiselle</c:v>
                </c:pt>
                <c:pt idx="316">
                  <c:v>Henriot</c:v>
                </c:pt>
                <c:pt idx="317">
                  <c:v>De Venoge</c:v>
                </c:pt>
                <c:pt idx="318">
                  <c:v>Deutz</c:v>
                </c:pt>
                <c:pt idx="319">
                  <c:v>Nicolas Feu</c:v>
                </c:pt>
                <c:pt idx="320">
                  <c:v>Krug</c:v>
                </c:pt>
                <c:pt idx="321">
                  <c:v>Ruinart</c:v>
                </c:pt>
                <c:pt idx="322">
                  <c:v>Ruinart</c:v>
                </c:pt>
                <c:pt idx="323">
                  <c:v>De Bligny</c:v>
                </c:pt>
                <c:pt idx="324">
                  <c:v>Moët &amp; Chan</c:v>
                </c:pt>
                <c:pt idx="325">
                  <c:v>Besserat De</c:v>
                </c:pt>
                <c:pt idx="326">
                  <c:v>Bollinger</c:v>
                </c:pt>
                <c:pt idx="327">
                  <c:v>All Others</c:v>
                </c:pt>
                <c:pt idx="328">
                  <c:v>Veuve Clicq</c:v>
                </c:pt>
                <c:pt idx="329">
                  <c:v>All Others</c:v>
                </c:pt>
                <c:pt idx="330">
                  <c:v>Roederer</c:v>
                </c:pt>
                <c:pt idx="331">
                  <c:v>Laurent Per</c:v>
                </c:pt>
                <c:pt idx="332">
                  <c:v>Taittinger</c:v>
                </c:pt>
                <c:pt idx="333">
                  <c:v>Nicolas</c:v>
                </c:pt>
                <c:pt idx="334">
                  <c:v>Laurent Per</c:v>
                </c:pt>
                <c:pt idx="335">
                  <c:v>Bollinger</c:v>
                </c:pt>
                <c:pt idx="336">
                  <c:v>All Others</c:v>
                </c:pt>
                <c:pt idx="337">
                  <c:v>Mumm</c:v>
                </c:pt>
                <c:pt idx="338">
                  <c:v>Demoiselle</c:v>
                </c:pt>
                <c:pt idx="339">
                  <c:v>Malard</c:v>
                </c:pt>
                <c:pt idx="340">
                  <c:v>Canard Duch</c:v>
                </c:pt>
                <c:pt idx="341">
                  <c:v>Vesselle</c:v>
                </c:pt>
                <c:pt idx="342">
                  <c:v>Piper Heids</c:v>
                </c:pt>
                <c:pt idx="343">
                  <c:v>Pommery</c:v>
                </c:pt>
                <c:pt idx="344">
                  <c:v>Malard</c:v>
                </c:pt>
                <c:pt idx="345">
                  <c:v>Pommery</c:v>
                </c:pt>
                <c:pt idx="346">
                  <c:v>Roederer</c:v>
                </c:pt>
                <c:pt idx="347">
                  <c:v>Taittinger</c:v>
                </c:pt>
                <c:pt idx="348">
                  <c:v>Moët &amp; Chan</c:v>
                </c:pt>
                <c:pt idx="349">
                  <c:v>Moët &amp; Chan</c:v>
                </c:pt>
                <c:pt idx="350">
                  <c:v>All Others</c:v>
                </c:pt>
                <c:pt idx="351">
                  <c:v>Besserat De</c:v>
                </c:pt>
                <c:pt idx="352">
                  <c:v>All Others</c:v>
                </c:pt>
                <c:pt idx="353">
                  <c:v>Moët &amp; Chan</c:v>
                </c:pt>
                <c:pt idx="354">
                  <c:v>Roederer</c:v>
                </c:pt>
              </c:strCache>
            </c:strRef>
          </c:cat>
          <c:val>
            <c:numRef>
              <c:f>Sheet1!$B$2:$B$356</c:f>
              <c:numCache>
                <c:formatCode>General</c:formatCode>
                <c:ptCount val="355"/>
                <c:pt idx="0">
                  <c:v>1</c:v>
                </c:pt>
                <c:pt idx="1">
                  <c:v>0.99</c:v>
                </c:pt>
                <c:pt idx="2">
                  <c:v>0.99</c:v>
                </c:pt>
                <c:pt idx="3">
                  <c:v>0.83</c:v>
                </c:pt>
                <c:pt idx="4">
                  <c:v>0.95</c:v>
                </c:pt>
                <c:pt idx="5">
                  <c:v>0.98</c:v>
                </c:pt>
                <c:pt idx="6">
                  <c:v>0.94</c:v>
                </c:pt>
                <c:pt idx="7">
                  <c:v>0.95</c:v>
                </c:pt>
                <c:pt idx="8">
                  <c:v>0.97</c:v>
                </c:pt>
                <c:pt idx="9">
                  <c:v>0.93</c:v>
                </c:pt>
                <c:pt idx="10">
                  <c:v>0.65</c:v>
                </c:pt>
                <c:pt idx="11">
                  <c:v>0.88</c:v>
                </c:pt>
                <c:pt idx="12">
                  <c:v>0.95</c:v>
                </c:pt>
                <c:pt idx="13">
                  <c:v>0.86</c:v>
                </c:pt>
                <c:pt idx="14">
                  <c:v>0.83</c:v>
                </c:pt>
                <c:pt idx="15">
                  <c:v>0.66</c:v>
                </c:pt>
                <c:pt idx="16">
                  <c:v>0.89</c:v>
                </c:pt>
                <c:pt idx="17">
                  <c:v>0.83</c:v>
                </c:pt>
                <c:pt idx="18">
                  <c:v>0.51</c:v>
                </c:pt>
                <c:pt idx="19">
                  <c:v>0.81</c:v>
                </c:pt>
                <c:pt idx="20">
                  <c:v>0.66</c:v>
                </c:pt>
                <c:pt idx="21">
                  <c:v>0.68</c:v>
                </c:pt>
                <c:pt idx="22">
                  <c:v>0.72</c:v>
                </c:pt>
                <c:pt idx="23">
                  <c:v>0.65</c:v>
                </c:pt>
                <c:pt idx="24">
                  <c:v>0.72</c:v>
                </c:pt>
                <c:pt idx="25">
                  <c:v>0.59</c:v>
                </c:pt>
                <c:pt idx="26">
                  <c:v>0.68</c:v>
                </c:pt>
                <c:pt idx="27">
                  <c:v>0.28000000000000003</c:v>
                </c:pt>
                <c:pt idx="28">
                  <c:v>0.68</c:v>
                </c:pt>
                <c:pt idx="29">
                  <c:v>0.66</c:v>
                </c:pt>
                <c:pt idx="30">
                  <c:v>0.72</c:v>
                </c:pt>
                <c:pt idx="31">
                  <c:v>0.62</c:v>
                </c:pt>
                <c:pt idx="32">
                  <c:v>0.68</c:v>
                </c:pt>
                <c:pt idx="33">
                  <c:v>0.35</c:v>
                </c:pt>
                <c:pt idx="34">
                  <c:v>0.67</c:v>
                </c:pt>
                <c:pt idx="35">
                  <c:v>0.52</c:v>
                </c:pt>
                <c:pt idx="36">
                  <c:v>0.76</c:v>
                </c:pt>
                <c:pt idx="37">
                  <c:v>0.3</c:v>
                </c:pt>
                <c:pt idx="38">
                  <c:v>0.55000000000000004</c:v>
                </c:pt>
                <c:pt idx="39">
                  <c:v>0.49</c:v>
                </c:pt>
                <c:pt idx="40">
                  <c:v>0.56000000000000005</c:v>
                </c:pt>
                <c:pt idx="41">
                  <c:v>0.53</c:v>
                </c:pt>
                <c:pt idx="42">
                  <c:v>0.56000000000000005</c:v>
                </c:pt>
                <c:pt idx="43">
                  <c:v>0.4</c:v>
                </c:pt>
                <c:pt idx="44">
                  <c:v>0.62</c:v>
                </c:pt>
                <c:pt idx="45">
                  <c:v>0.49</c:v>
                </c:pt>
                <c:pt idx="46">
                  <c:v>0.45</c:v>
                </c:pt>
                <c:pt idx="47">
                  <c:v>0.59</c:v>
                </c:pt>
                <c:pt idx="48">
                  <c:v>0.4</c:v>
                </c:pt>
                <c:pt idx="49">
                  <c:v>0.55000000000000004</c:v>
                </c:pt>
                <c:pt idx="50">
                  <c:v>0.59</c:v>
                </c:pt>
                <c:pt idx="51">
                  <c:v>0.62</c:v>
                </c:pt>
                <c:pt idx="52">
                  <c:v>0.72</c:v>
                </c:pt>
                <c:pt idx="53">
                  <c:v>0.59</c:v>
                </c:pt>
                <c:pt idx="54">
                  <c:v>0.49</c:v>
                </c:pt>
                <c:pt idx="55">
                  <c:v>0.52</c:v>
                </c:pt>
                <c:pt idx="56">
                  <c:v>0.59</c:v>
                </c:pt>
                <c:pt idx="57">
                  <c:v>0.37</c:v>
                </c:pt>
                <c:pt idx="58">
                  <c:v>0.53</c:v>
                </c:pt>
                <c:pt idx="59">
                  <c:v>0.78</c:v>
                </c:pt>
                <c:pt idx="60">
                  <c:v>0.5</c:v>
                </c:pt>
                <c:pt idx="61">
                  <c:v>0.53</c:v>
                </c:pt>
                <c:pt idx="62">
                  <c:v>0.19</c:v>
                </c:pt>
                <c:pt idx="63">
                  <c:v>0.59</c:v>
                </c:pt>
                <c:pt idx="64">
                  <c:v>0.37</c:v>
                </c:pt>
                <c:pt idx="65">
                  <c:v>0.48</c:v>
                </c:pt>
                <c:pt idx="66">
                  <c:v>0.74</c:v>
                </c:pt>
                <c:pt idx="67">
                  <c:v>0.63</c:v>
                </c:pt>
                <c:pt idx="68">
                  <c:v>0.26</c:v>
                </c:pt>
                <c:pt idx="69">
                  <c:v>0.14000000000000001</c:v>
                </c:pt>
                <c:pt idx="70">
                  <c:v>0.16</c:v>
                </c:pt>
                <c:pt idx="71">
                  <c:v>0.59</c:v>
                </c:pt>
                <c:pt idx="72">
                  <c:v>0.27</c:v>
                </c:pt>
                <c:pt idx="73">
                  <c:v>0.39</c:v>
                </c:pt>
                <c:pt idx="74">
                  <c:v>0.32</c:v>
                </c:pt>
                <c:pt idx="75">
                  <c:v>0.39</c:v>
                </c:pt>
                <c:pt idx="76">
                  <c:v>0.24</c:v>
                </c:pt>
                <c:pt idx="77">
                  <c:v>0.18</c:v>
                </c:pt>
                <c:pt idx="78">
                  <c:v>0.17</c:v>
                </c:pt>
                <c:pt idx="79">
                  <c:v>0.31</c:v>
                </c:pt>
                <c:pt idx="80">
                  <c:v>0.12</c:v>
                </c:pt>
                <c:pt idx="81">
                  <c:v>0.18</c:v>
                </c:pt>
                <c:pt idx="82">
                  <c:v>0.33</c:v>
                </c:pt>
                <c:pt idx="83">
                  <c:v>0.22</c:v>
                </c:pt>
                <c:pt idx="84">
                  <c:v>0.12</c:v>
                </c:pt>
                <c:pt idx="85">
                  <c:v>0.26</c:v>
                </c:pt>
                <c:pt idx="86">
                  <c:v>0.11</c:v>
                </c:pt>
                <c:pt idx="87">
                  <c:v>0.19</c:v>
                </c:pt>
                <c:pt idx="88">
                  <c:v>0.39</c:v>
                </c:pt>
                <c:pt idx="89">
                  <c:v>0.28000000000000003</c:v>
                </c:pt>
                <c:pt idx="90">
                  <c:v>0.3</c:v>
                </c:pt>
                <c:pt idx="91">
                  <c:v>0.28000000000000003</c:v>
                </c:pt>
                <c:pt idx="92">
                  <c:v>0.32</c:v>
                </c:pt>
                <c:pt idx="93">
                  <c:v>0.18</c:v>
                </c:pt>
                <c:pt idx="94">
                  <c:v>0.14000000000000001</c:v>
                </c:pt>
                <c:pt idx="95">
                  <c:v>0.12</c:v>
                </c:pt>
                <c:pt idx="96">
                  <c:v>0.12</c:v>
                </c:pt>
                <c:pt idx="97">
                  <c:v>0.38</c:v>
                </c:pt>
                <c:pt idx="98">
                  <c:v>0.18</c:v>
                </c:pt>
                <c:pt idx="99">
                  <c:v>0.43</c:v>
                </c:pt>
                <c:pt idx="100">
                  <c:v>0.18</c:v>
                </c:pt>
                <c:pt idx="101">
                  <c:v>0.17</c:v>
                </c:pt>
                <c:pt idx="102">
                  <c:v>0.28000000000000003</c:v>
                </c:pt>
                <c:pt idx="103">
                  <c:v>0.12</c:v>
                </c:pt>
                <c:pt idx="104">
                  <c:v>0.16</c:v>
                </c:pt>
                <c:pt idx="105">
                  <c:v>0.33</c:v>
                </c:pt>
                <c:pt idx="106">
                  <c:v>0.25</c:v>
                </c:pt>
                <c:pt idx="107">
                  <c:v>0.15</c:v>
                </c:pt>
                <c:pt idx="108">
                  <c:v>0.2</c:v>
                </c:pt>
                <c:pt idx="109">
                  <c:v>0.14000000000000001</c:v>
                </c:pt>
                <c:pt idx="110">
                  <c:v>0.14000000000000001</c:v>
                </c:pt>
                <c:pt idx="111">
                  <c:v>0.33</c:v>
                </c:pt>
                <c:pt idx="112">
                  <c:v>0.15</c:v>
                </c:pt>
                <c:pt idx="113">
                  <c:v>7.0000000000000007E-2</c:v>
                </c:pt>
                <c:pt idx="114">
                  <c:v>0.26</c:v>
                </c:pt>
                <c:pt idx="115">
                  <c:v>0.24</c:v>
                </c:pt>
                <c:pt idx="116">
                  <c:v>0.14000000000000001</c:v>
                </c:pt>
                <c:pt idx="117">
                  <c:v>0.27</c:v>
                </c:pt>
                <c:pt idx="118">
                  <c:v>0.16</c:v>
                </c:pt>
                <c:pt idx="119">
                  <c:v>0.05</c:v>
                </c:pt>
                <c:pt idx="120">
                  <c:v>0.12</c:v>
                </c:pt>
                <c:pt idx="121">
                  <c:v>0.05</c:v>
                </c:pt>
                <c:pt idx="122">
                  <c:v>0.27</c:v>
                </c:pt>
                <c:pt idx="123">
                  <c:v>0.12</c:v>
                </c:pt>
                <c:pt idx="124">
                  <c:v>0.18</c:v>
                </c:pt>
                <c:pt idx="125">
                  <c:v>0.24</c:v>
                </c:pt>
                <c:pt idx="126">
                  <c:v>0.26</c:v>
                </c:pt>
                <c:pt idx="127">
                  <c:v>0.18</c:v>
                </c:pt>
                <c:pt idx="128">
                  <c:v>0.08</c:v>
                </c:pt>
                <c:pt idx="129">
                  <c:v>0.04</c:v>
                </c:pt>
                <c:pt idx="130">
                  <c:v>0.13</c:v>
                </c:pt>
                <c:pt idx="131">
                  <c:v>0.32</c:v>
                </c:pt>
                <c:pt idx="132">
                  <c:v>0.04</c:v>
                </c:pt>
                <c:pt idx="133">
                  <c:v>0.08</c:v>
                </c:pt>
                <c:pt idx="134">
                  <c:v>0.21</c:v>
                </c:pt>
                <c:pt idx="135">
                  <c:v>0.09</c:v>
                </c:pt>
                <c:pt idx="136">
                  <c:v>0.04</c:v>
                </c:pt>
                <c:pt idx="137">
                  <c:v>0.08</c:v>
                </c:pt>
                <c:pt idx="138">
                  <c:v>0.16</c:v>
                </c:pt>
                <c:pt idx="139">
                  <c:v>0.08</c:v>
                </c:pt>
                <c:pt idx="140">
                  <c:v>0.1</c:v>
                </c:pt>
                <c:pt idx="141">
                  <c:v>0.13</c:v>
                </c:pt>
                <c:pt idx="142">
                  <c:v>0.18</c:v>
                </c:pt>
                <c:pt idx="143">
                  <c:v>0.2</c:v>
                </c:pt>
                <c:pt idx="144">
                  <c:v>0.03</c:v>
                </c:pt>
                <c:pt idx="145">
                  <c:v>0.03</c:v>
                </c:pt>
                <c:pt idx="146">
                  <c:v>0.09</c:v>
                </c:pt>
                <c:pt idx="147">
                  <c:v>7.0000000000000007E-2</c:v>
                </c:pt>
                <c:pt idx="148">
                  <c:v>0.05</c:v>
                </c:pt>
                <c:pt idx="149">
                  <c:v>0.03</c:v>
                </c:pt>
                <c:pt idx="150">
                  <c:v>0.16</c:v>
                </c:pt>
                <c:pt idx="151">
                  <c:v>0.18</c:v>
                </c:pt>
                <c:pt idx="152">
                  <c:v>0.04</c:v>
                </c:pt>
                <c:pt idx="153">
                  <c:v>0.05</c:v>
                </c:pt>
                <c:pt idx="154">
                  <c:v>0.02</c:v>
                </c:pt>
                <c:pt idx="155">
                  <c:v>0.04</c:v>
                </c:pt>
                <c:pt idx="156">
                  <c:v>0.04</c:v>
                </c:pt>
                <c:pt idx="157">
                  <c:v>0.03</c:v>
                </c:pt>
                <c:pt idx="158">
                  <c:v>0.09</c:v>
                </c:pt>
                <c:pt idx="159">
                  <c:v>0.18</c:v>
                </c:pt>
                <c:pt idx="160">
                  <c:v>0.04</c:v>
                </c:pt>
                <c:pt idx="161">
                  <c:v>0.03</c:v>
                </c:pt>
                <c:pt idx="162">
                  <c:v>0.05</c:v>
                </c:pt>
                <c:pt idx="163">
                  <c:v>0.04</c:v>
                </c:pt>
                <c:pt idx="164">
                  <c:v>0.05</c:v>
                </c:pt>
                <c:pt idx="165">
                  <c:v>0.08</c:v>
                </c:pt>
                <c:pt idx="166">
                  <c:v>0.03</c:v>
                </c:pt>
                <c:pt idx="167">
                  <c:v>0.02</c:v>
                </c:pt>
                <c:pt idx="168">
                  <c:v>0.08</c:v>
                </c:pt>
                <c:pt idx="169">
                  <c:v>0.02</c:v>
                </c:pt>
                <c:pt idx="170">
                  <c:v>0.03</c:v>
                </c:pt>
                <c:pt idx="171">
                  <c:v>0.09</c:v>
                </c:pt>
                <c:pt idx="172">
                  <c:v>0.05</c:v>
                </c:pt>
                <c:pt idx="173">
                  <c:v>7.0000000000000007E-2</c:v>
                </c:pt>
                <c:pt idx="174">
                  <c:v>0.03</c:v>
                </c:pt>
                <c:pt idx="175">
                  <c:v>0.11</c:v>
                </c:pt>
                <c:pt idx="176">
                  <c:v>0.04</c:v>
                </c:pt>
                <c:pt idx="177">
                  <c:v>7.0000000000000007E-2</c:v>
                </c:pt>
                <c:pt idx="178">
                  <c:v>0.04</c:v>
                </c:pt>
                <c:pt idx="179">
                  <c:v>0.01</c:v>
                </c:pt>
                <c:pt idx="180">
                  <c:v>0.04</c:v>
                </c:pt>
                <c:pt idx="181">
                  <c:v>0.04</c:v>
                </c:pt>
                <c:pt idx="182">
                  <c:v>0.06</c:v>
                </c:pt>
                <c:pt idx="183">
                  <c:v>0.02</c:v>
                </c:pt>
                <c:pt idx="184">
                  <c:v>0.03</c:v>
                </c:pt>
                <c:pt idx="185">
                  <c:v>0.01</c:v>
                </c:pt>
                <c:pt idx="186">
                  <c:v>0.04</c:v>
                </c:pt>
                <c:pt idx="187">
                  <c:v>0.06</c:v>
                </c:pt>
                <c:pt idx="188">
                  <c:v>0.03</c:v>
                </c:pt>
                <c:pt idx="189">
                  <c:v>0.01</c:v>
                </c:pt>
                <c:pt idx="190">
                  <c:v>0.03</c:v>
                </c:pt>
                <c:pt idx="191">
                  <c:v>0.01</c:v>
                </c:pt>
                <c:pt idx="192">
                  <c:v>0.08</c:v>
                </c:pt>
                <c:pt idx="193">
                  <c:v>0.04</c:v>
                </c:pt>
                <c:pt idx="194">
                  <c:v>0.02</c:v>
                </c:pt>
                <c:pt idx="195">
                  <c:v>0.05</c:v>
                </c:pt>
                <c:pt idx="196">
                  <c:v>0.04</c:v>
                </c:pt>
                <c:pt idx="197">
                  <c:v>0.01</c:v>
                </c:pt>
                <c:pt idx="198">
                  <c:v>0.04</c:v>
                </c:pt>
                <c:pt idx="199">
                  <c:v>0.03</c:v>
                </c:pt>
                <c:pt idx="200">
                  <c:v>0.05</c:v>
                </c:pt>
                <c:pt idx="201">
                  <c:v>0.03</c:v>
                </c:pt>
                <c:pt idx="202">
                  <c:v>0.02</c:v>
                </c:pt>
                <c:pt idx="203">
                  <c:v>0.02</c:v>
                </c:pt>
                <c:pt idx="204">
                  <c:v>0.02</c:v>
                </c:pt>
                <c:pt idx="205">
                  <c:v>0.02</c:v>
                </c:pt>
                <c:pt idx="206">
                  <c:v>0.04</c:v>
                </c:pt>
                <c:pt idx="207">
                  <c:v>0.02</c:v>
                </c:pt>
                <c:pt idx="208">
                  <c:v>0.01</c:v>
                </c:pt>
                <c:pt idx="209">
                  <c:v>0.02</c:v>
                </c:pt>
                <c:pt idx="210">
                  <c:v>0.04</c:v>
                </c:pt>
                <c:pt idx="211">
                  <c:v>0.04</c:v>
                </c:pt>
                <c:pt idx="212">
                  <c:v>0.02</c:v>
                </c:pt>
                <c:pt idx="213">
                  <c:v>0.03</c:v>
                </c:pt>
                <c:pt idx="214">
                  <c:v>0.01</c:v>
                </c:pt>
                <c:pt idx="215">
                  <c:v>0.01</c:v>
                </c:pt>
                <c:pt idx="216">
                  <c:v>0.02</c:v>
                </c:pt>
                <c:pt idx="217">
                  <c:v>0.02</c:v>
                </c:pt>
                <c:pt idx="218">
                  <c:v>0.03</c:v>
                </c:pt>
                <c:pt idx="219">
                  <c:v>0.02</c:v>
                </c:pt>
                <c:pt idx="220">
                  <c:v>0.04</c:v>
                </c:pt>
                <c:pt idx="221">
                  <c:v>0.03</c:v>
                </c:pt>
                <c:pt idx="222">
                  <c:v>0.03</c:v>
                </c:pt>
                <c:pt idx="223">
                  <c:v>0.05</c:v>
                </c:pt>
                <c:pt idx="224">
                  <c:v>0.02</c:v>
                </c:pt>
                <c:pt idx="225">
                  <c:v>0.01</c:v>
                </c:pt>
                <c:pt idx="226">
                  <c:v>0.04</c:v>
                </c:pt>
                <c:pt idx="227">
                  <c:v>0.02</c:v>
                </c:pt>
                <c:pt idx="228">
                  <c:v>0.01</c:v>
                </c:pt>
                <c:pt idx="229">
                  <c:v>0.01</c:v>
                </c:pt>
                <c:pt idx="230">
                  <c:v>0.18</c:v>
                </c:pt>
                <c:pt idx="231">
                  <c:v>0.06</c:v>
                </c:pt>
                <c:pt idx="232">
                  <c:v>0.02</c:v>
                </c:pt>
                <c:pt idx="233">
                  <c:v>0.01</c:v>
                </c:pt>
                <c:pt idx="234">
                  <c:v>0.02</c:v>
                </c:pt>
                <c:pt idx="235">
                  <c:v>0.01</c:v>
                </c:pt>
                <c:pt idx="236">
                  <c:v>0.01</c:v>
                </c:pt>
                <c:pt idx="237">
                  <c:v>0.02</c:v>
                </c:pt>
                <c:pt idx="238">
                  <c:v>0.01</c:v>
                </c:pt>
                <c:pt idx="239">
                  <c:v>0.02</c:v>
                </c:pt>
                <c:pt idx="240">
                  <c:v>0.06</c:v>
                </c:pt>
                <c:pt idx="241">
                  <c:v>0.01</c:v>
                </c:pt>
                <c:pt idx="242">
                  <c:v>0.04</c:v>
                </c:pt>
                <c:pt idx="243">
                  <c:v>0.04</c:v>
                </c:pt>
                <c:pt idx="244">
                  <c:v>0.01</c:v>
                </c:pt>
                <c:pt idx="245">
                  <c:v>0.03</c:v>
                </c:pt>
                <c:pt idx="246">
                  <c:v>0.01</c:v>
                </c:pt>
                <c:pt idx="247">
                  <c:v>0.02</c:v>
                </c:pt>
                <c:pt idx="248">
                  <c:v>0.01</c:v>
                </c:pt>
                <c:pt idx="249">
                  <c:v>0.01</c:v>
                </c:pt>
                <c:pt idx="250">
                  <c:v>0.02</c:v>
                </c:pt>
                <c:pt idx="251">
                  <c:v>0.04</c:v>
                </c:pt>
                <c:pt idx="252">
                  <c:v>0.03</c:v>
                </c:pt>
                <c:pt idx="253">
                  <c:v>0.01</c:v>
                </c:pt>
                <c:pt idx="254">
                  <c:v>0.02</c:v>
                </c:pt>
                <c:pt idx="255">
                  <c:v>0.01</c:v>
                </c:pt>
                <c:pt idx="256">
                  <c:v>0.02</c:v>
                </c:pt>
                <c:pt idx="257">
                  <c:v>0.02</c:v>
                </c:pt>
                <c:pt idx="258">
                  <c:v>0.01</c:v>
                </c:pt>
                <c:pt idx="259">
                  <c:v>0.01</c:v>
                </c:pt>
                <c:pt idx="260">
                  <c:v>0.01</c:v>
                </c:pt>
                <c:pt idx="261">
                  <c:v>0.06</c:v>
                </c:pt>
                <c:pt idx="262">
                  <c:v>0.02</c:v>
                </c:pt>
                <c:pt idx="263">
                  <c:v>0.01</c:v>
                </c:pt>
                <c:pt idx="264">
                  <c:v>0.04</c:v>
                </c:pt>
                <c:pt idx="265">
                  <c:v>0.03</c:v>
                </c:pt>
                <c:pt idx="266">
                  <c:v>0.03</c:v>
                </c:pt>
                <c:pt idx="267">
                  <c:v>0.02</c:v>
                </c:pt>
                <c:pt idx="268">
                  <c:v>0.01</c:v>
                </c:pt>
                <c:pt idx="269">
                  <c:v>0.01</c:v>
                </c:pt>
                <c:pt idx="270">
                  <c:v>0.02</c:v>
                </c:pt>
                <c:pt idx="271">
                  <c:v>0.03</c:v>
                </c:pt>
                <c:pt idx="272">
                  <c:v>0.01</c:v>
                </c:pt>
                <c:pt idx="273">
                  <c:v>0.01</c:v>
                </c:pt>
                <c:pt idx="274">
                  <c:v>0.02</c:v>
                </c:pt>
                <c:pt idx="275">
                  <c:v>0.04</c:v>
                </c:pt>
                <c:pt idx="276">
                  <c:v>0.02</c:v>
                </c:pt>
                <c:pt idx="277">
                  <c:v>0.04</c:v>
                </c:pt>
                <c:pt idx="278">
                  <c:v>0.02</c:v>
                </c:pt>
                <c:pt idx="279">
                  <c:v>0.04</c:v>
                </c:pt>
                <c:pt idx="280">
                  <c:v>0.01</c:v>
                </c:pt>
                <c:pt idx="281">
                  <c:v>0.03</c:v>
                </c:pt>
                <c:pt idx="282">
                  <c:v>0.02</c:v>
                </c:pt>
                <c:pt idx="283">
                  <c:v>0.01</c:v>
                </c:pt>
                <c:pt idx="284">
                  <c:v>0.01</c:v>
                </c:pt>
                <c:pt idx="285">
                  <c:v>0.01</c:v>
                </c:pt>
                <c:pt idx="286">
                  <c:v>0.01</c:v>
                </c:pt>
                <c:pt idx="287">
                  <c:v>0.03</c:v>
                </c:pt>
                <c:pt idx="288">
                  <c:v>0.02</c:v>
                </c:pt>
                <c:pt idx="289">
                  <c:v>0.01</c:v>
                </c:pt>
                <c:pt idx="290">
                  <c:v>0.01</c:v>
                </c:pt>
                <c:pt idx="291">
                  <c:v>0.01</c:v>
                </c:pt>
                <c:pt idx="292">
                  <c:v>0.02</c:v>
                </c:pt>
                <c:pt idx="293">
                  <c:v>0.03</c:v>
                </c:pt>
                <c:pt idx="294">
                  <c:v>0.01</c:v>
                </c:pt>
                <c:pt idx="295">
                  <c:v>0.03</c:v>
                </c:pt>
                <c:pt idx="296">
                  <c:v>0.02</c:v>
                </c:pt>
                <c:pt idx="297">
                  <c:v>0.01</c:v>
                </c:pt>
                <c:pt idx="298">
                  <c:v>0.01</c:v>
                </c:pt>
                <c:pt idx="299">
                  <c:v>0.02</c:v>
                </c:pt>
                <c:pt idx="300">
                  <c:v>0.01</c:v>
                </c:pt>
                <c:pt idx="301">
                  <c:v>0.04</c:v>
                </c:pt>
                <c:pt idx="302">
                  <c:v>0.01</c:v>
                </c:pt>
                <c:pt idx="303">
                  <c:v>0.02</c:v>
                </c:pt>
                <c:pt idx="304">
                  <c:v>0.01</c:v>
                </c:pt>
                <c:pt idx="305">
                  <c:v>0.01</c:v>
                </c:pt>
                <c:pt idx="306">
                  <c:v>0.01</c:v>
                </c:pt>
                <c:pt idx="307">
                  <c:v>0.01</c:v>
                </c:pt>
                <c:pt idx="308">
                  <c:v>0.01</c:v>
                </c:pt>
                <c:pt idx="309">
                  <c:v>0.04</c:v>
                </c:pt>
                <c:pt idx="310">
                  <c:v>0.01</c:v>
                </c:pt>
                <c:pt idx="311">
                  <c:v>0.01</c:v>
                </c:pt>
                <c:pt idx="312">
                  <c:v>0.01</c:v>
                </c:pt>
                <c:pt idx="313">
                  <c:v>0.01</c:v>
                </c:pt>
                <c:pt idx="314">
                  <c:v>0.01</c:v>
                </c:pt>
                <c:pt idx="315">
                  <c:v>0.01</c:v>
                </c:pt>
                <c:pt idx="316">
                  <c:v>0.03</c:v>
                </c:pt>
                <c:pt idx="317">
                  <c:v>0.01</c:v>
                </c:pt>
                <c:pt idx="318">
                  <c:v>0.01</c:v>
                </c:pt>
                <c:pt idx="319">
                  <c:v>0.01</c:v>
                </c:pt>
                <c:pt idx="320">
                  <c:v>0.01</c:v>
                </c:pt>
                <c:pt idx="321">
                  <c:v>0.01</c:v>
                </c:pt>
                <c:pt idx="322">
                  <c:v>0.01</c:v>
                </c:pt>
                <c:pt idx="323">
                  <c:v>0.03</c:v>
                </c:pt>
                <c:pt idx="324">
                  <c:v>0.04</c:v>
                </c:pt>
                <c:pt idx="325">
                  <c:v>0.01</c:v>
                </c:pt>
                <c:pt idx="326">
                  <c:v>0.01</c:v>
                </c:pt>
                <c:pt idx="327">
                  <c:v>0.01</c:v>
                </c:pt>
                <c:pt idx="328">
                  <c:v>0.01</c:v>
                </c:pt>
                <c:pt idx="329">
                  <c:v>0.01</c:v>
                </c:pt>
                <c:pt idx="330">
                  <c:v>0.01</c:v>
                </c:pt>
                <c:pt idx="331">
                  <c:v>0.01</c:v>
                </c:pt>
                <c:pt idx="332">
                  <c:v>0.01</c:v>
                </c:pt>
                <c:pt idx="333">
                  <c:v>0.01</c:v>
                </c:pt>
                <c:pt idx="334">
                  <c:v>0.01</c:v>
                </c:pt>
                <c:pt idx="335">
                  <c:v>0.03</c:v>
                </c:pt>
                <c:pt idx="336">
                  <c:v>0.01</c:v>
                </c:pt>
                <c:pt idx="337">
                  <c:v>0.01</c:v>
                </c:pt>
                <c:pt idx="338">
                  <c:v>0.01</c:v>
                </c:pt>
                <c:pt idx="339">
                  <c:v>0.01</c:v>
                </c:pt>
                <c:pt idx="340">
                  <c:v>0.01</c:v>
                </c:pt>
                <c:pt idx="341">
                  <c:v>0.02</c:v>
                </c:pt>
                <c:pt idx="342">
                  <c:v>0.01</c:v>
                </c:pt>
                <c:pt idx="343">
                  <c:v>0.01</c:v>
                </c:pt>
                <c:pt idx="344">
                  <c:v>0.01</c:v>
                </c:pt>
                <c:pt idx="345">
                  <c:v>0.01</c:v>
                </c:pt>
                <c:pt idx="346">
                  <c:v>0.01</c:v>
                </c:pt>
                <c:pt idx="347">
                  <c:v>0.02</c:v>
                </c:pt>
                <c:pt idx="348">
                  <c:v>0.02</c:v>
                </c:pt>
                <c:pt idx="349">
                  <c:v>0.02</c:v>
                </c:pt>
                <c:pt idx="350">
                  <c:v>0.01</c:v>
                </c:pt>
                <c:pt idx="351">
                  <c:v>0.01</c:v>
                </c:pt>
                <c:pt idx="352">
                  <c:v>0.02</c:v>
                </c:pt>
                <c:pt idx="353">
                  <c:v>0.01</c:v>
                </c:pt>
                <c:pt idx="354">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7ECAC4"/>
              </a:solidFill>
            </c:spPr>
            <c:extLst>
              <c:ext xmlns:c16="http://schemas.microsoft.com/office/drawing/2014/chart" uri="{C3380CC4-5D6E-409C-BE32-E72D297353CC}">
                <c16:uniqueId val="{00000097-2993-41DE-A2CB-63102DE87051}"/>
              </c:ext>
            </c:extLst>
          </c:dPt>
          <c:dPt>
            <c:idx val="48"/>
            <c:invertIfNegative val="1"/>
            <c:bubble3D val="0"/>
            <c:spPr>
              <a:solidFill>
                <a:srgbClr val="7ECAC4"/>
              </a:solidFill>
            </c:spPr>
            <c:extLst>
              <c:ext xmlns:c16="http://schemas.microsoft.com/office/drawing/2014/chart" uri="{C3380CC4-5D6E-409C-BE32-E72D297353CC}">
                <c16:uniqueId val="{00000099-2993-41DE-A2CB-63102DE87051}"/>
              </c:ext>
            </c:extLst>
          </c:dPt>
          <c:dPt>
            <c:idx val="49"/>
            <c:invertIfNegative val="1"/>
            <c:bubble3D val="0"/>
            <c:spPr>
              <a:solidFill>
                <a:srgbClr val="7ECAC4"/>
              </a:solidFill>
            </c:spPr>
            <c:extLst>
              <c:ext xmlns:c16="http://schemas.microsoft.com/office/drawing/2014/chart" uri="{C3380CC4-5D6E-409C-BE32-E72D297353CC}">
                <c16:uniqueId val="{0000009B-2993-41DE-A2CB-63102DE87051}"/>
              </c:ext>
            </c:extLst>
          </c:dPt>
          <c:dPt>
            <c:idx val="50"/>
            <c:invertIfNegative val="1"/>
            <c:bubble3D val="0"/>
            <c:spPr>
              <a:solidFill>
                <a:srgbClr val="7ECAC4"/>
              </a:solidFill>
            </c:spPr>
            <c:extLst>
              <c:ext xmlns:c16="http://schemas.microsoft.com/office/drawing/2014/chart" uri="{C3380CC4-5D6E-409C-BE32-E72D297353CC}">
                <c16:uniqueId val="{0000009D-2993-41DE-A2CB-63102DE87051}"/>
              </c:ext>
            </c:extLst>
          </c:dPt>
          <c:dPt>
            <c:idx val="51"/>
            <c:invertIfNegative val="1"/>
            <c:bubble3D val="0"/>
            <c:spPr>
              <a:solidFill>
                <a:srgbClr val="7ECAC4"/>
              </a:solidFill>
            </c:spPr>
            <c:extLst>
              <c:ext xmlns:c16="http://schemas.microsoft.com/office/drawing/2014/chart" uri="{C3380CC4-5D6E-409C-BE32-E72D297353CC}">
                <c16:uniqueId val="{0000009F-2993-41DE-A2CB-63102DE87051}"/>
              </c:ext>
            </c:extLst>
          </c:dPt>
          <c:dPt>
            <c:idx val="52"/>
            <c:invertIfNegative val="1"/>
            <c:bubble3D val="0"/>
            <c:spPr>
              <a:solidFill>
                <a:srgbClr val="7ECAC4"/>
              </a:solidFill>
            </c:spPr>
            <c:extLst>
              <c:ext xmlns:c16="http://schemas.microsoft.com/office/drawing/2014/chart" uri="{C3380CC4-5D6E-409C-BE32-E72D297353CC}">
                <c16:uniqueId val="{000000A1-2993-41DE-A2CB-63102DE87051}"/>
              </c:ext>
            </c:extLst>
          </c:dPt>
          <c:dPt>
            <c:idx val="53"/>
            <c:invertIfNegative val="1"/>
            <c:bubble3D val="0"/>
            <c:spPr>
              <a:solidFill>
                <a:srgbClr val="7ECAC4"/>
              </a:solidFill>
            </c:spPr>
            <c:extLst>
              <c:ext xmlns:c16="http://schemas.microsoft.com/office/drawing/2014/chart" uri="{C3380CC4-5D6E-409C-BE32-E72D297353CC}">
                <c16:uniqueId val="{000000A3-2993-41DE-A2CB-63102DE87051}"/>
              </c:ext>
            </c:extLst>
          </c:dPt>
          <c:dPt>
            <c:idx val="54"/>
            <c:invertIfNegative val="0"/>
            <c:bubble3D val="0"/>
            <c:spPr>
              <a:solidFill>
                <a:srgbClr val="7ECAC4"/>
              </a:solidFill>
            </c:spPr>
            <c:extLst>
              <c:ext xmlns:c16="http://schemas.microsoft.com/office/drawing/2014/chart" uri="{C3380CC4-5D6E-409C-BE32-E72D297353CC}">
                <c16:uniqueId val="{00000072-C76F-4230-900D-40618C09729F}"/>
              </c:ext>
            </c:extLst>
          </c:dPt>
          <c:dPt>
            <c:idx val="55"/>
            <c:invertIfNegative val="0"/>
            <c:bubble3D val="0"/>
            <c:spPr>
              <a:solidFill>
                <a:srgbClr val="7ECAC4"/>
              </a:solidFill>
            </c:spPr>
            <c:extLst>
              <c:ext xmlns:c16="http://schemas.microsoft.com/office/drawing/2014/chart" uri="{C3380CC4-5D6E-409C-BE32-E72D297353CC}">
                <c16:uniqueId val="{00000074-C76F-4230-900D-40618C09729F}"/>
              </c:ext>
            </c:extLst>
          </c:dPt>
          <c:dPt>
            <c:idx val="56"/>
            <c:invertIfNegative val="0"/>
            <c:bubble3D val="0"/>
            <c:spPr>
              <a:solidFill>
                <a:srgbClr val="7ECAC4"/>
              </a:solidFill>
            </c:spPr>
            <c:extLst>
              <c:ext xmlns:c16="http://schemas.microsoft.com/office/drawing/2014/chart" uri="{C3380CC4-5D6E-409C-BE32-E72D297353CC}">
                <c16:uniqueId val="{00000076-C76F-4230-900D-40618C09729F}"/>
              </c:ext>
            </c:extLst>
          </c:dPt>
          <c:dPt>
            <c:idx val="57"/>
            <c:invertIfNegative val="0"/>
            <c:bubble3D val="0"/>
            <c:spPr>
              <a:solidFill>
                <a:srgbClr val="7ECAC4"/>
              </a:solidFill>
            </c:spPr>
            <c:extLst>
              <c:ext xmlns:c16="http://schemas.microsoft.com/office/drawing/2014/chart" uri="{C3380CC4-5D6E-409C-BE32-E72D297353CC}">
                <c16:uniqueId val="{00000078-C76F-4230-900D-40618C09729F}"/>
              </c:ext>
            </c:extLst>
          </c:dPt>
          <c:dPt>
            <c:idx val="58"/>
            <c:invertIfNegative val="0"/>
            <c:bubble3D val="0"/>
            <c:spPr>
              <a:solidFill>
                <a:srgbClr val="7ECAC4"/>
              </a:solidFill>
            </c:spPr>
            <c:extLst>
              <c:ext xmlns:c16="http://schemas.microsoft.com/office/drawing/2014/chart" uri="{C3380CC4-5D6E-409C-BE32-E72D297353CC}">
                <c16:uniqueId val="{0000007A-C76F-4230-900D-40618C09729F}"/>
              </c:ext>
            </c:extLst>
          </c:dPt>
          <c:dPt>
            <c:idx val="59"/>
            <c:invertIfNegative val="0"/>
            <c:bubble3D val="0"/>
            <c:spPr>
              <a:solidFill>
                <a:srgbClr val="7ECAC4"/>
              </a:solidFill>
            </c:spPr>
            <c:extLst>
              <c:ext xmlns:c16="http://schemas.microsoft.com/office/drawing/2014/chart" uri="{C3380CC4-5D6E-409C-BE32-E72D297353CC}">
                <c16:uniqueId val="{0000007C-C76F-4230-900D-40618C09729F}"/>
              </c:ext>
            </c:extLst>
          </c:dPt>
          <c:dPt>
            <c:idx val="60"/>
            <c:invertIfNegative val="0"/>
            <c:bubble3D val="0"/>
            <c:spPr>
              <a:solidFill>
                <a:srgbClr val="7ECAC4"/>
              </a:solidFill>
            </c:spPr>
            <c:extLst>
              <c:ext xmlns:c16="http://schemas.microsoft.com/office/drawing/2014/chart" uri="{C3380CC4-5D6E-409C-BE32-E72D297353CC}">
                <c16:uniqueId val="{0000007E-C76F-4230-900D-40618C09729F}"/>
              </c:ext>
            </c:extLst>
          </c:dPt>
          <c:dPt>
            <c:idx val="61"/>
            <c:invertIfNegative val="0"/>
            <c:bubble3D val="0"/>
            <c:spPr>
              <a:solidFill>
                <a:srgbClr val="7ECAC4"/>
              </a:solidFill>
            </c:spPr>
            <c:extLst>
              <c:ext xmlns:c16="http://schemas.microsoft.com/office/drawing/2014/chart" uri="{C3380CC4-5D6E-409C-BE32-E72D297353CC}">
                <c16:uniqueId val="{00000080-C76F-4230-900D-40618C09729F}"/>
              </c:ext>
            </c:extLst>
          </c:dPt>
          <c:dPt>
            <c:idx val="62"/>
            <c:invertIfNegative val="0"/>
            <c:bubble3D val="0"/>
            <c:spPr>
              <a:solidFill>
                <a:srgbClr val="7ECAC4"/>
              </a:solidFill>
            </c:spPr>
            <c:extLst>
              <c:ext xmlns:c16="http://schemas.microsoft.com/office/drawing/2014/chart" uri="{C3380CC4-5D6E-409C-BE32-E72D297353CC}">
                <c16:uniqueId val="{00000082-C76F-4230-900D-40618C09729F}"/>
              </c:ext>
            </c:extLst>
          </c:dPt>
          <c:dPt>
            <c:idx val="63"/>
            <c:invertIfNegative val="0"/>
            <c:bubble3D val="0"/>
            <c:spPr>
              <a:solidFill>
                <a:srgbClr val="7ECAC4"/>
              </a:solidFill>
            </c:spPr>
            <c:extLst>
              <c:ext xmlns:c16="http://schemas.microsoft.com/office/drawing/2014/chart" uri="{C3380CC4-5D6E-409C-BE32-E72D297353CC}">
                <c16:uniqueId val="{00000084-C76F-4230-900D-40618C09729F}"/>
              </c:ext>
            </c:extLst>
          </c:dPt>
          <c:dPt>
            <c:idx val="64"/>
            <c:invertIfNegative val="0"/>
            <c:bubble3D val="0"/>
            <c:spPr>
              <a:solidFill>
                <a:srgbClr val="7ECAC4"/>
              </a:solidFill>
            </c:spPr>
            <c:extLst>
              <c:ext xmlns:c16="http://schemas.microsoft.com/office/drawing/2014/chart" uri="{C3380CC4-5D6E-409C-BE32-E72D297353CC}">
                <c16:uniqueId val="{00000086-C76F-4230-900D-40618C09729F}"/>
              </c:ext>
            </c:extLst>
          </c:dPt>
          <c:dPt>
            <c:idx val="65"/>
            <c:invertIfNegative val="0"/>
            <c:bubble3D val="0"/>
            <c:spPr>
              <a:solidFill>
                <a:srgbClr val="7ECAC4"/>
              </a:solidFill>
            </c:spPr>
            <c:extLst>
              <c:ext xmlns:c16="http://schemas.microsoft.com/office/drawing/2014/chart" uri="{C3380CC4-5D6E-409C-BE32-E72D297353CC}">
                <c16:uniqueId val="{00000088-C76F-4230-900D-40618C09729F}"/>
              </c:ext>
            </c:extLst>
          </c:dPt>
          <c:dPt>
            <c:idx val="66"/>
            <c:invertIfNegative val="0"/>
            <c:bubble3D val="0"/>
            <c:spPr>
              <a:solidFill>
                <a:srgbClr val="7ECAC4"/>
              </a:solidFill>
            </c:spPr>
            <c:extLst>
              <c:ext xmlns:c16="http://schemas.microsoft.com/office/drawing/2014/chart" uri="{C3380CC4-5D6E-409C-BE32-E72D297353CC}">
                <c16:uniqueId val="{0000008A-C76F-4230-900D-40618C09729F}"/>
              </c:ext>
            </c:extLst>
          </c:dPt>
          <c:dPt>
            <c:idx val="67"/>
            <c:invertIfNegative val="0"/>
            <c:bubble3D val="0"/>
            <c:spPr>
              <a:solidFill>
                <a:srgbClr val="7ECAC4"/>
              </a:solidFill>
            </c:spPr>
            <c:extLst>
              <c:ext xmlns:c16="http://schemas.microsoft.com/office/drawing/2014/chart" uri="{C3380CC4-5D6E-409C-BE32-E72D297353CC}">
                <c16:uniqueId val="{0000008C-C76F-4230-900D-40618C09729F}"/>
              </c:ext>
            </c:extLst>
          </c:dPt>
          <c:dPt>
            <c:idx val="68"/>
            <c:invertIfNegative val="0"/>
            <c:bubble3D val="0"/>
            <c:spPr>
              <a:solidFill>
                <a:srgbClr val="7ECAC4"/>
              </a:solidFill>
            </c:spPr>
            <c:extLst>
              <c:ext xmlns:c16="http://schemas.microsoft.com/office/drawing/2014/chart" uri="{C3380CC4-5D6E-409C-BE32-E72D297353CC}">
                <c16:uniqueId val="{0000008E-C76F-4230-900D-40618C09729F}"/>
              </c:ext>
            </c:extLst>
          </c:dPt>
          <c:dPt>
            <c:idx val="69"/>
            <c:invertIfNegative val="0"/>
            <c:bubble3D val="0"/>
            <c:spPr>
              <a:solidFill>
                <a:srgbClr val="7ECAC4"/>
              </a:solidFill>
            </c:spPr>
            <c:extLst>
              <c:ext xmlns:c16="http://schemas.microsoft.com/office/drawing/2014/chart" uri="{C3380CC4-5D6E-409C-BE32-E72D297353CC}">
                <c16:uniqueId val="{00000090-C76F-4230-900D-40618C09729F}"/>
              </c:ext>
            </c:extLst>
          </c:dPt>
          <c:dPt>
            <c:idx val="70"/>
            <c:invertIfNegative val="0"/>
            <c:bubble3D val="0"/>
            <c:spPr>
              <a:solidFill>
                <a:srgbClr val="7ECAC4"/>
              </a:solidFill>
            </c:spPr>
            <c:extLst>
              <c:ext xmlns:c16="http://schemas.microsoft.com/office/drawing/2014/chart" uri="{C3380CC4-5D6E-409C-BE32-E72D297353CC}">
                <c16:uniqueId val="{00000092-C76F-4230-900D-40618C09729F}"/>
              </c:ext>
            </c:extLst>
          </c:dPt>
          <c:dPt>
            <c:idx val="71"/>
            <c:invertIfNegative val="0"/>
            <c:bubble3D val="0"/>
            <c:spPr>
              <a:solidFill>
                <a:srgbClr val="7ECAC4"/>
              </a:solidFill>
            </c:spPr>
            <c:extLst>
              <c:ext xmlns:c16="http://schemas.microsoft.com/office/drawing/2014/chart" uri="{C3380CC4-5D6E-409C-BE32-E72D297353CC}">
                <c16:uniqueId val="{00000094-C76F-4230-900D-40618C09729F}"/>
              </c:ext>
            </c:extLst>
          </c:dPt>
          <c:dPt>
            <c:idx val="72"/>
            <c:invertIfNegative val="0"/>
            <c:bubble3D val="0"/>
            <c:spPr>
              <a:solidFill>
                <a:srgbClr val="7ECAC4"/>
              </a:solidFill>
            </c:spPr>
            <c:extLst>
              <c:ext xmlns:c16="http://schemas.microsoft.com/office/drawing/2014/chart" uri="{C3380CC4-5D6E-409C-BE32-E72D297353CC}">
                <c16:uniqueId val="{00000096-C76F-4230-900D-40618C09729F}"/>
              </c:ext>
            </c:extLst>
          </c:dPt>
          <c:dPt>
            <c:idx val="73"/>
            <c:invertIfNegative val="0"/>
            <c:bubble3D val="0"/>
            <c:spPr>
              <a:solidFill>
                <a:srgbClr val="7ECAC4"/>
              </a:solidFill>
            </c:spPr>
            <c:extLst>
              <c:ext xmlns:c16="http://schemas.microsoft.com/office/drawing/2014/chart" uri="{C3380CC4-5D6E-409C-BE32-E72D297353CC}">
                <c16:uniqueId val="{00000098-C76F-4230-900D-40618C09729F}"/>
              </c:ext>
            </c:extLst>
          </c:dPt>
          <c:dPt>
            <c:idx val="74"/>
            <c:invertIfNegative val="0"/>
            <c:bubble3D val="0"/>
            <c:spPr>
              <a:solidFill>
                <a:srgbClr val="7ECAC4"/>
              </a:solidFill>
            </c:spPr>
            <c:extLst>
              <c:ext xmlns:c16="http://schemas.microsoft.com/office/drawing/2014/chart" uri="{C3380CC4-5D6E-409C-BE32-E72D297353CC}">
                <c16:uniqueId val="{0000009A-C76F-4230-900D-40618C09729F}"/>
              </c:ext>
            </c:extLst>
          </c:dPt>
          <c:dPt>
            <c:idx val="75"/>
            <c:invertIfNegative val="0"/>
            <c:bubble3D val="0"/>
            <c:spPr>
              <a:solidFill>
                <a:srgbClr val="7ECAC4"/>
              </a:solidFill>
            </c:spPr>
            <c:extLst>
              <c:ext xmlns:c16="http://schemas.microsoft.com/office/drawing/2014/chart" uri="{C3380CC4-5D6E-409C-BE32-E72D297353CC}">
                <c16:uniqueId val="{0000009C-C76F-4230-900D-40618C09729F}"/>
              </c:ext>
            </c:extLst>
          </c:dPt>
          <c:dPt>
            <c:idx val="76"/>
            <c:invertIfNegative val="0"/>
            <c:bubble3D val="0"/>
            <c:spPr>
              <a:solidFill>
                <a:srgbClr val="7ECAC4"/>
              </a:solidFill>
            </c:spPr>
            <c:extLst>
              <c:ext xmlns:c16="http://schemas.microsoft.com/office/drawing/2014/chart" uri="{C3380CC4-5D6E-409C-BE32-E72D297353CC}">
                <c16:uniqueId val="{0000009E-C76F-4230-900D-40618C09729F}"/>
              </c:ext>
            </c:extLst>
          </c:dPt>
          <c:dPt>
            <c:idx val="77"/>
            <c:invertIfNegative val="0"/>
            <c:bubble3D val="0"/>
            <c:spPr>
              <a:solidFill>
                <a:srgbClr val="7ECAC4"/>
              </a:solidFill>
            </c:spPr>
            <c:extLst>
              <c:ext xmlns:c16="http://schemas.microsoft.com/office/drawing/2014/chart" uri="{C3380CC4-5D6E-409C-BE32-E72D297353CC}">
                <c16:uniqueId val="{000000A0-C76F-4230-900D-40618C09729F}"/>
              </c:ext>
            </c:extLst>
          </c:dPt>
          <c:dPt>
            <c:idx val="78"/>
            <c:invertIfNegative val="0"/>
            <c:bubble3D val="0"/>
            <c:spPr>
              <a:solidFill>
                <a:srgbClr val="7ECAC4"/>
              </a:solidFill>
            </c:spPr>
            <c:extLst>
              <c:ext xmlns:c16="http://schemas.microsoft.com/office/drawing/2014/chart" uri="{C3380CC4-5D6E-409C-BE32-E72D297353CC}">
                <c16:uniqueId val="{000000A2-C76F-4230-900D-40618C09729F}"/>
              </c:ext>
            </c:extLst>
          </c:dPt>
          <c:dPt>
            <c:idx val="79"/>
            <c:invertIfNegative val="0"/>
            <c:bubble3D val="0"/>
            <c:spPr>
              <a:solidFill>
                <a:srgbClr val="7ECAC4"/>
              </a:solidFill>
            </c:spPr>
            <c:extLst>
              <c:ext xmlns:c16="http://schemas.microsoft.com/office/drawing/2014/chart" uri="{C3380CC4-5D6E-409C-BE32-E72D297353CC}">
                <c16:uniqueId val="{000000A4-C76F-4230-900D-40618C09729F}"/>
              </c:ext>
            </c:extLst>
          </c:dPt>
          <c:dPt>
            <c:idx val="80"/>
            <c:invertIfNegative val="0"/>
            <c:bubble3D val="0"/>
            <c:spPr>
              <a:solidFill>
                <a:srgbClr val="7ECAC4"/>
              </a:solidFill>
            </c:spPr>
            <c:extLst>
              <c:ext xmlns:c16="http://schemas.microsoft.com/office/drawing/2014/chart" uri="{C3380CC4-5D6E-409C-BE32-E72D297353CC}">
                <c16:uniqueId val="{000000A6-C76F-4230-900D-40618C09729F}"/>
              </c:ext>
            </c:extLst>
          </c:dPt>
          <c:dPt>
            <c:idx val="81"/>
            <c:invertIfNegative val="1"/>
            <c:bubble3D val="0"/>
            <c:spPr>
              <a:solidFill>
                <a:srgbClr val="7ECAC4"/>
              </a:solidFill>
            </c:spPr>
            <c:extLst>
              <c:ext xmlns:c16="http://schemas.microsoft.com/office/drawing/2014/chart" uri="{C3380CC4-5D6E-409C-BE32-E72D297353CC}">
                <c16:uniqueId val="{000000A5-2993-41DE-A2CB-63102DE87051}"/>
              </c:ext>
            </c:extLst>
          </c:dPt>
          <c:dPt>
            <c:idx val="82"/>
            <c:invertIfNegative val="1"/>
            <c:bubble3D val="0"/>
            <c:spPr>
              <a:solidFill>
                <a:srgbClr val="7ECAC4"/>
              </a:solidFill>
            </c:spPr>
            <c:extLst>
              <c:ext xmlns:c16="http://schemas.microsoft.com/office/drawing/2014/chart" uri="{C3380CC4-5D6E-409C-BE32-E72D297353CC}">
                <c16:uniqueId val="{000000A7-2993-41DE-A2CB-63102DE87051}"/>
              </c:ext>
            </c:extLst>
          </c:dPt>
          <c:dPt>
            <c:idx val="83"/>
            <c:invertIfNegative val="1"/>
            <c:bubble3D val="0"/>
            <c:spPr>
              <a:solidFill>
                <a:srgbClr val="7ECAC4"/>
              </a:solidFill>
            </c:spPr>
            <c:extLst>
              <c:ext xmlns:c16="http://schemas.microsoft.com/office/drawing/2014/chart" uri="{C3380CC4-5D6E-409C-BE32-E72D297353CC}">
                <c16:uniqueId val="{000000A9-2993-41DE-A2CB-63102DE87051}"/>
              </c:ext>
            </c:extLst>
          </c:dPt>
          <c:dPt>
            <c:idx val="84"/>
            <c:invertIfNegative val="1"/>
            <c:bubble3D val="0"/>
            <c:spPr>
              <a:solidFill>
                <a:srgbClr val="7ECAC4"/>
              </a:solidFill>
            </c:spPr>
            <c:extLst>
              <c:ext xmlns:c16="http://schemas.microsoft.com/office/drawing/2014/chart" uri="{C3380CC4-5D6E-409C-BE32-E72D297353CC}">
                <c16:uniqueId val="{000000AB-2993-41DE-A2CB-63102DE87051}"/>
              </c:ext>
            </c:extLst>
          </c:dPt>
          <c:dPt>
            <c:idx val="85"/>
            <c:invertIfNegative val="1"/>
            <c:bubble3D val="0"/>
            <c:spPr>
              <a:solidFill>
                <a:srgbClr val="7ECAC4"/>
              </a:solidFill>
            </c:spPr>
            <c:extLst>
              <c:ext xmlns:c16="http://schemas.microsoft.com/office/drawing/2014/chart" uri="{C3380CC4-5D6E-409C-BE32-E72D297353CC}">
                <c16:uniqueId val="{000000AD-2993-41DE-A2CB-63102DE87051}"/>
              </c:ext>
            </c:extLst>
          </c:dPt>
          <c:dPt>
            <c:idx val="86"/>
            <c:invertIfNegative val="1"/>
            <c:bubble3D val="0"/>
            <c:spPr>
              <a:solidFill>
                <a:srgbClr val="7ECAC4"/>
              </a:solidFill>
            </c:spPr>
            <c:extLst>
              <c:ext xmlns:c16="http://schemas.microsoft.com/office/drawing/2014/chart" uri="{C3380CC4-5D6E-409C-BE32-E72D297353CC}">
                <c16:uniqueId val="{000000AF-2993-41DE-A2CB-63102DE87051}"/>
              </c:ext>
            </c:extLst>
          </c:dPt>
          <c:dPt>
            <c:idx val="87"/>
            <c:invertIfNegative val="1"/>
            <c:bubble3D val="0"/>
            <c:spPr>
              <a:solidFill>
                <a:srgbClr val="7ECAC4"/>
              </a:solidFill>
            </c:spPr>
            <c:extLst>
              <c:ext xmlns:c16="http://schemas.microsoft.com/office/drawing/2014/chart" uri="{C3380CC4-5D6E-409C-BE32-E72D297353CC}">
                <c16:uniqueId val="{000000B1-2993-41DE-A2CB-63102DE87051}"/>
              </c:ext>
            </c:extLst>
          </c:dPt>
          <c:dPt>
            <c:idx val="88"/>
            <c:invertIfNegative val="1"/>
            <c:bubble3D val="0"/>
            <c:spPr>
              <a:solidFill>
                <a:srgbClr val="7ECAC4"/>
              </a:solidFill>
            </c:spPr>
            <c:extLst>
              <c:ext xmlns:c16="http://schemas.microsoft.com/office/drawing/2014/chart" uri="{C3380CC4-5D6E-409C-BE32-E72D297353CC}">
                <c16:uniqueId val="{000000B3-2993-41DE-A2CB-63102DE87051}"/>
              </c:ext>
            </c:extLst>
          </c:dPt>
          <c:dPt>
            <c:idx val="89"/>
            <c:invertIfNegative val="1"/>
            <c:bubble3D val="0"/>
            <c:spPr>
              <a:solidFill>
                <a:srgbClr val="7ECAC4"/>
              </a:solidFill>
            </c:spPr>
            <c:extLst>
              <c:ext xmlns:c16="http://schemas.microsoft.com/office/drawing/2014/chart" uri="{C3380CC4-5D6E-409C-BE32-E72D297353CC}">
                <c16:uniqueId val="{000000B5-2993-41DE-A2CB-63102DE87051}"/>
              </c:ext>
            </c:extLst>
          </c:dPt>
          <c:dPt>
            <c:idx val="90"/>
            <c:invertIfNegative val="1"/>
            <c:bubble3D val="0"/>
            <c:spPr>
              <a:solidFill>
                <a:srgbClr val="7ECAC4"/>
              </a:solidFill>
            </c:spPr>
            <c:extLst>
              <c:ext xmlns:c16="http://schemas.microsoft.com/office/drawing/2014/chart" uri="{C3380CC4-5D6E-409C-BE32-E72D297353CC}">
                <c16:uniqueId val="{000000B7-2993-41DE-A2CB-63102DE87051}"/>
              </c:ext>
            </c:extLst>
          </c:dPt>
          <c:dPt>
            <c:idx val="91"/>
            <c:invertIfNegative val="1"/>
            <c:bubble3D val="0"/>
            <c:spPr>
              <a:solidFill>
                <a:srgbClr val="7ECAC4"/>
              </a:solidFill>
            </c:spPr>
            <c:extLst>
              <c:ext xmlns:c16="http://schemas.microsoft.com/office/drawing/2014/chart" uri="{C3380CC4-5D6E-409C-BE32-E72D297353CC}">
                <c16:uniqueId val="{000000B9-2993-41DE-A2CB-63102DE87051}"/>
              </c:ext>
            </c:extLst>
          </c:dPt>
          <c:dPt>
            <c:idx val="92"/>
            <c:invertIfNegative val="1"/>
            <c:bubble3D val="0"/>
            <c:spPr>
              <a:solidFill>
                <a:srgbClr val="7ECAC4"/>
              </a:solidFill>
            </c:spPr>
            <c:extLst>
              <c:ext xmlns:c16="http://schemas.microsoft.com/office/drawing/2014/chart" uri="{C3380CC4-5D6E-409C-BE32-E72D297353CC}">
                <c16:uniqueId val="{000000BB-2993-41DE-A2CB-63102DE87051}"/>
              </c:ext>
            </c:extLst>
          </c:dPt>
          <c:dPt>
            <c:idx val="93"/>
            <c:invertIfNegative val="1"/>
            <c:bubble3D val="0"/>
            <c:spPr>
              <a:solidFill>
                <a:srgbClr val="7ECAC4"/>
              </a:solidFill>
            </c:spPr>
            <c:extLst>
              <c:ext xmlns:c16="http://schemas.microsoft.com/office/drawing/2014/chart" uri="{C3380CC4-5D6E-409C-BE32-E72D297353CC}">
                <c16:uniqueId val="{000000BD-2993-41DE-A2CB-63102DE87051}"/>
              </c:ext>
            </c:extLst>
          </c:dPt>
          <c:dPt>
            <c:idx val="94"/>
            <c:invertIfNegative val="1"/>
            <c:bubble3D val="0"/>
            <c:spPr>
              <a:solidFill>
                <a:srgbClr val="7ECAC4"/>
              </a:solidFill>
            </c:spPr>
            <c:extLst>
              <c:ext xmlns:c16="http://schemas.microsoft.com/office/drawing/2014/chart" uri="{C3380CC4-5D6E-409C-BE32-E72D297353CC}">
                <c16:uniqueId val="{000000BF-2993-41DE-A2CB-63102DE87051}"/>
              </c:ext>
            </c:extLst>
          </c:dPt>
          <c:dPt>
            <c:idx val="95"/>
            <c:invertIfNegative val="1"/>
            <c:bubble3D val="0"/>
            <c:spPr>
              <a:solidFill>
                <a:srgbClr val="7ECAC4"/>
              </a:solidFill>
            </c:spPr>
            <c:extLst>
              <c:ext xmlns:c16="http://schemas.microsoft.com/office/drawing/2014/chart" uri="{C3380CC4-5D6E-409C-BE32-E72D297353CC}">
                <c16:uniqueId val="{000000C1-2993-41DE-A2CB-63102DE87051}"/>
              </c:ext>
            </c:extLst>
          </c:dPt>
          <c:dPt>
            <c:idx val="96"/>
            <c:invertIfNegative val="1"/>
            <c:bubble3D val="0"/>
            <c:spPr>
              <a:solidFill>
                <a:srgbClr val="7ECAC4"/>
              </a:solidFill>
            </c:spPr>
            <c:extLst>
              <c:ext xmlns:c16="http://schemas.microsoft.com/office/drawing/2014/chart" uri="{C3380CC4-5D6E-409C-BE32-E72D297353CC}">
                <c16:uniqueId val="{000000C3-2993-41DE-A2CB-63102DE87051}"/>
              </c:ext>
            </c:extLst>
          </c:dPt>
          <c:dPt>
            <c:idx val="97"/>
            <c:invertIfNegative val="1"/>
            <c:bubble3D val="0"/>
            <c:spPr>
              <a:solidFill>
                <a:srgbClr val="7ECAC4"/>
              </a:solidFill>
            </c:spPr>
            <c:extLst>
              <c:ext xmlns:c16="http://schemas.microsoft.com/office/drawing/2014/chart" uri="{C3380CC4-5D6E-409C-BE32-E72D297353CC}">
                <c16:uniqueId val="{000000C5-2993-41DE-A2CB-63102DE87051}"/>
              </c:ext>
            </c:extLst>
          </c:dPt>
          <c:dPt>
            <c:idx val="98"/>
            <c:invertIfNegative val="1"/>
            <c:bubble3D val="0"/>
            <c:spPr>
              <a:solidFill>
                <a:srgbClr val="7ECAC4"/>
              </a:solidFill>
            </c:spPr>
            <c:extLst>
              <c:ext xmlns:c16="http://schemas.microsoft.com/office/drawing/2014/chart" uri="{C3380CC4-5D6E-409C-BE32-E72D297353CC}">
                <c16:uniqueId val="{000000C7-2993-41DE-A2CB-63102DE87051}"/>
              </c:ext>
            </c:extLst>
          </c:dPt>
          <c:dPt>
            <c:idx val="99"/>
            <c:invertIfNegative val="1"/>
            <c:bubble3D val="0"/>
            <c:spPr>
              <a:solidFill>
                <a:srgbClr val="7ECAC4"/>
              </a:solidFill>
            </c:spPr>
            <c:extLst>
              <c:ext xmlns:c16="http://schemas.microsoft.com/office/drawing/2014/chart" uri="{C3380CC4-5D6E-409C-BE32-E72D297353CC}">
                <c16:uniqueId val="{000000C9-2993-41DE-A2CB-63102DE87051}"/>
              </c:ext>
            </c:extLst>
          </c:dPt>
          <c:dPt>
            <c:idx val="100"/>
            <c:invertIfNegative val="1"/>
            <c:bubble3D val="0"/>
            <c:spPr>
              <a:solidFill>
                <a:srgbClr val="7ECAC4"/>
              </a:solidFill>
            </c:spPr>
            <c:extLst>
              <c:ext xmlns:c16="http://schemas.microsoft.com/office/drawing/2014/chart" uri="{C3380CC4-5D6E-409C-BE32-E72D297353CC}">
                <c16:uniqueId val="{000000CB-2993-41DE-A2CB-63102DE87051}"/>
              </c:ext>
            </c:extLst>
          </c:dPt>
          <c:dPt>
            <c:idx val="101"/>
            <c:invertIfNegative val="1"/>
            <c:bubble3D val="0"/>
            <c:spPr>
              <a:solidFill>
                <a:srgbClr val="7ECAC4"/>
              </a:solidFill>
            </c:spPr>
            <c:extLst>
              <c:ext xmlns:c16="http://schemas.microsoft.com/office/drawing/2014/chart" uri="{C3380CC4-5D6E-409C-BE32-E72D297353CC}">
                <c16:uniqueId val="{000000CD-2993-41DE-A2CB-63102DE87051}"/>
              </c:ext>
            </c:extLst>
          </c:dPt>
          <c:dPt>
            <c:idx val="102"/>
            <c:invertIfNegative val="1"/>
            <c:bubble3D val="0"/>
            <c:spPr>
              <a:solidFill>
                <a:srgbClr val="AEABAB"/>
              </a:solidFill>
            </c:spPr>
            <c:extLst>
              <c:ext xmlns:c16="http://schemas.microsoft.com/office/drawing/2014/chart" uri="{C3380CC4-5D6E-409C-BE32-E72D297353CC}">
                <c16:uniqueId val="{000000CF-2993-41DE-A2CB-63102DE87051}"/>
              </c:ext>
            </c:extLst>
          </c:dPt>
          <c:dPt>
            <c:idx val="103"/>
            <c:invertIfNegative val="1"/>
            <c:bubble3D val="0"/>
            <c:spPr>
              <a:solidFill>
                <a:srgbClr val="AEABAB"/>
              </a:solidFill>
            </c:spPr>
            <c:extLst>
              <c:ext xmlns:c16="http://schemas.microsoft.com/office/drawing/2014/chart" uri="{C3380CC4-5D6E-409C-BE32-E72D297353CC}">
                <c16:uniqueId val="{000000D1-2993-41DE-A2CB-63102DE87051}"/>
              </c:ext>
            </c:extLst>
          </c:dPt>
          <c:dPt>
            <c:idx val="104"/>
            <c:invertIfNegative val="1"/>
            <c:bubble3D val="0"/>
            <c:spPr>
              <a:solidFill>
                <a:srgbClr val="AEABAB"/>
              </a:solidFill>
            </c:spPr>
            <c:extLst>
              <c:ext xmlns:c16="http://schemas.microsoft.com/office/drawing/2014/chart" uri="{C3380CC4-5D6E-409C-BE32-E72D297353CC}">
                <c16:uniqueId val="{000000D3-2993-41DE-A2CB-63102DE87051}"/>
              </c:ext>
            </c:extLst>
          </c:dPt>
          <c:dPt>
            <c:idx val="105"/>
            <c:invertIfNegative val="1"/>
            <c:bubble3D val="0"/>
            <c:spPr>
              <a:solidFill>
                <a:srgbClr val="AEABAB"/>
              </a:solidFill>
            </c:spPr>
            <c:extLst>
              <c:ext xmlns:c16="http://schemas.microsoft.com/office/drawing/2014/chart" uri="{C3380CC4-5D6E-409C-BE32-E72D297353CC}">
                <c16:uniqueId val="{000000D5-2993-41DE-A2CB-63102DE87051}"/>
              </c:ext>
            </c:extLst>
          </c:dPt>
          <c:dPt>
            <c:idx val="106"/>
            <c:invertIfNegative val="1"/>
            <c:bubble3D val="0"/>
            <c:spPr>
              <a:solidFill>
                <a:srgbClr val="AEABAB"/>
              </a:solidFill>
            </c:spPr>
            <c:extLst>
              <c:ext xmlns:c16="http://schemas.microsoft.com/office/drawing/2014/chart" uri="{C3380CC4-5D6E-409C-BE32-E72D297353CC}">
                <c16:uniqueId val="{000000D7-2993-41DE-A2CB-63102DE87051}"/>
              </c:ext>
            </c:extLst>
          </c:dPt>
          <c:dPt>
            <c:idx val="107"/>
            <c:invertIfNegative val="1"/>
            <c:bubble3D val="0"/>
            <c:spPr>
              <a:solidFill>
                <a:srgbClr val="AEABAB"/>
              </a:solidFill>
            </c:spPr>
            <c:extLst>
              <c:ext xmlns:c16="http://schemas.microsoft.com/office/drawing/2014/chart" uri="{C3380CC4-5D6E-409C-BE32-E72D297353CC}">
                <c16:uniqueId val="{000000D9-2993-41DE-A2CB-63102DE87051}"/>
              </c:ext>
            </c:extLst>
          </c:dPt>
          <c:dPt>
            <c:idx val="108"/>
            <c:invertIfNegative val="1"/>
            <c:bubble3D val="0"/>
            <c:spPr>
              <a:solidFill>
                <a:srgbClr val="AEABAB"/>
              </a:solidFill>
            </c:spPr>
            <c:extLst>
              <c:ext xmlns:c16="http://schemas.microsoft.com/office/drawing/2014/chart" uri="{C3380CC4-5D6E-409C-BE32-E72D297353CC}">
                <c16:uniqueId val="{000000DB-2993-41DE-A2CB-63102DE87051}"/>
              </c:ext>
            </c:extLst>
          </c:dPt>
          <c:dPt>
            <c:idx val="109"/>
            <c:invertIfNegative val="1"/>
            <c:bubble3D val="0"/>
            <c:spPr>
              <a:solidFill>
                <a:srgbClr val="AEABAB"/>
              </a:solidFill>
            </c:spPr>
            <c:extLst>
              <c:ext xmlns:c16="http://schemas.microsoft.com/office/drawing/2014/chart" uri="{C3380CC4-5D6E-409C-BE32-E72D297353CC}">
                <c16:uniqueId val="{000000DD-2993-41DE-A2CB-63102DE87051}"/>
              </c:ext>
            </c:extLst>
          </c:dPt>
          <c:dPt>
            <c:idx val="110"/>
            <c:invertIfNegative val="1"/>
            <c:bubble3D val="0"/>
            <c:spPr>
              <a:solidFill>
                <a:srgbClr val="AEABAB"/>
              </a:solidFill>
            </c:spPr>
            <c:extLst>
              <c:ext xmlns:c16="http://schemas.microsoft.com/office/drawing/2014/chart" uri="{C3380CC4-5D6E-409C-BE32-E72D297353CC}">
                <c16:uniqueId val="{000000DF-2993-41DE-A2CB-63102DE87051}"/>
              </c:ext>
            </c:extLst>
          </c:dPt>
          <c:dPt>
            <c:idx val="111"/>
            <c:invertIfNegative val="1"/>
            <c:bubble3D val="0"/>
            <c:spPr>
              <a:solidFill>
                <a:srgbClr val="AEABAB"/>
              </a:solidFill>
            </c:spPr>
            <c:extLst>
              <c:ext xmlns:c16="http://schemas.microsoft.com/office/drawing/2014/chart" uri="{C3380CC4-5D6E-409C-BE32-E72D297353CC}">
                <c16:uniqueId val="{000000E1-2993-41DE-A2CB-63102DE87051}"/>
              </c:ext>
            </c:extLst>
          </c:dPt>
          <c:dPt>
            <c:idx val="112"/>
            <c:invertIfNegative val="1"/>
            <c:bubble3D val="0"/>
            <c:spPr>
              <a:solidFill>
                <a:srgbClr val="AEABAB"/>
              </a:solidFill>
            </c:spPr>
            <c:extLst>
              <c:ext xmlns:c16="http://schemas.microsoft.com/office/drawing/2014/chart" uri="{C3380CC4-5D6E-409C-BE32-E72D297353CC}">
                <c16:uniqueId val="{000000E3-2993-41DE-A2CB-63102DE87051}"/>
              </c:ext>
            </c:extLst>
          </c:dPt>
          <c:dPt>
            <c:idx val="113"/>
            <c:invertIfNegative val="1"/>
            <c:bubble3D val="0"/>
            <c:spPr>
              <a:solidFill>
                <a:srgbClr val="AEABAB"/>
              </a:solidFill>
            </c:spPr>
            <c:extLst>
              <c:ext xmlns:c16="http://schemas.microsoft.com/office/drawing/2014/chart" uri="{C3380CC4-5D6E-409C-BE32-E72D297353CC}">
                <c16:uniqueId val="{000000E5-2993-41DE-A2CB-63102DE87051}"/>
              </c:ext>
            </c:extLst>
          </c:dPt>
          <c:dPt>
            <c:idx val="114"/>
            <c:invertIfNegative val="1"/>
            <c:bubble3D val="0"/>
            <c:spPr>
              <a:solidFill>
                <a:srgbClr val="AEABAB"/>
              </a:solidFill>
            </c:spPr>
            <c:extLst>
              <c:ext xmlns:c16="http://schemas.microsoft.com/office/drawing/2014/chart" uri="{C3380CC4-5D6E-409C-BE32-E72D297353CC}">
                <c16:uniqueId val="{000000E7-2993-41DE-A2CB-63102DE87051}"/>
              </c:ext>
            </c:extLst>
          </c:dPt>
          <c:dPt>
            <c:idx val="115"/>
            <c:invertIfNegative val="1"/>
            <c:bubble3D val="0"/>
            <c:spPr>
              <a:solidFill>
                <a:srgbClr val="AEABAB"/>
              </a:solidFill>
            </c:spPr>
            <c:extLst>
              <c:ext xmlns:c16="http://schemas.microsoft.com/office/drawing/2014/chart" uri="{C3380CC4-5D6E-409C-BE32-E72D297353CC}">
                <c16:uniqueId val="{000000E9-2993-41DE-A2CB-63102DE87051}"/>
              </c:ext>
            </c:extLst>
          </c:dPt>
          <c:dPt>
            <c:idx val="116"/>
            <c:invertIfNegative val="1"/>
            <c:bubble3D val="0"/>
            <c:spPr>
              <a:solidFill>
                <a:srgbClr val="AEABAB"/>
              </a:solidFill>
            </c:spPr>
            <c:extLst>
              <c:ext xmlns:c16="http://schemas.microsoft.com/office/drawing/2014/chart" uri="{C3380CC4-5D6E-409C-BE32-E72D297353CC}">
                <c16:uniqueId val="{000000EB-2993-41DE-A2CB-63102DE87051}"/>
              </c:ext>
            </c:extLst>
          </c:dPt>
          <c:dPt>
            <c:idx val="117"/>
            <c:invertIfNegative val="1"/>
            <c:bubble3D val="0"/>
            <c:spPr>
              <a:solidFill>
                <a:srgbClr val="AEABAB"/>
              </a:solidFill>
            </c:spPr>
            <c:extLst>
              <c:ext xmlns:c16="http://schemas.microsoft.com/office/drawing/2014/chart" uri="{C3380CC4-5D6E-409C-BE32-E72D297353CC}">
                <c16:uniqueId val="{000000ED-2993-41DE-A2CB-63102DE87051}"/>
              </c:ext>
            </c:extLst>
          </c:dPt>
          <c:dPt>
            <c:idx val="118"/>
            <c:invertIfNegative val="1"/>
            <c:bubble3D val="0"/>
            <c:spPr>
              <a:solidFill>
                <a:srgbClr val="AEABAB"/>
              </a:solidFill>
            </c:spPr>
            <c:extLst>
              <c:ext xmlns:c16="http://schemas.microsoft.com/office/drawing/2014/chart" uri="{C3380CC4-5D6E-409C-BE32-E72D297353CC}">
                <c16:uniqueId val="{000000EF-2993-41DE-A2CB-63102DE87051}"/>
              </c:ext>
            </c:extLst>
          </c:dPt>
          <c:dPt>
            <c:idx val="119"/>
            <c:invertIfNegative val="1"/>
            <c:bubble3D val="0"/>
            <c:spPr>
              <a:solidFill>
                <a:srgbClr val="AEABAB"/>
              </a:solidFill>
            </c:spPr>
            <c:extLst>
              <c:ext xmlns:c16="http://schemas.microsoft.com/office/drawing/2014/chart" uri="{C3380CC4-5D6E-409C-BE32-E72D297353CC}">
                <c16:uniqueId val="{000000F1-2993-41DE-A2CB-63102DE87051}"/>
              </c:ext>
            </c:extLst>
          </c:dPt>
          <c:dPt>
            <c:idx val="120"/>
            <c:invertIfNegative val="1"/>
            <c:bubble3D val="0"/>
            <c:spPr>
              <a:solidFill>
                <a:srgbClr val="AEABAB"/>
              </a:solidFill>
            </c:spPr>
            <c:extLst>
              <c:ext xmlns:c16="http://schemas.microsoft.com/office/drawing/2014/chart" uri="{C3380CC4-5D6E-409C-BE32-E72D297353CC}">
                <c16:uniqueId val="{000000F3-2993-41DE-A2CB-63102DE87051}"/>
              </c:ext>
            </c:extLst>
          </c:dPt>
          <c:dPt>
            <c:idx val="121"/>
            <c:invertIfNegative val="1"/>
            <c:bubble3D val="0"/>
            <c:spPr>
              <a:solidFill>
                <a:srgbClr val="AEABAB"/>
              </a:solidFill>
            </c:spPr>
            <c:extLst>
              <c:ext xmlns:c16="http://schemas.microsoft.com/office/drawing/2014/chart" uri="{C3380CC4-5D6E-409C-BE32-E72D297353CC}">
                <c16:uniqueId val="{000000F5-2993-41DE-A2CB-63102DE87051}"/>
              </c:ext>
            </c:extLst>
          </c:dPt>
          <c:dPt>
            <c:idx val="122"/>
            <c:invertIfNegative val="1"/>
            <c:bubble3D val="0"/>
            <c:spPr>
              <a:solidFill>
                <a:srgbClr val="AEABAB"/>
              </a:solidFill>
            </c:spPr>
            <c:extLst>
              <c:ext xmlns:c16="http://schemas.microsoft.com/office/drawing/2014/chart" uri="{C3380CC4-5D6E-409C-BE32-E72D297353CC}">
                <c16:uniqueId val="{000000F7-2993-41DE-A2CB-63102DE87051}"/>
              </c:ext>
            </c:extLst>
          </c:dPt>
          <c:dPt>
            <c:idx val="123"/>
            <c:invertIfNegative val="1"/>
            <c:bubble3D val="0"/>
            <c:spPr>
              <a:solidFill>
                <a:srgbClr val="AEABAB"/>
              </a:solidFill>
            </c:spPr>
            <c:extLst>
              <c:ext xmlns:c16="http://schemas.microsoft.com/office/drawing/2014/chart" uri="{C3380CC4-5D6E-409C-BE32-E72D297353CC}">
                <c16:uniqueId val="{000000F9-2993-41DE-A2CB-63102DE87051}"/>
              </c:ext>
            </c:extLst>
          </c:dPt>
          <c:dPt>
            <c:idx val="124"/>
            <c:invertIfNegative val="1"/>
            <c:bubble3D val="0"/>
            <c:spPr>
              <a:solidFill>
                <a:srgbClr val="AEABAB"/>
              </a:solidFill>
            </c:spPr>
            <c:extLst>
              <c:ext xmlns:c16="http://schemas.microsoft.com/office/drawing/2014/chart" uri="{C3380CC4-5D6E-409C-BE32-E72D297353CC}">
                <c16:uniqueId val="{000000FB-2993-41DE-A2CB-63102DE87051}"/>
              </c:ext>
            </c:extLst>
          </c:dPt>
          <c:dPt>
            <c:idx val="125"/>
            <c:invertIfNegative val="1"/>
            <c:bubble3D val="0"/>
            <c:spPr>
              <a:solidFill>
                <a:srgbClr val="AEABAB"/>
              </a:solidFill>
            </c:spPr>
            <c:extLst>
              <c:ext xmlns:c16="http://schemas.microsoft.com/office/drawing/2014/chart" uri="{C3380CC4-5D6E-409C-BE32-E72D297353CC}">
                <c16:uniqueId val="{000000FD-2993-41DE-A2CB-63102DE87051}"/>
              </c:ext>
            </c:extLst>
          </c:dPt>
          <c:dPt>
            <c:idx val="126"/>
            <c:invertIfNegative val="1"/>
            <c:bubble3D val="0"/>
            <c:spPr>
              <a:solidFill>
                <a:srgbClr val="AEABAB"/>
              </a:solidFill>
            </c:spPr>
            <c:extLst>
              <c:ext xmlns:c16="http://schemas.microsoft.com/office/drawing/2014/chart" uri="{C3380CC4-5D6E-409C-BE32-E72D297353CC}">
                <c16:uniqueId val="{000000FF-2993-41DE-A2CB-63102DE87051}"/>
              </c:ext>
            </c:extLst>
          </c:dPt>
          <c:dPt>
            <c:idx val="127"/>
            <c:invertIfNegative val="1"/>
            <c:bubble3D val="0"/>
            <c:spPr>
              <a:solidFill>
                <a:srgbClr val="AEABAB"/>
              </a:solidFill>
            </c:spPr>
            <c:extLst>
              <c:ext xmlns:c16="http://schemas.microsoft.com/office/drawing/2014/chart" uri="{C3380CC4-5D6E-409C-BE32-E72D297353CC}">
                <c16:uniqueId val="{00000101-2993-41DE-A2CB-63102DE87051}"/>
              </c:ext>
            </c:extLst>
          </c:dPt>
          <c:dPt>
            <c:idx val="128"/>
            <c:invertIfNegative val="1"/>
            <c:bubble3D val="0"/>
            <c:spPr>
              <a:solidFill>
                <a:srgbClr val="AEABAB"/>
              </a:solidFill>
            </c:spPr>
            <c:extLst>
              <c:ext xmlns:c16="http://schemas.microsoft.com/office/drawing/2014/chart" uri="{C3380CC4-5D6E-409C-BE32-E72D297353CC}">
                <c16:uniqueId val="{00000103-2993-41DE-A2CB-63102DE87051}"/>
              </c:ext>
            </c:extLst>
          </c:dPt>
          <c:dPt>
            <c:idx val="129"/>
            <c:invertIfNegative val="1"/>
            <c:bubble3D val="0"/>
            <c:spPr>
              <a:solidFill>
                <a:srgbClr val="AEABAB"/>
              </a:solidFill>
            </c:spPr>
            <c:extLst>
              <c:ext xmlns:c16="http://schemas.microsoft.com/office/drawing/2014/chart" uri="{C3380CC4-5D6E-409C-BE32-E72D297353CC}">
                <c16:uniqueId val="{00000105-2993-41DE-A2CB-63102DE87051}"/>
              </c:ext>
            </c:extLst>
          </c:dPt>
          <c:dPt>
            <c:idx val="130"/>
            <c:invertIfNegative val="1"/>
            <c:bubble3D val="0"/>
            <c:spPr>
              <a:solidFill>
                <a:srgbClr val="AEABAB"/>
              </a:solidFill>
            </c:spPr>
            <c:extLst>
              <c:ext xmlns:c16="http://schemas.microsoft.com/office/drawing/2014/chart" uri="{C3380CC4-5D6E-409C-BE32-E72D297353CC}">
                <c16:uniqueId val="{00000107-2993-41DE-A2CB-63102DE87051}"/>
              </c:ext>
            </c:extLst>
          </c:dPt>
          <c:dPt>
            <c:idx val="131"/>
            <c:invertIfNegative val="1"/>
            <c:bubble3D val="0"/>
            <c:spPr>
              <a:solidFill>
                <a:srgbClr val="AEABAB"/>
              </a:solidFill>
            </c:spPr>
            <c:extLst>
              <c:ext xmlns:c16="http://schemas.microsoft.com/office/drawing/2014/chart" uri="{C3380CC4-5D6E-409C-BE32-E72D297353CC}">
                <c16:uniqueId val="{00000109-2993-41DE-A2CB-63102DE87051}"/>
              </c:ext>
            </c:extLst>
          </c:dPt>
          <c:dPt>
            <c:idx val="132"/>
            <c:invertIfNegative val="1"/>
            <c:bubble3D val="0"/>
            <c:spPr>
              <a:solidFill>
                <a:srgbClr val="AEABAB"/>
              </a:solidFill>
            </c:spPr>
            <c:extLst>
              <c:ext xmlns:c16="http://schemas.microsoft.com/office/drawing/2014/chart" uri="{C3380CC4-5D6E-409C-BE32-E72D297353CC}">
                <c16:uniqueId val="{0000010B-2993-41DE-A2CB-63102DE87051}"/>
              </c:ext>
            </c:extLst>
          </c:dPt>
          <c:dPt>
            <c:idx val="133"/>
            <c:invertIfNegative val="1"/>
            <c:bubble3D val="0"/>
            <c:spPr>
              <a:solidFill>
                <a:srgbClr val="AEABAB"/>
              </a:solidFill>
            </c:spPr>
            <c:extLst>
              <c:ext xmlns:c16="http://schemas.microsoft.com/office/drawing/2014/chart" uri="{C3380CC4-5D6E-409C-BE32-E72D297353CC}">
                <c16:uniqueId val="{0000010D-2993-41DE-A2CB-63102DE87051}"/>
              </c:ext>
            </c:extLst>
          </c:dPt>
          <c:dPt>
            <c:idx val="134"/>
            <c:invertIfNegative val="1"/>
            <c:bubble3D val="0"/>
            <c:spPr>
              <a:solidFill>
                <a:srgbClr val="AEABAB"/>
              </a:solidFill>
            </c:spPr>
            <c:extLst>
              <c:ext xmlns:c16="http://schemas.microsoft.com/office/drawing/2014/chart" uri="{C3380CC4-5D6E-409C-BE32-E72D297353CC}">
                <c16:uniqueId val="{0000010F-2993-41DE-A2CB-63102DE87051}"/>
              </c:ext>
            </c:extLst>
          </c:dPt>
          <c:dPt>
            <c:idx val="135"/>
            <c:invertIfNegative val="1"/>
            <c:bubble3D val="0"/>
            <c:spPr>
              <a:solidFill>
                <a:srgbClr val="AEABAB"/>
              </a:solidFill>
            </c:spPr>
            <c:extLst>
              <c:ext xmlns:c16="http://schemas.microsoft.com/office/drawing/2014/chart" uri="{C3380CC4-5D6E-409C-BE32-E72D297353CC}">
                <c16:uniqueId val="{00000111-2993-41DE-A2CB-63102DE87051}"/>
              </c:ext>
            </c:extLst>
          </c:dPt>
          <c:dPt>
            <c:idx val="136"/>
            <c:invertIfNegative val="1"/>
            <c:bubble3D val="0"/>
            <c:spPr>
              <a:solidFill>
                <a:srgbClr val="AEABAB"/>
              </a:solidFill>
            </c:spPr>
            <c:extLst>
              <c:ext xmlns:c16="http://schemas.microsoft.com/office/drawing/2014/chart" uri="{C3380CC4-5D6E-409C-BE32-E72D297353CC}">
                <c16:uniqueId val="{00000113-2993-41DE-A2CB-63102DE87051}"/>
              </c:ext>
            </c:extLst>
          </c:dPt>
          <c:dPt>
            <c:idx val="137"/>
            <c:invertIfNegative val="1"/>
            <c:bubble3D val="0"/>
            <c:spPr>
              <a:solidFill>
                <a:srgbClr val="AEABAB"/>
              </a:solidFill>
            </c:spPr>
            <c:extLst>
              <c:ext xmlns:c16="http://schemas.microsoft.com/office/drawing/2014/chart" uri="{C3380CC4-5D6E-409C-BE32-E72D297353CC}">
                <c16:uniqueId val="{00000115-2993-41DE-A2CB-63102DE87051}"/>
              </c:ext>
            </c:extLst>
          </c:dPt>
          <c:dPt>
            <c:idx val="138"/>
            <c:invertIfNegative val="1"/>
            <c:bubble3D val="0"/>
            <c:spPr>
              <a:solidFill>
                <a:srgbClr val="AEABAB"/>
              </a:solidFill>
            </c:spPr>
            <c:extLst>
              <c:ext xmlns:c16="http://schemas.microsoft.com/office/drawing/2014/chart" uri="{C3380CC4-5D6E-409C-BE32-E72D297353CC}">
                <c16:uniqueId val="{00000117-2993-41DE-A2CB-63102DE87051}"/>
              </c:ext>
            </c:extLst>
          </c:dPt>
          <c:dPt>
            <c:idx val="139"/>
            <c:invertIfNegative val="1"/>
            <c:bubble3D val="0"/>
            <c:spPr>
              <a:solidFill>
                <a:srgbClr val="AEABAB"/>
              </a:solidFill>
            </c:spPr>
            <c:extLst>
              <c:ext xmlns:c16="http://schemas.microsoft.com/office/drawing/2014/chart" uri="{C3380CC4-5D6E-409C-BE32-E72D297353CC}">
                <c16:uniqueId val="{00000119-2993-41DE-A2CB-63102DE87051}"/>
              </c:ext>
            </c:extLst>
          </c:dPt>
          <c:dPt>
            <c:idx val="140"/>
            <c:invertIfNegative val="1"/>
            <c:bubble3D val="0"/>
            <c:spPr>
              <a:solidFill>
                <a:srgbClr val="AEABAB"/>
              </a:solidFill>
            </c:spPr>
            <c:extLst>
              <c:ext xmlns:c16="http://schemas.microsoft.com/office/drawing/2014/chart" uri="{C3380CC4-5D6E-409C-BE32-E72D297353CC}">
                <c16:uniqueId val="{0000011B-2993-41DE-A2CB-63102DE87051}"/>
              </c:ext>
            </c:extLst>
          </c:dPt>
          <c:dPt>
            <c:idx val="141"/>
            <c:invertIfNegative val="1"/>
            <c:bubble3D val="0"/>
            <c:spPr>
              <a:solidFill>
                <a:srgbClr val="AEABAB"/>
              </a:solidFill>
            </c:spPr>
            <c:extLst>
              <c:ext xmlns:c16="http://schemas.microsoft.com/office/drawing/2014/chart" uri="{C3380CC4-5D6E-409C-BE32-E72D297353CC}">
                <c16:uniqueId val="{0000011D-2993-41DE-A2CB-63102DE87051}"/>
              </c:ext>
            </c:extLst>
          </c:dPt>
          <c:dPt>
            <c:idx val="142"/>
            <c:invertIfNegative val="1"/>
            <c:bubble3D val="0"/>
            <c:spPr>
              <a:solidFill>
                <a:srgbClr val="AEABAB"/>
              </a:solidFill>
            </c:spPr>
            <c:extLst>
              <c:ext xmlns:c16="http://schemas.microsoft.com/office/drawing/2014/chart" uri="{C3380CC4-5D6E-409C-BE32-E72D297353CC}">
                <c16:uniqueId val="{0000011F-2993-41DE-A2CB-63102DE87051}"/>
              </c:ext>
            </c:extLst>
          </c:dPt>
          <c:dPt>
            <c:idx val="143"/>
            <c:invertIfNegative val="1"/>
            <c:bubble3D val="0"/>
            <c:spPr>
              <a:solidFill>
                <a:srgbClr val="AEABAB"/>
              </a:solidFill>
            </c:spPr>
            <c:extLst>
              <c:ext xmlns:c16="http://schemas.microsoft.com/office/drawing/2014/chart" uri="{C3380CC4-5D6E-409C-BE32-E72D297353CC}">
                <c16:uniqueId val="{00000121-2993-41DE-A2CB-63102DE87051}"/>
              </c:ext>
            </c:extLst>
          </c:dPt>
          <c:dPt>
            <c:idx val="144"/>
            <c:invertIfNegative val="1"/>
            <c:bubble3D val="0"/>
            <c:spPr>
              <a:solidFill>
                <a:srgbClr val="AEABAB"/>
              </a:solidFill>
            </c:spPr>
            <c:extLst>
              <c:ext xmlns:c16="http://schemas.microsoft.com/office/drawing/2014/chart" uri="{C3380CC4-5D6E-409C-BE32-E72D297353CC}">
                <c16:uniqueId val="{00000123-2993-41DE-A2CB-63102DE87051}"/>
              </c:ext>
            </c:extLst>
          </c:dPt>
          <c:dPt>
            <c:idx val="145"/>
            <c:invertIfNegative val="1"/>
            <c:bubble3D val="0"/>
            <c:spPr>
              <a:solidFill>
                <a:srgbClr val="AEABAB"/>
              </a:solidFill>
            </c:spPr>
            <c:extLst>
              <c:ext xmlns:c16="http://schemas.microsoft.com/office/drawing/2014/chart" uri="{C3380CC4-5D6E-409C-BE32-E72D297353CC}">
                <c16:uniqueId val="{00000125-2993-41DE-A2CB-63102DE87051}"/>
              </c:ext>
            </c:extLst>
          </c:dPt>
          <c:dPt>
            <c:idx val="146"/>
            <c:invertIfNegative val="1"/>
            <c:bubble3D val="0"/>
            <c:spPr>
              <a:solidFill>
                <a:srgbClr val="AEABAB"/>
              </a:solidFill>
            </c:spPr>
            <c:extLst>
              <c:ext xmlns:c16="http://schemas.microsoft.com/office/drawing/2014/chart" uri="{C3380CC4-5D6E-409C-BE32-E72D297353CC}">
                <c16:uniqueId val="{00000127-2993-41DE-A2CB-63102DE87051}"/>
              </c:ext>
            </c:extLst>
          </c:dPt>
          <c:dPt>
            <c:idx val="147"/>
            <c:invertIfNegative val="1"/>
            <c:bubble3D val="0"/>
            <c:spPr>
              <a:solidFill>
                <a:srgbClr val="AEABAB"/>
              </a:solidFill>
            </c:spPr>
            <c:extLst>
              <c:ext xmlns:c16="http://schemas.microsoft.com/office/drawing/2014/chart" uri="{C3380CC4-5D6E-409C-BE32-E72D297353CC}">
                <c16:uniqueId val="{00000129-2993-41DE-A2CB-63102DE87051}"/>
              </c:ext>
            </c:extLst>
          </c:dPt>
          <c:dPt>
            <c:idx val="148"/>
            <c:invertIfNegative val="1"/>
            <c:bubble3D val="0"/>
            <c:spPr>
              <a:solidFill>
                <a:srgbClr val="AEABAB"/>
              </a:solidFill>
            </c:spPr>
            <c:extLst>
              <c:ext xmlns:c16="http://schemas.microsoft.com/office/drawing/2014/chart" uri="{C3380CC4-5D6E-409C-BE32-E72D297353CC}">
                <c16:uniqueId val="{0000012B-2993-41DE-A2CB-63102DE87051}"/>
              </c:ext>
            </c:extLst>
          </c:dPt>
          <c:dPt>
            <c:idx val="149"/>
            <c:invertIfNegative val="1"/>
            <c:bubble3D val="0"/>
            <c:spPr>
              <a:solidFill>
                <a:srgbClr val="AEABAB"/>
              </a:solidFill>
            </c:spPr>
            <c:extLst>
              <c:ext xmlns:c16="http://schemas.microsoft.com/office/drawing/2014/chart" uri="{C3380CC4-5D6E-409C-BE32-E72D297353CC}">
                <c16:uniqueId val="{0000012D-2993-41DE-A2CB-63102DE87051}"/>
              </c:ext>
            </c:extLst>
          </c:dPt>
          <c:dPt>
            <c:idx val="150"/>
            <c:invertIfNegative val="1"/>
            <c:bubble3D val="0"/>
            <c:spPr>
              <a:solidFill>
                <a:srgbClr val="AEABAB"/>
              </a:solidFill>
            </c:spPr>
            <c:extLst>
              <c:ext xmlns:c16="http://schemas.microsoft.com/office/drawing/2014/chart" uri="{C3380CC4-5D6E-409C-BE32-E72D297353CC}">
                <c16:uniqueId val="{0000012F-2993-41DE-A2CB-63102DE87051}"/>
              </c:ext>
            </c:extLst>
          </c:dPt>
          <c:dPt>
            <c:idx val="151"/>
            <c:invertIfNegative val="1"/>
            <c:bubble3D val="0"/>
            <c:spPr>
              <a:solidFill>
                <a:srgbClr val="AEABAB"/>
              </a:solidFill>
            </c:spPr>
            <c:extLst>
              <c:ext xmlns:c16="http://schemas.microsoft.com/office/drawing/2014/chart" uri="{C3380CC4-5D6E-409C-BE32-E72D297353CC}">
                <c16:uniqueId val="{00000131-2993-41DE-A2CB-63102DE87051}"/>
              </c:ext>
            </c:extLst>
          </c:dPt>
          <c:dPt>
            <c:idx val="152"/>
            <c:invertIfNegative val="1"/>
            <c:bubble3D val="0"/>
            <c:spPr>
              <a:solidFill>
                <a:srgbClr val="AEABAB"/>
              </a:solidFill>
            </c:spPr>
            <c:extLst>
              <c:ext xmlns:c16="http://schemas.microsoft.com/office/drawing/2014/chart" uri="{C3380CC4-5D6E-409C-BE32-E72D297353CC}">
                <c16:uniqueId val="{00000133-2993-41DE-A2CB-63102DE87051}"/>
              </c:ext>
            </c:extLst>
          </c:dPt>
          <c:dPt>
            <c:idx val="153"/>
            <c:invertIfNegative val="1"/>
            <c:bubble3D val="0"/>
            <c:spPr>
              <a:solidFill>
                <a:srgbClr val="AEABAB"/>
              </a:solidFill>
            </c:spPr>
            <c:extLst>
              <c:ext xmlns:c16="http://schemas.microsoft.com/office/drawing/2014/chart" uri="{C3380CC4-5D6E-409C-BE32-E72D297353CC}">
                <c16:uniqueId val="{00000135-2993-41DE-A2CB-63102DE87051}"/>
              </c:ext>
            </c:extLst>
          </c:dPt>
          <c:dPt>
            <c:idx val="154"/>
            <c:invertIfNegative val="1"/>
            <c:bubble3D val="0"/>
            <c:spPr>
              <a:solidFill>
                <a:srgbClr val="AEABAB"/>
              </a:solidFill>
            </c:spPr>
            <c:extLst>
              <c:ext xmlns:c16="http://schemas.microsoft.com/office/drawing/2014/chart" uri="{C3380CC4-5D6E-409C-BE32-E72D297353CC}">
                <c16:uniqueId val="{00000137-2993-41DE-A2CB-63102DE87051}"/>
              </c:ext>
            </c:extLst>
          </c:dPt>
          <c:dPt>
            <c:idx val="155"/>
            <c:invertIfNegative val="1"/>
            <c:bubble3D val="0"/>
            <c:spPr>
              <a:solidFill>
                <a:srgbClr val="AEABAB"/>
              </a:solidFill>
            </c:spPr>
            <c:extLst>
              <c:ext xmlns:c16="http://schemas.microsoft.com/office/drawing/2014/chart" uri="{C3380CC4-5D6E-409C-BE32-E72D297353CC}">
                <c16:uniqueId val="{00000139-2993-41DE-A2CB-63102DE87051}"/>
              </c:ext>
            </c:extLst>
          </c:dPt>
          <c:dPt>
            <c:idx val="156"/>
            <c:invertIfNegative val="1"/>
            <c:bubble3D val="0"/>
            <c:spPr>
              <a:solidFill>
                <a:srgbClr val="AEABAB"/>
              </a:solidFill>
            </c:spPr>
            <c:extLst>
              <c:ext xmlns:c16="http://schemas.microsoft.com/office/drawing/2014/chart" uri="{C3380CC4-5D6E-409C-BE32-E72D297353CC}">
                <c16:uniqueId val="{0000013B-2993-41DE-A2CB-63102DE87051}"/>
              </c:ext>
            </c:extLst>
          </c:dPt>
          <c:dPt>
            <c:idx val="157"/>
            <c:invertIfNegative val="1"/>
            <c:bubble3D val="0"/>
            <c:spPr>
              <a:solidFill>
                <a:srgbClr val="AEABAB"/>
              </a:solidFill>
            </c:spPr>
            <c:extLst>
              <c:ext xmlns:c16="http://schemas.microsoft.com/office/drawing/2014/chart" uri="{C3380CC4-5D6E-409C-BE32-E72D297353CC}">
                <c16:uniqueId val="{0000013D-2993-41DE-A2CB-63102DE87051}"/>
              </c:ext>
            </c:extLst>
          </c:dPt>
          <c:dPt>
            <c:idx val="158"/>
            <c:invertIfNegative val="1"/>
            <c:bubble3D val="0"/>
            <c:spPr>
              <a:solidFill>
                <a:srgbClr val="AEABAB"/>
              </a:solidFill>
            </c:spPr>
            <c:extLst>
              <c:ext xmlns:c16="http://schemas.microsoft.com/office/drawing/2014/chart" uri="{C3380CC4-5D6E-409C-BE32-E72D297353CC}">
                <c16:uniqueId val="{0000013F-2993-41DE-A2CB-63102DE87051}"/>
              </c:ext>
            </c:extLst>
          </c:dPt>
          <c:dPt>
            <c:idx val="159"/>
            <c:invertIfNegative val="1"/>
            <c:bubble3D val="0"/>
            <c:spPr>
              <a:solidFill>
                <a:srgbClr val="AEABAB"/>
              </a:solidFill>
            </c:spPr>
            <c:extLst>
              <c:ext xmlns:c16="http://schemas.microsoft.com/office/drawing/2014/chart" uri="{C3380CC4-5D6E-409C-BE32-E72D297353CC}">
                <c16:uniqueId val="{00000141-2993-41DE-A2CB-63102DE87051}"/>
              </c:ext>
            </c:extLst>
          </c:dPt>
          <c:dPt>
            <c:idx val="160"/>
            <c:invertIfNegative val="1"/>
            <c:bubble3D val="0"/>
            <c:spPr>
              <a:solidFill>
                <a:srgbClr val="AEABAB"/>
              </a:solidFill>
            </c:spPr>
            <c:extLst>
              <c:ext xmlns:c16="http://schemas.microsoft.com/office/drawing/2014/chart" uri="{C3380CC4-5D6E-409C-BE32-E72D297353CC}">
                <c16:uniqueId val="{00000143-2993-41DE-A2CB-63102DE87051}"/>
              </c:ext>
            </c:extLst>
          </c:dPt>
          <c:dPt>
            <c:idx val="161"/>
            <c:invertIfNegative val="1"/>
            <c:bubble3D val="0"/>
            <c:spPr>
              <a:solidFill>
                <a:srgbClr val="AEABAB"/>
              </a:solidFill>
            </c:spPr>
            <c:extLst>
              <c:ext xmlns:c16="http://schemas.microsoft.com/office/drawing/2014/chart" uri="{C3380CC4-5D6E-409C-BE32-E72D297353CC}">
                <c16:uniqueId val="{00000145-2993-41DE-A2CB-63102DE87051}"/>
              </c:ext>
            </c:extLst>
          </c:dPt>
          <c:dPt>
            <c:idx val="162"/>
            <c:invertIfNegative val="1"/>
            <c:bubble3D val="0"/>
            <c:spPr>
              <a:solidFill>
                <a:srgbClr val="AEABAB"/>
              </a:solidFill>
            </c:spPr>
            <c:extLst>
              <c:ext xmlns:c16="http://schemas.microsoft.com/office/drawing/2014/chart" uri="{C3380CC4-5D6E-409C-BE32-E72D297353CC}">
                <c16:uniqueId val="{00000147-2993-41DE-A2CB-63102DE87051}"/>
              </c:ext>
            </c:extLst>
          </c:dPt>
          <c:dPt>
            <c:idx val="163"/>
            <c:invertIfNegative val="1"/>
            <c:bubble3D val="0"/>
            <c:spPr>
              <a:solidFill>
                <a:srgbClr val="AEABAB"/>
              </a:solidFill>
            </c:spPr>
            <c:extLst>
              <c:ext xmlns:c16="http://schemas.microsoft.com/office/drawing/2014/chart" uri="{C3380CC4-5D6E-409C-BE32-E72D297353CC}">
                <c16:uniqueId val="{00000149-2993-41DE-A2CB-63102DE87051}"/>
              </c:ext>
            </c:extLst>
          </c:dPt>
          <c:dPt>
            <c:idx val="164"/>
            <c:invertIfNegative val="1"/>
            <c:bubble3D val="0"/>
            <c:spPr>
              <a:solidFill>
                <a:srgbClr val="AEABAB"/>
              </a:solidFill>
            </c:spPr>
            <c:extLst>
              <c:ext xmlns:c16="http://schemas.microsoft.com/office/drawing/2014/chart" uri="{C3380CC4-5D6E-409C-BE32-E72D297353CC}">
                <c16:uniqueId val="{0000014B-2993-41DE-A2CB-63102DE87051}"/>
              </c:ext>
            </c:extLst>
          </c:dPt>
          <c:dPt>
            <c:idx val="165"/>
            <c:invertIfNegative val="1"/>
            <c:bubble3D val="0"/>
            <c:spPr>
              <a:solidFill>
                <a:srgbClr val="AEABAB"/>
              </a:solidFill>
            </c:spPr>
            <c:extLst>
              <c:ext xmlns:c16="http://schemas.microsoft.com/office/drawing/2014/chart" uri="{C3380CC4-5D6E-409C-BE32-E72D297353CC}">
                <c16:uniqueId val="{0000014D-2993-41DE-A2CB-63102DE87051}"/>
              </c:ext>
            </c:extLst>
          </c:dPt>
          <c:dPt>
            <c:idx val="166"/>
            <c:invertIfNegative val="1"/>
            <c:bubble3D val="0"/>
            <c:spPr>
              <a:solidFill>
                <a:srgbClr val="AEABAB"/>
              </a:solidFill>
            </c:spPr>
            <c:extLst>
              <c:ext xmlns:c16="http://schemas.microsoft.com/office/drawing/2014/chart" uri="{C3380CC4-5D6E-409C-BE32-E72D297353CC}">
                <c16:uniqueId val="{0000014F-2993-41DE-A2CB-63102DE87051}"/>
              </c:ext>
            </c:extLst>
          </c:dPt>
          <c:dPt>
            <c:idx val="167"/>
            <c:invertIfNegative val="1"/>
            <c:bubble3D val="0"/>
            <c:spPr>
              <a:solidFill>
                <a:srgbClr val="AEABAB"/>
              </a:solidFill>
            </c:spPr>
            <c:extLst>
              <c:ext xmlns:c16="http://schemas.microsoft.com/office/drawing/2014/chart" uri="{C3380CC4-5D6E-409C-BE32-E72D297353CC}">
                <c16:uniqueId val="{00000151-2993-41DE-A2CB-63102DE87051}"/>
              </c:ext>
            </c:extLst>
          </c:dPt>
          <c:dPt>
            <c:idx val="168"/>
            <c:invertIfNegative val="1"/>
            <c:bubble3D val="0"/>
            <c:spPr>
              <a:solidFill>
                <a:srgbClr val="AEABAB"/>
              </a:solidFill>
            </c:spPr>
            <c:extLst>
              <c:ext xmlns:c16="http://schemas.microsoft.com/office/drawing/2014/chart" uri="{C3380CC4-5D6E-409C-BE32-E72D297353CC}">
                <c16:uniqueId val="{00000153-2993-41DE-A2CB-63102DE87051}"/>
              </c:ext>
            </c:extLst>
          </c:dPt>
          <c:dPt>
            <c:idx val="169"/>
            <c:invertIfNegative val="1"/>
            <c:bubble3D val="0"/>
            <c:spPr>
              <a:solidFill>
                <a:srgbClr val="AEABAB"/>
              </a:solidFill>
            </c:spPr>
            <c:extLst>
              <c:ext xmlns:c16="http://schemas.microsoft.com/office/drawing/2014/chart" uri="{C3380CC4-5D6E-409C-BE32-E72D297353CC}">
                <c16:uniqueId val="{00000155-2993-41DE-A2CB-63102DE87051}"/>
              </c:ext>
            </c:extLst>
          </c:dPt>
          <c:dPt>
            <c:idx val="170"/>
            <c:invertIfNegative val="1"/>
            <c:bubble3D val="0"/>
            <c:spPr>
              <a:solidFill>
                <a:srgbClr val="AEABAB"/>
              </a:solidFill>
            </c:spPr>
            <c:extLst>
              <c:ext xmlns:c16="http://schemas.microsoft.com/office/drawing/2014/chart" uri="{C3380CC4-5D6E-409C-BE32-E72D297353CC}">
                <c16:uniqueId val="{00000157-2993-41DE-A2CB-63102DE87051}"/>
              </c:ext>
            </c:extLst>
          </c:dPt>
          <c:dPt>
            <c:idx val="171"/>
            <c:invertIfNegative val="1"/>
            <c:bubble3D val="0"/>
            <c:spPr>
              <a:solidFill>
                <a:srgbClr val="AEABAB"/>
              </a:solidFill>
            </c:spPr>
            <c:extLst>
              <c:ext xmlns:c16="http://schemas.microsoft.com/office/drawing/2014/chart" uri="{C3380CC4-5D6E-409C-BE32-E72D297353CC}">
                <c16:uniqueId val="{00000159-2993-41DE-A2CB-63102DE87051}"/>
              </c:ext>
            </c:extLst>
          </c:dPt>
          <c:dPt>
            <c:idx val="172"/>
            <c:invertIfNegative val="1"/>
            <c:bubble3D val="0"/>
            <c:spPr>
              <a:solidFill>
                <a:srgbClr val="AEABAB"/>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dPt>
            <c:idx val="210"/>
            <c:invertIfNegative val="1"/>
            <c:bubble3D val="0"/>
            <c:spPr>
              <a:solidFill>
                <a:srgbClr val="AEABAB"/>
              </a:solidFill>
            </c:spPr>
            <c:extLst>
              <c:ext xmlns:c16="http://schemas.microsoft.com/office/drawing/2014/chart" uri="{C3380CC4-5D6E-409C-BE32-E72D297353CC}">
                <c16:uniqueId val="{000001A7-E5A2-4A9D-B0D2-C29E52CC8567}"/>
              </c:ext>
            </c:extLst>
          </c:dPt>
          <c:dPt>
            <c:idx val="211"/>
            <c:invertIfNegative val="1"/>
            <c:bubble3D val="0"/>
            <c:spPr>
              <a:solidFill>
                <a:srgbClr val="AEABAB"/>
              </a:solidFill>
            </c:spPr>
            <c:extLst>
              <c:ext xmlns:c16="http://schemas.microsoft.com/office/drawing/2014/chart" uri="{C3380CC4-5D6E-409C-BE32-E72D297353CC}">
                <c16:uniqueId val="{000001A9-E5A2-4A9D-B0D2-C29E52CC8567}"/>
              </c:ext>
            </c:extLst>
          </c:dPt>
          <c:dPt>
            <c:idx val="212"/>
            <c:invertIfNegative val="1"/>
            <c:bubble3D val="0"/>
            <c:spPr>
              <a:solidFill>
                <a:srgbClr val="AEABAB"/>
              </a:solidFill>
            </c:spPr>
            <c:extLst>
              <c:ext xmlns:c16="http://schemas.microsoft.com/office/drawing/2014/chart" uri="{C3380CC4-5D6E-409C-BE32-E72D297353CC}">
                <c16:uniqueId val="{000001AB-E5A2-4A9D-B0D2-C29E52CC8567}"/>
              </c:ext>
            </c:extLst>
          </c:dPt>
          <c:dPt>
            <c:idx val="213"/>
            <c:invertIfNegative val="1"/>
            <c:bubble3D val="0"/>
            <c:spPr>
              <a:solidFill>
                <a:srgbClr val="AEABAB"/>
              </a:solidFill>
            </c:spPr>
            <c:extLst>
              <c:ext xmlns:c16="http://schemas.microsoft.com/office/drawing/2014/chart" uri="{C3380CC4-5D6E-409C-BE32-E72D297353CC}">
                <c16:uniqueId val="{000001AD-E5A2-4A9D-B0D2-C29E52CC8567}"/>
              </c:ext>
            </c:extLst>
          </c:dPt>
          <c:dPt>
            <c:idx val="214"/>
            <c:invertIfNegative val="1"/>
            <c:bubble3D val="0"/>
            <c:spPr>
              <a:solidFill>
                <a:srgbClr val="AEABAB"/>
              </a:solidFill>
            </c:spPr>
            <c:extLst>
              <c:ext xmlns:c16="http://schemas.microsoft.com/office/drawing/2014/chart" uri="{C3380CC4-5D6E-409C-BE32-E72D297353CC}">
                <c16:uniqueId val="{000001AF-E5A2-4A9D-B0D2-C29E52CC8567}"/>
              </c:ext>
            </c:extLst>
          </c:dPt>
          <c:dPt>
            <c:idx val="215"/>
            <c:invertIfNegative val="1"/>
            <c:bubble3D val="0"/>
            <c:spPr>
              <a:solidFill>
                <a:srgbClr val="AEABAB"/>
              </a:solidFill>
            </c:spPr>
            <c:extLst>
              <c:ext xmlns:c16="http://schemas.microsoft.com/office/drawing/2014/chart" uri="{C3380CC4-5D6E-409C-BE32-E72D297353CC}">
                <c16:uniqueId val="{000001B1-E5A2-4A9D-B0D2-C29E52CC8567}"/>
              </c:ext>
            </c:extLst>
          </c:dPt>
          <c:dPt>
            <c:idx val="216"/>
            <c:invertIfNegative val="1"/>
            <c:bubble3D val="0"/>
            <c:spPr>
              <a:solidFill>
                <a:srgbClr val="AEABAB"/>
              </a:solidFill>
            </c:spPr>
            <c:extLst>
              <c:ext xmlns:c16="http://schemas.microsoft.com/office/drawing/2014/chart" uri="{C3380CC4-5D6E-409C-BE32-E72D297353CC}">
                <c16:uniqueId val="{000001B3-E5A2-4A9D-B0D2-C29E52CC8567}"/>
              </c:ext>
            </c:extLst>
          </c:dPt>
          <c:dPt>
            <c:idx val="217"/>
            <c:invertIfNegative val="1"/>
            <c:bubble3D val="0"/>
            <c:spPr>
              <a:solidFill>
                <a:srgbClr val="AEABAB"/>
              </a:solidFill>
            </c:spPr>
            <c:extLst>
              <c:ext xmlns:c16="http://schemas.microsoft.com/office/drawing/2014/chart" uri="{C3380CC4-5D6E-409C-BE32-E72D297353CC}">
                <c16:uniqueId val="{000001B5-E5A2-4A9D-B0D2-C29E52CC8567}"/>
              </c:ext>
            </c:extLst>
          </c:dPt>
          <c:dPt>
            <c:idx val="218"/>
            <c:invertIfNegative val="1"/>
            <c:bubble3D val="0"/>
            <c:spPr>
              <a:solidFill>
                <a:srgbClr val="AEABAB"/>
              </a:solidFill>
            </c:spPr>
            <c:extLst>
              <c:ext xmlns:c16="http://schemas.microsoft.com/office/drawing/2014/chart" uri="{C3380CC4-5D6E-409C-BE32-E72D297353CC}">
                <c16:uniqueId val="{000001B7-E5A2-4A9D-B0D2-C29E52CC8567}"/>
              </c:ext>
            </c:extLst>
          </c:dPt>
          <c:dPt>
            <c:idx val="219"/>
            <c:invertIfNegative val="1"/>
            <c:bubble3D val="0"/>
            <c:spPr>
              <a:solidFill>
                <a:srgbClr val="AEABAB"/>
              </a:solidFill>
            </c:spPr>
            <c:extLst>
              <c:ext xmlns:c16="http://schemas.microsoft.com/office/drawing/2014/chart" uri="{C3380CC4-5D6E-409C-BE32-E72D297353CC}">
                <c16:uniqueId val="{000001B9-E5A2-4A9D-B0D2-C29E52CC8567}"/>
              </c:ext>
            </c:extLst>
          </c:dPt>
          <c:dPt>
            <c:idx val="220"/>
            <c:invertIfNegative val="1"/>
            <c:bubble3D val="0"/>
            <c:spPr>
              <a:solidFill>
                <a:srgbClr val="AEABAB"/>
              </a:solidFill>
            </c:spPr>
            <c:extLst>
              <c:ext xmlns:c16="http://schemas.microsoft.com/office/drawing/2014/chart" uri="{C3380CC4-5D6E-409C-BE32-E72D297353CC}">
                <c16:uniqueId val="{000001BB-E5A2-4A9D-B0D2-C29E52CC8567}"/>
              </c:ext>
            </c:extLst>
          </c:dPt>
          <c:dPt>
            <c:idx val="221"/>
            <c:invertIfNegative val="1"/>
            <c:bubble3D val="0"/>
            <c:spPr>
              <a:solidFill>
                <a:srgbClr val="AEABAB"/>
              </a:solidFill>
            </c:spPr>
            <c:extLst>
              <c:ext xmlns:c16="http://schemas.microsoft.com/office/drawing/2014/chart" uri="{C3380CC4-5D6E-409C-BE32-E72D297353CC}">
                <c16:uniqueId val="{000001BD-E5A2-4A9D-B0D2-C29E52CC8567}"/>
              </c:ext>
            </c:extLst>
          </c:dPt>
          <c:dPt>
            <c:idx val="222"/>
            <c:invertIfNegative val="1"/>
            <c:bubble3D val="0"/>
            <c:spPr>
              <a:solidFill>
                <a:srgbClr val="AEABAB"/>
              </a:solidFill>
            </c:spPr>
            <c:extLst>
              <c:ext xmlns:c16="http://schemas.microsoft.com/office/drawing/2014/chart" uri="{C3380CC4-5D6E-409C-BE32-E72D297353CC}">
                <c16:uniqueId val="{000001BF-E5A2-4A9D-B0D2-C29E52CC8567}"/>
              </c:ext>
            </c:extLst>
          </c:dPt>
          <c:dPt>
            <c:idx val="223"/>
            <c:invertIfNegative val="1"/>
            <c:bubble3D val="0"/>
            <c:spPr>
              <a:solidFill>
                <a:srgbClr val="AEABAB"/>
              </a:solidFill>
            </c:spPr>
            <c:extLst>
              <c:ext xmlns:c16="http://schemas.microsoft.com/office/drawing/2014/chart" uri="{C3380CC4-5D6E-409C-BE32-E72D297353CC}">
                <c16:uniqueId val="{000001C1-E5A2-4A9D-B0D2-C29E52CC8567}"/>
              </c:ext>
            </c:extLst>
          </c:dPt>
          <c:dPt>
            <c:idx val="224"/>
            <c:invertIfNegative val="1"/>
            <c:bubble3D val="0"/>
            <c:spPr>
              <a:solidFill>
                <a:srgbClr val="AEABAB"/>
              </a:solidFill>
            </c:spPr>
            <c:extLst>
              <c:ext xmlns:c16="http://schemas.microsoft.com/office/drawing/2014/chart" uri="{C3380CC4-5D6E-409C-BE32-E72D297353CC}">
                <c16:uniqueId val="{000001C3-E5A2-4A9D-B0D2-C29E52CC8567}"/>
              </c:ext>
            </c:extLst>
          </c:dPt>
          <c:dPt>
            <c:idx val="225"/>
            <c:invertIfNegative val="1"/>
            <c:bubble3D val="0"/>
            <c:spPr>
              <a:solidFill>
                <a:srgbClr val="AEABAB"/>
              </a:solidFill>
            </c:spPr>
            <c:extLst>
              <c:ext xmlns:c16="http://schemas.microsoft.com/office/drawing/2014/chart" uri="{C3380CC4-5D6E-409C-BE32-E72D297353CC}">
                <c16:uniqueId val="{000001C5-E5A2-4A9D-B0D2-C29E52CC8567}"/>
              </c:ext>
            </c:extLst>
          </c:dPt>
          <c:dPt>
            <c:idx val="226"/>
            <c:invertIfNegative val="1"/>
            <c:bubble3D val="0"/>
            <c:spPr>
              <a:solidFill>
                <a:srgbClr val="AEABAB"/>
              </a:solidFill>
            </c:spPr>
            <c:extLst>
              <c:ext xmlns:c16="http://schemas.microsoft.com/office/drawing/2014/chart" uri="{C3380CC4-5D6E-409C-BE32-E72D297353CC}">
                <c16:uniqueId val="{000001C7-E5A2-4A9D-B0D2-C29E52CC8567}"/>
              </c:ext>
            </c:extLst>
          </c:dPt>
          <c:dPt>
            <c:idx val="227"/>
            <c:invertIfNegative val="1"/>
            <c:bubble3D val="0"/>
            <c:spPr>
              <a:solidFill>
                <a:srgbClr val="AEABAB"/>
              </a:solidFill>
            </c:spPr>
            <c:extLst>
              <c:ext xmlns:c16="http://schemas.microsoft.com/office/drawing/2014/chart" uri="{C3380CC4-5D6E-409C-BE32-E72D297353CC}">
                <c16:uniqueId val="{000001C9-E5A2-4A9D-B0D2-C29E52CC8567}"/>
              </c:ext>
            </c:extLst>
          </c:dPt>
          <c:dPt>
            <c:idx val="228"/>
            <c:invertIfNegative val="1"/>
            <c:bubble3D val="0"/>
            <c:spPr>
              <a:solidFill>
                <a:srgbClr val="AEABAB"/>
              </a:solidFill>
            </c:spPr>
            <c:extLst>
              <c:ext xmlns:c16="http://schemas.microsoft.com/office/drawing/2014/chart" uri="{C3380CC4-5D6E-409C-BE32-E72D297353CC}">
                <c16:uniqueId val="{000001CB-E5A2-4A9D-B0D2-C29E52CC8567}"/>
              </c:ext>
            </c:extLst>
          </c:dPt>
          <c:dPt>
            <c:idx val="229"/>
            <c:invertIfNegative val="1"/>
            <c:bubble3D val="0"/>
            <c:spPr>
              <a:solidFill>
                <a:srgbClr val="AEABAB"/>
              </a:solidFill>
            </c:spPr>
            <c:extLst>
              <c:ext xmlns:c16="http://schemas.microsoft.com/office/drawing/2014/chart" uri="{C3380CC4-5D6E-409C-BE32-E72D297353CC}">
                <c16:uniqueId val="{000001CD-E5A2-4A9D-B0D2-C29E52CC8567}"/>
              </c:ext>
            </c:extLst>
          </c:dPt>
          <c:dPt>
            <c:idx val="230"/>
            <c:invertIfNegative val="1"/>
            <c:bubble3D val="0"/>
            <c:spPr>
              <a:solidFill>
                <a:srgbClr val="AEABAB"/>
              </a:solidFill>
            </c:spPr>
            <c:extLst>
              <c:ext xmlns:c16="http://schemas.microsoft.com/office/drawing/2014/chart" uri="{C3380CC4-5D6E-409C-BE32-E72D297353CC}">
                <c16:uniqueId val="{000001CF-E5A2-4A9D-B0D2-C29E52CC8567}"/>
              </c:ext>
            </c:extLst>
          </c:dPt>
          <c:dPt>
            <c:idx val="231"/>
            <c:invertIfNegative val="1"/>
            <c:bubble3D val="0"/>
            <c:spPr>
              <a:solidFill>
                <a:srgbClr val="AEABAB"/>
              </a:solidFill>
            </c:spPr>
            <c:extLst>
              <c:ext xmlns:c16="http://schemas.microsoft.com/office/drawing/2014/chart" uri="{C3380CC4-5D6E-409C-BE32-E72D297353CC}">
                <c16:uniqueId val="{000001D1-E5A2-4A9D-B0D2-C29E52CC8567}"/>
              </c:ext>
            </c:extLst>
          </c:dPt>
          <c:dPt>
            <c:idx val="232"/>
            <c:invertIfNegative val="1"/>
            <c:bubble3D val="0"/>
            <c:spPr>
              <a:solidFill>
                <a:srgbClr val="AEABAB"/>
              </a:solidFill>
            </c:spPr>
            <c:extLst>
              <c:ext xmlns:c16="http://schemas.microsoft.com/office/drawing/2014/chart" uri="{C3380CC4-5D6E-409C-BE32-E72D297353CC}">
                <c16:uniqueId val="{000001D3-E5A2-4A9D-B0D2-C29E52CC8567}"/>
              </c:ext>
            </c:extLst>
          </c:dPt>
          <c:dPt>
            <c:idx val="233"/>
            <c:invertIfNegative val="1"/>
            <c:bubble3D val="0"/>
            <c:spPr>
              <a:solidFill>
                <a:srgbClr val="AEABAB"/>
              </a:solidFill>
            </c:spPr>
            <c:extLst>
              <c:ext xmlns:c16="http://schemas.microsoft.com/office/drawing/2014/chart" uri="{C3380CC4-5D6E-409C-BE32-E72D297353CC}">
                <c16:uniqueId val="{000001D5-E5A2-4A9D-B0D2-C29E52CC8567}"/>
              </c:ext>
            </c:extLst>
          </c:dPt>
          <c:dPt>
            <c:idx val="234"/>
            <c:invertIfNegative val="1"/>
            <c:bubble3D val="0"/>
            <c:spPr>
              <a:solidFill>
                <a:srgbClr val="AEABAB"/>
              </a:solidFill>
            </c:spPr>
            <c:extLst>
              <c:ext xmlns:c16="http://schemas.microsoft.com/office/drawing/2014/chart" uri="{C3380CC4-5D6E-409C-BE32-E72D297353CC}">
                <c16:uniqueId val="{000001D7-E5A2-4A9D-B0D2-C29E52CC8567}"/>
              </c:ext>
            </c:extLst>
          </c:dPt>
          <c:dPt>
            <c:idx val="235"/>
            <c:invertIfNegative val="1"/>
            <c:bubble3D val="0"/>
            <c:spPr>
              <a:solidFill>
                <a:srgbClr val="AEABAB"/>
              </a:solidFill>
            </c:spPr>
            <c:extLst>
              <c:ext xmlns:c16="http://schemas.microsoft.com/office/drawing/2014/chart" uri="{C3380CC4-5D6E-409C-BE32-E72D297353CC}">
                <c16:uniqueId val="{000001D9-E5A2-4A9D-B0D2-C29E52CC8567}"/>
              </c:ext>
            </c:extLst>
          </c:dPt>
          <c:dPt>
            <c:idx val="236"/>
            <c:invertIfNegative val="1"/>
            <c:bubble3D val="0"/>
            <c:spPr>
              <a:solidFill>
                <a:srgbClr val="AEABAB"/>
              </a:solidFill>
            </c:spPr>
            <c:extLst>
              <c:ext xmlns:c16="http://schemas.microsoft.com/office/drawing/2014/chart" uri="{C3380CC4-5D6E-409C-BE32-E72D297353CC}">
                <c16:uniqueId val="{000001DB-E5A2-4A9D-B0D2-C29E52CC8567}"/>
              </c:ext>
            </c:extLst>
          </c:dPt>
          <c:dPt>
            <c:idx val="237"/>
            <c:invertIfNegative val="1"/>
            <c:bubble3D val="0"/>
            <c:spPr>
              <a:solidFill>
                <a:srgbClr val="AEABAB"/>
              </a:solidFill>
            </c:spPr>
            <c:extLst>
              <c:ext xmlns:c16="http://schemas.microsoft.com/office/drawing/2014/chart" uri="{C3380CC4-5D6E-409C-BE32-E72D297353CC}">
                <c16:uniqueId val="{000001DD-E5A2-4A9D-B0D2-C29E52CC8567}"/>
              </c:ext>
            </c:extLst>
          </c:dPt>
          <c:dPt>
            <c:idx val="238"/>
            <c:invertIfNegative val="1"/>
            <c:bubble3D val="0"/>
            <c:spPr>
              <a:solidFill>
                <a:srgbClr val="AEABAB"/>
              </a:solidFill>
            </c:spPr>
            <c:extLst>
              <c:ext xmlns:c16="http://schemas.microsoft.com/office/drawing/2014/chart" uri="{C3380CC4-5D6E-409C-BE32-E72D297353CC}">
                <c16:uniqueId val="{000001DF-E5A2-4A9D-B0D2-C29E52CC8567}"/>
              </c:ext>
            </c:extLst>
          </c:dPt>
          <c:dPt>
            <c:idx val="239"/>
            <c:invertIfNegative val="1"/>
            <c:bubble3D val="0"/>
            <c:spPr>
              <a:solidFill>
                <a:srgbClr val="AEABAB"/>
              </a:solidFill>
            </c:spPr>
            <c:extLst>
              <c:ext xmlns:c16="http://schemas.microsoft.com/office/drawing/2014/chart" uri="{C3380CC4-5D6E-409C-BE32-E72D297353CC}">
                <c16:uniqueId val="{000001E1-E5A2-4A9D-B0D2-C29E52CC8567}"/>
              </c:ext>
            </c:extLst>
          </c:dPt>
          <c:dPt>
            <c:idx val="240"/>
            <c:invertIfNegative val="1"/>
            <c:bubble3D val="0"/>
            <c:spPr>
              <a:solidFill>
                <a:srgbClr val="AEABAB"/>
              </a:solidFill>
            </c:spPr>
            <c:extLst>
              <c:ext xmlns:c16="http://schemas.microsoft.com/office/drawing/2014/chart" uri="{C3380CC4-5D6E-409C-BE32-E72D297353CC}">
                <c16:uniqueId val="{000001E3-E5A2-4A9D-B0D2-C29E52CC8567}"/>
              </c:ext>
            </c:extLst>
          </c:dPt>
          <c:dPt>
            <c:idx val="241"/>
            <c:invertIfNegative val="1"/>
            <c:bubble3D val="0"/>
            <c:spPr>
              <a:solidFill>
                <a:srgbClr val="AEABAB"/>
              </a:solidFill>
            </c:spPr>
            <c:extLst>
              <c:ext xmlns:c16="http://schemas.microsoft.com/office/drawing/2014/chart" uri="{C3380CC4-5D6E-409C-BE32-E72D297353CC}">
                <c16:uniqueId val="{000001E5-E5A2-4A9D-B0D2-C29E52CC8567}"/>
              </c:ext>
            </c:extLst>
          </c:dPt>
          <c:dPt>
            <c:idx val="242"/>
            <c:invertIfNegative val="1"/>
            <c:bubble3D val="0"/>
            <c:spPr>
              <a:solidFill>
                <a:srgbClr val="AEABAB"/>
              </a:solidFill>
            </c:spPr>
            <c:extLst>
              <c:ext xmlns:c16="http://schemas.microsoft.com/office/drawing/2014/chart" uri="{C3380CC4-5D6E-409C-BE32-E72D297353CC}">
                <c16:uniqueId val="{000001E7-E5A2-4A9D-B0D2-C29E52CC8567}"/>
              </c:ext>
            </c:extLst>
          </c:dPt>
          <c:dPt>
            <c:idx val="243"/>
            <c:invertIfNegative val="1"/>
            <c:bubble3D val="0"/>
            <c:spPr>
              <a:solidFill>
                <a:srgbClr val="AEABAB"/>
              </a:solidFill>
            </c:spPr>
            <c:extLst>
              <c:ext xmlns:c16="http://schemas.microsoft.com/office/drawing/2014/chart" uri="{C3380CC4-5D6E-409C-BE32-E72D297353CC}">
                <c16:uniqueId val="{000001E9-E5A2-4A9D-B0D2-C29E52CC8567}"/>
              </c:ext>
            </c:extLst>
          </c:dPt>
          <c:dPt>
            <c:idx val="244"/>
            <c:invertIfNegative val="1"/>
            <c:bubble3D val="0"/>
            <c:spPr>
              <a:solidFill>
                <a:srgbClr val="AEABAB"/>
              </a:solidFill>
            </c:spPr>
            <c:extLst>
              <c:ext xmlns:c16="http://schemas.microsoft.com/office/drawing/2014/chart" uri="{C3380CC4-5D6E-409C-BE32-E72D297353CC}">
                <c16:uniqueId val="{000001EB-E5A2-4A9D-B0D2-C29E52CC8567}"/>
              </c:ext>
            </c:extLst>
          </c:dPt>
          <c:dPt>
            <c:idx val="245"/>
            <c:invertIfNegative val="1"/>
            <c:bubble3D val="0"/>
            <c:spPr>
              <a:solidFill>
                <a:srgbClr val="AEABAB"/>
              </a:solidFill>
            </c:spPr>
            <c:extLst>
              <c:ext xmlns:c16="http://schemas.microsoft.com/office/drawing/2014/chart" uri="{C3380CC4-5D6E-409C-BE32-E72D297353CC}">
                <c16:uniqueId val="{000001ED-E5A2-4A9D-B0D2-C29E52CC8567}"/>
              </c:ext>
            </c:extLst>
          </c:dPt>
          <c:dPt>
            <c:idx val="246"/>
            <c:invertIfNegative val="1"/>
            <c:bubble3D val="0"/>
            <c:spPr>
              <a:solidFill>
                <a:srgbClr val="AEABAB"/>
              </a:solidFill>
            </c:spPr>
            <c:extLst>
              <c:ext xmlns:c16="http://schemas.microsoft.com/office/drawing/2014/chart" uri="{C3380CC4-5D6E-409C-BE32-E72D297353CC}">
                <c16:uniqueId val="{000001EF-E5A2-4A9D-B0D2-C29E52CC8567}"/>
              </c:ext>
            </c:extLst>
          </c:dPt>
          <c:dPt>
            <c:idx val="247"/>
            <c:invertIfNegative val="1"/>
            <c:bubble3D val="0"/>
            <c:spPr>
              <a:solidFill>
                <a:srgbClr val="AEABAB"/>
              </a:solidFill>
            </c:spPr>
            <c:extLst>
              <c:ext xmlns:c16="http://schemas.microsoft.com/office/drawing/2014/chart" uri="{C3380CC4-5D6E-409C-BE32-E72D297353CC}">
                <c16:uniqueId val="{000001F1-E5A2-4A9D-B0D2-C29E52CC8567}"/>
              </c:ext>
            </c:extLst>
          </c:dPt>
          <c:dPt>
            <c:idx val="248"/>
            <c:invertIfNegative val="1"/>
            <c:bubble3D val="0"/>
            <c:spPr>
              <a:solidFill>
                <a:srgbClr val="AEABAB"/>
              </a:solidFill>
            </c:spPr>
            <c:extLst>
              <c:ext xmlns:c16="http://schemas.microsoft.com/office/drawing/2014/chart" uri="{C3380CC4-5D6E-409C-BE32-E72D297353CC}">
                <c16:uniqueId val="{000001F3-E5A2-4A9D-B0D2-C29E52CC8567}"/>
              </c:ext>
            </c:extLst>
          </c:dPt>
          <c:dPt>
            <c:idx val="249"/>
            <c:invertIfNegative val="1"/>
            <c:bubble3D val="0"/>
            <c:spPr>
              <a:solidFill>
                <a:srgbClr val="AEABAB"/>
              </a:solidFill>
            </c:spPr>
            <c:extLst>
              <c:ext xmlns:c16="http://schemas.microsoft.com/office/drawing/2014/chart" uri="{C3380CC4-5D6E-409C-BE32-E72D297353CC}">
                <c16:uniqueId val="{000001F5-E5A2-4A9D-B0D2-C29E52CC8567}"/>
              </c:ext>
            </c:extLst>
          </c:dPt>
          <c:dPt>
            <c:idx val="250"/>
            <c:invertIfNegative val="1"/>
            <c:bubble3D val="0"/>
            <c:spPr>
              <a:solidFill>
                <a:srgbClr val="AEABAB"/>
              </a:solidFill>
            </c:spPr>
            <c:extLst>
              <c:ext xmlns:c16="http://schemas.microsoft.com/office/drawing/2014/chart" uri="{C3380CC4-5D6E-409C-BE32-E72D297353CC}">
                <c16:uniqueId val="{000001F7-E5A2-4A9D-B0D2-C29E52CC8567}"/>
              </c:ext>
            </c:extLst>
          </c:dPt>
          <c:dPt>
            <c:idx val="251"/>
            <c:invertIfNegative val="1"/>
            <c:bubble3D val="0"/>
            <c:spPr>
              <a:solidFill>
                <a:srgbClr val="AEABAB"/>
              </a:solidFill>
            </c:spPr>
            <c:extLst>
              <c:ext xmlns:c16="http://schemas.microsoft.com/office/drawing/2014/chart" uri="{C3380CC4-5D6E-409C-BE32-E72D297353CC}">
                <c16:uniqueId val="{000001F9-E5A2-4A9D-B0D2-C29E52CC8567}"/>
              </c:ext>
            </c:extLst>
          </c:dPt>
          <c:dPt>
            <c:idx val="252"/>
            <c:invertIfNegative val="1"/>
            <c:bubble3D val="0"/>
            <c:spPr>
              <a:solidFill>
                <a:srgbClr val="AEABAB"/>
              </a:solidFill>
            </c:spPr>
            <c:extLst>
              <c:ext xmlns:c16="http://schemas.microsoft.com/office/drawing/2014/chart" uri="{C3380CC4-5D6E-409C-BE32-E72D297353CC}">
                <c16:uniqueId val="{000001FB-E5A2-4A9D-B0D2-C29E52CC8567}"/>
              </c:ext>
            </c:extLst>
          </c:dPt>
          <c:dPt>
            <c:idx val="253"/>
            <c:invertIfNegative val="1"/>
            <c:bubble3D val="0"/>
            <c:spPr>
              <a:solidFill>
                <a:srgbClr val="AEABAB"/>
              </a:solidFill>
            </c:spPr>
            <c:extLst>
              <c:ext xmlns:c16="http://schemas.microsoft.com/office/drawing/2014/chart" uri="{C3380CC4-5D6E-409C-BE32-E72D297353CC}">
                <c16:uniqueId val="{000001FD-E5A2-4A9D-B0D2-C29E52CC8567}"/>
              </c:ext>
            </c:extLst>
          </c:dPt>
          <c:dPt>
            <c:idx val="254"/>
            <c:invertIfNegative val="1"/>
            <c:bubble3D val="0"/>
            <c:spPr>
              <a:solidFill>
                <a:srgbClr val="AEABAB"/>
              </a:solidFill>
            </c:spPr>
            <c:extLst>
              <c:ext xmlns:c16="http://schemas.microsoft.com/office/drawing/2014/chart" uri="{C3380CC4-5D6E-409C-BE32-E72D297353CC}">
                <c16:uniqueId val="{000001FF-E5A2-4A9D-B0D2-C29E52CC8567}"/>
              </c:ext>
            </c:extLst>
          </c:dPt>
          <c:dPt>
            <c:idx val="255"/>
            <c:invertIfNegative val="1"/>
            <c:bubble3D val="0"/>
            <c:spPr>
              <a:solidFill>
                <a:srgbClr val="AEABAB"/>
              </a:solidFill>
            </c:spPr>
            <c:extLst>
              <c:ext xmlns:c16="http://schemas.microsoft.com/office/drawing/2014/chart" uri="{C3380CC4-5D6E-409C-BE32-E72D297353CC}">
                <c16:uniqueId val="{00000201-E5A2-4A9D-B0D2-C29E52CC8567}"/>
              </c:ext>
            </c:extLst>
          </c:dPt>
          <c:dPt>
            <c:idx val="256"/>
            <c:invertIfNegative val="1"/>
            <c:bubble3D val="0"/>
            <c:spPr>
              <a:solidFill>
                <a:srgbClr val="AEABAB"/>
              </a:solidFill>
            </c:spPr>
            <c:extLst>
              <c:ext xmlns:c16="http://schemas.microsoft.com/office/drawing/2014/chart" uri="{C3380CC4-5D6E-409C-BE32-E72D297353CC}">
                <c16:uniqueId val="{00000203-E5A2-4A9D-B0D2-C29E52CC8567}"/>
              </c:ext>
            </c:extLst>
          </c:dPt>
          <c:dPt>
            <c:idx val="257"/>
            <c:invertIfNegative val="1"/>
            <c:bubble3D val="0"/>
            <c:spPr>
              <a:solidFill>
                <a:srgbClr val="AEABAB"/>
              </a:solidFill>
            </c:spPr>
            <c:extLst>
              <c:ext xmlns:c16="http://schemas.microsoft.com/office/drawing/2014/chart" uri="{C3380CC4-5D6E-409C-BE32-E72D297353CC}">
                <c16:uniqueId val="{00000205-E5A2-4A9D-B0D2-C29E52CC8567}"/>
              </c:ext>
            </c:extLst>
          </c:dPt>
          <c:dPt>
            <c:idx val="258"/>
            <c:invertIfNegative val="1"/>
            <c:bubble3D val="0"/>
            <c:spPr>
              <a:solidFill>
                <a:srgbClr val="AEABAB"/>
              </a:solidFill>
            </c:spPr>
            <c:extLst>
              <c:ext xmlns:c16="http://schemas.microsoft.com/office/drawing/2014/chart" uri="{C3380CC4-5D6E-409C-BE32-E72D297353CC}">
                <c16:uniqueId val="{00000207-E5A2-4A9D-B0D2-C29E52CC8567}"/>
              </c:ext>
            </c:extLst>
          </c:dPt>
          <c:dPt>
            <c:idx val="259"/>
            <c:invertIfNegative val="1"/>
            <c:bubble3D val="0"/>
            <c:spPr>
              <a:solidFill>
                <a:srgbClr val="AEABAB"/>
              </a:solidFill>
            </c:spPr>
            <c:extLst>
              <c:ext xmlns:c16="http://schemas.microsoft.com/office/drawing/2014/chart" uri="{C3380CC4-5D6E-409C-BE32-E72D297353CC}">
                <c16:uniqueId val="{00000209-E5A2-4A9D-B0D2-C29E52CC8567}"/>
              </c:ext>
            </c:extLst>
          </c:dPt>
          <c:dPt>
            <c:idx val="260"/>
            <c:invertIfNegative val="1"/>
            <c:bubble3D val="0"/>
            <c:spPr>
              <a:solidFill>
                <a:srgbClr val="AEABAB"/>
              </a:solidFill>
            </c:spPr>
            <c:extLst>
              <c:ext xmlns:c16="http://schemas.microsoft.com/office/drawing/2014/chart" uri="{C3380CC4-5D6E-409C-BE32-E72D297353CC}">
                <c16:uniqueId val="{0000020B-E5A2-4A9D-B0D2-C29E52CC8567}"/>
              </c:ext>
            </c:extLst>
          </c:dPt>
          <c:dPt>
            <c:idx val="261"/>
            <c:invertIfNegative val="1"/>
            <c:bubble3D val="0"/>
            <c:spPr>
              <a:solidFill>
                <a:srgbClr val="AEABAB"/>
              </a:solidFill>
            </c:spPr>
            <c:extLst>
              <c:ext xmlns:c16="http://schemas.microsoft.com/office/drawing/2014/chart" uri="{C3380CC4-5D6E-409C-BE32-E72D297353CC}">
                <c16:uniqueId val="{0000020D-E5A2-4A9D-B0D2-C29E52CC8567}"/>
              </c:ext>
            </c:extLst>
          </c:dPt>
          <c:dPt>
            <c:idx val="262"/>
            <c:invertIfNegative val="1"/>
            <c:bubble3D val="0"/>
            <c:spPr>
              <a:solidFill>
                <a:srgbClr val="AEABAB"/>
              </a:solidFill>
            </c:spPr>
            <c:extLst>
              <c:ext xmlns:c16="http://schemas.microsoft.com/office/drawing/2014/chart" uri="{C3380CC4-5D6E-409C-BE32-E72D297353CC}">
                <c16:uniqueId val="{0000020F-E5A2-4A9D-B0D2-C29E52CC8567}"/>
              </c:ext>
            </c:extLst>
          </c:dPt>
          <c:dPt>
            <c:idx val="263"/>
            <c:invertIfNegative val="1"/>
            <c:bubble3D val="0"/>
            <c:spPr>
              <a:solidFill>
                <a:srgbClr val="AEABAB"/>
              </a:solidFill>
            </c:spPr>
            <c:extLst>
              <c:ext xmlns:c16="http://schemas.microsoft.com/office/drawing/2014/chart" uri="{C3380CC4-5D6E-409C-BE32-E72D297353CC}">
                <c16:uniqueId val="{00000211-E5A2-4A9D-B0D2-C29E52CC8567}"/>
              </c:ext>
            </c:extLst>
          </c:dPt>
          <c:dPt>
            <c:idx val="264"/>
            <c:invertIfNegative val="1"/>
            <c:bubble3D val="0"/>
            <c:spPr>
              <a:solidFill>
                <a:srgbClr val="AEABAB"/>
              </a:solidFill>
            </c:spPr>
            <c:extLst>
              <c:ext xmlns:c16="http://schemas.microsoft.com/office/drawing/2014/chart" uri="{C3380CC4-5D6E-409C-BE32-E72D297353CC}">
                <c16:uniqueId val="{00000213-E5A2-4A9D-B0D2-C29E52CC8567}"/>
              </c:ext>
            </c:extLst>
          </c:dPt>
          <c:dPt>
            <c:idx val="265"/>
            <c:invertIfNegative val="1"/>
            <c:bubble3D val="0"/>
            <c:spPr>
              <a:solidFill>
                <a:srgbClr val="AEABAB"/>
              </a:solidFill>
            </c:spPr>
            <c:extLst>
              <c:ext xmlns:c16="http://schemas.microsoft.com/office/drawing/2014/chart" uri="{C3380CC4-5D6E-409C-BE32-E72D297353CC}">
                <c16:uniqueId val="{00000215-E5A2-4A9D-B0D2-C29E52CC8567}"/>
              </c:ext>
            </c:extLst>
          </c:dPt>
          <c:dPt>
            <c:idx val="266"/>
            <c:invertIfNegative val="1"/>
            <c:bubble3D val="0"/>
            <c:spPr>
              <a:solidFill>
                <a:srgbClr val="AEABAB"/>
              </a:solidFill>
            </c:spPr>
            <c:extLst>
              <c:ext xmlns:c16="http://schemas.microsoft.com/office/drawing/2014/chart" uri="{C3380CC4-5D6E-409C-BE32-E72D297353CC}">
                <c16:uniqueId val="{00000217-E5A2-4A9D-B0D2-C29E52CC8567}"/>
              </c:ext>
            </c:extLst>
          </c:dPt>
          <c:dPt>
            <c:idx val="267"/>
            <c:invertIfNegative val="1"/>
            <c:bubble3D val="0"/>
            <c:spPr>
              <a:solidFill>
                <a:srgbClr val="AEABAB"/>
              </a:solidFill>
            </c:spPr>
            <c:extLst>
              <c:ext xmlns:c16="http://schemas.microsoft.com/office/drawing/2014/chart" uri="{C3380CC4-5D6E-409C-BE32-E72D297353CC}">
                <c16:uniqueId val="{00000219-E5A2-4A9D-B0D2-C29E52CC8567}"/>
              </c:ext>
            </c:extLst>
          </c:dPt>
          <c:dPt>
            <c:idx val="268"/>
            <c:invertIfNegative val="1"/>
            <c:bubble3D val="0"/>
            <c:spPr>
              <a:solidFill>
                <a:srgbClr val="AEABAB"/>
              </a:solidFill>
            </c:spPr>
            <c:extLst>
              <c:ext xmlns:c16="http://schemas.microsoft.com/office/drawing/2014/chart" uri="{C3380CC4-5D6E-409C-BE32-E72D297353CC}">
                <c16:uniqueId val="{0000021B-E5A2-4A9D-B0D2-C29E52CC8567}"/>
              </c:ext>
            </c:extLst>
          </c:dPt>
          <c:dPt>
            <c:idx val="269"/>
            <c:invertIfNegative val="1"/>
            <c:bubble3D val="0"/>
            <c:spPr>
              <a:solidFill>
                <a:srgbClr val="AEABAB"/>
              </a:solidFill>
            </c:spPr>
            <c:extLst>
              <c:ext xmlns:c16="http://schemas.microsoft.com/office/drawing/2014/chart" uri="{C3380CC4-5D6E-409C-BE32-E72D297353CC}">
                <c16:uniqueId val="{0000021D-E5A2-4A9D-B0D2-C29E52CC8567}"/>
              </c:ext>
            </c:extLst>
          </c:dPt>
          <c:dPt>
            <c:idx val="270"/>
            <c:invertIfNegative val="1"/>
            <c:bubble3D val="0"/>
            <c:spPr>
              <a:solidFill>
                <a:srgbClr val="AEABAB"/>
              </a:solidFill>
            </c:spPr>
            <c:extLst>
              <c:ext xmlns:c16="http://schemas.microsoft.com/office/drawing/2014/chart" uri="{C3380CC4-5D6E-409C-BE32-E72D297353CC}">
                <c16:uniqueId val="{0000021F-E5A2-4A9D-B0D2-C29E52CC8567}"/>
              </c:ext>
            </c:extLst>
          </c:dPt>
          <c:dPt>
            <c:idx val="271"/>
            <c:invertIfNegative val="1"/>
            <c:bubble3D val="0"/>
            <c:spPr>
              <a:solidFill>
                <a:srgbClr val="AEABAB"/>
              </a:solidFill>
            </c:spPr>
            <c:extLst>
              <c:ext xmlns:c16="http://schemas.microsoft.com/office/drawing/2014/chart" uri="{C3380CC4-5D6E-409C-BE32-E72D297353CC}">
                <c16:uniqueId val="{00000221-E5A2-4A9D-B0D2-C29E52CC8567}"/>
              </c:ext>
            </c:extLst>
          </c:dPt>
          <c:dPt>
            <c:idx val="272"/>
            <c:invertIfNegative val="1"/>
            <c:bubble3D val="0"/>
            <c:spPr>
              <a:solidFill>
                <a:srgbClr val="AEABAB"/>
              </a:solidFill>
            </c:spPr>
            <c:extLst>
              <c:ext xmlns:c16="http://schemas.microsoft.com/office/drawing/2014/chart" uri="{C3380CC4-5D6E-409C-BE32-E72D297353CC}">
                <c16:uniqueId val="{00000223-E5A2-4A9D-B0D2-C29E52CC8567}"/>
              </c:ext>
            </c:extLst>
          </c:dPt>
          <c:dPt>
            <c:idx val="273"/>
            <c:invertIfNegative val="1"/>
            <c:bubble3D val="0"/>
            <c:spPr>
              <a:solidFill>
                <a:srgbClr val="AEABAB"/>
              </a:solidFill>
            </c:spPr>
            <c:extLst>
              <c:ext xmlns:c16="http://schemas.microsoft.com/office/drawing/2014/chart" uri="{C3380CC4-5D6E-409C-BE32-E72D297353CC}">
                <c16:uniqueId val="{00000225-E5A2-4A9D-B0D2-C29E52CC8567}"/>
              </c:ext>
            </c:extLst>
          </c:dPt>
          <c:dPt>
            <c:idx val="274"/>
            <c:invertIfNegative val="1"/>
            <c:bubble3D val="0"/>
            <c:spPr>
              <a:solidFill>
                <a:srgbClr val="AEABAB"/>
              </a:solidFill>
            </c:spPr>
            <c:extLst>
              <c:ext xmlns:c16="http://schemas.microsoft.com/office/drawing/2014/chart" uri="{C3380CC4-5D6E-409C-BE32-E72D297353CC}">
                <c16:uniqueId val="{00000227-E5A2-4A9D-B0D2-C29E52CC8567}"/>
              </c:ext>
            </c:extLst>
          </c:dPt>
          <c:dPt>
            <c:idx val="275"/>
            <c:invertIfNegative val="1"/>
            <c:bubble3D val="0"/>
            <c:spPr>
              <a:solidFill>
                <a:srgbClr val="AEABAB"/>
              </a:solidFill>
            </c:spPr>
            <c:extLst>
              <c:ext xmlns:c16="http://schemas.microsoft.com/office/drawing/2014/chart" uri="{C3380CC4-5D6E-409C-BE32-E72D297353CC}">
                <c16:uniqueId val="{00000229-E5A2-4A9D-B0D2-C29E52CC8567}"/>
              </c:ext>
            </c:extLst>
          </c:dPt>
          <c:dPt>
            <c:idx val="276"/>
            <c:invertIfNegative val="1"/>
            <c:bubble3D val="0"/>
            <c:spPr>
              <a:solidFill>
                <a:srgbClr val="AEABAB"/>
              </a:solidFill>
            </c:spPr>
            <c:extLst>
              <c:ext xmlns:c16="http://schemas.microsoft.com/office/drawing/2014/chart" uri="{C3380CC4-5D6E-409C-BE32-E72D297353CC}">
                <c16:uniqueId val="{0000022B-E5A2-4A9D-B0D2-C29E52CC8567}"/>
              </c:ext>
            </c:extLst>
          </c:dPt>
          <c:dPt>
            <c:idx val="277"/>
            <c:invertIfNegative val="1"/>
            <c:bubble3D val="0"/>
            <c:spPr>
              <a:solidFill>
                <a:srgbClr val="AEABAB"/>
              </a:solidFill>
            </c:spPr>
            <c:extLst>
              <c:ext xmlns:c16="http://schemas.microsoft.com/office/drawing/2014/chart" uri="{C3380CC4-5D6E-409C-BE32-E72D297353CC}">
                <c16:uniqueId val="{0000022D-E5A2-4A9D-B0D2-C29E52CC8567}"/>
              </c:ext>
            </c:extLst>
          </c:dPt>
          <c:dPt>
            <c:idx val="278"/>
            <c:invertIfNegative val="1"/>
            <c:bubble3D val="0"/>
            <c:spPr>
              <a:solidFill>
                <a:srgbClr val="AEABAB"/>
              </a:solidFill>
            </c:spPr>
            <c:extLst>
              <c:ext xmlns:c16="http://schemas.microsoft.com/office/drawing/2014/chart" uri="{C3380CC4-5D6E-409C-BE32-E72D297353CC}">
                <c16:uniqueId val="{0000022F-E5A2-4A9D-B0D2-C29E52CC8567}"/>
              </c:ext>
            </c:extLst>
          </c:dPt>
          <c:dPt>
            <c:idx val="279"/>
            <c:invertIfNegative val="1"/>
            <c:bubble3D val="0"/>
            <c:spPr>
              <a:solidFill>
                <a:srgbClr val="AEABAB"/>
              </a:solidFill>
            </c:spPr>
            <c:extLst>
              <c:ext xmlns:c16="http://schemas.microsoft.com/office/drawing/2014/chart" uri="{C3380CC4-5D6E-409C-BE32-E72D297353CC}">
                <c16:uniqueId val="{00000231-E5A2-4A9D-B0D2-C29E52CC8567}"/>
              </c:ext>
            </c:extLst>
          </c:dPt>
          <c:dPt>
            <c:idx val="280"/>
            <c:invertIfNegative val="1"/>
            <c:bubble3D val="0"/>
            <c:spPr>
              <a:solidFill>
                <a:srgbClr val="AEABAB"/>
              </a:solidFill>
            </c:spPr>
            <c:extLst>
              <c:ext xmlns:c16="http://schemas.microsoft.com/office/drawing/2014/chart" uri="{C3380CC4-5D6E-409C-BE32-E72D297353CC}">
                <c16:uniqueId val="{00000233-E5A2-4A9D-B0D2-C29E52CC8567}"/>
              </c:ext>
            </c:extLst>
          </c:dPt>
          <c:dPt>
            <c:idx val="281"/>
            <c:invertIfNegative val="1"/>
            <c:bubble3D val="0"/>
            <c:spPr>
              <a:solidFill>
                <a:srgbClr val="AEABAB"/>
              </a:solidFill>
            </c:spPr>
            <c:extLst>
              <c:ext xmlns:c16="http://schemas.microsoft.com/office/drawing/2014/chart" uri="{C3380CC4-5D6E-409C-BE32-E72D297353CC}">
                <c16:uniqueId val="{00000235-E5A2-4A9D-B0D2-C29E52CC8567}"/>
              </c:ext>
            </c:extLst>
          </c:dPt>
          <c:dPt>
            <c:idx val="282"/>
            <c:invertIfNegative val="1"/>
            <c:bubble3D val="0"/>
            <c:spPr>
              <a:solidFill>
                <a:srgbClr val="AEABAB"/>
              </a:solidFill>
            </c:spPr>
            <c:extLst>
              <c:ext xmlns:c16="http://schemas.microsoft.com/office/drawing/2014/chart" uri="{C3380CC4-5D6E-409C-BE32-E72D297353CC}">
                <c16:uniqueId val="{00000237-E5A2-4A9D-B0D2-C29E52CC8567}"/>
              </c:ext>
            </c:extLst>
          </c:dPt>
          <c:dPt>
            <c:idx val="283"/>
            <c:invertIfNegative val="1"/>
            <c:bubble3D val="0"/>
            <c:spPr>
              <a:solidFill>
                <a:srgbClr val="AEABAB"/>
              </a:solidFill>
            </c:spPr>
            <c:extLst>
              <c:ext xmlns:c16="http://schemas.microsoft.com/office/drawing/2014/chart" uri="{C3380CC4-5D6E-409C-BE32-E72D297353CC}">
                <c16:uniqueId val="{00000239-E5A2-4A9D-B0D2-C29E52CC8567}"/>
              </c:ext>
            </c:extLst>
          </c:dPt>
          <c:dPt>
            <c:idx val="284"/>
            <c:invertIfNegative val="1"/>
            <c:bubble3D val="0"/>
            <c:spPr>
              <a:solidFill>
                <a:srgbClr val="AEABAB"/>
              </a:solidFill>
            </c:spPr>
            <c:extLst>
              <c:ext xmlns:c16="http://schemas.microsoft.com/office/drawing/2014/chart" uri="{C3380CC4-5D6E-409C-BE32-E72D297353CC}">
                <c16:uniqueId val="{0000023B-E5A2-4A9D-B0D2-C29E52CC8567}"/>
              </c:ext>
            </c:extLst>
          </c:dPt>
          <c:dPt>
            <c:idx val="285"/>
            <c:invertIfNegative val="1"/>
            <c:bubble3D val="0"/>
            <c:spPr>
              <a:solidFill>
                <a:srgbClr val="AEABAB"/>
              </a:solidFill>
            </c:spPr>
            <c:extLst>
              <c:ext xmlns:c16="http://schemas.microsoft.com/office/drawing/2014/chart" uri="{C3380CC4-5D6E-409C-BE32-E72D297353CC}">
                <c16:uniqueId val="{0000023D-E5A2-4A9D-B0D2-C29E52CC8567}"/>
              </c:ext>
            </c:extLst>
          </c:dPt>
          <c:dPt>
            <c:idx val="286"/>
            <c:invertIfNegative val="1"/>
            <c:bubble3D val="0"/>
            <c:spPr>
              <a:solidFill>
                <a:srgbClr val="AEABAB"/>
              </a:solidFill>
            </c:spPr>
            <c:extLst>
              <c:ext xmlns:c16="http://schemas.microsoft.com/office/drawing/2014/chart" uri="{C3380CC4-5D6E-409C-BE32-E72D297353CC}">
                <c16:uniqueId val="{0000023F-E5A2-4A9D-B0D2-C29E52CC8567}"/>
              </c:ext>
            </c:extLst>
          </c:dPt>
          <c:dPt>
            <c:idx val="287"/>
            <c:invertIfNegative val="1"/>
            <c:bubble3D val="0"/>
            <c:spPr>
              <a:solidFill>
                <a:srgbClr val="AEABAB"/>
              </a:solidFill>
            </c:spPr>
            <c:extLst>
              <c:ext xmlns:c16="http://schemas.microsoft.com/office/drawing/2014/chart" uri="{C3380CC4-5D6E-409C-BE32-E72D297353CC}">
                <c16:uniqueId val="{00000241-E5A2-4A9D-B0D2-C29E52CC8567}"/>
              </c:ext>
            </c:extLst>
          </c:dPt>
          <c:dPt>
            <c:idx val="288"/>
            <c:invertIfNegative val="1"/>
            <c:bubble3D val="0"/>
            <c:spPr>
              <a:solidFill>
                <a:srgbClr val="AEABAB"/>
              </a:solidFill>
            </c:spPr>
            <c:extLst>
              <c:ext xmlns:c16="http://schemas.microsoft.com/office/drawing/2014/chart" uri="{C3380CC4-5D6E-409C-BE32-E72D297353CC}">
                <c16:uniqueId val="{00000243-E5A2-4A9D-B0D2-C29E52CC8567}"/>
              </c:ext>
            </c:extLst>
          </c:dPt>
          <c:dPt>
            <c:idx val="289"/>
            <c:invertIfNegative val="1"/>
            <c:bubble3D val="0"/>
            <c:spPr>
              <a:solidFill>
                <a:srgbClr val="AEABAB"/>
              </a:solidFill>
            </c:spPr>
            <c:extLst>
              <c:ext xmlns:c16="http://schemas.microsoft.com/office/drawing/2014/chart" uri="{C3380CC4-5D6E-409C-BE32-E72D297353CC}">
                <c16:uniqueId val="{00000245-E5A2-4A9D-B0D2-C29E52CC8567}"/>
              </c:ext>
            </c:extLst>
          </c:dPt>
          <c:dPt>
            <c:idx val="290"/>
            <c:invertIfNegative val="1"/>
            <c:bubble3D val="0"/>
            <c:spPr>
              <a:solidFill>
                <a:srgbClr val="AEABAB"/>
              </a:solidFill>
            </c:spPr>
            <c:extLst>
              <c:ext xmlns:c16="http://schemas.microsoft.com/office/drawing/2014/chart" uri="{C3380CC4-5D6E-409C-BE32-E72D297353CC}">
                <c16:uniqueId val="{00000247-E5A2-4A9D-B0D2-C29E52CC8567}"/>
              </c:ext>
            </c:extLst>
          </c:dPt>
          <c:dPt>
            <c:idx val="291"/>
            <c:invertIfNegative val="1"/>
            <c:bubble3D val="0"/>
            <c:spPr>
              <a:solidFill>
                <a:srgbClr val="AEABAB"/>
              </a:solidFill>
            </c:spPr>
            <c:extLst>
              <c:ext xmlns:c16="http://schemas.microsoft.com/office/drawing/2014/chart" uri="{C3380CC4-5D6E-409C-BE32-E72D297353CC}">
                <c16:uniqueId val="{00000249-E5A2-4A9D-B0D2-C29E52CC8567}"/>
              </c:ext>
            </c:extLst>
          </c:dPt>
          <c:dPt>
            <c:idx val="292"/>
            <c:invertIfNegative val="1"/>
            <c:bubble3D val="0"/>
            <c:spPr>
              <a:solidFill>
                <a:srgbClr val="AEABAB"/>
              </a:solidFill>
            </c:spPr>
            <c:extLst>
              <c:ext xmlns:c16="http://schemas.microsoft.com/office/drawing/2014/chart" uri="{C3380CC4-5D6E-409C-BE32-E72D297353CC}">
                <c16:uniqueId val="{0000024B-E5A2-4A9D-B0D2-C29E52CC8567}"/>
              </c:ext>
            </c:extLst>
          </c:dPt>
          <c:dPt>
            <c:idx val="293"/>
            <c:invertIfNegative val="1"/>
            <c:bubble3D val="0"/>
            <c:spPr>
              <a:solidFill>
                <a:srgbClr val="AEABAB"/>
              </a:solidFill>
            </c:spPr>
            <c:extLst>
              <c:ext xmlns:c16="http://schemas.microsoft.com/office/drawing/2014/chart" uri="{C3380CC4-5D6E-409C-BE32-E72D297353CC}">
                <c16:uniqueId val="{0000024D-E5A2-4A9D-B0D2-C29E52CC8567}"/>
              </c:ext>
            </c:extLst>
          </c:dPt>
          <c:dPt>
            <c:idx val="294"/>
            <c:invertIfNegative val="1"/>
            <c:bubble3D val="0"/>
            <c:spPr>
              <a:solidFill>
                <a:srgbClr val="AEABAB"/>
              </a:solidFill>
            </c:spPr>
            <c:extLst>
              <c:ext xmlns:c16="http://schemas.microsoft.com/office/drawing/2014/chart" uri="{C3380CC4-5D6E-409C-BE32-E72D297353CC}">
                <c16:uniqueId val="{0000024F-E5A2-4A9D-B0D2-C29E52CC8567}"/>
              </c:ext>
            </c:extLst>
          </c:dPt>
          <c:dPt>
            <c:idx val="295"/>
            <c:invertIfNegative val="1"/>
            <c:bubble3D val="0"/>
            <c:spPr>
              <a:solidFill>
                <a:srgbClr val="AEABAB"/>
              </a:solidFill>
            </c:spPr>
            <c:extLst>
              <c:ext xmlns:c16="http://schemas.microsoft.com/office/drawing/2014/chart" uri="{C3380CC4-5D6E-409C-BE32-E72D297353CC}">
                <c16:uniqueId val="{00000251-E5A2-4A9D-B0D2-C29E52CC8567}"/>
              </c:ext>
            </c:extLst>
          </c:dPt>
          <c:dPt>
            <c:idx val="296"/>
            <c:invertIfNegative val="1"/>
            <c:bubble3D val="0"/>
            <c:spPr>
              <a:solidFill>
                <a:srgbClr val="AEABAB"/>
              </a:solidFill>
            </c:spPr>
            <c:extLst>
              <c:ext xmlns:c16="http://schemas.microsoft.com/office/drawing/2014/chart" uri="{C3380CC4-5D6E-409C-BE32-E72D297353CC}">
                <c16:uniqueId val="{00000253-E5A2-4A9D-B0D2-C29E52CC8567}"/>
              </c:ext>
            </c:extLst>
          </c:dPt>
          <c:dPt>
            <c:idx val="297"/>
            <c:invertIfNegative val="1"/>
            <c:bubble3D val="0"/>
            <c:spPr>
              <a:solidFill>
                <a:srgbClr val="AEABAB"/>
              </a:solidFill>
            </c:spPr>
            <c:extLst>
              <c:ext xmlns:c16="http://schemas.microsoft.com/office/drawing/2014/chart" uri="{C3380CC4-5D6E-409C-BE32-E72D297353CC}">
                <c16:uniqueId val="{00000255-E5A2-4A9D-B0D2-C29E52CC8567}"/>
              </c:ext>
            </c:extLst>
          </c:dPt>
          <c:dPt>
            <c:idx val="298"/>
            <c:invertIfNegative val="1"/>
            <c:bubble3D val="0"/>
            <c:spPr>
              <a:solidFill>
                <a:srgbClr val="AEABAB"/>
              </a:solidFill>
            </c:spPr>
            <c:extLst>
              <c:ext xmlns:c16="http://schemas.microsoft.com/office/drawing/2014/chart" uri="{C3380CC4-5D6E-409C-BE32-E72D297353CC}">
                <c16:uniqueId val="{00000257-E5A2-4A9D-B0D2-C29E52CC8567}"/>
              </c:ext>
            </c:extLst>
          </c:dPt>
          <c:dPt>
            <c:idx val="299"/>
            <c:invertIfNegative val="1"/>
            <c:bubble3D val="0"/>
            <c:spPr>
              <a:solidFill>
                <a:srgbClr val="AEABAB"/>
              </a:solidFill>
            </c:spPr>
            <c:extLst>
              <c:ext xmlns:c16="http://schemas.microsoft.com/office/drawing/2014/chart" uri="{C3380CC4-5D6E-409C-BE32-E72D297353CC}">
                <c16:uniqueId val="{00000259-E5A2-4A9D-B0D2-C29E52CC8567}"/>
              </c:ext>
            </c:extLst>
          </c:dPt>
          <c:dPt>
            <c:idx val="300"/>
            <c:invertIfNegative val="1"/>
            <c:bubble3D val="0"/>
            <c:spPr>
              <a:solidFill>
                <a:srgbClr val="AEABAB"/>
              </a:solidFill>
            </c:spPr>
            <c:extLst>
              <c:ext xmlns:c16="http://schemas.microsoft.com/office/drawing/2014/chart" uri="{C3380CC4-5D6E-409C-BE32-E72D297353CC}">
                <c16:uniqueId val="{0000025B-E5A2-4A9D-B0D2-C29E52CC8567}"/>
              </c:ext>
            </c:extLst>
          </c:dPt>
          <c:dPt>
            <c:idx val="301"/>
            <c:invertIfNegative val="1"/>
            <c:bubble3D val="0"/>
            <c:spPr>
              <a:solidFill>
                <a:srgbClr val="AEABAB"/>
              </a:solidFill>
            </c:spPr>
            <c:extLst>
              <c:ext xmlns:c16="http://schemas.microsoft.com/office/drawing/2014/chart" uri="{C3380CC4-5D6E-409C-BE32-E72D297353CC}">
                <c16:uniqueId val="{0000025D-E5A2-4A9D-B0D2-C29E52CC8567}"/>
              </c:ext>
            </c:extLst>
          </c:dPt>
          <c:dPt>
            <c:idx val="302"/>
            <c:invertIfNegative val="1"/>
            <c:bubble3D val="0"/>
            <c:spPr>
              <a:solidFill>
                <a:srgbClr val="AEABAB"/>
              </a:solidFill>
            </c:spPr>
            <c:extLst>
              <c:ext xmlns:c16="http://schemas.microsoft.com/office/drawing/2014/chart" uri="{C3380CC4-5D6E-409C-BE32-E72D297353CC}">
                <c16:uniqueId val="{0000025F-E5A2-4A9D-B0D2-C29E52CC8567}"/>
              </c:ext>
            </c:extLst>
          </c:dPt>
          <c:dPt>
            <c:idx val="303"/>
            <c:invertIfNegative val="1"/>
            <c:bubble3D val="0"/>
            <c:spPr>
              <a:solidFill>
                <a:srgbClr val="AEABAB"/>
              </a:solidFill>
            </c:spPr>
            <c:extLst>
              <c:ext xmlns:c16="http://schemas.microsoft.com/office/drawing/2014/chart" uri="{C3380CC4-5D6E-409C-BE32-E72D297353CC}">
                <c16:uniqueId val="{00000261-E5A2-4A9D-B0D2-C29E52CC8567}"/>
              </c:ext>
            </c:extLst>
          </c:dPt>
          <c:dPt>
            <c:idx val="304"/>
            <c:invertIfNegative val="1"/>
            <c:bubble3D val="0"/>
            <c:spPr>
              <a:solidFill>
                <a:srgbClr val="AEABAB"/>
              </a:solidFill>
            </c:spPr>
            <c:extLst>
              <c:ext xmlns:c16="http://schemas.microsoft.com/office/drawing/2014/chart" uri="{C3380CC4-5D6E-409C-BE32-E72D297353CC}">
                <c16:uniqueId val="{00000263-E5A2-4A9D-B0D2-C29E52CC8567}"/>
              </c:ext>
            </c:extLst>
          </c:dPt>
          <c:dPt>
            <c:idx val="305"/>
            <c:invertIfNegative val="1"/>
            <c:bubble3D val="0"/>
            <c:spPr>
              <a:solidFill>
                <a:srgbClr val="AEABAB"/>
              </a:solidFill>
            </c:spPr>
            <c:extLst>
              <c:ext xmlns:c16="http://schemas.microsoft.com/office/drawing/2014/chart" uri="{C3380CC4-5D6E-409C-BE32-E72D297353CC}">
                <c16:uniqueId val="{00000265-E5A2-4A9D-B0D2-C29E52CC8567}"/>
              </c:ext>
            </c:extLst>
          </c:dPt>
          <c:dPt>
            <c:idx val="306"/>
            <c:invertIfNegative val="1"/>
            <c:bubble3D val="0"/>
            <c:spPr>
              <a:solidFill>
                <a:srgbClr val="AEABAB"/>
              </a:solidFill>
            </c:spPr>
            <c:extLst>
              <c:ext xmlns:c16="http://schemas.microsoft.com/office/drawing/2014/chart" uri="{C3380CC4-5D6E-409C-BE32-E72D297353CC}">
                <c16:uniqueId val="{00000267-E5A2-4A9D-B0D2-C29E52CC8567}"/>
              </c:ext>
            </c:extLst>
          </c:dPt>
          <c:dPt>
            <c:idx val="307"/>
            <c:invertIfNegative val="1"/>
            <c:bubble3D val="0"/>
            <c:spPr>
              <a:solidFill>
                <a:srgbClr val="AEABAB"/>
              </a:solidFill>
            </c:spPr>
            <c:extLst>
              <c:ext xmlns:c16="http://schemas.microsoft.com/office/drawing/2014/chart" uri="{C3380CC4-5D6E-409C-BE32-E72D297353CC}">
                <c16:uniqueId val="{00000269-E5A2-4A9D-B0D2-C29E52CC8567}"/>
              </c:ext>
            </c:extLst>
          </c:dPt>
          <c:dPt>
            <c:idx val="308"/>
            <c:invertIfNegative val="1"/>
            <c:bubble3D val="0"/>
            <c:spPr>
              <a:solidFill>
                <a:srgbClr val="AEABAB"/>
              </a:solidFill>
            </c:spPr>
            <c:extLst>
              <c:ext xmlns:c16="http://schemas.microsoft.com/office/drawing/2014/chart" uri="{C3380CC4-5D6E-409C-BE32-E72D297353CC}">
                <c16:uniqueId val="{0000026B-E5A2-4A9D-B0D2-C29E52CC8567}"/>
              </c:ext>
            </c:extLst>
          </c:dPt>
          <c:dPt>
            <c:idx val="309"/>
            <c:invertIfNegative val="1"/>
            <c:bubble3D val="0"/>
            <c:spPr>
              <a:solidFill>
                <a:srgbClr val="AEABAB"/>
              </a:solidFill>
            </c:spPr>
            <c:extLst>
              <c:ext xmlns:c16="http://schemas.microsoft.com/office/drawing/2014/chart" uri="{C3380CC4-5D6E-409C-BE32-E72D297353CC}">
                <c16:uniqueId val="{0000026D-E5A2-4A9D-B0D2-C29E52CC8567}"/>
              </c:ext>
            </c:extLst>
          </c:dPt>
          <c:dPt>
            <c:idx val="310"/>
            <c:invertIfNegative val="1"/>
            <c:bubble3D val="0"/>
            <c:spPr>
              <a:solidFill>
                <a:srgbClr val="AEABAB"/>
              </a:solidFill>
            </c:spPr>
            <c:extLst>
              <c:ext xmlns:c16="http://schemas.microsoft.com/office/drawing/2014/chart" uri="{C3380CC4-5D6E-409C-BE32-E72D297353CC}">
                <c16:uniqueId val="{0000026F-E5A2-4A9D-B0D2-C29E52CC8567}"/>
              </c:ext>
            </c:extLst>
          </c:dPt>
          <c:dPt>
            <c:idx val="311"/>
            <c:invertIfNegative val="1"/>
            <c:bubble3D val="0"/>
            <c:spPr>
              <a:solidFill>
                <a:srgbClr val="AEABAB"/>
              </a:solidFill>
            </c:spPr>
            <c:extLst>
              <c:ext xmlns:c16="http://schemas.microsoft.com/office/drawing/2014/chart" uri="{C3380CC4-5D6E-409C-BE32-E72D297353CC}">
                <c16:uniqueId val="{00000271-E5A2-4A9D-B0D2-C29E52CC8567}"/>
              </c:ext>
            </c:extLst>
          </c:dPt>
          <c:dPt>
            <c:idx val="312"/>
            <c:invertIfNegative val="1"/>
            <c:bubble3D val="0"/>
            <c:spPr>
              <a:solidFill>
                <a:srgbClr val="AEABAB"/>
              </a:solidFill>
            </c:spPr>
            <c:extLst>
              <c:ext xmlns:c16="http://schemas.microsoft.com/office/drawing/2014/chart" uri="{C3380CC4-5D6E-409C-BE32-E72D297353CC}">
                <c16:uniqueId val="{00000273-E5A2-4A9D-B0D2-C29E52CC8567}"/>
              </c:ext>
            </c:extLst>
          </c:dPt>
          <c:dPt>
            <c:idx val="313"/>
            <c:invertIfNegative val="1"/>
            <c:bubble3D val="0"/>
            <c:spPr>
              <a:solidFill>
                <a:srgbClr val="AEABAB"/>
              </a:solidFill>
            </c:spPr>
            <c:extLst>
              <c:ext xmlns:c16="http://schemas.microsoft.com/office/drawing/2014/chart" uri="{C3380CC4-5D6E-409C-BE32-E72D297353CC}">
                <c16:uniqueId val="{00000275-E5A2-4A9D-B0D2-C29E52CC8567}"/>
              </c:ext>
            </c:extLst>
          </c:dPt>
          <c:dPt>
            <c:idx val="314"/>
            <c:invertIfNegative val="1"/>
            <c:bubble3D val="0"/>
            <c:spPr>
              <a:solidFill>
                <a:srgbClr val="AEABAB"/>
              </a:solidFill>
            </c:spPr>
            <c:extLst>
              <c:ext xmlns:c16="http://schemas.microsoft.com/office/drawing/2014/chart" uri="{C3380CC4-5D6E-409C-BE32-E72D297353CC}">
                <c16:uniqueId val="{00000277-E5A2-4A9D-B0D2-C29E52CC8567}"/>
              </c:ext>
            </c:extLst>
          </c:dPt>
          <c:dPt>
            <c:idx val="315"/>
            <c:invertIfNegative val="1"/>
            <c:bubble3D val="0"/>
            <c:spPr>
              <a:solidFill>
                <a:srgbClr val="AEABAB"/>
              </a:solidFill>
            </c:spPr>
            <c:extLst>
              <c:ext xmlns:c16="http://schemas.microsoft.com/office/drawing/2014/chart" uri="{C3380CC4-5D6E-409C-BE32-E72D297353CC}">
                <c16:uniqueId val="{00000279-E5A2-4A9D-B0D2-C29E52CC8567}"/>
              </c:ext>
            </c:extLst>
          </c:dPt>
          <c:dPt>
            <c:idx val="316"/>
            <c:invertIfNegative val="1"/>
            <c:bubble3D val="0"/>
            <c:spPr>
              <a:solidFill>
                <a:srgbClr val="AEABAB"/>
              </a:solidFill>
            </c:spPr>
            <c:extLst>
              <c:ext xmlns:c16="http://schemas.microsoft.com/office/drawing/2014/chart" uri="{C3380CC4-5D6E-409C-BE32-E72D297353CC}">
                <c16:uniqueId val="{0000027B-E5A2-4A9D-B0D2-C29E52CC8567}"/>
              </c:ext>
            </c:extLst>
          </c:dPt>
          <c:dPt>
            <c:idx val="317"/>
            <c:invertIfNegative val="1"/>
            <c:bubble3D val="0"/>
            <c:spPr>
              <a:solidFill>
                <a:srgbClr val="AEABAB"/>
              </a:solidFill>
            </c:spPr>
            <c:extLst>
              <c:ext xmlns:c16="http://schemas.microsoft.com/office/drawing/2014/chart" uri="{C3380CC4-5D6E-409C-BE32-E72D297353CC}">
                <c16:uniqueId val="{0000027D-E5A2-4A9D-B0D2-C29E52CC8567}"/>
              </c:ext>
            </c:extLst>
          </c:dPt>
          <c:dPt>
            <c:idx val="318"/>
            <c:invertIfNegative val="1"/>
            <c:bubble3D val="0"/>
            <c:spPr>
              <a:solidFill>
                <a:srgbClr val="AEABAB"/>
              </a:solidFill>
            </c:spPr>
            <c:extLst>
              <c:ext xmlns:c16="http://schemas.microsoft.com/office/drawing/2014/chart" uri="{C3380CC4-5D6E-409C-BE32-E72D297353CC}">
                <c16:uniqueId val="{0000027F-E5A2-4A9D-B0D2-C29E52CC8567}"/>
              </c:ext>
            </c:extLst>
          </c:dPt>
          <c:dPt>
            <c:idx val="319"/>
            <c:invertIfNegative val="1"/>
            <c:bubble3D val="0"/>
            <c:spPr>
              <a:solidFill>
                <a:srgbClr val="AEABAB"/>
              </a:solidFill>
            </c:spPr>
            <c:extLst>
              <c:ext xmlns:c16="http://schemas.microsoft.com/office/drawing/2014/chart" uri="{C3380CC4-5D6E-409C-BE32-E72D297353CC}">
                <c16:uniqueId val="{00000281-E5A2-4A9D-B0D2-C29E52CC8567}"/>
              </c:ext>
            </c:extLst>
          </c:dPt>
          <c:dPt>
            <c:idx val="320"/>
            <c:invertIfNegative val="1"/>
            <c:bubble3D val="0"/>
            <c:spPr>
              <a:solidFill>
                <a:srgbClr val="AEABAB"/>
              </a:solidFill>
            </c:spPr>
            <c:extLst>
              <c:ext xmlns:c16="http://schemas.microsoft.com/office/drawing/2014/chart" uri="{C3380CC4-5D6E-409C-BE32-E72D297353CC}">
                <c16:uniqueId val="{00000283-E5A2-4A9D-B0D2-C29E52CC8567}"/>
              </c:ext>
            </c:extLst>
          </c:dPt>
          <c:dPt>
            <c:idx val="321"/>
            <c:invertIfNegative val="1"/>
            <c:bubble3D val="0"/>
            <c:spPr>
              <a:solidFill>
                <a:srgbClr val="AEABAB"/>
              </a:solidFill>
            </c:spPr>
            <c:extLst>
              <c:ext xmlns:c16="http://schemas.microsoft.com/office/drawing/2014/chart" uri="{C3380CC4-5D6E-409C-BE32-E72D297353CC}">
                <c16:uniqueId val="{00000285-E5A2-4A9D-B0D2-C29E52CC8567}"/>
              </c:ext>
            </c:extLst>
          </c:dPt>
          <c:dPt>
            <c:idx val="322"/>
            <c:invertIfNegative val="1"/>
            <c:bubble3D val="0"/>
            <c:spPr>
              <a:solidFill>
                <a:srgbClr val="AEABAB"/>
              </a:solidFill>
            </c:spPr>
            <c:extLst>
              <c:ext xmlns:c16="http://schemas.microsoft.com/office/drawing/2014/chart" uri="{C3380CC4-5D6E-409C-BE32-E72D297353CC}">
                <c16:uniqueId val="{00000287-E5A2-4A9D-B0D2-C29E52CC8567}"/>
              </c:ext>
            </c:extLst>
          </c:dPt>
          <c:dPt>
            <c:idx val="323"/>
            <c:invertIfNegative val="1"/>
            <c:bubble3D val="0"/>
            <c:spPr>
              <a:solidFill>
                <a:srgbClr val="AEABAB"/>
              </a:solidFill>
            </c:spPr>
            <c:extLst>
              <c:ext xmlns:c16="http://schemas.microsoft.com/office/drawing/2014/chart" uri="{C3380CC4-5D6E-409C-BE32-E72D297353CC}">
                <c16:uniqueId val="{00000289-E5A2-4A9D-B0D2-C29E52CC8567}"/>
              </c:ext>
            </c:extLst>
          </c:dPt>
          <c:dPt>
            <c:idx val="324"/>
            <c:invertIfNegative val="1"/>
            <c:bubble3D val="0"/>
            <c:spPr>
              <a:solidFill>
                <a:srgbClr val="AEABAB"/>
              </a:solidFill>
            </c:spPr>
            <c:extLst>
              <c:ext xmlns:c16="http://schemas.microsoft.com/office/drawing/2014/chart" uri="{C3380CC4-5D6E-409C-BE32-E72D297353CC}">
                <c16:uniqueId val="{0000028B-E5A2-4A9D-B0D2-C29E52CC8567}"/>
              </c:ext>
            </c:extLst>
          </c:dPt>
          <c:dPt>
            <c:idx val="325"/>
            <c:invertIfNegative val="1"/>
            <c:bubble3D val="0"/>
            <c:spPr>
              <a:solidFill>
                <a:srgbClr val="AEABAB"/>
              </a:solidFill>
            </c:spPr>
            <c:extLst>
              <c:ext xmlns:c16="http://schemas.microsoft.com/office/drawing/2014/chart" uri="{C3380CC4-5D6E-409C-BE32-E72D297353CC}">
                <c16:uniqueId val="{0000028D-E5A2-4A9D-B0D2-C29E52CC8567}"/>
              </c:ext>
            </c:extLst>
          </c:dPt>
          <c:dPt>
            <c:idx val="326"/>
            <c:invertIfNegative val="1"/>
            <c:bubble3D val="0"/>
            <c:spPr>
              <a:solidFill>
                <a:srgbClr val="AEABAB"/>
              </a:solidFill>
            </c:spPr>
            <c:extLst>
              <c:ext xmlns:c16="http://schemas.microsoft.com/office/drawing/2014/chart" uri="{C3380CC4-5D6E-409C-BE32-E72D297353CC}">
                <c16:uniqueId val="{0000028F-E5A2-4A9D-B0D2-C29E52CC8567}"/>
              </c:ext>
            </c:extLst>
          </c:dPt>
          <c:dPt>
            <c:idx val="327"/>
            <c:invertIfNegative val="1"/>
            <c:bubble3D val="0"/>
            <c:spPr>
              <a:solidFill>
                <a:srgbClr val="AEABAB"/>
              </a:solidFill>
            </c:spPr>
            <c:extLst>
              <c:ext xmlns:c16="http://schemas.microsoft.com/office/drawing/2014/chart" uri="{C3380CC4-5D6E-409C-BE32-E72D297353CC}">
                <c16:uniqueId val="{00000291-E5A2-4A9D-B0D2-C29E52CC8567}"/>
              </c:ext>
            </c:extLst>
          </c:dPt>
          <c:dPt>
            <c:idx val="328"/>
            <c:invertIfNegative val="1"/>
            <c:bubble3D val="0"/>
            <c:spPr>
              <a:solidFill>
                <a:srgbClr val="AEABAB"/>
              </a:solidFill>
            </c:spPr>
            <c:extLst>
              <c:ext xmlns:c16="http://schemas.microsoft.com/office/drawing/2014/chart" uri="{C3380CC4-5D6E-409C-BE32-E72D297353CC}">
                <c16:uniqueId val="{00000293-E5A2-4A9D-B0D2-C29E52CC8567}"/>
              </c:ext>
            </c:extLst>
          </c:dPt>
          <c:dPt>
            <c:idx val="329"/>
            <c:invertIfNegative val="1"/>
            <c:bubble3D val="0"/>
            <c:spPr>
              <a:solidFill>
                <a:srgbClr val="AEABAB"/>
              </a:solidFill>
            </c:spPr>
            <c:extLst>
              <c:ext xmlns:c16="http://schemas.microsoft.com/office/drawing/2014/chart" uri="{C3380CC4-5D6E-409C-BE32-E72D297353CC}">
                <c16:uniqueId val="{00000295-E5A2-4A9D-B0D2-C29E52CC8567}"/>
              </c:ext>
            </c:extLst>
          </c:dPt>
          <c:dPt>
            <c:idx val="330"/>
            <c:invertIfNegative val="1"/>
            <c:bubble3D val="0"/>
            <c:spPr>
              <a:solidFill>
                <a:srgbClr val="AEABAB"/>
              </a:solidFill>
            </c:spPr>
            <c:extLst>
              <c:ext xmlns:c16="http://schemas.microsoft.com/office/drawing/2014/chart" uri="{C3380CC4-5D6E-409C-BE32-E72D297353CC}">
                <c16:uniqueId val="{00000297-E5A2-4A9D-B0D2-C29E52CC8567}"/>
              </c:ext>
            </c:extLst>
          </c:dPt>
          <c:dPt>
            <c:idx val="331"/>
            <c:invertIfNegative val="1"/>
            <c:bubble3D val="0"/>
            <c:spPr>
              <a:solidFill>
                <a:srgbClr val="AEABAB"/>
              </a:solidFill>
            </c:spPr>
            <c:extLst>
              <c:ext xmlns:c16="http://schemas.microsoft.com/office/drawing/2014/chart" uri="{C3380CC4-5D6E-409C-BE32-E72D297353CC}">
                <c16:uniqueId val="{00000299-E5A2-4A9D-B0D2-C29E52CC8567}"/>
              </c:ext>
            </c:extLst>
          </c:dPt>
          <c:dPt>
            <c:idx val="332"/>
            <c:invertIfNegative val="1"/>
            <c:bubble3D val="0"/>
            <c:spPr>
              <a:solidFill>
                <a:srgbClr val="AEABAB"/>
              </a:solidFill>
            </c:spPr>
            <c:extLst>
              <c:ext xmlns:c16="http://schemas.microsoft.com/office/drawing/2014/chart" uri="{C3380CC4-5D6E-409C-BE32-E72D297353CC}">
                <c16:uniqueId val="{0000029B-E5A2-4A9D-B0D2-C29E52CC8567}"/>
              </c:ext>
            </c:extLst>
          </c:dPt>
          <c:dPt>
            <c:idx val="333"/>
            <c:invertIfNegative val="1"/>
            <c:bubble3D val="0"/>
            <c:spPr>
              <a:solidFill>
                <a:srgbClr val="AEABAB"/>
              </a:solidFill>
            </c:spPr>
            <c:extLst>
              <c:ext xmlns:c16="http://schemas.microsoft.com/office/drawing/2014/chart" uri="{C3380CC4-5D6E-409C-BE32-E72D297353CC}">
                <c16:uniqueId val="{0000029D-E5A2-4A9D-B0D2-C29E52CC8567}"/>
              </c:ext>
            </c:extLst>
          </c:dPt>
          <c:dPt>
            <c:idx val="334"/>
            <c:invertIfNegative val="1"/>
            <c:bubble3D val="0"/>
            <c:spPr>
              <a:solidFill>
                <a:srgbClr val="AEABAB"/>
              </a:solidFill>
            </c:spPr>
            <c:extLst>
              <c:ext xmlns:c16="http://schemas.microsoft.com/office/drawing/2014/chart" uri="{C3380CC4-5D6E-409C-BE32-E72D297353CC}">
                <c16:uniqueId val="{0000029F-E5A2-4A9D-B0D2-C29E52CC8567}"/>
              </c:ext>
            </c:extLst>
          </c:dPt>
          <c:dPt>
            <c:idx val="335"/>
            <c:invertIfNegative val="1"/>
            <c:bubble3D val="0"/>
            <c:spPr>
              <a:solidFill>
                <a:srgbClr val="AEABAB"/>
              </a:solidFill>
            </c:spPr>
            <c:extLst>
              <c:ext xmlns:c16="http://schemas.microsoft.com/office/drawing/2014/chart" uri="{C3380CC4-5D6E-409C-BE32-E72D297353CC}">
                <c16:uniqueId val="{000002A1-E5A2-4A9D-B0D2-C29E52CC8567}"/>
              </c:ext>
            </c:extLst>
          </c:dPt>
          <c:dPt>
            <c:idx val="336"/>
            <c:invertIfNegative val="1"/>
            <c:bubble3D val="0"/>
            <c:spPr>
              <a:solidFill>
                <a:srgbClr val="AEABAB"/>
              </a:solidFill>
            </c:spPr>
            <c:extLst>
              <c:ext xmlns:c16="http://schemas.microsoft.com/office/drawing/2014/chart" uri="{C3380CC4-5D6E-409C-BE32-E72D297353CC}">
                <c16:uniqueId val="{000002A3-E5A2-4A9D-B0D2-C29E52CC8567}"/>
              </c:ext>
            </c:extLst>
          </c:dPt>
          <c:dPt>
            <c:idx val="337"/>
            <c:invertIfNegative val="1"/>
            <c:bubble3D val="0"/>
            <c:spPr>
              <a:solidFill>
                <a:srgbClr val="AEABAB"/>
              </a:solidFill>
            </c:spPr>
            <c:extLst>
              <c:ext xmlns:c16="http://schemas.microsoft.com/office/drawing/2014/chart" uri="{C3380CC4-5D6E-409C-BE32-E72D297353CC}">
                <c16:uniqueId val="{000002A5-E5A2-4A9D-B0D2-C29E52CC8567}"/>
              </c:ext>
            </c:extLst>
          </c:dPt>
          <c:dPt>
            <c:idx val="338"/>
            <c:invertIfNegative val="1"/>
            <c:bubble3D val="0"/>
            <c:spPr>
              <a:solidFill>
                <a:srgbClr val="AEABAB"/>
              </a:solidFill>
            </c:spPr>
            <c:extLst>
              <c:ext xmlns:c16="http://schemas.microsoft.com/office/drawing/2014/chart" uri="{C3380CC4-5D6E-409C-BE32-E72D297353CC}">
                <c16:uniqueId val="{000002A7-E5A2-4A9D-B0D2-C29E52CC8567}"/>
              </c:ext>
            </c:extLst>
          </c:dPt>
          <c:dPt>
            <c:idx val="339"/>
            <c:invertIfNegative val="1"/>
            <c:bubble3D val="0"/>
            <c:spPr>
              <a:solidFill>
                <a:srgbClr val="AEABAB"/>
              </a:solidFill>
            </c:spPr>
            <c:extLst>
              <c:ext xmlns:c16="http://schemas.microsoft.com/office/drawing/2014/chart" uri="{C3380CC4-5D6E-409C-BE32-E72D297353CC}">
                <c16:uniqueId val="{000002A9-E5A2-4A9D-B0D2-C29E52CC8567}"/>
              </c:ext>
            </c:extLst>
          </c:dPt>
          <c:dPt>
            <c:idx val="340"/>
            <c:invertIfNegative val="1"/>
            <c:bubble3D val="0"/>
            <c:spPr>
              <a:solidFill>
                <a:srgbClr val="AEABAB"/>
              </a:solidFill>
            </c:spPr>
            <c:extLst>
              <c:ext xmlns:c16="http://schemas.microsoft.com/office/drawing/2014/chart" uri="{C3380CC4-5D6E-409C-BE32-E72D297353CC}">
                <c16:uniqueId val="{000002AB-E5A2-4A9D-B0D2-C29E52CC8567}"/>
              </c:ext>
            </c:extLst>
          </c:dPt>
          <c:dPt>
            <c:idx val="341"/>
            <c:invertIfNegative val="1"/>
            <c:bubble3D val="0"/>
            <c:spPr>
              <a:solidFill>
                <a:srgbClr val="AEABAB"/>
              </a:solidFill>
            </c:spPr>
            <c:extLst>
              <c:ext xmlns:c16="http://schemas.microsoft.com/office/drawing/2014/chart" uri="{C3380CC4-5D6E-409C-BE32-E72D297353CC}">
                <c16:uniqueId val="{000002AD-E5A2-4A9D-B0D2-C29E52CC8567}"/>
              </c:ext>
            </c:extLst>
          </c:dPt>
          <c:dPt>
            <c:idx val="342"/>
            <c:invertIfNegative val="1"/>
            <c:bubble3D val="0"/>
            <c:spPr>
              <a:solidFill>
                <a:srgbClr val="AEABAB"/>
              </a:solidFill>
            </c:spPr>
            <c:extLst>
              <c:ext xmlns:c16="http://schemas.microsoft.com/office/drawing/2014/chart" uri="{C3380CC4-5D6E-409C-BE32-E72D297353CC}">
                <c16:uniqueId val="{000002AF-E5A2-4A9D-B0D2-C29E52CC8567}"/>
              </c:ext>
            </c:extLst>
          </c:dPt>
          <c:dPt>
            <c:idx val="343"/>
            <c:invertIfNegative val="1"/>
            <c:bubble3D val="0"/>
            <c:spPr>
              <a:solidFill>
                <a:srgbClr val="AEABAB"/>
              </a:solidFill>
            </c:spPr>
            <c:extLst>
              <c:ext xmlns:c16="http://schemas.microsoft.com/office/drawing/2014/chart" uri="{C3380CC4-5D6E-409C-BE32-E72D297353CC}">
                <c16:uniqueId val="{000002B1-E5A2-4A9D-B0D2-C29E52CC8567}"/>
              </c:ext>
            </c:extLst>
          </c:dPt>
          <c:dPt>
            <c:idx val="344"/>
            <c:invertIfNegative val="1"/>
            <c:bubble3D val="0"/>
            <c:spPr>
              <a:solidFill>
                <a:srgbClr val="AEABAB"/>
              </a:solidFill>
            </c:spPr>
            <c:extLst>
              <c:ext xmlns:c16="http://schemas.microsoft.com/office/drawing/2014/chart" uri="{C3380CC4-5D6E-409C-BE32-E72D297353CC}">
                <c16:uniqueId val="{000002B3-E5A2-4A9D-B0D2-C29E52CC8567}"/>
              </c:ext>
            </c:extLst>
          </c:dPt>
          <c:dPt>
            <c:idx val="345"/>
            <c:invertIfNegative val="1"/>
            <c:bubble3D val="0"/>
            <c:spPr>
              <a:solidFill>
                <a:srgbClr val="AEABAB"/>
              </a:solidFill>
            </c:spPr>
            <c:extLst>
              <c:ext xmlns:c16="http://schemas.microsoft.com/office/drawing/2014/chart" uri="{C3380CC4-5D6E-409C-BE32-E72D297353CC}">
                <c16:uniqueId val="{000002B5-E5A2-4A9D-B0D2-C29E52CC8567}"/>
              </c:ext>
            </c:extLst>
          </c:dPt>
          <c:dPt>
            <c:idx val="346"/>
            <c:invertIfNegative val="1"/>
            <c:bubble3D val="0"/>
            <c:spPr>
              <a:solidFill>
                <a:srgbClr val="AEABAB"/>
              </a:solidFill>
            </c:spPr>
            <c:extLst>
              <c:ext xmlns:c16="http://schemas.microsoft.com/office/drawing/2014/chart" uri="{C3380CC4-5D6E-409C-BE32-E72D297353CC}">
                <c16:uniqueId val="{000002B7-E5A2-4A9D-B0D2-C29E52CC8567}"/>
              </c:ext>
            </c:extLst>
          </c:dPt>
          <c:dPt>
            <c:idx val="347"/>
            <c:invertIfNegative val="1"/>
            <c:bubble3D val="0"/>
            <c:spPr>
              <a:solidFill>
                <a:srgbClr val="AEABAB"/>
              </a:solidFill>
            </c:spPr>
            <c:extLst>
              <c:ext xmlns:c16="http://schemas.microsoft.com/office/drawing/2014/chart" uri="{C3380CC4-5D6E-409C-BE32-E72D297353CC}">
                <c16:uniqueId val="{000002B9-E5A2-4A9D-B0D2-C29E52CC8567}"/>
              </c:ext>
            </c:extLst>
          </c:dPt>
          <c:dPt>
            <c:idx val="348"/>
            <c:invertIfNegative val="1"/>
            <c:bubble3D val="0"/>
            <c:spPr>
              <a:solidFill>
                <a:srgbClr val="AEABAB"/>
              </a:solidFill>
            </c:spPr>
            <c:extLst>
              <c:ext xmlns:c16="http://schemas.microsoft.com/office/drawing/2014/chart" uri="{C3380CC4-5D6E-409C-BE32-E72D297353CC}">
                <c16:uniqueId val="{000002BB-E5A2-4A9D-B0D2-C29E52CC8567}"/>
              </c:ext>
            </c:extLst>
          </c:dPt>
          <c:dPt>
            <c:idx val="349"/>
            <c:invertIfNegative val="1"/>
            <c:bubble3D val="0"/>
            <c:spPr>
              <a:solidFill>
                <a:srgbClr val="AEABAB"/>
              </a:solidFill>
            </c:spPr>
            <c:extLst>
              <c:ext xmlns:c16="http://schemas.microsoft.com/office/drawing/2014/chart" uri="{C3380CC4-5D6E-409C-BE32-E72D297353CC}">
                <c16:uniqueId val="{000002BD-E5A2-4A9D-B0D2-C29E52CC8567}"/>
              </c:ext>
            </c:extLst>
          </c:dPt>
          <c:dPt>
            <c:idx val="350"/>
            <c:invertIfNegative val="1"/>
            <c:bubble3D val="0"/>
            <c:spPr>
              <a:solidFill>
                <a:srgbClr val="AEABAB"/>
              </a:solidFill>
            </c:spPr>
            <c:extLst>
              <c:ext xmlns:c16="http://schemas.microsoft.com/office/drawing/2014/chart" uri="{C3380CC4-5D6E-409C-BE32-E72D297353CC}">
                <c16:uniqueId val="{000002BF-E5A2-4A9D-B0D2-C29E52CC8567}"/>
              </c:ext>
            </c:extLst>
          </c:dPt>
          <c:dPt>
            <c:idx val="351"/>
            <c:invertIfNegative val="1"/>
            <c:bubble3D val="0"/>
            <c:spPr>
              <a:solidFill>
                <a:srgbClr val="AEABAB"/>
              </a:solidFill>
            </c:spPr>
            <c:extLst>
              <c:ext xmlns:c16="http://schemas.microsoft.com/office/drawing/2014/chart" uri="{C3380CC4-5D6E-409C-BE32-E72D297353CC}">
                <c16:uniqueId val="{000002C1-E5A2-4A9D-B0D2-C29E52CC8567}"/>
              </c:ext>
            </c:extLst>
          </c:dPt>
          <c:dPt>
            <c:idx val="352"/>
            <c:invertIfNegative val="1"/>
            <c:bubble3D val="0"/>
            <c:spPr>
              <a:solidFill>
                <a:srgbClr val="AEABAB"/>
              </a:solidFill>
            </c:spPr>
            <c:extLst>
              <c:ext xmlns:c16="http://schemas.microsoft.com/office/drawing/2014/chart" uri="{C3380CC4-5D6E-409C-BE32-E72D297353CC}">
                <c16:uniqueId val="{000002C3-E5A2-4A9D-B0D2-C29E52CC8567}"/>
              </c:ext>
            </c:extLst>
          </c:dPt>
          <c:dPt>
            <c:idx val="353"/>
            <c:invertIfNegative val="1"/>
            <c:bubble3D val="0"/>
            <c:spPr>
              <a:solidFill>
                <a:srgbClr val="AEABAB"/>
              </a:solidFill>
            </c:spPr>
            <c:extLst>
              <c:ext xmlns:c16="http://schemas.microsoft.com/office/drawing/2014/chart" uri="{C3380CC4-5D6E-409C-BE32-E72D297353CC}">
                <c16:uniqueId val="{000002C5-E5A2-4A9D-B0D2-C29E52CC8567}"/>
              </c:ext>
            </c:extLst>
          </c:dPt>
          <c:dPt>
            <c:idx val="354"/>
            <c:invertIfNegative val="1"/>
            <c:bubble3D val="0"/>
            <c:spPr>
              <a:solidFill>
                <a:srgbClr val="AEABAB"/>
              </a:solidFill>
            </c:spPr>
            <c:extLst>
              <c:ext xmlns:c16="http://schemas.microsoft.com/office/drawing/2014/chart" uri="{C3380CC4-5D6E-409C-BE32-E72D297353CC}">
                <c16:uniqueId val="{000002C7-E5A2-4A9D-B0D2-C29E52CC8567}"/>
              </c:ext>
            </c:extLst>
          </c:dPt>
          <c:cat>
            <c:strRef>
              <c:f>Sheet1!$A$2:$A$356</c:f>
              <c:strCache>
                <c:ptCount val="355"/>
                <c:pt idx="0">
                  <c:v>Ruinart</c:v>
                </c:pt>
                <c:pt idx="1">
                  <c:v>Nicolas</c:v>
                </c:pt>
                <c:pt idx="2">
                  <c:v>Deutz</c:v>
                </c:pt>
                <c:pt idx="3">
                  <c:v>Ruinart</c:v>
                </c:pt>
                <c:pt idx="4">
                  <c:v>Malard</c:v>
                </c:pt>
                <c:pt idx="5">
                  <c:v>Laurent Per</c:v>
                </c:pt>
                <c:pt idx="6">
                  <c:v>Heidsieck &amp;</c:v>
                </c:pt>
                <c:pt idx="7">
                  <c:v>Ayala</c:v>
                </c:pt>
                <c:pt idx="8">
                  <c:v>Nicolas Feu</c:v>
                </c:pt>
                <c:pt idx="9">
                  <c:v>De Bligny</c:v>
                </c:pt>
                <c:pt idx="10">
                  <c:v>Ruinart</c:v>
                </c:pt>
                <c:pt idx="11">
                  <c:v>Taittinger</c:v>
                </c:pt>
                <c:pt idx="12">
                  <c:v>Canard Duch</c:v>
                </c:pt>
                <c:pt idx="13">
                  <c:v>Bollinger</c:v>
                </c:pt>
                <c:pt idx="14">
                  <c:v>Besserat De</c:v>
                </c:pt>
                <c:pt idx="15">
                  <c:v>Ruinart</c:v>
                </c:pt>
                <c:pt idx="16">
                  <c:v>Demoiselle</c:v>
                </c:pt>
                <c:pt idx="17">
                  <c:v>Perrier Jou</c:v>
                </c:pt>
                <c:pt idx="18">
                  <c:v>Ruinart</c:v>
                </c:pt>
                <c:pt idx="19">
                  <c:v>All Others</c:v>
                </c:pt>
                <c:pt idx="20">
                  <c:v>Ruinart</c:v>
                </c:pt>
                <c:pt idx="21">
                  <c:v>Deutz</c:v>
                </c:pt>
                <c:pt idx="22">
                  <c:v>Laurent Per</c:v>
                </c:pt>
                <c:pt idx="23">
                  <c:v>Campari: Al</c:v>
                </c:pt>
                <c:pt idx="24">
                  <c:v>Vesselle</c:v>
                </c:pt>
                <c:pt idx="25">
                  <c:v>Roederer</c:v>
                </c:pt>
                <c:pt idx="26">
                  <c:v>Pommery</c:v>
                </c:pt>
                <c:pt idx="27">
                  <c:v>Dom Perigno</c:v>
                </c:pt>
                <c:pt idx="28">
                  <c:v>Deutz</c:v>
                </c:pt>
                <c:pt idx="29">
                  <c:v>All Others</c:v>
                </c:pt>
                <c:pt idx="30">
                  <c:v>Moët &amp; Chan</c:v>
                </c:pt>
                <c:pt idx="31">
                  <c:v>Veuve Clicq</c:v>
                </c:pt>
                <c:pt idx="32">
                  <c:v>Malard</c:v>
                </c:pt>
                <c:pt idx="33">
                  <c:v>Ruinart</c:v>
                </c:pt>
                <c:pt idx="34">
                  <c:v>Savian</c:v>
                </c:pt>
                <c:pt idx="35">
                  <c:v>Veuve Clicq</c:v>
                </c:pt>
                <c:pt idx="36">
                  <c:v>Demoiselle</c:v>
                </c:pt>
                <c:pt idx="37">
                  <c:v>Dom Perigno</c:v>
                </c:pt>
                <c:pt idx="38">
                  <c:v>Nicolas</c:v>
                </c:pt>
                <c:pt idx="39">
                  <c:v>Taittinger</c:v>
                </c:pt>
                <c:pt idx="40">
                  <c:v>Henriot</c:v>
                </c:pt>
                <c:pt idx="41">
                  <c:v>Laurent Per</c:v>
                </c:pt>
                <c:pt idx="42">
                  <c:v>Veuve Clicq</c:v>
                </c:pt>
                <c:pt idx="43">
                  <c:v>All Others</c:v>
                </c:pt>
                <c:pt idx="44">
                  <c:v>Malard</c:v>
                </c:pt>
                <c:pt idx="45">
                  <c:v>Ruinart</c:v>
                </c:pt>
                <c:pt idx="46">
                  <c:v>Roederer</c:v>
                </c:pt>
                <c:pt idx="47">
                  <c:v>De Venoge</c:v>
                </c:pt>
                <c:pt idx="48">
                  <c:v>Besserat De</c:v>
                </c:pt>
                <c:pt idx="49">
                  <c:v>Nicolas Feu</c:v>
                </c:pt>
                <c:pt idx="50">
                  <c:v>Ruinart</c:v>
                </c:pt>
                <c:pt idx="51">
                  <c:v>Moët &amp; Chan</c:v>
                </c:pt>
                <c:pt idx="52">
                  <c:v>Deutz</c:v>
                </c:pt>
                <c:pt idx="53">
                  <c:v>Piper Heids</c:v>
                </c:pt>
                <c:pt idx="54">
                  <c:v>Louis Marti</c:v>
                </c:pt>
                <c:pt idx="55">
                  <c:v>Moët &amp; Chan</c:v>
                </c:pt>
                <c:pt idx="56">
                  <c:v>Nicolas</c:v>
                </c:pt>
                <c:pt idx="57">
                  <c:v>Ruinart</c:v>
                </c:pt>
                <c:pt idx="58">
                  <c:v>Nicolas Feu</c:v>
                </c:pt>
                <c:pt idx="59">
                  <c:v>Nicolas</c:v>
                </c:pt>
                <c:pt idx="60">
                  <c:v>Campari: Al</c:v>
                </c:pt>
                <c:pt idx="61">
                  <c:v>Lanson</c:v>
                </c:pt>
                <c:pt idx="62">
                  <c:v>Roederer</c:v>
                </c:pt>
                <c:pt idx="63">
                  <c:v>Malard</c:v>
                </c:pt>
                <c:pt idx="64">
                  <c:v>Nicolas Feu</c:v>
                </c:pt>
                <c:pt idx="65">
                  <c:v>Malard</c:v>
                </c:pt>
                <c:pt idx="66">
                  <c:v>Canard Duch</c:v>
                </c:pt>
                <c:pt idx="67">
                  <c:v>Henriot</c:v>
                </c:pt>
                <c:pt idx="68">
                  <c:v>Delamotte</c:v>
                </c:pt>
                <c:pt idx="69">
                  <c:v>Krug</c:v>
                </c:pt>
                <c:pt idx="70">
                  <c:v>Bollinger</c:v>
                </c:pt>
                <c:pt idx="71">
                  <c:v>De Bligny</c:v>
                </c:pt>
                <c:pt idx="72">
                  <c:v>Laurent Per</c:v>
                </c:pt>
                <c:pt idx="73">
                  <c:v>Henriot</c:v>
                </c:pt>
                <c:pt idx="74">
                  <c:v>Besserat De</c:v>
                </c:pt>
                <c:pt idx="75">
                  <c:v>Pommery</c:v>
                </c:pt>
                <c:pt idx="76">
                  <c:v>Vranken</c:v>
                </c:pt>
                <c:pt idx="77">
                  <c:v>Dom Perigno</c:v>
                </c:pt>
                <c:pt idx="78">
                  <c:v>Perrier Jou</c:v>
                </c:pt>
                <c:pt idx="79">
                  <c:v>Ayala</c:v>
                </c:pt>
                <c:pt idx="80">
                  <c:v>Roederer</c:v>
                </c:pt>
                <c:pt idx="81">
                  <c:v>Roederer</c:v>
                </c:pt>
                <c:pt idx="82">
                  <c:v>Henriot</c:v>
                </c:pt>
                <c:pt idx="83">
                  <c:v>De Venoge</c:v>
                </c:pt>
                <c:pt idx="84">
                  <c:v>Roederer</c:v>
                </c:pt>
                <c:pt idx="85">
                  <c:v>Roederer</c:v>
                </c:pt>
                <c:pt idx="86">
                  <c:v>Ruinart</c:v>
                </c:pt>
                <c:pt idx="87">
                  <c:v>Bollinger</c:v>
                </c:pt>
                <c:pt idx="88">
                  <c:v>De Venoge</c:v>
                </c:pt>
                <c:pt idx="89">
                  <c:v>Ruinart</c:v>
                </c:pt>
                <c:pt idx="90">
                  <c:v>Canard Duch</c:v>
                </c:pt>
                <c:pt idx="91">
                  <c:v>Ruinart</c:v>
                </c:pt>
                <c:pt idx="92">
                  <c:v>Nicolas</c:v>
                </c:pt>
                <c:pt idx="93">
                  <c:v>Roederer</c:v>
                </c:pt>
                <c:pt idx="94">
                  <c:v>Roederer</c:v>
                </c:pt>
                <c:pt idx="95">
                  <c:v>Ruinart</c:v>
                </c:pt>
                <c:pt idx="96">
                  <c:v>Dom Perigno</c:v>
                </c:pt>
                <c:pt idx="97">
                  <c:v>Malard</c:v>
                </c:pt>
                <c:pt idx="98">
                  <c:v>De Venoge</c:v>
                </c:pt>
                <c:pt idx="99">
                  <c:v>Deutz</c:v>
                </c:pt>
                <c:pt idx="100">
                  <c:v>Ruinart</c:v>
                </c:pt>
                <c:pt idx="101">
                  <c:v>Vranken</c:v>
                </c:pt>
                <c:pt idx="102">
                  <c:v>Moët &amp; Chan</c:v>
                </c:pt>
                <c:pt idx="103">
                  <c:v>Deutz</c:v>
                </c:pt>
                <c:pt idx="104">
                  <c:v>Nicolas</c:v>
                </c:pt>
                <c:pt idx="105">
                  <c:v>Roederer</c:v>
                </c:pt>
                <c:pt idx="106">
                  <c:v>Canard Duch</c:v>
                </c:pt>
                <c:pt idx="107">
                  <c:v>Laurent Per</c:v>
                </c:pt>
                <c:pt idx="108">
                  <c:v>Veuve Clicq</c:v>
                </c:pt>
                <c:pt idx="109">
                  <c:v>Canard Duch</c:v>
                </c:pt>
                <c:pt idx="110">
                  <c:v>Laurent Per</c:v>
                </c:pt>
                <c:pt idx="111">
                  <c:v>Nicolas</c:v>
                </c:pt>
                <c:pt idx="112">
                  <c:v>Nicolas</c:v>
                </c:pt>
                <c:pt idx="113">
                  <c:v>Bollinger</c:v>
                </c:pt>
                <c:pt idx="114">
                  <c:v>Nicolas Feu</c:v>
                </c:pt>
                <c:pt idx="115">
                  <c:v>Nicolas</c:v>
                </c:pt>
                <c:pt idx="116">
                  <c:v>Nicolas</c:v>
                </c:pt>
                <c:pt idx="117">
                  <c:v>Nicolas</c:v>
                </c:pt>
                <c:pt idx="118">
                  <c:v>All Others</c:v>
                </c:pt>
                <c:pt idx="119">
                  <c:v>Roederer</c:v>
                </c:pt>
                <c:pt idx="120">
                  <c:v>All Others</c:v>
                </c:pt>
                <c:pt idx="121">
                  <c:v>Taittinger</c:v>
                </c:pt>
                <c:pt idx="122">
                  <c:v>Roederer</c:v>
                </c:pt>
                <c:pt idx="123">
                  <c:v>Veuve Clicq</c:v>
                </c:pt>
                <c:pt idx="124">
                  <c:v>Perrier Jou</c:v>
                </c:pt>
                <c:pt idx="125">
                  <c:v>Besserat De</c:v>
                </c:pt>
                <c:pt idx="126">
                  <c:v>Demoiselle</c:v>
                </c:pt>
                <c:pt idx="127">
                  <c:v>Nicolas</c:v>
                </c:pt>
                <c:pt idx="128">
                  <c:v>Laurent Per</c:v>
                </c:pt>
                <c:pt idx="129">
                  <c:v>Laurent Per</c:v>
                </c:pt>
                <c:pt idx="130">
                  <c:v>Pommery</c:v>
                </c:pt>
                <c:pt idx="131">
                  <c:v>Nicolas</c:v>
                </c:pt>
                <c:pt idx="132">
                  <c:v>Laurent Per</c:v>
                </c:pt>
                <c:pt idx="133">
                  <c:v>Ruinart</c:v>
                </c:pt>
                <c:pt idx="134">
                  <c:v>Roederer</c:v>
                </c:pt>
                <c:pt idx="135">
                  <c:v>Lanson</c:v>
                </c:pt>
                <c:pt idx="136">
                  <c:v>Ruinart</c:v>
                </c:pt>
                <c:pt idx="137">
                  <c:v>Canard Duch</c:v>
                </c:pt>
                <c:pt idx="138">
                  <c:v>Vesselle</c:v>
                </c:pt>
                <c:pt idx="139">
                  <c:v>Pommery</c:v>
                </c:pt>
                <c:pt idx="140">
                  <c:v>Moët &amp; Chan</c:v>
                </c:pt>
                <c:pt idx="141">
                  <c:v>Pommery</c:v>
                </c:pt>
                <c:pt idx="142">
                  <c:v>Nicolas</c:v>
                </c:pt>
                <c:pt idx="143">
                  <c:v>Louis Marti</c:v>
                </c:pt>
                <c:pt idx="144">
                  <c:v>Roederer</c:v>
                </c:pt>
                <c:pt idx="145">
                  <c:v>Dom Perigno</c:v>
                </c:pt>
                <c:pt idx="146">
                  <c:v>All Others</c:v>
                </c:pt>
                <c:pt idx="147">
                  <c:v>Ruinart</c:v>
                </c:pt>
                <c:pt idx="148">
                  <c:v>Ruinart</c:v>
                </c:pt>
                <c:pt idx="149">
                  <c:v>Roederer</c:v>
                </c:pt>
                <c:pt idx="150">
                  <c:v>Demoiselle</c:v>
                </c:pt>
                <c:pt idx="151">
                  <c:v>Nicolas</c:v>
                </c:pt>
                <c:pt idx="152">
                  <c:v>Perrier Jou</c:v>
                </c:pt>
                <c:pt idx="153">
                  <c:v>Vranken</c:v>
                </c:pt>
                <c:pt idx="154">
                  <c:v>Taittinger</c:v>
                </c:pt>
                <c:pt idx="155">
                  <c:v>Deutz</c:v>
                </c:pt>
                <c:pt idx="156">
                  <c:v>Pommery</c:v>
                </c:pt>
                <c:pt idx="157">
                  <c:v>Laurent Per</c:v>
                </c:pt>
                <c:pt idx="158">
                  <c:v>Delamotte</c:v>
                </c:pt>
                <c:pt idx="159">
                  <c:v>Veuve Clicq</c:v>
                </c:pt>
                <c:pt idx="160">
                  <c:v>Veuve Clicq</c:v>
                </c:pt>
                <c:pt idx="161">
                  <c:v>Deutz</c:v>
                </c:pt>
                <c:pt idx="162">
                  <c:v>Ayala</c:v>
                </c:pt>
                <c:pt idx="163">
                  <c:v>Nicolas</c:v>
                </c:pt>
                <c:pt idx="164">
                  <c:v>Roederer</c:v>
                </c:pt>
                <c:pt idx="165">
                  <c:v>Pommery</c:v>
                </c:pt>
                <c:pt idx="166">
                  <c:v>Dom Perigno</c:v>
                </c:pt>
                <c:pt idx="167">
                  <c:v>Bollinger</c:v>
                </c:pt>
                <c:pt idx="168">
                  <c:v>Canard Duch</c:v>
                </c:pt>
                <c:pt idx="169">
                  <c:v>Piper Heids</c:v>
                </c:pt>
                <c:pt idx="170">
                  <c:v>Piper Heids</c:v>
                </c:pt>
                <c:pt idx="171">
                  <c:v>Nicolas</c:v>
                </c:pt>
                <c:pt idx="172">
                  <c:v>Moët &amp; Chan</c:v>
                </c:pt>
                <c:pt idx="173">
                  <c:v>Vesselle</c:v>
                </c:pt>
                <c:pt idx="174">
                  <c:v>Ruinart</c:v>
                </c:pt>
                <c:pt idx="175">
                  <c:v>Nicolas</c:v>
                </c:pt>
                <c:pt idx="176">
                  <c:v>Laurent Per</c:v>
                </c:pt>
                <c:pt idx="177">
                  <c:v>Besserat De</c:v>
                </c:pt>
                <c:pt idx="178">
                  <c:v>Roederer</c:v>
                </c:pt>
                <c:pt idx="179">
                  <c:v>Taittinger</c:v>
                </c:pt>
                <c:pt idx="180">
                  <c:v>Malard</c:v>
                </c:pt>
                <c:pt idx="181">
                  <c:v>Bollinger</c:v>
                </c:pt>
                <c:pt idx="182">
                  <c:v>Bollinger</c:v>
                </c:pt>
                <c:pt idx="183">
                  <c:v>All Others</c:v>
                </c:pt>
                <c:pt idx="184">
                  <c:v>Piper Heids</c:v>
                </c:pt>
                <c:pt idx="185">
                  <c:v>Bollinger</c:v>
                </c:pt>
                <c:pt idx="186">
                  <c:v>All Others</c:v>
                </c:pt>
                <c:pt idx="187">
                  <c:v>Moët &amp; Chan</c:v>
                </c:pt>
                <c:pt idx="188">
                  <c:v>Henriot</c:v>
                </c:pt>
                <c:pt idx="189">
                  <c:v>Roederer</c:v>
                </c:pt>
                <c:pt idx="190">
                  <c:v>Deutz</c:v>
                </c:pt>
                <c:pt idx="191">
                  <c:v>Dom Perigno</c:v>
                </c:pt>
                <c:pt idx="192">
                  <c:v>Canard Duch</c:v>
                </c:pt>
                <c:pt idx="193">
                  <c:v>Moët &amp; Chan</c:v>
                </c:pt>
                <c:pt idx="194">
                  <c:v>Deutz</c:v>
                </c:pt>
                <c:pt idx="195">
                  <c:v>Nicolas</c:v>
                </c:pt>
                <c:pt idx="196">
                  <c:v>De Venoge</c:v>
                </c:pt>
                <c:pt idx="197">
                  <c:v>Ruinart</c:v>
                </c:pt>
                <c:pt idx="198">
                  <c:v>Nicolas</c:v>
                </c:pt>
                <c:pt idx="199">
                  <c:v>All Others</c:v>
                </c:pt>
                <c:pt idx="200">
                  <c:v>Laurent Per</c:v>
                </c:pt>
                <c:pt idx="201">
                  <c:v>Henriot</c:v>
                </c:pt>
                <c:pt idx="202">
                  <c:v>De Venoge</c:v>
                </c:pt>
                <c:pt idx="203">
                  <c:v>Krug</c:v>
                </c:pt>
                <c:pt idx="204">
                  <c:v>Perrier Jou</c:v>
                </c:pt>
                <c:pt idx="205">
                  <c:v>Nicolas</c:v>
                </c:pt>
                <c:pt idx="206">
                  <c:v>De Venoge</c:v>
                </c:pt>
                <c:pt idx="207">
                  <c:v>Lanson</c:v>
                </c:pt>
                <c:pt idx="208">
                  <c:v>Roederer</c:v>
                </c:pt>
                <c:pt idx="209">
                  <c:v>Pommery</c:v>
                </c:pt>
                <c:pt idx="210">
                  <c:v>All Others</c:v>
                </c:pt>
                <c:pt idx="211">
                  <c:v>Deutz</c:v>
                </c:pt>
                <c:pt idx="212">
                  <c:v>Krug</c:v>
                </c:pt>
                <c:pt idx="213">
                  <c:v>Taittinger</c:v>
                </c:pt>
                <c:pt idx="214">
                  <c:v>Ruinart</c:v>
                </c:pt>
                <c:pt idx="215">
                  <c:v>Laurent Per</c:v>
                </c:pt>
                <c:pt idx="216">
                  <c:v>Moët &amp; Chan</c:v>
                </c:pt>
                <c:pt idx="217">
                  <c:v>De Venoge</c:v>
                </c:pt>
                <c:pt idx="218">
                  <c:v>All Others</c:v>
                </c:pt>
                <c:pt idx="219">
                  <c:v>All Others</c:v>
                </c:pt>
                <c:pt idx="220">
                  <c:v>All Others</c:v>
                </c:pt>
                <c:pt idx="221">
                  <c:v>Krug</c:v>
                </c:pt>
                <c:pt idx="222">
                  <c:v>Roederer</c:v>
                </c:pt>
                <c:pt idx="223">
                  <c:v>Veuve Clicq</c:v>
                </c:pt>
                <c:pt idx="224">
                  <c:v>Nicolas Feu</c:v>
                </c:pt>
                <c:pt idx="225">
                  <c:v>All Others</c:v>
                </c:pt>
                <c:pt idx="226">
                  <c:v>Deutz</c:v>
                </c:pt>
                <c:pt idx="227">
                  <c:v>Dom Perigno</c:v>
                </c:pt>
                <c:pt idx="228">
                  <c:v>Roederer</c:v>
                </c:pt>
                <c:pt idx="229">
                  <c:v>Roederer</c:v>
                </c:pt>
                <c:pt idx="230">
                  <c:v>Veuve Clicq</c:v>
                </c:pt>
                <c:pt idx="231">
                  <c:v>Laurent Per</c:v>
                </c:pt>
                <c:pt idx="232">
                  <c:v>All Others</c:v>
                </c:pt>
                <c:pt idx="233">
                  <c:v>Dom Perigno</c:v>
                </c:pt>
                <c:pt idx="234">
                  <c:v>Piper Heids</c:v>
                </c:pt>
                <c:pt idx="235">
                  <c:v>Laurent Per</c:v>
                </c:pt>
                <c:pt idx="236">
                  <c:v>Bollinger</c:v>
                </c:pt>
                <c:pt idx="237">
                  <c:v>Bollinger</c:v>
                </c:pt>
                <c:pt idx="238">
                  <c:v>Ruinart</c:v>
                </c:pt>
                <c:pt idx="239">
                  <c:v>Pommery</c:v>
                </c:pt>
                <c:pt idx="240">
                  <c:v>Canard Duch</c:v>
                </c:pt>
                <c:pt idx="241">
                  <c:v>Veuve Clicq</c:v>
                </c:pt>
                <c:pt idx="242">
                  <c:v>Perrier Jou</c:v>
                </c:pt>
                <c:pt idx="243">
                  <c:v>Deutz</c:v>
                </c:pt>
                <c:pt idx="244">
                  <c:v>Ruinart</c:v>
                </c:pt>
                <c:pt idx="245">
                  <c:v>Taittinger</c:v>
                </c:pt>
                <c:pt idx="246">
                  <c:v>Dom Perigno</c:v>
                </c:pt>
                <c:pt idx="247">
                  <c:v>Deutz</c:v>
                </c:pt>
                <c:pt idx="248">
                  <c:v>Martel</c:v>
                </c:pt>
                <c:pt idx="249">
                  <c:v>Perrier Jou</c:v>
                </c:pt>
                <c:pt idx="250">
                  <c:v>Moët &amp; Chan</c:v>
                </c:pt>
                <c:pt idx="251">
                  <c:v>Delamotte</c:v>
                </c:pt>
                <c:pt idx="252">
                  <c:v>All Others</c:v>
                </c:pt>
                <c:pt idx="253">
                  <c:v>Roederer</c:v>
                </c:pt>
                <c:pt idx="254">
                  <c:v>Bollinger</c:v>
                </c:pt>
                <c:pt idx="255">
                  <c:v>De Bligny</c:v>
                </c:pt>
                <c:pt idx="256">
                  <c:v>Ruinart</c:v>
                </c:pt>
                <c:pt idx="257">
                  <c:v>Bollinger</c:v>
                </c:pt>
                <c:pt idx="258">
                  <c:v>Malard</c:v>
                </c:pt>
                <c:pt idx="259">
                  <c:v>Pommery</c:v>
                </c:pt>
                <c:pt idx="260">
                  <c:v>Roederer</c:v>
                </c:pt>
                <c:pt idx="261">
                  <c:v>All Others</c:v>
                </c:pt>
                <c:pt idx="262">
                  <c:v>Bollinger</c:v>
                </c:pt>
                <c:pt idx="263">
                  <c:v>Ruinart</c:v>
                </c:pt>
                <c:pt idx="264">
                  <c:v>Ayala</c:v>
                </c:pt>
                <c:pt idx="265">
                  <c:v>Lanson</c:v>
                </c:pt>
                <c:pt idx="266">
                  <c:v>Delamotte</c:v>
                </c:pt>
                <c:pt idx="267">
                  <c:v>All Others</c:v>
                </c:pt>
                <c:pt idx="268">
                  <c:v>Ruinart</c:v>
                </c:pt>
                <c:pt idx="269">
                  <c:v>Roederer</c:v>
                </c:pt>
                <c:pt idx="270">
                  <c:v>De Venoge</c:v>
                </c:pt>
                <c:pt idx="271">
                  <c:v>De Venoge</c:v>
                </c:pt>
                <c:pt idx="272">
                  <c:v>Ayala</c:v>
                </c:pt>
                <c:pt idx="273">
                  <c:v>Laurent Per</c:v>
                </c:pt>
                <c:pt idx="274">
                  <c:v>Perrier Jou</c:v>
                </c:pt>
                <c:pt idx="275">
                  <c:v>All Others</c:v>
                </c:pt>
                <c:pt idx="276">
                  <c:v>Moët &amp; Chan</c:v>
                </c:pt>
                <c:pt idx="277">
                  <c:v>Vesselle</c:v>
                </c:pt>
                <c:pt idx="278">
                  <c:v>Bollinger</c:v>
                </c:pt>
                <c:pt idx="279">
                  <c:v>All Others</c:v>
                </c:pt>
                <c:pt idx="280">
                  <c:v>Besserat De</c:v>
                </c:pt>
                <c:pt idx="281">
                  <c:v>Ayala</c:v>
                </c:pt>
                <c:pt idx="282">
                  <c:v>Canard Duch</c:v>
                </c:pt>
                <c:pt idx="283">
                  <c:v>Demoiselle</c:v>
                </c:pt>
                <c:pt idx="284">
                  <c:v>Ruinart</c:v>
                </c:pt>
                <c:pt idx="285">
                  <c:v>Roederer</c:v>
                </c:pt>
                <c:pt idx="286">
                  <c:v>Deutz</c:v>
                </c:pt>
                <c:pt idx="287">
                  <c:v>Dom Perigno</c:v>
                </c:pt>
                <c:pt idx="288">
                  <c:v>Heidsieck &amp;</c:v>
                </c:pt>
                <c:pt idx="289">
                  <c:v>Dom Perigno</c:v>
                </c:pt>
                <c:pt idx="290">
                  <c:v>Roederer</c:v>
                </c:pt>
                <c:pt idx="291">
                  <c:v>Taittinger</c:v>
                </c:pt>
                <c:pt idx="292">
                  <c:v>Krug</c:v>
                </c:pt>
                <c:pt idx="293">
                  <c:v>Moët &amp; Chan</c:v>
                </c:pt>
                <c:pt idx="294">
                  <c:v>Taittinger</c:v>
                </c:pt>
                <c:pt idx="295">
                  <c:v>Vranken</c:v>
                </c:pt>
                <c:pt idx="296">
                  <c:v>Canard Duch</c:v>
                </c:pt>
                <c:pt idx="297">
                  <c:v>Laurent Per</c:v>
                </c:pt>
                <c:pt idx="298">
                  <c:v>Laurent Per</c:v>
                </c:pt>
                <c:pt idx="299">
                  <c:v>Nicolas Feu</c:v>
                </c:pt>
                <c:pt idx="300">
                  <c:v>Dom Perigno</c:v>
                </c:pt>
                <c:pt idx="301">
                  <c:v>Piper Heids</c:v>
                </c:pt>
                <c:pt idx="302">
                  <c:v>Laurent Per</c:v>
                </c:pt>
                <c:pt idx="303">
                  <c:v>Veuve Clicq</c:v>
                </c:pt>
                <c:pt idx="304">
                  <c:v>All Others</c:v>
                </c:pt>
                <c:pt idx="305">
                  <c:v>Heidsieck &amp;</c:v>
                </c:pt>
                <c:pt idx="306">
                  <c:v>Taittinger</c:v>
                </c:pt>
                <c:pt idx="307">
                  <c:v>Laurent Per</c:v>
                </c:pt>
                <c:pt idx="308">
                  <c:v>All Others</c:v>
                </c:pt>
                <c:pt idx="309">
                  <c:v>Piper Heids</c:v>
                </c:pt>
                <c:pt idx="310">
                  <c:v>Nicolas Feu</c:v>
                </c:pt>
                <c:pt idx="311">
                  <c:v>Ayala</c:v>
                </c:pt>
                <c:pt idx="312">
                  <c:v>Roederer</c:v>
                </c:pt>
                <c:pt idx="313">
                  <c:v>All Others</c:v>
                </c:pt>
                <c:pt idx="314">
                  <c:v>Krug</c:v>
                </c:pt>
                <c:pt idx="315">
                  <c:v>Demoiselle</c:v>
                </c:pt>
                <c:pt idx="316">
                  <c:v>Henriot</c:v>
                </c:pt>
                <c:pt idx="317">
                  <c:v>De Venoge</c:v>
                </c:pt>
                <c:pt idx="318">
                  <c:v>Deutz</c:v>
                </c:pt>
                <c:pt idx="319">
                  <c:v>Nicolas Feu</c:v>
                </c:pt>
                <c:pt idx="320">
                  <c:v>Krug</c:v>
                </c:pt>
                <c:pt idx="321">
                  <c:v>Ruinart</c:v>
                </c:pt>
                <c:pt idx="322">
                  <c:v>Ruinart</c:v>
                </c:pt>
                <c:pt idx="323">
                  <c:v>De Bligny</c:v>
                </c:pt>
                <c:pt idx="324">
                  <c:v>Moët &amp; Chan</c:v>
                </c:pt>
                <c:pt idx="325">
                  <c:v>Besserat De</c:v>
                </c:pt>
                <c:pt idx="326">
                  <c:v>Bollinger</c:v>
                </c:pt>
                <c:pt idx="327">
                  <c:v>All Others</c:v>
                </c:pt>
                <c:pt idx="328">
                  <c:v>Veuve Clicq</c:v>
                </c:pt>
                <c:pt idx="329">
                  <c:v>All Others</c:v>
                </c:pt>
                <c:pt idx="330">
                  <c:v>Roederer</c:v>
                </c:pt>
                <c:pt idx="331">
                  <c:v>Laurent Per</c:v>
                </c:pt>
                <c:pt idx="332">
                  <c:v>Taittinger</c:v>
                </c:pt>
                <c:pt idx="333">
                  <c:v>Nicolas</c:v>
                </c:pt>
                <c:pt idx="334">
                  <c:v>Laurent Per</c:v>
                </c:pt>
                <c:pt idx="335">
                  <c:v>Bollinger</c:v>
                </c:pt>
                <c:pt idx="336">
                  <c:v>All Others</c:v>
                </c:pt>
                <c:pt idx="337">
                  <c:v>Mumm</c:v>
                </c:pt>
                <c:pt idx="338">
                  <c:v>Demoiselle</c:v>
                </c:pt>
                <c:pt idx="339">
                  <c:v>Malard</c:v>
                </c:pt>
                <c:pt idx="340">
                  <c:v>Canard Duch</c:v>
                </c:pt>
                <c:pt idx="341">
                  <c:v>Vesselle</c:v>
                </c:pt>
                <c:pt idx="342">
                  <c:v>Piper Heids</c:v>
                </c:pt>
                <c:pt idx="343">
                  <c:v>Pommery</c:v>
                </c:pt>
                <c:pt idx="344">
                  <c:v>Malard</c:v>
                </c:pt>
                <c:pt idx="345">
                  <c:v>Pommery</c:v>
                </c:pt>
                <c:pt idx="346">
                  <c:v>Roederer</c:v>
                </c:pt>
                <c:pt idx="347">
                  <c:v>Taittinger</c:v>
                </c:pt>
                <c:pt idx="348">
                  <c:v>Moët &amp; Chan</c:v>
                </c:pt>
                <c:pt idx="349">
                  <c:v>Moët &amp; Chan</c:v>
                </c:pt>
                <c:pt idx="350">
                  <c:v>All Others</c:v>
                </c:pt>
                <c:pt idx="351">
                  <c:v>Besserat De</c:v>
                </c:pt>
                <c:pt idx="352">
                  <c:v>All Others</c:v>
                </c:pt>
                <c:pt idx="353">
                  <c:v>Moët &amp; Chan</c:v>
                </c:pt>
                <c:pt idx="354">
                  <c:v>Roederer</c:v>
                </c:pt>
              </c:strCache>
            </c:strRef>
          </c:cat>
          <c:val>
            <c:numRef>
              <c:f>Sheet1!$C$2:$C$356</c:f>
              <c:numCache>
                <c:formatCode>General</c:formatCode>
                <c:ptCount val="355"/>
                <c:pt idx="0">
                  <c:v>0.10557007070864489</c:v>
                </c:pt>
                <c:pt idx="1">
                  <c:v>0.16830245228663565</c:v>
                </c:pt>
                <c:pt idx="2">
                  <c:v>0.22080198667649958</c:v>
                </c:pt>
                <c:pt idx="3">
                  <c:v>0.27159680194968411</c:v>
                </c:pt>
                <c:pt idx="4">
                  <c:v>0.30546957308723971</c:v>
                </c:pt>
                <c:pt idx="5">
                  <c:v>0.33890202903466066</c:v>
                </c:pt>
                <c:pt idx="6">
                  <c:v>0.37072691677088343</c:v>
                </c:pt>
                <c:pt idx="7">
                  <c:v>0.39886572426320521</c:v>
                </c:pt>
                <c:pt idx="8">
                  <c:v>0.42473126008478596</c:v>
                </c:pt>
                <c:pt idx="9">
                  <c:v>0.44886300477037505</c:v>
                </c:pt>
                <c:pt idx="10">
                  <c:v>0.46915424413940143</c:v>
                </c:pt>
                <c:pt idx="11">
                  <c:v>0.48911344442171589</c:v>
                </c:pt>
                <c:pt idx="12">
                  <c:v>0.50831793966095529</c:v>
                </c:pt>
                <c:pt idx="13">
                  <c:v>0.52614593201414439</c:v>
                </c:pt>
                <c:pt idx="14">
                  <c:v>0.54328910662737662</c:v>
                </c:pt>
                <c:pt idx="15">
                  <c:v>0.56034703383909801</c:v>
                </c:pt>
                <c:pt idx="16">
                  <c:v>0.57389411412017455</c:v>
                </c:pt>
                <c:pt idx="17">
                  <c:v>0.58711004807733691</c:v>
                </c:pt>
                <c:pt idx="18">
                  <c:v>0.59818964644212513</c:v>
                </c:pt>
                <c:pt idx="19">
                  <c:v>0.60922284403278271</c:v>
                </c:pt>
                <c:pt idx="20">
                  <c:v>0.62001833780569349</c:v>
                </c:pt>
                <c:pt idx="21">
                  <c:v>0.6307455924529588</c:v>
                </c:pt>
                <c:pt idx="22">
                  <c:v>0.63982604310863123</c:v>
                </c:pt>
                <c:pt idx="23">
                  <c:v>0.6487108871461752</c:v>
                </c:pt>
                <c:pt idx="24">
                  <c:v>0.65756148571845063</c:v>
                </c:pt>
                <c:pt idx="25">
                  <c:v>0.66640510242782036</c:v>
                </c:pt>
                <c:pt idx="26">
                  <c:v>0.67467135341191964</c:v>
                </c:pt>
                <c:pt idx="27">
                  <c:v>0.6826832127813599</c:v>
                </c:pt>
                <c:pt idx="28">
                  <c:v>0.69049104151447727</c:v>
                </c:pt>
                <c:pt idx="29">
                  <c:v>0.69827128616627876</c:v>
                </c:pt>
                <c:pt idx="30">
                  <c:v>0.70576815874952403</c:v>
                </c:pt>
                <c:pt idx="31">
                  <c:v>0.71319003925775604</c:v>
                </c:pt>
                <c:pt idx="32">
                  <c:v>0.72031577432201754</c:v>
                </c:pt>
                <c:pt idx="33">
                  <c:v>0.72736090892958738</c:v>
                </c:pt>
                <c:pt idx="34">
                  <c:v>0.73432322261914806</c:v>
                </c:pt>
                <c:pt idx="35">
                  <c:v>0.7410654359420259</c:v>
                </c:pt>
                <c:pt idx="36">
                  <c:v>0.7475244603271779</c:v>
                </c:pt>
                <c:pt idx="37">
                  <c:v>0.75369292475868399</c:v>
                </c:pt>
                <c:pt idx="38">
                  <c:v>0.75985072181932434</c:v>
                </c:pt>
                <c:pt idx="39">
                  <c:v>0.76597674568090524</c:v>
                </c:pt>
                <c:pt idx="40">
                  <c:v>0.77188253182768052</c:v>
                </c:pt>
                <c:pt idx="41">
                  <c:v>0.77770522236020112</c:v>
                </c:pt>
                <c:pt idx="42">
                  <c:v>0.78307491589258793</c:v>
                </c:pt>
                <c:pt idx="43">
                  <c:v>0.78833946943702105</c:v>
                </c:pt>
                <c:pt idx="44">
                  <c:v>0.79358999058158142</c:v>
                </c:pt>
                <c:pt idx="45">
                  <c:v>0.79875137279448671</c:v>
                </c:pt>
                <c:pt idx="46">
                  <c:v>0.803797451258356</c:v>
                </c:pt>
                <c:pt idx="47">
                  <c:v>0.80880994810621654</c:v>
                </c:pt>
                <c:pt idx="48">
                  <c:v>0.81354502463750622</c:v>
                </c:pt>
                <c:pt idx="49">
                  <c:v>0.81809378844030578</c:v>
                </c:pt>
                <c:pt idx="50">
                  <c:v>0.82259306113621322</c:v>
                </c:pt>
                <c:pt idx="51">
                  <c:v>0.82705373900963208</c:v>
                </c:pt>
                <c:pt idx="52">
                  <c:v>0.83146634504009365</c:v>
                </c:pt>
                <c:pt idx="53">
                  <c:v>0.83584214177366223</c:v>
                </c:pt>
                <c:pt idx="54">
                  <c:v>0.84009938418595675</c:v>
                </c:pt>
                <c:pt idx="55">
                  <c:v>0.84435447481099513</c:v>
                </c:pt>
                <c:pt idx="56">
                  <c:v>0.84839008313590292</c:v>
                </c:pt>
                <c:pt idx="57">
                  <c:v>0.8522987131213422</c:v>
                </c:pt>
                <c:pt idx="58">
                  <c:v>0.85604476871217083</c:v>
                </c:pt>
                <c:pt idx="59">
                  <c:v>0.85966794351585918</c:v>
                </c:pt>
                <c:pt idx="60">
                  <c:v>0.86318057597209963</c:v>
                </c:pt>
                <c:pt idx="61">
                  <c:v>0.86666853154895529</c:v>
                </c:pt>
                <c:pt idx="62">
                  <c:v>0.86989174861923924</c:v>
                </c:pt>
                <c:pt idx="63">
                  <c:v>0.87302216414126188</c:v>
                </c:pt>
                <c:pt idx="64">
                  <c:v>0.87608383692785563</c:v>
                </c:pt>
                <c:pt idx="65">
                  <c:v>0.87907108992328087</c:v>
                </c:pt>
                <c:pt idx="66">
                  <c:v>0.88205120081632382</c:v>
                </c:pt>
                <c:pt idx="67">
                  <c:v>0.88494528600182709</c:v>
                </c:pt>
                <c:pt idx="68">
                  <c:v>0.8877940691981816</c:v>
                </c:pt>
                <c:pt idx="69">
                  <c:v>0.89052512216199842</c:v>
                </c:pt>
                <c:pt idx="70">
                  <c:v>0.89324143309397497</c:v>
                </c:pt>
                <c:pt idx="71">
                  <c:v>0.89588865792021588</c:v>
                </c:pt>
                <c:pt idx="72">
                  <c:v>0.89852507802746828</c:v>
                </c:pt>
                <c:pt idx="73">
                  <c:v>0.90110834441122223</c:v>
                </c:pt>
                <c:pt idx="74">
                  <c:v>0.90367020737918335</c:v>
                </c:pt>
                <c:pt idx="75">
                  <c:v>0.90603985164937673</c:v>
                </c:pt>
                <c:pt idx="76">
                  <c:v>0.90821521699996144</c:v>
                </c:pt>
                <c:pt idx="77">
                  <c:v>0.91028313033585984</c:v>
                </c:pt>
                <c:pt idx="78">
                  <c:v>0.91232231502275285</c:v>
                </c:pt>
                <c:pt idx="79">
                  <c:v>0.91436104188257006</c:v>
                </c:pt>
                <c:pt idx="80">
                  <c:v>0.91633265129307739</c:v>
                </c:pt>
                <c:pt idx="81">
                  <c:v>0.91826497914048255</c:v>
                </c:pt>
                <c:pt idx="82">
                  <c:v>0.92015461461307091</c:v>
                </c:pt>
                <c:pt idx="83">
                  <c:v>0.92204381514993727</c:v>
                </c:pt>
                <c:pt idx="84">
                  <c:v>0.92392946752696625</c:v>
                </c:pt>
                <c:pt idx="85">
                  <c:v>0.9258040404887613</c:v>
                </c:pt>
                <c:pt idx="86">
                  <c:v>0.92752260887448323</c:v>
                </c:pt>
                <c:pt idx="87">
                  <c:v>0.92913848664710685</c:v>
                </c:pt>
                <c:pt idx="88">
                  <c:v>0.93072755864444345</c:v>
                </c:pt>
                <c:pt idx="89">
                  <c:v>0.93228387311450767</c:v>
                </c:pt>
                <c:pt idx="90">
                  <c:v>0.93381905886502448</c:v>
                </c:pt>
                <c:pt idx="91">
                  <c:v>0.93535046754216611</c:v>
                </c:pt>
                <c:pt idx="92">
                  <c:v>0.93688054852078795</c:v>
                </c:pt>
                <c:pt idx="93">
                  <c:v>0.93839428507280431</c:v>
                </c:pt>
                <c:pt idx="94">
                  <c:v>0.93989760605884665</c:v>
                </c:pt>
                <c:pt idx="95">
                  <c:v>0.94138059952272413</c:v>
                </c:pt>
                <c:pt idx="96">
                  <c:v>0.94284518833815512</c:v>
                </c:pt>
                <c:pt idx="97">
                  <c:v>0.94425383068492541</c:v>
                </c:pt>
                <c:pt idx="98">
                  <c:v>0.94565283577175052</c:v>
                </c:pt>
                <c:pt idx="99">
                  <c:v>0.94703929639669915</c:v>
                </c:pt>
                <c:pt idx="100">
                  <c:v>0.94837837191930419</c:v>
                </c:pt>
                <c:pt idx="101">
                  <c:v>0.94963146751707705</c:v>
                </c:pt>
                <c:pt idx="102">
                  <c:v>0.95084990560521321</c:v>
                </c:pt>
                <c:pt idx="103">
                  <c:v>0.95206715334295233</c:v>
                </c:pt>
                <c:pt idx="104">
                  <c:v>0.9532283401552617</c:v>
                </c:pt>
                <c:pt idx="105">
                  <c:v>0.95435670076623746</c:v>
                </c:pt>
                <c:pt idx="106">
                  <c:v>0.95542405591936508</c:v>
                </c:pt>
                <c:pt idx="107">
                  <c:v>0.95648081237568827</c:v>
                </c:pt>
                <c:pt idx="108">
                  <c:v>0.95753379175863629</c:v>
                </c:pt>
                <c:pt idx="109">
                  <c:v>0.9585593701910986</c:v>
                </c:pt>
                <c:pt idx="110">
                  <c:v>0.9595500622003863</c:v>
                </c:pt>
                <c:pt idx="111">
                  <c:v>0.96053427595655161</c:v>
                </c:pt>
                <c:pt idx="112">
                  <c:v>0.96150397659441456</c:v>
                </c:pt>
                <c:pt idx="113">
                  <c:v>0.9624617508369534</c:v>
                </c:pt>
                <c:pt idx="114">
                  <c:v>0.96341751064035874</c:v>
                </c:pt>
                <c:pt idx="115">
                  <c:v>0.96429850728228872</c:v>
                </c:pt>
                <c:pt idx="116">
                  <c:v>0.96511776594304932</c:v>
                </c:pt>
                <c:pt idx="117">
                  <c:v>0.96589094430863232</c:v>
                </c:pt>
                <c:pt idx="118">
                  <c:v>0.96666279497569552</c:v>
                </c:pt>
                <c:pt idx="119">
                  <c:v>0.96742656499487112</c:v>
                </c:pt>
                <c:pt idx="120">
                  <c:v>0.96818168208231448</c:v>
                </c:pt>
                <c:pt idx="121">
                  <c:v>0.96890575849401972</c:v>
                </c:pt>
                <c:pt idx="122">
                  <c:v>0.96961765670550915</c:v>
                </c:pt>
                <c:pt idx="123">
                  <c:v>0.97029826243636874</c:v>
                </c:pt>
                <c:pt idx="124">
                  <c:v>0.97096897910239144</c:v>
                </c:pt>
                <c:pt idx="125">
                  <c:v>0.97161989474738641</c:v>
                </c:pt>
                <c:pt idx="126">
                  <c:v>0.97223546614213097</c:v>
                </c:pt>
                <c:pt idx="127">
                  <c:v>0.97284916044586478</c:v>
                </c:pt>
                <c:pt idx="128">
                  <c:v>0.97342673219331932</c:v>
                </c:pt>
                <c:pt idx="129">
                  <c:v>0.97399915338617127</c:v>
                </c:pt>
                <c:pt idx="130">
                  <c:v>0.9745643638025796</c:v>
                </c:pt>
                <c:pt idx="131">
                  <c:v>0.97512884169566671</c:v>
                </c:pt>
                <c:pt idx="132">
                  <c:v>0.97568844373039676</c:v>
                </c:pt>
                <c:pt idx="133">
                  <c:v>0.97623511215023595</c:v>
                </c:pt>
                <c:pt idx="134">
                  <c:v>0.97678134563435315</c:v>
                </c:pt>
                <c:pt idx="135">
                  <c:v>0.97732213097626852</c:v>
                </c:pt>
                <c:pt idx="136">
                  <c:v>0.97782590099910682</c:v>
                </c:pt>
                <c:pt idx="137">
                  <c:v>0.97832383372672882</c:v>
                </c:pt>
                <c:pt idx="138">
                  <c:v>0.97881844720805145</c:v>
                </c:pt>
                <c:pt idx="139">
                  <c:v>0.97931274021042103</c:v>
                </c:pt>
                <c:pt idx="140">
                  <c:v>0.97980245494203277</c:v>
                </c:pt>
                <c:pt idx="141">
                  <c:v>0.98027385659061317</c:v>
                </c:pt>
                <c:pt idx="142">
                  <c:v>0.9807359185668475</c:v>
                </c:pt>
                <c:pt idx="143">
                  <c:v>0.98118392525185538</c:v>
                </c:pt>
                <c:pt idx="144">
                  <c:v>0.98163042110751308</c:v>
                </c:pt>
                <c:pt idx="145">
                  <c:v>0.9820760242003731</c:v>
                </c:pt>
                <c:pt idx="146">
                  <c:v>0.98249862148267497</c:v>
                </c:pt>
                <c:pt idx="147">
                  <c:v>0.98290508036055546</c:v>
                </c:pt>
                <c:pt idx="148">
                  <c:v>0.98329528637724561</c:v>
                </c:pt>
                <c:pt idx="149">
                  <c:v>0.983673199736951</c:v>
                </c:pt>
                <c:pt idx="150">
                  <c:v>0.98404882396127746</c:v>
                </c:pt>
                <c:pt idx="151">
                  <c:v>0.98441616151553224</c:v>
                </c:pt>
                <c:pt idx="152">
                  <c:v>0.98477832562383072</c:v>
                </c:pt>
                <c:pt idx="153">
                  <c:v>0.98513650663656982</c:v>
                </c:pt>
                <c:pt idx="154">
                  <c:v>0.98547106377219851</c:v>
                </c:pt>
                <c:pt idx="155">
                  <c:v>0.98580449923149149</c:v>
                </c:pt>
                <c:pt idx="156">
                  <c:v>0.98612864080114615</c:v>
                </c:pt>
                <c:pt idx="157">
                  <c:v>0.98644948601585514</c:v>
                </c:pt>
                <c:pt idx="158">
                  <c:v>0.98676030481760446</c:v>
                </c:pt>
                <c:pt idx="159">
                  <c:v>0.98706631643505804</c:v>
                </c:pt>
                <c:pt idx="160">
                  <c:v>0.98737214492168135</c:v>
                </c:pt>
                <c:pt idx="161">
                  <c:v>0.98767646257895458</c:v>
                </c:pt>
                <c:pt idx="162">
                  <c:v>0.98796530568106633</c:v>
                </c:pt>
                <c:pt idx="163">
                  <c:v>0.98823872001072421</c:v>
                </c:pt>
                <c:pt idx="164">
                  <c:v>0.98851133314299944</c:v>
                </c:pt>
                <c:pt idx="165">
                  <c:v>0.98878387760121333</c:v>
                </c:pt>
                <c:pt idx="166">
                  <c:v>0.98904621251563718</c:v>
                </c:pt>
                <c:pt idx="167">
                  <c:v>0.98929842945168622</c:v>
                </c:pt>
                <c:pt idx="168">
                  <c:v>0.98954233682630977</c:v>
                </c:pt>
                <c:pt idx="169">
                  <c:v>0.98978349723847869</c:v>
                </c:pt>
                <c:pt idx="170">
                  <c:v>0.99002310103858993</c:v>
                </c:pt>
                <c:pt idx="171">
                  <c:v>0.99025821813335846</c:v>
                </c:pt>
                <c:pt idx="172">
                  <c:v>0.99049008465588895</c:v>
                </c:pt>
                <c:pt idx="173">
                  <c:v>0.99071306933314929</c:v>
                </c:pt>
                <c:pt idx="174">
                  <c:v>0.99093571064010277</c:v>
                </c:pt>
                <c:pt idx="175">
                  <c:v>0.99115709292259779</c:v>
                </c:pt>
                <c:pt idx="176">
                  <c:v>0.99136167295141164</c:v>
                </c:pt>
                <c:pt idx="177">
                  <c:v>0.9915622469933123</c:v>
                </c:pt>
                <c:pt idx="178">
                  <c:v>0.99174675130485301</c:v>
                </c:pt>
                <c:pt idx="179">
                  <c:v>0.99192358701287431</c:v>
                </c:pt>
                <c:pt idx="180">
                  <c:v>0.99209373844558923</c:v>
                </c:pt>
                <c:pt idx="181">
                  <c:v>0.9922579152349652</c:v>
                </c:pt>
                <c:pt idx="182">
                  <c:v>0.99241852097314998</c:v>
                </c:pt>
                <c:pt idx="183">
                  <c:v>0.99257608216128079</c:v>
                </c:pt>
                <c:pt idx="184">
                  <c:v>0.99273224697683049</c:v>
                </c:pt>
                <c:pt idx="185">
                  <c:v>0.99288683228896879</c:v>
                </c:pt>
                <c:pt idx="186">
                  <c:v>0.99303601524161278</c:v>
                </c:pt>
                <c:pt idx="187">
                  <c:v>0.99318469458447345</c:v>
                </c:pt>
                <c:pt idx="188">
                  <c:v>0.99331332110141479</c:v>
                </c:pt>
                <c:pt idx="189">
                  <c:v>0.99344068859389778</c:v>
                </c:pt>
                <c:pt idx="190">
                  <c:v>0.99356732356305943</c:v>
                </c:pt>
                <c:pt idx="191">
                  <c:v>0.99369311155213091</c:v>
                </c:pt>
                <c:pt idx="192">
                  <c:v>0.99381542005542645</c:v>
                </c:pt>
                <c:pt idx="193">
                  <c:v>0.99393585146771124</c:v>
                </c:pt>
                <c:pt idx="194">
                  <c:v>0.99405424554950883</c:v>
                </c:pt>
                <c:pt idx="195">
                  <c:v>0.99417156373767834</c:v>
                </c:pt>
                <c:pt idx="196">
                  <c:v>0.99428640965963866</c:v>
                </c:pt>
                <c:pt idx="197">
                  <c:v>0.99440045438421631</c:v>
                </c:pt>
                <c:pt idx="198">
                  <c:v>0.99451340032381208</c:v>
                </c:pt>
                <c:pt idx="199">
                  <c:v>0.9946244462810433</c:v>
                </c:pt>
                <c:pt idx="200">
                  <c:v>0.9947264730448816</c:v>
                </c:pt>
                <c:pt idx="201">
                  <c:v>0.99482554682408109</c:v>
                </c:pt>
                <c:pt idx="202">
                  <c:v>0.9949226519468547</c:v>
                </c:pt>
                <c:pt idx="203">
                  <c:v>0.99501959683015184</c:v>
                </c:pt>
                <c:pt idx="204">
                  <c:v>0.99511608388637318</c:v>
                </c:pt>
                <c:pt idx="205">
                  <c:v>0.99520970952337084</c:v>
                </c:pt>
                <c:pt idx="206">
                  <c:v>0.99530125204717368</c:v>
                </c:pt>
                <c:pt idx="207">
                  <c:v>0.9953920849390091</c:v>
                </c:pt>
                <c:pt idx="208">
                  <c:v>0.99548271180866044</c:v>
                </c:pt>
                <c:pt idx="209">
                  <c:v>0.99556947003952134</c:v>
                </c:pt>
                <c:pt idx="210">
                  <c:v>0.99565599935684446</c:v>
                </c:pt>
                <c:pt idx="211">
                  <c:v>0.99574030821284998</c:v>
                </c:pt>
                <c:pt idx="212">
                  <c:v>0.99582386165418046</c:v>
                </c:pt>
                <c:pt idx="213">
                  <c:v>0.99590398139244252</c:v>
                </c:pt>
                <c:pt idx="214">
                  <c:v>0.99598373486904401</c:v>
                </c:pt>
                <c:pt idx="215">
                  <c:v>0.99606019199069984</c:v>
                </c:pt>
                <c:pt idx="216">
                  <c:v>0.99613399371531608</c:v>
                </c:pt>
                <c:pt idx="217">
                  <c:v>0.99620763520045585</c:v>
                </c:pt>
                <c:pt idx="218">
                  <c:v>0.99628093331528877</c:v>
                </c:pt>
                <c:pt idx="219">
                  <c:v>0.99635120977142155</c:v>
                </c:pt>
                <c:pt idx="220">
                  <c:v>0.99641921998352923</c:v>
                </c:pt>
                <c:pt idx="221">
                  <c:v>0.99648583382305567</c:v>
                </c:pt>
                <c:pt idx="222">
                  <c:v>0.99655176092196851</c:v>
                </c:pt>
                <c:pt idx="223">
                  <c:v>0.99661606273476233</c:v>
                </c:pt>
                <c:pt idx="224">
                  <c:v>0.99667999828589549</c:v>
                </c:pt>
                <c:pt idx="225">
                  <c:v>0.99674388805432101</c:v>
                </c:pt>
                <c:pt idx="226">
                  <c:v>0.99680770914868522</c:v>
                </c:pt>
                <c:pt idx="227">
                  <c:v>0.99687043145806753</c:v>
                </c:pt>
                <c:pt idx="228">
                  <c:v>0.9969303610222876</c:v>
                </c:pt>
                <c:pt idx="229">
                  <c:v>0.9969901303470311</c:v>
                </c:pt>
                <c:pt idx="230">
                  <c:v>0.99704962497552918</c:v>
                </c:pt>
                <c:pt idx="231">
                  <c:v>0.99710884490778173</c:v>
                </c:pt>
                <c:pt idx="232">
                  <c:v>0.99716751544754334</c:v>
                </c:pt>
                <c:pt idx="233">
                  <c:v>0.99722565948616781</c:v>
                </c:pt>
                <c:pt idx="234">
                  <c:v>0.99728343726313162</c:v>
                </c:pt>
                <c:pt idx="235">
                  <c:v>0.99733940662314613</c:v>
                </c:pt>
                <c:pt idx="236">
                  <c:v>0.99739205673686127</c:v>
                </c:pt>
                <c:pt idx="237">
                  <c:v>0.99744456950245364</c:v>
                </c:pt>
                <c:pt idx="238">
                  <c:v>0.99749584613494136</c:v>
                </c:pt>
                <c:pt idx="239">
                  <c:v>0.99754636735275404</c:v>
                </c:pt>
                <c:pt idx="240">
                  <c:v>0.99759466810924924</c:v>
                </c:pt>
                <c:pt idx="241">
                  <c:v>0.99764273995220654</c:v>
                </c:pt>
                <c:pt idx="242">
                  <c:v>0.99773819689750742</c:v>
                </c:pt>
                <c:pt idx="243">
                  <c:v>0.99778434586674636</c:v>
                </c:pt>
                <c:pt idx="244">
                  <c:v>0.99782962496454131</c:v>
                </c:pt>
                <c:pt idx="245">
                  <c:v>0.99787426310443017</c:v>
                </c:pt>
                <c:pt idx="246">
                  <c:v>0.99791787113339858</c:v>
                </c:pt>
                <c:pt idx="247">
                  <c:v>0.99795944183187968</c:v>
                </c:pt>
                <c:pt idx="248">
                  <c:v>0.99800007398485546</c:v>
                </c:pt>
                <c:pt idx="249">
                  <c:v>0.99803981337503345</c:v>
                </c:pt>
                <c:pt idx="250">
                  <c:v>0.99807909493813562</c:v>
                </c:pt>
                <c:pt idx="251">
                  <c:v>0.9981181475876999</c:v>
                </c:pt>
                <c:pt idx="252">
                  <c:v>0.99815587253874449</c:v>
                </c:pt>
                <c:pt idx="253">
                  <c:v>0.99819336857625118</c:v>
                </c:pt>
                <c:pt idx="254">
                  <c:v>0.99823068148292748</c:v>
                </c:pt>
                <c:pt idx="255">
                  <c:v>0.99826753656252809</c:v>
                </c:pt>
                <c:pt idx="256">
                  <c:v>0.99830324707443918</c:v>
                </c:pt>
                <c:pt idx="257">
                  <c:v>0.99833872867281237</c:v>
                </c:pt>
                <c:pt idx="258">
                  <c:v>0.99837398135764766</c:v>
                </c:pt>
                <c:pt idx="259">
                  <c:v>0.99840843284510039</c:v>
                </c:pt>
                <c:pt idx="260">
                  <c:v>0.99844162530809466</c:v>
                </c:pt>
                <c:pt idx="261">
                  <c:v>0.99847349007256914</c:v>
                </c:pt>
                <c:pt idx="262">
                  <c:v>0.99850425605206183</c:v>
                </c:pt>
                <c:pt idx="263">
                  <c:v>0.99853460998718624</c:v>
                </c:pt>
                <c:pt idx="264">
                  <c:v>0.99856478079148037</c:v>
                </c:pt>
                <c:pt idx="265">
                  <c:v>0.99859419618109946</c:v>
                </c:pt>
                <c:pt idx="266">
                  <c:v>0.99862287904739733</c:v>
                </c:pt>
                <c:pt idx="267">
                  <c:v>0.99867406411446991</c:v>
                </c:pt>
                <c:pt idx="268">
                  <c:v>0.99869867231979326</c:v>
                </c:pt>
                <c:pt idx="269">
                  <c:v>0.99872316606834766</c:v>
                </c:pt>
                <c:pt idx="270">
                  <c:v>0.99874688151087321</c:v>
                </c:pt>
                <c:pt idx="271">
                  <c:v>0.99876991021278516</c:v>
                </c:pt>
                <c:pt idx="272">
                  <c:v>0.99883718790157161</c:v>
                </c:pt>
                <c:pt idx="273">
                  <c:v>0.99885907203579405</c:v>
                </c:pt>
                <c:pt idx="274">
                  <c:v>0.99888079593054002</c:v>
                </c:pt>
                <c:pt idx="275">
                  <c:v>0.99890213067227152</c:v>
                </c:pt>
                <c:pt idx="276">
                  <c:v>0.99892316782640378</c:v>
                </c:pt>
                <c:pt idx="277">
                  <c:v>0.99894395317564433</c:v>
                </c:pt>
                <c:pt idx="278">
                  <c:v>0.99896430358916288</c:v>
                </c:pt>
                <c:pt idx="279">
                  <c:v>0.99898424195831326</c:v>
                </c:pt>
                <c:pt idx="280">
                  <c:v>0.99900404297934087</c:v>
                </c:pt>
                <c:pt idx="281">
                  <c:v>0.99902379821766096</c:v>
                </c:pt>
                <c:pt idx="282">
                  <c:v>0.99904302695484382</c:v>
                </c:pt>
                <c:pt idx="283">
                  <c:v>0.99906193521307363</c:v>
                </c:pt>
                <c:pt idx="284">
                  <c:v>0.99908045431828907</c:v>
                </c:pt>
                <c:pt idx="285">
                  <c:v>0.99909876740132042</c:v>
                </c:pt>
                <c:pt idx="286">
                  <c:v>0.99911616483020016</c:v>
                </c:pt>
                <c:pt idx="287">
                  <c:v>0.99913292130117382</c:v>
                </c:pt>
                <c:pt idx="288">
                  <c:v>0.99914894524882625</c:v>
                </c:pt>
                <c:pt idx="289">
                  <c:v>0.99916496919647868</c:v>
                </c:pt>
                <c:pt idx="290">
                  <c:v>0.9991809702527773</c:v>
                </c:pt>
                <c:pt idx="291">
                  <c:v>0.9992119880371616</c:v>
                </c:pt>
                <c:pt idx="292">
                  <c:v>0.99922709633066242</c:v>
                </c:pt>
                <c:pt idx="293">
                  <c:v>0.99925699243871102</c:v>
                </c:pt>
                <c:pt idx="294">
                  <c:v>0.99928629337156116</c:v>
                </c:pt>
                <c:pt idx="295">
                  <c:v>0.99931502202056666</c:v>
                </c:pt>
                <c:pt idx="296">
                  <c:v>0.99932898574637807</c:v>
                </c:pt>
                <c:pt idx="297">
                  <c:v>0.99934272055865159</c:v>
                </c:pt>
                <c:pt idx="298">
                  <c:v>0.99935634091415615</c:v>
                </c:pt>
                <c:pt idx="299">
                  <c:v>0.99939582849944242</c:v>
                </c:pt>
                <c:pt idx="300">
                  <c:v>0.99940841874402642</c:v>
                </c:pt>
                <c:pt idx="301">
                  <c:v>0.999420734292365</c:v>
                </c:pt>
                <c:pt idx="302">
                  <c:v>0.99943298116664225</c:v>
                </c:pt>
                <c:pt idx="303">
                  <c:v>0.99944518225821188</c:v>
                </c:pt>
                <c:pt idx="304">
                  <c:v>0.99945731467572019</c:v>
                </c:pt>
                <c:pt idx="305">
                  <c:v>0.99946921817969059</c:v>
                </c:pt>
                <c:pt idx="306">
                  <c:v>0.99948103011824585</c:v>
                </c:pt>
                <c:pt idx="307">
                  <c:v>0.9994928191654473</c:v>
                </c:pt>
                <c:pt idx="308">
                  <c:v>0.99951625991172743</c:v>
                </c:pt>
                <c:pt idx="309">
                  <c:v>0.99956117274786171</c:v>
                </c:pt>
                <c:pt idx="310">
                  <c:v>0.99957206903226536</c:v>
                </c:pt>
                <c:pt idx="311">
                  <c:v>0.99958269062042349</c:v>
                </c:pt>
                <c:pt idx="312">
                  <c:v>0.99959326642587409</c:v>
                </c:pt>
                <c:pt idx="313">
                  <c:v>0.99960365910049442</c:v>
                </c:pt>
                <c:pt idx="314">
                  <c:v>0.99961400599240713</c:v>
                </c:pt>
                <c:pt idx="315">
                  <c:v>0.99962419264484326</c:v>
                </c:pt>
                <c:pt idx="316">
                  <c:v>0.99963426484051054</c:v>
                </c:pt>
                <c:pt idx="317">
                  <c:v>0.99965406586153815</c:v>
                </c:pt>
                <c:pt idx="318">
                  <c:v>0.99966381757825229</c:v>
                </c:pt>
                <c:pt idx="319">
                  <c:v>0.99967356929496642</c:v>
                </c:pt>
                <c:pt idx="320">
                  <c:v>0.99968295475002</c:v>
                </c:pt>
                <c:pt idx="321">
                  <c:v>0.99970129072440517</c:v>
                </c:pt>
                <c:pt idx="322">
                  <c:v>0.99971017256967531</c:v>
                </c:pt>
                <c:pt idx="323">
                  <c:v>0.9997272037368945</c:v>
                </c:pt>
                <c:pt idx="324">
                  <c:v>0.9997355361896737</c:v>
                </c:pt>
                <c:pt idx="325">
                  <c:v>0.99974352527214616</c:v>
                </c:pt>
                <c:pt idx="326">
                  <c:v>0.99975142278920337</c:v>
                </c:pt>
                <c:pt idx="327">
                  <c:v>0.99975909139272279</c:v>
                </c:pt>
                <c:pt idx="328">
                  <c:v>0.99976664553947325</c:v>
                </c:pt>
                <c:pt idx="329">
                  <c:v>0.99977408522945477</c:v>
                </c:pt>
                <c:pt idx="330">
                  <c:v>0.99978150202808247</c:v>
                </c:pt>
                <c:pt idx="331">
                  <c:v>0.99980235605138434</c:v>
                </c:pt>
                <c:pt idx="332">
                  <c:v>0.99982259200813395</c:v>
                </c:pt>
                <c:pt idx="333">
                  <c:v>0.99984150026636387</c:v>
                </c:pt>
                <c:pt idx="334">
                  <c:v>0.99987000000183157</c:v>
                </c:pt>
                <c:pt idx="335">
                  <c:v>0.99988973234879786</c:v>
                </c:pt>
                <c:pt idx="336">
                  <c:v>0.99989918647791276</c:v>
                </c:pt>
                <c:pt idx="337">
                  <c:v>0.99990374185731679</c:v>
                </c:pt>
                <c:pt idx="338">
                  <c:v>0.99990829723672081</c:v>
                </c:pt>
                <c:pt idx="339">
                  <c:v>0.99992139109108824</c:v>
                </c:pt>
                <c:pt idx="340">
                  <c:v>0.99992548864341646</c:v>
                </c:pt>
                <c:pt idx="341">
                  <c:v>0.99993654516729658</c:v>
                </c:pt>
                <c:pt idx="342">
                  <c:v>0.99993991019630357</c:v>
                </c:pt>
                <c:pt idx="343">
                  <c:v>0.99994934143406478</c:v>
                </c:pt>
                <c:pt idx="344">
                  <c:v>0.99995765099549028</c:v>
                </c:pt>
                <c:pt idx="345">
                  <c:v>0.99996493044599521</c:v>
                </c:pt>
                <c:pt idx="346">
                  <c:v>0.99996918823780001</c:v>
                </c:pt>
                <c:pt idx="347">
                  <c:v>0.99997104243745694</c:v>
                </c:pt>
                <c:pt idx="348">
                  <c:v>0.99997282796305254</c:v>
                </c:pt>
                <c:pt idx="349">
                  <c:v>0.99997461348864813</c:v>
                </c:pt>
                <c:pt idx="350">
                  <c:v>0.99997639901424373</c:v>
                </c:pt>
                <c:pt idx="351">
                  <c:v>0.99998585314335842</c:v>
                </c:pt>
                <c:pt idx="352">
                  <c:v>0.99998969889079503</c:v>
                </c:pt>
                <c:pt idx="353">
                  <c:v>0.99999317837657098</c:v>
                </c:pt>
                <c:pt idx="354">
                  <c:v>0.99999535305518095</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72</c:f>
              <c:strCache>
                <c:ptCount val="271"/>
                <c:pt idx="0">
                  <c:v>Ruinart</c:v>
                </c:pt>
                <c:pt idx="1">
                  <c:v>Nicolas</c:v>
                </c:pt>
                <c:pt idx="2">
                  <c:v>Ruinart</c:v>
                </c:pt>
                <c:pt idx="3">
                  <c:v>Deutz</c:v>
                </c:pt>
                <c:pt idx="4">
                  <c:v>Heidsieck &amp;</c:v>
                </c:pt>
                <c:pt idx="5">
                  <c:v>Ruinart</c:v>
                </c:pt>
                <c:pt idx="6">
                  <c:v>Laurent Per</c:v>
                </c:pt>
                <c:pt idx="7">
                  <c:v>Ruinart</c:v>
                </c:pt>
                <c:pt idx="8">
                  <c:v>De Bligny</c:v>
                </c:pt>
                <c:pt idx="9">
                  <c:v>Malard</c:v>
                </c:pt>
                <c:pt idx="10">
                  <c:v>Ayala</c:v>
                </c:pt>
                <c:pt idx="11">
                  <c:v>Bollinger</c:v>
                </c:pt>
                <c:pt idx="12">
                  <c:v>Taittinger</c:v>
                </c:pt>
                <c:pt idx="13">
                  <c:v>Nicolas Feu</c:v>
                </c:pt>
                <c:pt idx="14">
                  <c:v>Canard Duch</c:v>
                </c:pt>
                <c:pt idx="15">
                  <c:v>Ruinart</c:v>
                </c:pt>
                <c:pt idx="16">
                  <c:v>Ruinart</c:v>
                </c:pt>
                <c:pt idx="17">
                  <c:v>Dom Perigno</c:v>
                </c:pt>
                <c:pt idx="18">
                  <c:v>Deutz</c:v>
                </c:pt>
                <c:pt idx="19">
                  <c:v>Ruinart</c:v>
                </c:pt>
                <c:pt idx="20">
                  <c:v>Demoiselle</c:v>
                </c:pt>
                <c:pt idx="21">
                  <c:v>Dom Perigno</c:v>
                </c:pt>
                <c:pt idx="22">
                  <c:v>Perrier Jou</c:v>
                </c:pt>
                <c:pt idx="23">
                  <c:v>Besserat De</c:v>
                </c:pt>
                <c:pt idx="24">
                  <c:v>Laurent Per</c:v>
                </c:pt>
                <c:pt idx="25">
                  <c:v>Pommery</c:v>
                </c:pt>
                <c:pt idx="26">
                  <c:v>Roederer</c:v>
                </c:pt>
                <c:pt idx="27">
                  <c:v>Laurent Per</c:v>
                </c:pt>
                <c:pt idx="28">
                  <c:v>Deutz</c:v>
                </c:pt>
                <c:pt idx="29">
                  <c:v>Moët &amp; Chan</c:v>
                </c:pt>
                <c:pt idx="30">
                  <c:v>All Others</c:v>
                </c:pt>
                <c:pt idx="31">
                  <c:v>Taittinger</c:v>
                </c:pt>
                <c:pt idx="32">
                  <c:v>Ruinart</c:v>
                </c:pt>
                <c:pt idx="33">
                  <c:v>Veuve Clicq</c:v>
                </c:pt>
                <c:pt idx="34">
                  <c:v>Demoiselle</c:v>
                </c:pt>
                <c:pt idx="35">
                  <c:v>Nicolas</c:v>
                </c:pt>
                <c:pt idx="36">
                  <c:v>Savian</c:v>
                </c:pt>
                <c:pt idx="37">
                  <c:v>Roederer</c:v>
                </c:pt>
                <c:pt idx="38">
                  <c:v>Veuve Clicq</c:v>
                </c:pt>
                <c:pt idx="39">
                  <c:v>Roederer</c:v>
                </c:pt>
                <c:pt idx="40">
                  <c:v>Malard</c:v>
                </c:pt>
                <c:pt idx="41">
                  <c:v>Nicolas</c:v>
                </c:pt>
                <c:pt idx="42">
                  <c:v>Campari: Al</c:v>
                </c:pt>
                <c:pt idx="43">
                  <c:v>Vesselle</c:v>
                </c:pt>
                <c:pt idx="44">
                  <c:v>Besserat De</c:v>
                </c:pt>
                <c:pt idx="45">
                  <c:v>Veuve Clicq</c:v>
                </c:pt>
                <c:pt idx="46">
                  <c:v>Ruinart</c:v>
                </c:pt>
                <c:pt idx="47">
                  <c:v>All Others</c:v>
                </c:pt>
                <c:pt idx="48">
                  <c:v>Krug</c:v>
                </c:pt>
                <c:pt idx="49">
                  <c:v>Nicolas Feu</c:v>
                </c:pt>
                <c:pt idx="50">
                  <c:v>All Others</c:v>
                </c:pt>
                <c:pt idx="51">
                  <c:v>Ruinart</c:v>
                </c:pt>
                <c:pt idx="52">
                  <c:v>Roederer</c:v>
                </c:pt>
                <c:pt idx="53">
                  <c:v>Nicolas</c:v>
                </c:pt>
                <c:pt idx="54">
                  <c:v>Piper Heids</c:v>
                </c:pt>
                <c:pt idx="55">
                  <c:v>Moët &amp; Chan</c:v>
                </c:pt>
                <c:pt idx="56">
                  <c:v>Nicolas Feu</c:v>
                </c:pt>
                <c:pt idx="57">
                  <c:v>Henriot</c:v>
                </c:pt>
                <c:pt idx="58">
                  <c:v>Moët &amp; Chan</c:v>
                </c:pt>
                <c:pt idx="59">
                  <c:v>Bollinger</c:v>
                </c:pt>
                <c:pt idx="60">
                  <c:v>Nicolas Feu</c:v>
                </c:pt>
                <c:pt idx="61">
                  <c:v>De Bligny</c:v>
                </c:pt>
                <c:pt idx="62">
                  <c:v>Pommery</c:v>
                </c:pt>
                <c:pt idx="63">
                  <c:v>Lanson</c:v>
                </c:pt>
                <c:pt idx="64">
                  <c:v>Deutz</c:v>
                </c:pt>
                <c:pt idx="65">
                  <c:v>Roederer</c:v>
                </c:pt>
                <c:pt idx="66">
                  <c:v>Ruinart</c:v>
                </c:pt>
                <c:pt idx="67">
                  <c:v>Malard</c:v>
                </c:pt>
                <c:pt idx="68">
                  <c:v>Canard Duch</c:v>
                </c:pt>
                <c:pt idx="69">
                  <c:v>Nicolas</c:v>
                </c:pt>
                <c:pt idx="70">
                  <c:v>Campari: Al</c:v>
                </c:pt>
                <c:pt idx="71">
                  <c:v>Louis Marti</c:v>
                </c:pt>
                <c:pt idx="72">
                  <c:v>De Venoge</c:v>
                </c:pt>
                <c:pt idx="73">
                  <c:v>Delamotte</c:v>
                </c:pt>
                <c:pt idx="74">
                  <c:v>Roederer</c:v>
                </c:pt>
                <c:pt idx="75">
                  <c:v>Besserat De</c:v>
                </c:pt>
                <c:pt idx="76">
                  <c:v>Malard</c:v>
                </c:pt>
                <c:pt idx="77">
                  <c:v>Malard</c:v>
                </c:pt>
                <c:pt idx="78">
                  <c:v>Deutz</c:v>
                </c:pt>
                <c:pt idx="79">
                  <c:v>Laurent Per</c:v>
                </c:pt>
                <c:pt idx="80">
                  <c:v>Ayala</c:v>
                </c:pt>
                <c:pt idx="81">
                  <c:v>Ruinart</c:v>
                </c:pt>
                <c:pt idx="82">
                  <c:v>Henriot</c:v>
                </c:pt>
                <c:pt idx="83">
                  <c:v>Bollinger</c:v>
                </c:pt>
                <c:pt idx="84">
                  <c:v>Roederer</c:v>
                </c:pt>
                <c:pt idx="85">
                  <c:v>Ruinart</c:v>
                </c:pt>
                <c:pt idx="86">
                  <c:v>Dom Perigno</c:v>
                </c:pt>
                <c:pt idx="87">
                  <c:v>Roederer</c:v>
                </c:pt>
                <c:pt idx="88">
                  <c:v>Henriot</c:v>
                </c:pt>
                <c:pt idx="89">
                  <c:v>Moët &amp; Chan</c:v>
                </c:pt>
                <c:pt idx="90">
                  <c:v>Taittinger</c:v>
                </c:pt>
                <c:pt idx="91">
                  <c:v>Ruinart</c:v>
                </c:pt>
                <c:pt idx="92">
                  <c:v>Perrier Jou</c:v>
                </c:pt>
                <c:pt idx="93">
                  <c:v>Perrier Jou</c:v>
                </c:pt>
                <c:pt idx="94">
                  <c:v>Nicolas</c:v>
                </c:pt>
                <c:pt idx="95">
                  <c:v>Canard Duch</c:v>
                </c:pt>
                <c:pt idx="96">
                  <c:v>Dom Perigno</c:v>
                </c:pt>
                <c:pt idx="97">
                  <c:v>Deutz</c:v>
                </c:pt>
                <c:pt idx="98">
                  <c:v>Ruinart</c:v>
                </c:pt>
                <c:pt idx="99">
                  <c:v>Nicolas</c:v>
                </c:pt>
                <c:pt idx="100">
                  <c:v>Nicolas</c:v>
                </c:pt>
                <c:pt idx="101">
                  <c:v>Vranken</c:v>
                </c:pt>
                <c:pt idx="102">
                  <c:v>Ruinart</c:v>
                </c:pt>
                <c:pt idx="103">
                  <c:v>Roederer</c:v>
                </c:pt>
                <c:pt idx="104">
                  <c:v>Henriot</c:v>
                </c:pt>
                <c:pt idx="105">
                  <c:v>Malard</c:v>
                </c:pt>
                <c:pt idx="106">
                  <c:v>Laurent Per</c:v>
                </c:pt>
                <c:pt idx="107">
                  <c:v>Taittinger</c:v>
                </c:pt>
                <c:pt idx="108">
                  <c:v>Canard Duch</c:v>
                </c:pt>
                <c:pt idx="109">
                  <c:v>Nicolas</c:v>
                </c:pt>
                <c:pt idx="110">
                  <c:v>Moët &amp; Chan</c:v>
                </c:pt>
                <c:pt idx="111">
                  <c:v>Pommery</c:v>
                </c:pt>
                <c:pt idx="112">
                  <c:v>Bollinger</c:v>
                </c:pt>
                <c:pt idx="113">
                  <c:v>Vranken</c:v>
                </c:pt>
                <c:pt idx="114">
                  <c:v>De Venoge</c:v>
                </c:pt>
                <c:pt idx="115">
                  <c:v>De Venoge</c:v>
                </c:pt>
                <c:pt idx="116">
                  <c:v>Ruinart</c:v>
                </c:pt>
                <c:pt idx="117">
                  <c:v>Demoiselle</c:v>
                </c:pt>
                <c:pt idx="118">
                  <c:v>Laurent Per</c:v>
                </c:pt>
                <c:pt idx="119">
                  <c:v>De Venoge</c:v>
                </c:pt>
                <c:pt idx="120">
                  <c:v>Laurent Per</c:v>
                </c:pt>
                <c:pt idx="121">
                  <c:v>Ruinart</c:v>
                </c:pt>
                <c:pt idx="122">
                  <c:v>Nicolas</c:v>
                </c:pt>
                <c:pt idx="123">
                  <c:v>Nicolas</c:v>
                </c:pt>
                <c:pt idx="124">
                  <c:v>Ruinart</c:v>
                </c:pt>
                <c:pt idx="125">
                  <c:v>Piper Heids</c:v>
                </c:pt>
                <c:pt idx="126">
                  <c:v>All Others</c:v>
                </c:pt>
                <c:pt idx="127">
                  <c:v>Canard Duch</c:v>
                </c:pt>
                <c:pt idx="128">
                  <c:v>Laurent Per</c:v>
                </c:pt>
                <c:pt idx="129">
                  <c:v>Nicolas</c:v>
                </c:pt>
                <c:pt idx="130">
                  <c:v>Nicolas</c:v>
                </c:pt>
                <c:pt idx="131">
                  <c:v>Laurent Per</c:v>
                </c:pt>
                <c:pt idx="132">
                  <c:v>Moët &amp; Chan</c:v>
                </c:pt>
                <c:pt idx="133">
                  <c:v>Roederer</c:v>
                </c:pt>
                <c:pt idx="134">
                  <c:v>Nicolas Feu</c:v>
                </c:pt>
                <c:pt idx="135">
                  <c:v>Delamotte</c:v>
                </c:pt>
                <c:pt idx="136">
                  <c:v>Nicolas</c:v>
                </c:pt>
                <c:pt idx="137">
                  <c:v>All Others</c:v>
                </c:pt>
                <c:pt idx="138">
                  <c:v>Roederer</c:v>
                </c:pt>
                <c:pt idx="139">
                  <c:v>Besserat De</c:v>
                </c:pt>
                <c:pt idx="140">
                  <c:v>Ruinart</c:v>
                </c:pt>
                <c:pt idx="141">
                  <c:v>Veuve Clicq</c:v>
                </c:pt>
                <c:pt idx="142">
                  <c:v>Canard Duch</c:v>
                </c:pt>
                <c:pt idx="143">
                  <c:v>Ruinart</c:v>
                </c:pt>
                <c:pt idx="144">
                  <c:v>Dom Perigno</c:v>
                </c:pt>
                <c:pt idx="145">
                  <c:v>Roederer</c:v>
                </c:pt>
                <c:pt idx="146">
                  <c:v>Roederer</c:v>
                </c:pt>
                <c:pt idx="147">
                  <c:v>Deutz</c:v>
                </c:pt>
                <c:pt idx="148">
                  <c:v>Lanson</c:v>
                </c:pt>
                <c:pt idx="149">
                  <c:v>Roederer</c:v>
                </c:pt>
                <c:pt idx="150">
                  <c:v>Piper Heids</c:v>
                </c:pt>
                <c:pt idx="151">
                  <c:v>All Others</c:v>
                </c:pt>
                <c:pt idx="152">
                  <c:v>Krug</c:v>
                </c:pt>
                <c:pt idx="153">
                  <c:v>Pommery</c:v>
                </c:pt>
                <c:pt idx="154">
                  <c:v>Pommery</c:v>
                </c:pt>
                <c:pt idx="155">
                  <c:v>Nicolas</c:v>
                </c:pt>
                <c:pt idx="156">
                  <c:v>Pommery</c:v>
                </c:pt>
                <c:pt idx="157">
                  <c:v>All Others</c:v>
                </c:pt>
                <c:pt idx="158">
                  <c:v>Nicolas</c:v>
                </c:pt>
                <c:pt idx="159">
                  <c:v>Pommery</c:v>
                </c:pt>
                <c:pt idx="160">
                  <c:v>Vranken</c:v>
                </c:pt>
                <c:pt idx="161">
                  <c:v>Bollinger</c:v>
                </c:pt>
                <c:pt idx="162">
                  <c:v>Dom Perigno</c:v>
                </c:pt>
                <c:pt idx="163">
                  <c:v>Krug</c:v>
                </c:pt>
                <c:pt idx="164">
                  <c:v>Canard Duch</c:v>
                </c:pt>
                <c:pt idx="165">
                  <c:v>Nicolas</c:v>
                </c:pt>
                <c:pt idx="166">
                  <c:v>Roederer</c:v>
                </c:pt>
                <c:pt idx="167">
                  <c:v>Deutz</c:v>
                </c:pt>
                <c:pt idx="168">
                  <c:v>All Others</c:v>
                </c:pt>
                <c:pt idx="169">
                  <c:v>Vesselle</c:v>
                </c:pt>
                <c:pt idx="170">
                  <c:v>All Others</c:v>
                </c:pt>
                <c:pt idx="171">
                  <c:v>Veuve Clicq</c:v>
                </c:pt>
                <c:pt idx="172">
                  <c:v>Malard</c:v>
                </c:pt>
                <c:pt idx="173">
                  <c:v>Demoiselle</c:v>
                </c:pt>
                <c:pt idx="174">
                  <c:v>All Others</c:v>
                </c:pt>
                <c:pt idx="175">
                  <c:v>Perrier Jou</c:v>
                </c:pt>
                <c:pt idx="176">
                  <c:v>Nicolas</c:v>
                </c:pt>
                <c:pt idx="177">
                  <c:v>Deutz</c:v>
                </c:pt>
                <c:pt idx="178">
                  <c:v>Nicolas</c:v>
                </c:pt>
                <c:pt idx="179">
                  <c:v>Taittinger</c:v>
                </c:pt>
                <c:pt idx="180">
                  <c:v>Roederer</c:v>
                </c:pt>
                <c:pt idx="181">
                  <c:v>Moët &amp; Chan</c:v>
                </c:pt>
                <c:pt idx="182">
                  <c:v>Taittinger</c:v>
                </c:pt>
                <c:pt idx="183">
                  <c:v>Bollinger</c:v>
                </c:pt>
                <c:pt idx="184">
                  <c:v>Bollinger</c:v>
                </c:pt>
                <c:pt idx="185">
                  <c:v>De Venoge</c:v>
                </c:pt>
                <c:pt idx="186">
                  <c:v>Pommery</c:v>
                </c:pt>
                <c:pt idx="187">
                  <c:v>Veuve Clicq</c:v>
                </c:pt>
                <c:pt idx="188">
                  <c:v>De Venoge</c:v>
                </c:pt>
                <c:pt idx="189">
                  <c:v>Nicolas Feu</c:v>
                </c:pt>
                <c:pt idx="190">
                  <c:v>All Others</c:v>
                </c:pt>
                <c:pt idx="191">
                  <c:v>Moët &amp; Chan</c:v>
                </c:pt>
                <c:pt idx="192">
                  <c:v>Deutz</c:v>
                </c:pt>
                <c:pt idx="193">
                  <c:v>Roederer</c:v>
                </c:pt>
                <c:pt idx="194">
                  <c:v>All Others</c:v>
                </c:pt>
                <c:pt idx="195">
                  <c:v>Vesselle</c:v>
                </c:pt>
                <c:pt idx="196">
                  <c:v>Dom Perigno</c:v>
                </c:pt>
                <c:pt idx="197">
                  <c:v>Louis Marti</c:v>
                </c:pt>
                <c:pt idx="198">
                  <c:v>All Others</c:v>
                </c:pt>
                <c:pt idx="199">
                  <c:v>Besserat De</c:v>
                </c:pt>
                <c:pt idx="200">
                  <c:v>Ayala</c:v>
                </c:pt>
                <c:pt idx="201">
                  <c:v>Piper Heids</c:v>
                </c:pt>
                <c:pt idx="202">
                  <c:v>Pommery</c:v>
                </c:pt>
                <c:pt idx="203">
                  <c:v>Roederer</c:v>
                </c:pt>
                <c:pt idx="204">
                  <c:v>Canard Duch</c:v>
                </c:pt>
                <c:pt idx="205">
                  <c:v>Perrier Jou</c:v>
                </c:pt>
                <c:pt idx="206">
                  <c:v>Henriot</c:v>
                </c:pt>
                <c:pt idx="207">
                  <c:v>De Venoge</c:v>
                </c:pt>
                <c:pt idx="208">
                  <c:v>Perrier Jou</c:v>
                </c:pt>
                <c:pt idx="209">
                  <c:v>All Others</c:v>
                </c:pt>
                <c:pt idx="210">
                  <c:v>Ruinart</c:v>
                </c:pt>
                <c:pt idx="211">
                  <c:v>Roederer</c:v>
                </c:pt>
                <c:pt idx="212">
                  <c:v>Krug</c:v>
                </c:pt>
                <c:pt idx="213">
                  <c:v>Demoiselle</c:v>
                </c:pt>
                <c:pt idx="214">
                  <c:v>All Others</c:v>
                </c:pt>
                <c:pt idx="215">
                  <c:v>Ruinart</c:v>
                </c:pt>
                <c:pt idx="216">
                  <c:v>Veuve Clicq</c:v>
                </c:pt>
                <c:pt idx="217">
                  <c:v>Ruinart</c:v>
                </c:pt>
                <c:pt idx="218">
                  <c:v>Bollinger</c:v>
                </c:pt>
                <c:pt idx="219">
                  <c:v>De Venoge</c:v>
                </c:pt>
                <c:pt idx="220">
                  <c:v>De Venoge</c:v>
                </c:pt>
                <c:pt idx="221">
                  <c:v>Roederer</c:v>
                </c:pt>
                <c:pt idx="222">
                  <c:v>Bollinger</c:v>
                </c:pt>
                <c:pt idx="223">
                  <c:v>Laurent Per</c:v>
                </c:pt>
                <c:pt idx="224">
                  <c:v>Taittinger</c:v>
                </c:pt>
                <c:pt idx="225">
                  <c:v>Pommery</c:v>
                </c:pt>
                <c:pt idx="226">
                  <c:v>All Others</c:v>
                </c:pt>
                <c:pt idx="227">
                  <c:v>Nicolas</c:v>
                </c:pt>
                <c:pt idx="228">
                  <c:v>All Others</c:v>
                </c:pt>
                <c:pt idx="229">
                  <c:v>Laurent Per</c:v>
                </c:pt>
                <c:pt idx="230">
                  <c:v>Bollinger</c:v>
                </c:pt>
                <c:pt idx="231">
                  <c:v>Nicolas Feu</c:v>
                </c:pt>
                <c:pt idx="232">
                  <c:v>Roederer</c:v>
                </c:pt>
                <c:pt idx="233">
                  <c:v>De Venoge</c:v>
                </c:pt>
                <c:pt idx="234">
                  <c:v>Ruinart</c:v>
                </c:pt>
                <c:pt idx="235">
                  <c:v>Roederer</c:v>
                </c:pt>
                <c:pt idx="236">
                  <c:v>Canard Duch</c:v>
                </c:pt>
                <c:pt idx="237">
                  <c:v>Ruinart</c:v>
                </c:pt>
                <c:pt idx="238">
                  <c:v>Laurent Per</c:v>
                </c:pt>
                <c:pt idx="239">
                  <c:v>Moët &amp; Chan</c:v>
                </c:pt>
                <c:pt idx="240">
                  <c:v>Lanson</c:v>
                </c:pt>
                <c:pt idx="241">
                  <c:v>Henriot</c:v>
                </c:pt>
                <c:pt idx="242">
                  <c:v>All Others</c:v>
                </c:pt>
                <c:pt idx="243">
                  <c:v>Roederer</c:v>
                </c:pt>
                <c:pt idx="244">
                  <c:v>Demoiselle</c:v>
                </c:pt>
                <c:pt idx="245">
                  <c:v>De Bligny</c:v>
                </c:pt>
                <c:pt idx="246">
                  <c:v>All Others</c:v>
                </c:pt>
                <c:pt idx="247">
                  <c:v>Roederer</c:v>
                </c:pt>
                <c:pt idx="248">
                  <c:v>Laurent Per</c:v>
                </c:pt>
                <c:pt idx="249">
                  <c:v>Bollinger</c:v>
                </c:pt>
                <c:pt idx="250">
                  <c:v>Martel</c:v>
                </c:pt>
                <c:pt idx="251">
                  <c:v>Besserat De</c:v>
                </c:pt>
                <c:pt idx="252">
                  <c:v>Malard</c:v>
                </c:pt>
                <c:pt idx="253">
                  <c:v>Lanson</c:v>
                </c:pt>
                <c:pt idx="254">
                  <c:v>Besserat De</c:v>
                </c:pt>
                <c:pt idx="255">
                  <c:v>All Others</c:v>
                </c:pt>
                <c:pt idx="256">
                  <c:v>Vesselle</c:v>
                </c:pt>
                <c:pt idx="257">
                  <c:v>All Others</c:v>
                </c:pt>
                <c:pt idx="258">
                  <c:v>Roederer</c:v>
                </c:pt>
                <c:pt idx="259">
                  <c:v>Roederer</c:v>
                </c:pt>
                <c:pt idx="260">
                  <c:v>Vranken</c:v>
                </c:pt>
                <c:pt idx="261">
                  <c:v>Nicolas</c:v>
                </c:pt>
                <c:pt idx="262">
                  <c:v>Piper Heids</c:v>
                </c:pt>
                <c:pt idx="263">
                  <c:v>Nicolas Feu</c:v>
                </c:pt>
                <c:pt idx="264">
                  <c:v>Laurent Per</c:v>
                </c:pt>
                <c:pt idx="265">
                  <c:v>Deutz</c:v>
                </c:pt>
                <c:pt idx="266">
                  <c:v>All Others</c:v>
                </c:pt>
                <c:pt idx="267">
                  <c:v>Roederer</c:v>
                </c:pt>
                <c:pt idx="268">
                  <c:v>Nicolas</c:v>
                </c:pt>
                <c:pt idx="269">
                  <c:v>All Others</c:v>
                </c:pt>
                <c:pt idx="270">
                  <c:v>Bollinger</c:v>
                </c:pt>
              </c:strCache>
            </c:strRef>
          </c:cat>
          <c:val>
            <c:numRef>
              <c:f>Sheet1!$B$2:$B$272</c:f>
              <c:numCache>
                <c:formatCode>General</c:formatCode>
                <c:ptCount val="271"/>
                <c:pt idx="0">
                  <c:v>1</c:v>
                </c:pt>
                <c:pt idx="1">
                  <c:v>1</c:v>
                </c:pt>
                <c:pt idx="2">
                  <c:v>0.89</c:v>
                </c:pt>
                <c:pt idx="3">
                  <c:v>1</c:v>
                </c:pt>
                <c:pt idx="4">
                  <c:v>0.99</c:v>
                </c:pt>
                <c:pt idx="5">
                  <c:v>0.85</c:v>
                </c:pt>
                <c:pt idx="6">
                  <c:v>1</c:v>
                </c:pt>
                <c:pt idx="7">
                  <c:v>0.81</c:v>
                </c:pt>
                <c:pt idx="8">
                  <c:v>0.93</c:v>
                </c:pt>
                <c:pt idx="9">
                  <c:v>0.98</c:v>
                </c:pt>
                <c:pt idx="10">
                  <c:v>0.94</c:v>
                </c:pt>
                <c:pt idx="11">
                  <c:v>0.88</c:v>
                </c:pt>
                <c:pt idx="12">
                  <c:v>0.92</c:v>
                </c:pt>
                <c:pt idx="13">
                  <c:v>1</c:v>
                </c:pt>
                <c:pt idx="14">
                  <c:v>0.95</c:v>
                </c:pt>
                <c:pt idx="15">
                  <c:v>0.73</c:v>
                </c:pt>
                <c:pt idx="16">
                  <c:v>0.79</c:v>
                </c:pt>
                <c:pt idx="17">
                  <c:v>0.48</c:v>
                </c:pt>
                <c:pt idx="18">
                  <c:v>0.81</c:v>
                </c:pt>
                <c:pt idx="19">
                  <c:v>0.52</c:v>
                </c:pt>
                <c:pt idx="20">
                  <c:v>0.95</c:v>
                </c:pt>
                <c:pt idx="21">
                  <c:v>0.5</c:v>
                </c:pt>
                <c:pt idx="22">
                  <c:v>0.8</c:v>
                </c:pt>
                <c:pt idx="23">
                  <c:v>0.82</c:v>
                </c:pt>
                <c:pt idx="24">
                  <c:v>0.81</c:v>
                </c:pt>
                <c:pt idx="25">
                  <c:v>0.75</c:v>
                </c:pt>
                <c:pt idx="26">
                  <c:v>0.79</c:v>
                </c:pt>
                <c:pt idx="27">
                  <c:v>0.93</c:v>
                </c:pt>
                <c:pt idx="28">
                  <c:v>0.77</c:v>
                </c:pt>
                <c:pt idx="29">
                  <c:v>0.86</c:v>
                </c:pt>
                <c:pt idx="30">
                  <c:v>0.74</c:v>
                </c:pt>
                <c:pt idx="31">
                  <c:v>0.6</c:v>
                </c:pt>
                <c:pt idx="32">
                  <c:v>0.59</c:v>
                </c:pt>
                <c:pt idx="33">
                  <c:v>0.7</c:v>
                </c:pt>
                <c:pt idx="34">
                  <c:v>0.89</c:v>
                </c:pt>
                <c:pt idx="35">
                  <c:v>0.73</c:v>
                </c:pt>
                <c:pt idx="36">
                  <c:v>0.79</c:v>
                </c:pt>
                <c:pt idx="37">
                  <c:v>0.71</c:v>
                </c:pt>
                <c:pt idx="38">
                  <c:v>0.73</c:v>
                </c:pt>
                <c:pt idx="39">
                  <c:v>0.28000000000000003</c:v>
                </c:pt>
                <c:pt idx="40">
                  <c:v>0.63</c:v>
                </c:pt>
                <c:pt idx="41">
                  <c:v>0.86</c:v>
                </c:pt>
                <c:pt idx="42">
                  <c:v>0.71</c:v>
                </c:pt>
                <c:pt idx="43">
                  <c:v>0.59</c:v>
                </c:pt>
                <c:pt idx="44">
                  <c:v>0.48</c:v>
                </c:pt>
                <c:pt idx="45">
                  <c:v>0.6</c:v>
                </c:pt>
                <c:pt idx="46">
                  <c:v>0.45</c:v>
                </c:pt>
                <c:pt idx="47">
                  <c:v>0.56000000000000005</c:v>
                </c:pt>
                <c:pt idx="48">
                  <c:v>0.3</c:v>
                </c:pt>
                <c:pt idx="49">
                  <c:v>0.55000000000000004</c:v>
                </c:pt>
                <c:pt idx="50">
                  <c:v>0.59</c:v>
                </c:pt>
                <c:pt idx="51">
                  <c:v>0.56000000000000005</c:v>
                </c:pt>
                <c:pt idx="52">
                  <c:v>0.38</c:v>
                </c:pt>
                <c:pt idx="53">
                  <c:v>0.78</c:v>
                </c:pt>
                <c:pt idx="54">
                  <c:v>0.6</c:v>
                </c:pt>
                <c:pt idx="55">
                  <c:v>0.73</c:v>
                </c:pt>
                <c:pt idx="56">
                  <c:v>0.56999999999999995</c:v>
                </c:pt>
                <c:pt idx="57">
                  <c:v>0.56000000000000005</c:v>
                </c:pt>
                <c:pt idx="58">
                  <c:v>0.61</c:v>
                </c:pt>
                <c:pt idx="59">
                  <c:v>0.38</c:v>
                </c:pt>
                <c:pt idx="60">
                  <c:v>0.54</c:v>
                </c:pt>
                <c:pt idx="61">
                  <c:v>0.51</c:v>
                </c:pt>
                <c:pt idx="62">
                  <c:v>0.49</c:v>
                </c:pt>
                <c:pt idx="63">
                  <c:v>0.69</c:v>
                </c:pt>
                <c:pt idx="64">
                  <c:v>0.84</c:v>
                </c:pt>
                <c:pt idx="65">
                  <c:v>0.3</c:v>
                </c:pt>
                <c:pt idx="66">
                  <c:v>0.3</c:v>
                </c:pt>
                <c:pt idx="67">
                  <c:v>0.5</c:v>
                </c:pt>
                <c:pt idx="68">
                  <c:v>0.77</c:v>
                </c:pt>
                <c:pt idx="69">
                  <c:v>0.39</c:v>
                </c:pt>
                <c:pt idx="70">
                  <c:v>0.43</c:v>
                </c:pt>
                <c:pt idx="71">
                  <c:v>0.37</c:v>
                </c:pt>
                <c:pt idx="72">
                  <c:v>0.54</c:v>
                </c:pt>
                <c:pt idx="73">
                  <c:v>0.36</c:v>
                </c:pt>
                <c:pt idx="74">
                  <c:v>0.27</c:v>
                </c:pt>
                <c:pt idx="75">
                  <c:v>0.31</c:v>
                </c:pt>
                <c:pt idx="76">
                  <c:v>0.42</c:v>
                </c:pt>
                <c:pt idx="77">
                  <c:v>0.42</c:v>
                </c:pt>
                <c:pt idx="78">
                  <c:v>0.24</c:v>
                </c:pt>
                <c:pt idx="79">
                  <c:v>0.31</c:v>
                </c:pt>
                <c:pt idx="80">
                  <c:v>0.32</c:v>
                </c:pt>
                <c:pt idx="81">
                  <c:v>0.23</c:v>
                </c:pt>
                <c:pt idx="82">
                  <c:v>0.37</c:v>
                </c:pt>
                <c:pt idx="83">
                  <c:v>0.28000000000000003</c:v>
                </c:pt>
                <c:pt idx="84">
                  <c:v>0.35</c:v>
                </c:pt>
                <c:pt idx="85">
                  <c:v>0.4</c:v>
                </c:pt>
                <c:pt idx="86">
                  <c:v>0.28000000000000003</c:v>
                </c:pt>
                <c:pt idx="87">
                  <c:v>0.23</c:v>
                </c:pt>
                <c:pt idx="88">
                  <c:v>0.56000000000000005</c:v>
                </c:pt>
                <c:pt idx="89">
                  <c:v>0.64</c:v>
                </c:pt>
                <c:pt idx="90">
                  <c:v>0.14000000000000001</c:v>
                </c:pt>
                <c:pt idx="91">
                  <c:v>0.2</c:v>
                </c:pt>
                <c:pt idx="92">
                  <c:v>0.28000000000000003</c:v>
                </c:pt>
                <c:pt idx="93">
                  <c:v>0.15</c:v>
                </c:pt>
                <c:pt idx="94">
                  <c:v>0.44</c:v>
                </c:pt>
                <c:pt idx="95">
                  <c:v>0.3</c:v>
                </c:pt>
                <c:pt idx="96">
                  <c:v>0.17</c:v>
                </c:pt>
                <c:pt idx="97">
                  <c:v>0.37</c:v>
                </c:pt>
                <c:pt idx="98">
                  <c:v>0.36</c:v>
                </c:pt>
                <c:pt idx="99">
                  <c:v>0.37</c:v>
                </c:pt>
                <c:pt idx="100">
                  <c:v>0.43</c:v>
                </c:pt>
                <c:pt idx="101">
                  <c:v>0.23</c:v>
                </c:pt>
                <c:pt idx="102">
                  <c:v>0.22</c:v>
                </c:pt>
                <c:pt idx="103">
                  <c:v>0.22</c:v>
                </c:pt>
                <c:pt idx="104">
                  <c:v>0.3</c:v>
                </c:pt>
                <c:pt idx="105">
                  <c:v>0.28000000000000003</c:v>
                </c:pt>
                <c:pt idx="106">
                  <c:v>0.31</c:v>
                </c:pt>
                <c:pt idx="107">
                  <c:v>0.24</c:v>
                </c:pt>
                <c:pt idx="108">
                  <c:v>0.41</c:v>
                </c:pt>
                <c:pt idx="109">
                  <c:v>0.2</c:v>
                </c:pt>
                <c:pt idx="110">
                  <c:v>0.28000000000000003</c:v>
                </c:pt>
                <c:pt idx="111">
                  <c:v>0.5</c:v>
                </c:pt>
                <c:pt idx="112">
                  <c:v>0.24</c:v>
                </c:pt>
                <c:pt idx="113">
                  <c:v>0.3</c:v>
                </c:pt>
                <c:pt idx="114">
                  <c:v>0.37</c:v>
                </c:pt>
                <c:pt idx="115">
                  <c:v>0.16</c:v>
                </c:pt>
                <c:pt idx="116">
                  <c:v>0.17</c:v>
                </c:pt>
                <c:pt idx="117">
                  <c:v>0.28000000000000003</c:v>
                </c:pt>
                <c:pt idx="118">
                  <c:v>0.16</c:v>
                </c:pt>
                <c:pt idx="119">
                  <c:v>0.23</c:v>
                </c:pt>
                <c:pt idx="120">
                  <c:v>0.21</c:v>
                </c:pt>
                <c:pt idx="121">
                  <c:v>0.21</c:v>
                </c:pt>
                <c:pt idx="122">
                  <c:v>0.19</c:v>
                </c:pt>
                <c:pt idx="123">
                  <c:v>0.26</c:v>
                </c:pt>
                <c:pt idx="124">
                  <c:v>0.15</c:v>
                </c:pt>
                <c:pt idx="125">
                  <c:v>0.06</c:v>
                </c:pt>
                <c:pt idx="126">
                  <c:v>0.22</c:v>
                </c:pt>
                <c:pt idx="127">
                  <c:v>0.19</c:v>
                </c:pt>
                <c:pt idx="128">
                  <c:v>0.25</c:v>
                </c:pt>
                <c:pt idx="129">
                  <c:v>0.25</c:v>
                </c:pt>
                <c:pt idx="130">
                  <c:v>0.41</c:v>
                </c:pt>
                <c:pt idx="131">
                  <c:v>0.17</c:v>
                </c:pt>
                <c:pt idx="132">
                  <c:v>0.31</c:v>
                </c:pt>
                <c:pt idx="133">
                  <c:v>0.25</c:v>
                </c:pt>
                <c:pt idx="134">
                  <c:v>0.28000000000000003</c:v>
                </c:pt>
                <c:pt idx="135">
                  <c:v>0.2</c:v>
                </c:pt>
                <c:pt idx="136">
                  <c:v>0.17</c:v>
                </c:pt>
                <c:pt idx="137">
                  <c:v>0.3</c:v>
                </c:pt>
                <c:pt idx="138">
                  <c:v>0.06</c:v>
                </c:pt>
                <c:pt idx="139">
                  <c:v>0.32</c:v>
                </c:pt>
                <c:pt idx="140">
                  <c:v>0.2</c:v>
                </c:pt>
                <c:pt idx="141">
                  <c:v>0.23</c:v>
                </c:pt>
                <c:pt idx="142">
                  <c:v>0.28000000000000003</c:v>
                </c:pt>
                <c:pt idx="143">
                  <c:v>0.14000000000000001</c:v>
                </c:pt>
                <c:pt idx="144">
                  <c:v>7.0000000000000007E-2</c:v>
                </c:pt>
                <c:pt idx="145">
                  <c:v>0.31</c:v>
                </c:pt>
                <c:pt idx="146">
                  <c:v>0.17</c:v>
                </c:pt>
                <c:pt idx="147">
                  <c:v>0.15</c:v>
                </c:pt>
                <c:pt idx="148">
                  <c:v>0.21</c:v>
                </c:pt>
                <c:pt idx="149">
                  <c:v>0.19</c:v>
                </c:pt>
                <c:pt idx="150">
                  <c:v>0.08</c:v>
                </c:pt>
                <c:pt idx="151">
                  <c:v>0.14000000000000001</c:v>
                </c:pt>
                <c:pt idx="152">
                  <c:v>0.14000000000000001</c:v>
                </c:pt>
                <c:pt idx="153">
                  <c:v>0.22</c:v>
                </c:pt>
                <c:pt idx="154">
                  <c:v>0.23</c:v>
                </c:pt>
                <c:pt idx="155">
                  <c:v>0.16</c:v>
                </c:pt>
                <c:pt idx="156">
                  <c:v>0.18</c:v>
                </c:pt>
                <c:pt idx="157">
                  <c:v>0.19</c:v>
                </c:pt>
                <c:pt idx="158">
                  <c:v>0.2</c:v>
                </c:pt>
                <c:pt idx="159">
                  <c:v>0.2</c:v>
                </c:pt>
                <c:pt idx="160">
                  <c:v>0.12</c:v>
                </c:pt>
                <c:pt idx="161">
                  <c:v>0.08</c:v>
                </c:pt>
                <c:pt idx="162">
                  <c:v>0.17</c:v>
                </c:pt>
                <c:pt idx="163">
                  <c:v>0.09</c:v>
                </c:pt>
                <c:pt idx="164">
                  <c:v>0.15</c:v>
                </c:pt>
                <c:pt idx="165">
                  <c:v>0.09</c:v>
                </c:pt>
                <c:pt idx="166">
                  <c:v>0.05</c:v>
                </c:pt>
                <c:pt idx="167">
                  <c:v>0.08</c:v>
                </c:pt>
                <c:pt idx="168">
                  <c:v>0.11</c:v>
                </c:pt>
                <c:pt idx="169">
                  <c:v>0.27</c:v>
                </c:pt>
                <c:pt idx="170">
                  <c:v>0.08</c:v>
                </c:pt>
                <c:pt idx="171">
                  <c:v>0.13</c:v>
                </c:pt>
                <c:pt idx="172">
                  <c:v>0.13</c:v>
                </c:pt>
                <c:pt idx="173">
                  <c:v>0.16</c:v>
                </c:pt>
                <c:pt idx="174">
                  <c:v>0.08</c:v>
                </c:pt>
                <c:pt idx="175">
                  <c:v>0.14000000000000001</c:v>
                </c:pt>
                <c:pt idx="176">
                  <c:v>0.14000000000000001</c:v>
                </c:pt>
                <c:pt idx="177">
                  <c:v>0.14000000000000001</c:v>
                </c:pt>
                <c:pt idx="178">
                  <c:v>0.08</c:v>
                </c:pt>
                <c:pt idx="179">
                  <c:v>0.1</c:v>
                </c:pt>
                <c:pt idx="180">
                  <c:v>0.14000000000000001</c:v>
                </c:pt>
                <c:pt idx="181">
                  <c:v>0.16</c:v>
                </c:pt>
                <c:pt idx="182">
                  <c:v>0.05</c:v>
                </c:pt>
                <c:pt idx="183">
                  <c:v>0.03</c:v>
                </c:pt>
                <c:pt idx="184">
                  <c:v>0.06</c:v>
                </c:pt>
                <c:pt idx="185">
                  <c:v>0.09</c:v>
                </c:pt>
                <c:pt idx="186">
                  <c:v>0.13</c:v>
                </c:pt>
                <c:pt idx="187">
                  <c:v>0.2</c:v>
                </c:pt>
                <c:pt idx="188">
                  <c:v>7.0000000000000007E-2</c:v>
                </c:pt>
                <c:pt idx="189">
                  <c:v>0.1</c:v>
                </c:pt>
                <c:pt idx="190">
                  <c:v>0.03</c:v>
                </c:pt>
                <c:pt idx="191">
                  <c:v>0.22</c:v>
                </c:pt>
                <c:pt idx="192">
                  <c:v>0.09</c:v>
                </c:pt>
                <c:pt idx="193">
                  <c:v>0.04</c:v>
                </c:pt>
                <c:pt idx="194">
                  <c:v>0.06</c:v>
                </c:pt>
                <c:pt idx="195">
                  <c:v>0.14000000000000001</c:v>
                </c:pt>
                <c:pt idx="196">
                  <c:v>7.0000000000000007E-2</c:v>
                </c:pt>
                <c:pt idx="197">
                  <c:v>0.13</c:v>
                </c:pt>
                <c:pt idx="198">
                  <c:v>0.17</c:v>
                </c:pt>
                <c:pt idx="199">
                  <c:v>7.0000000000000007E-2</c:v>
                </c:pt>
                <c:pt idx="200">
                  <c:v>7.0000000000000007E-2</c:v>
                </c:pt>
                <c:pt idx="201">
                  <c:v>0.06</c:v>
                </c:pt>
                <c:pt idx="202">
                  <c:v>0.06</c:v>
                </c:pt>
                <c:pt idx="203">
                  <c:v>0.04</c:v>
                </c:pt>
                <c:pt idx="204">
                  <c:v>0.16</c:v>
                </c:pt>
                <c:pt idx="205">
                  <c:v>0.13</c:v>
                </c:pt>
                <c:pt idx="206">
                  <c:v>0.05</c:v>
                </c:pt>
                <c:pt idx="207">
                  <c:v>0.03</c:v>
                </c:pt>
                <c:pt idx="208">
                  <c:v>0.02</c:v>
                </c:pt>
                <c:pt idx="209">
                  <c:v>0.03</c:v>
                </c:pt>
                <c:pt idx="210">
                  <c:v>0.02</c:v>
                </c:pt>
                <c:pt idx="211">
                  <c:v>0.08</c:v>
                </c:pt>
                <c:pt idx="212">
                  <c:v>0.16</c:v>
                </c:pt>
                <c:pt idx="213">
                  <c:v>0.15</c:v>
                </c:pt>
                <c:pt idx="214">
                  <c:v>0.14000000000000001</c:v>
                </c:pt>
                <c:pt idx="215">
                  <c:v>0.01</c:v>
                </c:pt>
                <c:pt idx="216">
                  <c:v>0.17</c:v>
                </c:pt>
                <c:pt idx="217">
                  <c:v>0.02</c:v>
                </c:pt>
                <c:pt idx="218">
                  <c:v>0.17</c:v>
                </c:pt>
                <c:pt idx="219">
                  <c:v>0.04</c:v>
                </c:pt>
                <c:pt idx="220">
                  <c:v>7.0000000000000007E-2</c:v>
                </c:pt>
                <c:pt idx="221">
                  <c:v>0.02</c:v>
                </c:pt>
                <c:pt idx="222">
                  <c:v>0.04</c:v>
                </c:pt>
                <c:pt idx="223">
                  <c:v>7.0000000000000007E-2</c:v>
                </c:pt>
                <c:pt idx="224">
                  <c:v>0.14000000000000001</c:v>
                </c:pt>
                <c:pt idx="225">
                  <c:v>0.05</c:v>
                </c:pt>
                <c:pt idx="226">
                  <c:v>0.08</c:v>
                </c:pt>
                <c:pt idx="227">
                  <c:v>0.04</c:v>
                </c:pt>
                <c:pt idx="228">
                  <c:v>0.03</c:v>
                </c:pt>
                <c:pt idx="229">
                  <c:v>0.02</c:v>
                </c:pt>
                <c:pt idx="230">
                  <c:v>0.05</c:v>
                </c:pt>
                <c:pt idx="231">
                  <c:v>0.08</c:v>
                </c:pt>
                <c:pt idx="232">
                  <c:v>0.04</c:v>
                </c:pt>
                <c:pt idx="233">
                  <c:v>0.03</c:v>
                </c:pt>
                <c:pt idx="234">
                  <c:v>0.03</c:v>
                </c:pt>
                <c:pt idx="235">
                  <c:v>0.02</c:v>
                </c:pt>
                <c:pt idx="236">
                  <c:v>0.04</c:v>
                </c:pt>
                <c:pt idx="237">
                  <c:v>0.01</c:v>
                </c:pt>
                <c:pt idx="238">
                  <c:v>0.03</c:v>
                </c:pt>
                <c:pt idx="239">
                  <c:v>0.03</c:v>
                </c:pt>
                <c:pt idx="240">
                  <c:v>0.03</c:v>
                </c:pt>
                <c:pt idx="241">
                  <c:v>0.06</c:v>
                </c:pt>
                <c:pt idx="242">
                  <c:v>0.17</c:v>
                </c:pt>
                <c:pt idx="243">
                  <c:v>0.03</c:v>
                </c:pt>
                <c:pt idx="244">
                  <c:v>0.05</c:v>
                </c:pt>
                <c:pt idx="245">
                  <c:v>0.02</c:v>
                </c:pt>
                <c:pt idx="246">
                  <c:v>0.02</c:v>
                </c:pt>
                <c:pt idx="247">
                  <c:v>0.01</c:v>
                </c:pt>
                <c:pt idx="248">
                  <c:v>0.02</c:v>
                </c:pt>
                <c:pt idx="249">
                  <c:v>0.05</c:v>
                </c:pt>
                <c:pt idx="250">
                  <c:v>0.06</c:v>
                </c:pt>
                <c:pt idx="251">
                  <c:v>0.03</c:v>
                </c:pt>
                <c:pt idx="252">
                  <c:v>0.03</c:v>
                </c:pt>
                <c:pt idx="253">
                  <c:v>0.01</c:v>
                </c:pt>
                <c:pt idx="254">
                  <c:v>7.0000000000000007E-2</c:v>
                </c:pt>
                <c:pt idx="255">
                  <c:v>0.08</c:v>
                </c:pt>
                <c:pt idx="256">
                  <c:v>0.17</c:v>
                </c:pt>
                <c:pt idx="257">
                  <c:v>0.19</c:v>
                </c:pt>
                <c:pt idx="258">
                  <c:v>0.02</c:v>
                </c:pt>
                <c:pt idx="259">
                  <c:v>0.02</c:v>
                </c:pt>
                <c:pt idx="260">
                  <c:v>0.08</c:v>
                </c:pt>
                <c:pt idx="261">
                  <c:v>0.03</c:v>
                </c:pt>
                <c:pt idx="262">
                  <c:v>0.03</c:v>
                </c:pt>
                <c:pt idx="263">
                  <c:v>0.01</c:v>
                </c:pt>
                <c:pt idx="264">
                  <c:v>0.01</c:v>
                </c:pt>
                <c:pt idx="265">
                  <c:v>0.08</c:v>
                </c:pt>
                <c:pt idx="266">
                  <c:v>0.04</c:v>
                </c:pt>
                <c:pt idx="267">
                  <c:v>0.01</c:v>
                </c:pt>
                <c:pt idx="268">
                  <c:v>0.02</c:v>
                </c:pt>
                <c:pt idx="269">
                  <c:v>0.02</c:v>
                </c:pt>
                <c:pt idx="270">
                  <c:v>0.05</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7ECAC4"/>
              </a:solidFill>
            </c:spPr>
            <c:extLst>
              <c:ext xmlns:c16="http://schemas.microsoft.com/office/drawing/2014/chart" uri="{C3380CC4-5D6E-409C-BE32-E72D297353CC}">
                <c16:uniqueId val="{0000008D-2993-41DE-A2CB-63102DE87051}"/>
              </c:ext>
            </c:extLst>
          </c:dPt>
          <c:dPt>
            <c:idx val="43"/>
            <c:invertIfNegative val="1"/>
            <c:bubble3D val="0"/>
            <c:spPr>
              <a:solidFill>
                <a:srgbClr val="7ECAC4"/>
              </a:solidFill>
            </c:spPr>
            <c:extLst>
              <c:ext xmlns:c16="http://schemas.microsoft.com/office/drawing/2014/chart" uri="{C3380CC4-5D6E-409C-BE32-E72D297353CC}">
                <c16:uniqueId val="{0000008F-2993-41DE-A2CB-63102DE87051}"/>
              </c:ext>
            </c:extLst>
          </c:dPt>
          <c:dPt>
            <c:idx val="44"/>
            <c:invertIfNegative val="1"/>
            <c:bubble3D val="0"/>
            <c:spPr>
              <a:solidFill>
                <a:srgbClr val="7ECAC4"/>
              </a:solidFill>
            </c:spPr>
            <c:extLst>
              <c:ext xmlns:c16="http://schemas.microsoft.com/office/drawing/2014/chart" uri="{C3380CC4-5D6E-409C-BE32-E72D297353CC}">
                <c16:uniqueId val="{00000091-2993-41DE-A2CB-63102DE87051}"/>
              </c:ext>
            </c:extLst>
          </c:dPt>
          <c:dPt>
            <c:idx val="45"/>
            <c:invertIfNegative val="1"/>
            <c:bubble3D val="0"/>
            <c:spPr>
              <a:solidFill>
                <a:srgbClr val="7ECAC4"/>
              </a:solidFill>
            </c:spPr>
            <c:extLst>
              <c:ext xmlns:c16="http://schemas.microsoft.com/office/drawing/2014/chart" uri="{C3380CC4-5D6E-409C-BE32-E72D297353CC}">
                <c16:uniqueId val="{00000093-2993-41DE-A2CB-63102DE87051}"/>
              </c:ext>
            </c:extLst>
          </c:dPt>
          <c:dPt>
            <c:idx val="46"/>
            <c:invertIfNegative val="1"/>
            <c:bubble3D val="0"/>
            <c:spPr>
              <a:solidFill>
                <a:srgbClr val="7ECAC4"/>
              </a:solidFill>
            </c:spPr>
            <c:extLst>
              <c:ext xmlns:c16="http://schemas.microsoft.com/office/drawing/2014/chart" uri="{C3380CC4-5D6E-409C-BE32-E72D297353CC}">
                <c16:uniqueId val="{00000095-2993-41DE-A2CB-63102DE87051}"/>
              </c:ext>
            </c:extLst>
          </c:dPt>
          <c:dPt>
            <c:idx val="47"/>
            <c:invertIfNegative val="1"/>
            <c:bubble3D val="0"/>
            <c:spPr>
              <a:solidFill>
                <a:srgbClr val="7ECAC4"/>
              </a:solidFill>
            </c:spPr>
            <c:extLst>
              <c:ext xmlns:c16="http://schemas.microsoft.com/office/drawing/2014/chart" uri="{C3380CC4-5D6E-409C-BE32-E72D297353CC}">
                <c16:uniqueId val="{00000097-2993-41DE-A2CB-63102DE87051}"/>
              </c:ext>
            </c:extLst>
          </c:dPt>
          <c:dPt>
            <c:idx val="48"/>
            <c:invertIfNegative val="1"/>
            <c:bubble3D val="0"/>
            <c:spPr>
              <a:solidFill>
                <a:srgbClr val="7ECAC4"/>
              </a:solidFill>
            </c:spPr>
            <c:extLst>
              <c:ext xmlns:c16="http://schemas.microsoft.com/office/drawing/2014/chart" uri="{C3380CC4-5D6E-409C-BE32-E72D297353CC}">
                <c16:uniqueId val="{00000099-2993-41DE-A2CB-63102DE87051}"/>
              </c:ext>
            </c:extLst>
          </c:dPt>
          <c:dPt>
            <c:idx val="49"/>
            <c:invertIfNegative val="1"/>
            <c:bubble3D val="0"/>
            <c:spPr>
              <a:solidFill>
                <a:srgbClr val="7ECAC4"/>
              </a:solidFill>
            </c:spPr>
            <c:extLst>
              <c:ext xmlns:c16="http://schemas.microsoft.com/office/drawing/2014/chart" uri="{C3380CC4-5D6E-409C-BE32-E72D297353CC}">
                <c16:uniqueId val="{0000009B-2993-41DE-A2CB-63102DE87051}"/>
              </c:ext>
            </c:extLst>
          </c:dPt>
          <c:dPt>
            <c:idx val="50"/>
            <c:invertIfNegative val="1"/>
            <c:bubble3D val="0"/>
            <c:spPr>
              <a:solidFill>
                <a:srgbClr val="7ECAC4"/>
              </a:solidFill>
            </c:spPr>
            <c:extLst>
              <c:ext xmlns:c16="http://schemas.microsoft.com/office/drawing/2014/chart" uri="{C3380CC4-5D6E-409C-BE32-E72D297353CC}">
                <c16:uniqueId val="{0000009D-2993-41DE-A2CB-63102DE87051}"/>
              </c:ext>
            </c:extLst>
          </c:dPt>
          <c:dPt>
            <c:idx val="51"/>
            <c:invertIfNegative val="1"/>
            <c:bubble3D val="0"/>
            <c:spPr>
              <a:solidFill>
                <a:srgbClr val="7ECAC4"/>
              </a:solidFill>
            </c:spPr>
            <c:extLst>
              <c:ext xmlns:c16="http://schemas.microsoft.com/office/drawing/2014/chart" uri="{C3380CC4-5D6E-409C-BE32-E72D297353CC}">
                <c16:uniqueId val="{0000009F-2993-41DE-A2CB-63102DE87051}"/>
              </c:ext>
            </c:extLst>
          </c:dPt>
          <c:dPt>
            <c:idx val="52"/>
            <c:invertIfNegative val="1"/>
            <c:bubble3D val="0"/>
            <c:spPr>
              <a:solidFill>
                <a:srgbClr val="7ECAC4"/>
              </a:solidFill>
            </c:spPr>
            <c:extLst>
              <c:ext xmlns:c16="http://schemas.microsoft.com/office/drawing/2014/chart" uri="{C3380CC4-5D6E-409C-BE32-E72D297353CC}">
                <c16:uniqueId val="{000000A1-2993-41DE-A2CB-63102DE87051}"/>
              </c:ext>
            </c:extLst>
          </c:dPt>
          <c:dPt>
            <c:idx val="53"/>
            <c:invertIfNegative val="1"/>
            <c:bubble3D val="0"/>
            <c:spPr>
              <a:solidFill>
                <a:srgbClr val="7ECAC4"/>
              </a:solidFill>
            </c:spPr>
            <c:extLst>
              <c:ext xmlns:c16="http://schemas.microsoft.com/office/drawing/2014/chart" uri="{C3380CC4-5D6E-409C-BE32-E72D297353CC}">
                <c16:uniqueId val="{000000A3-2993-41DE-A2CB-63102DE87051}"/>
              </c:ext>
            </c:extLst>
          </c:dPt>
          <c:dPt>
            <c:idx val="54"/>
            <c:invertIfNegative val="0"/>
            <c:bubble3D val="0"/>
            <c:spPr>
              <a:solidFill>
                <a:srgbClr val="7ECAC4"/>
              </a:solidFill>
            </c:spPr>
            <c:extLst>
              <c:ext xmlns:c16="http://schemas.microsoft.com/office/drawing/2014/chart" uri="{C3380CC4-5D6E-409C-BE32-E72D297353CC}">
                <c16:uniqueId val="{00000072-C76F-4230-900D-40618C09729F}"/>
              </c:ext>
            </c:extLst>
          </c:dPt>
          <c:dPt>
            <c:idx val="55"/>
            <c:invertIfNegative val="0"/>
            <c:bubble3D val="0"/>
            <c:spPr>
              <a:solidFill>
                <a:srgbClr val="7ECAC4"/>
              </a:solidFill>
            </c:spPr>
            <c:extLst>
              <c:ext xmlns:c16="http://schemas.microsoft.com/office/drawing/2014/chart" uri="{C3380CC4-5D6E-409C-BE32-E72D297353CC}">
                <c16:uniqueId val="{00000074-C76F-4230-900D-40618C09729F}"/>
              </c:ext>
            </c:extLst>
          </c:dPt>
          <c:dPt>
            <c:idx val="56"/>
            <c:invertIfNegative val="0"/>
            <c:bubble3D val="0"/>
            <c:spPr>
              <a:solidFill>
                <a:srgbClr val="7ECAC4"/>
              </a:solidFill>
            </c:spPr>
            <c:extLst>
              <c:ext xmlns:c16="http://schemas.microsoft.com/office/drawing/2014/chart" uri="{C3380CC4-5D6E-409C-BE32-E72D297353CC}">
                <c16:uniqueId val="{00000076-C76F-4230-900D-40618C09729F}"/>
              </c:ext>
            </c:extLst>
          </c:dPt>
          <c:dPt>
            <c:idx val="57"/>
            <c:invertIfNegative val="0"/>
            <c:bubble3D val="0"/>
            <c:spPr>
              <a:solidFill>
                <a:srgbClr val="7ECAC4"/>
              </a:solidFill>
            </c:spPr>
            <c:extLst>
              <c:ext xmlns:c16="http://schemas.microsoft.com/office/drawing/2014/chart" uri="{C3380CC4-5D6E-409C-BE32-E72D297353CC}">
                <c16:uniqueId val="{00000078-C76F-4230-900D-40618C09729F}"/>
              </c:ext>
            </c:extLst>
          </c:dPt>
          <c:dPt>
            <c:idx val="58"/>
            <c:invertIfNegative val="0"/>
            <c:bubble3D val="0"/>
            <c:spPr>
              <a:solidFill>
                <a:srgbClr val="7ECAC4"/>
              </a:solidFill>
            </c:spPr>
            <c:extLst>
              <c:ext xmlns:c16="http://schemas.microsoft.com/office/drawing/2014/chart" uri="{C3380CC4-5D6E-409C-BE32-E72D297353CC}">
                <c16:uniqueId val="{0000007A-C76F-4230-900D-40618C09729F}"/>
              </c:ext>
            </c:extLst>
          </c:dPt>
          <c:dPt>
            <c:idx val="59"/>
            <c:invertIfNegative val="0"/>
            <c:bubble3D val="0"/>
            <c:spPr>
              <a:solidFill>
                <a:srgbClr val="7ECAC4"/>
              </a:solidFill>
            </c:spPr>
            <c:extLst>
              <c:ext xmlns:c16="http://schemas.microsoft.com/office/drawing/2014/chart" uri="{C3380CC4-5D6E-409C-BE32-E72D297353CC}">
                <c16:uniqueId val="{0000007C-C76F-4230-900D-40618C09729F}"/>
              </c:ext>
            </c:extLst>
          </c:dPt>
          <c:dPt>
            <c:idx val="60"/>
            <c:invertIfNegative val="0"/>
            <c:bubble3D val="0"/>
            <c:spPr>
              <a:solidFill>
                <a:srgbClr val="7ECAC4"/>
              </a:solidFill>
            </c:spPr>
            <c:extLst>
              <c:ext xmlns:c16="http://schemas.microsoft.com/office/drawing/2014/chart" uri="{C3380CC4-5D6E-409C-BE32-E72D297353CC}">
                <c16:uniqueId val="{0000007E-C76F-4230-900D-40618C09729F}"/>
              </c:ext>
            </c:extLst>
          </c:dPt>
          <c:dPt>
            <c:idx val="61"/>
            <c:invertIfNegative val="0"/>
            <c:bubble3D val="0"/>
            <c:spPr>
              <a:solidFill>
                <a:srgbClr val="7ECAC4"/>
              </a:solidFill>
            </c:spPr>
            <c:extLst>
              <c:ext xmlns:c16="http://schemas.microsoft.com/office/drawing/2014/chart" uri="{C3380CC4-5D6E-409C-BE32-E72D297353CC}">
                <c16:uniqueId val="{00000080-C76F-4230-900D-40618C09729F}"/>
              </c:ext>
            </c:extLst>
          </c:dPt>
          <c:dPt>
            <c:idx val="62"/>
            <c:invertIfNegative val="0"/>
            <c:bubble3D val="0"/>
            <c:spPr>
              <a:solidFill>
                <a:srgbClr val="7ECAC4"/>
              </a:solidFill>
            </c:spPr>
            <c:extLst>
              <c:ext xmlns:c16="http://schemas.microsoft.com/office/drawing/2014/chart" uri="{C3380CC4-5D6E-409C-BE32-E72D297353CC}">
                <c16:uniqueId val="{00000082-C76F-4230-900D-40618C09729F}"/>
              </c:ext>
            </c:extLst>
          </c:dPt>
          <c:dPt>
            <c:idx val="63"/>
            <c:invertIfNegative val="0"/>
            <c:bubble3D val="0"/>
            <c:spPr>
              <a:solidFill>
                <a:srgbClr val="7ECAC4"/>
              </a:solidFill>
            </c:spPr>
            <c:extLst>
              <c:ext xmlns:c16="http://schemas.microsoft.com/office/drawing/2014/chart" uri="{C3380CC4-5D6E-409C-BE32-E72D297353CC}">
                <c16:uniqueId val="{00000084-C76F-4230-900D-40618C09729F}"/>
              </c:ext>
            </c:extLst>
          </c:dPt>
          <c:dPt>
            <c:idx val="64"/>
            <c:invertIfNegative val="0"/>
            <c:bubble3D val="0"/>
            <c:spPr>
              <a:solidFill>
                <a:srgbClr val="7ECAC4"/>
              </a:solidFill>
            </c:spPr>
            <c:extLst>
              <c:ext xmlns:c16="http://schemas.microsoft.com/office/drawing/2014/chart" uri="{C3380CC4-5D6E-409C-BE32-E72D297353CC}">
                <c16:uniqueId val="{00000086-C76F-4230-900D-40618C09729F}"/>
              </c:ext>
            </c:extLst>
          </c:dPt>
          <c:dPt>
            <c:idx val="65"/>
            <c:invertIfNegative val="0"/>
            <c:bubble3D val="0"/>
            <c:spPr>
              <a:solidFill>
                <a:srgbClr val="7ECAC4"/>
              </a:solidFill>
            </c:spPr>
            <c:extLst>
              <c:ext xmlns:c16="http://schemas.microsoft.com/office/drawing/2014/chart" uri="{C3380CC4-5D6E-409C-BE32-E72D297353CC}">
                <c16:uniqueId val="{00000088-C76F-4230-900D-40618C09729F}"/>
              </c:ext>
            </c:extLst>
          </c:dPt>
          <c:dPt>
            <c:idx val="66"/>
            <c:invertIfNegative val="0"/>
            <c:bubble3D val="0"/>
            <c:spPr>
              <a:solidFill>
                <a:srgbClr val="7ECAC4"/>
              </a:solidFill>
            </c:spPr>
            <c:extLst>
              <c:ext xmlns:c16="http://schemas.microsoft.com/office/drawing/2014/chart" uri="{C3380CC4-5D6E-409C-BE32-E72D297353CC}">
                <c16:uniqueId val="{0000008A-C76F-4230-900D-40618C09729F}"/>
              </c:ext>
            </c:extLst>
          </c:dPt>
          <c:dPt>
            <c:idx val="67"/>
            <c:invertIfNegative val="0"/>
            <c:bubble3D val="0"/>
            <c:spPr>
              <a:solidFill>
                <a:srgbClr val="7ECAC4"/>
              </a:solidFill>
            </c:spPr>
            <c:extLst>
              <c:ext xmlns:c16="http://schemas.microsoft.com/office/drawing/2014/chart" uri="{C3380CC4-5D6E-409C-BE32-E72D297353CC}">
                <c16:uniqueId val="{0000008C-C76F-4230-900D-40618C09729F}"/>
              </c:ext>
            </c:extLst>
          </c:dPt>
          <c:dPt>
            <c:idx val="68"/>
            <c:invertIfNegative val="0"/>
            <c:bubble3D val="0"/>
            <c:spPr>
              <a:solidFill>
                <a:srgbClr val="7ECAC4"/>
              </a:solidFill>
            </c:spPr>
            <c:extLst>
              <c:ext xmlns:c16="http://schemas.microsoft.com/office/drawing/2014/chart" uri="{C3380CC4-5D6E-409C-BE32-E72D297353CC}">
                <c16:uniqueId val="{0000008E-C76F-4230-900D-40618C09729F}"/>
              </c:ext>
            </c:extLst>
          </c:dPt>
          <c:dPt>
            <c:idx val="69"/>
            <c:invertIfNegative val="0"/>
            <c:bubble3D val="0"/>
            <c:spPr>
              <a:solidFill>
                <a:srgbClr val="7ECAC4"/>
              </a:solidFill>
            </c:spPr>
            <c:extLst>
              <c:ext xmlns:c16="http://schemas.microsoft.com/office/drawing/2014/chart" uri="{C3380CC4-5D6E-409C-BE32-E72D297353CC}">
                <c16:uniqueId val="{00000090-C76F-4230-900D-40618C09729F}"/>
              </c:ext>
            </c:extLst>
          </c:dPt>
          <c:dPt>
            <c:idx val="70"/>
            <c:invertIfNegative val="0"/>
            <c:bubble3D val="0"/>
            <c:spPr>
              <a:solidFill>
                <a:srgbClr val="7ECAC4"/>
              </a:solidFill>
            </c:spPr>
            <c:extLst>
              <c:ext xmlns:c16="http://schemas.microsoft.com/office/drawing/2014/chart" uri="{C3380CC4-5D6E-409C-BE32-E72D297353CC}">
                <c16:uniqueId val="{00000092-C76F-4230-900D-40618C09729F}"/>
              </c:ext>
            </c:extLst>
          </c:dPt>
          <c:dPt>
            <c:idx val="71"/>
            <c:invertIfNegative val="0"/>
            <c:bubble3D val="0"/>
            <c:spPr>
              <a:solidFill>
                <a:srgbClr val="7ECAC4"/>
              </a:solidFill>
            </c:spPr>
            <c:extLst>
              <c:ext xmlns:c16="http://schemas.microsoft.com/office/drawing/2014/chart" uri="{C3380CC4-5D6E-409C-BE32-E72D297353CC}">
                <c16:uniqueId val="{00000094-C76F-4230-900D-40618C09729F}"/>
              </c:ext>
            </c:extLst>
          </c:dPt>
          <c:dPt>
            <c:idx val="72"/>
            <c:invertIfNegative val="0"/>
            <c:bubble3D val="0"/>
            <c:spPr>
              <a:solidFill>
                <a:srgbClr val="7ECAC4"/>
              </a:solidFill>
            </c:spPr>
            <c:extLst>
              <c:ext xmlns:c16="http://schemas.microsoft.com/office/drawing/2014/chart" uri="{C3380CC4-5D6E-409C-BE32-E72D297353CC}">
                <c16:uniqueId val="{00000096-C76F-4230-900D-40618C09729F}"/>
              </c:ext>
            </c:extLst>
          </c:dPt>
          <c:dPt>
            <c:idx val="73"/>
            <c:invertIfNegative val="0"/>
            <c:bubble3D val="0"/>
            <c:spPr>
              <a:solidFill>
                <a:srgbClr val="7ECAC4"/>
              </a:solidFill>
            </c:spPr>
            <c:extLst>
              <c:ext xmlns:c16="http://schemas.microsoft.com/office/drawing/2014/chart" uri="{C3380CC4-5D6E-409C-BE32-E72D297353CC}">
                <c16:uniqueId val="{00000098-C76F-4230-900D-40618C09729F}"/>
              </c:ext>
            </c:extLst>
          </c:dPt>
          <c:dPt>
            <c:idx val="74"/>
            <c:invertIfNegative val="0"/>
            <c:bubble3D val="0"/>
            <c:spPr>
              <a:solidFill>
                <a:srgbClr val="7ECAC4"/>
              </a:solidFill>
            </c:spPr>
            <c:extLst>
              <c:ext xmlns:c16="http://schemas.microsoft.com/office/drawing/2014/chart" uri="{C3380CC4-5D6E-409C-BE32-E72D297353CC}">
                <c16:uniqueId val="{0000009A-C76F-4230-900D-40618C09729F}"/>
              </c:ext>
            </c:extLst>
          </c:dPt>
          <c:dPt>
            <c:idx val="75"/>
            <c:invertIfNegative val="0"/>
            <c:bubble3D val="0"/>
            <c:spPr>
              <a:solidFill>
                <a:srgbClr val="7ECAC4"/>
              </a:solidFill>
            </c:spPr>
            <c:extLst>
              <c:ext xmlns:c16="http://schemas.microsoft.com/office/drawing/2014/chart" uri="{C3380CC4-5D6E-409C-BE32-E72D297353CC}">
                <c16:uniqueId val="{0000009C-C76F-4230-900D-40618C09729F}"/>
              </c:ext>
            </c:extLst>
          </c:dPt>
          <c:dPt>
            <c:idx val="76"/>
            <c:invertIfNegative val="0"/>
            <c:bubble3D val="0"/>
            <c:spPr>
              <a:solidFill>
                <a:srgbClr val="7ECAC4"/>
              </a:solidFill>
            </c:spPr>
            <c:extLst>
              <c:ext xmlns:c16="http://schemas.microsoft.com/office/drawing/2014/chart" uri="{C3380CC4-5D6E-409C-BE32-E72D297353CC}">
                <c16:uniqueId val="{0000009E-C76F-4230-900D-40618C09729F}"/>
              </c:ext>
            </c:extLst>
          </c:dPt>
          <c:dPt>
            <c:idx val="77"/>
            <c:invertIfNegative val="0"/>
            <c:bubble3D val="0"/>
            <c:spPr>
              <a:solidFill>
                <a:srgbClr val="7ECAC4"/>
              </a:solidFill>
            </c:spPr>
            <c:extLst>
              <c:ext xmlns:c16="http://schemas.microsoft.com/office/drawing/2014/chart" uri="{C3380CC4-5D6E-409C-BE32-E72D297353CC}">
                <c16:uniqueId val="{000000A0-C76F-4230-900D-40618C09729F}"/>
              </c:ext>
            </c:extLst>
          </c:dPt>
          <c:dPt>
            <c:idx val="78"/>
            <c:invertIfNegative val="0"/>
            <c:bubble3D val="0"/>
            <c:spPr>
              <a:solidFill>
                <a:srgbClr val="7ECAC4"/>
              </a:solidFill>
            </c:spPr>
            <c:extLst>
              <c:ext xmlns:c16="http://schemas.microsoft.com/office/drawing/2014/chart" uri="{C3380CC4-5D6E-409C-BE32-E72D297353CC}">
                <c16:uniqueId val="{000000A2-C76F-4230-900D-40618C09729F}"/>
              </c:ext>
            </c:extLst>
          </c:dPt>
          <c:dPt>
            <c:idx val="79"/>
            <c:invertIfNegative val="0"/>
            <c:bubble3D val="0"/>
            <c:spPr>
              <a:solidFill>
                <a:srgbClr val="7ECAC4"/>
              </a:solidFill>
            </c:spPr>
            <c:extLst>
              <c:ext xmlns:c16="http://schemas.microsoft.com/office/drawing/2014/chart" uri="{C3380CC4-5D6E-409C-BE32-E72D297353CC}">
                <c16:uniqueId val="{000000A4-C76F-4230-900D-40618C09729F}"/>
              </c:ext>
            </c:extLst>
          </c:dPt>
          <c:dPt>
            <c:idx val="80"/>
            <c:invertIfNegative val="0"/>
            <c:bubble3D val="0"/>
            <c:spPr>
              <a:solidFill>
                <a:srgbClr val="7ECAC4"/>
              </a:solidFill>
            </c:spPr>
            <c:extLst>
              <c:ext xmlns:c16="http://schemas.microsoft.com/office/drawing/2014/chart" uri="{C3380CC4-5D6E-409C-BE32-E72D297353CC}">
                <c16:uniqueId val="{000000A6-C76F-4230-900D-40618C09729F}"/>
              </c:ext>
            </c:extLst>
          </c:dPt>
          <c:dPt>
            <c:idx val="81"/>
            <c:invertIfNegative val="1"/>
            <c:bubble3D val="0"/>
            <c:spPr>
              <a:solidFill>
                <a:srgbClr val="7ECAC4"/>
              </a:solidFill>
            </c:spPr>
            <c:extLst>
              <c:ext xmlns:c16="http://schemas.microsoft.com/office/drawing/2014/chart" uri="{C3380CC4-5D6E-409C-BE32-E72D297353CC}">
                <c16:uniqueId val="{000000A5-2993-41DE-A2CB-63102DE87051}"/>
              </c:ext>
            </c:extLst>
          </c:dPt>
          <c:dPt>
            <c:idx val="82"/>
            <c:invertIfNegative val="1"/>
            <c:bubble3D val="0"/>
            <c:spPr>
              <a:solidFill>
                <a:srgbClr val="7ECAC4"/>
              </a:solidFill>
            </c:spPr>
            <c:extLst>
              <c:ext xmlns:c16="http://schemas.microsoft.com/office/drawing/2014/chart" uri="{C3380CC4-5D6E-409C-BE32-E72D297353CC}">
                <c16:uniqueId val="{000000A7-2993-41DE-A2CB-63102DE87051}"/>
              </c:ext>
            </c:extLst>
          </c:dPt>
          <c:dPt>
            <c:idx val="83"/>
            <c:invertIfNegative val="1"/>
            <c:bubble3D val="0"/>
            <c:spPr>
              <a:solidFill>
                <a:srgbClr val="7ECAC4"/>
              </a:solidFill>
            </c:spPr>
            <c:extLst>
              <c:ext xmlns:c16="http://schemas.microsoft.com/office/drawing/2014/chart" uri="{C3380CC4-5D6E-409C-BE32-E72D297353CC}">
                <c16:uniqueId val="{000000A9-2993-41DE-A2CB-63102DE87051}"/>
              </c:ext>
            </c:extLst>
          </c:dPt>
          <c:dPt>
            <c:idx val="84"/>
            <c:invertIfNegative val="1"/>
            <c:bubble3D val="0"/>
            <c:spPr>
              <a:solidFill>
                <a:srgbClr val="7ECAC4"/>
              </a:solidFill>
            </c:spPr>
            <c:extLst>
              <c:ext xmlns:c16="http://schemas.microsoft.com/office/drawing/2014/chart" uri="{C3380CC4-5D6E-409C-BE32-E72D297353CC}">
                <c16:uniqueId val="{000000AB-2993-41DE-A2CB-63102DE87051}"/>
              </c:ext>
            </c:extLst>
          </c:dPt>
          <c:dPt>
            <c:idx val="85"/>
            <c:invertIfNegative val="1"/>
            <c:bubble3D val="0"/>
            <c:spPr>
              <a:solidFill>
                <a:srgbClr val="7ECAC4"/>
              </a:solidFill>
            </c:spPr>
            <c:extLst>
              <c:ext xmlns:c16="http://schemas.microsoft.com/office/drawing/2014/chart" uri="{C3380CC4-5D6E-409C-BE32-E72D297353CC}">
                <c16:uniqueId val="{000000AD-2993-41DE-A2CB-63102DE87051}"/>
              </c:ext>
            </c:extLst>
          </c:dPt>
          <c:dPt>
            <c:idx val="86"/>
            <c:invertIfNegative val="1"/>
            <c:bubble3D val="0"/>
            <c:spPr>
              <a:solidFill>
                <a:srgbClr val="7ECAC4"/>
              </a:solidFill>
            </c:spPr>
            <c:extLst>
              <c:ext xmlns:c16="http://schemas.microsoft.com/office/drawing/2014/chart" uri="{C3380CC4-5D6E-409C-BE32-E72D297353CC}">
                <c16:uniqueId val="{000000AF-2993-41DE-A2CB-63102DE87051}"/>
              </c:ext>
            </c:extLst>
          </c:dPt>
          <c:dPt>
            <c:idx val="87"/>
            <c:invertIfNegative val="1"/>
            <c:bubble3D val="0"/>
            <c:spPr>
              <a:solidFill>
                <a:srgbClr val="7ECAC4"/>
              </a:solidFill>
            </c:spPr>
            <c:extLst>
              <c:ext xmlns:c16="http://schemas.microsoft.com/office/drawing/2014/chart" uri="{C3380CC4-5D6E-409C-BE32-E72D297353CC}">
                <c16:uniqueId val="{000000B1-2993-41DE-A2CB-63102DE87051}"/>
              </c:ext>
            </c:extLst>
          </c:dPt>
          <c:dPt>
            <c:idx val="88"/>
            <c:invertIfNegative val="1"/>
            <c:bubble3D val="0"/>
            <c:spPr>
              <a:solidFill>
                <a:srgbClr val="7ECAC4"/>
              </a:solidFill>
            </c:spPr>
            <c:extLst>
              <c:ext xmlns:c16="http://schemas.microsoft.com/office/drawing/2014/chart" uri="{C3380CC4-5D6E-409C-BE32-E72D297353CC}">
                <c16:uniqueId val="{000000B3-2993-41DE-A2CB-63102DE87051}"/>
              </c:ext>
            </c:extLst>
          </c:dPt>
          <c:dPt>
            <c:idx val="89"/>
            <c:invertIfNegative val="1"/>
            <c:bubble3D val="0"/>
            <c:spPr>
              <a:solidFill>
                <a:srgbClr val="7ECAC4"/>
              </a:solidFill>
            </c:spPr>
            <c:extLst>
              <c:ext xmlns:c16="http://schemas.microsoft.com/office/drawing/2014/chart" uri="{C3380CC4-5D6E-409C-BE32-E72D297353CC}">
                <c16:uniqueId val="{000000B5-2993-41DE-A2CB-63102DE87051}"/>
              </c:ext>
            </c:extLst>
          </c:dPt>
          <c:dPt>
            <c:idx val="90"/>
            <c:invertIfNegative val="1"/>
            <c:bubble3D val="0"/>
            <c:spPr>
              <a:solidFill>
                <a:srgbClr val="7ECAC4"/>
              </a:solidFill>
            </c:spPr>
            <c:extLst>
              <c:ext xmlns:c16="http://schemas.microsoft.com/office/drawing/2014/chart" uri="{C3380CC4-5D6E-409C-BE32-E72D297353CC}">
                <c16:uniqueId val="{000000B7-2993-41DE-A2CB-63102DE87051}"/>
              </c:ext>
            </c:extLst>
          </c:dPt>
          <c:dPt>
            <c:idx val="91"/>
            <c:invertIfNegative val="1"/>
            <c:bubble3D val="0"/>
            <c:spPr>
              <a:solidFill>
                <a:srgbClr val="7ECAC4"/>
              </a:solidFill>
            </c:spPr>
            <c:extLst>
              <c:ext xmlns:c16="http://schemas.microsoft.com/office/drawing/2014/chart" uri="{C3380CC4-5D6E-409C-BE32-E72D297353CC}">
                <c16:uniqueId val="{000000B9-2993-41DE-A2CB-63102DE87051}"/>
              </c:ext>
            </c:extLst>
          </c:dPt>
          <c:dPt>
            <c:idx val="92"/>
            <c:invertIfNegative val="1"/>
            <c:bubble3D val="0"/>
            <c:spPr>
              <a:solidFill>
                <a:srgbClr val="7ECAC4"/>
              </a:solidFill>
            </c:spPr>
            <c:extLst>
              <c:ext xmlns:c16="http://schemas.microsoft.com/office/drawing/2014/chart" uri="{C3380CC4-5D6E-409C-BE32-E72D297353CC}">
                <c16:uniqueId val="{000000BB-2993-41DE-A2CB-63102DE87051}"/>
              </c:ext>
            </c:extLst>
          </c:dPt>
          <c:dPt>
            <c:idx val="93"/>
            <c:invertIfNegative val="1"/>
            <c:bubble3D val="0"/>
            <c:spPr>
              <a:solidFill>
                <a:srgbClr val="7ECAC4"/>
              </a:solidFill>
            </c:spPr>
            <c:extLst>
              <c:ext xmlns:c16="http://schemas.microsoft.com/office/drawing/2014/chart" uri="{C3380CC4-5D6E-409C-BE32-E72D297353CC}">
                <c16:uniqueId val="{000000BD-2993-41DE-A2CB-63102DE87051}"/>
              </c:ext>
            </c:extLst>
          </c:dPt>
          <c:dPt>
            <c:idx val="94"/>
            <c:invertIfNegative val="1"/>
            <c:bubble3D val="0"/>
            <c:spPr>
              <a:solidFill>
                <a:srgbClr val="7ECAC4"/>
              </a:solidFill>
            </c:spPr>
            <c:extLst>
              <c:ext xmlns:c16="http://schemas.microsoft.com/office/drawing/2014/chart" uri="{C3380CC4-5D6E-409C-BE32-E72D297353CC}">
                <c16:uniqueId val="{000000BF-2993-41DE-A2CB-63102DE87051}"/>
              </c:ext>
            </c:extLst>
          </c:dPt>
          <c:dPt>
            <c:idx val="95"/>
            <c:invertIfNegative val="1"/>
            <c:bubble3D val="0"/>
            <c:spPr>
              <a:solidFill>
                <a:srgbClr val="7ECAC4"/>
              </a:solidFill>
            </c:spPr>
            <c:extLst>
              <c:ext xmlns:c16="http://schemas.microsoft.com/office/drawing/2014/chart" uri="{C3380CC4-5D6E-409C-BE32-E72D297353CC}">
                <c16:uniqueId val="{000000C1-2993-41DE-A2CB-63102DE87051}"/>
              </c:ext>
            </c:extLst>
          </c:dPt>
          <c:dPt>
            <c:idx val="96"/>
            <c:invertIfNegative val="1"/>
            <c:bubble3D val="0"/>
            <c:spPr>
              <a:solidFill>
                <a:srgbClr val="7ECAC4"/>
              </a:solidFill>
            </c:spPr>
            <c:extLst>
              <c:ext xmlns:c16="http://schemas.microsoft.com/office/drawing/2014/chart" uri="{C3380CC4-5D6E-409C-BE32-E72D297353CC}">
                <c16:uniqueId val="{000000C3-2993-41DE-A2CB-63102DE87051}"/>
              </c:ext>
            </c:extLst>
          </c:dPt>
          <c:dPt>
            <c:idx val="97"/>
            <c:invertIfNegative val="1"/>
            <c:bubble3D val="0"/>
            <c:spPr>
              <a:solidFill>
                <a:srgbClr val="7ECAC4"/>
              </a:solidFill>
            </c:spPr>
            <c:extLst>
              <c:ext xmlns:c16="http://schemas.microsoft.com/office/drawing/2014/chart" uri="{C3380CC4-5D6E-409C-BE32-E72D297353CC}">
                <c16:uniqueId val="{000000C5-2993-41DE-A2CB-63102DE87051}"/>
              </c:ext>
            </c:extLst>
          </c:dPt>
          <c:dPt>
            <c:idx val="98"/>
            <c:invertIfNegative val="1"/>
            <c:bubble3D val="0"/>
            <c:spPr>
              <a:solidFill>
                <a:srgbClr val="7ECAC4"/>
              </a:solidFill>
            </c:spPr>
            <c:extLst>
              <c:ext xmlns:c16="http://schemas.microsoft.com/office/drawing/2014/chart" uri="{C3380CC4-5D6E-409C-BE32-E72D297353CC}">
                <c16:uniqueId val="{000000C7-2993-41DE-A2CB-63102DE87051}"/>
              </c:ext>
            </c:extLst>
          </c:dPt>
          <c:dPt>
            <c:idx val="99"/>
            <c:invertIfNegative val="1"/>
            <c:bubble3D val="0"/>
            <c:spPr>
              <a:solidFill>
                <a:srgbClr val="7ECAC4"/>
              </a:solidFill>
            </c:spPr>
            <c:extLst>
              <c:ext xmlns:c16="http://schemas.microsoft.com/office/drawing/2014/chart" uri="{C3380CC4-5D6E-409C-BE32-E72D297353CC}">
                <c16:uniqueId val="{000000C9-2993-41DE-A2CB-63102DE87051}"/>
              </c:ext>
            </c:extLst>
          </c:dPt>
          <c:dPt>
            <c:idx val="100"/>
            <c:invertIfNegative val="1"/>
            <c:bubble3D val="0"/>
            <c:spPr>
              <a:solidFill>
                <a:srgbClr val="7ECAC4"/>
              </a:solidFill>
            </c:spPr>
            <c:extLst>
              <c:ext xmlns:c16="http://schemas.microsoft.com/office/drawing/2014/chart" uri="{C3380CC4-5D6E-409C-BE32-E72D297353CC}">
                <c16:uniqueId val="{000000CB-2993-41DE-A2CB-63102DE87051}"/>
              </c:ext>
            </c:extLst>
          </c:dPt>
          <c:dPt>
            <c:idx val="101"/>
            <c:invertIfNegative val="1"/>
            <c:bubble3D val="0"/>
            <c:spPr>
              <a:solidFill>
                <a:srgbClr val="AEABAB"/>
              </a:solidFill>
            </c:spPr>
            <c:extLst>
              <c:ext xmlns:c16="http://schemas.microsoft.com/office/drawing/2014/chart" uri="{C3380CC4-5D6E-409C-BE32-E72D297353CC}">
                <c16:uniqueId val="{000000CD-2993-41DE-A2CB-63102DE87051}"/>
              </c:ext>
            </c:extLst>
          </c:dPt>
          <c:dPt>
            <c:idx val="102"/>
            <c:invertIfNegative val="1"/>
            <c:bubble3D val="0"/>
            <c:spPr>
              <a:solidFill>
                <a:srgbClr val="AEABAB"/>
              </a:solidFill>
            </c:spPr>
            <c:extLst>
              <c:ext xmlns:c16="http://schemas.microsoft.com/office/drawing/2014/chart" uri="{C3380CC4-5D6E-409C-BE32-E72D297353CC}">
                <c16:uniqueId val="{000000CF-2993-41DE-A2CB-63102DE87051}"/>
              </c:ext>
            </c:extLst>
          </c:dPt>
          <c:dPt>
            <c:idx val="103"/>
            <c:invertIfNegative val="1"/>
            <c:bubble3D val="0"/>
            <c:spPr>
              <a:solidFill>
                <a:srgbClr val="AEABAB"/>
              </a:solidFill>
            </c:spPr>
            <c:extLst>
              <c:ext xmlns:c16="http://schemas.microsoft.com/office/drawing/2014/chart" uri="{C3380CC4-5D6E-409C-BE32-E72D297353CC}">
                <c16:uniqueId val="{000000D1-2993-41DE-A2CB-63102DE87051}"/>
              </c:ext>
            </c:extLst>
          </c:dPt>
          <c:dPt>
            <c:idx val="104"/>
            <c:invertIfNegative val="1"/>
            <c:bubble3D val="0"/>
            <c:spPr>
              <a:solidFill>
                <a:srgbClr val="AEABAB"/>
              </a:solidFill>
            </c:spPr>
            <c:extLst>
              <c:ext xmlns:c16="http://schemas.microsoft.com/office/drawing/2014/chart" uri="{C3380CC4-5D6E-409C-BE32-E72D297353CC}">
                <c16:uniqueId val="{000000D3-2993-41DE-A2CB-63102DE87051}"/>
              </c:ext>
            </c:extLst>
          </c:dPt>
          <c:dPt>
            <c:idx val="105"/>
            <c:invertIfNegative val="1"/>
            <c:bubble3D val="0"/>
            <c:spPr>
              <a:solidFill>
                <a:srgbClr val="AEABAB"/>
              </a:solidFill>
            </c:spPr>
            <c:extLst>
              <c:ext xmlns:c16="http://schemas.microsoft.com/office/drawing/2014/chart" uri="{C3380CC4-5D6E-409C-BE32-E72D297353CC}">
                <c16:uniqueId val="{000000D5-2993-41DE-A2CB-63102DE87051}"/>
              </c:ext>
            </c:extLst>
          </c:dPt>
          <c:dPt>
            <c:idx val="106"/>
            <c:invertIfNegative val="1"/>
            <c:bubble3D val="0"/>
            <c:spPr>
              <a:solidFill>
                <a:srgbClr val="AEABAB"/>
              </a:solidFill>
            </c:spPr>
            <c:extLst>
              <c:ext xmlns:c16="http://schemas.microsoft.com/office/drawing/2014/chart" uri="{C3380CC4-5D6E-409C-BE32-E72D297353CC}">
                <c16:uniqueId val="{000000D7-2993-41DE-A2CB-63102DE87051}"/>
              </c:ext>
            </c:extLst>
          </c:dPt>
          <c:dPt>
            <c:idx val="107"/>
            <c:invertIfNegative val="1"/>
            <c:bubble3D val="0"/>
            <c:spPr>
              <a:solidFill>
                <a:srgbClr val="AEABAB"/>
              </a:solidFill>
            </c:spPr>
            <c:extLst>
              <c:ext xmlns:c16="http://schemas.microsoft.com/office/drawing/2014/chart" uri="{C3380CC4-5D6E-409C-BE32-E72D297353CC}">
                <c16:uniqueId val="{000000D9-2993-41DE-A2CB-63102DE87051}"/>
              </c:ext>
            </c:extLst>
          </c:dPt>
          <c:dPt>
            <c:idx val="108"/>
            <c:invertIfNegative val="1"/>
            <c:bubble3D val="0"/>
            <c:spPr>
              <a:solidFill>
                <a:srgbClr val="AEABAB"/>
              </a:solidFill>
            </c:spPr>
            <c:extLst>
              <c:ext xmlns:c16="http://schemas.microsoft.com/office/drawing/2014/chart" uri="{C3380CC4-5D6E-409C-BE32-E72D297353CC}">
                <c16:uniqueId val="{000000DB-2993-41DE-A2CB-63102DE87051}"/>
              </c:ext>
            </c:extLst>
          </c:dPt>
          <c:dPt>
            <c:idx val="109"/>
            <c:invertIfNegative val="1"/>
            <c:bubble3D val="0"/>
            <c:spPr>
              <a:solidFill>
                <a:srgbClr val="AEABAB"/>
              </a:solidFill>
            </c:spPr>
            <c:extLst>
              <c:ext xmlns:c16="http://schemas.microsoft.com/office/drawing/2014/chart" uri="{C3380CC4-5D6E-409C-BE32-E72D297353CC}">
                <c16:uniqueId val="{000000DD-2993-41DE-A2CB-63102DE87051}"/>
              </c:ext>
            </c:extLst>
          </c:dPt>
          <c:dPt>
            <c:idx val="110"/>
            <c:invertIfNegative val="1"/>
            <c:bubble3D val="0"/>
            <c:spPr>
              <a:solidFill>
                <a:srgbClr val="AEABAB"/>
              </a:solidFill>
            </c:spPr>
            <c:extLst>
              <c:ext xmlns:c16="http://schemas.microsoft.com/office/drawing/2014/chart" uri="{C3380CC4-5D6E-409C-BE32-E72D297353CC}">
                <c16:uniqueId val="{000000DF-2993-41DE-A2CB-63102DE87051}"/>
              </c:ext>
            </c:extLst>
          </c:dPt>
          <c:dPt>
            <c:idx val="111"/>
            <c:invertIfNegative val="1"/>
            <c:bubble3D val="0"/>
            <c:spPr>
              <a:solidFill>
                <a:srgbClr val="AEABAB"/>
              </a:solidFill>
            </c:spPr>
            <c:extLst>
              <c:ext xmlns:c16="http://schemas.microsoft.com/office/drawing/2014/chart" uri="{C3380CC4-5D6E-409C-BE32-E72D297353CC}">
                <c16:uniqueId val="{000000E1-2993-41DE-A2CB-63102DE87051}"/>
              </c:ext>
            </c:extLst>
          </c:dPt>
          <c:dPt>
            <c:idx val="112"/>
            <c:invertIfNegative val="1"/>
            <c:bubble3D val="0"/>
            <c:spPr>
              <a:solidFill>
                <a:srgbClr val="AEABAB"/>
              </a:solidFill>
            </c:spPr>
            <c:extLst>
              <c:ext xmlns:c16="http://schemas.microsoft.com/office/drawing/2014/chart" uri="{C3380CC4-5D6E-409C-BE32-E72D297353CC}">
                <c16:uniqueId val="{000000E3-2993-41DE-A2CB-63102DE87051}"/>
              </c:ext>
            </c:extLst>
          </c:dPt>
          <c:dPt>
            <c:idx val="113"/>
            <c:invertIfNegative val="1"/>
            <c:bubble3D val="0"/>
            <c:spPr>
              <a:solidFill>
                <a:srgbClr val="AEABAB"/>
              </a:solidFill>
            </c:spPr>
            <c:extLst>
              <c:ext xmlns:c16="http://schemas.microsoft.com/office/drawing/2014/chart" uri="{C3380CC4-5D6E-409C-BE32-E72D297353CC}">
                <c16:uniqueId val="{000000E5-2993-41DE-A2CB-63102DE87051}"/>
              </c:ext>
            </c:extLst>
          </c:dPt>
          <c:dPt>
            <c:idx val="114"/>
            <c:invertIfNegative val="1"/>
            <c:bubble3D val="0"/>
            <c:spPr>
              <a:solidFill>
                <a:srgbClr val="AEABAB"/>
              </a:solidFill>
            </c:spPr>
            <c:extLst>
              <c:ext xmlns:c16="http://schemas.microsoft.com/office/drawing/2014/chart" uri="{C3380CC4-5D6E-409C-BE32-E72D297353CC}">
                <c16:uniqueId val="{000000E7-2993-41DE-A2CB-63102DE87051}"/>
              </c:ext>
            </c:extLst>
          </c:dPt>
          <c:dPt>
            <c:idx val="115"/>
            <c:invertIfNegative val="1"/>
            <c:bubble3D val="0"/>
            <c:spPr>
              <a:solidFill>
                <a:srgbClr val="AEABAB"/>
              </a:solidFill>
            </c:spPr>
            <c:extLst>
              <c:ext xmlns:c16="http://schemas.microsoft.com/office/drawing/2014/chart" uri="{C3380CC4-5D6E-409C-BE32-E72D297353CC}">
                <c16:uniqueId val="{000000E9-2993-41DE-A2CB-63102DE87051}"/>
              </c:ext>
            </c:extLst>
          </c:dPt>
          <c:dPt>
            <c:idx val="116"/>
            <c:invertIfNegative val="1"/>
            <c:bubble3D val="0"/>
            <c:spPr>
              <a:solidFill>
                <a:srgbClr val="AEABAB"/>
              </a:solidFill>
            </c:spPr>
            <c:extLst>
              <c:ext xmlns:c16="http://schemas.microsoft.com/office/drawing/2014/chart" uri="{C3380CC4-5D6E-409C-BE32-E72D297353CC}">
                <c16:uniqueId val="{000000EB-2993-41DE-A2CB-63102DE87051}"/>
              </c:ext>
            </c:extLst>
          </c:dPt>
          <c:dPt>
            <c:idx val="117"/>
            <c:invertIfNegative val="1"/>
            <c:bubble3D val="0"/>
            <c:spPr>
              <a:solidFill>
                <a:srgbClr val="AEABAB"/>
              </a:solidFill>
            </c:spPr>
            <c:extLst>
              <c:ext xmlns:c16="http://schemas.microsoft.com/office/drawing/2014/chart" uri="{C3380CC4-5D6E-409C-BE32-E72D297353CC}">
                <c16:uniqueId val="{000000ED-2993-41DE-A2CB-63102DE87051}"/>
              </c:ext>
            </c:extLst>
          </c:dPt>
          <c:dPt>
            <c:idx val="118"/>
            <c:invertIfNegative val="1"/>
            <c:bubble3D val="0"/>
            <c:spPr>
              <a:solidFill>
                <a:srgbClr val="AEABAB"/>
              </a:solidFill>
            </c:spPr>
            <c:extLst>
              <c:ext xmlns:c16="http://schemas.microsoft.com/office/drawing/2014/chart" uri="{C3380CC4-5D6E-409C-BE32-E72D297353CC}">
                <c16:uniqueId val="{000000EF-2993-41DE-A2CB-63102DE87051}"/>
              </c:ext>
            </c:extLst>
          </c:dPt>
          <c:dPt>
            <c:idx val="119"/>
            <c:invertIfNegative val="1"/>
            <c:bubble3D val="0"/>
            <c:spPr>
              <a:solidFill>
                <a:srgbClr val="AEABAB"/>
              </a:solidFill>
            </c:spPr>
            <c:extLst>
              <c:ext xmlns:c16="http://schemas.microsoft.com/office/drawing/2014/chart" uri="{C3380CC4-5D6E-409C-BE32-E72D297353CC}">
                <c16:uniqueId val="{000000F1-2993-41DE-A2CB-63102DE87051}"/>
              </c:ext>
            </c:extLst>
          </c:dPt>
          <c:dPt>
            <c:idx val="120"/>
            <c:invertIfNegative val="1"/>
            <c:bubble3D val="0"/>
            <c:spPr>
              <a:solidFill>
                <a:srgbClr val="AEABAB"/>
              </a:solidFill>
            </c:spPr>
            <c:extLst>
              <c:ext xmlns:c16="http://schemas.microsoft.com/office/drawing/2014/chart" uri="{C3380CC4-5D6E-409C-BE32-E72D297353CC}">
                <c16:uniqueId val="{000000F3-2993-41DE-A2CB-63102DE87051}"/>
              </c:ext>
            </c:extLst>
          </c:dPt>
          <c:dPt>
            <c:idx val="121"/>
            <c:invertIfNegative val="1"/>
            <c:bubble3D val="0"/>
            <c:spPr>
              <a:solidFill>
                <a:srgbClr val="AEABAB"/>
              </a:solidFill>
            </c:spPr>
            <c:extLst>
              <c:ext xmlns:c16="http://schemas.microsoft.com/office/drawing/2014/chart" uri="{C3380CC4-5D6E-409C-BE32-E72D297353CC}">
                <c16:uniqueId val="{000000F5-2993-41DE-A2CB-63102DE87051}"/>
              </c:ext>
            </c:extLst>
          </c:dPt>
          <c:dPt>
            <c:idx val="122"/>
            <c:invertIfNegative val="1"/>
            <c:bubble3D val="0"/>
            <c:spPr>
              <a:solidFill>
                <a:srgbClr val="AEABAB"/>
              </a:solidFill>
            </c:spPr>
            <c:extLst>
              <c:ext xmlns:c16="http://schemas.microsoft.com/office/drawing/2014/chart" uri="{C3380CC4-5D6E-409C-BE32-E72D297353CC}">
                <c16:uniqueId val="{000000F7-2993-41DE-A2CB-63102DE87051}"/>
              </c:ext>
            </c:extLst>
          </c:dPt>
          <c:dPt>
            <c:idx val="123"/>
            <c:invertIfNegative val="1"/>
            <c:bubble3D val="0"/>
            <c:spPr>
              <a:solidFill>
                <a:srgbClr val="AEABAB"/>
              </a:solidFill>
            </c:spPr>
            <c:extLst>
              <c:ext xmlns:c16="http://schemas.microsoft.com/office/drawing/2014/chart" uri="{C3380CC4-5D6E-409C-BE32-E72D297353CC}">
                <c16:uniqueId val="{000000F9-2993-41DE-A2CB-63102DE87051}"/>
              </c:ext>
            </c:extLst>
          </c:dPt>
          <c:dPt>
            <c:idx val="124"/>
            <c:invertIfNegative val="1"/>
            <c:bubble3D val="0"/>
            <c:spPr>
              <a:solidFill>
                <a:srgbClr val="AEABAB"/>
              </a:solidFill>
            </c:spPr>
            <c:extLst>
              <c:ext xmlns:c16="http://schemas.microsoft.com/office/drawing/2014/chart" uri="{C3380CC4-5D6E-409C-BE32-E72D297353CC}">
                <c16:uniqueId val="{000000FB-2993-41DE-A2CB-63102DE87051}"/>
              </c:ext>
            </c:extLst>
          </c:dPt>
          <c:dPt>
            <c:idx val="125"/>
            <c:invertIfNegative val="1"/>
            <c:bubble3D val="0"/>
            <c:spPr>
              <a:solidFill>
                <a:srgbClr val="AEABAB"/>
              </a:solidFill>
            </c:spPr>
            <c:extLst>
              <c:ext xmlns:c16="http://schemas.microsoft.com/office/drawing/2014/chart" uri="{C3380CC4-5D6E-409C-BE32-E72D297353CC}">
                <c16:uniqueId val="{000000FD-2993-41DE-A2CB-63102DE87051}"/>
              </c:ext>
            </c:extLst>
          </c:dPt>
          <c:dPt>
            <c:idx val="126"/>
            <c:invertIfNegative val="1"/>
            <c:bubble3D val="0"/>
            <c:spPr>
              <a:solidFill>
                <a:srgbClr val="AEABAB"/>
              </a:solidFill>
            </c:spPr>
            <c:extLst>
              <c:ext xmlns:c16="http://schemas.microsoft.com/office/drawing/2014/chart" uri="{C3380CC4-5D6E-409C-BE32-E72D297353CC}">
                <c16:uniqueId val="{000000FF-2993-41DE-A2CB-63102DE87051}"/>
              </c:ext>
            </c:extLst>
          </c:dPt>
          <c:dPt>
            <c:idx val="127"/>
            <c:invertIfNegative val="1"/>
            <c:bubble3D val="0"/>
            <c:spPr>
              <a:solidFill>
                <a:srgbClr val="AEABAB"/>
              </a:solidFill>
            </c:spPr>
            <c:extLst>
              <c:ext xmlns:c16="http://schemas.microsoft.com/office/drawing/2014/chart" uri="{C3380CC4-5D6E-409C-BE32-E72D297353CC}">
                <c16:uniqueId val="{00000101-2993-41DE-A2CB-63102DE87051}"/>
              </c:ext>
            </c:extLst>
          </c:dPt>
          <c:dPt>
            <c:idx val="128"/>
            <c:invertIfNegative val="1"/>
            <c:bubble3D val="0"/>
            <c:spPr>
              <a:solidFill>
                <a:srgbClr val="AEABAB"/>
              </a:solidFill>
            </c:spPr>
            <c:extLst>
              <c:ext xmlns:c16="http://schemas.microsoft.com/office/drawing/2014/chart" uri="{C3380CC4-5D6E-409C-BE32-E72D297353CC}">
                <c16:uniqueId val="{00000103-2993-41DE-A2CB-63102DE87051}"/>
              </c:ext>
            </c:extLst>
          </c:dPt>
          <c:dPt>
            <c:idx val="129"/>
            <c:invertIfNegative val="1"/>
            <c:bubble3D val="0"/>
            <c:spPr>
              <a:solidFill>
                <a:srgbClr val="AEABAB"/>
              </a:solidFill>
            </c:spPr>
            <c:extLst>
              <c:ext xmlns:c16="http://schemas.microsoft.com/office/drawing/2014/chart" uri="{C3380CC4-5D6E-409C-BE32-E72D297353CC}">
                <c16:uniqueId val="{00000105-2993-41DE-A2CB-63102DE87051}"/>
              </c:ext>
            </c:extLst>
          </c:dPt>
          <c:dPt>
            <c:idx val="130"/>
            <c:invertIfNegative val="1"/>
            <c:bubble3D val="0"/>
            <c:spPr>
              <a:solidFill>
                <a:srgbClr val="AEABAB"/>
              </a:solidFill>
            </c:spPr>
            <c:extLst>
              <c:ext xmlns:c16="http://schemas.microsoft.com/office/drawing/2014/chart" uri="{C3380CC4-5D6E-409C-BE32-E72D297353CC}">
                <c16:uniqueId val="{00000107-2993-41DE-A2CB-63102DE87051}"/>
              </c:ext>
            </c:extLst>
          </c:dPt>
          <c:dPt>
            <c:idx val="131"/>
            <c:invertIfNegative val="1"/>
            <c:bubble3D val="0"/>
            <c:spPr>
              <a:solidFill>
                <a:srgbClr val="AEABAB"/>
              </a:solidFill>
            </c:spPr>
            <c:extLst>
              <c:ext xmlns:c16="http://schemas.microsoft.com/office/drawing/2014/chart" uri="{C3380CC4-5D6E-409C-BE32-E72D297353CC}">
                <c16:uniqueId val="{00000109-2993-41DE-A2CB-63102DE87051}"/>
              </c:ext>
            </c:extLst>
          </c:dPt>
          <c:dPt>
            <c:idx val="132"/>
            <c:invertIfNegative val="1"/>
            <c:bubble3D val="0"/>
            <c:spPr>
              <a:solidFill>
                <a:srgbClr val="AEABAB"/>
              </a:solidFill>
            </c:spPr>
            <c:extLst>
              <c:ext xmlns:c16="http://schemas.microsoft.com/office/drawing/2014/chart" uri="{C3380CC4-5D6E-409C-BE32-E72D297353CC}">
                <c16:uniqueId val="{0000010B-2993-41DE-A2CB-63102DE87051}"/>
              </c:ext>
            </c:extLst>
          </c:dPt>
          <c:dPt>
            <c:idx val="133"/>
            <c:invertIfNegative val="1"/>
            <c:bubble3D val="0"/>
            <c:spPr>
              <a:solidFill>
                <a:srgbClr val="AEABAB"/>
              </a:solidFill>
            </c:spPr>
            <c:extLst>
              <c:ext xmlns:c16="http://schemas.microsoft.com/office/drawing/2014/chart" uri="{C3380CC4-5D6E-409C-BE32-E72D297353CC}">
                <c16:uniqueId val="{0000010D-2993-41DE-A2CB-63102DE87051}"/>
              </c:ext>
            </c:extLst>
          </c:dPt>
          <c:dPt>
            <c:idx val="134"/>
            <c:invertIfNegative val="1"/>
            <c:bubble3D val="0"/>
            <c:spPr>
              <a:solidFill>
                <a:srgbClr val="AEABAB"/>
              </a:solidFill>
            </c:spPr>
            <c:extLst>
              <c:ext xmlns:c16="http://schemas.microsoft.com/office/drawing/2014/chart" uri="{C3380CC4-5D6E-409C-BE32-E72D297353CC}">
                <c16:uniqueId val="{0000010F-2993-41DE-A2CB-63102DE87051}"/>
              </c:ext>
            </c:extLst>
          </c:dPt>
          <c:dPt>
            <c:idx val="135"/>
            <c:invertIfNegative val="1"/>
            <c:bubble3D val="0"/>
            <c:spPr>
              <a:solidFill>
                <a:srgbClr val="AEABAB"/>
              </a:solidFill>
            </c:spPr>
            <c:extLst>
              <c:ext xmlns:c16="http://schemas.microsoft.com/office/drawing/2014/chart" uri="{C3380CC4-5D6E-409C-BE32-E72D297353CC}">
                <c16:uniqueId val="{00000111-2993-41DE-A2CB-63102DE87051}"/>
              </c:ext>
            </c:extLst>
          </c:dPt>
          <c:dPt>
            <c:idx val="136"/>
            <c:invertIfNegative val="1"/>
            <c:bubble3D val="0"/>
            <c:spPr>
              <a:solidFill>
                <a:srgbClr val="AEABAB"/>
              </a:solidFill>
            </c:spPr>
            <c:extLst>
              <c:ext xmlns:c16="http://schemas.microsoft.com/office/drawing/2014/chart" uri="{C3380CC4-5D6E-409C-BE32-E72D297353CC}">
                <c16:uniqueId val="{00000113-2993-41DE-A2CB-63102DE87051}"/>
              </c:ext>
            </c:extLst>
          </c:dPt>
          <c:dPt>
            <c:idx val="137"/>
            <c:invertIfNegative val="1"/>
            <c:bubble3D val="0"/>
            <c:spPr>
              <a:solidFill>
                <a:srgbClr val="AEABAB"/>
              </a:solidFill>
            </c:spPr>
            <c:extLst>
              <c:ext xmlns:c16="http://schemas.microsoft.com/office/drawing/2014/chart" uri="{C3380CC4-5D6E-409C-BE32-E72D297353CC}">
                <c16:uniqueId val="{00000115-2993-41DE-A2CB-63102DE87051}"/>
              </c:ext>
            </c:extLst>
          </c:dPt>
          <c:dPt>
            <c:idx val="138"/>
            <c:invertIfNegative val="1"/>
            <c:bubble3D val="0"/>
            <c:spPr>
              <a:solidFill>
                <a:srgbClr val="AEABAB"/>
              </a:solidFill>
            </c:spPr>
            <c:extLst>
              <c:ext xmlns:c16="http://schemas.microsoft.com/office/drawing/2014/chart" uri="{C3380CC4-5D6E-409C-BE32-E72D297353CC}">
                <c16:uniqueId val="{00000117-2993-41DE-A2CB-63102DE87051}"/>
              </c:ext>
            </c:extLst>
          </c:dPt>
          <c:dPt>
            <c:idx val="139"/>
            <c:invertIfNegative val="1"/>
            <c:bubble3D val="0"/>
            <c:spPr>
              <a:solidFill>
                <a:srgbClr val="AEABAB"/>
              </a:solidFill>
            </c:spPr>
            <c:extLst>
              <c:ext xmlns:c16="http://schemas.microsoft.com/office/drawing/2014/chart" uri="{C3380CC4-5D6E-409C-BE32-E72D297353CC}">
                <c16:uniqueId val="{00000119-2993-41DE-A2CB-63102DE87051}"/>
              </c:ext>
            </c:extLst>
          </c:dPt>
          <c:dPt>
            <c:idx val="140"/>
            <c:invertIfNegative val="1"/>
            <c:bubble3D val="0"/>
            <c:spPr>
              <a:solidFill>
                <a:srgbClr val="AEABAB"/>
              </a:solidFill>
            </c:spPr>
            <c:extLst>
              <c:ext xmlns:c16="http://schemas.microsoft.com/office/drawing/2014/chart" uri="{C3380CC4-5D6E-409C-BE32-E72D297353CC}">
                <c16:uniqueId val="{0000011B-2993-41DE-A2CB-63102DE87051}"/>
              </c:ext>
            </c:extLst>
          </c:dPt>
          <c:dPt>
            <c:idx val="141"/>
            <c:invertIfNegative val="1"/>
            <c:bubble3D val="0"/>
            <c:spPr>
              <a:solidFill>
                <a:srgbClr val="AEABAB"/>
              </a:solidFill>
            </c:spPr>
            <c:extLst>
              <c:ext xmlns:c16="http://schemas.microsoft.com/office/drawing/2014/chart" uri="{C3380CC4-5D6E-409C-BE32-E72D297353CC}">
                <c16:uniqueId val="{0000011D-2993-41DE-A2CB-63102DE87051}"/>
              </c:ext>
            </c:extLst>
          </c:dPt>
          <c:dPt>
            <c:idx val="142"/>
            <c:invertIfNegative val="1"/>
            <c:bubble3D val="0"/>
            <c:spPr>
              <a:solidFill>
                <a:srgbClr val="AEABAB"/>
              </a:solidFill>
            </c:spPr>
            <c:extLst>
              <c:ext xmlns:c16="http://schemas.microsoft.com/office/drawing/2014/chart" uri="{C3380CC4-5D6E-409C-BE32-E72D297353CC}">
                <c16:uniqueId val="{0000011F-2993-41DE-A2CB-63102DE87051}"/>
              </c:ext>
            </c:extLst>
          </c:dPt>
          <c:dPt>
            <c:idx val="143"/>
            <c:invertIfNegative val="1"/>
            <c:bubble3D val="0"/>
            <c:spPr>
              <a:solidFill>
                <a:srgbClr val="AEABAB"/>
              </a:solidFill>
            </c:spPr>
            <c:extLst>
              <c:ext xmlns:c16="http://schemas.microsoft.com/office/drawing/2014/chart" uri="{C3380CC4-5D6E-409C-BE32-E72D297353CC}">
                <c16:uniqueId val="{00000121-2993-41DE-A2CB-63102DE87051}"/>
              </c:ext>
            </c:extLst>
          </c:dPt>
          <c:dPt>
            <c:idx val="144"/>
            <c:invertIfNegative val="1"/>
            <c:bubble3D val="0"/>
            <c:spPr>
              <a:solidFill>
                <a:srgbClr val="AEABAB"/>
              </a:solidFill>
            </c:spPr>
            <c:extLst>
              <c:ext xmlns:c16="http://schemas.microsoft.com/office/drawing/2014/chart" uri="{C3380CC4-5D6E-409C-BE32-E72D297353CC}">
                <c16:uniqueId val="{00000123-2993-41DE-A2CB-63102DE87051}"/>
              </c:ext>
            </c:extLst>
          </c:dPt>
          <c:dPt>
            <c:idx val="145"/>
            <c:invertIfNegative val="1"/>
            <c:bubble3D val="0"/>
            <c:spPr>
              <a:solidFill>
                <a:srgbClr val="AEABAB"/>
              </a:solidFill>
            </c:spPr>
            <c:extLst>
              <c:ext xmlns:c16="http://schemas.microsoft.com/office/drawing/2014/chart" uri="{C3380CC4-5D6E-409C-BE32-E72D297353CC}">
                <c16:uniqueId val="{00000125-2993-41DE-A2CB-63102DE87051}"/>
              </c:ext>
            </c:extLst>
          </c:dPt>
          <c:dPt>
            <c:idx val="146"/>
            <c:invertIfNegative val="1"/>
            <c:bubble3D val="0"/>
            <c:spPr>
              <a:solidFill>
                <a:srgbClr val="AEABAB"/>
              </a:solidFill>
            </c:spPr>
            <c:extLst>
              <c:ext xmlns:c16="http://schemas.microsoft.com/office/drawing/2014/chart" uri="{C3380CC4-5D6E-409C-BE32-E72D297353CC}">
                <c16:uniqueId val="{00000127-2993-41DE-A2CB-63102DE87051}"/>
              </c:ext>
            </c:extLst>
          </c:dPt>
          <c:dPt>
            <c:idx val="147"/>
            <c:invertIfNegative val="1"/>
            <c:bubble3D val="0"/>
            <c:spPr>
              <a:solidFill>
                <a:srgbClr val="AEABAB"/>
              </a:solidFill>
            </c:spPr>
            <c:extLst>
              <c:ext xmlns:c16="http://schemas.microsoft.com/office/drawing/2014/chart" uri="{C3380CC4-5D6E-409C-BE32-E72D297353CC}">
                <c16:uniqueId val="{00000129-2993-41DE-A2CB-63102DE87051}"/>
              </c:ext>
            </c:extLst>
          </c:dPt>
          <c:dPt>
            <c:idx val="148"/>
            <c:invertIfNegative val="1"/>
            <c:bubble3D val="0"/>
            <c:spPr>
              <a:solidFill>
                <a:srgbClr val="AEABAB"/>
              </a:solidFill>
            </c:spPr>
            <c:extLst>
              <c:ext xmlns:c16="http://schemas.microsoft.com/office/drawing/2014/chart" uri="{C3380CC4-5D6E-409C-BE32-E72D297353CC}">
                <c16:uniqueId val="{0000012B-2993-41DE-A2CB-63102DE87051}"/>
              </c:ext>
            </c:extLst>
          </c:dPt>
          <c:dPt>
            <c:idx val="149"/>
            <c:invertIfNegative val="1"/>
            <c:bubble3D val="0"/>
            <c:spPr>
              <a:solidFill>
                <a:srgbClr val="AEABAB"/>
              </a:solidFill>
            </c:spPr>
            <c:extLst>
              <c:ext xmlns:c16="http://schemas.microsoft.com/office/drawing/2014/chart" uri="{C3380CC4-5D6E-409C-BE32-E72D297353CC}">
                <c16:uniqueId val="{0000012D-2993-41DE-A2CB-63102DE87051}"/>
              </c:ext>
            </c:extLst>
          </c:dPt>
          <c:dPt>
            <c:idx val="150"/>
            <c:invertIfNegative val="1"/>
            <c:bubble3D val="0"/>
            <c:spPr>
              <a:solidFill>
                <a:srgbClr val="AEABAB"/>
              </a:solidFill>
            </c:spPr>
            <c:extLst>
              <c:ext xmlns:c16="http://schemas.microsoft.com/office/drawing/2014/chart" uri="{C3380CC4-5D6E-409C-BE32-E72D297353CC}">
                <c16:uniqueId val="{0000012F-2993-41DE-A2CB-63102DE87051}"/>
              </c:ext>
            </c:extLst>
          </c:dPt>
          <c:dPt>
            <c:idx val="151"/>
            <c:invertIfNegative val="1"/>
            <c:bubble3D val="0"/>
            <c:spPr>
              <a:solidFill>
                <a:srgbClr val="AEABAB"/>
              </a:solidFill>
            </c:spPr>
            <c:extLst>
              <c:ext xmlns:c16="http://schemas.microsoft.com/office/drawing/2014/chart" uri="{C3380CC4-5D6E-409C-BE32-E72D297353CC}">
                <c16:uniqueId val="{00000131-2993-41DE-A2CB-63102DE87051}"/>
              </c:ext>
            </c:extLst>
          </c:dPt>
          <c:dPt>
            <c:idx val="152"/>
            <c:invertIfNegative val="1"/>
            <c:bubble3D val="0"/>
            <c:spPr>
              <a:solidFill>
                <a:srgbClr val="AEABAB"/>
              </a:solidFill>
            </c:spPr>
            <c:extLst>
              <c:ext xmlns:c16="http://schemas.microsoft.com/office/drawing/2014/chart" uri="{C3380CC4-5D6E-409C-BE32-E72D297353CC}">
                <c16:uniqueId val="{00000133-2993-41DE-A2CB-63102DE87051}"/>
              </c:ext>
            </c:extLst>
          </c:dPt>
          <c:dPt>
            <c:idx val="153"/>
            <c:invertIfNegative val="1"/>
            <c:bubble3D val="0"/>
            <c:spPr>
              <a:solidFill>
                <a:srgbClr val="AEABAB"/>
              </a:solidFill>
            </c:spPr>
            <c:extLst>
              <c:ext xmlns:c16="http://schemas.microsoft.com/office/drawing/2014/chart" uri="{C3380CC4-5D6E-409C-BE32-E72D297353CC}">
                <c16:uniqueId val="{00000135-2993-41DE-A2CB-63102DE87051}"/>
              </c:ext>
            </c:extLst>
          </c:dPt>
          <c:dPt>
            <c:idx val="154"/>
            <c:invertIfNegative val="1"/>
            <c:bubble3D val="0"/>
            <c:spPr>
              <a:solidFill>
                <a:srgbClr val="AEABAB"/>
              </a:solidFill>
            </c:spPr>
            <c:extLst>
              <c:ext xmlns:c16="http://schemas.microsoft.com/office/drawing/2014/chart" uri="{C3380CC4-5D6E-409C-BE32-E72D297353CC}">
                <c16:uniqueId val="{00000137-2993-41DE-A2CB-63102DE87051}"/>
              </c:ext>
            </c:extLst>
          </c:dPt>
          <c:dPt>
            <c:idx val="155"/>
            <c:invertIfNegative val="1"/>
            <c:bubble3D val="0"/>
            <c:spPr>
              <a:solidFill>
                <a:srgbClr val="AEABAB"/>
              </a:solidFill>
            </c:spPr>
            <c:extLst>
              <c:ext xmlns:c16="http://schemas.microsoft.com/office/drawing/2014/chart" uri="{C3380CC4-5D6E-409C-BE32-E72D297353CC}">
                <c16:uniqueId val="{00000139-2993-41DE-A2CB-63102DE87051}"/>
              </c:ext>
            </c:extLst>
          </c:dPt>
          <c:dPt>
            <c:idx val="156"/>
            <c:invertIfNegative val="1"/>
            <c:bubble3D val="0"/>
            <c:spPr>
              <a:solidFill>
                <a:srgbClr val="AEABAB"/>
              </a:solidFill>
            </c:spPr>
            <c:extLst>
              <c:ext xmlns:c16="http://schemas.microsoft.com/office/drawing/2014/chart" uri="{C3380CC4-5D6E-409C-BE32-E72D297353CC}">
                <c16:uniqueId val="{0000013B-2993-41DE-A2CB-63102DE87051}"/>
              </c:ext>
            </c:extLst>
          </c:dPt>
          <c:dPt>
            <c:idx val="157"/>
            <c:invertIfNegative val="1"/>
            <c:bubble3D val="0"/>
            <c:spPr>
              <a:solidFill>
                <a:srgbClr val="AEABAB"/>
              </a:solidFill>
            </c:spPr>
            <c:extLst>
              <c:ext xmlns:c16="http://schemas.microsoft.com/office/drawing/2014/chart" uri="{C3380CC4-5D6E-409C-BE32-E72D297353CC}">
                <c16:uniqueId val="{0000013D-2993-41DE-A2CB-63102DE87051}"/>
              </c:ext>
            </c:extLst>
          </c:dPt>
          <c:dPt>
            <c:idx val="158"/>
            <c:invertIfNegative val="1"/>
            <c:bubble3D val="0"/>
            <c:spPr>
              <a:solidFill>
                <a:srgbClr val="AEABAB"/>
              </a:solidFill>
            </c:spPr>
            <c:extLst>
              <c:ext xmlns:c16="http://schemas.microsoft.com/office/drawing/2014/chart" uri="{C3380CC4-5D6E-409C-BE32-E72D297353CC}">
                <c16:uniqueId val="{0000013F-2993-41DE-A2CB-63102DE87051}"/>
              </c:ext>
            </c:extLst>
          </c:dPt>
          <c:dPt>
            <c:idx val="159"/>
            <c:invertIfNegative val="1"/>
            <c:bubble3D val="0"/>
            <c:spPr>
              <a:solidFill>
                <a:srgbClr val="AEABAB"/>
              </a:solidFill>
            </c:spPr>
            <c:extLst>
              <c:ext xmlns:c16="http://schemas.microsoft.com/office/drawing/2014/chart" uri="{C3380CC4-5D6E-409C-BE32-E72D297353CC}">
                <c16:uniqueId val="{00000141-2993-41DE-A2CB-63102DE87051}"/>
              </c:ext>
            </c:extLst>
          </c:dPt>
          <c:dPt>
            <c:idx val="160"/>
            <c:invertIfNegative val="1"/>
            <c:bubble3D val="0"/>
            <c:spPr>
              <a:solidFill>
                <a:srgbClr val="AEABAB"/>
              </a:solidFill>
            </c:spPr>
            <c:extLst>
              <c:ext xmlns:c16="http://schemas.microsoft.com/office/drawing/2014/chart" uri="{C3380CC4-5D6E-409C-BE32-E72D297353CC}">
                <c16:uniqueId val="{00000143-2993-41DE-A2CB-63102DE87051}"/>
              </c:ext>
            </c:extLst>
          </c:dPt>
          <c:dPt>
            <c:idx val="161"/>
            <c:invertIfNegative val="1"/>
            <c:bubble3D val="0"/>
            <c:spPr>
              <a:solidFill>
                <a:srgbClr val="AEABAB"/>
              </a:solidFill>
            </c:spPr>
            <c:extLst>
              <c:ext xmlns:c16="http://schemas.microsoft.com/office/drawing/2014/chart" uri="{C3380CC4-5D6E-409C-BE32-E72D297353CC}">
                <c16:uniqueId val="{00000145-2993-41DE-A2CB-63102DE87051}"/>
              </c:ext>
            </c:extLst>
          </c:dPt>
          <c:dPt>
            <c:idx val="162"/>
            <c:invertIfNegative val="1"/>
            <c:bubble3D val="0"/>
            <c:spPr>
              <a:solidFill>
                <a:srgbClr val="AEABAB"/>
              </a:solidFill>
            </c:spPr>
            <c:extLst>
              <c:ext xmlns:c16="http://schemas.microsoft.com/office/drawing/2014/chart" uri="{C3380CC4-5D6E-409C-BE32-E72D297353CC}">
                <c16:uniqueId val="{00000147-2993-41DE-A2CB-63102DE87051}"/>
              </c:ext>
            </c:extLst>
          </c:dPt>
          <c:dPt>
            <c:idx val="163"/>
            <c:invertIfNegative val="1"/>
            <c:bubble3D val="0"/>
            <c:spPr>
              <a:solidFill>
                <a:srgbClr val="AEABAB"/>
              </a:solidFill>
            </c:spPr>
            <c:extLst>
              <c:ext xmlns:c16="http://schemas.microsoft.com/office/drawing/2014/chart" uri="{C3380CC4-5D6E-409C-BE32-E72D297353CC}">
                <c16:uniqueId val="{00000149-2993-41DE-A2CB-63102DE87051}"/>
              </c:ext>
            </c:extLst>
          </c:dPt>
          <c:dPt>
            <c:idx val="164"/>
            <c:invertIfNegative val="1"/>
            <c:bubble3D val="0"/>
            <c:spPr>
              <a:solidFill>
                <a:srgbClr val="AEABAB"/>
              </a:solidFill>
            </c:spPr>
            <c:extLst>
              <c:ext xmlns:c16="http://schemas.microsoft.com/office/drawing/2014/chart" uri="{C3380CC4-5D6E-409C-BE32-E72D297353CC}">
                <c16:uniqueId val="{0000014B-2993-41DE-A2CB-63102DE87051}"/>
              </c:ext>
            </c:extLst>
          </c:dPt>
          <c:dPt>
            <c:idx val="165"/>
            <c:invertIfNegative val="1"/>
            <c:bubble3D val="0"/>
            <c:spPr>
              <a:solidFill>
                <a:srgbClr val="AEABAB"/>
              </a:solidFill>
            </c:spPr>
            <c:extLst>
              <c:ext xmlns:c16="http://schemas.microsoft.com/office/drawing/2014/chart" uri="{C3380CC4-5D6E-409C-BE32-E72D297353CC}">
                <c16:uniqueId val="{0000014D-2993-41DE-A2CB-63102DE87051}"/>
              </c:ext>
            </c:extLst>
          </c:dPt>
          <c:dPt>
            <c:idx val="166"/>
            <c:invertIfNegative val="1"/>
            <c:bubble3D val="0"/>
            <c:spPr>
              <a:solidFill>
                <a:srgbClr val="AEABAB"/>
              </a:solidFill>
            </c:spPr>
            <c:extLst>
              <c:ext xmlns:c16="http://schemas.microsoft.com/office/drawing/2014/chart" uri="{C3380CC4-5D6E-409C-BE32-E72D297353CC}">
                <c16:uniqueId val="{0000014F-2993-41DE-A2CB-63102DE87051}"/>
              </c:ext>
            </c:extLst>
          </c:dPt>
          <c:dPt>
            <c:idx val="167"/>
            <c:invertIfNegative val="1"/>
            <c:bubble3D val="0"/>
            <c:spPr>
              <a:solidFill>
                <a:srgbClr val="AEABAB"/>
              </a:solidFill>
            </c:spPr>
            <c:extLst>
              <c:ext xmlns:c16="http://schemas.microsoft.com/office/drawing/2014/chart" uri="{C3380CC4-5D6E-409C-BE32-E72D297353CC}">
                <c16:uniqueId val="{00000151-2993-41DE-A2CB-63102DE87051}"/>
              </c:ext>
            </c:extLst>
          </c:dPt>
          <c:dPt>
            <c:idx val="168"/>
            <c:invertIfNegative val="1"/>
            <c:bubble3D val="0"/>
            <c:spPr>
              <a:solidFill>
                <a:srgbClr val="AEABAB"/>
              </a:solidFill>
            </c:spPr>
            <c:extLst>
              <c:ext xmlns:c16="http://schemas.microsoft.com/office/drawing/2014/chart" uri="{C3380CC4-5D6E-409C-BE32-E72D297353CC}">
                <c16:uniqueId val="{00000153-2993-41DE-A2CB-63102DE87051}"/>
              </c:ext>
            </c:extLst>
          </c:dPt>
          <c:dPt>
            <c:idx val="169"/>
            <c:invertIfNegative val="1"/>
            <c:bubble3D val="0"/>
            <c:spPr>
              <a:solidFill>
                <a:srgbClr val="AEABAB"/>
              </a:solidFill>
            </c:spPr>
            <c:extLst>
              <c:ext xmlns:c16="http://schemas.microsoft.com/office/drawing/2014/chart" uri="{C3380CC4-5D6E-409C-BE32-E72D297353CC}">
                <c16:uniqueId val="{00000155-2993-41DE-A2CB-63102DE87051}"/>
              </c:ext>
            </c:extLst>
          </c:dPt>
          <c:dPt>
            <c:idx val="170"/>
            <c:invertIfNegative val="1"/>
            <c:bubble3D val="0"/>
            <c:spPr>
              <a:solidFill>
                <a:srgbClr val="AEABAB"/>
              </a:solidFill>
            </c:spPr>
            <c:extLst>
              <c:ext xmlns:c16="http://schemas.microsoft.com/office/drawing/2014/chart" uri="{C3380CC4-5D6E-409C-BE32-E72D297353CC}">
                <c16:uniqueId val="{00000157-2993-41DE-A2CB-63102DE87051}"/>
              </c:ext>
            </c:extLst>
          </c:dPt>
          <c:dPt>
            <c:idx val="171"/>
            <c:invertIfNegative val="1"/>
            <c:bubble3D val="0"/>
            <c:spPr>
              <a:solidFill>
                <a:srgbClr val="AEABAB"/>
              </a:solidFill>
            </c:spPr>
            <c:extLst>
              <c:ext xmlns:c16="http://schemas.microsoft.com/office/drawing/2014/chart" uri="{C3380CC4-5D6E-409C-BE32-E72D297353CC}">
                <c16:uniqueId val="{00000159-2993-41DE-A2CB-63102DE87051}"/>
              </c:ext>
            </c:extLst>
          </c:dPt>
          <c:dPt>
            <c:idx val="172"/>
            <c:invertIfNegative val="1"/>
            <c:bubble3D val="0"/>
            <c:spPr>
              <a:solidFill>
                <a:srgbClr val="AEABAB"/>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dPt>
            <c:idx val="210"/>
            <c:invertIfNegative val="1"/>
            <c:bubble3D val="0"/>
            <c:spPr>
              <a:solidFill>
                <a:srgbClr val="AEABAB"/>
              </a:solidFill>
            </c:spPr>
            <c:extLst>
              <c:ext xmlns:c16="http://schemas.microsoft.com/office/drawing/2014/chart" uri="{C3380CC4-5D6E-409C-BE32-E72D297353CC}">
                <c16:uniqueId val="{000001A7-3BC4-4DD8-B4FD-BA402310343B}"/>
              </c:ext>
            </c:extLst>
          </c:dPt>
          <c:dPt>
            <c:idx val="211"/>
            <c:invertIfNegative val="1"/>
            <c:bubble3D val="0"/>
            <c:spPr>
              <a:solidFill>
                <a:srgbClr val="AEABAB"/>
              </a:solidFill>
            </c:spPr>
            <c:extLst>
              <c:ext xmlns:c16="http://schemas.microsoft.com/office/drawing/2014/chart" uri="{C3380CC4-5D6E-409C-BE32-E72D297353CC}">
                <c16:uniqueId val="{000001A9-3BC4-4DD8-B4FD-BA402310343B}"/>
              </c:ext>
            </c:extLst>
          </c:dPt>
          <c:dPt>
            <c:idx val="212"/>
            <c:invertIfNegative val="1"/>
            <c:bubble3D val="0"/>
            <c:spPr>
              <a:solidFill>
                <a:srgbClr val="AEABAB"/>
              </a:solidFill>
            </c:spPr>
            <c:extLst>
              <c:ext xmlns:c16="http://schemas.microsoft.com/office/drawing/2014/chart" uri="{C3380CC4-5D6E-409C-BE32-E72D297353CC}">
                <c16:uniqueId val="{000001AB-3BC4-4DD8-B4FD-BA402310343B}"/>
              </c:ext>
            </c:extLst>
          </c:dPt>
          <c:dPt>
            <c:idx val="213"/>
            <c:invertIfNegative val="1"/>
            <c:bubble3D val="0"/>
            <c:spPr>
              <a:solidFill>
                <a:srgbClr val="AEABAB"/>
              </a:solidFill>
            </c:spPr>
            <c:extLst>
              <c:ext xmlns:c16="http://schemas.microsoft.com/office/drawing/2014/chart" uri="{C3380CC4-5D6E-409C-BE32-E72D297353CC}">
                <c16:uniqueId val="{000001AD-3BC4-4DD8-B4FD-BA402310343B}"/>
              </c:ext>
            </c:extLst>
          </c:dPt>
          <c:dPt>
            <c:idx val="214"/>
            <c:invertIfNegative val="1"/>
            <c:bubble3D val="0"/>
            <c:spPr>
              <a:solidFill>
                <a:srgbClr val="AEABAB"/>
              </a:solidFill>
            </c:spPr>
            <c:extLst>
              <c:ext xmlns:c16="http://schemas.microsoft.com/office/drawing/2014/chart" uri="{C3380CC4-5D6E-409C-BE32-E72D297353CC}">
                <c16:uniqueId val="{000001AF-3BC4-4DD8-B4FD-BA402310343B}"/>
              </c:ext>
            </c:extLst>
          </c:dPt>
          <c:dPt>
            <c:idx val="215"/>
            <c:invertIfNegative val="1"/>
            <c:bubble3D val="0"/>
            <c:spPr>
              <a:solidFill>
                <a:srgbClr val="AEABAB"/>
              </a:solidFill>
            </c:spPr>
            <c:extLst>
              <c:ext xmlns:c16="http://schemas.microsoft.com/office/drawing/2014/chart" uri="{C3380CC4-5D6E-409C-BE32-E72D297353CC}">
                <c16:uniqueId val="{000001B1-3BC4-4DD8-B4FD-BA402310343B}"/>
              </c:ext>
            </c:extLst>
          </c:dPt>
          <c:dPt>
            <c:idx val="216"/>
            <c:invertIfNegative val="1"/>
            <c:bubble3D val="0"/>
            <c:spPr>
              <a:solidFill>
                <a:srgbClr val="AEABAB"/>
              </a:solidFill>
            </c:spPr>
            <c:extLst>
              <c:ext xmlns:c16="http://schemas.microsoft.com/office/drawing/2014/chart" uri="{C3380CC4-5D6E-409C-BE32-E72D297353CC}">
                <c16:uniqueId val="{000001B3-3BC4-4DD8-B4FD-BA402310343B}"/>
              </c:ext>
            </c:extLst>
          </c:dPt>
          <c:dPt>
            <c:idx val="217"/>
            <c:invertIfNegative val="1"/>
            <c:bubble3D val="0"/>
            <c:spPr>
              <a:solidFill>
                <a:srgbClr val="AEABAB"/>
              </a:solidFill>
            </c:spPr>
            <c:extLst>
              <c:ext xmlns:c16="http://schemas.microsoft.com/office/drawing/2014/chart" uri="{C3380CC4-5D6E-409C-BE32-E72D297353CC}">
                <c16:uniqueId val="{000001B5-3BC4-4DD8-B4FD-BA402310343B}"/>
              </c:ext>
            </c:extLst>
          </c:dPt>
          <c:dPt>
            <c:idx val="218"/>
            <c:invertIfNegative val="1"/>
            <c:bubble3D val="0"/>
            <c:spPr>
              <a:solidFill>
                <a:srgbClr val="AEABAB"/>
              </a:solidFill>
            </c:spPr>
            <c:extLst>
              <c:ext xmlns:c16="http://schemas.microsoft.com/office/drawing/2014/chart" uri="{C3380CC4-5D6E-409C-BE32-E72D297353CC}">
                <c16:uniqueId val="{000001B7-3BC4-4DD8-B4FD-BA402310343B}"/>
              </c:ext>
            </c:extLst>
          </c:dPt>
          <c:dPt>
            <c:idx val="219"/>
            <c:invertIfNegative val="1"/>
            <c:bubble3D val="0"/>
            <c:spPr>
              <a:solidFill>
                <a:srgbClr val="AEABAB"/>
              </a:solidFill>
            </c:spPr>
            <c:extLst>
              <c:ext xmlns:c16="http://schemas.microsoft.com/office/drawing/2014/chart" uri="{C3380CC4-5D6E-409C-BE32-E72D297353CC}">
                <c16:uniqueId val="{000001B9-3BC4-4DD8-B4FD-BA402310343B}"/>
              </c:ext>
            </c:extLst>
          </c:dPt>
          <c:dPt>
            <c:idx val="220"/>
            <c:invertIfNegative val="1"/>
            <c:bubble3D val="0"/>
            <c:spPr>
              <a:solidFill>
                <a:srgbClr val="AEABAB"/>
              </a:solidFill>
            </c:spPr>
            <c:extLst>
              <c:ext xmlns:c16="http://schemas.microsoft.com/office/drawing/2014/chart" uri="{C3380CC4-5D6E-409C-BE32-E72D297353CC}">
                <c16:uniqueId val="{000001BB-3BC4-4DD8-B4FD-BA402310343B}"/>
              </c:ext>
            </c:extLst>
          </c:dPt>
          <c:dPt>
            <c:idx val="221"/>
            <c:invertIfNegative val="1"/>
            <c:bubble3D val="0"/>
            <c:spPr>
              <a:solidFill>
                <a:srgbClr val="AEABAB"/>
              </a:solidFill>
            </c:spPr>
            <c:extLst>
              <c:ext xmlns:c16="http://schemas.microsoft.com/office/drawing/2014/chart" uri="{C3380CC4-5D6E-409C-BE32-E72D297353CC}">
                <c16:uniqueId val="{000001BD-3BC4-4DD8-B4FD-BA402310343B}"/>
              </c:ext>
            </c:extLst>
          </c:dPt>
          <c:dPt>
            <c:idx val="222"/>
            <c:invertIfNegative val="1"/>
            <c:bubble3D val="0"/>
            <c:spPr>
              <a:solidFill>
                <a:srgbClr val="AEABAB"/>
              </a:solidFill>
            </c:spPr>
            <c:extLst>
              <c:ext xmlns:c16="http://schemas.microsoft.com/office/drawing/2014/chart" uri="{C3380CC4-5D6E-409C-BE32-E72D297353CC}">
                <c16:uniqueId val="{000001BF-3BC4-4DD8-B4FD-BA402310343B}"/>
              </c:ext>
            </c:extLst>
          </c:dPt>
          <c:dPt>
            <c:idx val="223"/>
            <c:invertIfNegative val="1"/>
            <c:bubble3D val="0"/>
            <c:spPr>
              <a:solidFill>
                <a:srgbClr val="AEABAB"/>
              </a:solidFill>
            </c:spPr>
            <c:extLst>
              <c:ext xmlns:c16="http://schemas.microsoft.com/office/drawing/2014/chart" uri="{C3380CC4-5D6E-409C-BE32-E72D297353CC}">
                <c16:uniqueId val="{000001C1-3BC4-4DD8-B4FD-BA402310343B}"/>
              </c:ext>
            </c:extLst>
          </c:dPt>
          <c:dPt>
            <c:idx val="224"/>
            <c:invertIfNegative val="1"/>
            <c:bubble3D val="0"/>
            <c:spPr>
              <a:solidFill>
                <a:srgbClr val="AEABAB"/>
              </a:solidFill>
            </c:spPr>
            <c:extLst>
              <c:ext xmlns:c16="http://schemas.microsoft.com/office/drawing/2014/chart" uri="{C3380CC4-5D6E-409C-BE32-E72D297353CC}">
                <c16:uniqueId val="{000001C3-3BC4-4DD8-B4FD-BA402310343B}"/>
              </c:ext>
            </c:extLst>
          </c:dPt>
          <c:dPt>
            <c:idx val="225"/>
            <c:invertIfNegative val="1"/>
            <c:bubble3D val="0"/>
            <c:spPr>
              <a:solidFill>
                <a:srgbClr val="AEABAB"/>
              </a:solidFill>
            </c:spPr>
            <c:extLst>
              <c:ext xmlns:c16="http://schemas.microsoft.com/office/drawing/2014/chart" uri="{C3380CC4-5D6E-409C-BE32-E72D297353CC}">
                <c16:uniqueId val="{000001C5-3BC4-4DD8-B4FD-BA402310343B}"/>
              </c:ext>
            </c:extLst>
          </c:dPt>
          <c:dPt>
            <c:idx val="226"/>
            <c:invertIfNegative val="1"/>
            <c:bubble3D val="0"/>
            <c:spPr>
              <a:solidFill>
                <a:srgbClr val="AEABAB"/>
              </a:solidFill>
            </c:spPr>
            <c:extLst>
              <c:ext xmlns:c16="http://schemas.microsoft.com/office/drawing/2014/chart" uri="{C3380CC4-5D6E-409C-BE32-E72D297353CC}">
                <c16:uniqueId val="{000001C7-3BC4-4DD8-B4FD-BA402310343B}"/>
              </c:ext>
            </c:extLst>
          </c:dPt>
          <c:dPt>
            <c:idx val="227"/>
            <c:invertIfNegative val="1"/>
            <c:bubble3D val="0"/>
            <c:spPr>
              <a:solidFill>
                <a:srgbClr val="AEABAB"/>
              </a:solidFill>
            </c:spPr>
            <c:extLst>
              <c:ext xmlns:c16="http://schemas.microsoft.com/office/drawing/2014/chart" uri="{C3380CC4-5D6E-409C-BE32-E72D297353CC}">
                <c16:uniqueId val="{000001C9-3BC4-4DD8-B4FD-BA402310343B}"/>
              </c:ext>
            </c:extLst>
          </c:dPt>
          <c:dPt>
            <c:idx val="228"/>
            <c:invertIfNegative val="1"/>
            <c:bubble3D val="0"/>
            <c:spPr>
              <a:solidFill>
                <a:srgbClr val="AEABAB"/>
              </a:solidFill>
            </c:spPr>
            <c:extLst>
              <c:ext xmlns:c16="http://schemas.microsoft.com/office/drawing/2014/chart" uri="{C3380CC4-5D6E-409C-BE32-E72D297353CC}">
                <c16:uniqueId val="{000001CB-3BC4-4DD8-B4FD-BA402310343B}"/>
              </c:ext>
            </c:extLst>
          </c:dPt>
          <c:dPt>
            <c:idx val="229"/>
            <c:invertIfNegative val="1"/>
            <c:bubble3D val="0"/>
            <c:spPr>
              <a:solidFill>
                <a:srgbClr val="AEABAB"/>
              </a:solidFill>
            </c:spPr>
            <c:extLst>
              <c:ext xmlns:c16="http://schemas.microsoft.com/office/drawing/2014/chart" uri="{C3380CC4-5D6E-409C-BE32-E72D297353CC}">
                <c16:uniqueId val="{000001CD-3BC4-4DD8-B4FD-BA402310343B}"/>
              </c:ext>
            </c:extLst>
          </c:dPt>
          <c:dPt>
            <c:idx val="230"/>
            <c:invertIfNegative val="1"/>
            <c:bubble3D val="0"/>
            <c:spPr>
              <a:solidFill>
                <a:srgbClr val="AEABAB"/>
              </a:solidFill>
            </c:spPr>
            <c:extLst>
              <c:ext xmlns:c16="http://schemas.microsoft.com/office/drawing/2014/chart" uri="{C3380CC4-5D6E-409C-BE32-E72D297353CC}">
                <c16:uniqueId val="{000001CF-3BC4-4DD8-B4FD-BA402310343B}"/>
              </c:ext>
            </c:extLst>
          </c:dPt>
          <c:dPt>
            <c:idx val="231"/>
            <c:invertIfNegative val="1"/>
            <c:bubble3D val="0"/>
            <c:spPr>
              <a:solidFill>
                <a:srgbClr val="AEABAB"/>
              </a:solidFill>
            </c:spPr>
            <c:extLst>
              <c:ext xmlns:c16="http://schemas.microsoft.com/office/drawing/2014/chart" uri="{C3380CC4-5D6E-409C-BE32-E72D297353CC}">
                <c16:uniqueId val="{000001D1-3BC4-4DD8-B4FD-BA402310343B}"/>
              </c:ext>
            </c:extLst>
          </c:dPt>
          <c:dPt>
            <c:idx val="232"/>
            <c:invertIfNegative val="1"/>
            <c:bubble3D val="0"/>
            <c:spPr>
              <a:solidFill>
                <a:srgbClr val="AEABAB"/>
              </a:solidFill>
            </c:spPr>
            <c:extLst>
              <c:ext xmlns:c16="http://schemas.microsoft.com/office/drawing/2014/chart" uri="{C3380CC4-5D6E-409C-BE32-E72D297353CC}">
                <c16:uniqueId val="{000001D3-3BC4-4DD8-B4FD-BA402310343B}"/>
              </c:ext>
            </c:extLst>
          </c:dPt>
          <c:dPt>
            <c:idx val="233"/>
            <c:invertIfNegative val="1"/>
            <c:bubble3D val="0"/>
            <c:spPr>
              <a:solidFill>
                <a:srgbClr val="AEABAB"/>
              </a:solidFill>
            </c:spPr>
            <c:extLst>
              <c:ext xmlns:c16="http://schemas.microsoft.com/office/drawing/2014/chart" uri="{C3380CC4-5D6E-409C-BE32-E72D297353CC}">
                <c16:uniqueId val="{000001D5-3BC4-4DD8-B4FD-BA402310343B}"/>
              </c:ext>
            </c:extLst>
          </c:dPt>
          <c:dPt>
            <c:idx val="234"/>
            <c:invertIfNegative val="1"/>
            <c:bubble3D val="0"/>
            <c:spPr>
              <a:solidFill>
                <a:srgbClr val="AEABAB"/>
              </a:solidFill>
            </c:spPr>
            <c:extLst>
              <c:ext xmlns:c16="http://schemas.microsoft.com/office/drawing/2014/chart" uri="{C3380CC4-5D6E-409C-BE32-E72D297353CC}">
                <c16:uniqueId val="{000001D7-3BC4-4DD8-B4FD-BA402310343B}"/>
              </c:ext>
            </c:extLst>
          </c:dPt>
          <c:dPt>
            <c:idx val="235"/>
            <c:invertIfNegative val="1"/>
            <c:bubble3D val="0"/>
            <c:spPr>
              <a:solidFill>
                <a:srgbClr val="AEABAB"/>
              </a:solidFill>
            </c:spPr>
            <c:extLst>
              <c:ext xmlns:c16="http://schemas.microsoft.com/office/drawing/2014/chart" uri="{C3380CC4-5D6E-409C-BE32-E72D297353CC}">
                <c16:uniqueId val="{000001D9-3BC4-4DD8-B4FD-BA402310343B}"/>
              </c:ext>
            </c:extLst>
          </c:dPt>
          <c:dPt>
            <c:idx val="236"/>
            <c:invertIfNegative val="1"/>
            <c:bubble3D val="0"/>
            <c:spPr>
              <a:solidFill>
                <a:srgbClr val="AEABAB"/>
              </a:solidFill>
            </c:spPr>
            <c:extLst>
              <c:ext xmlns:c16="http://schemas.microsoft.com/office/drawing/2014/chart" uri="{C3380CC4-5D6E-409C-BE32-E72D297353CC}">
                <c16:uniqueId val="{000001DB-3BC4-4DD8-B4FD-BA402310343B}"/>
              </c:ext>
            </c:extLst>
          </c:dPt>
          <c:dPt>
            <c:idx val="237"/>
            <c:invertIfNegative val="1"/>
            <c:bubble3D val="0"/>
            <c:spPr>
              <a:solidFill>
                <a:srgbClr val="AEABAB"/>
              </a:solidFill>
            </c:spPr>
            <c:extLst>
              <c:ext xmlns:c16="http://schemas.microsoft.com/office/drawing/2014/chart" uri="{C3380CC4-5D6E-409C-BE32-E72D297353CC}">
                <c16:uniqueId val="{000001DD-3BC4-4DD8-B4FD-BA402310343B}"/>
              </c:ext>
            </c:extLst>
          </c:dPt>
          <c:dPt>
            <c:idx val="238"/>
            <c:invertIfNegative val="1"/>
            <c:bubble3D val="0"/>
            <c:spPr>
              <a:solidFill>
                <a:srgbClr val="AEABAB"/>
              </a:solidFill>
            </c:spPr>
            <c:extLst>
              <c:ext xmlns:c16="http://schemas.microsoft.com/office/drawing/2014/chart" uri="{C3380CC4-5D6E-409C-BE32-E72D297353CC}">
                <c16:uniqueId val="{000001DF-3BC4-4DD8-B4FD-BA402310343B}"/>
              </c:ext>
            </c:extLst>
          </c:dPt>
          <c:dPt>
            <c:idx val="239"/>
            <c:invertIfNegative val="1"/>
            <c:bubble3D val="0"/>
            <c:spPr>
              <a:solidFill>
                <a:srgbClr val="AEABAB"/>
              </a:solidFill>
            </c:spPr>
            <c:extLst>
              <c:ext xmlns:c16="http://schemas.microsoft.com/office/drawing/2014/chart" uri="{C3380CC4-5D6E-409C-BE32-E72D297353CC}">
                <c16:uniqueId val="{000001E1-3BC4-4DD8-B4FD-BA402310343B}"/>
              </c:ext>
            </c:extLst>
          </c:dPt>
          <c:dPt>
            <c:idx val="240"/>
            <c:invertIfNegative val="1"/>
            <c:bubble3D val="0"/>
            <c:spPr>
              <a:solidFill>
                <a:srgbClr val="AEABAB"/>
              </a:solidFill>
            </c:spPr>
            <c:extLst>
              <c:ext xmlns:c16="http://schemas.microsoft.com/office/drawing/2014/chart" uri="{C3380CC4-5D6E-409C-BE32-E72D297353CC}">
                <c16:uniqueId val="{000001E3-3BC4-4DD8-B4FD-BA402310343B}"/>
              </c:ext>
            </c:extLst>
          </c:dPt>
          <c:dPt>
            <c:idx val="241"/>
            <c:invertIfNegative val="1"/>
            <c:bubble3D val="0"/>
            <c:spPr>
              <a:solidFill>
                <a:srgbClr val="AEABAB"/>
              </a:solidFill>
            </c:spPr>
            <c:extLst>
              <c:ext xmlns:c16="http://schemas.microsoft.com/office/drawing/2014/chart" uri="{C3380CC4-5D6E-409C-BE32-E72D297353CC}">
                <c16:uniqueId val="{000001E5-3BC4-4DD8-B4FD-BA402310343B}"/>
              </c:ext>
            </c:extLst>
          </c:dPt>
          <c:dPt>
            <c:idx val="242"/>
            <c:invertIfNegative val="1"/>
            <c:bubble3D val="0"/>
            <c:spPr>
              <a:solidFill>
                <a:srgbClr val="AEABAB"/>
              </a:solidFill>
            </c:spPr>
            <c:extLst>
              <c:ext xmlns:c16="http://schemas.microsoft.com/office/drawing/2014/chart" uri="{C3380CC4-5D6E-409C-BE32-E72D297353CC}">
                <c16:uniqueId val="{000001E7-3BC4-4DD8-B4FD-BA402310343B}"/>
              </c:ext>
            </c:extLst>
          </c:dPt>
          <c:dPt>
            <c:idx val="243"/>
            <c:invertIfNegative val="1"/>
            <c:bubble3D val="0"/>
            <c:spPr>
              <a:solidFill>
                <a:srgbClr val="AEABAB"/>
              </a:solidFill>
            </c:spPr>
            <c:extLst>
              <c:ext xmlns:c16="http://schemas.microsoft.com/office/drawing/2014/chart" uri="{C3380CC4-5D6E-409C-BE32-E72D297353CC}">
                <c16:uniqueId val="{000001E9-3BC4-4DD8-B4FD-BA402310343B}"/>
              </c:ext>
            </c:extLst>
          </c:dPt>
          <c:dPt>
            <c:idx val="244"/>
            <c:invertIfNegative val="1"/>
            <c:bubble3D val="0"/>
            <c:spPr>
              <a:solidFill>
                <a:srgbClr val="AEABAB"/>
              </a:solidFill>
            </c:spPr>
            <c:extLst>
              <c:ext xmlns:c16="http://schemas.microsoft.com/office/drawing/2014/chart" uri="{C3380CC4-5D6E-409C-BE32-E72D297353CC}">
                <c16:uniqueId val="{000001EB-3BC4-4DD8-B4FD-BA402310343B}"/>
              </c:ext>
            </c:extLst>
          </c:dPt>
          <c:dPt>
            <c:idx val="245"/>
            <c:invertIfNegative val="1"/>
            <c:bubble3D val="0"/>
            <c:spPr>
              <a:solidFill>
                <a:srgbClr val="AEABAB"/>
              </a:solidFill>
            </c:spPr>
            <c:extLst>
              <c:ext xmlns:c16="http://schemas.microsoft.com/office/drawing/2014/chart" uri="{C3380CC4-5D6E-409C-BE32-E72D297353CC}">
                <c16:uniqueId val="{000001ED-3BC4-4DD8-B4FD-BA402310343B}"/>
              </c:ext>
            </c:extLst>
          </c:dPt>
          <c:dPt>
            <c:idx val="246"/>
            <c:invertIfNegative val="1"/>
            <c:bubble3D val="0"/>
            <c:spPr>
              <a:solidFill>
                <a:srgbClr val="AEABAB"/>
              </a:solidFill>
            </c:spPr>
            <c:extLst>
              <c:ext xmlns:c16="http://schemas.microsoft.com/office/drawing/2014/chart" uri="{C3380CC4-5D6E-409C-BE32-E72D297353CC}">
                <c16:uniqueId val="{000001EF-3BC4-4DD8-B4FD-BA402310343B}"/>
              </c:ext>
            </c:extLst>
          </c:dPt>
          <c:dPt>
            <c:idx val="247"/>
            <c:invertIfNegative val="1"/>
            <c:bubble3D val="0"/>
            <c:spPr>
              <a:solidFill>
                <a:srgbClr val="AEABAB"/>
              </a:solidFill>
            </c:spPr>
            <c:extLst>
              <c:ext xmlns:c16="http://schemas.microsoft.com/office/drawing/2014/chart" uri="{C3380CC4-5D6E-409C-BE32-E72D297353CC}">
                <c16:uniqueId val="{000001F1-3BC4-4DD8-B4FD-BA402310343B}"/>
              </c:ext>
            </c:extLst>
          </c:dPt>
          <c:dPt>
            <c:idx val="248"/>
            <c:invertIfNegative val="1"/>
            <c:bubble3D val="0"/>
            <c:spPr>
              <a:solidFill>
                <a:srgbClr val="AEABAB"/>
              </a:solidFill>
            </c:spPr>
            <c:extLst>
              <c:ext xmlns:c16="http://schemas.microsoft.com/office/drawing/2014/chart" uri="{C3380CC4-5D6E-409C-BE32-E72D297353CC}">
                <c16:uniqueId val="{000001F3-3BC4-4DD8-B4FD-BA402310343B}"/>
              </c:ext>
            </c:extLst>
          </c:dPt>
          <c:dPt>
            <c:idx val="249"/>
            <c:invertIfNegative val="1"/>
            <c:bubble3D val="0"/>
            <c:spPr>
              <a:solidFill>
                <a:srgbClr val="AEABAB"/>
              </a:solidFill>
            </c:spPr>
            <c:extLst>
              <c:ext xmlns:c16="http://schemas.microsoft.com/office/drawing/2014/chart" uri="{C3380CC4-5D6E-409C-BE32-E72D297353CC}">
                <c16:uniqueId val="{000001F5-3BC4-4DD8-B4FD-BA402310343B}"/>
              </c:ext>
            </c:extLst>
          </c:dPt>
          <c:dPt>
            <c:idx val="250"/>
            <c:invertIfNegative val="1"/>
            <c:bubble3D val="0"/>
            <c:spPr>
              <a:solidFill>
                <a:srgbClr val="AEABAB"/>
              </a:solidFill>
            </c:spPr>
            <c:extLst>
              <c:ext xmlns:c16="http://schemas.microsoft.com/office/drawing/2014/chart" uri="{C3380CC4-5D6E-409C-BE32-E72D297353CC}">
                <c16:uniqueId val="{000001F7-3BC4-4DD8-B4FD-BA402310343B}"/>
              </c:ext>
            </c:extLst>
          </c:dPt>
          <c:dPt>
            <c:idx val="251"/>
            <c:invertIfNegative val="1"/>
            <c:bubble3D val="0"/>
            <c:spPr>
              <a:solidFill>
                <a:srgbClr val="AEABAB"/>
              </a:solidFill>
            </c:spPr>
            <c:extLst>
              <c:ext xmlns:c16="http://schemas.microsoft.com/office/drawing/2014/chart" uri="{C3380CC4-5D6E-409C-BE32-E72D297353CC}">
                <c16:uniqueId val="{000001F9-3BC4-4DD8-B4FD-BA402310343B}"/>
              </c:ext>
            </c:extLst>
          </c:dPt>
          <c:dPt>
            <c:idx val="252"/>
            <c:invertIfNegative val="1"/>
            <c:bubble3D val="0"/>
            <c:spPr>
              <a:solidFill>
                <a:srgbClr val="AEABAB"/>
              </a:solidFill>
            </c:spPr>
            <c:extLst>
              <c:ext xmlns:c16="http://schemas.microsoft.com/office/drawing/2014/chart" uri="{C3380CC4-5D6E-409C-BE32-E72D297353CC}">
                <c16:uniqueId val="{000001FB-3BC4-4DD8-B4FD-BA402310343B}"/>
              </c:ext>
            </c:extLst>
          </c:dPt>
          <c:dPt>
            <c:idx val="253"/>
            <c:invertIfNegative val="1"/>
            <c:bubble3D val="0"/>
            <c:spPr>
              <a:solidFill>
                <a:srgbClr val="AEABAB"/>
              </a:solidFill>
            </c:spPr>
            <c:extLst>
              <c:ext xmlns:c16="http://schemas.microsoft.com/office/drawing/2014/chart" uri="{C3380CC4-5D6E-409C-BE32-E72D297353CC}">
                <c16:uniqueId val="{000001FD-3BC4-4DD8-B4FD-BA402310343B}"/>
              </c:ext>
            </c:extLst>
          </c:dPt>
          <c:dPt>
            <c:idx val="254"/>
            <c:invertIfNegative val="1"/>
            <c:bubble3D val="0"/>
            <c:spPr>
              <a:solidFill>
                <a:srgbClr val="AEABAB"/>
              </a:solidFill>
            </c:spPr>
            <c:extLst>
              <c:ext xmlns:c16="http://schemas.microsoft.com/office/drawing/2014/chart" uri="{C3380CC4-5D6E-409C-BE32-E72D297353CC}">
                <c16:uniqueId val="{000001FF-3BC4-4DD8-B4FD-BA402310343B}"/>
              </c:ext>
            </c:extLst>
          </c:dPt>
          <c:dPt>
            <c:idx val="255"/>
            <c:invertIfNegative val="1"/>
            <c:bubble3D val="0"/>
            <c:spPr>
              <a:solidFill>
                <a:srgbClr val="AEABAB"/>
              </a:solidFill>
            </c:spPr>
            <c:extLst>
              <c:ext xmlns:c16="http://schemas.microsoft.com/office/drawing/2014/chart" uri="{C3380CC4-5D6E-409C-BE32-E72D297353CC}">
                <c16:uniqueId val="{00000201-3BC4-4DD8-B4FD-BA402310343B}"/>
              </c:ext>
            </c:extLst>
          </c:dPt>
          <c:dPt>
            <c:idx val="256"/>
            <c:invertIfNegative val="1"/>
            <c:bubble3D val="0"/>
            <c:spPr>
              <a:solidFill>
                <a:srgbClr val="AEABAB"/>
              </a:solidFill>
            </c:spPr>
            <c:extLst>
              <c:ext xmlns:c16="http://schemas.microsoft.com/office/drawing/2014/chart" uri="{C3380CC4-5D6E-409C-BE32-E72D297353CC}">
                <c16:uniqueId val="{00000203-3BC4-4DD8-B4FD-BA402310343B}"/>
              </c:ext>
            </c:extLst>
          </c:dPt>
          <c:dPt>
            <c:idx val="257"/>
            <c:invertIfNegative val="1"/>
            <c:bubble3D val="0"/>
            <c:spPr>
              <a:solidFill>
                <a:srgbClr val="AEABAB"/>
              </a:solidFill>
            </c:spPr>
            <c:extLst>
              <c:ext xmlns:c16="http://schemas.microsoft.com/office/drawing/2014/chart" uri="{C3380CC4-5D6E-409C-BE32-E72D297353CC}">
                <c16:uniqueId val="{00000205-3BC4-4DD8-B4FD-BA402310343B}"/>
              </c:ext>
            </c:extLst>
          </c:dPt>
          <c:dPt>
            <c:idx val="258"/>
            <c:invertIfNegative val="1"/>
            <c:bubble3D val="0"/>
            <c:spPr>
              <a:solidFill>
                <a:srgbClr val="AEABAB"/>
              </a:solidFill>
            </c:spPr>
            <c:extLst>
              <c:ext xmlns:c16="http://schemas.microsoft.com/office/drawing/2014/chart" uri="{C3380CC4-5D6E-409C-BE32-E72D297353CC}">
                <c16:uniqueId val="{00000207-3BC4-4DD8-B4FD-BA402310343B}"/>
              </c:ext>
            </c:extLst>
          </c:dPt>
          <c:dPt>
            <c:idx val="259"/>
            <c:invertIfNegative val="1"/>
            <c:bubble3D val="0"/>
            <c:spPr>
              <a:solidFill>
                <a:srgbClr val="AEABAB"/>
              </a:solidFill>
            </c:spPr>
            <c:extLst>
              <c:ext xmlns:c16="http://schemas.microsoft.com/office/drawing/2014/chart" uri="{C3380CC4-5D6E-409C-BE32-E72D297353CC}">
                <c16:uniqueId val="{00000209-3BC4-4DD8-B4FD-BA402310343B}"/>
              </c:ext>
            </c:extLst>
          </c:dPt>
          <c:dPt>
            <c:idx val="260"/>
            <c:invertIfNegative val="1"/>
            <c:bubble3D val="0"/>
            <c:spPr>
              <a:solidFill>
                <a:srgbClr val="AEABAB"/>
              </a:solidFill>
            </c:spPr>
            <c:extLst>
              <c:ext xmlns:c16="http://schemas.microsoft.com/office/drawing/2014/chart" uri="{C3380CC4-5D6E-409C-BE32-E72D297353CC}">
                <c16:uniqueId val="{0000020B-3BC4-4DD8-B4FD-BA402310343B}"/>
              </c:ext>
            </c:extLst>
          </c:dPt>
          <c:dPt>
            <c:idx val="261"/>
            <c:invertIfNegative val="1"/>
            <c:bubble3D val="0"/>
            <c:spPr>
              <a:solidFill>
                <a:srgbClr val="AEABAB"/>
              </a:solidFill>
            </c:spPr>
            <c:extLst>
              <c:ext xmlns:c16="http://schemas.microsoft.com/office/drawing/2014/chart" uri="{C3380CC4-5D6E-409C-BE32-E72D297353CC}">
                <c16:uniqueId val="{0000020D-3BC4-4DD8-B4FD-BA402310343B}"/>
              </c:ext>
            </c:extLst>
          </c:dPt>
          <c:dPt>
            <c:idx val="262"/>
            <c:invertIfNegative val="1"/>
            <c:bubble3D val="0"/>
            <c:spPr>
              <a:solidFill>
                <a:srgbClr val="AEABAB"/>
              </a:solidFill>
            </c:spPr>
            <c:extLst>
              <c:ext xmlns:c16="http://schemas.microsoft.com/office/drawing/2014/chart" uri="{C3380CC4-5D6E-409C-BE32-E72D297353CC}">
                <c16:uniqueId val="{0000020F-3BC4-4DD8-B4FD-BA402310343B}"/>
              </c:ext>
            </c:extLst>
          </c:dPt>
          <c:dPt>
            <c:idx val="263"/>
            <c:invertIfNegative val="1"/>
            <c:bubble3D val="0"/>
            <c:spPr>
              <a:solidFill>
                <a:srgbClr val="AEABAB"/>
              </a:solidFill>
            </c:spPr>
            <c:extLst>
              <c:ext xmlns:c16="http://schemas.microsoft.com/office/drawing/2014/chart" uri="{C3380CC4-5D6E-409C-BE32-E72D297353CC}">
                <c16:uniqueId val="{00000211-3BC4-4DD8-B4FD-BA402310343B}"/>
              </c:ext>
            </c:extLst>
          </c:dPt>
          <c:dPt>
            <c:idx val="264"/>
            <c:invertIfNegative val="1"/>
            <c:bubble3D val="0"/>
            <c:spPr>
              <a:solidFill>
                <a:srgbClr val="AEABAB"/>
              </a:solidFill>
            </c:spPr>
            <c:extLst>
              <c:ext xmlns:c16="http://schemas.microsoft.com/office/drawing/2014/chart" uri="{C3380CC4-5D6E-409C-BE32-E72D297353CC}">
                <c16:uniqueId val="{00000213-3BC4-4DD8-B4FD-BA402310343B}"/>
              </c:ext>
            </c:extLst>
          </c:dPt>
          <c:dPt>
            <c:idx val="265"/>
            <c:invertIfNegative val="1"/>
            <c:bubble3D val="0"/>
            <c:spPr>
              <a:solidFill>
                <a:srgbClr val="AEABAB"/>
              </a:solidFill>
            </c:spPr>
            <c:extLst>
              <c:ext xmlns:c16="http://schemas.microsoft.com/office/drawing/2014/chart" uri="{C3380CC4-5D6E-409C-BE32-E72D297353CC}">
                <c16:uniqueId val="{00000215-3BC4-4DD8-B4FD-BA402310343B}"/>
              </c:ext>
            </c:extLst>
          </c:dPt>
          <c:dPt>
            <c:idx val="266"/>
            <c:invertIfNegative val="1"/>
            <c:bubble3D val="0"/>
            <c:spPr>
              <a:solidFill>
                <a:srgbClr val="AEABAB"/>
              </a:solidFill>
            </c:spPr>
            <c:extLst>
              <c:ext xmlns:c16="http://schemas.microsoft.com/office/drawing/2014/chart" uri="{C3380CC4-5D6E-409C-BE32-E72D297353CC}">
                <c16:uniqueId val="{00000217-3BC4-4DD8-B4FD-BA402310343B}"/>
              </c:ext>
            </c:extLst>
          </c:dPt>
          <c:dPt>
            <c:idx val="267"/>
            <c:invertIfNegative val="1"/>
            <c:bubble3D val="0"/>
            <c:spPr>
              <a:solidFill>
                <a:srgbClr val="AEABAB"/>
              </a:solidFill>
            </c:spPr>
            <c:extLst>
              <c:ext xmlns:c16="http://schemas.microsoft.com/office/drawing/2014/chart" uri="{C3380CC4-5D6E-409C-BE32-E72D297353CC}">
                <c16:uniqueId val="{00000219-3BC4-4DD8-B4FD-BA402310343B}"/>
              </c:ext>
            </c:extLst>
          </c:dPt>
          <c:dPt>
            <c:idx val="268"/>
            <c:invertIfNegative val="1"/>
            <c:bubble3D val="0"/>
            <c:spPr>
              <a:solidFill>
                <a:srgbClr val="AEABAB"/>
              </a:solidFill>
            </c:spPr>
            <c:extLst>
              <c:ext xmlns:c16="http://schemas.microsoft.com/office/drawing/2014/chart" uri="{C3380CC4-5D6E-409C-BE32-E72D297353CC}">
                <c16:uniqueId val="{0000021B-3BC4-4DD8-B4FD-BA402310343B}"/>
              </c:ext>
            </c:extLst>
          </c:dPt>
          <c:dPt>
            <c:idx val="269"/>
            <c:invertIfNegative val="1"/>
            <c:bubble3D val="0"/>
            <c:spPr>
              <a:solidFill>
                <a:srgbClr val="AEABAB"/>
              </a:solidFill>
            </c:spPr>
            <c:extLst>
              <c:ext xmlns:c16="http://schemas.microsoft.com/office/drawing/2014/chart" uri="{C3380CC4-5D6E-409C-BE32-E72D297353CC}">
                <c16:uniqueId val="{0000021D-3BC4-4DD8-B4FD-BA402310343B}"/>
              </c:ext>
            </c:extLst>
          </c:dPt>
          <c:dPt>
            <c:idx val="270"/>
            <c:invertIfNegative val="1"/>
            <c:bubble3D val="0"/>
            <c:spPr>
              <a:solidFill>
                <a:srgbClr val="AEABAB"/>
              </a:solidFill>
            </c:spPr>
            <c:extLst>
              <c:ext xmlns:c16="http://schemas.microsoft.com/office/drawing/2014/chart" uri="{C3380CC4-5D6E-409C-BE32-E72D297353CC}">
                <c16:uniqueId val="{0000021F-3BC4-4DD8-B4FD-BA402310343B}"/>
              </c:ext>
            </c:extLst>
          </c:dPt>
          <c:cat>
            <c:strRef>
              <c:f>Sheet1!$A$2:$A$272</c:f>
              <c:strCache>
                <c:ptCount val="271"/>
                <c:pt idx="0">
                  <c:v>Ruinart</c:v>
                </c:pt>
                <c:pt idx="1">
                  <c:v>Nicolas</c:v>
                </c:pt>
                <c:pt idx="2">
                  <c:v>Ruinart</c:v>
                </c:pt>
                <c:pt idx="3">
                  <c:v>Deutz</c:v>
                </c:pt>
                <c:pt idx="4">
                  <c:v>Heidsieck &amp;</c:v>
                </c:pt>
                <c:pt idx="5">
                  <c:v>Ruinart</c:v>
                </c:pt>
                <c:pt idx="6">
                  <c:v>Laurent Per</c:v>
                </c:pt>
                <c:pt idx="7">
                  <c:v>Ruinart</c:v>
                </c:pt>
                <c:pt idx="8">
                  <c:v>De Bligny</c:v>
                </c:pt>
                <c:pt idx="9">
                  <c:v>Malard</c:v>
                </c:pt>
                <c:pt idx="10">
                  <c:v>Ayala</c:v>
                </c:pt>
                <c:pt idx="11">
                  <c:v>Bollinger</c:v>
                </c:pt>
                <c:pt idx="12">
                  <c:v>Taittinger</c:v>
                </c:pt>
                <c:pt idx="13">
                  <c:v>Nicolas Feu</c:v>
                </c:pt>
                <c:pt idx="14">
                  <c:v>Canard Duch</c:v>
                </c:pt>
                <c:pt idx="15">
                  <c:v>Ruinart</c:v>
                </c:pt>
                <c:pt idx="16">
                  <c:v>Ruinart</c:v>
                </c:pt>
                <c:pt idx="17">
                  <c:v>Dom Perigno</c:v>
                </c:pt>
                <c:pt idx="18">
                  <c:v>Deutz</c:v>
                </c:pt>
                <c:pt idx="19">
                  <c:v>Ruinart</c:v>
                </c:pt>
                <c:pt idx="20">
                  <c:v>Demoiselle</c:v>
                </c:pt>
                <c:pt idx="21">
                  <c:v>Dom Perigno</c:v>
                </c:pt>
                <c:pt idx="22">
                  <c:v>Perrier Jou</c:v>
                </c:pt>
                <c:pt idx="23">
                  <c:v>Besserat De</c:v>
                </c:pt>
                <c:pt idx="24">
                  <c:v>Laurent Per</c:v>
                </c:pt>
                <c:pt idx="25">
                  <c:v>Pommery</c:v>
                </c:pt>
                <c:pt idx="26">
                  <c:v>Roederer</c:v>
                </c:pt>
                <c:pt idx="27">
                  <c:v>Laurent Per</c:v>
                </c:pt>
                <c:pt idx="28">
                  <c:v>Deutz</c:v>
                </c:pt>
                <c:pt idx="29">
                  <c:v>Moët &amp; Chan</c:v>
                </c:pt>
                <c:pt idx="30">
                  <c:v>All Others</c:v>
                </c:pt>
                <c:pt idx="31">
                  <c:v>Taittinger</c:v>
                </c:pt>
                <c:pt idx="32">
                  <c:v>Ruinart</c:v>
                </c:pt>
                <c:pt idx="33">
                  <c:v>Veuve Clicq</c:v>
                </c:pt>
                <c:pt idx="34">
                  <c:v>Demoiselle</c:v>
                </c:pt>
                <c:pt idx="35">
                  <c:v>Nicolas</c:v>
                </c:pt>
                <c:pt idx="36">
                  <c:v>Savian</c:v>
                </c:pt>
                <c:pt idx="37">
                  <c:v>Roederer</c:v>
                </c:pt>
                <c:pt idx="38">
                  <c:v>Veuve Clicq</c:v>
                </c:pt>
                <c:pt idx="39">
                  <c:v>Roederer</c:v>
                </c:pt>
                <c:pt idx="40">
                  <c:v>Malard</c:v>
                </c:pt>
                <c:pt idx="41">
                  <c:v>Nicolas</c:v>
                </c:pt>
                <c:pt idx="42">
                  <c:v>Campari: Al</c:v>
                </c:pt>
                <c:pt idx="43">
                  <c:v>Vesselle</c:v>
                </c:pt>
                <c:pt idx="44">
                  <c:v>Besserat De</c:v>
                </c:pt>
                <c:pt idx="45">
                  <c:v>Veuve Clicq</c:v>
                </c:pt>
                <c:pt idx="46">
                  <c:v>Ruinart</c:v>
                </c:pt>
                <c:pt idx="47">
                  <c:v>All Others</c:v>
                </c:pt>
                <c:pt idx="48">
                  <c:v>Krug</c:v>
                </c:pt>
                <c:pt idx="49">
                  <c:v>Nicolas Feu</c:v>
                </c:pt>
                <c:pt idx="50">
                  <c:v>All Others</c:v>
                </c:pt>
                <c:pt idx="51">
                  <c:v>Ruinart</c:v>
                </c:pt>
                <c:pt idx="52">
                  <c:v>Roederer</c:v>
                </c:pt>
                <c:pt idx="53">
                  <c:v>Nicolas</c:v>
                </c:pt>
                <c:pt idx="54">
                  <c:v>Piper Heids</c:v>
                </c:pt>
                <c:pt idx="55">
                  <c:v>Moët &amp; Chan</c:v>
                </c:pt>
                <c:pt idx="56">
                  <c:v>Nicolas Feu</c:v>
                </c:pt>
                <c:pt idx="57">
                  <c:v>Henriot</c:v>
                </c:pt>
                <c:pt idx="58">
                  <c:v>Moët &amp; Chan</c:v>
                </c:pt>
                <c:pt idx="59">
                  <c:v>Bollinger</c:v>
                </c:pt>
                <c:pt idx="60">
                  <c:v>Nicolas Feu</c:v>
                </c:pt>
                <c:pt idx="61">
                  <c:v>De Bligny</c:v>
                </c:pt>
                <c:pt idx="62">
                  <c:v>Pommery</c:v>
                </c:pt>
                <c:pt idx="63">
                  <c:v>Lanson</c:v>
                </c:pt>
                <c:pt idx="64">
                  <c:v>Deutz</c:v>
                </c:pt>
                <c:pt idx="65">
                  <c:v>Roederer</c:v>
                </c:pt>
                <c:pt idx="66">
                  <c:v>Ruinart</c:v>
                </c:pt>
                <c:pt idx="67">
                  <c:v>Malard</c:v>
                </c:pt>
                <c:pt idx="68">
                  <c:v>Canard Duch</c:v>
                </c:pt>
                <c:pt idx="69">
                  <c:v>Nicolas</c:v>
                </c:pt>
                <c:pt idx="70">
                  <c:v>Campari: Al</c:v>
                </c:pt>
                <c:pt idx="71">
                  <c:v>Louis Marti</c:v>
                </c:pt>
                <c:pt idx="72">
                  <c:v>De Venoge</c:v>
                </c:pt>
                <c:pt idx="73">
                  <c:v>Delamotte</c:v>
                </c:pt>
                <c:pt idx="74">
                  <c:v>Roederer</c:v>
                </c:pt>
                <c:pt idx="75">
                  <c:v>Besserat De</c:v>
                </c:pt>
                <c:pt idx="76">
                  <c:v>Malard</c:v>
                </c:pt>
                <c:pt idx="77">
                  <c:v>Malard</c:v>
                </c:pt>
                <c:pt idx="78">
                  <c:v>Deutz</c:v>
                </c:pt>
                <c:pt idx="79">
                  <c:v>Laurent Per</c:v>
                </c:pt>
                <c:pt idx="80">
                  <c:v>Ayala</c:v>
                </c:pt>
                <c:pt idx="81">
                  <c:v>Ruinart</c:v>
                </c:pt>
                <c:pt idx="82">
                  <c:v>Henriot</c:v>
                </c:pt>
                <c:pt idx="83">
                  <c:v>Bollinger</c:v>
                </c:pt>
                <c:pt idx="84">
                  <c:v>Roederer</c:v>
                </c:pt>
                <c:pt idx="85">
                  <c:v>Ruinart</c:v>
                </c:pt>
                <c:pt idx="86">
                  <c:v>Dom Perigno</c:v>
                </c:pt>
                <c:pt idx="87">
                  <c:v>Roederer</c:v>
                </c:pt>
                <c:pt idx="88">
                  <c:v>Henriot</c:v>
                </c:pt>
                <c:pt idx="89">
                  <c:v>Moët &amp; Chan</c:v>
                </c:pt>
                <c:pt idx="90">
                  <c:v>Taittinger</c:v>
                </c:pt>
                <c:pt idx="91">
                  <c:v>Ruinart</c:v>
                </c:pt>
                <c:pt idx="92">
                  <c:v>Perrier Jou</c:v>
                </c:pt>
                <c:pt idx="93">
                  <c:v>Perrier Jou</c:v>
                </c:pt>
                <c:pt idx="94">
                  <c:v>Nicolas</c:v>
                </c:pt>
                <c:pt idx="95">
                  <c:v>Canard Duch</c:v>
                </c:pt>
                <c:pt idx="96">
                  <c:v>Dom Perigno</c:v>
                </c:pt>
                <c:pt idx="97">
                  <c:v>Deutz</c:v>
                </c:pt>
                <c:pt idx="98">
                  <c:v>Ruinart</c:v>
                </c:pt>
                <c:pt idx="99">
                  <c:v>Nicolas</c:v>
                </c:pt>
                <c:pt idx="100">
                  <c:v>Nicolas</c:v>
                </c:pt>
                <c:pt idx="101">
                  <c:v>Vranken</c:v>
                </c:pt>
                <c:pt idx="102">
                  <c:v>Ruinart</c:v>
                </c:pt>
                <c:pt idx="103">
                  <c:v>Roederer</c:v>
                </c:pt>
                <c:pt idx="104">
                  <c:v>Henriot</c:v>
                </c:pt>
                <c:pt idx="105">
                  <c:v>Malard</c:v>
                </c:pt>
                <c:pt idx="106">
                  <c:v>Laurent Per</c:v>
                </c:pt>
                <c:pt idx="107">
                  <c:v>Taittinger</c:v>
                </c:pt>
                <c:pt idx="108">
                  <c:v>Canard Duch</c:v>
                </c:pt>
                <c:pt idx="109">
                  <c:v>Nicolas</c:v>
                </c:pt>
                <c:pt idx="110">
                  <c:v>Moët &amp; Chan</c:v>
                </c:pt>
                <c:pt idx="111">
                  <c:v>Pommery</c:v>
                </c:pt>
                <c:pt idx="112">
                  <c:v>Bollinger</c:v>
                </c:pt>
                <c:pt idx="113">
                  <c:v>Vranken</c:v>
                </c:pt>
                <c:pt idx="114">
                  <c:v>De Venoge</c:v>
                </c:pt>
                <c:pt idx="115">
                  <c:v>De Venoge</c:v>
                </c:pt>
                <c:pt idx="116">
                  <c:v>Ruinart</c:v>
                </c:pt>
                <c:pt idx="117">
                  <c:v>Demoiselle</c:v>
                </c:pt>
                <c:pt idx="118">
                  <c:v>Laurent Per</c:v>
                </c:pt>
                <c:pt idx="119">
                  <c:v>De Venoge</c:v>
                </c:pt>
                <c:pt idx="120">
                  <c:v>Laurent Per</c:v>
                </c:pt>
                <c:pt idx="121">
                  <c:v>Ruinart</c:v>
                </c:pt>
                <c:pt idx="122">
                  <c:v>Nicolas</c:v>
                </c:pt>
                <c:pt idx="123">
                  <c:v>Nicolas</c:v>
                </c:pt>
                <c:pt idx="124">
                  <c:v>Ruinart</c:v>
                </c:pt>
                <c:pt idx="125">
                  <c:v>Piper Heids</c:v>
                </c:pt>
                <c:pt idx="126">
                  <c:v>All Others</c:v>
                </c:pt>
                <c:pt idx="127">
                  <c:v>Canard Duch</c:v>
                </c:pt>
                <c:pt idx="128">
                  <c:v>Laurent Per</c:v>
                </c:pt>
                <c:pt idx="129">
                  <c:v>Nicolas</c:v>
                </c:pt>
                <c:pt idx="130">
                  <c:v>Nicolas</c:v>
                </c:pt>
                <c:pt idx="131">
                  <c:v>Laurent Per</c:v>
                </c:pt>
                <c:pt idx="132">
                  <c:v>Moët &amp; Chan</c:v>
                </c:pt>
                <c:pt idx="133">
                  <c:v>Roederer</c:v>
                </c:pt>
                <c:pt idx="134">
                  <c:v>Nicolas Feu</c:v>
                </c:pt>
                <c:pt idx="135">
                  <c:v>Delamotte</c:v>
                </c:pt>
                <c:pt idx="136">
                  <c:v>Nicolas</c:v>
                </c:pt>
                <c:pt idx="137">
                  <c:v>All Others</c:v>
                </c:pt>
                <c:pt idx="138">
                  <c:v>Roederer</c:v>
                </c:pt>
                <c:pt idx="139">
                  <c:v>Besserat De</c:v>
                </c:pt>
                <c:pt idx="140">
                  <c:v>Ruinart</c:v>
                </c:pt>
                <c:pt idx="141">
                  <c:v>Veuve Clicq</c:v>
                </c:pt>
                <c:pt idx="142">
                  <c:v>Canard Duch</c:v>
                </c:pt>
                <c:pt idx="143">
                  <c:v>Ruinart</c:v>
                </c:pt>
                <c:pt idx="144">
                  <c:v>Dom Perigno</c:v>
                </c:pt>
                <c:pt idx="145">
                  <c:v>Roederer</c:v>
                </c:pt>
                <c:pt idx="146">
                  <c:v>Roederer</c:v>
                </c:pt>
                <c:pt idx="147">
                  <c:v>Deutz</c:v>
                </c:pt>
                <c:pt idx="148">
                  <c:v>Lanson</c:v>
                </c:pt>
                <c:pt idx="149">
                  <c:v>Roederer</c:v>
                </c:pt>
                <c:pt idx="150">
                  <c:v>Piper Heids</c:v>
                </c:pt>
                <c:pt idx="151">
                  <c:v>All Others</c:v>
                </c:pt>
                <c:pt idx="152">
                  <c:v>Krug</c:v>
                </c:pt>
                <c:pt idx="153">
                  <c:v>Pommery</c:v>
                </c:pt>
                <c:pt idx="154">
                  <c:v>Pommery</c:v>
                </c:pt>
                <c:pt idx="155">
                  <c:v>Nicolas</c:v>
                </c:pt>
                <c:pt idx="156">
                  <c:v>Pommery</c:v>
                </c:pt>
                <c:pt idx="157">
                  <c:v>All Others</c:v>
                </c:pt>
                <c:pt idx="158">
                  <c:v>Nicolas</c:v>
                </c:pt>
                <c:pt idx="159">
                  <c:v>Pommery</c:v>
                </c:pt>
                <c:pt idx="160">
                  <c:v>Vranken</c:v>
                </c:pt>
                <c:pt idx="161">
                  <c:v>Bollinger</c:v>
                </c:pt>
                <c:pt idx="162">
                  <c:v>Dom Perigno</c:v>
                </c:pt>
                <c:pt idx="163">
                  <c:v>Krug</c:v>
                </c:pt>
                <c:pt idx="164">
                  <c:v>Canard Duch</c:v>
                </c:pt>
                <c:pt idx="165">
                  <c:v>Nicolas</c:v>
                </c:pt>
                <c:pt idx="166">
                  <c:v>Roederer</c:v>
                </c:pt>
                <c:pt idx="167">
                  <c:v>Deutz</c:v>
                </c:pt>
                <c:pt idx="168">
                  <c:v>All Others</c:v>
                </c:pt>
                <c:pt idx="169">
                  <c:v>Vesselle</c:v>
                </c:pt>
                <c:pt idx="170">
                  <c:v>All Others</c:v>
                </c:pt>
                <c:pt idx="171">
                  <c:v>Veuve Clicq</c:v>
                </c:pt>
                <c:pt idx="172">
                  <c:v>Malard</c:v>
                </c:pt>
                <c:pt idx="173">
                  <c:v>Demoiselle</c:v>
                </c:pt>
                <c:pt idx="174">
                  <c:v>All Others</c:v>
                </c:pt>
                <c:pt idx="175">
                  <c:v>Perrier Jou</c:v>
                </c:pt>
                <c:pt idx="176">
                  <c:v>Nicolas</c:v>
                </c:pt>
                <c:pt idx="177">
                  <c:v>Deutz</c:v>
                </c:pt>
                <c:pt idx="178">
                  <c:v>Nicolas</c:v>
                </c:pt>
                <c:pt idx="179">
                  <c:v>Taittinger</c:v>
                </c:pt>
                <c:pt idx="180">
                  <c:v>Roederer</c:v>
                </c:pt>
                <c:pt idx="181">
                  <c:v>Moët &amp; Chan</c:v>
                </c:pt>
                <c:pt idx="182">
                  <c:v>Taittinger</c:v>
                </c:pt>
                <c:pt idx="183">
                  <c:v>Bollinger</c:v>
                </c:pt>
                <c:pt idx="184">
                  <c:v>Bollinger</c:v>
                </c:pt>
                <c:pt idx="185">
                  <c:v>De Venoge</c:v>
                </c:pt>
                <c:pt idx="186">
                  <c:v>Pommery</c:v>
                </c:pt>
                <c:pt idx="187">
                  <c:v>Veuve Clicq</c:v>
                </c:pt>
                <c:pt idx="188">
                  <c:v>De Venoge</c:v>
                </c:pt>
                <c:pt idx="189">
                  <c:v>Nicolas Feu</c:v>
                </c:pt>
                <c:pt idx="190">
                  <c:v>All Others</c:v>
                </c:pt>
                <c:pt idx="191">
                  <c:v>Moët &amp; Chan</c:v>
                </c:pt>
                <c:pt idx="192">
                  <c:v>Deutz</c:v>
                </c:pt>
                <c:pt idx="193">
                  <c:v>Roederer</c:v>
                </c:pt>
                <c:pt idx="194">
                  <c:v>All Others</c:v>
                </c:pt>
                <c:pt idx="195">
                  <c:v>Vesselle</c:v>
                </c:pt>
                <c:pt idx="196">
                  <c:v>Dom Perigno</c:v>
                </c:pt>
                <c:pt idx="197">
                  <c:v>Louis Marti</c:v>
                </c:pt>
                <c:pt idx="198">
                  <c:v>All Others</c:v>
                </c:pt>
                <c:pt idx="199">
                  <c:v>Besserat De</c:v>
                </c:pt>
                <c:pt idx="200">
                  <c:v>Ayala</c:v>
                </c:pt>
                <c:pt idx="201">
                  <c:v>Piper Heids</c:v>
                </c:pt>
                <c:pt idx="202">
                  <c:v>Pommery</c:v>
                </c:pt>
                <c:pt idx="203">
                  <c:v>Roederer</c:v>
                </c:pt>
                <c:pt idx="204">
                  <c:v>Canard Duch</c:v>
                </c:pt>
                <c:pt idx="205">
                  <c:v>Perrier Jou</c:v>
                </c:pt>
                <c:pt idx="206">
                  <c:v>Henriot</c:v>
                </c:pt>
                <c:pt idx="207">
                  <c:v>De Venoge</c:v>
                </c:pt>
                <c:pt idx="208">
                  <c:v>Perrier Jou</c:v>
                </c:pt>
                <c:pt idx="209">
                  <c:v>All Others</c:v>
                </c:pt>
                <c:pt idx="210">
                  <c:v>Ruinart</c:v>
                </c:pt>
                <c:pt idx="211">
                  <c:v>Roederer</c:v>
                </c:pt>
                <c:pt idx="212">
                  <c:v>Krug</c:v>
                </c:pt>
                <c:pt idx="213">
                  <c:v>Demoiselle</c:v>
                </c:pt>
                <c:pt idx="214">
                  <c:v>All Others</c:v>
                </c:pt>
                <c:pt idx="215">
                  <c:v>Ruinart</c:v>
                </c:pt>
                <c:pt idx="216">
                  <c:v>Veuve Clicq</c:v>
                </c:pt>
                <c:pt idx="217">
                  <c:v>Ruinart</c:v>
                </c:pt>
                <c:pt idx="218">
                  <c:v>Bollinger</c:v>
                </c:pt>
                <c:pt idx="219">
                  <c:v>De Venoge</c:v>
                </c:pt>
                <c:pt idx="220">
                  <c:v>De Venoge</c:v>
                </c:pt>
                <c:pt idx="221">
                  <c:v>Roederer</c:v>
                </c:pt>
                <c:pt idx="222">
                  <c:v>Bollinger</c:v>
                </c:pt>
                <c:pt idx="223">
                  <c:v>Laurent Per</c:v>
                </c:pt>
                <c:pt idx="224">
                  <c:v>Taittinger</c:v>
                </c:pt>
                <c:pt idx="225">
                  <c:v>Pommery</c:v>
                </c:pt>
                <c:pt idx="226">
                  <c:v>All Others</c:v>
                </c:pt>
                <c:pt idx="227">
                  <c:v>Nicolas</c:v>
                </c:pt>
                <c:pt idx="228">
                  <c:v>All Others</c:v>
                </c:pt>
                <c:pt idx="229">
                  <c:v>Laurent Per</c:v>
                </c:pt>
                <c:pt idx="230">
                  <c:v>Bollinger</c:v>
                </c:pt>
                <c:pt idx="231">
                  <c:v>Nicolas Feu</c:v>
                </c:pt>
                <c:pt idx="232">
                  <c:v>Roederer</c:v>
                </c:pt>
                <c:pt idx="233">
                  <c:v>De Venoge</c:v>
                </c:pt>
                <c:pt idx="234">
                  <c:v>Ruinart</c:v>
                </c:pt>
                <c:pt idx="235">
                  <c:v>Roederer</c:v>
                </c:pt>
                <c:pt idx="236">
                  <c:v>Canard Duch</c:v>
                </c:pt>
                <c:pt idx="237">
                  <c:v>Ruinart</c:v>
                </c:pt>
                <c:pt idx="238">
                  <c:v>Laurent Per</c:v>
                </c:pt>
                <c:pt idx="239">
                  <c:v>Moët &amp; Chan</c:v>
                </c:pt>
                <c:pt idx="240">
                  <c:v>Lanson</c:v>
                </c:pt>
                <c:pt idx="241">
                  <c:v>Henriot</c:v>
                </c:pt>
                <c:pt idx="242">
                  <c:v>All Others</c:v>
                </c:pt>
                <c:pt idx="243">
                  <c:v>Roederer</c:v>
                </c:pt>
                <c:pt idx="244">
                  <c:v>Demoiselle</c:v>
                </c:pt>
                <c:pt idx="245">
                  <c:v>De Bligny</c:v>
                </c:pt>
                <c:pt idx="246">
                  <c:v>All Others</c:v>
                </c:pt>
                <c:pt idx="247">
                  <c:v>Roederer</c:v>
                </c:pt>
                <c:pt idx="248">
                  <c:v>Laurent Per</c:v>
                </c:pt>
                <c:pt idx="249">
                  <c:v>Bollinger</c:v>
                </c:pt>
                <c:pt idx="250">
                  <c:v>Martel</c:v>
                </c:pt>
                <c:pt idx="251">
                  <c:v>Besserat De</c:v>
                </c:pt>
                <c:pt idx="252">
                  <c:v>Malard</c:v>
                </c:pt>
                <c:pt idx="253">
                  <c:v>Lanson</c:v>
                </c:pt>
                <c:pt idx="254">
                  <c:v>Besserat De</c:v>
                </c:pt>
                <c:pt idx="255">
                  <c:v>All Others</c:v>
                </c:pt>
                <c:pt idx="256">
                  <c:v>Vesselle</c:v>
                </c:pt>
                <c:pt idx="257">
                  <c:v>All Others</c:v>
                </c:pt>
                <c:pt idx="258">
                  <c:v>Roederer</c:v>
                </c:pt>
                <c:pt idx="259">
                  <c:v>Roederer</c:v>
                </c:pt>
                <c:pt idx="260">
                  <c:v>Vranken</c:v>
                </c:pt>
                <c:pt idx="261">
                  <c:v>Nicolas</c:v>
                </c:pt>
                <c:pt idx="262">
                  <c:v>Piper Heids</c:v>
                </c:pt>
                <c:pt idx="263">
                  <c:v>Nicolas Feu</c:v>
                </c:pt>
                <c:pt idx="264">
                  <c:v>Laurent Per</c:v>
                </c:pt>
                <c:pt idx="265">
                  <c:v>Deutz</c:v>
                </c:pt>
                <c:pt idx="266">
                  <c:v>All Others</c:v>
                </c:pt>
                <c:pt idx="267">
                  <c:v>Roederer</c:v>
                </c:pt>
                <c:pt idx="268">
                  <c:v>Nicolas</c:v>
                </c:pt>
                <c:pt idx="269">
                  <c:v>All Others</c:v>
                </c:pt>
                <c:pt idx="270">
                  <c:v>Bollinger</c:v>
                </c:pt>
              </c:strCache>
            </c:strRef>
          </c:cat>
          <c:val>
            <c:numRef>
              <c:f>Sheet1!$C$2:$C$272</c:f>
              <c:numCache>
                <c:formatCode>General</c:formatCode>
                <c:ptCount val="271"/>
                <c:pt idx="0">
                  <c:v>0.10737965236005634</c:v>
                </c:pt>
                <c:pt idx="1">
                  <c:v>0.18063144327841343</c:v>
                </c:pt>
                <c:pt idx="2">
                  <c:v>0.24581353393533073</c:v>
                </c:pt>
                <c:pt idx="3">
                  <c:v>0.29595749330449361</c:v>
                </c:pt>
                <c:pt idx="4">
                  <c:v>0.33068894727019538</c:v>
                </c:pt>
                <c:pt idx="5">
                  <c:v>0.36099570434813122</c:v>
                </c:pt>
                <c:pt idx="6">
                  <c:v>0.39102411339372445</c:v>
                </c:pt>
                <c:pt idx="7">
                  <c:v>0.419881068026983</c:v>
                </c:pt>
                <c:pt idx="8">
                  <c:v>0.44234558862234469</c:v>
                </c:pt>
                <c:pt idx="9">
                  <c:v>0.46320733498906541</c:v>
                </c:pt>
                <c:pt idx="10">
                  <c:v>0.48241653945603291</c:v>
                </c:pt>
                <c:pt idx="11">
                  <c:v>0.5008856093269719</c:v>
                </c:pt>
                <c:pt idx="12">
                  <c:v>0.51926981893819391</c:v>
                </c:pt>
                <c:pt idx="13">
                  <c:v>0.537337078669608</c:v>
                </c:pt>
                <c:pt idx="14">
                  <c:v>0.55355591605214749</c:v>
                </c:pt>
                <c:pt idx="15">
                  <c:v>0.56968016295722046</c:v>
                </c:pt>
                <c:pt idx="16">
                  <c:v>0.58474971806295284</c:v>
                </c:pt>
                <c:pt idx="17">
                  <c:v>0.59947999164158339</c:v>
                </c:pt>
                <c:pt idx="18">
                  <c:v>0.61279794804063714</c:v>
                </c:pt>
                <c:pt idx="19">
                  <c:v>0.62528819788391687</c:v>
                </c:pt>
                <c:pt idx="20">
                  <c:v>0.63772660640312129</c:v>
                </c:pt>
                <c:pt idx="21">
                  <c:v>0.649223257453586</c:v>
                </c:pt>
                <c:pt idx="22">
                  <c:v>0.65979059295308917</c:v>
                </c:pt>
                <c:pt idx="23">
                  <c:v>0.66992102572446255</c:v>
                </c:pt>
                <c:pt idx="24">
                  <c:v>0.67993533392990735</c:v>
                </c:pt>
                <c:pt idx="25">
                  <c:v>0.68976987237463572</c:v>
                </c:pt>
                <c:pt idx="26">
                  <c:v>0.6990205977543934</c:v>
                </c:pt>
                <c:pt idx="27">
                  <c:v>0.707795818558556</c:v>
                </c:pt>
                <c:pt idx="28">
                  <c:v>0.71576630250130402</c:v>
                </c:pt>
                <c:pt idx="29">
                  <c:v>0.72361045312507477</c:v>
                </c:pt>
                <c:pt idx="30">
                  <c:v>0.73142716772502725</c:v>
                </c:pt>
                <c:pt idx="31">
                  <c:v>0.73889423253306286</c:v>
                </c:pt>
                <c:pt idx="32">
                  <c:v>0.74593556043661569</c:v>
                </c:pt>
                <c:pt idx="33">
                  <c:v>0.75287703397441119</c:v>
                </c:pt>
                <c:pt idx="34">
                  <c:v>0.75977033495875834</c:v>
                </c:pt>
                <c:pt idx="35">
                  <c:v>0.7665117807415065</c:v>
                </c:pt>
                <c:pt idx="36">
                  <c:v>0.77319596180012229</c:v>
                </c:pt>
                <c:pt idx="37">
                  <c:v>0.77978842359306644</c:v>
                </c:pt>
                <c:pt idx="38">
                  <c:v>0.78614289383056346</c:v>
                </c:pt>
                <c:pt idx="39">
                  <c:v>0.79156741047003332</c:v>
                </c:pt>
                <c:pt idx="40">
                  <c:v>0.79685075919625215</c:v>
                </c:pt>
                <c:pt idx="41">
                  <c:v>0.80173405241237627</c:v>
                </c:pt>
                <c:pt idx="42">
                  <c:v>0.80644650852670152</c:v>
                </c:pt>
                <c:pt idx="43">
                  <c:v>0.81112403156418833</c:v>
                </c:pt>
                <c:pt idx="44">
                  <c:v>0.81558366152879269</c:v>
                </c:pt>
                <c:pt idx="45">
                  <c:v>0.81997852971624452</c:v>
                </c:pt>
                <c:pt idx="46">
                  <c:v>0.82416252334853479</c:v>
                </c:pt>
                <c:pt idx="47">
                  <c:v>0.82833886041603855</c:v>
                </c:pt>
                <c:pt idx="48">
                  <c:v>0.83214640627965919</c:v>
                </c:pt>
                <c:pt idx="49">
                  <c:v>0.83589317816028696</c:v>
                </c:pt>
                <c:pt idx="50">
                  <c:v>0.83951074551014249</c:v>
                </c:pt>
                <c:pt idx="51">
                  <c:v>0.84306721985347244</c:v>
                </c:pt>
                <c:pt idx="52">
                  <c:v>0.84662257761443771</c:v>
                </c:pt>
                <c:pt idx="53">
                  <c:v>0.8501575178693056</c:v>
                </c:pt>
                <c:pt idx="54">
                  <c:v>0.85338236725032024</c:v>
                </c:pt>
                <c:pt idx="55">
                  <c:v>0.85660306932540886</c:v>
                </c:pt>
                <c:pt idx="56">
                  <c:v>0.85973237115835854</c:v>
                </c:pt>
                <c:pt idx="57">
                  <c:v>0.86285912080304605</c:v>
                </c:pt>
                <c:pt idx="58">
                  <c:v>0.86597614022998404</c:v>
                </c:pt>
                <c:pt idx="59">
                  <c:v>0.86905120806236269</c:v>
                </c:pt>
                <c:pt idx="60">
                  <c:v>0.87211845981818847</c:v>
                </c:pt>
                <c:pt idx="61">
                  <c:v>0.87504119391366908</c:v>
                </c:pt>
                <c:pt idx="62">
                  <c:v>0.87795786656202701</c:v>
                </c:pt>
                <c:pt idx="63">
                  <c:v>0.88083705394528433</c:v>
                </c:pt>
                <c:pt idx="64">
                  <c:v>0.8836789155752075</c:v>
                </c:pt>
                <c:pt idx="65">
                  <c:v>0.88636190348581068</c:v>
                </c:pt>
                <c:pt idx="66">
                  <c:v>0.88902638803151324</c:v>
                </c:pt>
                <c:pt idx="67">
                  <c:v>0.89159404893501981</c:v>
                </c:pt>
                <c:pt idx="68">
                  <c:v>0.89415692448553474</c:v>
                </c:pt>
                <c:pt idx="69">
                  <c:v>0.89654018978709971</c:v>
                </c:pt>
                <c:pt idx="70">
                  <c:v>0.89885342942322144</c:v>
                </c:pt>
                <c:pt idx="71">
                  <c:v>0.90107112151127833</c:v>
                </c:pt>
                <c:pt idx="72">
                  <c:v>0.90324670249300942</c:v>
                </c:pt>
                <c:pt idx="73">
                  <c:v>0.90538687186260303</c:v>
                </c:pt>
                <c:pt idx="74">
                  <c:v>0.90751794906151262</c:v>
                </c:pt>
                <c:pt idx="75">
                  <c:v>0.90956464453600427</c:v>
                </c:pt>
                <c:pt idx="76">
                  <c:v>0.91151690904479576</c:v>
                </c:pt>
                <c:pt idx="77">
                  <c:v>0.91341079224709021</c:v>
                </c:pt>
                <c:pt idx="78">
                  <c:v>0.91530244228465518</c:v>
                </c:pt>
                <c:pt idx="79">
                  <c:v>0.91717207969845904</c:v>
                </c:pt>
                <c:pt idx="80">
                  <c:v>0.91902161862969833</c:v>
                </c:pt>
                <c:pt idx="81">
                  <c:v>0.92083781960176303</c:v>
                </c:pt>
                <c:pt idx="82">
                  <c:v>0.92252003069006394</c:v>
                </c:pt>
                <c:pt idx="83">
                  <c:v>0.92419697789007416</c:v>
                </c:pt>
                <c:pt idx="84">
                  <c:v>0.92583851347794677</c:v>
                </c:pt>
                <c:pt idx="85">
                  <c:v>0.9274578769302918</c:v>
                </c:pt>
                <c:pt idx="86">
                  <c:v>0.92906065115893277</c:v>
                </c:pt>
                <c:pt idx="87">
                  <c:v>0.93064444348737385</c:v>
                </c:pt>
                <c:pt idx="88">
                  <c:v>0.93217623497997326</c:v>
                </c:pt>
                <c:pt idx="89">
                  <c:v>0.93370611233137613</c:v>
                </c:pt>
                <c:pt idx="90">
                  <c:v>0.93522976872388996</c:v>
                </c:pt>
                <c:pt idx="91">
                  <c:v>0.93671913008663088</c:v>
                </c:pt>
                <c:pt idx="92">
                  <c:v>0.93820546072581046</c:v>
                </c:pt>
                <c:pt idx="93">
                  <c:v>0.939683496753138</c:v>
                </c:pt>
                <c:pt idx="94">
                  <c:v>0.94116121375693274</c:v>
                </c:pt>
                <c:pt idx="95">
                  <c:v>0.94252296570656535</c:v>
                </c:pt>
                <c:pt idx="96">
                  <c:v>0.94383080267915964</c:v>
                </c:pt>
                <c:pt idx="97">
                  <c:v>0.945102270969018</c:v>
                </c:pt>
                <c:pt idx="98">
                  <c:v>0.94636847537058566</c:v>
                </c:pt>
                <c:pt idx="99">
                  <c:v>0.94763340367802229</c:v>
                </c:pt>
                <c:pt idx="100">
                  <c:v>0.948825116084688</c:v>
                </c:pt>
                <c:pt idx="101">
                  <c:v>0.95000965046186636</c:v>
                </c:pt>
                <c:pt idx="102">
                  <c:v>0.95116898197995581</c:v>
                </c:pt>
                <c:pt idx="103">
                  <c:v>0.95232177351562342</c:v>
                </c:pt>
                <c:pt idx="104">
                  <c:v>0.95346435629824233</c:v>
                </c:pt>
                <c:pt idx="105">
                  <c:v>0.9545944971630832</c:v>
                </c:pt>
                <c:pt idx="106">
                  <c:v>0.95571714097490401</c:v>
                </c:pt>
                <c:pt idx="107">
                  <c:v>0.95682255751595513</c:v>
                </c:pt>
                <c:pt idx="108">
                  <c:v>0.95792302919224837</c:v>
                </c:pt>
                <c:pt idx="109">
                  <c:v>0.95897883757395364</c:v>
                </c:pt>
                <c:pt idx="110">
                  <c:v>0.96002651085557322</c:v>
                </c:pt>
                <c:pt idx="111">
                  <c:v>0.96106509196650891</c:v>
                </c:pt>
                <c:pt idx="112">
                  <c:v>0.96209824967738744</c:v>
                </c:pt>
                <c:pt idx="113">
                  <c:v>0.96306855975231009</c:v>
                </c:pt>
                <c:pt idx="114">
                  <c:v>0.96397761730894072</c:v>
                </c:pt>
                <c:pt idx="115">
                  <c:v>0.9648833251184773</c:v>
                </c:pt>
                <c:pt idx="116">
                  <c:v>0.96576048032183093</c:v>
                </c:pt>
                <c:pt idx="117">
                  <c:v>0.9666272672603694</c:v>
                </c:pt>
                <c:pt idx="118">
                  <c:v>0.96747953862816682</c:v>
                </c:pt>
                <c:pt idx="119">
                  <c:v>0.96828539207194608</c:v>
                </c:pt>
                <c:pt idx="120">
                  <c:v>0.96908630065096746</c:v>
                </c:pt>
                <c:pt idx="121">
                  <c:v>0.9698841785064275</c:v>
                </c:pt>
                <c:pt idx="122">
                  <c:v>0.97067854710302703</c:v>
                </c:pt>
                <c:pt idx="123">
                  <c:v>0.97146382352894256</c:v>
                </c:pt>
                <c:pt idx="124">
                  <c:v>0.97223857217827669</c:v>
                </c:pt>
                <c:pt idx="125">
                  <c:v>0.97298109945080091</c:v>
                </c:pt>
                <c:pt idx="126">
                  <c:v>0.97372011746446474</c:v>
                </c:pt>
                <c:pt idx="127">
                  <c:v>0.97444366283678918</c:v>
                </c:pt>
                <c:pt idx="128">
                  <c:v>0.9751451955853524</c:v>
                </c:pt>
                <c:pt idx="129">
                  <c:v>0.97584162395739127</c:v>
                </c:pt>
                <c:pt idx="130">
                  <c:v>0.97653230990584028</c:v>
                </c:pt>
                <c:pt idx="131">
                  <c:v>0.97718838180098366</c:v>
                </c:pt>
                <c:pt idx="132">
                  <c:v>0.97784142297256571</c:v>
                </c:pt>
                <c:pt idx="133">
                  <c:v>0.97849159293235277</c:v>
                </c:pt>
                <c:pt idx="134">
                  <c:v>0.97912900195082897</c:v>
                </c:pt>
                <c:pt idx="135">
                  <c:v>0.97973355154542985</c:v>
                </c:pt>
                <c:pt idx="136">
                  <c:v>0.98032278801045769</c:v>
                </c:pt>
                <c:pt idx="137">
                  <c:v>0.98090357035186715</c:v>
                </c:pt>
                <c:pt idx="138">
                  <c:v>0.98146441372247839</c:v>
                </c:pt>
                <c:pt idx="139">
                  <c:v>0.98200771079878724</c:v>
                </c:pt>
                <c:pt idx="140">
                  <c:v>0.98254925324566578</c:v>
                </c:pt>
                <c:pt idx="141">
                  <c:v>0.98308936008664694</c:v>
                </c:pt>
                <c:pt idx="142">
                  <c:v>0.98359772408611734</c:v>
                </c:pt>
                <c:pt idx="143">
                  <c:v>0.98408567057949048</c:v>
                </c:pt>
                <c:pt idx="144">
                  <c:v>0.98456404636688044</c:v>
                </c:pt>
                <c:pt idx="145">
                  <c:v>0.98502854463059486</c:v>
                </c:pt>
                <c:pt idx="146">
                  <c:v>0.98548953363544878</c:v>
                </c:pt>
                <c:pt idx="147">
                  <c:v>0.98594414216964732</c:v>
                </c:pt>
                <c:pt idx="148">
                  <c:v>0.98639667705088285</c:v>
                </c:pt>
                <c:pt idx="149">
                  <c:v>0.98684219341439738</c:v>
                </c:pt>
                <c:pt idx="150">
                  <c:v>0.98728085077195737</c:v>
                </c:pt>
                <c:pt idx="151">
                  <c:v>0.98771153254119803</c:v>
                </c:pt>
                <c:pt idx="152">
                  <c:v>0.98814141675160683</c:v>
                </c:pt>
                <c:pt idx="153">
                  <c:v>0.9885103674672564</c:v>
                </c:pt>
                <c:pt idx="154">
                  <c:v>0.98887644697111099</c:v>
                </c:pt>
                <c:pt idx="155">
                  <c:v>0.98923008455718753</c:v>
                </c:pt>
                <c:pt idx="156">
                  <c:v>0.98957207778431788</c:v>
                </c:pt>
                <c:pt idx="157">
                  <c:v>0.98990944517022306</c:v>
                </c:pt>
                <c:pt idx="158">
                  <c:v>0.99022368335000244</c:v>
                </c:pt>
                <c:pt idx="159">
                  <c:v>0.99050330747647608</c:v>
                </c:pt>
                <c:pt idx="160">
                  <c:v>0.99075421948500042</c:v>
                </c:pt>
                <c:pt idx="161">
                  <c:v>0.99100226028172977</c:v>
                </c:pt>
                <c:pt idx="162">
                  <c:v>0.99124631328429946</c:v>
                </c:pt>
                <c:pt idx="163">
                  <c:v>0.9914776053455584</c:v>
                </c:pt>
                <c:pt idx="164">
                  <c:v>0.99170698326562068</c:v>
                </c:pt>
                <c:pt idx="165">
                  <c:v>0.99192854510913009</c:v>
                </c:pt>
                <c:pt idx="166">
                  <c:v>0.99214197185255382</c:v>
                </c:pt>
                <c:pt idx="167">
                  <c:v>0.99233944741933899</c:v>
                </c:pt>
                <c:pt idx="168">
                  <c:v>0.99253628493905866</c:v>
                </c:pt>
                <c:pt idx="169">
                  <c:v>0.99273104880581531</c:v>
                </c:pt>
                <c:pt idx="170">
                  <c:v>0.99292517462550645</c:v>
                </c:pt>
                <c:pt idx="171">
                  <c:v>0.99311658874516895</c:v>
                </c:pt>
                <c:pt idx="172">
                  <c:v>0.99330417458243825</c:v>
                </c:pt>
                <c:pt idx="173">
                  <c:v>0.99348617750788404</c:v>
                </c:pt>
                <c:pt idx="174">
                  <c:v>0.99366084289207612</c:v>
                </c:pt>
                <c:pt idx="175">
                  <c:v>0.99383471071743623</c:v>
                </c:pt>
                <c:pt idx="176">
                  <c:v>0.99400331465450564</c:v>
                </c:pt>
                <c:pt idx="177">
                  <c:v>0.99416681421505071</c:v>
                </c:pt>
                <c:pt idx="178">
                  <c:v>0.99432935670499745</c:v>
                </c:pt>
                <c:pt idx="179">
                  <c:v>0.99448472116545683</c:v>
                </c:pt>
                <c:pt idx="180">
                  <c:v>0.99463625734352301</c:v>
                </c:pt>
                <c:pt idx="181">
                  <c:v>0.99478492230979421</c:v>
                </c:pt>
                <c:pt idx="182">
                  <c:v>0.99493167313486885</c:v>
                </c:pt>
                <c:pt idx="183">
                  <c:v>0.99506677960099732</c:v>
                </c:pt>
                <c:pt idx="184">
                  <c:v>0.99519598413176957</c:v>
                </c:pt>
                <c:pt idx="185">
                  <c:v>0.99532040330955018</c:v>
                </c:pt>
                <c:pt idx="186">
                  <c:v>0.99544450346379809</c:v>
                </c:pt>
                <c:pt idx="187">
                  <c:v>0.99556732752391486</c:v>
                </c:pt>
                <c:pt idx="188">
                  <c:v>0.99568839695460143</c:v>
                </c:pt>
                <c:pt idx="189">
                  <c:v>0.99580803077939051</c:v>
                </c:pt>
                <c:pt idx="190">
                  <c:v>0.99592734558064677</c:v>
                </c:pt>
                <c:pt idx="191">
                  <c:v>0.99604219405244432</c:v>
                </c:pt>
                <c:pt idx="192">
                  <c:v>0.99615704252424186</c:v>
                </c:pt>
                <c:pt idx="193">
                  <c:v>0.99627189099603941</c:v>
                </c:pt>
                <c:pt idx="194">
                  <c:v>0.99638546337370582</c:v>
                </c:pt>
                <c:pt idx="195">
                  <c:v>0.99649760014547484</c:v>
                </c:pt>
                <c:pt idx="196">
                  <c:v>0.9966092583819447</c:v>
                </c:pt>
                <c:pt idx="197">
                  <c:v>0.99672043808311539</c:v>
                </c:pt>
                <c:pt idx="198">
                  <c:v>0.9968305012019214</c:v>
                </c:pt>
                <c:pt idx="199">
                  <c:v>0.99693880969129711</c:v>
                </c:pt>
                <c:pt idx="200">
                  <c:v>0.99704552306300898</c:v>
                </c:pt>
                <c:pt idx="201">
                  <c:v>0.99714649401113098</c:v>
                </c:pt>
                <c:pt idx="202">
                  <c:v>0.99724698642395382</c:v>
                </c:pt>
                <c:pt idx="203">
                  <c:v>0.99734556469558</c:v>
                </c:pt>
                <c:pt idx="204">
                  <c:v>0.99744334540837432</c:v>
                </c:pt>
                <c:pt idx="205">
                  <c:v>0.99753889295643916</c:v>
                </c:pt>
                <c:pt idx="206">
                  <c:v>0.99763268587507381</c:v>
                </c:pt>
                <c:pt idx="207">
                  <c:v>0.99771834369362278</c:v>
                </c:pt>
                <c:pt idx="208">
                  <c:v>0.99780128981214322</c:v>
                </c:pt>
                <c:pt idx="209">
                  <c:v>0.99788343837183169</c:v>
                </c:pt>
                <c:pt idx="210">
                  <c:v>0.9979654274197538</c:v>
                </c:pt>
                <c:pt idx="211">
                  <c:v>0.9980397599028894</c:v>
                </c:pt>
                <c:pt idx="212">
                  <c:v>0.99811185922129564</c:v>
                </c:pt>
                <c:pt idx="213">
                  <c:v>0.99818204439850522</c:v>
                </c:pt>
                <c:pt idx="214">
                  <c:v>0.9982519105521821</c:v>
                </c:pt>
                <c:pt idx="215">
                  <c:v>0.99832050061172783</c:v>
                </c:pt>
                <c:pt idx="216">
                  <c:v>0.99838685750654421</c:v>
                </c:pt>
                <c:pt idx="217">
                  <c:v>0.99845289537782778</c:v>
                </c:pt>
                <c:pt idx="218">
                  <c:v>0.99851797617851301</c:v>
                </c:pt>
                <c:pt idx="219">
                  <c:v>0.99858018576740337</c:v>
                </c:pt>
                <c:pt idx="220">
                  <c:v>0.99864175730922811</c:v>
                </c:pt>
                <c:pt idx="221">
                  <c:v>0.99870316933928649</c:v>
                </c:pt>
                <c:pt idx="222">
                  <c:v>0.99876346478698019</c:v>
                </c:pt>
                <c:pt idx="223">
                  <c:v>0.99881993195228069</c:v>
                </c:pt>
                <c:pt idx="224">
                  <c:v>0.99887336839401986</c:v>
                </c:pt>
                <c:pt idx="225">
                  <c:v>0.99892361460043122</c:v>
                </c:pt>
                <c:pt idx="226">
                  <c:v>0.99897386080684258</c:v>
                </c:pt>
                <c:pt idx="227">
                  <c:v>0.99902203336029094</c:v>
                </c:pt>
                <c:pt idx="228">
                  <c:v>0.99906988689020659</c:v>
                </c:pt>
                <c:pt idx="229">
                  <c:v>0.9991143906730281</c:v>
                </c:pt>
                <c:pt idx="230">
                  <c:v>0.99915745884995222</c:v>
                </c:pt>
                <c:pt idx="231">
                  <c:v>0.99919956995627801</c:v>
                </c:pt>
                <c:pt idx="232">
                  <c:v>0.99924152155083734</c:v>
                </c:pt>
                <c:pt idx="233">
                  <c:v>0.99928219705126564</c:v>
                </c:pt>
                <c:pt idx="234">
                  <c:v>0.99932191548109561</c:v>
                </c:pt>
                <c:pt idx="235">
                  <c:v>0.99935956025796258</c:v>
                </c:pt>
                <c:pt idx="236">
                  <c:v>0.99939704552306319</c:v>
                </c:pt>
                <c:pt idx="237">
                  <c:v>0.99943150006460246</c:v>
                </c:pt>
                <c:pt idx="238">
                  <c:v>0.99946276437081405</c:v>
                </c:pt>
                <c:pt idx="239">
                  <c:v>0.99949355014172647</c:v>
                </c:pt>
                <c:pt idx="240">
                  <c:v>0.99952369786557327</c:v>
                </c:pt>
                <c:pt idx="241">
                  <c:v>0.99955081486585884</c:v>
                </c:pt>
                <c:pt idx="242">
                  <c:v>0.99957697479554608</c:v>
                </c:pt>
                <c:pt idx="243">
                  <c:v>0.99960281570170051</c:v>
                </c:pt>
                <c:pt idx="244">
                  <c:v>0.99962833758432224</c:v>
                </c:pt>
                <c:pt idx="245">
                  <c:v>0.99965066923161616</c:v>
                </c:pt>
                <c:pt idx="246">
                  <c:v>0.99967236283184457</c:v>
                </c:pt>
                <c:pt idx="247">
                  <c:v>0.99969341838500747</c:v>
                </c:pt>
                <c:pt idx="248">
                  <c:v>0.99971415491463755</c:v>
                </c:pt>
                <c:pt idx="249">
                  <c:v>0.99973425339720212</c:v>
                </c:pt>
                <c:pt idx="250">
                  <c:v>0.99975371383270117</c:v>
                </c:pt>
                <c:pt idx="251">
                  <c:v>0.99977285524466741</c:v>
                </c:pt>
                <c:pt idx="252">
                  <c:v>0.99979040153896981</c:v>
                </c:pt>
                <c:pt idx="253">
                  <c:v>0.99980762880973939</c:v>
                </c:pt>
                <c:pt idx="254">
                  <c:v>0.99982437754520981</c:v>
                </c:pt>
                <c:pt idx="255">
                  <c:v>0.99984032872184836</c:v>
                </c:pt>
                <c:pt idx="256">
                  <c:v>0.99985612038672056</c:v>
                </c:pt>
                <c:pt idx="257">
                  <c:v>0.99987127400452713</c:v>
                </c:pt>
                <c:pt idx="258">
                  <c:v>0.99988578957526819</c:v>
                </c:pt>
                <c:pt idx="259">
                  <c:v>0.99989950758717738</c:v>
                </c:pt>
                <c:pt idx="260">
                  <c:v>0.99991210901672178</c:v>
                </c:pt>
                <c:pt idx="261">
                  <c:v>0.99992455093449983</c:v>
                </c:pt>
                <c:pt idx="262">
                  <c:v>0.99993555724638039</c:v>
                </c:pt>
                <c:pt idx="263">
                  <c:v>0.99994560648766262</c:v>
                </c:pt>
                <c:pt idx="264">
                  <c:v>0.99995517719364579</c:v>
                </c:pt>
                <c:pt idx="265">
                  <c:v>0.99996474789962897</c:v>
                </c:pt>
                <c:pt idx="266">
                  <c:v>0.99997368055854652</c:v>
                </c:pt>
                <c:pt idx="267">
                  <c:v>0.9999821346821649</c:v>
                </c:pt>
                <c:pt idx="268">
                  <c:v>0.99998947222341861</c:v>
                </c:pt>
                <c:pt idx="269">
                  <c:v>0.99999505513524212</c:v>
                </c:pt>
                <c:pt idx="270">
                  <c:v>1</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57</c:f>
              <c:strCache>
                <c:ptCount val="256"/>
                <c:pt idx="0">
                  <c:v>Ruinart</c:v>
                </c:pt>
                <c:pt idx="1">
                  <c:v>Deutz</c:v>
                </c:pt>
                <c:pt idx="2">
                  <c:v>Nicolas</c:v>
                </c:pt>
                <c:pt idx="3">
                  <c:v>Ruinart</c:v>
                </c:pt>
                <c:pt idx="4">
                  <c:v>Heidsieck &amp;</c:v>
                </c:pt>
                <c:pt idx="5">
                  <c:v>Malard</c:v>
                </c:pt>
                <c:pt idx="6">
                  <c:v>Ayala</c:v>
                </c:pt>
                <c:pt idx="7">
                  <c:v>De Bligny</c:v>
                </c:pt>
                <c:pt idx="8">
                  <c:v>Ruinart</c:v>
                </c:pt>
                <c:pt idx="9">
                  <c:v>Taittinger</c:v>
                </c:pt>
                <c:pt idx="10">
                  <c:v>Canard Duch</c:v>
                </c:pt>
                <c:pt idx="11">
                  <c:v>Ruinart</c:v>
                </c:pt>
                <c:pt idx="12">
                  <c:v>Laurent Per</c:v>
                </c:pt>
                <c:pt idx="13">
                  <c:v>Nicolas Feu</c:v>
                </c:pt>
                <c:pt idx="14">
                  <c:v>Bollinger</c:v>
                </c:pt>
                <c:pt idx="15">
                  <c:v>Deutz</c:v>
                </c:pt>
                <c:pt idx="16">
                  <c:v>Besserat De</c:v>
                </c:pt>
                <c:pt idx="17">
                  <c:v>Savian</c:v>
                </c:pt>
                <c:pt idx="18">
                  <c:v>Ruinart</c:v>
                </c:pt>
                <c:pt idx="19">
                  <c:v>Demoiselle</c:v>
                </c:pt>
                <c:pt idx="20">
                  <c:v>Laurent Per</c:v>
                </c:pt>
                <c:pt idx="21">
                  <c:v>Ruinart</c:v>
                </c:pt>
                <c:pt idx="22">
                  <c:v>Taittinger</c:v>
                </c:pt>
                <c:pt idx="23">
                  <c:v>Perrier Jou</c:v>
                </c:pt>
                <c:pt idx="24">
                  <c:v>Ruinart</c:v>
                </c:pt>
                <c:pt idx="25">
                  <c:v>Deutz</c:v>
                </c:pt>
                <c:pt idx="26">
                  <c:v>Dom Perigno</c:v>
                </c:pt>
                <c:pt idx="27">
                  <c:v>Malard</c:v>
                </c:pt>
                <c:pt idx="28">
                  <c:v>Roederer</c:v>
                </c:pt>
                <c:pt idx="29">
                  <c:v>All Others</c:v>
                </c:pt>
                <c:pt idx="30">
                  <c:v>Dom Perigno</c:v>
                </c:pt>
                <c:pt idx="31">
                  <c:v>Ruinart</c:v>
                </c:pt>
                <c:pt idx="32">
                  <c:v>Moët &amp; Chan</c:v>
                </c:pt>
                <c:pt idx="33">
                  <c:v>Pommery</c:v>
                </c:pt>
                <c:pt idx="34">
                  <c:v>All Others</c:v>
                </c:pt>
                <c:pt idx="35">
                  <c:v>Vesselle</c:v>
                </c:pt>
                <c:pt idx="36">
                  <c:v>Campari: Al</c:v>
                </c:pt>
                <c:pt idx="37">
                  <c:v>Laurent Per</c:v>
                </c:pt>
                <c:pt idx="38">
                  <c:v>Henriot</c:v>
                </c:pt>
                <c:pt idx="39">
                  <c:v>Demoiselle</c:v>
                </c:pt>
                <c:pt idx="40">
                  <c:v>Roederer</c:v>
                </c:pt>
                <c:pt idx="41">
                  <c:v>Nicolas</c:v>
                </c:pt>
                <c:pt idx="42">
                  <c:v>Veuve Clicq</c:v>
                </c:pt>
                <c:pt idx="43">
                  <c:v>Dom Perigno</c:v>
                </c:pt>
                <c:pt idx="44">
                  <c:v>Nicolas Feu</c:v>
                </c:pt>
                <c:pt idx="45">
                  <c:v>Nicolas</c:v>
                </c:pt>
                <c:pt idx="46">
                  <c:v>Veuve Clicq</c:v>
                </c:pt>
                <c:pt idx="47">
                  <c:v>Ruinart</c:v>
                </c:pt>
                <c:pt idx="48">
                  <c:v>Nicolas</c:v>
                </c:pt>
                <c:pt idx="49">
                  <c:v>Besserat De</c:v>
                </c:pt>
                <c:pt idx="50">
                  <c:v>Deutz</c:v>
                </c:pt>
                <c:pt idx="51">
                  <c:v>Nicolas Feu</c:v>
                </c:pt>
                <c:pt idx="52">
                  <c:v>De Venoge</c:v>
                </c:pt>
                <c:pt idx="53">
                  <c:v>Malard</c:v>
                </c:pt>
                <c:pt idx="54">
                  <c:v>Lanson</c:v>
                </c:pt>
                <c:pt idx="55">
                  <c:v>Moët &amp; Chan</c:v>
                </c:pt>
                <c:pt idx="56">
                  <c:v>Campari: Al</c:v>
                </c:pt>
                <c:pt idx="57">
                  <c:v>Ruinart</c:v>
                </c:pt>
                <c:pt idx="58">
                  <c:v>Veuve Clicq</c:v>
                </c:pt>
                <c:pt idx="59">
                  <c:v>Bollinger</c:v>
                </c:pt>
                <c:pt idx="60">
                  <c:v>Canard Duch</c:v>
                </c:pt>
                <c:pt idx="61">
                  <c:v>De Bligny</c:v>
                </c:pt>
                <c:pt idx="62">
                  <c:v>Canard Duch</c:v>
                </c:pt>
                <c:pt idx="63">
                  <c:v>Krug</c:v>
                </c:pt>
                <c:pt idx="64">
                  <c:v>Nicolas</c:v>
                </c:pt>
                <c:pt idx="65">
                  <c:v>Ayala</c:v>
                </c:pt>
                <c:pt idx="66">
                  <c:v>Malard</c:v>
                </c:pt>
                <c:pt idx="67">
                  <c:v>All Others</c:v>
                </c:pt>
                <c:pt idx="68">
                  <c:v>Piper Heids</c:v>
                </c:pt>
                <c:pt idx="69">
                  <c:v>Besserat De</c:v>
                </c:pt>
                <c:pt idx="70">
                  <c:v>Canard Duch</c:v>
                </c:pt>
                <c:pt idx="71">
                  <c:v>Laurent Per</c:v>
                </c:pt>
                <c:pt idx="72">
                  <c:v>Malard</c:v>
                </c:pt>
                <c:pt idx="73">
                  <c:v>Ruinart</c:v>
                </c:pt>
                <c:pt idx="74">
                  <c:v>Ruinart</c:v>
                </c:pt>
                <c:pt idx="75">
                  <c:v>Nicolas Feu</c:v>
                </c:pt>
                <c:pt idx="76">
                  <c:v>Pommery</c:v>
                </c:pt>
                <c:pt idx="77">
                  <c:v>Louis Marti</c:v>
                </c:pt>
                <c:pt idx="78">
                  <c:v>Malard</c:v>
                </c:pt>
                <c:pt idx="79">
                  <c:v>Delamotte</c:v>
                </c:pt>
                <c:pt idx="80">
                  <c:v>Henriot</c:v>
                </c:pt>
                <c:pt idx="81">
                  <c:v>Roederer</c:v>
                </c:pt>
                <c:pt idx="82">
                  <c:v>Henriot</c:v>
                </c:pt>
                <c:pt idx="83">
                  <c:v>De Venoge</c:v>
                </c:pt>
                <c:pt idx="84">
                  <c:v>Roederer</c:v>
                </c:pt>
                <c:pt idx="85">
                  <c:v>Ruinart</c:v>
                </c:pt>
                <c:pt idx="86">
                  <c:v>Ruinart</c:v>
                </c:pt>
                <c:pt idx="87">
                  <c:v>Roederer</c:v>
                </c:pt>
                <c:pt idx="88">
                  <c:v>Vranken</c:v>
                </c:pt>
                <c:pt idx="89">
                  <c:v>Nicolas</c:v>
                </c:pt>
                <c:pt idx="90">
                  <c:v>Roederer</c:v>
                </c:pt>
                <c:pt idx="91">
                  <c:v>Roederer</c:v>
                </c:pt>
                <c:pt idx="92">
                  <c:v>De Venoge</c:v>
                </c:pt>
                <c:pt idx="93">
                  <c:v>Perrier Jou</c:v>
                </c:pt>
                <c:pt idx="94">
                  <c:v>Henriot</c:v>
                </c:pt>
                <c:pt idx="95">
                  <c:v>Veuve Clicq</c:v>
                </c:pt>
                <c:pt idx="96">
                  <c:v>Moët &amp; Chan</c:v>
                </c:pt>
                <c:pt idx="97">
                  <c:v>Vranken</c:v>
                </c:pt>
                <c:pt idx="98">
                  <c:v>De Venoge</c:v>
                </c:pt>
                <c:pt idx="99">
                  <c:v>Laurent Per</c:v>
                </c:pt>
                <c:pt idx="100">
                  <c:v>Roederer</c:v>
                </c:pt>
                <c:pt idx="101">
                  <c:v>Deutz</c:v>
                </c:pt>
                <c:pt idx="102">
                  <c:v>All Others</c:v>
                </c:pt>
                <c:pt idx="103">
                  <c:v>Nicolas</c:v>
                </c:pt>
                <c:pt idx="104">
                  <c:v>Demoiselle</c:v>
                </c:pt>
                <c:pt idx="105">
                  <c:v>Nicolas Feu</c:v>
                </c:pt>
                <c:pt idx="106">
                  <c:v>Roederer</c:v>
                </c:pt>
                <c:pt idx="107">
                  <c:v>Nicolas</c:v>
                </c:pt>
                <c:pt idx="108">
                  <c:v>Canard Duch</c:v>
                </c:pt>
                <c:pt idx="109">
                  <c:v>Deutz</c:v>
                </c:pt>
                <c:pt idx="110">
                  <c:v>Deutz</c:v>
                </c:pt>
                <c:pt idx="111">
                  <c:v>Dom Perigno</c:v>
                </c:pt>
                <c:pt idx="112">
                  <c:v>Nicolas</c:v>
                </c:pt>
                <c:pt idx="113">
                  <c:v>Pommery</c:v>
                </c:pt>
                <c:pt idx="114">
                  <c:v>Deutz</c:v>
                </c:pt>
                <c:pt idx="115">
                  <c:v>Laurent Per</c:v>
                </c:pt>
                <c:pt idx="116">
                  <c:v>Bollinger</c:v>
                </c:pt>
                <c:pt idx="117">
                  <c:v>Lanson</c:v>
                </c:pt>
                <c:pt idx="118">
                  <c:v>Demoiselle</c:v>
                </c:pt>
                <c:pt idx="119">
                  <c:v>All Others</c:v>
                </c:pt>
                <c:pt idx="120">
                  <c:v>Nicolas</c:v>
                </c:pt>
                <c:pt idx="121">
                  <c:v>Ruinart</c:v>
                </c:pt>
                <c:pt idx="122">
                  <c:v>Nicolas</c:v>
                </c:pt>
                <c:pt idx="123">
                  <c:v>Nicolas</c:v>
                </c:pt>
                <c:pt idx="124">
                  <c:v>Nicolas</c:v>
                </c:pt>
                <c:pt idx="125">
                  <c:v>Nicolas</c:v>
                </c:pt>
                <c:pt idx="126">
                  <c:v>Deutz</c:v>
                </c:pt>
                <c:pt idx="127">
                  <c:v>Pommery</c:v>
                </c:pt>
                <c:pt idx="128">
                  <c:v>Besserat De</c:v>
                </c:pt>
                <c:pt idx="129">
                  <c:v>Delamotte</c:v>
                </c:pt>
                <c:pt idx="130">
                  <c:v>Ayala</c:v>
                </c:pt>
                <c:pt idx="131">
                  <c:v>Canard Duch</c:v>
                </c:pt>
                <c:pt idx="132">
                  <c:v>Pommery</c:v>
                </c:pt>
                <c:pt idx="133">
                  <c:v>Taittinger</c:v>
                </c:pt>
                <c:pt idx="134">
                  <c:v>Besserat De</c:v>
                </c:pt>
                <c:pt idx="135">
                  <c:v>Roederer</c:v>
                </c:pt>
                <c:pt idx="136">
                  <c:v>Nicolas</c:v>
                </c:pt>
                <c:pt idx="137">
                  <c:v>Bollinger</c:v>
                </c:pt>
                <c:pt idx="138">
                  <c:v>Laurent Per</c:v>
                </c:pt>
                <c:pt idx="139">
                  <c:v>Ruinart</c:v>
                </c:pt>
                <c:pt idx="140">
                  <c:v>Dom Perigno</c:v>
                </c:pt>
                <c:pt idx="141">
                  <c:v>Malard</c:v>
                </c:pt>
                <c:pt idx="142">
                  <c:v>Roederer</c:v>
                </c:pt>
                <c:pt idx="143">
                  <c:v>Moët &amp; Chan</c:v>
                </c:pt>
                <c:pt idx="144">
                  <c:v>Canard Duch</c:v>
                </c:pt>
                <c:pt idx="145">
                  <c:v>Ruinart</c:v>
                </c:pt>
                <c:pt idx="146">
                  <c:v>Ruinart</c:v>
                </c:pt>
                <c:pt idx="147">
                  <c:v>Roederer</c:v>
                </c:pt>
                <c:pt idx="148">
                  <c:v>Perrier Jou</c:v>
                </c:pt>
                <c:pt idx="149">
                  <c:v>Piper Heids</c:v>
                </c:pt>
                <c:pt idx="150">
                  <c:v>Roederer</c:v>
                </c:pt>
                <c:pt idx="151">
                  <c:v>Taittinger</c:v>
                </c:pt>
                <c:pt idx="152">
                  <c:v>Laurent Per</c:v>
                </c:pt>
                <c:pt idx="153">
                  <c:v>All Others</c:v>
                </c:pt>
                <c:pt idx="154">
                  <c:v>Vesselle</c:v>
                </c:pt>
                <c:pt idx="155">
                  <c:v>Nicolas</c:v>
                </c:pt>
                <c:pt idx="156">
                  <c:v>Moët &amp; Chan</c:v>
                </c:pt>
                <c:pt idx="157">
                  <c:v>Roederer</c:v>
                </c:pt>
                <c:pt idx="158">
                  <c:v>Louis Marti</c:v>
                </c:pt>
                <c:pt idx="159">
                  <c:v>Taittinger</c:v>
                </c:pt>
                <c:pt idx="160">
                  <c:v>Ruinart</c:v>
                </c:pt>
                <c:pt idx="161">
                  <c:v>Deutz</c:v>
                </c:pt>
                <c:pt idx="162">
                  <c:v>Piper Heids</c:v>
                </c:pt>
                <c:pt idx="163">
                  <c:v>Vesselle</c:v>
                </c:pt>
                <c:pt idx="164">
                  <c:v>All Others</c:v>
                </c:pt>
                <c:pt idx="165">
                  <c:v>Roederer</c:v>
                </c:pt>
                <c:pt idx="166">
                  <c:v>Nicolas</c:v>
                </c:pt>
                <c:pt idx="167">
                  <c:v>Vranken</c:v>
                </c:pt>
                <c:pt idx="168">
                  <c:v>All Others</c:v>
                </c:pt>
                <c:pt idx="169">
                  <c:v>Henriot</c:v>
                </c:pt>
                <c:pt idx="170">
                  <c:v>Ruinart</c:v>
                </c:pt>
                <c:pt idx="171">
                  <c:v>Perrier Jou</c:v>
                </c:pt>
                <c:pt idx="172">
                  <c:v>Nicolas</c:v>
                </c:pt>
                <c:pt idx="173">
                  <c:v>Ruinart</c:v>
                </c:pt>
                <c:pt idx="174">
                  <c:v>Roederer</c:v>
                </c:pt>
                <c:pt idx="175">
                  <c:v>Ruinart</c:v>
                </c:pt>
                <c:pt idx="176">
                  <c:v>Dom Perigno</c:v>
                </c:pt>
                <c:pt idx="177">
                  <c:v>Roederer</c:v>
                </c:pt>
                <c:pt idx="178">
                  <c:v>Nicolas</c:v>
                </c:pt>
                <c:pt idx="179">
                  <c:v>Laurent Per</c:v>
                </c:pt>
                <c:pt idx="180">
                  <c:v>Besserat De</c:v>
                </c:pt>
                <c:pt idx="181">
                  <c:v>All Others</c:v>
                </c:pt>
                <c:pt idx="182">
                  <c:v>All Others</c:v>
                </c:pt>
                <c:pt idx="183">
                  <c:v>Pommery</c:v>
                </c:pt>
                <c:pt idx="184">
                  <c:v>Bollinger</c:v>
                </c:pt>
                <c:pt idx="185">
                  <c:v>Taittinger</c:v>
                </c:pt>
                <c:pt idx="186">
                  <c:v>Pommery</c:v>
                </c:pt>
                <c:pt idx="187">
                  <c:v>Nicolas Feu</c:v>
                </c:pt>
                <c:pt idx="188">
                  <c:v>Bollinger</c:v>
                </c:pt>
                <c:pt idx="189">
                  <c:v>Pommery</c:v>
                </c:pt>
                <c:pt idx="190">
                  <c:v>Roederer</c:v>
                </c:pt>
                <c:pt idx="191">
                  <c:v>Moët &amp; Chan</c:v>
                </c:pt>
                <c:pt idx="192">
                  <c:v>Demoiselle</c:v>
                </c:pt>
                <c:pt idx="193">
                  <c:v>Dom Perigno</c:v>
                </c:pt>
                <c:pt idx="194">
                  <c:v>Piper Heids</c:v>
                </c:pt>
                <c:pt idx="195">
                  <c:v>Ruinart</c:v>
                </c:pt>
                <c:pt idx="196">
                  <c:v>Ruinart</c:v>
                </c:pt>
                <c:pt idx="197">
                  <c:v>All Others</c:v>
                </c:pt>
                <c:pt idx="198">
                  <c:v>Veuve Clicq</c:v>
                </c:pt>
                <c:pt idx="199">
                  <c:v>Canard Duch</c:v>
                </c:pt>
                <c:pt idx="200">
                  <c:v>Henriot</c:v>
                </c:pt>
                <c:pt idx="201">
                  <c:v>Perrier Jou</c:v>
                </c:pt>
                <c:pt idx="202">
                  <c:v>Pommery</c:v>
                </c:pt>
                <c:pt idx="203">
                  <c:v>Piper Heids</c:v>
                </c:pt>
                <c:pt idx="204">
                  <c:v>Laurent Per</c:v>
                </c:pt>
                <c:pt idx="205">
                  <c:v>De Venoge</c:v>
                </c:pt>
                <c:pt idx="206">
                  <c:v>Nicolas</c:v>
                </c:pt>
                <c:pt idx="207">
                  <c:v>Dom Perigno</c:v>
                </c:pt>
                <c:pt idx="208">
                  <c:v>Dom Perigno</c:v>
                </c:pt>
                <c:pt idx="209">
                  <c:v>Nicolas</c:v>
                </c:pt>
                <c:pt idx="210">
                  <c:v>Moët &amp; Chan</c:v>
                </c:pt>
                <c:pt idx="211">
                  <c:v>All Others</c:v>
                </c:pt>
                <c:pt idx="212">
                  <c:v>Laurent Per</c:v>
                </c:pt>
                <c:pt idx="213">
                  <c:v>All Others</c:v>
                </c:pt>
                <c:pt idx="214">
                  <c:v>De Bligny</c:v>
                </c:pt>
                <c:pt idx="215">
                  <c:v>All Others</c:v>
                </c:pt>
                <c:pt idx="216">
                  <c:v>Ruinart</c:v>
                </c:pt>
                <c:pt idx="217">
                  <c:v>Nicolas Feu</c:v>
                </c:pt>
                <c:pt idx="218">
                  <c:v>Laurent Per</c:v>
                </c:pt>
                <c:pt idx="219">
                  <c:v>Canard Duch</c:v>
                </c:pt>
                <c:pt idx="220">
                  <c:v>Malard</c:v>
                </c:pt>
                <c:pt idx="221">
                  <c:v>All Others</c:v>
                </c:pt>
                <c:pt idx="222">
                  <c:v>De Venoge</c:v>
                </c:pt>
                <c:pt idx="223">
                  <c:v>Roederer</c:v>
                </c:pt>
                <c:pt idx="224">
                  <c:v>Malard</c:v>
                </c:pt>
                <c:pt idx="225">
                  <c:v>Laurent Per</c:v>
                </c:pt>
                <c:pt idx="226">
                  <c:v>Veuve Clicq</c:v>
                </c:pt>
                <c:pt idx="227">
                  <c:v>Ruinart</c:v>
                </c:pt>
                <c:pt idx="228">
                  <c:v>Ruinart</c:v>
                </c:pt>
                <c:pt idx="229">
                  <c:v>Bollinger</c:v>
                </c:pt>
                <c:pt idx="230">
                  <c:v>Roederer</c:v>
                </c:pt>
                <c:pt idx="231">
                  <c:v>De Venoge</c:v>
                </c:pt>
                <c:pt idx="232">
                  <c:v>Bollinger</c:v>
                </c:pt>
                <c:pt idx="233">
                  <c:v>Nicolas Feu</c:v>
                </c:pt>
                <c:pt idx="234">
                  <c:v>Besserat De</c:v>
                </c:pt>
                <c:pt idx="235">
                  <c:v>Bollinger</c:v>
                </c:pt>
                <c:pt idx="236">
                  <c:v>Demoiselle</c:v>
                </c:pt>
                <c:pt idx="237">
                  <c:v>All Others</c:v>
                </c:pt>
                <c:pt idx="238">
                  <c:v>De Venoge</c:v>
                </c:pt>
                <c:pt idx="239">
                  <c:v>All Others</c:v>
                </c:pt>
                <c:pt idx="240">
                  <c:v>All Others</c:v>
                </c:pt>
                <c:pt idx="241">
                  <c:v>All Others</c:v>
                </c:pt>
                <c:pt idx="242">
                  <c:v>Henriot</c:v>
                </c:pt>
                <c:pt idx="243">
                  <c:v>Piper Heids</c:v>
                </c:pt>
                <c:pt idx="244">
                  <c:v>Roederer</c:v>
                </c:pt>
                <c:pt idx="245">
                  <c:v>Delamotte</c:v>
                </c:pt>
                <c:pt idx="246">
                  <c:v>Besserat De</c:v>
                </c:pt>
                <c:pt idx="247">
                  <c:v>Pommery</c:v>
                </c:pt>
                <c:pt idx="248">
                  <c:v>Pommery</c:v>
                </c:pt>
                <c:pt idx="249">
                  <c:v>Besserat De</c:v>
                </c:pt>
                <c:pt idx="250">
                  <c:v>Roederer</c:v>
                </c:pt>
                <c:pt idx="251">
                  <c:v>Roederer</c:v>
                </c:pt>
                <c:pt idx="252">
                  <c:v>Roederer</c:v>
                </c:pt>
                <c:pt idx="253">
                  <c:v>Martel</c:v>
                </c:pt>
                <c:pt idx="254">
                  <c:v>Nicolas</c:v>
                </c:pt>
                <c:pt idx="255">
                  <c:v>Demoiselle</c:v>
                </c:pt>
              </c:strCache>
            </c:strRef>
          </c:cat>
          <c:val>
            <c:numRef>
              <c:f>Sheet1!$B$2:$B$257</c:f>
              <c:numCache>
                <c:formatCode>General</c:formatCode>
                <c:ptCount val="256"/>
                <c:pt idx="0">
                  <c:v>1</c:v>
                </c:pt>
                <c:pt idx="1">
                  <c:v>1</c:v>
                </c:pt>
                <c:pt idx="2">
                  <c:v>1</c:v>
                </c:pt>
                <c:pt idx="3">
                  <c:v>0.93</c:v>
                </c:pt>
                <c:pt idx="4">
                  <c:v>0.95</c:v>
                </c:pt>
                <c:pt idx="5">
                  <c:v>1</c:v>
                </c:pt>
                <c:pt idx="6">
                  <c:v>0.95</c:v>
                </c:pt>
                <c:pt idx="7">
                  <c:v>0.95</c:v>
                </c:pt>
                <c:pt idx="8">
                  <c:v>0.72</c:v>
                </c:pt>
                <c:pt idx="9">
                  <c:v>0.91</c:v>
                </c:pt>
                <c:pt idx="10">
                  <c:v>0.99</c:v>
                </c:pt>
                <c:pt idx="11">
                  <c:v>0.75</c:v>
                </c:pt>
                <c:pt idx="12">
                  <c:v>0.99</c:v>
                </c:pt>
                <c:pt idx="13">
                  <c:v>0.95</c:v>
                </c:pt>
                <c:pt idx="14">
                  <c:v>0.93</c:v>
                </c:pt>
                <c:pt idx="15">
                  <c:v>0.85</c:v>
                </c:pt>
                <c:pt idx="16">
                  <c:v>0.88</c:v>
                </c:pt>
                <c:pt idx="17">
                  <c:v>0.95</c:v>
                </c:pt>
                <c:pt idx="18">
                  <c:v>0.68</c:v>
                </c:pt>
                <c:pt idx="19">
                  <c:v>0.87</c:v>
                </c:pt>
                <c:pt idx="20">
                  <c:v>0.93</c:v>
                </c:pt>
                <c:pt idx="21">
                  <c:v>0.38</c:v>
                </c:pt>
                <c:pt idx="22">
                  <c:v>0.6</c:v>
                </c:pt>
                <c:pt idx="23">
                  <c:v>0.77</c:v>
                </c:pt>
                <c:pt idx="24">
                  <c:v>0.65</c:v>
                </c:pt>
                <c:pt idx="25">
                  <c:v>0.7</c:v>
                </c:pt>
                <c:pt idx="26">
                  <c:v>0.36</c:v>
                </c:pt>
                <c:pt idx="27">
                  <c:v>0.72</c:v>
                </c:pt>
                <c:pt idx="28">
                  <c:v>0.62</c:v>
                </c:pt>
                <c:pt idx="29">
                  <c:v>0.79</c:v>
                </c:pt>
                <c:pt idx="30">
                  <c:v>0.36</c:v>
                </c:pt>
                <c:pt idx="31">
                  <c:v>0.61</c:v>
                </c:pt>
                <c:pt idx="32">
                  <c:v>0.68</c:v>
                </c:pt>
                <c:pt idx="33">
                  <c:v>0.77</c:v>
                </c:pt>
                <c:pt idx="34">
                  <c:v>0.5</c:v>
                </c:pt>
                <c:pt idx="35">
                  <c:v>0.56000000000000005</c:v>
                </c:pt>
                <c:pt idx="36">
                  <c:v>0.69</c:v>
                </c:pt>
                <c:pt idx="37">
                  <c:v>0.56000000000000005</c:v>
                </c:pt>
                <c:pt idx="38">
                  <c:v>0.63</c:v>
                </c:pt>
                <c:pt idx="39">
                  <c:v>0.72</c:v>
                </c:pt>
                <c:pt idx="40">
                  <c:v>0.62</c:v>
                </c:pt>
                <c:pt idx="41">
                  <c:v>0.72</c:v>
                </c:pt>
                <c:pt idx="42">
                  <c:v>0.43</c:v>
                </c:pt>
                <c:pt idx="43">
                  <c:v>0.37</c:v>
                </c:pt>
                <c:pt idx="44">
                  <c:v>0.48</c:v>
                </c:pt>
                <c:pt idx="45">
                  <c:v>0.63</c:v>
                </c:pt>
                <c:pt idx="46">
                  <c:v>0.66</c:v>
                </c:pt>
                <c:pt idx="47">
                  <c:v>0.71</c:v>
                </c:pt>
                <c:pt idx="48">
                  <c:v>0.72</c:v>
                </c:pt>
                <c:pt idx="49">
                  <c:v>0.56000000000000005</c:v>
                </c:pt>
                <c:pt idx="50">
                  <c:v>0.77</c:v>
                </c:pt>
                <c:pt idx="51">
                  <c:v>0.43</c:v>
                </c:pt>
                <c:pt idx="52">
                  <c:v>0.35</c:v>
                </c:pt>
                <c:pt idx="53">
                  <c:v>0.54</c:v>
                </c:pt>
                <c:pt idx="54">
                  <c:v>0.66</c:v>
                </c:pt>
                <c:pt idx="55">
                  <c:v>0.56000000000000005</c:v>
                </c:pt>
                <c:pt idx="56">
                  <c:v>0.49</c:v>
                </c:pt>
                <c:pt idx="57">
                  <c:v>0.62</c:v>
                </c:pt>
                <c:pt idx="58">
                  <c:v>0.41</c:v>
                </c:pt>
                <c:pt idx="59">
                  <c:v>0.28000000000000003</c:v>
                </c:pt>
                <c:pt idx="60">
                  <c:v>0.72</c:v>
                </c:pt>
                <c:pt idx="61">
                  <c:v>0.5</c:v>
                </c:pt>
                <c:pt idx="62">
                  <c:v>0.44</c:v>
                </c:pt>
                <c:pt idx="63">
                  <c:v>0.27</c:v>
                </c:pt>
                <c:pt idx="64">
                  <c:v>0.4</c:v>
                </c:pt>
                <c:pt idx="65">
                  <c:v>0.35</c:v>
                </c:pt>
                <c:pt idx="66">
                  <c:v>0.63</c:v>
                </c:pt>
                <c:pt idx="67">
                  <c:v>0.51</c:v>
                </c:pt>
                <c:pt idx="68">
                  <c:v>0.49</c:v>
                </c:pt>
                <c:pt idx="69">
                  <c:v>0.4</c:v>
                </c:pt>
                <c:pt idx="70">
                  <c:v>0.42</c:v>
                </c:pt>
                <c:pt idx="71">
                  <c:v>0.31</c:v>
                </c:pt>
                <c:pt idx="72">
                  <c:v>0.34</c:v>
                </c:pt>
                <c:pt idx="73">
                  <c:v>0.28000000000000003</c:v>
                </c:pt>
                <c:pt idx="74">
                  <c:v>0.27</c:v>
                </c:pt>
                <c:pt idx="75">
                  <c:v>0.44</c:v>
                </c:pt>
                <c:pt idx="76">
                  <c:v>0.45</c:v>
                </c:pt>
                <c:pt idx="77">
                  <c:v>0.27</c:v>
                </c:pt>
                <c:pt idx="78">
                  <c:v>0.47</c:v>
                </c:pt>
                <c:pt idx="79">
                  <c:v>0.34</c:v>
                </c:pt>
                <c:pt idx="80">
                  <c:v>0.56000000000000005</c:v>
                </c:pt>
                <c:pt idx="81">
                  <c:v>0.24</c:v>
                </c:pt>
                <c:pt idx="82">
                  <c:v>0.41</c:v>
                </c:pt>
                <c:pt idx="83">
                  <c:v>0.39</c:v>
                </c:pt>
                <c:pt idx="84">
                  <c:v>0.48</c:v>
                </c:pt>
                <c:pt idx="85">
                  <c:v>0.43</c:v>
                </c:pt>
                <c:pt idx="86">
                  <c:v>0.21</c:v>
                </c:pt>
                <c:pt idx="87">
                  <c:v>0.18</c:v>
                </c:pt>
                <c:pt idx="88">
                  <c:v>0.31</c:v>
                </c:pt>
                <c:pt idx="89">
                  <c:v>0.56000000000000005</c:v>
                </c:pt>
                <c:pt idx="90">
                  <c:v>0.28000000000000003</c:v>
                </c:pt>
                <c:pt idx="91">
                  <c:v>0.27</c:v>
                </c:pt>
                <c:pt idx="92">
                  <c:v>0.27</c:v>
                </c:pt>
                <c:pt idx="93">
                  <c:v>0.28000000000000003</c:v>
                </c:pt>
                <c:pt idx="94">
                  <c:v>0.26</c:v>
                </c:pt>
                <c:pt idx="95">
                  <c:v>0.25</c:v>
                </c:pt>
                <c:pt idx="96">
                  <c:v>0.38</c:v>
                </c:pt>
                <c:pt idx="97">
                  <c:v>0.36</c:v>
                </c:pt>
                <c:pt idx="98">
                  <c:v>0.36</c:v>
                </c:pt>
                <c:pt idx="99">
                  <c:v>0.25</c:v>
                </c:pt>
                <c:pt idx="100">
                  <c:v>0.24</c:v>
                </c:pt>
                <c:pt idx="101">
                  <c:v>0.55000000000000004</c:v>
                </c:pt>
                <c:pt idx="102">
                  <c:v>0.36</c:v>
                </c:pt>
                <c:pt idx="103">
                  <c:v>0.27</c:v>
                </c:pt>
                <c:pt idx="104">
                  <c:v>0.27</c:v>
                </c:pt>
                <c:pt idx="105">
                  <c:v>0.4</c:v>
                </c:pt>
                <c:pt idx="106">
                  <c:v>0.33</c:v>
                </c:pt>
                <c:pt idx="107">
                  <c:v>0.5</c:v>
                </c:pt>
                <c:pt idx="108">
                  <c:v>0.18</c:v>
                </c:pt>
                <c:pt idx="109">
                  <c:v>0.19</c:v>
                </c:pt>
                <c:pt idx="110">
                  <c:v>0.17</c:v>
                </c:pt>
                <c:pt idx="111">
                  <c:v>0.09</c:v>
                </c:pt>
                <c:pt idx="112">
                  <c:v>0.26</c:v>
                </c:pt>
                <c:pt idx="113">
                  <c:v>0.25</c:v>
                </c:pt>
                <c:pt idx="114">
                  <c:v>0.14000000000000001</c:v>
                </c:pt>
                <c:pt idx="115">
                  <c:v>0.22</c:v>
                </c:pt>
                <c:pt idx="116">
                  <c:v>0.39</c:v>
                </c:pt>
                <c:pt idx="117">
                  <c:v>0.42</c:v>
                </c:pt>
                <c:pt idx="118">
                  <c:v>0.46</c:v>
                </c:pt>
                <c:pt idx="119">
                  <c:v>0.38</c:v>
                </c:pt>
                <c:pt idx="120">
                  <c:v>0.47</c:v>
                </c:pt>
                <c:pt idx="121">
                  <c:v>0.27</c:v>
                </c:pt>
                <c:pt idx="122">
                  <c:v>0.33</c:v>
                </c:pt>
                <c:pt idx="123">
                  <c:v>0.33</c:v>
                </c:pt>
                <c:pt idx="124">
                  <c:v>0.14000000000000001</c:v>
                </c:pt>
                <c:pt idx="125">
                  <c:v>0.33</c:v>
                </c:pt>
                <c:pt idx="126">
                  <c:v>0.19</c:v>
                </c:pt>
                <c:pt idx="127">
                  <c:v>0.24</c:v>
                </c:pt>
                <c:pt idx="128">
                  <c:v>0.26</c:v>
                </c:pt>
                <c:pt idx="129">
                  <c:v>0.14000000000000001</c:v>
                </c:pt>
                <c:pt idx="130">
                  <c:v>0.14000000000000001</c:v>
                </c:pt>
                <c:pt idx="131">
                  <c:v>0.26</c:v>
                </c:pt>
                <c:pt idx="132">
                  <c:v>0.09</c:v>
                </c:pt>
                <c:pt idx="133">
                  <c:v>7.0000000000000007E-2</c:v>
                </c:pt>
                <c:pt idx="134">
                  <c:v>0.13</c:v>
                </c:pt>
                <c:pt idx="135">
                  <c:v>0.24</c:v>
                </c:pt>
                <c:pt idx="136">
                  <c:v>0.19</c:v>
                </c:pt>
                <c:pt idx="137">
                  <c:v>0.09</c:v>
                </c:pt>
                <c:pt idx="138">
                  <c:v>0.23</c:v>
                </c:pt>
                <c:pt idx="139">
                  <c:v>7.0000000000000007E-2</c:v>
                </c:pt>
                <c:pt idx="140">
                  <c:v>0.04</c:v>
                </c:pt>
                <c:pt idx="141">
                  <c:v>0.16</c:v>
                </c:pt>
                <c:pt idx="142">
                  <c:v>0.27</c:v>
                </c:pt>
                <c:pt idx="143">
                  <c:v>0.21</c:v>
                </c:pt>
                <c:pt idx="144">
                  <c:v>0.16</c:v>
                </c:pt>
                <c:pt idx="145">
                  <c:v>0.14000000000000001</c:v>
                </c:pt>
                <c:pt idx="146">
                  <c:v>0.24</c:v>
                </c:pt>
                <c:pt idx="147">
                  <c:v>7.0000000000000007E-2</c:v>
                </c:pt>
                <c:pt idx="148">
                  <c:v>0.24</c:v>
                </c:pt>
                <c:pt idx="149">
                  <c:v>0.11</c:v>
                </c:pt>
                <c:pt idx="150">
                  <c:v>0.11</c:v>
                </c:pt>
                <c:pt idx="151">
                  <c:v>0.09</c:v>
                </c:pt>
                <c:pt idx="152">
                  <c:v>0.06</c:v>
                </c:pt>
                <c:pt idx="153">
                  <c:v>0.09</c:v>
                </c:pt>
                <c:pt idx="154">
                  <c:v>0.21</c:v>
                </c:pt>
                <c:pt idx="155">
                  <c:v>0.22</c:v>
                </c:pt>
                <c:pt idx="156">
                  <c:v>0.19</c:v>
                </c:pt>
                <c:pt idx="157">
                  <c:v>0.08</c:v>
                </c:pt>
                <c:pt idx="158">
                  <c:v>0.23</c:v>
                </c:pt>
                <c:pt idx="159">
                  <c:v>0.06</c:v>
                </c:pt>
                <c:pt idx="160">
                  <c:v>0.05</c:v>
                </c:pt>
                <c:pt idx="161">
                  <c:v>0.14000000000000001</c:v>
                </c:pt>
                <c:pt idx="162">
                  <c:v>7.0000000000000007E-2</c:v>
                </c:pt>
                <c:pt idx="163">
                  <c:v>0.18</c:v>
                </c:pt>
                <c:pt idx="164">
                  <c:v>0.2</c:v>
                </c:pt>
                <c:pt idx="165">
                  <c:v>0.08</c:v>
                </c:pt>
                <c:pt idx="166">
                  <c:v>0.12</c:v>
                </c:pt>
                <c:pt idx="167">
                  <c:v>7.0000000000000007E-2</c:v>
                </c:pt>
                <c:pt idx="168">
                  <c:v>0.15</c:v>
                </c:pt>
                <c:pt idx="169">
                  <c:v>0.11</c:v>
                </c:pt>
                <c:pt idx="170">
                  <c:v>0.1</c:v>
                </c:pt>
                <c:pt idx="171">
                  <c:v>0.16</c:v>
                </c:pt>
                <c:pt idx="172">
                  <c:v>0.13</c:v>
                </c:pt>
                <c:pt idx="173">
                  <c:v>7.0000000000000007E-2</c:v>
                </c:pt>
                <c:pt idx="174">
                  <c:v>0.11</c:v>
                </c:pt>
                <c:pt idx="175">
                  <c:v>0.14000000000000001</c:v>
                </c:pt>
                <c:pt idx="176">
                  <c:v>0.04</c:v>
                </c:pt>
                <c:pt idx="177">
                  <c:v>0.09</c:v>
                </c:pt>
                <c:pt idx="178">
                  <c:v>0.09</c:v>
                </c:pt>
                <c:pt idx="179">
                  <c:v>0.27</c:v>
                </c:pt>
                <c:pt idx="180">
                  <c:v>7.0000000000000007E-2</c:v>
                </c:pt>
                <c:pt idx="181">
                  <c:v>0.18</c:v>
                </c:pt>
                <c:pt idx="182">
                  <c:v>0.06</c:v>
                </c:pt>
                <c:pt idx="183">
                  <c:v>0.33</c:v>
                </c:pt>
                <c:pt idx="184">
                  <c:v>0.11</c:v>
                </c:pt>
                <c:pt idx="185">
                  <c:v>0.04</c:v>
                </c:pt>
                <c:pt idx="186">
                  <c:v>0.1</c:v>
                </c:pt>
                <c:pt idx="187">
                  <c:v>0.24</c:v>
                </c:pt>
                <c:pt idx="188">
                  <c:v>0.04</c:v>
                </c:pt>
                <c:pt idx="189">
                  <c:v>0.27</c:v>
                </c:pt>
                <c:pt idx="190">
                  <c:v>0.14000000000000001</c:v>
                </c:pt>
                <c:pt idx="191">
                  <c:v>0.04</c:v>
                </c:pt>
                <c:pt idx="192">
                  <c:v>7.0000000000000007E-2</c:v>
                </c:pt>
                <c:pt idx="193">
                  <c:v>0.08</c:v>
                </c:pt>
                <c:pt idx="194">
                  <c:v>0.13</c:v>
                </c:pt>
                <c:pt idx="195">
                  <c:v>0.06</c:v>
                </c:pt>
                <c:pt idx="196">
                  <c:v>0.06</c:v>
                </c:pt>
                <c:pt idx="197">
                  <c:v>0.08</c:v>
                </c:pt>
                <c:pt idx="198">
                  <c:v>0.11</c:v>
                </c:pt>
                <c:pt idx="199">
                  <c:v>0.14000000000000001</c:v>
                </c:pt>
                <c:pt idx="200">
                  <c:v>0.19</c:v>
                </c:pt>
                <c:pt idx="201">
                  <c:v>7.0000000000000007E-2</c:v>
                </c:pt>
                <c:pt idx="202">
                  <c:v>0.19</c:v>
                </c:pt>
                <c:pt idx="203">
                  <c:v>7.0000000000000007E-2</c:v>
                </c:pt>
                <c:pt idx="204">
                  <c:v>0.11</c:v>
                </c:pt>
                <c:pt idx="205">
                  <c:v>0.03</c:v>
                </c:pt>
                <c:pt idx="206">
                  <c:v>0.05</c:v>
                </c:pt>
                <c:pt idx="207">
                  <c:v>0.1</c:v>
                </c:pt>
                <c:pt idx="208">
                  <c:v>0.05</c:v>
                </c:pt>
                <c:pt idx="209">
                  <c:v>0.06</c:v>
                </c:pt>
                <c:pt idx="210">
                  <c:v>0.21</c:v>
                </c:pt>
                <c:pt idx="211">
                  <c:v>0.24</c:v>
                </c:pt>
                <c:pt idx="212">
                  <c:v>0.05</c:v>
                </c:pt>
                <c:pt idx="213">
                  <c:v>0.01</c:v>
                </c:pt>
                <c:pt idx="214">
                  <c:v>0.08</c:v>
                </c:pt>
                <c:pt idx="215">
                  <c:v>0.06</c:v>
                </c:pt>
                <c:pt idx="216">
                  <c:v>7.0000000000000007E-2</c:v>
                </c:pt>
                <c:pt idx="217">
                  <c:v>0.06</c:v>
                </c:pt>
                <c:pt idx="218">
                  <c:v>0.1</c:v>
                </c:pt>
                <c:pt idx="219">
                  <c:v>0.09</c:v>
                </c:pt>
                <c:pt idx="220">
                  <c:v>0.03</c:v>
                </c:pt>
                <c:pt idx="221">
                  <c:v>0.04</c:v>
                </c:pt>
                <c:pt idx="222">
                  <c:v>0.04</c:v>
                </c:pt>
                <c:pt idx="223">
                  <c:v>0.03</c:v>
                </c:pt>
                <c:pt idx="224">
                  <c:v>0.04</c:v>
                </c:pt>
                <c:pt idx="225">
                  <c:v>0.02</c:v>
                </c:pt>
                <c:pt idx="226">
                  <c:v>0.21</c:v>
                </c:pt>
                <c:pt idx="227">
                  <c:v>0.01</c:v>
                </c:pt>
                <c:pt idx="228">
                  <c:v>0.02</c:v>
                </c:pt>
                <c:pt idx="229">
                  <c:v>7.0000000000000007E-2</c:v>
                </c:pt>
                <c:pt idx="230">
                  <c:v>0.02</c:v>
                </c:pt>
                <c:pt idx="231">
                  <c:v>0.06</c:v>
                </c:pt>
                <c:pt idx="232">
                  <c:v>0.04</c:v>
                </c:pt>
                <c:pt idx="233">
                  <c:v>0.02</c:v>
                </c:pt>
                <c:pt idx="234">
                  <c:v>0.06</c:v>
                </c:pt>
                <c:pt idx="235">
                  <c:v>0.03</c:v>
                </c:pt>
                <c:pt idx="236">
                  <c:v>0.03</c:v>
                </c:pt>
                <c:pt idx="237">
                  <c:v>0.24</c:v>
                </c:pt>
                <c:pt idx="238">
                  <c:v>7.0000000000000007E-2</c:v>
                </c:pt>
                <c:pt idx="239">
                  <c:v>0.01</c:v>
                </c:pt>
                <c:pt idx="240">
                  <c:v>0.19</c:v>
                </c:pt>
                <c:pt idx="241">
                  <c:v>0.12</c:v>
                </c:pt>
                <c:pt idx="242">
                  <c:v>0.09</c:v>
                </c:pt>
                <c:pt idx="243">
                  <c:v>0.12</c:v>
                </c:pt>
                <c:pt idx="244">
                  <c:v>0.04</c:v>
                </c:pt>
                <c:pt idx="245">
                  <c:v>0.03</c:v>
                </c:pt>
                <c:pt idx="246">
                  <c:v>0.05</c:v>
                </c:pt>
                <c:pt idx="247">
                  <c:v>0.03</c:v>
                </c:pt>
                <c:pt idx="248">
                  <c:v>0.04</c:v>
                </c:pt>
                <c:pt idx="249">
                  <c:v>0.03</c:v>
                </c:pt>
                <c:pt idx="250">
                  <c:v>0.01</c:v>
                </c:pt>
                <c:pt idx="251">
                  <c:v>0.1</c:v>
                </c:pt>
                <c:pt idx="252">
                  <c:v>0.03</c:v>
                </c:pt>
                <c:pt idx="253">
                  <c:v>0.05</c:v>
                </c:pt>
                <c:pt idx="254">
                  <c:v>0.01</c:v>
                </c:pt>
                <c:pt idx="255">
                  <c:v>0.03</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7ECAC4"/>
              </a:solidFill>
            </c:spPr>
            <c:extLst>
              <c:ext xmlns:c16="http://schemas.microsoft.com/office/drawing/2014/chart" uri="{C3380CC4-5D6E-409C-BE32-E72D297353CC}">
                <c16:uniqueId val="{00000097-2993-41DE-A2CB-63102DE87051}"/>
              </c:ext>
            </c:extLst>
          </c:dPt>
          <c:dPt>
            <c:idx val="48"/>
            <c:invertIfNegative val="1"/>
            <c:bubble3D val="0"/>
            <c:spPr>
              <a:solidFill>
                <a:srgbClr val="7ECAC4"/>
              </a:solidFill>
            </c:spPr>
            <c:extLst>
              <c:ext xmlns:c16="http://schemas.microsoft.com/office/drawing/2014/chart" uri="{C3380CC4-5D6E-409C-BE32-E72D297353CC}">
                <c16:uniqueId val="{00000099-2993-41DE-A2CB-63102DE87051}"/>
              </c:ext>
            </c:extLst>
          </c:dPt>
          <c:dPt>
            <c:idx val="49"/>
            <c:invertIfNegative val="1"/>
            <c:bubble3D val="0"/>
            <c:spPr>
              <a:solidFill>
                <a:srgbClr val="7ECAC4"/>
              </a:solidFill>
            </c:spPr>
            <c:extLst>
              <c:ext xmlns:c16="http://schemas.microsoft.com/office/drawing/2014/chart" uri="{C3380CC4-5D6E-409C-BE32-E72D297353CC}">
                <c16:uniqueId val="{0000009B-2993-41DE-A2CB-63102DE87051}"/>
              </c:ext>
            </c:extLst>
          </c:dPt>
          <c:dPt>
            <c:idx val="50"/>
            <c:invertIfNegative val="1"/>
            <c:bubble3D val="0"/>
            <c:spPr>
              <a:solidFill>
                <a:srgbClr val="7ECAC4"/>
              </a:solidFill>
            </c:spPr>
            <c:extLst>
              <c:ext xmlns:c16="http://schemas.microsoft.com/office/drawing/2014/chart" uri="{C3380CC4-5D6E-409C-BE32-E72D297353CC}">
                <c16:uniqueId val="{0000009D-2993-41DE-A2CB-63102DE87051}"/>
              </c:ext>
            </c:extLst>
          </c:dPt>
          <c:dPt>
            <c:idx val="51"/>
            <c:invertIfNegative val="1"/>
            <c:bubble3D val="0"/>
            <c:spPr>
              <a:solidFill>
                <a:srgbClr val="7ECAC4"/>
              </a:solidFill>
            </c:spPr>
            <c:extLst>
              <c:ext xmlns:c16="http://schemas.microsoft.com/office/drawing/2014/chart" uri="{C3380CC4-5D6E-409C-BE32-E72D297353CC}">
                <c16:uniqueId val="{0000009F-2993-41DE-A2CB-63102DE87051}"/>
              </c:ext>
            </c:extLst>
          </c:dPt>
          <c:dPt>
            <c:idx val="52"/>
            <c:invertIfNegative val="1"/>
            <c:bubble3D val="0"/>
            <c:spPr>
              <a:solidFill>
                <a:srgbClr val="7ECAC4"/>
              </a:solidFill>
            </c:spPr>
            <c:extLst>
              <c:ext xmlns:c16="http://schemas.microsoft.com/office/drawing/2014/chart" uri="{C3380CC4-5D6E-409C-BE32-E72D297353CC}">
                <c16:uniqueId val="{000000A1-2993-41DE-A2CB-63102DE87051}"/>
              </c:ext>
            </c:extLst>
          </c:dPt>
          <c:dPt>
            <c:idx val="53"/>
            <c:invertIfNegative val="1"/>
            <c:bubble3D val="0"/>
            <c:spPr>
              <a:solidFill>
                <a:srgbClr val="7ECAC4"/>
              </a:solidFill>
            </c:spPr>
            <c:extLst>
              <c:ext xmlns:c16="http://schemas.microsoft.com/office/drawing/2014/chart" uri="{C3380CC4-5D6E-409C-BE32-E72D297353CC}">
                <c16:uniqueId val="{000000A3-2993-41DE-A2CB-63102DE87051}"/>
              </c:ext>
            </c:extLst>
          </c:dPt>
          <c:dPt>
            <c:idx val="54"/>
            <c:invertIfNegative val="0"/>
            <c:bubble3D val="0"/>
            <c:spPr>
              <a:solidFill>
                <a:srgbClr val="7ECAC4"/>
              </a:solidFill>
            </c:spPr>
            <c:extLst>
              <c:ext xmlns:c16="http://schemas.microsoft.com/office/drawing/2014/chart" uri="{C3380CC4-5D6E-409C-BE32-E72D297353CC}">
                <c16:uniqueId val="{00000072-C76F-4230-900D-40618C09729F}"/>
              </c:ext>
            </c:extLst>
          </c:dPt>
          <c:dPt>
            <c:idx val="55"/>
            <c:invertIfNegative val="0"/>
            <c:bubble3D val="0"/>
            <c:spPr>
              <a:solidFill>
                <a:srgbClr val="7ECAC4"/>
              </a:solidFill>
            </c:spPr>
            <c:extLst>
              <c:ext xmlns:c16="http://schemas.microsoft.com/office/drawing/2014/chart" uri="{C3380CC4-5D6E-409C-BE32-E72D297353CC}">
                <c16:uniqueId val="{00000074-C76F-4230-900D-40618C09729F}"/>
              </c:ext>
            </c:extLst>
          </c:dPt>
          <c:dPt>
            <c:idx val="56"/>
            <c:invertIfNegative val="0"/>
            <c:bubble3D val="0"/>
            <c:spPr>
              <a:solidFill>
                <a:srgbClr val="7ECAC4"/>
              </a:solidFill>
            </c:spPr>
            <c:extLst>
              <c:ext xmlns:c16="http://schemas.microsoft.com/office/drawing/2014/chart" uri="{C3380CC4-5D6E-409C-BE32-E72D297353CC}">
                <c16:uniqueId val="{00000076-C76F-4230-900D-40618C09729F}"/>
              </c:ext>
            </c:extLst>
          </c:dPt>
          <c:dPt>
            <c:idx val="57"/>
            <c:invertIfNegative val="0"/>
            <c:bubble3D val="0"/>
            <c:spPr>
              <a:solidFill>
                <a:srgbClr val="7ECAC4"/>
              </a:solidFill>
            </c:spPr>
            <c:extLst>
              <c:ext xmlns:c16="http://schemas.microsoft.com/office/drawing/2014/chart" uri="{C3380CC4-5D6E-409C-BE32-E72D297353CC}">
                <c16:uniqueId val="{00000078-C76F-4230-900D-40618C09729F}"/>
              </c:ext>
            </c:extLst>
          </c:dPt>
          <c:dPt>
            <c:idx val="58"/>
            <c:invertIfNegative val="0"/>
            <c:bubble3D val="0"/>
            <c:spPr>
              <a:solidFill>
                <a:srgbClr val="7ECAC4"/>
              </a:solidFill>
            </c:spPr>
            <c:extLst>
              <c:ext xmlns:c16="http://schemas.microsoft.com/office/drawing/2014/chart" uri="{C3380CC4-5D6E-409C-BE32-E72D297353CC}">
                <c16:uniqueId val="{0000007A-C76F-4230-900D-40618C09729F}"/>
              </c:ext>
            </c:extLst>
          </c:dPt>
          <c:dPt>
            <c:idx val="59"/>
            <c:invertIfNegative val="0"/>
            <c:bubble3D val="0"/>
            <c:spPr>
              <a:solidFill>
                <a:srgbClr val="7ECAC4"/>
              </a:solidFill>
            </c:spPr>
            <c:extLst>
              <c:ext xmlns:c16="http://schemas.microsoft.com/office/drawing/2014/chart" uri="{C3380CC4-5D6E-409C-BE32-E72D297353CC}">
                <c16:uniqueId val="{0000007C-C76F-4230-900D-40618C09729F}"/>
              </c:ext>
            </c:extLst>
          </c:dPt>
          <c:dPt>
            <c:idx val="60"/>
            <c:invertIfNegative val="0"/>
            <c:bubble3D val="0"/>
            <c:spPr>
              <a:solidFill>
                <a:srgbClr val="7ECAC4"/>
              </a:solidFill>
            </c:spPr>
            <c:extLst>
              <c:ext xmlns:c16="http://schemas.microsoft.com/office/drawing/2014/chart" uri="{C3380CC4-5D6E-409C-BE32-E72D297353CC}">
                <c16:uniqueId val="{0000007E-C76F-4230-900D-40618C09729F}"/>
              </c:ext>
            </c:extLst>
          </c:dPt>
          <c:dPt>
            <c:idx val="61"/>
            <c:invertIfNegative val="0"/>
            <c:bubble3D val="0"/>
            <c:spPr>
              <a:solidFill>
                <a:srgbClr val="7ECAC4"/>
              </a:solidFill>
            </c:spPr>
            <c:extLst>
              <c:ext xmlns:c16="http://schemas.microsoft.com/office/drawing/2014/chart" uri="{C3380CC4-5D6E-409C-BE32-E72D297353CC}">
                <c16:uniqueId val="{00000080-C76F-4230-900D-40618C09729F}"/>
              </c:ext>
            </c:extLst>
          </c:dPt>
          <c:dPt>
            <c:idx val="62"/>
            <c:invertIfNegative val="0"/>
            <c:bubble3D val="0"/>
            <c:spPr>
              <a:solidFill>
                <a:srgbClr val="7ECAC4"/>
              </a:solidFill>
            </c:spPr>
            <c:extLst>
              <c:ext xmlns:c16="http://schemas.microsoft.com/office/drawing/2014/chart" uri="{C3380CC4-5D6E-409C-BE32-E72D297353CC}">
                <c16:uniqueId val="{00000082-C76F-4230-900D-40618C09729F}"/>
              </c:ext>
            </c:extLst>
          </c:dPt>
          <c:dPt>
            <c:idx val="63"/>
            <c:invertIfNegative val="0"/>
            <c:bubble3D val="0"/>
            <c:spPr>
              <a:solidFill>
                <a:srgbClr val="7ECAC4"/>
              </a:solidFill>
            </c:spPr>
            <c:extLst>
              <c:ext xmlns:c16="http://schemas.microsoft.com/office/drawing/2014/chart" uri="{C3380CC4-5D6E-409C-BE32-E72D297353CC}">
                <c16:uniqueId val="{00000084-C76F-4230-900D-40618C09729F}"/>
              </c:ext>
            </c:extLst>
          </c:dPt>
          <c:dPt>
            <c:idx val="64"/>
            <c:invertIfNegative val="0"/>
            <c:bubble3D val="0"/>
            <c:spPr>
              <a:solidFill>
                <a:srgbClr val="7ECAC4"/>
              </a:solidFill>
            </c:spPr>
            <c:extLst>
              <c:ext xmlns:c16="http://schemas.microsoft.com/office/drawing/2014/chart" uri="{C3380CC4-5D6E-409C-BE32-E72D297353CC}">
                <c16:uniqueId val="{00000086-C76F-4230-900D-40618C09729F}"/>
              </c:ext>
            </c:extLst>
          </c:dPt>
          <c:dPt>
            <c:idx val="65"/>
            <c:invertIfNegative val="0"/>
            <c:bubble3D val="0"/>
            <c:spPr>
              <a:solidFill>
                <a:srgbClr val="7ECAC4"/>
              </a:solidFill>
            </c:spPr>
            <c:extLst>
              <c:ext xmlns:c16="http://schemas.microsoft.com/office/drawing/2014/chart" uri="{C3380CC4-5D6E-409C-BE32-E72D297353CC}">
                <c16:uniqueId val="{00000088-C76F-4230-900D-40618C09729F}"/>
              </c:ext>
            </c:extLst>
          </c:dPt>
          <c:dPt>
            <c:idx val="66"/>
            <c:invertIfNegative val="0"/>
            <c:bubble3D val="0"/>
            <c:spPr>
              <a:solidFill>
                <a:srgbClr val="7ECAC4"/>
              </a:solidFill>
            </c:spPr>
            <c:extLst>
              <c:ext xmlns:c16="http://schemas.microsoft.com/office/drawing/2014/chart" uri="{C3380CC4-5D6E-409C-BE32-E72D297353CC}">
                <c16:uniqueId val="{0000008A-C76F-4230-900D-40618C09729F}"/>
              </c:ext>
            </c:extLst>
          </c:dPt>
          <c:dPt>
            <c:idx val="67"/>
            <c:invertIfNegative val="0"/>
            <c:bubble3D val="0"/>
            <c:spPr>
              <a:solidFill>
                <a:srgbClr val="7ECAC4"/>
              </a:solidFill>
            </c:spPr>
            <c:extLst>
              <c:ext xmlns:c16="http://schemas.microsoft.com/office/drawing/2014/chart" uri="{C3380CC4-5D6E-409C-BE32-E72D297353CC}">
                <c16:uniqueId val="{0000008C-C76F-4230-900D-40618C09729F}"/>
              </c:ext>
            </c:extLst>
          </c:dPt>
          <c:dPt>
            <c:idx val="68"/>
            <c:invertIfNegative val="0"/>
            <c:bubble3D val="0"/>
            <c:spPr>
              <a:solidFill>
                <a:srgbClr val="7ECAC4"/>
              </a:solidFill>
            </c:spPr>
            <c:extLst>
              <c:ext xmlns:c16="http://schemas.microsoft.com/office/drawing/2014/chart" uri="{C3380CC4-5D6E-409C-BE32-E72D297353CC}">
                <c16:uniqueId val="{0000008E-C76F-4230-900D-40618C09729F}"/>
              </c:ext>
            </c:extLst>
          </c:dPt>
          <c:dPt>
            <c:idx val="69"/>
            <c:invertIfNegative val="0"/>
            <c:bubble3D val="0"/>
            <c:spPr>
              <a:solidFill>
                <a:srgbClr val="7ECAC4"/>
              </a:solidFill>
            </c:spPr>
            <c:extLst>
              <c:ext xmlns:c16="http://schemas.microsoft.com/office/drawing/2014/chart" uri="{C3380CC4-5D6E-409C-BE32-E72D297353CC}">
                <c16:uniqueId val="{00000090-C76F-4230-900D-40618C09729F}"/>
              </c:ext>
            </c:extLst>
          </c:dPt>
          <c:dPt>
            <c:idx val="70"/>
            <c:invertIfNegative val="0"/>
            <c:bubble3D val="0"/>
            <c:spPr>
              <a:solidFill>
                <a:srgbClr val="7ECAC4"/>
              </a:solidFill>
            </c:spPr>
            <c:extLst>
              <c:ext xmlns:c16="http://schemas.microsoft.com/office/drawing/2014/chart" uri="{C3380CC4-5D6E-409C-BE32-E72D297353CC}">
                <c16:uniqueId val="{00000092-C76F-4230-900D-40618C09729F}"/>
              </c:ext>
            </c:extLst>
          </c:dPt>
          <c:dPt>
            <c:idx val="71"/>
            <c:invertIfNegative val="0"/>
            <c:bubble3D val="0"/>
            <c:spPr>
              <a:solidFill>
                <a:srgbClr val="7ECAC4"/>
              </a:solidFill>
            </c:spPr>
            <c:extLst>
              <c:ext xmlns:c16="http://schemas.microsoft.com/office/drawing/2014/chart" uri="{C3380CC4-5D6E-409C-BE32-E72D297353CC}">
                <c16:uniqueId val="{00000094-C76F-4230-900D-40618C09729F}"/>
              </c:ext>
            </c:extLst>
          </c:dPt>
          <c:dPt>
            <c:idx val="72"/>
            <c:invertIfNegative val="0"/>
            <c:bubble3D val="0"/>
            <c:spPr>
              <a:solidFill>
                <a:srgbClr val="7ECAC4"/>
              </a:solidFill>
            </c:spPr>
            <c:extLst>
              <c:ext xmlns:c16="http://schemas.microsoft.com/office/drawing/2014/chart" uri="{C3380CC4-5D6E-409C-BE32-E72D297353CC}">
                <c16:uniqueId val="{00000096-C76F-4230-900D-40618C09729F}"/>
              </c:ext>
            </c:extLst>
          </c:dPt>
          <c:dPt>
            <c:idx val="73"/>
            <c:invertIfNegative val="0"/>
            <c:bubble3D val="0"/>
            <c:spPr>
              <a:solidFill>
                <a:srgbClr val="7ECAC4"/>
              </a:solidFill>
            </c:spPr>
            <c:extLst>
              <c:ext xmlns:c16="http://schemas.microsoft.com/office/drawing/2014/chart" uri="{C3380CC4-5D6E-409C-BE32-E72D297353CC}">
                <c16:uniqueId val="{00000098-C76F-4230-900D-40618C09729F}"/>
              </c:ext>
            </c:extLst>
          </c:dPt>
          <c:dPt>
            <c:idx val="74"/>
            <c:invertIfNegative val="0"/>
            <c:bubble3D val="0"/>
            <c:spPr>
              <a:solidFill>
                <a:srgbClr val="7ECAC4"/>
              </a:solidFill>
            </c:spPr>
            <c:extLst>
              <c:ext xmlns:c16="http://schemas.microsoft.com/office/drawing/2014/chart" uri="{C3380CC4-5D6E-409C-BE32-E72D297353CC}">
                <c16:uniqueId val="{0000009A-C76F-4230-900D-40618C09729F}"/>
              </c:ext>
            </c:extLst>
          </c:dPt>
          <c:dPt>
            <c:idx val="75"/>
            <c:invertIfNegative val="0"/>
            <c:bubble3D val="0"/>
            <c:spPr>
              <a:solidFill>
                <a:srgbClr val="7ECAC4"/>
              </a:solidFill>
            </c:spPr>
            <c:extLst>
              <c:ext xmlns:c16="http://schemas.microsoft.com/office/drawing/2014/chart" uri="{C3380CC4-5D6E-409C-BE32-E72D297353CC}">
                <c16:uniqueId val="{0000009C-C76F-4230-900D-40618C09729F}"/>
              </c:ext>
            </c:extLst>
          </c:dPt>
          <c:dPt>
            <c:idx val="76"/>
            <c:invertIfNegative val="0"/>
            <c:bubble3D val="0"/>
            <c:spPr>
              <a:solidFill>
                <a:srgbClr val="7ECAC4"/>
              </a:solidFill>
            </c:spPr>
            <c:extLst>
              <c:ext xmlns:c16="http://schemas.microsoft.com/office/drawing/2014/chart" uri="{C3380CC4-5D6E-409C-BE32-E72D297353CC}">
                <c16:uniqueId val="{0000009E-C76F-4230-900D-40618C09729F}"/>
              </c:ext>
            </c:extLst>
          </c:dPt>
          <c:dPt>
            <c:idx val="77"/>
            <c:invertIfNegative val="0"/>
            <c:bubble3D val="0"/>
            <c:spPr>
              <a:solidFill>
                <a:srgbClr val="7ECAC4"/>
              </a:solidFill>
            </c:spPr>
            <c:extLst>
              <c:ext xmlns:c16="http://schemas.microsoft.com/office/drawing/2014/chart" uri="{C3380CC4-5D6E-409C-BE32-E72D297353CC}">
                <c16:uniqueId val="{000000A0-C76F-4230-900D-40618C09729F}"/>
              </c:ext>
            </c:extLst>
          </c:dPt>
          <c:dPt>
            <c:idx val="78"/>
            <c:invertIfNegative val="0"/>
            <c:bubble3D val="0"/>
            <c:spPr>
              <a:solidFill>
                <a:srgbClr val="7ECAC4"/>
              </a:solidFill>
            </c:spPr>
            <c:extLst>
              <c:ext xmlns:c16="http://schemas.microsoft.com/office/drawing/2014/chart" uri="{C3380CC4-5D6E-409C-BE32-E72D297353CC}">
                <c16:uniqueId val="{000000A2-C76F-4230-900D-40618C09729F}"/>
              </c:ext>
            </c:extLst>
          </c:dPt>
          <c:dPt>
            <c:idx val="79"/>
            <c:invertIfNegative val="0"/>
            <c:bubble3D val="0"/>
            <c:spPr>
              <a:solidFill>
                <a:srgbClr val="7ECAC4"/>
              </a:solidFill>
            </c:spPr>
            <c:extLst>
              <c:ext xmlns:c16="http://schemas.microsoft.com/office/drawing/2014/chart" uri="{C3380CC4-5D6E-409C-BE32-E72D297353CC}">
                <c16:uniqueId val="{000000A4-C76F-4230-900D-40618C09729F}"/>
              </c:ext>
            </c:extLst>
          </c:dPt>
          <c:dPt>
            <c:idx val="80"/>
            <c:invertIfNegative val="0"/>
            <c:bubble3D val="0"/>
            <c:spPr>
              <a:solidFill>
                <a:srgbClr val="7ECAC4"/>
              </a:solidFill>
            </c:spPr>
            <c:extLst>
              <c:ext xmlns:c16="http://schemas.microsoft.com/office/drawing/2014/chart" uri="{C3380CC4-5D6E-409C-BE32-E72D297353CC}">
                <c16:uniqueId val="{000000A6-C76F-4230-900D-40618C09729F}"/>
              </c:ext>
            </c:extLst>
          </c:dPt>
          <c:dPt>
            <c:idx val="81"/>
            <c:invertIfNegative val="1"/>
            <c:bubble3D val="0"/>
            <c:spPr>
              <a:solidFill>
                <a:srgbClr val="7ECAC4"/>
              </a:solidFill>
            </c:spPr>
            <c:extLst>
              <c:ext xmlns:c16="http://schemas.microsoft.com/office/drawing/2014/chart" uri="{C3380CC4-5D6E-409C-BE32-E72D297353CC}">
                <c16:uniqueId val="{000000A5-2993-41DE-A2CB-63102DE87051}"/>
              </c:ext>
            </c:extLst>
          </c:dPt>
          <c:dPt>
            <c:idx val="82"/>
            <c:invertIfNegative val="1"/>
            <c:bubble3D val="0"/>
            <c:spPr>
              <a:solidFill>
                <a:srgbClr val="7ECAC4"/>
              </a:solidFill>
            </c:spPr>
            <c:extLst>
              <c:ext xmlns:c16="http://schemas.microsoft.com/office/drawing/2014/chart" uri="{C3380CC4-5D6E-409C-BE32-E72D297353CC}">
                <c16:uniqueId val="{000000A7-2993-41DE-A2CB-63102DE87051}"/>
              </c:ext>
            </c:extLst>
          </c:dPt>
          <c:dPt>
            <c:idx val="83"/>
            <c:invertIfNegative val="1"/>
            <c:bubble3D val="0"/>
            <c:spPr>
              <a:solidFill>
                <a:srgbClr val="7ECAC4"/>
              </a:solidFill>
            </c:spPr>
            <c:extLst>
              <c:ext xmlns:c16="http://schemas.microsoft.com/office/drawing/2014/chart" uri="{C3380CC4-5D6E-409C-BE32-E72D297353CC}">
                <c16:uniqueId val="{000000A9-2993-41DE-A2CB-63102DE87051}"/>
              </c:ext>
            </c:extLst>
          </c:dPt>
          <c:dPt>
            <c:idx val="84"/>
            <c:invertIfNegative val="1"/>
            <c:bubble3D val="0"/>
            <c:spPr>
              <a:solidFill>
                <a:srgbClr val="7ECAC4"/>
              </a:solidFill>
            </c:spPr>
            <c:extLst>
              <c:ext xmlns:c16="http://schemas.microsoft.com/office/drawing/2014/chart" uri="{C3380CC4-5D6E-409C-BE32-E72D297353CC}">
                <c16:uniqueId val="{000000AB-2993-41DE-A2CB-63102DE87051}"/>
              </c:ext>
            </c:extLst>
          </c:dPt>
          <c:dPt>
            <c:idx val="85"/>
            <c:invertIfNegative val="1"/>
            <c:bubble3D val="0"/>
            <c:spPr>
              <a:solidFill>
                <a:srgbClr val="7ECAC4"/>
              </a:solidFill>
            </c:spPr>
            <c:extLst>
              <c:ext xmlns:c16="http://schemas.microsoft.com/office/drawing/2014/chart" uri="{C3380CC4-5D6E-409C-BE32-E72D297353CC}">
                <c16:uniqueId val="{000000AD-2993-41DE-A2CB-63102DE87051}"/>
              </c:ext>
            </c:extLst>
          </c:dPt>
          <c:dPt>
            <c:idx val="86"/>
            <c:invertIfNegative val="1"/>
            <c:bubble3D val="0"/>
            <c:spPr>
              <a:solidFill>
                <a:srgbClr val="7ECAC4"/>
              </a:solidFill>
            </c:spPr>
            <c:extLst>
              <c:ext xmlns:c16="http://schemas.microsoft.com/office/drawing/2014/chart" uri="{C3380CC4-5D6E-409C-BE32-E72D297353CC}">
                <c16:uniqueId val="{000000AF-2993-41DE-A2CB-63102DE87051}"/>
              </c:ext>
            </c:extLst>
          </c:dPt>
          <c:dPt>
            <c:idx val="87"/>
            <c:invertIfNegative val="1"/>
            <c:bubble3D val="0"/>
            <c:spPr>
              <a:solidFill>
                <a:srgbClr val="7ECAC4"/>
              </a:solidFill>
            </c:spPr>
            <c:extLst>
              <c:ext xmlns:c16="http://schemas.microsoft.com/office/drawing/2014/chart" uri="{C3380CC4-5D6E-409C-BE32-E72D297353CC}">
                <c16:uniqueId val="{000000B1-2993-41DE-A2CB-63102DE87051}"/>
              </c:ext>
            </c:extLst>
          </c:dPt>
          <c:dPt>
            <c:idx val="88"/>
            <c:invertIfNegative val="1"/>
            <c:bubble3D val="0"/>
            <c:spPr>
              <a:solidFill>
                <a:srgbClr val="7ECAC4"/>
              </a:solidFill>
            </c:spPr>
            <c:extLst>
              <c:ext xmlns:c16="http://schemas.microsoft.com/office/drawing/2014/chart" uri="{C3380CC4-5D6E-409C-BE32-E72D297353CC}">
                <c16:uniqueId val="{000000B3-2993-41DE-A2CB-63102DE87051}"/>
              </c:ext>
            </c:extLst>
          </c:dPt>
          <c:dPt>
            <c:idx val="89"/>
            <c:invertIfNegative val="1"/>
            <c:bubble3D val="0"/>
            <c:spPr>
              <a:solidFill>
                <a:srgbClr val="7ECAC4"/>
              </a:solidFill>
            </c:spPr>
            <c:extLst>
              <c:ext xmlns:c16="http://schemas.microsoft.com/office/drawing/2014/chart" uri="{C3380CC4-5D6E-409C-BE32-E72D297353CC}">
                <c16:uniqueId val="{000000B5-2993-41DE-A2CB-63102DE87051}"/>
              </c:ext>
            </c:extLst>
          </c:dPt>
          <c:dPt>
            <c:idx val="90"/>
            <c:invertIfNegative val="1"/>
            <c:bubble3D val="0"/>
            <c:spPr>
              <a:solidFill>
                <a:srgbClr val="7ECAC4"/>
              </a:solidFill>
            </c:spPr>
            <c:extLst>
              <c:ext xmlns:c16="http://schemas.microsoft.com/office/drawing/2014/chart" uri="{C3380CC4-5D6E-409C-BE32-E72D297353CC}">
                <c16:uniqueId val="{000000B7-2993-41DE-A2CB-63102DE87051}"/>
              </c:ext>
            </c:extLst>
          </c:dPt>
          <c:dPt>
            <c:idx val="91"/>
            <c:invertIfNegative val="1"/>
            <c:bubble3D val="0"/>
            <c:spPr>
              <a:solidFill>
                <a:srgbClr val="7ECAC4"/>
              </a:solidFill>
            </c:spPr>
            <c:extLst>
              <c:ext xmlns:c16="http://schemas.microsoft.com/office/drawing/2014/chart" uri="{C3380CC4-5D6E-409C-BE32-E72D297353CC}">
                <c16:uniqueId val="{000000B9-2993-41DE-A2CB-63102DE87051}"/>
              </c:ext>
            </c:extLst>
          </c:dPt>
          <c:dPt>
            <c:idx val="92"/>
            <c:invertIfNegative val="1"/>
            <c:bubble3D val="0"/>
            <c:spPr>
              <a:solidFill>
                <a:srgbClr val="7ECAC4"/>
              </a:solidFill>
            </c:spPr>
            <c:extLst>
              <c:ext xmlns:c16="http://schemas.microsoft.com/office/drawing/2014/chart" uri="{C3380CC4-5D6E-409C-BE32-E72D297353CC}">
                <c16:uniqueId val="{000000BB-2993-41DE-A2CB-63102DE87051}"/>
              </c:ext>
            </c:extLst>
          </c:dPt>
          <c:dPt>
            <c:idx val="93"/>
            <c:invertIfNegative val="1"/>
            <c:bubble3D val="0"/>
            <c:spPr>
              <a:solidFill>
                <a:srgbClr val="7ECAC4"/>
              </a:solidFill>
            </c:spPr>
            <c:extLst>
              <c:ext xmlns:c16="http://schemas.microsoft.com/office/drawing/2014/chart" uri="{C3380CC4-5D6E-409C-BE32-E72D297353CC}">
                <c16:uniqueId val="{000000BD-2993-41DE-A2CB-63102DE87051}"/>
              </c:ext>
            </c:extLst>
          </c:dPt>
          <c:dPt>
            <c:idx val="94"/>
            <c:invertIfNegative val="1"/>
            <c:bubble3D val="0"/>
            <c:spPr>
              <a:solidFill>
                <a:srgbClr val="7ECAC4"/>
              </a:solidFill>
            </c:spPr>
            <c:extLst>
              <c:ext xmlns:c16="http://schemas.microsoft.com/office/drawing/2014/chart" uri="{C3380CC4-5D6E-409C-BE32-E72D297353CC}">
                <c16:uniqueId val="{000000BF-2993-41DE-A2CB-63102DE87051}"/>
              </c:ext>
            </c:extLst>
          </c:dPt>
          <c:dPt>
            <c:idx val="95"/>
            <c:invertIfNegative val="1"/>
            <c:bubble3D val="0"/>
            <c:spPr>
              <a:solidFill>
                <a:srgbClr val="7ECAC4"/>
              </a:solidFill>
            </c:spPr>
            <c:extLst>
              <c:ext xmlns:c16="http://schemas.microsoft.com/office/drawing/2014/chart" uri="{C3380CC4-5D6E-409C-BE32-E72D297353CC}">
                <c16:uniqueId val="{000000C1-2993-41DE-A2CB-63102DE87051}"/>
              </c:ext>
            </c:extLst>
          </c:dPt>
          <c:dPt>
            <c:idx val="96"/>
            <c:invertIfNegative val="1"/>
            <c:bubble3D val="0"/>
            <c:spPr>
              <a:solidFill>
                <a:srgbClr val="7ECAC4"/>
              </a:solidFill>
            </c:spPr>
            <c:extLst>
              <c:ext xmlns:c16="http://schemas.microsoft.com/office/drawing/2014/chart" uri="{C3380CC4-5D6E-409C-BE32-E72D297353CC}">
                <c16:uniqueId val="{000000C3-2993-41DE-A2CB-63102DE87051}"/>
              </c:ext>
            </c:extLst>
          </c:dPt>
          <c:dPt>
            <c:idx val="97"/>
            <c:invertIfNegative val="1"/>
            <c:bubble3D val="0"/>
            <c:spPr>
              <a:solidFill>
                <a:srgbClr val="7ECAC4"/>
              </a:solidFill>
            </c:spPr>
            <c:extLst>
              <c:ext xmlns:c16="http://schemas.microsoft.com/office/drawing/2014/chart" uri="{C3380CC4-5D6E-409C-BE32-E72D297353CC}">
                <c16:uniqueId val="{000000C5-2993-41DE-A2CB-63102DE87051}"/>
              </c:ext>
            </c:extLst>
          </c:dPt>
          <c:dPt>
            <c:idx val="98"/>
            <c:invertIfNegative val="1"/>
            <c:bubble3D val="0"/>
            <c:spPr>
              <a:solidFill>
                <a:srgbClr val="7ECAC4"/>
              </a:solidFill>
            </c:spPr>
            <c:extLst>
              <c:ext xmlns:c16="http://schemas.microsoft.com/office/drawing/2014/chart" uri="{C3380CC4-5D6E-409C-BE32-E72D297353CC}">
                <c16:uniqueId val="{000000C7-2993-41DE-A2CB-63102DE87051}"/>
              </c:ext>
            </c:extLst>
          </c:dPt>
          <c:dPt>
            <c:idx val="99"/>
            <c:invertIfNegative val="1"/>
            <c:bubble3D val="0"/>
            <c:spPr>
              <a:solidFill>
                <a:srgbClr val="7ECAC4"/>
              </a:solidFill>
            </c:spPr>
            <c:extLst>
              <c:ext xmlns:c16="http://schemas.microsoft.com/office/drawing/2014/chart" uri="{C3380CC4-5D6E-409C-BE32-E72D297353CC}">
                <c16:uniqueId val="{000000C9-2993-41DE-A2CB-63102DE87051}"/>
              </c:ext>
            </c:extLst>
          </c:dPt>
          <c:dPt>
            <c:idx val="100"/>
            <c:invertIfNegative val="1"/>
            <c:bubble3D val="0"/>
            <c:spPr>
              <a:solidFill>
                <a:srgbClr val="7ECAC4"/>
              </a:solidFill>
            </c:spPr>
            <c:extLst>
              <c:ext xmlns:c16="http://schemas.microsoft.com/office/drawing/2014/chart" uri="{C3380CC4-5D6E-409C-BE32-E72D297353CC}">
                <c16:uniqueId val="{000000CB-2993-41DE-A2CB-63102DE87051}"/>
              </c:ext>
            </c:extLst>
          </c:dPt>
          <c:dPt>
            <c:idx val="101"/>
            <c:invertIfNegative val="1"/>
            <c:bubble3D val="0"/>
            <c:spPr>
              <a:solidFill>
                <a:srgbClr val="7ECAC4"/>
              </a:solidFill>
            </c:spPr>
            <c:extLst>
              <c:ext xmlns:c16="http://schemas.microsoft.com/office/drawing/2014/chart" uri="{C3380CC4-5D6E-409C-BE32-E72D297353CC}">
                <c16:uniqueId val="{000000CD-2993-41DE-A2CB-63102DE87051}"/>
              </c:ext>
            </c:extLst>
          </c:dPt>
          <c:dPt>
            <c:idx val="102"/>
            <c:invertIfNegative val="1"/>
            <c:bubble3D val="0"/>
            <c:spPr>
              <a:solidFill>
                <a:srgbClr val="7ECAC4"/>
              </a:solidFill>
            </c:spPr>
            <c:extLst>
              <c:ext xmlns:c16="http://schemas.microsoft.com/office/drawing/2014/chart" uri="{C3380CC4-5D6E-409C-BE32-E72D297353CC}">
                <c16:uniqueId val="{000000CF-2993-41DE-A2CB-63102DE87051}"/>
              </c:ext>
            </c:extLst>
          </c:dPt>
          <c:dPt>
            <c:idx val="103"/>
            <c:invertIfNegative val="1"/>
            <c:bubble3D val="0"/>
            <c:spPr>
              <a:solidFill>
                <a:srgbClr val="7ECAC4"/>
              </a:solidFill>
            </c:spPr>
            <c:extLst>
              <c:ext xmlns:c16="http://schemas.microsoft.com/office/drawing/2014/chart" uri="{C3380CC4-5D6E-409C-BE32-E72D297353CC}">
                <c16:uniqueId val="{000000D1-2993-41DE-A2CB-63102DE87051}"/>
              </c:ext>
            </c:extLst>
          </c:dPt>
          <c:dPt>
            <c:idx val="104"/>
            <c:invertIfNegative val="1"/>
            <c:bubble3D val="0"/>
            <c:spPr>
              <a:solidFill>
                <a:srgbClr val="7ECAC4"/>
              </a:solidFill>
            </c:spPr>
            <c:extLst>
              <c:ext xmlns:c16="http://schemas.microsoft.com/office/drawing/2014/chart" uri="{C3380CC4-5D6E-409C-BE32-E72D297353CC}">
                <c16:uniqueId val="{000000D3-2993-41DE-A2CB-63102DE87051}"/>
              </c:ext>
            </c:extLst>
          </c:dPt>
          <c:dPt>
            <c:idx val="105"/>
            <c:invertIfNegative val="1"/>
            <c:bubble3D val="0"/>
            <c:spPr>
              <a:solidFill>
                <a:srgbClr val="AEABAB"/>
              </a:solidFill>
            </c:spPr>
            <c:extLst>
              <c:ext xmlns:c16="http://schemas.microsoft.com/office/drawing/2014/chart" uri="{C3380CC4-5D6E-409C-BE32-E72D297353CC}">
                <c16:uniqueId val="{000000D5-2993-41DE-A2CB-63102DE87051}"/>
              </c:ext>
            </c:extLst>
          </c:dPt>
          <c:dPt>
            <c:idx val="106"/>
            <c:invertIfNegative val="1"/>
            <c:bubble3D val="0"/>
            <c:spPr>
              <a:solidFill>
                <a:srgbClr val="AEABAB"/>
              </a:solidFill>
            </c:spPr>
            <c:extLst>
              <c:ext xmlns:c16="http://schemas.microsoft.com/office/drawing/2014/chart" uri="{C3380CC4-5D6E-409C-BE32-E72D297353CC}">
                <c16:uniqueId val="{000000D7-2993-41DE-A2CB-63102DE87051}"/>
              </c:ext>
            </c:extLst>
          </c:dPt>
          <c:dPt>
            <c:idx val="107"/>
            <c:invertIfNegative val="1"/>
            <c:bubble3D val="0"/>
            <c:spPr>
              <a:solidFill>
                <a:srgbClr val="AEABAB"/>
              </a:solidFill>
            </c:spPr>
            <c:extLst>
              <c:ext xmlns:c16="http://schemas.microsoft.com/office/drawing/2014/chart" uri="{C3380CC4-5D6E-409C-BE32-E72D297353CC}">
                <c16:uniqueId val="{000000D9-2993-41DE-A2CB-63102DE87051}"/>
              </c:ext>
            </c:extLst>
          </c:dPt>
          <c:dPt>
            <c:idx val="108"/>
            <c:invertIfNegative val="1"/>
            <c:bubble3D val="0"/>
            <c:spPr>
              <a:solidFill>
                <a:srgbClr val="AEABAB"/>
              </a:solidFill>
            </c:spPr>
            <c:extLst>
              <c:ext xmlns:c16="http://schemas.microsoft.com/office/drawing/2014/chart" uri="{C3380CC4-5D6E-409C-BE32-E72D297353CC}">
                <c16:uniqueId val="{000000DB-2993-41DE-A2CB-63102DE87051}"/>
              </c:ext>
            </c:extLst>
          </c:dPt>
          <c:dPt>
            <c:idx val="109"/>
            <c:invertIfNegative val="1"/>
            <c:bubble3D val="0"/>
            <c:spPr>
              <a:solidFill>
                <a:srgbClr val="AEABAB"/>
              </a:solidFill>
            </c:spPr>
            <c:extLst>
              <c:ext xmlns:c16="http://schemas.microsoft.com/office/drawing/2014/chart" uri="{C3380CC4-5D6E-409C-BE32-E72D297353CC}">
                <c16:uniqueId val="{000000DD-2993-41DE-A2CB-63102DE87051}"/>
              </c:ext>
            </c:extLst>
          </c:dPt>
          <c:dPt>
            <c:idx val="110"/>
            <c:invertIfNegative val="1"/>
            <c:bubble3D val="0"/>
            <c:spPr>
              <a:solidFill>
                <a:srgbClr val="AEABAB"/>
              </a:solidFill>
            </c:spPr>
            <c:extLst>
              <c:ext xmlns:c16="http://schemas.microsoft.com/office/drawing/2014/chart" uri="{C3380CC4-5D6E-409C-BE32-E72D297353CC}">
                <c16:uniqueId val="{000000DF-2993-41DE-A2CB-63102DE87051}"/>
              </c:ext>
            </c:extLst>
          </c:dPt>
          <c:dPt>
            <c:idx val="111"/>
            <c:invertIfNegative val="1"/>
            <c:bubble3D val="0"/>
            <c:spPr>
              <a:solidFill>
                <a:srgbClr val="AEABAB"/>
              </a:solidFill>
            </c:spPr>
            <c:extLst>
              <c:ext xmlns:c16="http://schemas.microsoft.com/office/drawing/2014/chart" uri="{C3380CC4-5D6E-409C-BE32-E72D297353CC}">
                <c16:uniqueId val="{000000E1-2993-41DE-A2CB-63102DE87051}"/>
              </c:ext>
            </c:extLst>
          </c:dPt>
          <c:dPt>
            <c:idx val="112"/>
            <c:invertIfNegative val="1"/>
            <c:bubble3D val="0"/>
            <c:spPr>
              <a:solidFill>
                <a:srgbClr val="AEABAB"/>
              </a:solidFill>
            </c:spPr>
            <c:extLst>
              <c:ext xmlns:c16="http://schemas.microsoft.com/office/drawing/2014/chart" uri="{C3380CC4-5D6E-409C-BE32-E72D297353CC}">
                <c16:uniqueId val="{000000E3-2993-41DE-A2CB-63102DE87051}"/>
              </c:ext>
            </c:extLst>
          </c:dPt>
          <c:dPt>
            <c:idx val="113"/>
            <c:invertIfNegative val="1"/>
            <c:bubble3D val="0"/>
            <c:spPr>
              <a:solidFill>
                <a:srgbClr val="AEABAB"/>
              </a:solidFill>
            </c:spPr>
            <c:extLst>
              <c:ext xmlns:c16="http://schemas.microsoft.com/office/drawing/2014/chart" uri="{C3380CC4-5D6E-409C-BE32-E72D297353CC}">
                <c16:uniqueId val="{000000E5-2993-41DE-A2CB-63102DE87051}"/>
              </c:ext>
            </c:extLst>
          </c:dPt>
          <c:dPt>
            <c:idx val="114"/>
            <c:invertIfNegative val="1"/>
            <c:bubble3D val="0"/>
            <c:spPr>
              <a:solidFill>
                <a:srgbClr val="AEABAB"/>
              </a:solidFill>
            </c:spPr>
            <c:extLst>
              <c:ext xmlns:c16="http://schemas.microsoft.com/office/drawing/2014/chart" uri="{C3380CC4-5D6E-409C-BE32-E72D297353CC}">
                <c16:uniqueId val="{000000E7-2993-41DE-A2CB-63102DE87051}"/>
              </c:ext>
            </c:extLst>
          </c:dPt>
          <c:dPt>
            <c:idx val="115"/>
            <c:invertIfNegative val="1"/>
            <c:bubble3D val="0"/>
            <c:spPr>
              <a:solidFill>
                <a:srgbClr val="AEABAB"/>
              </a:solidFill>
            </c:spPr>
            <c:extLst>
              <c:ext xmlns:c16="http://schemas.microsoft.com/office/drawing/2014/chart" uri="{C3380CC4-5D6E-409C-BE32-E72D297353CC}">
                <c16:uniqueId val="{000000E9-2993-41DE-A2CB-63102DE87051}"/>
              </c:ext>
            </c:extLst>
          </c:dPt>
          <c:dPt>
            <c:idx val="116"/>
            <c:invertIfNegative val="1"/>
            <c:bubble3D val="0"/>
            <c:spPr>
              <a:solidFill>
                <a:srgbClr val="AEABAB"/>
              </a:solidFill>
            </c:spPr>
            <c:extLst>
              <c:ext xmlns:c16="http://schemas.microsoft.com/office/drawing/2014/chart" uri="{C3380CC4-5D6E-409C-BE32-E72D297353CC}">
                <c16:uniqueId val="{000000EB-2993-41DE-A2CB-63102DE87051}"/>
              </c:ext>
            </c:extLst>
          </c:dPt>
          <c:dPt>
            <c:idx val="117"/>
            <c:invertIfNegative val="1"/>
            <c:bubble3D val="0"/>
            <c:spPr>
              <a:solidFill>
                <a:srgbClr val="AEABAB"/>
              </a:solidFill>
            </c:spPr>
            <c:extLst>
              <c:ext xmlns:c16="http://schemas.microsoft.com/office/drawing/2014/chart" uri="{C3380CC4-5D6E-409C-BE32-E72D297353CC}">
                <c16:uniqueId val="{000000ED-2993-41DE-A2CB-63102DE87051}"/>
              </c:ext>
            </c:extLst>
          </c:dPt>
          <c:dPt>
            <c:idx val="118"/>
            <c:invertIfNegative val="1"/>
            <c:bubble3D val="0"/>
            <c:spPr>
              <a:solidFill>
                <a:srgbClr val="AEABAB"/>
              </a:solidFill>
            </c:spPr>
            <c:extLst>
              <c:ext xmlns:c16="http://schemas.microsoft.com/office/drawing/2014/chart" uri="{C3380CC4-5D6E-409C-BE32-E72D297353CC}">
                <c16:uniqueId val="{000000EF-2993-41DE-A2CB-63102DE87051}"/>
              </c:ext>
            </c:extLst>
          </c:dPt>
          <c:dPt>
            <c:idx val="119"/>
            <c:invertIfNegative val="1"/>
            <c:bubble3D val="0"/>
            <c:spPr>
              <a:solidFill>
                <a:srgbClr val="AEABAB"/>
              </a:solidFill>
            </c:spPr>
            <c:extLst>
              <c:ext xmlns:c16="http://schemas.microsoft.com/office/drawing/2014/chart" uri="{C3380CC4-5D6E-409C-BE32-E72D297353CC}">
                <c16:uniqueId val="{000000F1-2993-41DE-A2CB-63102DE87051}"/>
              </c:ext>
            </c:extLst>
          </c:dPt>
          <c:dPt>
            <c:idx val="120"/>
            <c:invertIfNegative val="1"/>
            <c:bubble3D val="0"/>
            <c:spPr>
              <a:solidFill>
                <a:srgbClr val="AEABAB"/>
              </a:solidFill>
            </c:spPr>
            <c:extLst>
              <c:ext xmlns:c16="http://schemas.microsoft.com/office/drawing/2014/chart" uri="{C3380CC4-5D6E-409C-BE32-E72D297353CC}">
                <c16:uniqueId val="{000000F3-2993-41DE-A2CB-63102DE87051}"/>
              </c:ext>
            </c:extLst>
          </c:dPt>
          <c:dPt>
            <c:idx val="121"/>
            <c:invertIfNegative val="1"/>
            <c:bubble3D val="0"/>
            <c:spPr>
              <a:solidFill>
                <a:srgbClr val="AEABAB"/>
              </a:solidFill>
            </c:spPr>
            <c:extLst>
              <c:ext xmlns:c16="http://schemas.microsoft.com/office/drawing/2014/chart" uri="{C3380CC4-5D6E-409C-BE32-E72D297353CC}">
                <c16:uniqueId val="{000000F5-2993-41DE-A2CB-63102DE87051}"/>
              </c:ext>
            </c:extLst>
          </c:dPt>
          <c:dPt>
            <c:idx val="122"/>
            <c:invertIfNegative val="1"/>
            <c:bubble3D val="0"/>
            <c:spPr>
              <a:solidFill>
                <a:srgbClr val="AEABAB"/>
              </a:solidFill>
            </c:spPr>
            <c:extLst>
              <c:ext xmlns:c16="http://schemas.microsoft.com/office/drawing/2014/chart" uri="{C3380CC4-5D6E-409C-BE32-E72D297353CC}">
                <c16:uniqueId val="{000000F7-2993-41DE-A2CB-63102DE87051}"/>
              </c:ext>
            </c:extLst>
          </c:dPt>
          <c:dPt>
            <c:idx val="123"/>
            <c:invertIfNegative val="1"/>
            <c:bubble3D val="0"/>
            <c:spPr>
              <a:solidFill>
                <a:srgbClr val="AEABAB"/>
              </a:solidFill>
            </c:spPr>
            <c:extLst>
              <c:ext xmlns:c16="http://schemas.microsoft.com/office/drawing/2014/chart" uri="{C3380CC4-5D6E-409C-BE32-E72D297353CC}">
                <c16:uniqueId val="{000000F9-2993-41DE-A2CB-63102DE87051}"/>
              </c:ext>
            </c:extLst>
          </c:dPt>
          <c:dPt>
            <c:idx val="124"/>
            <c:invertIfNegative val="1"/>
            <c:bubble3D val="0"/>
            <c:spPr>
              <a:solidFill>
                <a:srgbClr val="AEABAB"/>
              </a:solidFill>
            </c:spPr>
            <c:extLst>
              <c:ext xmlns:c16="http://schemas.microsoft.com/office/drawing/2014/chart" uri="{C3380CC4-5D6E-409C-BE32-E72D297353CC}">
                <c16:uniqueId val="{000000FB-2993-41DE-A2CB-63102DE87051}"/>
              </c:ext>
            </c:extLst>
          </c:dPt>
          <c:dPt>
            <c:idx val="125"/>
            <c:invertIfNegative val="1"/>
            <c:bubble3D val="0"/>
            <c:spPr>
              <a:solidFill>
                <a:srgbClr val="AEABAB"/>
              </a:solidFill>
            </c:spPr>
            <c:extLst>
              <c:ext xmlns:c16="http://schemas.microsoft.com/office/drawing/2014/chart" uri="{C3380CC4-5D6E-409C-BE32-E72D297353CC}">
                <c16:uniqueId val="{000000FD-2993-41DE-A2CB-63102DE87051}"/>
              </c:ext>
            </c:extLst>
          </c:dPt>
          <c:dPt>
            <c:idx val="126"/>
            <c:invertIfNegative val="1"/>
            <c:bubble3D val="0"/>
            <c:spPr>
              <a:solidFill>
                <a:srgbClr val="AEABAB"/>
              </a:solidFill>
            </c:spPr>
            <c:extLst>
              <c:ext xmlns:c16="http://schemas.microsoft.com/office/drawing/2014/chart" uri="{C3380CC4-5D6E-409C-BE32-E72D297353CC}">
                <c16:uniqueId val="{000000FF-2993-41DE-A2CB-63102DE87051}"/>
              </c:ext>
            </c:extLst>
          </c:dPt>
          <c:dPt>
            <c:idx val="127"/>
            <c:invertIfNegative val="1"/>
            <c:bubble3D val="0"/>
            <c:spPr>
              <a:solidFill>
                <a:srgbClr val="AEABAB"/>
              </a:solidFill>
            </c:spPr>
            <c:extLst>
              <c:ext xmlns:c16="http://schemas.microsoft.com/office/drawing/2014/chart" uri="{C3380CC4-5D6E-409C-BE32-E72D297353CC}">
                <c16:uniqueId val="{00000101-2993-41DE-A2CB-63102DE87051}"/>
              </c:ext>
            </c:extLst>
          </c:dPt>
          <c:dPt>
            <c:idx val="128"/>
            <c:invertIfNegative val="1"/>
            <c:bubble3D val="0"/>
            <c:spPr>
              <a:solidFill>
                <a:srgbClr val="AEABAB"/>
              </a:solidFill>
            </c:spPr>
            <c:extLst>
              <c:ext xmlns:c16="http://schemas.microsoft.com/office/drawing/2014/chart" uri="{C3380CC4-5D6E-409C-BE32-E72D297353CC}">
                <c16:uniqueId val="{00000103-2993-41DE-A2CB-63102DE87051}"/>
              </c:ext>
            </c:extLst>
          </c:dPt>
          <c:dPt>
            <c:idx val="129"/>
            <c:invertIfNegative val="1"/>
            <c:bubble3D val="0"/>
            <c:spPr>
              <a:solidFill>
                <a:srgbClr val="AEABAB"/>
              </a:solidFill>
            </c:spPr>
            <c:extLst>
              <c:ext xmlns:c16="http://schemas.microsoft.com/office/drawing/2014/chart" uri="{C3380CC4-5D6E-409C-BE32-E72D297353CC}">
                <c16:uniqueId val="{00000105-2993-41DE-A2CB-63102DE87051}"/>
              </c:ext>
            </c:extLst>
          </c:dPt>
          <c:dPt>
            <c:idx val="130"/>
            <c:invertIfNegative val="1"/>
            <c:bubble3D val="0"/>
            <c:spPr>
              <a:solidFill>
                <a:srgbClr val="AEABAB"/>
              </a:solidFill>
            </c:spPr>
            <c:extLst>
              <c:ext xmlns:c16="http://schemas.microsoft.com/office/drawing/2014/chart" uri="{C3380CC4-5D6E-409C-BE32-E72D297353CC}">
                <c16:uniqueId val="{00000107-2993-41DE-A2CB-63102DE87051}"/>
              </c:ext>
            </c:extLst>
          </c:dPt>
          <c:dPt>
            <c:idx val="131"/>
            <c:invertIfNegative val="1"/>
            <c:bubble3D val="0"/>
            <c:spPr>
              <a:solidFill>
                <a:srgbClr val="AEABAB"/>
              </a:solidFill>
            </c:spPr>
            <c:extLst>
              <c:ext xmlns:c16="http://schemas.microsoft.com/office/drawing/2014/chart" uri="{C3380CC4-5D6E-409C-BE32-E72D297353CC}">
                <c16:uniqueId val="{00000109-2993-41DE-A2CB-63102DE87051}"/>
              </c:ext>
            </c:extLst>
          </c:dPt>
          <c:dPt>
            <c:idx val="132"/>
            <c:invertIfNegative val="1"/>
            <c:bubble3D val="0"/>
            <c:spPr>
              <a:solidFill>
                <a:srgbClr val="AEABAB"/>
              </a:solidFill>
            </c:spPr>
            <c:extLst>
              <c:ext xmlns:c16="http://schemas.microsoft.com/office/drawing/2014/chart" uri="{C3380CC4-5D6E-409C-BE32-E72D297353CC}">
                <c16:uniqueId val="{0000010B-2993-41DE-A2CB-63102DE87051}"/>
              </c:ext>
            </c:extLst>
          </c:dPt>
          <c:dPt>
            <c:idx val="133"/>
            <c:invertIfNegative val="1"/>
            <c:bubble3D val="0"/>
            <c:spPr>
              <a:solidFill>
                <a:srgbClr val="AEABAB"/>
              </a:solidFill>
            </c:spPr>
            <c:extLst>
              <c:ext xmlns:c16="http://schemas.microsoft.com/office/drawing/2014/chart" uri="{C3380CC4-5D6E-409C-BE32-E72D297353CC}">
                <c16:uniqueId val="{0000010D-2993-41DE-A2CB-63102DE87051}"/>
              </c:ext>
            </c:extLst>
          </c:dPt>
          <c:dPt>
            <c:idx val="134"/>
            <c:invertIfNegative val="1"/>
            <c:bubble3D val="0"/>
            <c:spPr>
              <a:solidFill>
                <a:srgbClr val="AEABAB"/>
              </a:solidFill>
            </c:spPr>
            <c:extLst>
              <c:ext xmlns:c16="http://schemas.microsoft.com/office/drawing/2014/chart" uri="{C3380CC4-5D6E-409C-BE32-E72D297353CC}">
                <c16:uniqueId val="{0000010F-2993-41DE-A2CB-63102DE87051}"/>
              </c:ext>
            </c:extLst>
          </c:dPt>
          <c:dPt>
            <c:idx val="135"/>
            <c:invertIfNegative val="1"/>
            <c:bubble3D val="0"/>
            <c:spPr>
              <a:solidFill>
                <a:srgbClr val="AEABAB"/>
              </a:solidFill>
            </c:spPr>
            <c:extLst>
              <c:ext xmlns:c16="http://schemas.microsoft.com/office/drawing/2014/chart" uri="{C3380CC4-5D6E-409C-BE32-E72D297353CC}">
                <c16:uniqueId val="{00000111-2993-41DE-A2CB-63102DE87051}"/>
              </c:ext>
            </c:extLst>
          </c:dPt>
          <c:dPt>
            <c:idx val="136"/>
            <c:invertIfNegative val="1"/>
            <c:bubble3D val="0"/>
            <c:spPr>
              <a:solidFill>
                <a:srgbClr val="AEABAB"/>
              </a:solidFill>
            </c:spPr>
            <c:extLst>
              <c:ext xmlns:c16="http://schemas.microsoft.com/office/drawing/2014/chart" uri="{C3380CC4-5D6E-409C-BE32-E72D297353CC}">
                <c16:uniqueId val="{00000113-2993-41DE-A2CB-63102DE87051}"/>
              </c:ext>
            </c:extLst>
          </c:dPt>
          <c:dPt>
            <c:idx val="137"/>
            <c:invertIfNegative val="1"/>
            <c:bubble3D val="0"/>
            <c:spPr>
              <a:solidFill>
                <a:srgbClr val="AEABAB"/>
              </a:solidFill>
            </c:spPr>
            <c:extLst>
              <c:ext xmlns:c16="http://schemas.microsoft.com/office/drawing/2014/chart" uri="{C3380CC4-5D6E-409C-BE32-E72D297353CC}">
                <c16:uniqueId val="{00000115-2993-41DE-A2CB-63102DE87051}"/>
              </c:ext>
            </c:extLst>
          </c:dPt>
          <c:dPt>
            <c:idx val="138"/>
            <c:invertIfNegative val="1"/>
            <c:bubble3D val="0"/>
            <c:spPr>
              <a:solidFill>
                <a:srgbClr val="AEABAB"/>
              </a:solidFill>
            </c:spPr>
            <c:extLst>
              <c:ext xmlns:c16="http://schemas.microsoft.com/office/drawing/2014/chart" uri="{C3380CC4-5D6E-409C-BE32-E72D297353CC}">
                <c16:uniqueId val="{00000117-2993-41DE-A2CB-63102DE87051}"/>
              </c:ext>
            </c:extLst>
          </c:dPt>
          <c:dPt>
            <c:idx val="139"/>
            <c:invertIfNegative val="1"/>
            <c:bubble3D val="0"/>
            <c:spPr>
              <a:solidFill>
                <a:srgbClr val="AEABAB"/>
              </a:solidFill>
            </c:spPr>
            <c:extLst>
              <c:ext xmlns:c16="http://schemas.microsoft.com/office/drawing/2014/chart" uri="{C3380CC4-5D6E-409C-BE32-E72D297353CC}">
                <c16:uniqueId val="{00000119-2993-41DE-A2CB-63102DE87051}"/>
              </c:ext>
            </c:extLst>
          </c:dPt>
          <c:dPt>
            <c:idx val="140"/>
            <c:invertIfNegative val="1"/>
            <c:bubble3D val="0"/>
            <c:spPr>
              <a:solidFill>
                <a:srgbClr val="AEABAB"/>
              </a:solidFill>
            </c:spPr>
            <c:extLst>
              <c:ext xmlns:c16="http://schemas.microsoft.com/office/drawing/2014/chart" uri="{C3380CC4-5D6E-409C-BE32-E72D297353CC}">
                <c16:uniqueId val="{0000011B-2993-41DE-A2CB-63102DE87051}"/>
              </c:ext>
            </c:extLst>
          </c:dPt>
          <c:dPt>
            <c:idx val="141"/>
            <c:invertIfNegative val="1"/>
            <c:bubble3D val="0"/>
            <c:spPr>
              <a:solidFill>
                <a:srgbClr val="AEABAB"/>
              </a:solidFill>
            </c:spPr>
            <c:extLst>
              <c:ext xmlns:c16="http://schemas.microsoft.com/office/drawing/2014/chart" uri="{C3380CC4-5D6E-409C-BE32-E72D297353CC}">
                <c16:uniqueId val="{0000011D-2993-41DE-A2CB-63102DE87051}"/>
              </c:ext>
            </c:extLst>
          </c:dPt>
          <c:dPt>
            <c:idx val="142"/>
            <c:invertIfNegative val="1"/>
            <c:bubble3D val="0"/>
            <c:spPr>
              <a:solidFill>
                <a:srgbClr val="AEABAB"/>
              </a:solidFill>
            </c:spPr>
            <c:extLst>
              <c:ext xmlns:c16="http://schemas.microsoft.com/office/drawing/2014/chart" uri="{C3380CC4-5D6E-409C-BE32-E72D297353CC}">
                <c16:uniqueId val="{0000011F-2993-41DE-A2CB-63102DE87051}"/>
              </c:ext>
            </c:extLst>
          </c:dPt>
          <c:dPt>
            <c:idx val="143"/>
            <c:invertIfNegative val="1"/>
            <c:bubble3D val="0"/>
            <c:spPr>
              <a:solidFill>
                <a:srgbClr val="AEABAB"/>
              </a:solidFill>
            </c:spPr>
            <c:extLst>
              <c:ext xmlns:c16="http://schemas.microsoft.com/office/drawing/2014/chart" uri="{C3380CC4-5D6E-409C-BE32-E72D297353CC}">
                <c16:uniqueId val="{00000121-2993-41DE-A2CB-63102DE87051}"/>
              </c:ext>
            </c:extLst>
          </c:dPt>
          <c:dPt>
            <c:idx val="144"/>
            <c:invertIfNegative val="1"/>
            <c:bubble3D val="0"/>
            <c:spPr>
              <a:solidFill>
                <a:srgbClr val="AEABAB"/>
              </a:solidFill>
            </c:spPr>
            <c:extLst>
              <c:ext xmlns:c16="http://schemas.microsoft.com/office/drawing/2014/chart" uri="{C3380CC4-5D6E-409C-BE32-E72D297353CC}">
                <c16:uniqueId val="{00000123-2993-41DE-A2CB-63102DE87051}"/>
              </c:ext>
            </c:extLst>
          </c:dPt>
          <c:dPt>
            <c:idx val="145"/>
            <c:invertIfNegative val="1"/>
            <c:bubble3D val="0"/>
            <c:spPr>
              <a:solidFill>
                <a:srgbClr val="AEABAB"/>
              </a:solidFill>
            </c:spPr>
            <c:extLst>
              <c:ext xmlns:c16="http://schemas.microsoft.com/office/drawing/2014/chart" uri="{C3380CC4-5D6E-409C-BE32-E72D297353CC}">
                <c16:uniqueId val="{00000125-2993-41DE-A2CB-63102DE87051}"/>
              </c:ext>
            </c:extLst>
          </c:dPt>
          <c:dPt>
            <c:idx val="146"/>
            <c:invertIfNegative val="1"/>
            <c:bubble3D val="0"/>
            <c:spPr>
              <a:solidFill>
                <a:srgbClr val="AEABAB"/>
              </a:solidFill>
            </c:spPr>
            <c:extLst>
              <c:ext xmlns:c16="http://schemas.microsoft.com/office/drawing/2014/chart" uri="{C3380CC4-5D6E-409C-BE32-E72D297353CC}">
                <c16:uniqueId val="{00000127-2993-41DE-A2CB-63102DE87051}"/>
              </c:ext>
            </c:extLst>
          </c:dPt>
          <c:dPt>
            <c:idx val="147"/>
            <c:invertIfNegative val="1"/>
            <c:bubble3D val="0"/>
            <c:spPr>
              <a:solidFill>
                <a:srgbClr val="AEABAB"/>
              </a:solidFill>
            </c:spPr>
            <c:extLst>
              <c:ext xmlns:c16="http://schemas.microsoft.com/office/drawing/2014/chart" uri="{C3380CC4-5D6E-409C-BE32-E72D297353CC}">
                <c16:uniqueId val="{00000129-2993-41DE-A2CB-63102DE87051}"/>
              </c:ext>
            </c:extLst>
          </c:dPt>
          <c:dPt>
            <c:idx val="148"/>
            <c:invertIfNegative val="1"/>
            <c:bubble3D val="0"/>
            <c:spPr>
              <a:solidFill>
                <a:srgbClr val="AEABAB"/>
              </a:solidFill>
            </c:spPr>
            <c:extLst>
              <c:ext xmlns:c16="http://schemas.microsoft.com/office/drawing/2014/chart" uri="{C3380CC4-5D6E-409C-BE32-E72D297353CC}">
                <c16:uniqueId val="{0000012B-2993-41DE-A2CB-63102DE87051}"/>
              </c:ext>
            </c:extLst>
          </c:dPt>
          <c:dPt>
            <c:idx val="149"/>
            <c:invertIfNegative val="1"/>
            <c:bubble3D val="0"/>
            <c:spPr>
              <a:solidFill>
                <a:srgbClr val="AEABAB"/>
              </a:solidFill>
            </c:spPr>
            <c:extLst>
              <c:ext xmlns:c16="http://schemas.microsoft.com/office/drawing/2014/chart" uri="{C3380CC4-5D6E-409C-BE32-E72D297353CC}">
                <c16:uniqueId val="{0000012D-2993-41DE-A2CB-63102DE87051}"/>
              </c:ext>
            </c:extLst>
          </c:dPt>
          <c:dPt>
            <c:idx val="150"/>
            <c:invertIfNegative val="1"/>
            <c:bubble3D val="0"/>
            <c:spPr>
              <a:solidFill>
                <a:srgbClr val="AEABAB"/>
              </a:solidFill>
            </c:spPr>
            <c:extLst>
              <c:ext xmlns:c16="http://schemas.microsoft.com/office/drawing/2014/chart" uri="{C3380CC4-5D6E-409C-BE32-E72D297353CC}">
                <c16:uniqueId val="{0000012F-2993-41DE-A2CB-63102DE87051}"/>
              </c:ext>
            </c:extLst>
          </c:dPt>
          <c:dPt>
            <c:idx val="151"/>
            <c:invertIfNegative val="1"/>
            <c:bubble3D val="0"/>
            <c:spPr>
              <a:solidFill>
                <a:srgbClr val="AEABAB"/>
              </a:solidFill>
            </c:spPr>
            <c:extLst>
              <c:ext xmlns:c16="http://schemas.microsoft.com/office/drawing/2014/chart" uri="{C3380CC4-5D6E-409C-BE32-E72D297353CC}">
                <c16:uniqueId val="{00000131-2993-41DE-A2CB-63102DE87051}"/>
              </c:ext>
            </c:extLst>
          </c:dPt>
          <c:dPt>
            <c:idx val="152"/>
            <c:invertIfNegative val="1"/>
            <c:bubble3D val="0"/>
            <c:spPr>
              <a:solidFill>
                <a:srgbClr val="AEABAB"/>
              </a:solidFill>
            </c:spPr>
            <c:extLst>
              <c:ext xmlns:c16="http://schemas.microsoft.com/office/drawing/2014/chart" uri="{C3380CC4-5D6E-409C-BE32-E72D297353CC}">
                <c16:uniqueId val="{00000133-2993-41DE-A2CB-63102DE87051}"/>
              </c:ext>
            </c:extLst>
          </c:dPt>
          <c:dPt>
            <c:idx val="153"/>
            <c:invertIfNegative val="1"/>
            <c:bubble3D val="0"/>
            <c:spPr>
              <a:solidFill>
                <a:srgbClr val="AEABAB"/>
              </a:solidFill>
            </c:spPr>
            <c:extLst>
              <c:ext xmlns:c16="http://schemas.microsoft.com/office/drawing/2014/chart" uri="{C3380CC4-5D6E-409C-BE32-E72D297353CC}">
                <c16:uniqueId val="{00000135-2993-41DE-A2CB-63102DE87051}"/>
              </c:ext>
            </c:extLst>
          </c:dPt>
          <c:dPt>
            <c:idx val="154"/>
            <c:invertIfNegative val="1"/>
            <c:bubble3D val="0"/>
            <c:spPr>
              <a:solidFill>
                <a:srgbClr val="AEABAB"/>
              </a:solidFill>
            </c:spPr>
            <c:extLst>
              <c:ext xmlns:c16="http://schemas.microsoft.com/office/drawing/2014/chart" uri="{C3380CC4-5D6E-409C-BE32-E72D297353CC}">
                <c16:uniqueId val="{00000137-2993-41DE-A2CB-63102DE87051}"/>
              </c:ext>
            </c:extLst>
          </c:dPt>
          <c:dPt>
            <c:idx val="155"/>
            <c:invertIfNegative val="1"/>
            <c:bubble3D val="0"/>
            <c:spPr>
              <a:solidFill>
                <a:srgbClr val="AEABAB"/>
              </a:solidFill>
            </c:spPr>
            <c:extLst>
              <c:ext xmlns:c16="http://schemas.microsoft.com/office/drawing/2014/chart" uri="{C3380CC4-5D6E-409C-BE32-E72D297353CC}">
                <c16:uniqueId val="{00000139-2993-41DE-A2CB-63102DE87051}"/>
              </c:ext>
            </c:extLst>
          </c:dPt>
          <c:dPt>
            <c:idx val="156"/>
            <c:invertIfNegative val="1"/>
            <c:bubble3D val="0"/>
            <c:spPr>
              <a:solidFill>
                <a:srgbClr val="AEABAB"/>
              </a:solidFill>
            </c:spPr>
            <c:extLst>
              <c:ext xmlns:c16="http://schemas.microsoft.com/office/drawing/2014/chart" uri="{C3380CC4-5D6E-409C-BE32-E72D297353CC}">
                <c16:uniqueId val="{0000013B-2993-41DE-A2CB-63102DE87051}"/>
              </c:ext>
            </c:extLst>
          </c:dPt>
          <c:dPt>
            <c:idx val="157"/>
            <c:invertIfNegative val="1"/>
            <c:bubble3D val="0"/>
            <c:spPr>
              <a:solidFill>
                <a:srgbClr val="AEABAB"/>
              </a:solidFill>
            </c:spPr>
            <c:extLst>
              <c:ext xmlns:c16="http://schemas.microsoft.com/office/drawing/2014/chart" uri="{C3380CC4-5D6E-409C-BE32-E72D297353CC}">
                <c16:uniqueId val="{0000013D-2993-41DE-A2CB-63102DE87051}"/>
              </c:ext>
            </c:extLst>
          </c:dPt>
          <c:dPt>
            <c:idx val="158"/>
            <c:invertIfNegative val="1"/>
            <c:bubble3D val="0"/>
            <c:spPr>
              <a:solidFill>
                <a:srgbClr val="AEABAB"/>
              </a:solidFill>
            </c:spPr>
            <c:extLst>
              <c:ext xmlns:c16="http://schemas.microsoft.com/office/drawing/2014/chart" uri="{C3380CC4-5D6E-409C-BE32-E72D297353CC}">
                <c16:uniqueId val="{0000013F-2993-41DE-A2CB-63102DE87051}"/>
              </c:ext>
            </c:extLst>
          </c:dPt>
          <c:dPt>
            <c:idx val="159"/>
            <c:invertIfNegative val="1"/>
            <c:bubble3D val="0"/>
            <c:spPr>
              <a:solidFill>
                <a:srgbClr val="AEABAB"/>
              </a:solidFill>
            </c:spPr>
            <c:extLst>
              <c:ext xmlns:c16="http://schemas.microsoft.com/office/drawing/2014/chart" uri="{C3380CC4-5D6E-409C-BE32-E72D297353CC}">
                <c16:uniqueId val="{00000141-2993-41DE-A2CB-63102DE87051}"/>
              </c:ext>
            </c:extLst>
          </c:dPt>
          <c:dPt>
            <c:idx val="160"/>
            <c:invertIfNegative val="1"/>
            <c:bubble3D val="0"/>
            <c:spPr>
              <a:solidFill>
                <a:srgbClr val="AEABAB"/>
              </a:solidFill>
            </c:spPr>
            <c:extLst>
              <c:ext xmlns:c16="http://schemas.microsoft.com/office/drawing/2014/chart" uri="{C3380CC4-5D6E-409C-BE32-E72D297353CC}">
                <c16:uniqueId val="{00000143-2993-41DE-A2CB-63102DE87051}"/>
              </c:ext>
            </c:extLst>
          </c:dPt>
          <c:dPt>
            <c:idx val="161"/>
            <c:invertIfNegative val="1"/>
            <c:bubble3D val="0"/>
            <c:spPr>
              <a:solidFill>
                <a:srgbClr val="AEABAB"/>
              </a:solidFill>
            </c:spPr>
            <c:extLst>
              <c:ext xmlns:c16="http://schemas.microsoft.com/office/drawing/2014/chart" uri="{C3380CC4-5D6E-409C-BE32-E72D297353CC}">
                <c16:uniqueId val="{00000145-2993-41DE-A2CB-63102DE87051}"/>
              </c:ext>
            </c:extLst>
          </c:dPt>
          <c:dPt>
            <c:idx val="162"/>
            <c:invertIfNegative val="1"/>
            <c:bubble3D val="0"/>
            <c:spPr>
              <a:solidFill>
                <a:srgbClr val="AEABAB"/>
              </a:solidFill>
            </c:spPr>
            <c:extLst>
              <c:ext xmlns:c16="http://schemas.microsoft.com/office/drawing/2014/chart" uri="{C3380CC4-5D6E-409C-BE32-E72D297353CC}">
                <c16:uniqueId val="{00000147-2993-41DE-A2CB-63102DE87051}"/>
              </c:ext>
            </c:extLst>
          </c:dPt>
          <c:dPt>
            <c:idx val="163"/>
            <c:invertIfNegative val="1"/>
            <c:bubble3D val="0"/>
            <c:spPr>
              <a:solidFill>
                <a:srgbClr val="AEABAB"/>
              </a:solidFill>
            </c:spPr>
            <c:extLst>
              <c:ext xmlns:c16="http://schemas.microsoft.com/office/drawing/2014/chart" uri="{C3380CC4-5D6E-409C-BE32-E72D297353CC}">
                <c16:uniqueId val="{00000149-2993-41DE-A2CB-63102DE87051}"/>
              </c:ext>
            </c:extLst>
          </c:dPt>
          <c:dPt>
            <c:idx val="164"/>
            <c:invertIfNegative val="1"/>
            <c:bubble3D val="0"/>
            <c:spPr>
              <a:solidFill>
                <a:srgbClr val="AEABAB"/>
              </a:solidFill>
            </c:spPr>
            <c:extLst>
              <c:ext xmlns:c16="http://schemas.microsoft.com/office/drawing/2014/chart" uri="{C3380CC4-5D6E-409C-BE32-E72D297353CC}">
                <c16:uniqueId val="{0000014B-2993-41DE-A2CB-63102DE87051}"/>
              </c:ext>
            </c:extLst>
          </c:dPt>
          <c:dPt>
            <c:idx val="165"/>
            <c:invertIfNegative val="1"/>
            <c:bubble3D val="0"/>
            <c:spPr>
              <a:solidFill>
                <a:srgbClr val="AEABAB"/>
              </a:solidFill>
            </c:spPr>
            <c:extLst>
              <c:ext xmlns:c16="http://schemas.microsoft.com/office/drawing/2014/chart" uri="{C3380CC4-5D6E-409C-BE32-E72D297353CC}">
                <c16:uniqueId val="{0000014D-2993-41DE-A2CB-63102DE87051}"/>
              </c:ext>
            </c:extLst>
          </c:dPt>
          <c:dPt>
            <c:idx val="166"/>
            <c:invertIfNegative val="1"/>
            <c:bubble3D val="0"/>
            <c:spPr>
              <a:solidFill>
                <a:srgbClr val="AEABAB"/>
              </a:solidFill>
            </c:spPr>
            <c:extLst>
              <c:ext xmlns:c16="http://schemas.microsoft.com/office/drawing/2014/chart" uri="{C3380CC4-5D6E-409C-BE32-E72D297353CC}">
                <c16:uniqueId val="{0000014F-2993-41DE-A2CB-63102DE87051}"/>
              </c:ext>
            </c:extLst>
          </c:dPt>
          <c:dPt>
            <c:idx val="167"/>
            <c:invertIfNegative val="1"/>
            <c:bubble3D val="0"/>
            <c:spPr>
              <a:solidFill>
                <a:srgbClr val="AEABAB"/>
              </a:solidFill>
            </c:spPr>
            <c:extLst>
              <c:ext xmlns:c16="http://schemas.microsoft.com/office/drawing/2014/chart" uri="{C3380CC4-5D6E-409C-BE32-E72D297353CC}">
                <c16:uniqueId val="{00000151-2993-41DE-A2CB-63102DE87051}"/>
              </c:ext>
            </c:extLst>
          </c:dPt>
          <c:dPt>
            <c:idx val="168"/>
            <c:invertIfNegative val="1"/>
            <c:bubble3D val="0"/>
            <c:spPr>
              <a:solidFill>
                <a:srgbClr val="AEABAB"/>
              </a:solidFill>
            </c:spPr>
            <c:extLst>
              <c:ext xmlns:c16="http://schemas.microsoft.com/office/drawing/2014/chart" uri="{C3380CC4-5D6E-409C-BE32-E72D297353CC}">
                <c16:uniqueId val="{00000153-2993-41DE-A2CB-63102DE87051}"/>
              </c:ext>
            </c:extLst>
          </c:dPt>
          <c:dPt>
            <c:idx val="169"/>
            <c:invertIfNegative val="1"/>
            <c:bubble3D val="0"/>
            <c:spPr>
              <a:solidFill>
                <a:srgbClr val="AEABAB"/>
              </a:solidFill>
            </c:spPr>
            <c:extLst>
              <c:ext xmlns:c16="http://schemas.microsoft.com/office/drawing/2014/chart" uri="{C3380CC4-5D6E-409C-BE32-E72D297353CC}">
                <c16:uniqueId val="{00000155-2993-41DE-A2CB-63102DE87051}"/>
              </c:ext>
            </c:extLst>
          </c:dPt>
          <c:dPt>
            <c:idx val="170"/>
            <c:invertIfNegative val="1"/>
            <c:bubble3D val="0"/>
            <c:spPr>
              <a:solidFill>
                <a:srgbClr val="AEABAB"/>
              </a:solidFill>
            </c:spPr>
            <c:extLst>
              <c:ext xmlns:c16="http://schemas.microsoft.com/office/drawing/2014/chart" uri="{C3380CC4-5D6E-409C-BE32-E72D297353CC}">
                <c16:uniqueId val="{00000157-2993-41DE-A2CB-63102DE87051}"/>
              </c:ext>
            </c:extLst>
          </c:dPt>
          <c:dPt>
            <c:idx val="171"/>
            <c:invertIfNegative val="1"/>
            <c:bubble3D val="0"/>
            <c:spPr>
              <a:solidFill>
                <a:srgbClr val="AEABAB"/>
              </a:solidFill>
            </c:spPr>
            <c:extLst>
              <c:ext xmlns:c16="http://schemas.microsoft.com/office/drawing/2014/chart" uri="{C3380CC4-5D6E-409C-BE32-E72D297353CC}">
                <c16:uniqueId val="{00000159-2993-41DE-A2CB-63102DE87051}"/>
              </c:ext>
            </c:extLst>
          </c:dPt>
          <c:dPt>
            <c:idx val="172"/>
            <c:invertIfNegative val="1"/>
            <c:bubble3D val="0"/>
            <c:spPr>
              <a:solidFill>
                <a:srgbClr val="AEABAB"/>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dPt>
            <c:idx val="210"/>
            <c:invertIfNegative val="1"/>
            <c:bubble3D val="0"/>
            <c:spPr>
              <a:solidFill>
                <a:srgbClr val="AEABAB"/>
              </a:solidFill>
            </c:spPr>
            <c:extLst>
              <c:ext xmlns:c16="http://schemas.microsoft.com/office/drawing/2014/chart" uri="{C3380CC4-5D6E-409C-BE32-E72D297353CC}">
                <c16:uniqueId val="{000001A7-0373-4F41-9C2E-AB8F407C8C36}"/>
              </c:ext>
            </c:extLst>
          </c:dPt>
          <c:dPt>
            <c:idx val="211"/>
            <c:invertIfNegative val="1"/>
            <c:bubble3D val="0"/>
            <c:spPr>
              <a:solidFill>
                <a:srgbClr val="AEABAB"/>
              </a:solidFill>
            </c:spPr>
            <c:extLst>
              <c:ext xmlns:c16="http://schemas.microsoft.com/office/drawing/2014/chart" uri="{C3380CC4-5D6E-409C-BE32-E72D297353CC}">
                <c16:uniqueId val="{000001A9-0373-4F41-9C2E-AB8F407C8C36}"/>
              </c:ext>
            </c:extLst>
          </c:dPt>
          <c:dPt>
            <c:idx val="212"/>
            <c:invertIfNegative val="1"/>
            <c:bubble3D val="0"/>
            <c:spPr>
              <a:solidFill>
                <a:srgbClr val="AEABAB"/>
              </a:solidFill>
            </c:spPr>
            <c:extLst>
              <c:ext xmlns:c16="http://schemas.microsoft.com/office/drawing/2014/chart" uri="{C3380CC4-5D6E-409C-BE32-E72D297353CC}">
                <c16:uniqueId val="{000001AB-0373-4F41-9C2E-AB8F407C8C36}"/>
              </c:ext>
            </c:extLst>
          </c:dPt>
          <c:dPt>
            <c:idx val="213"/>
            <c:invertIfNegative val="1"/>
            <c:bubble3D val="0"/>
            <c:spPr>
              <a:solidFill>
                <a:srgbClr val="AEABAB"/>
              </a:solidFill>
            </c:spPr>
            <c:extLst>
              <c:ext xmlns:c16="http://schemas.microsoft.com/office/drawing/2014/chart" uri="{C3380CC4-5D6E-409C-BE32-E72D297353CC}">
                <c16:uniqueId val="{000001AD-0373-4F41-9C2E-AB8F407C8C36}"/>
              </c:ext>
            </c:extLst>
          </c:dPt>
          <c:dPt>
            <c:idx val="214"/>
            <c:invertIfNegative val="1"/>
            <c:bubble3D val="0"/>
            <c:spPr>
              <a:solidFill>
                <a:srgbClr val="AEABAB"/>
              </a:solidFill>
            </c:spPr>
            <c:extLst>
              <c:ext xmlns:c16="http://schemas.microsoft.com/office/drawing/2014/chart" uri="{C3380CC4-5D6E-409C-BE32-E72D297353CC}">
                <c16:uniqueId val="{000001AF-0373-4F41-9C2E-AB8F407C8C36}"/>
              </c:ext>
            </c:extLst>
          </c:dPt>
          <c:dPt>
            <c:idx val="215"/>
            <c:invertIfNegative val="1"/>
            <c:bubble3D val="0"/>
            <c:spPr>
              <a:solidFill>
                <a:srgbClr val="AEABAB"/>
              </a:solidFill>
            </c:spPr>
            <c:extLst>
              <c:ext xmlns:c16="http://schemas.microsoft.com/office/drawing/2014/chart" uri="{C3380CC4-5D6E-409C-BE32-E72D297353CC}">
                <c16:uniqueId val="{000001B1-0373-4F41-9C2E-AB8F407C8C36}"/>
              </c:ext>
            </c:extLst>
          </c:dPt>
          <c:dPt>
            <c:idx val="216"/>
            <c:invertIfNegative val="1"/>
            <c:bubble3D val="0"/>
            <c:spPr>
              <a:solidFill>
                <a:srgbClr val="AEABAB"/>
              </a:solidFill>
            </c:spPr>
            <c:extLst>
              <c:ext xmlns:c16="http://schemas.microsoft.com/office/drawing/2014/chart" uri="{C3380CC4-5D6E-409C-BE32-E72D297353CC}">
                <c16:uniqueId val="{000001B3-0373-4F41-9C2E-AB8F407C8C36}"/>
              </c:ext>
            </c:extLst>
          </c:dPt>
          <c:dPt>
            <c:idx val="217"/>
            <c:invertIfNegative val="1"/>
            <c:bubble3D val="0"/>
            <c:spPr>
              <a:solidFill>
                <a:srgbClr val="AEABAB"/>
              </a:solidFill>
            </c:spPr>
            <c:extLst>
              <c:ext xmlns:c16="http://schemas.microsoft.com/office/drawing/2014/chart" uri="{C3380CC4-5D6E-409C-BE32-E72D297353CC}">
                <c16:uniqueId val="{000001B5-0373-4F41-9C2E-AB8F407C8C36}"/>
              </c:ext>
            </c:extLst>
          </c:dPt>
          <c:dPt>
            <c:idx val="218"/>
            <c:invertIfNegative val="1"/>
            <c:bubble3D val="0"/>
            <c:spPr>
              <a:solidFill>
                <a:srgbClr val="AEABAB"/>
              </a:solidFill>
            </c:spPr>
            <c:extLst>
              <c:ext xmlns:c16="http://schemas.microsoft.com/office/drawing/2014/chart" uri="{C3380CC4-5D6E-409C-BE32-E72D297353CC}">
                <c16:uniqueId val="{000001B7-0373-4F41-9C2E-AB8F407C8C36}"/>
              </c:ext>
            </c:extLst>
          </c:dPt>
          <c:dPt>
            <c:idx val="219"/>
            <c:invertIfNegative val="1"/>
            <c:bubble3D val="0"/>
            <c:spPr>
              <a:solidFill>
                <a:srgbClr val="AEABAB"/>
              </a:solidFill>
            </c:spPr>
            <c:extLst>
              <c:ext xmlns:c16="http://schemas.microsoft.com/office/drawing/2014/chart" uri="{C3380CC4-5D6E-409C-BE32-E72D297353CC}">
                <c16:uniqueId val="{000001B9-0373-4F41-9C2E-AB8F407C8C36}"/>
              </c:ext>
            </c:extLst>
          </c:dPt>
          <c:dPt>
            <c:idx val="220"/>
            <c:invertIfNegative val="1"/>
            <c:bubble3D val="0"/>
            <c:spPr>
              <a:solidFill>
                <a:srgbClr val="AEABAB"/>
              </a:solidFill>
            </c:spPr>
            <c:extLst>
              <c:ext xmlns:c16="http://schemas.microsoft.com/office/drawing/2014/chart" uri="{C3380CC4-5D6E-409C-BE32-E72D297353CC}">
                <c16:uniqueId val="{000001BB-0373-4F41-9C2E-AB8F407C8C36}"/>
              </c:ext>
            </c:extLst>
          </c:dPt>
          <c:dPt>
            <c:idx val="221"/>
            <c:invertIfNegative val="1"/>
            <c:bubble3D val="0"/>
            <c:spPr>
              <a:solidFill>
                <a:srgbClr val="AEABAB"/>
              </a:solidFill>
            </c:spPr>
            <c:extLst>
              <c:ext xmlns:c16="http://schemas.microsoft.com/office/drawing/2014/chart" uri="{C3380CC4-5D6E-409C-BE32-E72D297353CC}">
                <c16:uniqueId val="{000001BD-0373-4F41-9C2E-AB8F407C8C36}"/>
              </c:ext>
            </c:extLst>
          </c:dPt>
          <c:dPt>
            <c:idx val="222"/>
            <c:invertIfNegative val="1"/>
            <c:bubble3D val="0"/>
            <c:spPr>
              <a:solidFill>
                <a:srgbClr val="AEABAB"/>
              </a:solidFill>
            </c:spPr>
            <c:extLst>
              <c:ext xmlns:c16="http://schemas.microsoft.com/office/drawing/2014/chart" uri="{C3380CC4-5D6E-409C-BE32-E72D297353CC}">
                <c16:uniqueId val="{000001BF-0373-4F41-9C2E-AB8F407C8C36}"/>
              </c:ext>
            </c:extLst>
          </c:dPt>
          <c:dPt>
            <c:idx val="223"/>
            <c:invertIfNegative val="1"/>
            <c:bubble3D val="0"/>
            <c:spPr>
              <a:solidFill>
                <a:srgbClr val="AEABAB"/>
              </a:solidFill>
            </c:spPr>
            <c:extLst>
              <c:ext xmlns:c16="http://schemas.microsoft.com/office/drawing/2014/chart" uri="{C3380CC4-5D6E-409C-BE32-E72D297353CC}">
                <c16:uniqueId val="{000001C1-0373-4F41-9C2E-AB8F407C8C36}"/>
              </c:ext>
            </c:extLst>
          </c:dPt>
          <c:dPt>
            <c:idx val="224"/>
            <c:invertIfNegative val="1"/>
            <c:bubble3D val="0"/>
            <c:spPr>
              <a:solidFill>
                <a:srgbClr val="AEABAB"/>
              </a:solidFill>
            </c:spPr>
            <c:extLst>
              <c:ext xmlns:c16="http://schemas.microsoft.com/office/drawing/2014/chart" uri="{C3380CC4-5D6E-409C-BE32-E72D297353CC}">
                <c16:uniqueId val="{000001C3-0373-4F41-9C2E-AB8F407C8C36}"/>
              </c:ext>
            </c:extLst>
          </c:dPt>
          <c:dPt>
            <c:idx val="225"/>
            <c:invertIfNegative val="1"/>
            <c:bubble3D val="0"/>
            <c:spPr>
              <a:solidFill>
                <a:srgbClr val="AEABAB"/>
              </a:solidFill>
            </c:spPr>
            <c:extLst>
              <c:ext xmlns:c16="http://schemas.microsoft.com/office/drawing/2014/chart" uri="{C3380CC4-5D6E-409C-BE32-E72D297353CC}">
                <c16:uniqueId val="{000001C5-0373-4F41-9C2E-AB8F407C8C36}"/>
              </c:ext>
            </c:extLst>
          </c:dPt>
          <c:dPt>
            <c:idx val="226"/>
            <c:invertIfNegative val="1"/>
            <c:bubble3D val="0"/>
            <c:spPr>
              <a:solidFill>
                <a:srgbClr val="AEABAB"/>
              </a:solidFill>
            </c:spPr>
            <c:extLst>
              <c:ext xmlns:c16="http://schemas.microsoft.com/office/drawing/2014/chart" uri="{C3380CC4-5D6E-409C-BE32-E72D297353CC}">
                <c16:uniqueId val="{000001C7-0373-4F41-9C2E-AB8F407C8C36}"/>
              </c:ext>
            </c:extLst>
          </c:dPt>
          <c:dPt>
            <c:idx val="227"/>
            <c:invertIfNegative val="1"/>
            <c:bubble3D val="0"/>
            <c:spPr>
              <a:solidFill>
                <a:srgbClr val="AEABAB"/>
              </a:solidFill>
            </c:spPr>
            <c:extLst>
              <c:ext xmlns:c16="http://schemas.microsoft.com/office/drawing/2014/chart" uri="{C3380CC4-5D6E-409C-BE32-E72D297353CC}">
                <c16:uniqueId val="{000001C9-0373-4F41-9C2E-AB8F407C8C36}"/>
              </c:ext>
            </c:extLst>
          </c:dPt>
          <c:dPt>
            <c:idx val="228"/>
            <c:invertIfNegative val="1"/>
            <c:bubble3D val="0"/>
            <c:spPr>
              <a:solidFill>
                <a:srgbClr val="AEABAB"/>
              </a:solidFill>
            </c:spPr>
            <c:extLst>
              <c:ext xmlns:c16="http://schemas.microsoft.com/office/drawing/2014/chart" uri="{C3380CC4-5D6E-409C-BE32-E72D297353CC}">
                <c16:uniqueId val="{000001CB-0373-4F41-9C2E-AB8F407C8C36}"/>
              </c:ext>
            </c:extLst>
          </c:dPt>
          <c:dPt>
            <c:idx val="229"/>
            <c:invertIfNegative val="1"/>
            <c:bubble3D val="0"/>
            <c:spPr>
              <a:solidFill>
                <a:srgbClr val="AEABAB"/>
              </a:solidFill>
            </c:spPr>
            <c:extLst>
              <c:ext xmlns:c16="http://schemas.microsoft.com/office/drawing/2014/chart" uri="{C3380CC4-5D6E-409C-BE32-E72D297353CC}">
                <c16:uniqueId val="{000001CD-0373-4F41-9C2E-AB8F407C8C36}"/>
              </c:ext>
            </c:extLst>
          </c:dPt>
          <c:dPt>
            <c:idx val="230"/>
            <c:invertIfNegative val="1"/>
            <c:bubble3D val="0"/>
            <c:spPr>
              <a:solidFill>
                <a:srgbClr val="AEABAB"/>
              </a:solidFill>
            </c:spPr>
            <c:extLst>
              <c:ext xmlns:c16="http://schemas.microsoft.com/office/drawing/2014/chart" uri="{C3380CC4-5D6E-409C-BE32-E72D297353CC}">
                <c16:uniqueId val="{000001CF-0373-4F41-9C2E-AB8F407C8C36}"/>
              </c:ext>
            </c:extLst>
          </c:dPt>
          <c:dPt>
            <c:idx val="231"/>
            <c:invertIfNegative val="1"/>
            <c:bubble3D val="0"/>
            <c:spPr>
              <a:solidFill>
                <a:srgbClr val="AEABAB"/>
              </a:solidFill>
            </c:spPr>
            <c:extLst>
              <c:ext xmlns:c16="http://schemas.microsoft.com/office/drawing/2014/chart" uri="{C3380CC4-5D6E-409C-BE32-E72D297353CC}">
                <c16:uniqueId val="{000001D1-0373-4F41-9C2E-AB8F407C8C36}"/>
              </c:ext>
            </c:extLst>
          </c:dPt>
          <c:dPt>
            <c:idx val="232"/>
            <c:invertIfNegative val="1"/>
            <c:bubble3D val="0"/>
            <c:spPr>
              <a:solidFill>
                <a:srgbClr val="AEABAB"/>
              </a:solidFill>
            </c:spPr>
            <c:extLst>
              <c:ext xmlns:c16="http://schemas.microsoft.com/office/drawing/2014/chart" uri="{C3380CC4-5D6E-409C-BE32-E72D297353CC}">
                <c16:uniqueId val="{000001D3-0373-4F41-9C2E-AB8F407C8C36}"/>
              </c:ext>
            </c:extLst>
          </c:dPt>
          <c:dPt>
            <c:idx val="233"/>
            <c:invertIfNegative val="1"/>
            <c:bubble3D val="0"/>
            <c:spPr>
              <a:solidFill>
                <a:srgbClr val="AEABAB"/>
              </a:solidFill>
            </c:spPr>
            <c:extLst>
              <c:ext xmlns:c16="http://schemas.microsoft.com/office/drawing/2014/chart" uri="{C3380CC4-5D6E-409C-BE32-E72D297353CC}">
                <c16:uniqueId val="{000001D5-0373-4F41-9C2E-AB8F407C8C36}"/>
              </c:ext>
            </c:extLst>
          </c:dPt>
          <c:dPt>
            <c:idx val="234"/>
            <c:invertIfNegative val="1"/>
            <c:bubble3D val="0"/>
            <c:spPr>
              <a:solidFill>
                <a:srgbClr val="AEABAB"/>
              </a:solidFill>
            </c:spPr>
            <c:extLst>
              <c:ext xmlns:c16="http://schemas.microsoft.com/office/drawing/2014/chart" uri="{C3380CC4-5D6E-409C-BE32-E72D297353CC}">
                <c16:uniqueId val="{000001D7-0373-4F41-9C2E-AB8F407C8C36}"/>
              </c:ext>
            </c:extLst>
          </c:dPt>
          <c:dPt>
            <c:idx val="235"/>
            <c:invertIfNegative val="1"/>
            <c:bubble3D val="0"/>
            <c:spPr>
              <a:solidFill>
                <a:srgbClr val="AEABAB"/>
              </a:solidFill>
            </c:spPr>
            <c:extLst>
              <c:ext xmlns:c16="http://schemas.microsoft.com/office/drawing/2014/chart" uri="{C3380CC4-5D6E-409C-BE32-E72D297353CC}">
                <c16:uniqueId val="{000001D9-0373-4F41-9C2E-AB8F407C8C36}"/>
              </c:ext>
            </c:extLst>
          </c:dPt>
          <c:dPt>
            <c:idx val="236"/>
            <c:invertIfNegative val="1"/>
            <c:bubble3D val="0"/>
            <c:spPr>
              <a:solidFill>
                <a:srgbClr val="AEABAB"/>
              </a:solidFill>
            </c:spPr>
            <c:extLst>
              <c:ext xmlns:c16="http://schemas.microsoft.com/office/drawing/2014/chart" uri="{C3380CC4-5D6E-409C-BE32-E72D297353CC}">
                <c16:uniqueId val="{000001DB-0373-4F41-9C2E-AB8F407C8C36}"/>
              </c:ext>
            </c:extLst>
          </c:dPt>
          <c:dPt>
            <c:idx val="237"/>
            <c:invertIfNegative val="1"/>
            <c:bubble3D val="0"/>
            <c:spPr>
              <a:solidFill>
                <a:srgbClr val="AEABAB"/>
              </a:solidFill>
            </c:spPr>
            <c:extLst>
              <c:ext xmlns:c16="http://schemas.microsoft.com/office/drawing/2014/chart" uri="{C3380CC4-5D6E-409C-BE32-E72D297353CC}">
                <c16:uniqueId val="{000001DD-0373-4F41-9C2E-AB8F407C8C36}"/>
              </c:ext>
            </c:extLst>
          </c:dPt>
          <c:dPt>
            <c:idx val="238"/>
            <c:invertIfNegative val="1"/>
            <c:bubble3D val="0"/>
            <c:spPr>
              <a:solidFill>
                <a:srgbClr val="AEABAB"/>
              </a:solidFill>
            </c:spPr>
            <c:extLst>
              <c:ext xmlns:c16="http://schemas.microsoft.com/office/drawing/2014/chart" uri="{C3380CC4-5D6E-409C-BE32-E72D297353CC}">
                <c16:uniqueId val="{000001DF-0373-4F41-9C2E-AB8F407C8C36}"/>
              </c:ext>
            </c:extLst>
          </c:dPt>
          <c:dPt>
            <c:idx val="239"/>
            <c:invertIfNegative val="1"/>
            <c:bubble3D val="0"/>
            <c:spPr>
              <a:solidFill>
                <a:srgbClr val="AEABAB"/>
              </a:solidFill>
            </c:spPr>
            <c:extLst>
              <c:ext xmlns:c16="http://schemas.microsoft.com/office/drawing/2014/chart" uri="{C3380CC4-5D6E-409C-BE32-E72D297353CC}">
                <c16:uniqueId val="{000001E1-0373-4F41-9C2E-AB8F407C8C36}"/>
              </c:ext>
            </c:extLst>
          </c:dPt>
          <c:dPt>
            <c:idx val="240"/>
            <c:invertIfNegative val="1"/>
            <c:bubble3D val="0"/>
            <c:spPr>
              <a:solidFill>
                <a:srgbClr val="AEABAB"/>
              </a:solidFill>
            </c:spPr>
            <c:extLst>
              <c:ext xmlns:c16="http://schemas.microsoft.com/office/drawing/2014/chart" uri="{C3380CC4-5D6E-409C-BE32-E72D297353CC}">
                <c16:uniqueId val="{000001E3-0373-4F41-9C2E-AB8F407C8C36}"/>
              </c:ext>
            </c:extLst>
          </c:dPt>
          <c:dPt>
            <c:idx val="241"/>
            <c:invertIfNegative val="1"/>
            <c:bubble3D val="0"/>
            <c:spPr>
              <a:solidFill>
                <a:srgbClr val="AEABAB"/>
              </a:solidFill>
            </c:spPr>
            <c:extLst>
              <c:ext xmlns:c16="http://schemas.microsoft.com/office/drawing/2014/chart" uri="{C3380CC4-5D6E-409C-BE32-E72D297353CC}">
                <c16:uniqueId val="{000001E5-0373-4F41-9C2E-AB8F407C8C36}"/>
              </c:ext>
            </c:extLst>
          </c:dPt>
          <c:dPt>
            <c:idx val="242"/>
            <c:invertIfNegative val="1"/>
            <c:bubble3D val="0"/>
            <c:spPr>
              <a:solidFill>
                <a:srgbClr val="AEABAB"/>
              </a:solidFill>
            </c:spPr>
            <c:extLst>
              <c:ext xmlns:c16="http://schemas.microsoft.com/office/drawing/2014/chart" uri="{C3380CC4-5D6E-409C-BE32-E72D297353CC}">
                <c16:uniqueId val="{000001E7-0373-4F41-9C2E-AB8F407C8C36}"/>
              </c:ext>
            </c:extLst>
          </c:dPt>
          <c:dPt>
            <c:idx val="243"/>
            <c:invertIfNegative val="1"/>
            <c:bubble3D val="0"/>
            <c:spPr>
              <a:solidFill>
                <a:srgbClr val="AEABAB"/>
              </a:solidFill>
            </c:spPr>
            <c:extLst>
              <c:ext xmlns:c16="http://schemas.microsoft.com/office/drawing/2014/chart" uri="{C3380CC4-5D6E-409C-BE32-E72D297353CC}">
                <c16:uniqueId val="{000001E9-0373-4F41-9C2E-AB8F407C8C36}"/>
              </c:ext>
            </c:extLst>
          </c:dPt>
          <c:dPt>
            <c:idx val="244"/>
            <c:invertIfNegative val="1"/>
            <c:bubble3D val="0"/>
            <c:spPr>
              <a:solidFill>
                <a:srgbClr val="AEABAB"/>
              </a:solidFill>
            </c:spPr>
            <c:extLst>
              <c:ext xmlns:c16="http://schemas.microsoft.com/office/drawing/2014/chart" uri="{C3380CC4-5D6E-409C-BE32-E72D297353CC}">
                <c16:uniqueId val="{000001EB-0373-4F41-9C2E-AB8F407C8C36}"/>
              </c:ext>
            </c:extLst>
          </c:dPt>
          <c:dPt>
            <c:idx val="245"/>
            <c:invertIfNegative val="1"/>
            <c:bubble3D val="0"/>
            <c:spPr>
              <a:solidFill>
                <a:srgbClr val="AEABAB"/>
              </a:solidFill>
            </c:spPr>
            <c:extLst>
              <c:ext xmlns:c16="http://schemas.microsoft.com/office/drawing/2014/chart" uri="{C3380CC4-5D6E-409C-BE32-E72D297353CC}">
                <c16:uniqueId val="{000001ED-0373-4F41-9C2E-AB8F407C8C36}"/>
              </c:ext>
            </c:extLst>
          </c:dPt>
          <c:dPt>
            <c:idx val="246"/>
            <c:invertIfNegative val="1"/>
            <c:bubble3D val="0"/>
            <c:spPr>
              <a:solidFill>
                <a:srgbClr val="AEABAB"/>
              </a:solidFill>
            </c:spPr>
            <c:extLst>
              <c:ext xmlns:c16="http://schemas.microsoft.com/office/drawing/2014/chart" uri="{C3380CC4-5D6E-409C-BE32-E72D297353CC}">
                <c16:uniqueId val="{000001EF-0373-4F41-9C2E-AB8F407C8C36}"/>
              </c:ext>
            </c:extLst>
          </c:dPt>
          <c:dPt>
            <c:idx val="247"/>
            <c:invertIfNegative val="1"/>
            <c:bubble3D val="0"/>
            <c:spPr>
              <a:solidFill>
                <a:srgbClr val="AEABAB"/>
              </a:solidFill>
            </c:spPr>
            <c:extLst>
              <c:ext xmlns:c16="http://schemas.microsoft.com/office/drawing/2014/chart" uri="{C3380CC4-5D6E-409C-BE32-E72D297353CC}">
                <c16:uniqueId val="{000001F1-0373-4F41-9C2E-AB8F407C8C36}"/>
              </c:ext>
            </c:extLst>
          </c:dPt>
          <c:dPt>
            <c:idx val="248"/>
            <c:invertIfNegative val="1"/>
            <c:bubble3D val="0"/>
            <c:spPr>
              <a:solidFill>
                <a:srgbClr val="AEABAB"/>
              </a:solidFill>
            </c:spPr>
            <c:extLst>
              <c:ext xmlns:c16="http://schemas.microsoft.com/office/drawing/2014/chart" uri="{C3380CC4-5D6E-409C-BE32-E72D297353CC}">
                <c16:uniqueId val="{000001F3-0373-4F41-9C2E-AB8F407C8C36}"/>
              </c:ext>
            </c:extLst>
          </c:dPt>
          <c:dPt>
            <c:idx val="249"/>
            <c:invertIfNegative val="1"/>
            <c:bubble3D val="0"/>
            <c:spPr>
              <a:solidFill>
                <a:srgbClr val="AEABAB"/>
              </a:solidFill>
            </c:spPr>
            <c:extLst>
              <c:ext xmlns:c16="http://schemas.microsoft.com/office/drawing/2014/chart" uri="{C3380CC4-5D6E-409C-BE32-E72D297353CC}">
                <c16:uniqueId val="{000001F5-0373-4F41-9C2E-AB8F407C8C36}"/>
              </c:ext>
            </c:extLst>
          </c:dPt>
          <c:dPt>
            <c:idx val="250"/>
            <c:invertIfNegative val="1"/>
            <c:bubble3D val="0"/>
            <c:spPr>
              <a:solidFill>
                <a:srgbClr val="AEABAB"/>
              </a:solidFill>
            </c:spPr>
            <c:extLst>
              <c:ext xmlns:c16="http://schemas.microsoft.com/office/drawing/2014/chart" uri="{C3380CC4-5D6E-409C-BE32-E72D297353CC}">
                <c16:uniqueId val="{000001F7-0373-4F41-9C2E-AB8F407C8C36}"/>
              </c:ext>
            </c:extLst>
          </c:dPt>
          <c:dPt>
            <c:idx val="251"/>
            <c:invertIfNegative val="1"/>
            <c:bubble3D val="0"/>
            <c:spPr>
              <a:solidFill>
                <a:srgbClr val="AEABAB"/>
              </a:solidFill>
            </c:spPr>
            <c:extLst>
              <c:ext xmlns:c16="http://schemas.microsoft.com/office/drawing/2014/chart" uri="{C3380CC4-5D6E-409C-BE32-E72D297353CC}">
                <c16:uniqueId val="{000001F9-0373-4F41-9C2E-AB8F407C8C36}"/>
              </c:ext>
            </c:extLst>
          </c:dPt>
          <c:dPt>
            <c:idx val="252"/>
            <c:invertIfNegative val="1"/>
            <c:bubble3D val="0"/>
            <c:spPr>
              <a:solidFill>
                <a:srgbClr val="AEABAB"/>
              </a:solidFill>
            </c:spPr>
            <c:extLst>
              <c:ext xmlns:c16="http://schemas.microsoft.com/office/drawing/2014/chart" uri="{C3380CC4-5D6E-409C-BE32-E72D297353CC}">
                <c16:uniqueId val="{000001FB-0373-4F41-9C2E-AB8F407C8C36}"/>
              </c:ext>
            </c:extLst>
          </c:dPt>
          <c:dPt>
            <c:idx val="253"/>
            <c:invertIfNegative val="1"/>
            <c:bubble3D val="0"/>
            <c:spPr>
              <a:solidFill>
                <a:srgbClr val="AEABAB"/>
              </a:solidFill>
            </c:spPr>
            <c:extLst>
              <c:ext xmlns:c16="http://schemas.microsoft.com/office/drawing/2014/chart" uri="{C3380CC4-5D6E-409C-BE32-E72D297353CC}">
                <c16:uniqueId val="{000001FD-0373-4F41-9C2E-AB8F407C8C36}"/>
              </c:ext>
            </c:extLst>
          </c:dPt>
          <c:dPt>
            <c:idx val="254"/>
            <c:invertIfNegative val="1"/>
            <c:bubble3D val="0"/>
            <c:spPr>
              <a:solidFill>
                <a:srgbClr val="AEABAB"/>
              </a:solidFill>
            </c:spPr>
            <c:extLst>
              <c:ext xmlns:c16="http://schemas.microsoft.com/office/drawing/2014/chart" uri="{C3380CC4-5D6E-409C-BE32-E72D297353CC}">
                <c16:uniqueId val="{000001FF-0373-4F41-9C2E-AB8F407C8C36}"/>
              </c:ext>
            </c:extLst>
          </c:dPt>
          <c:dPt>
            <c:idx val="255"/>
            <c:invertIfNegative val="1"/>
            <c:bubble3D val="0"/>
            <c:spPr>
              <a:solidFill>
                <a:srgbClr val="AEABAB"/>
              </a:solidFill>
            </c:spPr>
            <c:extLst>
              <c:ext xmlns:c16="http://schemas.microsoft.com/office/drawing/2014/chart" uri="{C3380CC4-5D6E-409C-BE32-E72D297353CC}">
                <c16:uniqueId val="{00000201-0373-4F41-9C2E-AB8F407C8C36}"/>
              </c:ext>
            </c:extLst>
          </c:dPt>
          <c:cat>
            <c:strRef>
              <c:f>Sheet1!$A$2:$A$257</c:f>
              <c:strCache>
                <c:ptCount val="256"/>
                <c:pt idx="0">
                  <c:v>Ruinart</c:v>
                </c:pt>
                <c:pt idx="1">
                  <c:v>Deutz</c:v>
                </c:pt>
                <c:pt idx="2">
                  <c:v>Nicolas</c:v>
                </c:pt>
                <c:pt idx="3">
                  <c:v>Ruinart</c:v>
                </c:pt>
                <c:pt idx="4">
                  <c:v>Heidsieck &amp;</c:v>
                </c:pt>
                <c:pt idx="5">
                  <c:v>Malard</c:v>
                </c:pt>
                <c:pt idx="6">
                  <c:v>Ayala</c:v>
                </c:pt>
                <c:pt idx="7">
                  <c:v>De Bligny</c:v>
                </c:pt>
                <c:pt idx="8">
                  <c:v>Ruinart</c:v>
                </c:pt>
                <c:pt idx="9">
                  <c:v>Taittinger</c:v>
                </c:pt>
                <c:pt idx="10">
                  <c:v>Canard Duch</c:v>
                </c:pt>
                <c:pt idx="11">
                  <c:v>Ruinart</c:v>
                </c:pt>
                <c:pt idx="12">
                  <c:v>Laurent Per</c:v>
                </c:pt>
                <c:pt idx="13">
                  <c:v>Nicolas Feu</c:v>
                </c:pt>
                <c:pt idx="14">
                  <c:v>Bollinger</c:v>
                </c:pt>
                <c:pt idx="15">
                  <c:v>Deutz</c:v>
                </c:pt>
                <c:pt idx="16">
                  <c:v>Besserat De</c:v>
                </c:pt>
                <c:pt idx="17">
                  <c:v>Savian</c:v>
                </c:pt>
                <c:pt idx="18">
                  <c:v>Ruinart</c:v>
                </c:pt>
                <c:pt idx="19">
                  <c:v>Demoiselle</c:v>
                </c:pt>
                <c:pt idx="20">
                  <c:v>Laurent Per</c:v>
                </c:pt>
                <c:pt idx="21">
                  <c:v>Ruinart</c:v>
                </c:pt>
                <c:pt idx="22">
                  <c:v>Taittinger</c:v>
                </c:pt>
                <c:pt idx="23">
                  <c:v>Perrier Jou</c:v>
                </c:pt>
                <c:pt idx="24">
                  <c:v>Ruinart</c:v>
                </c:pt>
                <c:pt idx="25">
                  <c:v>Deutz</c:v>
                </c:pt>
                <c:pt idx="26">
                  <c:v>Dom Perigno</c:v>
                </c:pt>
                <c:pt idx="27">
                  <c:v>Malard</c:v>
                </c:pt>
                <c:pt idx="28">
                  <c:v>Roederer</c:v>
                </c:pt>
                <c:pt idx="29">
                  <c:v>All Others</c:v>
                </c:pt>
                <c:pt idx="30">
                  <c:v>Dom Perigno</c:v>
                </c:pt>
                <c:pt idx="31">
                  <c:v>Ruinart</c:v>
                </c:pt>
                <c:pt idx="32">
                  <c:v>Moët &amp; Chan</c:v>
                </c:pt>
                <c:pt idx="33">
                  <c:v>Pommery</c:v>
                </c:pt>
                <c:pt idx="34">
                  <c:v>All Others</c:v>
                </c:pt>
                <c:pt idx="35">
                  <c:v>Vesselle</c:v>
                </c:pt>
                <c:pt idx="36">
                  <c:v>Campari: Al</c:v>
                </c:pt>
                <c:pt idx="37">
                  <c:v>Laurent Per</c:v>
                </c:pt>
                <c:pt idx="38">
                  <c:v>Henriot</c:v>
                </c:pt>
                <c:pt idx="39">
                  <c:v>Demoiselle</c:v>
                </c:pt>
                <c:pt idx="40">
                  <c:v>Roederer</c:v>
                </c:pt>
                <c:pt idx="41">
                  <c:v>Nicolas</c:v>
                </c:pt>
                <c:pt idx="42">
                  <c:v>Veuve Clicq</c:v>
                </c:pt>
                <c:pt idx="43">
                  <c:v>Dom Perigno</c:v>
                </c:pt>
                <c:pt idx="44">
                  <c:v>Nicolas Feu</c:v>
                </c:pt>
                <c:pt idx="45">
                  <c:v>Nicolas</c:v>
                </c:pt>
                <c:pt idx="46">
                  <c:v>Veuve Clicq</c:v>
                </c:pt>
                <c:pt idx="47">
                  <c:v>Ruinart</c:v>
                </c:pt>
                <c:pt idx="48">
                  <c:v>Nicolas</c:v>
                </c:pt>
                <c:pt idx="49">
                  <c:v>Besserat De</c:v>
                </c:pt>
                <c:pt idx="50">
                  <c:v>Deutz</c:v>
                </c:pt>
                <c:pt idx="51">
                  <c:v>Nicolas Feu</c:v>
                </c:pt>
                <c:pt idx="52">
                  <c:v>De Venoge</c:v>
                </c:pt>
                <c:pt idx="53">
                  <c:v>Malard</c:v>
                </c:pt>
                <c:pt idx="54">
                  <c:v>Lanson</c:v>
                </c:pt>
                <c:pt idx="55">
                  <c:v>Moët &amp; Chan</c:v>
                </c:pt>
                <c:pt idx="56">
                  <c:v>Campari: Al</c:v>
                </c:pt>
                <c:pt idx="57">
                  <c:v>Ruinart</c:v>
                </c:pt>
                <c:pt idx="58">
                  <c:v>Veuve Clicq</c:v>
                </c:pt>
                <c:pt idx="59">
                  <c:v>Bollinger</c:v>
                </c:pt>
                <c:pt idx="60">
                  <c:v>Canard Duch</c:v>
                </c:pt>
                <c:pt idx="61">
                  <c:v>De Bligny</c:v>
                </c:pt>
                <c:pt idx="62">
                  <c:v>Canard Duch</c:v>
                </c:pt>
                <c:pt idx="63">
                  <c:v>Krug</c:v>
                </c:pt>
                <c:pt idx="64">
                  <c:v>Nicolas</c:v>
                </c:pt>
                <c:pt idx="65">
                  <c:v>Ayala</c:v>
                </c:pt>
                <c:pt idx="66">
                  <c:v>Malard</c:v>
                </c:pt>
                <c:pt idx="67">
                  <c:v>All Others</c:v>
                </c:pt>
                <c:pt idx="68">
                  <c:v>Piper Heids</c:v>
                </c:pt>
                <c:pt idx="69">
                  <c:v>Besserat De</c:v>
                </c:pt>
                <c:pt idx="70">
                  <c:v>Canard Duch</c:v>
                </c:pt>
                <c:pt idx="71">
                  <c:v>Laurent Per</c:v>
                </c:pt>
                <c:pt idx="72">
                  <c:v>Malard</c:v>
                </c:pt>
                <c:pt idx="73">
                  <c:v>Ruinart</c:v>
                </c:pt>
                <c:pt idx="74">
                  <c:v>Ruinart</c:v>
                </c:pt>
                <c:pt idx="75">
                  <c:v>Nicolas Feu</c:v>
                </c:pt>
                <c:pt idx="76">
                  <c:v>Pommery</c:v>
                </c:pt>
                <c:pt idx="77">
                  <c:v>Louis Marti</c:v>
                </c:pt>
                <c:pt idx="78">
                  <c:v>Malard</c:v>
                </c:pt>
                <c:pt idx="79">
                  <c:v>Delamotte</c:v>
                </c:pt>
                <c:pt idx="80">
                  <c:v>Henriot</c:v>
                </c:pt>
                <c:pt idx="81">
                  <c:v>Roederer</c:v>
                </c:pt>
                <c:pt idx="82">
                  <c:v>Henriot</c:v>
                </c:pt>
                <c:pt idx="83">
                  <c:v>De Venoge</c:v>
                </c:pt>
                <c:pt idx="84">
                  <c:v>Roederer</c:v>
                </c:pt>
                <c:pt idx="85">
                  <c:v>Ruinart</c:v>
                </c:pt>
                <c:pt idx="86">
                  <c:v>Ruinart</c:v>
                </c:pt>
                <c:pt idx="87">
                  <c:v>Roederer</c:v>
                </c:pt>
                <c:pt idx="88">
                  <c:v>Vranken</c:v>
                </c:pt>
                <c:pt idx="89">
                  <c:v>Nicolas</c:v>
                </c:pt>
                <c:pt idx="90">
                  <c:v>Roederer</c:v>
                </c:pt>
                <c:pt idx="91">
                  <c:v>Roederer</c:v>
                </c:pt>
                <c:pt idx="92">
                  <c:v>De Venoge</c:v>
                </c:pt>
                <c:pt idx="93">
                  <c:v>Perrier Jou</c:v>
                </c:pt>
                <c:pt idx="94">
                  <c:v>Henriot</c:v>
                </c:pt>
                <c:pt idx="95">
                  <c:v>Veuve Clicq</c:v>
                </c:pt>
                <c:pt idx="96">
                  <c:v>Moët &amp; Chan</c:v>
                </c:pt>
                <c:pt idx="97">
                  <c:v>Vranken</c:v>
                </c:pt>
                <c:pt idx="98">
                  <c:v>De Venoge</c:v>
                </c:pt>
                <c:pt idx="99">
                  <c:v>Laurent Per</c:v>
                </c:pt>
                <c:pt idx="100">
                  <c:v>Roederer</c:v>
                </c:pt>
                <c:pt idx="101">
                  <c:v>Deutz</c:v>
                </c:pt>
                <c:pt idx="102">
                  <c:v>All Others</c:v>
                </c:pt>
                <c:pt idx="103">
                  <c:v>Nicolas</c:v>
                </c:pt>
                <c:pt idx="104">
                  <c:v>Demoiselle</c:v>
                </c:pt>
                <c:pt idx="105">
                  <c:v>Nicolas Feu</c:v>
                </c:pt>
                <c:pt idx="106">
                  <c:v>Roederer</c:v>
                </c:pt>
                <c:pt idx="107">
                  <c:v>Nicolas</c:v>
                </c:pt>
                <c:pt idx="108">
                  <c:v>Canard Duch</c:v>
                </c:pt>
                <c:pt idx="109">
                  <c:v>Deutz</c:v>
                </c:pt>
                <c:pt idx="110">
                  <c:v>Deutz</c:v>
                </c:pt>
                <c:pt idx="111">
                  <c:v>Dom Perigno</c:v>
                </c:pt>
                <c:pt idx="112">
                  <c:v>Nicolas</c:v>
                </c:pt>
                <c:pt idx="113">
                  <c:v>Pommery</c:v>
                </c:pt>
                <c:pt idx="114">
                  <c:v>Deutz</c:v>
                </c:pt>
                <c:pt idx="115">
                  <c:v>Laurent Per</c:v>
                </c:pt>
                <c:pt idx="116">
                  <c:v>Bollinger</c:v>
                </c:pt>
                <c:pt idx="117">
                  <c:v>Lanson</c:v>
                </c:pt>
                <c:pt idx="118">
                  <c:v>Demoiselle</c:v>
                </c:pt>
                <c:pt idx="119">
                  <c:v>All Others</c:v>
                </c:pt>
                <c:pt idx="120">
                  <c:v>Nicolas</c:v>
                </c:pt>
                <c:pt idx="121">
                  <c:v>Ruinart</c:v>
                </c:pt>
                <c:pt idx="122">
                  <c:v>Nicolas</c:v>
                </c:pt>
                <c:pt idx="123">
                  <c:v>Nicolas</c:v>
                </c:pt>
                <c:pt idx="124">
                  <c:v>Nicolas</c:v>
                </c:pt>
                <c:pt idx="125">
                  <c:v>Nicolas</c:v>
                </c:pt>
                <c:pt idx="126">
                  <c:v>Deutz</c:v>
                </c:pt>
                <c:pt idx="127">
                  <c:v>Pommery</c:v>
                </c:pt>
                <c:pt idx="128">
                  <c:v>Besserat De</c:v>
                </c:pt>
                <c:pt idx="129">
                  <c:v>Delamotte</c:v>
                </c:pt>
                <c:pt idx="130">
                  <c:v>Ayala</c:v>
                </c:pt>
                <c:pt idx="131">
                  <c:v>Canard Duch</c:v>
                </c:pt>
                <c:pt idx="132">
                  <c:v>Pommery</c:v>
                </c:pt>
                <c:pt idx="133">
                  <c:v>Taittinger</c:v>
                </c:pt>
                <c:pt idx="134">
                  <c:v>Besserat De</c:v>
                </c:pt>
                <c:pt idx="135">
                  <c:v>Roederer</c:v>
                </c:pt>
                <c:pt idx="136">
                  <c:v>Nicolas</c:v>
                </c:pt>
                <c:pt idx="137">
                  <c:v>Bollinger</c:v>
                </c:pt>
                <c:pt idx="138">
                  <c:v>Laurent Per</c:v>
                </c:pt>
                <c:pt idx="139">
                  <c:v>Ruinart</c:v>
                </c:pt>
                <c:pt idx="140">
                  <c:v>Dom Perigno</c:v>
                </c:pt>
                <c:pt idx="141">
                  <c:v>Malard</c:v>
                </c:pt>
                <c:pt idx="142">
                  <c:v>Roederer</c:v>
                </c:pt>
                <c:pt idx="143">
                  <c:v>Moët &amp; Chan</c:v>
                </c:pt>
                <c:pt idx="144">
                  <c:v>Canard Duch</c:v>
                </c:pt>
                <c:pt idx="145">
                  <c:v>Ruinart</c:v>
                </c:pt>
                <c:pt idx="146">
                  <c:v>Ruinart</c:v>
                </c:pt>
                <c:pt idx="147">
                  <c:v>Roederer</c:v>
                </c:pt>
                <c:pt idx="148">
                  <c:v>Perrier Jou</c:v>
                </c:pt>
                <c:pt idx="149">
                  <c:v>Piper Heids</c:v>
                </c:pt>
                <c:pt idx="150">
                  <c:v>Roederer</c:v>
                </c:pt>
                <c:pt idx="151">
                  <c:v>Taittinger</c:v>
                </c:pt>
                <c:pt idx="152">
                  <c:v>Laurent Per</c:v>
                </c:pt>
                <c:pt idx="153">
                  <c:v>All Others</c:v>
                </c:pt>
                <c:pt idx="154">
                  <c:v>Vesselle</c:v>
                </c:pt>
                <c:pt idx="155">
                  <c:v>Nicolas</c:v>
                </c:pt>
                <c:pt idx="156">
                  <c:v>Moët &amp; Chan</c:v>
                </c:pt>
                <c:pt idx="157">
                  <c:v>Roederer</c:v>
                </c:pt>
                <c:pt idx="158">
                  <c:v>Louis Marti</c:v>
                </c:pt>
                <c:pt idx="159">
                  <c:v>Taittinger</c:v>
                </c:pt>
                <c:pt idx="160">
                  <c:v>Ruinart</c:v>
                </c:pt>
                <c:pt idx="161">
                  <c:v>Deutz</c:v>
                </c:pt>
                <c:pt idx="162">
                  <c:v>Piper Heids</c:v>
                </c:pt>
                <c:pt idx="163">
                  <c:v>Vesselle</c:v>
                </c:pt>
                <c:pt idx="164">
                  <c:v>All Others</c:v>
                </c:pt>
                <c:pt idx="165">
                  <c:v>Roederer</c:v>
                </c:pt>
                <c:pt idx="166">
                  <c:v>Nicolas</c:v>
                </c:pt>
                <c:pt idx="167">
                  <c:v>Vranken</c:v>
                </c:pt>
                <c:pt idx="168">
                  <c:v>All Others</c:v>
                </c:pt>
                <c:pt idx="169">
                  <c:v>Henriot</c:v>
                </c:pt>
                <c:pt idx="170">
                  <c:v>Ruinart</c:v>
                </c:pt>
                <c:pt idx="171">
                  <c:v>Perrier Jou</c:v>
                </c:pt>
                <c:pt idx="172">
                  <c:v>Nicolas</c:v>
                </c:pt>
                <c:pt idx="173">
                  <c:v>Ruinart</c:v>
                </c:pt>
                <c:pt idx="174">
                  <c:v>Roederer</c:v>
                </c:pt>
                <c:pt idx="175">
                  <c:v>Ruinart</c:v>
                </c:pt>
                <c:pt idx="176">
                  <c:v>Dom Perigno</c:v>
                </c:pt>
                <c:pt idx="177">
                  <c:v>Roederer</c:v>
                </c:pt>
                <c:pt idx="178">
                  <c:v>Nicolas</c:v>
                </c:pt>
                <c:pt idx="179">
                  <c:v>Laurent Per</c:v>
                </c:pt>
                <c:pt idx="180">
                  <c:v>Besserat De</c:v>
                </c:pt>
                <c:pt idx="181">
                  <c:v>All Others</c:v>
                </c:pt>
                <c:pt idx="182">
                  <c:v>All Others</c:v>
                </c:pt>
                <c:pt idx="183">
                  <c:v>Pommery</c:v>
                </c:pt>
                <c:pt idx="184">
                  <c:v>Bollinger</c:v>
                </c:pt>
                <c:pt idx="185">
                  <c:v>Taittinger</c:v>
                </c:pt>
                <c:pt idx="186">
                  <c:v>Pommery</c:v>
                </c:pt>
                <c:pt idx="187">
                  <c:v>Nicolas Feu</c:v>
                </c:pt>
                <c:pt idx="188">
                  <c:v>Bollinger</c:v>
                </c:pt>
                <c:pt idx="189">
                  <c:v>Pommery</c:v>
                </c:pt>
                <c:pt idx="190">
                  <c:v>Roederer</c:v>
                </c:pt>
                <c:pt idx="191">
                  <c:v>Moët &amp; Chan</c:v>
                </c:pt>
                <c:pt idx="192">
                  <c:v>Demoiselle</c:v>
                </c:pt>
                <c:pt idx="193">
                  <c:v>Dom Perigno</c:v>
                </c:pt>
                <c:pt idx="194">
                  <c:v>Piper Heids</c:v>
                </c:pt>
                <c:pt idx="195">
                  <c:v>Ruinart</c:v>
                </c:pt>
                <c:pt idx="196">
                  <c:v>Ruinart</c:v>
                </c:pt>
                <c:pt idx="197">
                  <c:v>All Others</c:v>
                </c:pt>
                <c:pt idx="198">
                  <c:v>Veuve Clicq</c:v>
                </c:pt>
                <c:pt idx="199">
                  <c:v>Canard Duch</c:v>
                </c:pt>
                <c:pt idx="200">
                  <c:v>Henriot</c:v>
                </c:pt>
                <c:pt idx="201">
                  <c:v>Perrier Jou</c:v>
                </c:pt>
                <c:pt idx="202">
                  <c:v>Pommery</c:v>
                </c:pt>
                <c:pt idx="203">
                  <c:v>Piper Heids</c:v>
                </c:pt>
                <c:pt idx="204">
                  <c:v>Laurent Per</c:v>
                </c:pt>
                <c:pt idx="205">
                  <c:v>De Venoge</c:v>
                </c:pt>
                <c:pt idx="206">
                  <c:v>Nicolas</c:v>
                </c:pt>
                <c:pt idx="207">
                  <c:v>Dom Perigno</c:v>
                </c:pt>
                <c:pt idx="208">
                  <c:v>Dom Perigno</c:v>
                </c:pt>
                <c:pt idx="209">
                  <c:v>Nicolas</c:v>
                </c:pt>
                <c:pt idx="210">
                  <c:v>Moët &amp; Chan</c:v>
                </c:pt>
                <c:pt idx="211">
                  <c:v>All Others</c:v>
                </c:pt>
                <c:pt idx="212">
                  <c:v>Laurent Per</c:v>
                </c:pt>
                <c:pt idx="213">
                  <c:v>All Others</c:v>
                </c:pt>
                <c:pt idx="214">
                  <c:v>De Bligny</c:v>
                </c:pt>
                <c:pt idx="215">
                  <c:v>All Others</c:v>
                </c:pt>
                <c:pt idx="216">
                  <c:v>Ruinart</c:v>
                </c:pt>
                <c:pt idx="217">
                  <c:v>Nicolas Feu</c:v>
                </c:pt>
                <c:pt idx="218">
                  <c:v>Laurent Per</c:v>
                </c:pt>
                <c:pt idx="219">
                  <c:v>Canard Duch</c:v>
                </c:pt>
                <c:pt idx="220">
                  <c:v>Malard</c:v>
                </c:pt>
                <c:pt idx="221">
                  <c:v>All Others</c:v>
                </c:pt>
                <c:pt idx="222">
                  <c:v>De Venoge</c:v>
                </c:pt>
                <c:pt idx="223">
                  <c:v>Roederer</c:v>
                </c:pt>
                <c:pt idx="224">
                  <c:v>Malard</c:v>
                </c:pt>
                <c:pt idx="225">
                  <c:v>Laurent Per</c:v>
                </c:pt>
                <c:pt idx="226">
                  <c:v>Veuve Clicq</c:v>
                </c:pt>
                <c:pt idx="227">
                  <c:v>Ruinart</c:v>
                </c:pt>
                <c:pt idx="228">
                  <c:v>Ruinart</c:v>
                </c:pt>
                <c:pt idx="229">
                  <c:v>Bollinger</c:v>
                </c:pt>
                <c:pt idx="230">
                  <c:v>Roederer</c:v>
                </c:pt>
                <c:pt idx="231">
                  <c:v>De Venoge</c:v>
                </c:pt>
                <c:pt idx="232">
                  <c:v>Bollinger</c:v>
                </c:pt>
                <c:pt idx="233">
                  <c:v>Nicolas Feu</c:v>
                </c:pt>
                <c:pt idx="234">
                  <c:v>Besserat De</c:v>
                </c:pt>
                <c:pt idx="235">
                  <c:v>Bollinger</c:v>
                </c:pt>
                <c:pt idx="236">
                  <c:v>Demoiselle</c:v>
                </c:pt>
                <c:pt idx="237">
                  <c:v>All Others</c:v>
                </c:pt>
                <c:pt idx="238">
                  <c:v>De Venoge</c:v>
                </c:pt>
                <c:pt idx="239">
                  <c:v>All Others</c:v>
                </c:pt>
                <c:pt idx="240">
                  <c:v>All Others</c:v>
                </c:pt>
                <c:pt idx="241">
                  <c:v>All Others</c:v>
                </c:pt>
                <c:pt idx="242">
                  <c:v>Henriot</c:v>
                </c:pt>
                <c:pt idx="243">
                  <c:v>Piper Heids</c:v>
                </c:pt>
                <c:pt idx="244">
                  <c:v>Roederer</c:v>
                </c:pt>
                <c:pt idx="245">
                  <c:v>Delamotte</c:v>
                </c:pt>
                <c:pt idx="246">
                  <c:v>Besserat De</c:v>
                </c:pt>
                <c:pt idx="247">
                  <c:v>Pommery</c:v>
                </c:pt>
                <c:pt idx="248">
                  <c:v>Pommery</c:v>
                </c:pt>
                <c:pt idx="249">
                  <c:v>Besserat De</c:v>
                </c:pt>
                <c:pt idx="250">
                  <c:v>Roederer</c:v>
                </c:pt>
                <c:pt idx="251">
                  <c:v>Roederer</c:v>
                </c:pt>
                <c:pt idx="252">
                  <c:v>Roederer</c:v>
                </c:pt>
                <c:pt idx="253">
                  <c:v>Martel</c:v>
                </c:pt>
                <c:pt idx="254">
                  <c:v>Nicolas</c:v>
                </c:pt>
                <c:pt idx="255">
                  <c:v>Demoiselle</c:v>
                </c:pt>
              </c:strCache>
            </c:strRef>
          </c:cat>
          <c:val>
            <c:numRef>
              <c:f>Sheet1!$C$2:$C$257</c:f>
              <c:numCache>
                <c:formatCode>General</c:formatCode>
                <c:ptCount val="256"/>
                <c:pt idx="0">
                  <c:v>9.991332837657603E-2</c:v>
                </c:pt>
                <c:pt idx="1">
                  <c:v>0.15678624485521542</c:v>
                </c:pt>
                <c:pt idx="2">
                  <c:v>0.20821073954532496</c:v>
                </c:pt>
                <c:pt idx="3">
                  <c:v>0.24979879290066287</c:v>
                </c:pt>
                <c:pt idx="4">
                  <c:v>0.28586794109767821</c:v>
                </c:pt>
                <c:pt idx="5">
                  <c:v>0.31617779573289095</c:v>
                </c:pt>
                <c:pt idx="6">
                  <c:v>0.34644524573912272</c:v>
                </c:pt>
                <c:pt idx="7">
                  <c:v>0.37164706168870704</c:v>
                </c:pt>
                <c:pt idx="8">
                  <c:v>0.39610307190020011</c:v>
                </c:pt>
                <c:pt idx="9">
                  <c:v>0.41900157154993212</c:v>
                </c:pt>
                <c:pt idx="10">
                  <c:v>0.44189749253979371</c:v>
                </c:pt>
                <c:pt idx="11">
                  <c:v>0.4642458780838265</c:v>
                </c:pt>
                <c:pt idx="12">
                  <c:v>0.48659053889693527</c:v>
                </c:pt>
                <c:pt idx="13">
                  <c:v>0.50814068595217732</c:v>
                </c:pt>
                <c:pt idx="14">
                  <c:v>0.52956075394284252</c:v>
                </c:pt>
                <c:pt idx="15">
                  <c:v>0.54642948726213647</c:v>
                </c:pt>
                <c:pt idx="16">
                  <c:v>0.56157825444783005</c:v>
                </c:pt>
                <c:pt idx="17">
                  <c:v>0.57636142496744436</c:v>
                </c:pt>
                <c:pt idx="18">
                  <c:v>0.5903652671706513</c:v>
                </c:pt>
                <c:pt idx="19">
                  <c:v>0.60352989884490349</c:v>
                </c:pt>
                <c:pt idx="20">
                  <c:v>0.61473302991102174</c:v>
                </c:pt>
                <c:pt idx="21">
                  <c:v>0.62567256463482579</c:v>
                </c:pt>
                <c:pt idx="22">
                  <c:v>0.63641669424400127</c:v>
                </c:pt>
                <c:pt idx="23">
                  <c:v>0.64656859163625979</c:v>
                </c:pt>
                <c:pt idx="24">
                  <c:v>0.65635689798678276</c:v>
                </c:pt>
                <c:pt idx="25">
                  <c:v>0.66577788856464615</c:v>
                </c:pt>
                <c:pt idx="26">
                  <c:v>0.67504272696146461</c:v>
                </c:pt>
                <c:pt idx="27">
                  <c:v>0.68367235547685845</c:v>
                </c:pt>
                <c:pt idx="28">
                  <c:v>0.69229768622580157</c:v>
                </c:pt>
                <c:pt idx="29">
                  <c:v>0.70078548844831989</c:v>
                </c:pt>
                <c:pt idx="30">
                  <c:v>0.70891514346660689</c:v>
                </c:pt>
                <c:pt idx="31">
                  <c:v>0.71669438726027401</c:v>
                </c:pt>
                <c:pt idx="32">
                  <c:v>0.72357281920585859</c:v>
                </c:pt>
                <c:pt idx="33">
                  <c:v>0.73039251500994917</c:v>
                </c:pt>
                <c:pt idx="34">
                  <c:v>0.73720905911864254</c:v>
                </c:pt>
                <c:pt idx="35">
                  <c:v>0.74398892895362267</c:v>
                </c:pt>
                <c:pt idx="36">
                  <c:v>0.75020980263223858</c:v>
                </c:pt>
                <c:pt idx="37">
                  <c:v>0.75639142337727072</c:v>
                </c:pt>
                <c:pt idx="38">
                  <c:v>0.76206017732584364</c:v>
                </c:pt>
                <c:pt idx="39">
                  <c:v>0.76772520654349252</c:v>
                </c:pt>
                <c:pt idx="40">
                  <c:v>0.77300601544044212</c:v>
                </c:pt>
                <c:pt idx="41">
                  <c:v>0.77792466588447307</c:v>
                </c:pt>
                <c:pt idx="42">
                  <c:v>0.78279718696859901</c:v>
                </c:pt>
                <c:pt idx="43">
                  <c:v>0.78760867976912396</c:v>
                </c:pt>
                <c:pt idx="44">
                  <c:v>0.79240928489464024</c:v>
                </c:pt>
                <c:pt idx="45">
                  <c:v>0.79720473270041559</c:v>
                </c:pt>
                <c:pt idx="46">
                  <c:v>0.80187669135017192</c:v>
                </c:pt>
                <c:pt idx="47">
                  <c:v>0.80653145893412526</c:v>
                </c:pt>
                <c:pt idx="48">
                  <c:v>0.81109310824497838</c:v>
                </c:pt>
                <c:pt idx="49">
                  <c:v>0.81555619544522706</c:v>
                </c:pt>
                <c:pt idx="50">
                  <c:v>0.81983075395716842</c:v>
                </c:pt>
                <c:pt idx="51">
                  <c:v>0.8240921326519941</c:v>
                </c:pt>
                <c:pt idx="52">
                  <c:v>0.82830766850467819</c:v>
                </c:pt>
                <c:pt idx="53">
                  <c:v>0.83246389518034147</c:v>
                </c:pt>
                <c:pt idx="54">
                  <c:v>0.83652299233421723</c:v>
                </c:pt>
                <c:pt idx="55">
                  <c:v>0.84056060065583915</c:v>
                </c:pt>
                <c:pt idx="56">
                  <c:v>0.84439134315229702</c:v>
                </c:pt>
                <c:pt idx="57">
                  <c:v>0.84818598441056847</c:v>
                </c:pt>
                <c:pt idx="58">
                  <c:v>0.85188865346679332</c:v>
                </c:pt>
                <c:pt idx="59">
                  <c:v>0.85550737281834632</c:v>
                </c:pt>
                <c:pt idx="60">
                  <c:v>0.85893870955264551</c:v>
                </c:pt>
                <c:pt idx="61">
                  <c:v>0.86215487144664249</c:v>
                </c:pt>
                <c:pt idx="62">
                  <c:v>0.86535642093470688</c:v>
                </c:pt>
                <c:pt idx="63">
                  <c:v>0.86851155454510287</c:v>
                </c:pt>
                <c:pt idx="64">
                  <c:v>0.8712566812360949</c:v>
                </c:pt>
                <c:pt idx="65">
                  <c:v>0.87399177980536846</c:v>
                </c:pt>
                <c:pt idx="66">
                  <c:v>0.87670481650686138</c:v>
                </c:pt>
                <c:pt idx="67">
                  <c:v>0.87935138108724897</c:v>
                </c:pt>
                <c:pt idx="68">
                  <c:v>0.88190883864322378</c:v>
                </c:pt>
                <c:pt idx="69">
                  <c:v>0.88442417808798102</c:v>
                </c:pt>
                <c:pt idx="70">
                  <c:v>0.88686874764518209</c:v>
                </c:pt>
                <c:pt idx="71">
                  <c:v>0.88930242952737459</c:v>
                </c:pt>
                <c:pt idx="72">
                  <c:v>0.89172694284113874</c:v>
                </c:pt>
                <c:pt idx="73">
                  <c:v>0.89414056847989432</c:v>
                </c:pt>
                <c:pt idx="74">
                  <c:v>0.8965410143015341</c:v>
                </c:pt>
                <c:pt idx="75">
                  <c:v>0.89893171851921883</c:v>
                </c:pt>
                <c:pt idx="76">
                  <c:v>0.90125050677829388</c:v>
                </c:pt>
                <c:pt idx="77">
                  <c:v>0.9035629916465745</c:v>
                </c:pt>
                <c:pt idx="78">
                  <c:v>0.9058416674187757</c:v>
                </c:pt>
                <c:pt idx="79">
                  <c:v>0.90811403980018246</c:v>
                </c:pt>
                <c:pt idx="80">
                  <c:v>0.91032767604009523</c:v>
                </c:pt>
                <c:pt idx="81">
                  <c:v>0.9125384471023742</c:v>
                </c:pt>
                <c:pt idx="82">
                  <c:v>0.91460194803427319</c:v>
                </c:pt>
                <c:pt idx="83">
                  <c:v>0.91648924054169045</c:v>
                </c:pt>
                <c:pt idx="84">
                  <c:v>0.91837366787147379</c:v>
                </c:pt>
                <c:pt idx="85">
                  <c:v>0.92025121877493588</c:v>
                </c:pt>
                <c:pt idx="86">
                  <c:v>0.92203221319213724</c:v>
                </c:pt>
                <c:pt idx="87">
                  <c:v>0.92378541538629022</c:v>
                </c:pt>
                <c:pt idx="88">
                  <c:v>0.92549592643369893</c:v>
                </c:pt>
                <c:pt idx="89">
                  <c:v>0.92719067900412144</c:v>
                </c:pt>
                <c:pt idx="90">
                  <c:v>0.92882755498634018</c:v>
                </c:pt>
                <c:pt idx="91">
                  <c:v>0.93046013320210808</c:v>
                </c:pt>
                <c:pt idx="92">
                  <c:v>0.93207408776325595</c:v>
                </c:pt>
                <c:pt idx="93">
                  <c:v>0.93367342991847124</c:v>
                </c:pt>
                <c:pt idx="94">
                  <c:v>0.93522635619601813</c:v>
                </c:pt>
                <c:pt idx="95">
                  <c:v>0.93675550149920406</c:v>
                </c:pt>
                <c:pt idx="96">
                  <c:v>0.93826831528987709</c:v>
                </c:pt>
                <c:pt idx="97">
                  <c:v>0.93973757838051553</c:v>
                </c:pt>
                <c:pt idx="98">
                  <c:v>0.94120426281128355</c:v>
                </c:pt>
                <c:pt idx="99">
                  <c:v>0.94266407081573034</c:v>
                </c:pt>
                <c:pt idx="100">
                  <c:v>0.94411986757148969</c:v>
                </c:pt>
                <c:pt idx="101">
                  <c:v>0.94556105192131645</c:v>
                </c:pt>
                <c:pt idx="102">
                  <c:v>0.94698046092112587</c:v>
                </c:pt>
                <c:pt idx="103">
                  <c:v>0.94838411144394918</c:v>
                </c:pt>
                <c:pt idx="104">
                  <c:v>0.94974421126673791</c:v>
                </c:pt>
                <c:pt idx="105">
                  <c:v>0.95107336717108104</c:v>
                </c:pt>
                <c:pt idx="106">
                  <c:v>0.95230854524903397</c:v>
                </c:pt>
                <c:pt idx="107">
                  <c:v>0.95353656038290224</c:v>
                </c:pt>
                <c:pt idx="108">
                  <c:v>0.95469065393381713</c:v>
                </c:pt>
                <c:pt idx="109">
                  <c:v>0.9557785618813901</c:v>
                </c:pt>
                <c:pt idx="110">
                  <c:v>0.95681289100721012</c:v>
                </c:pt>
                <c:pt idx="111">
                  <c:v>0.95782343915866919</c:v>
                </c:pt>
                <c:pt idx="112">
                  <c:v>0.95881507713774483</c:v>
                </c:pt>
                <c:pt idx="113">
                  <c:v>0.95979238922865118</c:v>
                </c:pt>
                <c:pt idx="114">
                  <c:v>0.96076912828403072</c:v>
                </c:pt>
                <c:pt idx="115">
                  <c:v>0.96173956394861582</c:v>
                </c:pt>
                <c:pt idx="116">
                  <c:v>0.9627077074710938</c:v>
                </c:pt>
                <c:pt idx="117">
                  <c:v>0.96363315984682751</c:v>
                </c:pt>
                <c:pt idx="118">
                  <c:v>0.96454829758307936</c:v>
                </c:pt>
                <c:pt idx="119">
                  <c:v>0.96543936782720685</c:v>
                </c:pt>
                <c:pt idx="120">
                  <c:v>0.96632871896475403</c:v>
                </c:pt>
                <c:pt idx="121">
                  <c:v>0.96721233974703347</c:v>
                </c:pt>
                <c:pt idx="122">
                  <c:v>0.96809194928062547</c:v>
                </c:pt>
                <c:pt idx="123">
                  <c:v>0.96896783408329357</c:v>
                </c:pt>
                <c:pt idx="124">
                  <c:v>0.96983741549516711</c:v>
                </c:pt>
                <c:pt idx="125">
                  <c:v>0.97061301908065045</c:v>
                </c:pt>
                <c:pt idx="126">
                  <c:v>0.97132587527595238</c:v>
                </c:pt>
                <c:pt idx="127">
                  <c:v>0.97201724263900047</c:v>
                </c:pt>
                <c:pt idx="128">
                  <c:v>0.97269342456058916</c:v>
                </c:pt>
                <c:pt idx="129">
                  <c:v>0.97335384800519165</c:v>
                </c:pt>
                <c:pt idx="130">
                  <c:v>0.97401283886097723</c:v>
                </c:pt>
                <c:pt idx="131">
                  <c:v>0.97461624527066615</c:v>
                </c:pt>
                <c:pt idx="132">
                  <c:v>0.97521478087837754</c:v>
                </c:pt>
                <c:pt idx="133">
                  <c:v>0.97581045130845501</c:v>
                </c:pt>
                <c:pt idx="134">
                  <c:v>0.97640411611418876</c:v>
                </c:pt>
                <c:pt idx="135">
                  <c:v>0.97698775279820405</c:v>
                </c:pt>
                <c:pt idx="136">
                  <c:v>0.977565945644715</c:v>
                </c:pt>
                <c:pt idx="137">
                  <c:v>0.97812150358791861</c:v>
                </c:pt>
                <c:pt idx="138">
                  <c:v>0.9786750559067785</c:v>
                </c:pt>
                <c:pt idx="139">
                  <c:v>0.97920769242891126</c:v>
                </c:pt>
                <c:pt idx="140">
                  <c:v>0.97972342440300431</c:v>
                </c:pt>
                <c:pt idx="141">
                  <c:v>0.98022081924024074</c:v>
                </c:pt>
                <c:pt idx="142">
                  <c:v>0.98069672524522333</c:v>
                </c:pt>
                <c:pt idx="143">
                  <c:v>0.9811694795548086</c:v>
                </c:pt>
                <c:pt idx="144">
                  <c:v>0.98163650350912623</c:v>
                </c:pt>
                <c:pt idx="145">
                  <c:v>0.98209865666146634</c:v>
                </c:pt>
                <c:pt idx="146">
                  <c:v>0.98255937722498943</c:v>
                </c:pt>
                <c:pt idx="147">
                  <c:v>0.98301895171745901</c:v>
                </c:pt>
                <c:pt idx="148">
                  <c:v>0.98344987443359011</c:v>
                </c:pt>
                <c:pt idx="149">
                  <c:v>0.98387965107866771</c:v>
                </c:pt>
                <c:pt idx="150">
                  <c:v>0.98430169174413384</c:v>
                </c:pt>
                <c:pt idx="151">
                  <c:v>0.98472287285630988</c:v>
                </c:pt>
                <c:pt idx="152">
                  <c:v>0.98513259325795044</c:v>
                </c:pt>
                <c:pt idx="153">
                  <c:v>0.98553830241090368</c:v>
                </c:pt>
                <c:pt idx="154">
                  <c:v>0.9859422924572766</c:v>
                </c:pt>
                <c:pt idx="155">
                  <c:v>0.98632995099113652</c:v>
                </c:pt>
                <c:pt idx="156">
                  <c:v>0.98671646345394293</c:v>
                </c:pt>
                <c:pt idx="157">
                  <c:v>0.987097532079245</c:v>
                </c:pt>
                <c:pt idx="158">
                  <c:v>0.98747201079598923</c:v>
                </c:pt>
                <c:pt idx="159">
                  <c:v>0.98784448388838975</c:v>
                </c:pt>
                <c:pt idx="160">
                  <c:v>0.98821495135644655</c:v>
                </c:pt>
                <c:pt idx="161">
                  <c:v>0.98857023338304395</c:v>
                </c:pt>
                <c:pt idx="162">
                  <c:v>0.98892093112542723</c:v>
                </c:pt>
                <c:pt idx="163">
                  <c:v>0.98925644342635111</c:v>
                </c:pt>
                <c:pt idx="164">
                  <c:v>0.98957075341278444</c:v>
                </c:pt>
                <c:pt idx="165">
                  <c:v>0.98987761393736984</c:v>
                </c:pt>
                <c:pt idx="166">
                  <c:v>0.99018218231984811</c:v>
                </c:pt>
                <c:pt idx="167">
                  <c:v>0.99048589114903629</c:v>
                </c:pt>
                <c:pt idx="168">
                  <c:v>0.99077813926768898</c:v>
                </c:pt>
                <c:pt idx="169">
                  <c:v>0.99106694917318106</c:v>
                </c:pt>
                <c:pt idx="170">
                  <c:v>0.9913523208655125</c:v>
                </c:pt>
                <c:pt idx="171">
                  <c:v>0.9916133385479563</c:v>
                </c:pt>
                <c:pt idx="172">
                  <c:v>0.99186747980407886</c:v>
                </c:pt>
                <c:pt idx="173">
                  <c:v>0.99212162106020141</c:v>
                </c:pt>
                <c:pt idx="174">
                  <c:v>0.99237203758539994</c:v>
                </c:pt>
                <c:pt idx="175">
                  <c:v>0.99260698215137566</c:v>
                </c:pt>
                <c:pt idx="176">
                  <c:v>0.99283619636208365</c:v>
                </c:pt>
                <c:pt idx="177">
                  <c:v>0.99306512405502834</c:v>
                </c:pt>
                <c:pt idx="178">
                  <c:v>0.99328602925059817</c:v>
                </c:pt>
                <c:pt idx="179">
                  <c:v>0.9935060748928779</c:v>
                </c:pt>
                <c:pt idx="180">
                  <c:v>0.9937209632154167</c:v>
                </c:pt>
                <c:pt idx="181">
                  <c:v>0.99393212680703147</c:v>
                </c:pt>
                <c:pt idx="182">
                  <c:v>0.99414042522101242</c:v>
                </c:pt>
                <c:pt idx="183">
                  <c:v>0.99434757756393977</c:v>
                </c:pt>
                <c:pt idx="184">
                  <c:v>0.99454756696278257</c:v>
                </c:pt>
                <c:pt idx="185">
                  <c:v>0.99474612377280835</c:v>
                </c:pt>
                <c:pt idx="186">
                  <c:v>0.99494038281638342</c:v>
                </c:pt>
                <c:pt idx="187">
                  <c:v>0.99512833846916404</c:v>
                </c:pt>
                <c:pt idx="188">
                  <c:v>0.99531486153312765</c:v>
                </c:pt>
                <c:pt idx="189">
                  <c:v>0.99549536772406022</c:v>
                </c:pt>
                <c:pt idx="190">
                  <c:v>0.99566670534656443</c:v>
                </c:pt>
                <c:pt idx="191">
                  <c:v>0.9958308800249841</c:v>
                </c:pt>
                <c:pt idx="192">
                  <c:v>0.99598875131260922</c:v>
                </c:pt>
                <c:pt idx="193">
                  <c:v>0.99614633608247094</c:v>
                </c:pt>
                <c:pt idx="194">
                  <c:v>0.99630334781680596</c:v>
                </c:pt>
                <c:pt idx="195">
                  <c:v>0.99645806740903387</c:v>
                </c:pt>
                <c:pt idx="196">
                  <c:v>0.99661278700126177</c:v>
                </c:pt>
                <c:pt idx="197">
                  <c:v>0.99676578748690936</c:v>
                </c:pt>
                <c:pt idx="198">
                  <c:v>0.99691620931268654</c:v>
                </c:pt>
                <c:pt idx="199">
                  <c:v>0.9970480074838437</c:v>
                </c:pt>
                <c:pt idx="200">
                  <c:v>0.99717837306618384</c:v>
                </c:pt>
                <c:pt idx="201">
                  <c:v>0.99730272177549295</c:v>
                </c:pt>
                <c:pt idx="202">
                  <c:v>0.99742191316506112</c:v>
                </c:pt>
                <c:pt idx="203">
                  <c:v>0.99753652027041517</c:v>
                </c:pt>
                <c:pt idx="204">
                  <c:v>0.99765055434024241</c:v>
                </c:pt>
                <c:pt idx="205">
                  <c:v>0.99776229626796253</c:v>
                </c:pt>
                <c:pt idx="206">
                  <c:v>0.99787346516015596</c:v>
                </c:pt>
                <c:pt idx="207">
                  <c:v>0.99798234191024227</c:v>
                </c:pt>
                <c:pt idx="208">
                  <c:v>0.99809121866032857</c:v>
                </c:pt>
                <c:pt idx="209">
                  <c:v>0.99820009541041488</c:v>
                </c:pt>
                <c:pt idx="210">
                  <c:v>0.99830066314536303</c:v>
                </c:pt>
                <c:pt idx="211">
                  <c:v>0.99838977016977581</c:v>
                </c:pt>
                <c:pt idx="212">
                  <c:v>0.99847543898102797</c:v>
                </c:pt>
                <c:pt idx="213">
                  <c:v>0.9985568100258293</c:v>
                </c:pt>
                <c:pt idx="214">
                  <c:v>0.99863703499957712</c:v>
                </c:pt>
                <c:pt idx="215">
                  <c:v>0.99871296220687411</c:v>
                </c:pt>
                <c:pt idx="216">
                  <c:v>0.99878430512995697</c:v>
                </c:pt>
                <c:pt idx="217">
                  <c:v>0.99885450198198633</c:v>
                </c:pt>
                <c:pt idx="218">
                  <c:v>0.99892212017414517</c:v>
                </c:pt>
                <c:pt idx="219">
                  <c:v>0.9989894518485406</c:v>
                </c:pt>
                <c:pt idx="220">
                  <c:v>0.99905219923872191</c:v>
                </c:pt>
                <c:pt idx="221">
                  <c:v>0.99911007582692568</c:v>
                </c:pt>
                <c:pt idx="222">
                  <c:v>0.99916594679078574</c:v>
                </c:pt>
                <c:pt idx="223">
                  <c:v>0.99921551436385136</c:v>
                </c:pt>
                <c:pt idx="224">
                  <c:v>0.99926307631257327</c:v>
                </c:pt>
                <c:pt idx="225">
                  <c:v>0.99930920567247827</c:v>
                </c:pt>
                <c:pt idx="226">
                  <c:v>0.99935504851461987</c:v>
                </c:pt>
                <c:pt idx="227">
                  <c:v>0.99939688010807404</c:v>
                </c:pt>
                <c:pt idx="228">
                  <c:v>0.99943842518376491</c:v>
                </c:pt>
                <c:pt idx="229">
                  <c:v>0.99947710508182186</c:v>
                </c:pt>
                <c:pt idx="230">
                  <c:v>0.99951492542658871</c:v>
                </c:pt>
                <c:pt idx="231">
                  <c:v>0.99955188621806534</c:v>
                </c:pt>
                <c:pt idx="232">
                  <c:v>0.99958798745625188</c:v>
                </c:pt>
                <c:pt idx="233">
                  <c:v>0.99962322914114821</c:v>
                </c:pt>
                <c:pt idx="234">
                  <c:v>0.99965732475499103</c:v>
                </c:pt>
                <c:pt idx="235">
                  <c:v>0.99969027429778035</c:v>
                </c:pt>
                <c:pt idx="236">
                  <c:v>0.99972121821622595</c:v>
                </c:pt>
                <c:pt idx="237">
                  <c:v>0.99975072954585464</c:v>
                </c:pt>
                <c:pt idx="238">
                  <c:v>0.99977651614455931</c:v>
                </c:pt>
                <c:pt idx="239">
                  <c:v>0.99980087015444707</c:v>
                </c:pt>
                <c:pt idx="240">
                  <c:v>0.99982522416433484</c:v>
                </c:pt>
                <c:pt idx="241">
                  <c:v>0.99984757254987888</c:v>
                </c:pt>
                <c:pt idx="242">
                  <c:v>0.99986820182884262</c:v>
                </c:pt>
                <c:pt idx="243">
                  <c:v>0.99988539289464573</c:v>
                </c:pt>
                <c:pt idx="244">
                  <c:v>0.99989857271176141</c:v>
                </c:pt>
                <c:pt idx="245">
                  <c:v>0.99991146601111369</c:v>
                </c:pt>
                <c:pt idx="246">
                  <c:v>0.99992407279270268</c:v>
                </c:pt>
                <c:pt idx="247">
                  <c:v>0.99993524698547465</c:v>
                </c:pt>
                <c:pt idx="248">
                  <c:v>0.99994584814271992</c:v>
                </c:pt>
                <c:pt idx="249">
                  <c:v>0.99995587626443838</c:v>
                </c:pt>
                <c:pt idx="250">
                  <c:v>0.99996561786839344</c:v>
                </c:pt>
                <c:pt idx="251">
                  <c:v>0.99997392688353159</c:v>
                </c:pt>
                <c:pt idx="252">
                  <c:v>0.99998194938090634</c:v>
                </c:pt>
                <c:pt idx="253">
                  <c:v>0.99998882580722759</c:v>
                </c:pt>
                <c:pt idx="254">
                  <c:v>0.99999512919802203</c:v>
                </c:pt>
                <c:pt idx="255">
                  <c:v>0.99999999999999956</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6</c:f>
              <c:strCache>
                <c:ptCount val="215"/>
                <c:pt idx="0">
                  <c:v>Ruinart</c:v>
                </c:pt>
                <c:pt idx="1">
                  <c:v>Nicolas</c:v>
                </c:pt>
                <c:pt idx="2">
                  <c:v>Deutz</c:v>
                </c:pt>
                <c:pt idx="3">
                  <c:v>Heidsieck &amp;</c:v>
                </c:pt>
                <c:pt idx="4">
                  <c:v>Ruinart</c:v>
                </c:pt>
                <c:pt idx="5">
                  <c:v>Ayala</c:v>
                </c:pt>
                <c:pt idx="6">
                  <c:v>De Bligny</c:v>
                </c:pt>
                <c:pt idx="7">
                  <c:v>Malard</c:v>
                </c:pt>
                <c:pt idx="8">
                  <c:v>Canard Duch</c:v>
                </c:pt>
                <c:pt idx="9">
                  <c:v>Besserat De</c:v>
                </c:pt>
                <c:pt idx="10">
                  <c:v>Laurent Per</c:v>
                </c:pt>
                <c:pt idx="11">
                  <c:v>Campari: Al</c:v>
                </c:pt>
                <c:pt idx="12">
                  <c:v>Bollinger</c:v>
                </c:pt>
                <c:pt idx="13">
                  <c:v>Deutz</c:v>
                </c:pt>
                <c:pt idx="14">
                  <c:v>Taittinger</c:v>
                </c:pt>
                <c:pt idx="15">
                  <c:v>Ruinart</c:v>
                </c:pt>
                <c:pt idx="16">
                  <c:v>Ruinart</c:v>
                </c:pt>
                <c:pt idx="17">
                  <c:v>Nicolas Feu</c:v>
                </c:pt>
                <c:pt idx="18">
                  <c:v>Ruinart</c:v>
                </c:pt>
                <c:pt idx="19">
                  <c:v>Ruinart</c:v>
                </c:pt>
                <c:pt idx="20">
                  <c:v>Demoiselle</c:v>
                </c:pt>
                <c:pt idx="21">
                  <c:v>Savian</c:v>
                </c:pt>
                <c:pt idx="22">
                  <c:v>Deutz</c:v>
                </c:pt>
                <c:pt idx="23">
                  <c:v>Louis Marti</c:v>
                </c:pt>
                <c:pt idx="24">
                  <c:v>All Others</c:v>
                </c:pt>
                <c:pt idx="25">
                  <c:v>Perrier Jou</c:v>
                </c:pt>
                <c:pt idx="26">
                  <c:v>Laurent Per</c:v>
                </c:pt>
                <c:pt idx="27">
                  <c:v>Dom Perigno</c:v>
                </c:pt>
                <c:pt idx="28">
                  <c:v>Henriot</c:v>
                </c:pt>
                <c:pt idx="29">
                  <c:v>Roederer</c:v>
                </c:pt>
                <c:pt idx="30">
                  <c:v>Malard</c:v>
                </c:pt>
                <c:pt idx="31">
                  <c:v>Pommery</c:v>
                </c:pt>
                <c:pt idx="32">
                  <c:v>Besserat De</c:v>
                </c:pt>
                <c:pt idx="33">
                  <c:v>Vesselle</c:v>
                </c:pt>
                <c:pt idx="34">
                  <c:v>Roederer</c:v>
                </c:pt>
                <c:pt idx="35">
                  <c:v>Campari: Al</c:v>
                </c:pt>
                <c:pt idx="36">
                  <c:v>Demoiselle</c:v>
                </c:pt>
                <c:pt idx="37">
                  <c:v>Ruinart</c:v>
                </c:pt>
                <c:pt idx="38">
                  <c:v>Dom Perigno</c:v>
                </c:pt>
                <c:pt idx="39">
                  <c:v>Laurent Per</c:v>
                </c:pt>
                <c:pt idx="40">
                  <c:v>All Others</c:v>
                </c:pt>
                <c:pt idx="41">
                  <c:v>Nicolas</c:v>
                </c:pt>
                <c:pt idx="42">
                  <c:v>Nicolas</c:v>
                </c:pt>
                <c:pt idx="43">
                  <c:v>Moët &amp; Chan</c:v>
                </c:pt>
                <c:pt idx="44">
                  <c:v>Taittinger</c:v>
                </c:pt>
                <c:pt idx="45">
                  <c:v>Malard</c:v>
                </c:pt>
                <c:pt idx="46">
                  <c:v>Nicolas</c:v>
                </c:pt>
                <c:pt idx="47">
                  <c:v>Deutz</c:v>
                </c:pt>
                <c:pt idx="48">
                  <c:v>Ruinart</c:v>
                </c:pt>
                <c:pt idx="49">
                  <c:v>All Others</c:v>
                </c:pt>
                <c:pt idx="50">
                  <c:v>Delamotte</c:v>
                </c:pt>
                <c:pt idx="51">
                  <c:v>Ruinart</c:v>
                </c:pt>
                <c:pt idx="52">
                  <c:v>Besserat De</c:v>
                </c:pt>
                <c:pt idx="53">
                  <c:v>Malard</c:v>
                </c:pt>
                <c:pt idx="54">
                  <c:v>Henriot</c:v>
                </c:pt>
                <c:pt idx="55">
                  <c:v>Veuve Clicq</c:v>
                </c:pt>
                <c:pt idx="56">
                  <c:v>Veuve Clicq</c:v>
                </c:pt>
                <c:pt idx="57">
                  <c:v>Pommery</c:v>
                </c:pt>
                <c:pt idx="58">
                  <c:v>Lanson</c:v>
                </c:pt>
                <c:pt idx="59">
                  <c:v>Nicolas Feu</c:v>
                </c:pt>
                <c:pt idx="60">
                  <c:v>Veuve Clicq</c:v>
                </c:pt>
                <c:pt idx="61">
                  <c:v>Piper Heids</c:v>
                </c:pt>
                <c:pt idx="62">
                  <c:v>Nicolas Feu</c:v>
                </c:pt>
                <c:pt idx="63">
                  <c:v>De Bligny</c:v>
                </c:pt>
                <c:pt idx="64">
                  <c:v>Ayala</c:v>
                </c:pt>
                <c:pt idx="65">
                  <c:v>Canard Duch</c:v>
                </c:pt>
                <c:pt idx="66">
                  <c:v>Ruinart</c:v>
                </c:pt>
                <c:pt idx="67">
                  <c:v>De Venoge</c:v>
                </c:pt>
                <c:pt idx="68">
                  <c:v>Nicolas Feu</c:v>
                </c:pt>
                <c:pt idx="69">
                  <c:v>Roederer</c:v>
                </c:pt>
                <c:pt idx="70">
                  <c:v>Krug</c:v>
                </c:pt>
                <c:pt idx="71">
                  <c:v>Henriot</c:v>
                </c:pt>
                <c:pt idx="72">
                  <c:v>Canard Duch</c:v>
                </c:pt>
                <c:pt idx="73">
                  <c:v>Laurent Per</c:v>
                </c:pt>
                <c:pt idx="74">
                  <c:v>Roederer</c:v>
                </c:pt>
                <c:pt idx="75">
                  <c:v>Bollinger</c:v>
                </c:pt>
                <c:pt idx="76">
                  <c:v>Roederer</c:v>
                </c:pt>
                <c:pt idx="77">
                  <c:v>Roederer</c:v>
                </c:pt>
                <c:pt idx="78">
                  <c:v>Henriot</c:v>
                </c:pt>
                <c:pt idx="79">
                  <c:v>Nicolas</c:v>
                </c:pt>
                <c:pt idx="80">
                  <c:v>Malard</c:v>
                </c:pt>
                <c:pt idx="81">
                  <c:v>De Venoge</c:v>
                </c:pt>
                <c:pt idx="82">
                  <c:v>Nicolas</c:v>
                </c:pt>
                <c:pt idx="83">
                  <c:v>Ruinart</c:v>
                </c:pt>
                <c:pt idx="84">
                  <c:v>Perrier Jou</c:v>
                </c:pt>
                <c:pt idx="85">
                  <c:v>Canard Duch</c:v>
                </c:pt>
                <c:pt idx="86">
                  <c:v>Roederer</c:v>
                </c:pt>
                <c:pt idx="87">
                  <c:v>Ruinart</c:v>
                </c:pt>
                <c:pt idx="88">
                  <c:v>Moët &amp; Chan</c:v>
                </c:pt>
                <c:pt idx="89">
                  <c:v>Deutz</c:v>
                </c:pt>
                <c:pt idx="90">
                  <c:v>Moët &amp; Chan</c:v>
                </c:pt>
                <c:pt idx="91">
                  <c:v>De Venoge</c:v>
                </c:pt>
                <c:pt idx="92">
                  <c:v>Malard</c:v>
                </c:pt>
                <c:pt idx="93">
                  <c:v>Veuve Clicq</c:v>
                </c:pt>
                <c:pt idx="94">
                  <c:v>De Venoge</c:v>
                </c:pt>
                <c:pt idx="95">
                  <c:v>Vranken</c:v>
                </c:pt>
                <c:pt idx="96">
                  <c:v>Roederer</c:v>
                </c:pt>
                <c:pt idx="97">
                  <c:v>Dom Perigno</c:v>
                </c:pt>
                <c:pt idx="98">
                  <c:v>Vranken</c:v>
                </c:pt>
                <c:pt idx="99">
                  <c:v>Bollinger</c:v>
                </c:pt>
                <c:pt idx="100">
                  <c:v>Nicolas</c:v>
                </c:pt>
                <c:pt idx="101">
                  <c:v>Roederer</c:v>
                </c:pt>
                <c:pt idx="102">
                  <c:v>All Others</c:v>
                </c:pt>
                <c:pt idx="103">
                  <c:v>Nicolas</c:v>
                </c:pt>
                <c:pt idx="104">
                  <c:v>Deutz</c:v>
                </c:pt>
                <c:pt idx="105">
                  <c:v>Ruinart</c:v>
                </c:pt>
                <c:pt idx="106">
                  <c:v>Laurent Per</c:v>
                </c:pt>
                <c:pt idx="107">
                  <c:v>Nicolas</c:v>
                </c:pt>
                <c:pt idx="108">
                  <c:v>Nicolas Feu</c:v>
                </c:pt>
                <c:pt idx="109">
                  <c:v>Roederer</c:v>
                </c:pt>
                <c:pt idx="110">
                  <c:v>Roederer</c:v>
                </c:pt>
                <c:pt idx="111">
                  <c:v>Canard Duch</c:v>
                </c:pt>
                <c:pt idx="112">
                  <c:v>Nicolas</c:v>
                </c:pt>
                <c:pt idx="113">
                  <c:v>Deutz</c:v>
                </c:pt>
                <c:pt idx="114">
                  <c:v>Louis Marti</c:v>
                </c:pt>
                <c:pt idx="115">
                  <c:v>Nicolas</c:v>
                </c:pt>
                <c:pt idx="116">
                  <c:v>Nicolas</c:v>
                </c:pt>
                <c:pt idx="117">
                  <c:v>Pommery</c:v>
                </c:pt>
                <c:pt idx="118">
                  <c:v>Laurent Per</c:v>
                </c:pt>
                <c:pt idx="119">
                  <c:v>Nicolas</c:v>
                </c:pt>
                <c:pt idx="120">
                  <c:v>Demoiselle</c:v>
                </c:pt>
                <c:pt idx="121">
                  <c:v>Taittinger</c:v>
                </c:pt>
                <c:pt idx="122">
                  <c:v>Bollinger</c:v>
                </c:pt>
                <c:pt idx="123">
                  <c:v>Ruinart</c:v>
                </c:pt>
                <c:pt idx="124">
                  <c:v>Dom Perigno</c:v>
                </c:pt>
                <c:pt idx="125">
                  <c:v>Ayala</c:v>
                </c:pt>
                <c:pt idx="126">
                  <c:v>Ruinart</c:v>
                </c:pt>
                <c:pt idx="127">
                  <c:v>Besserat De</c:v>
                </c:pt>
                <c:pt idx="128">
                  <c:v>Nicolas</c:v>
                </c:pt>
                <c:pt idx="129">
                  <c:v>Laurent Per</c:v>
                </c:pt>
                <c:pt idx="130">
                  <c:v>Ruinart</c:v>
                </c:pt>
                <c:pt idx="131">
                  <c:v>Roederer</c:v>
                </c:pt>
                <c:pt idx="132">
                  <c:v>Nicolas</c:v>
                </c:pt>
                <c:pt idx="133">
                  <c:v>Perrier Jou</c:v>
                </c:pt>
                <c:pt idx="134">
                  <c:v>Roederer</c:v>
                </c:pt>
                <c:pt idx="135">
                  <c:v>Piper Heids</c:v>
                </c:pt>
                <c:pt idx="136">
                  <c:v>All Others</c:v>
                </c:pt>
                <c:pt idx="137">
                  <c:v>Pommery</c:v>
                </c:pt>
                <c:pt idx="138">
                  <c:v>Nicolas</c:v>
                </c:pt>
                <c:pt idx="139">
                  <c:v>Lanson</c:v>
                </c:pt>
                <c:pt idx="140">
                  <c:v>Vesselle</c:v>
                </c:pt>
                <c:pt idx="141">
                  <c:v>Deutz</c:v>
                </c:pt>
                <c:pt idx="142">
                  <c:v>Vranken</c:v>
                </c:pt>
                <c:pt idx="143">
                  <c:v>Besserat De</c:v>
                </c:pt>
                <c:pt idx="144">
                  <c:v>Ruinart</c:v>
                </c:pt>
                <c:pt idx="145">
                  <c:v>Moët &amp; Chan</c:v>
                </c:pt>
                <c:pt idx="146">
                  <c:v>Pommery</c:v>
                </c:pt>
                <c:pt idx="147">
                  <c:v>Nicolas</c:v>
                </c:pt>
                <c:pt idx="148">
                  <c:v>Delamotte</c:v>
                </c:pt>
                <c:pt idx="149">
                  <c:v>Ruinart</c:v>
                </c:pt>
                <c:pt idx="150">
                  <c:v>Taittinger</c:v>
                </c:pt>
                <c:pt idx="151">
                  <c:v>Ruinart</c:v>
                </c:pt>
                <c:pt idx="152">
                  <c:v>Roederer</c:v>
                </c:pt>
                <c:pt idx="153">
                  <c:v>All Others</c:v>
                </c:pt>
                <c:pt idx="154">
                  <c:v>Ruinart</c:v>
                </c:pt>
                <c:pt idx="155">
                  <c:v>Canard Duch</c:v>
                </c:pt>
                <c:pt idx="156">
                  <c:v>Nicolas</c:v>
                </c:pt>
                <c:pt idx="157">
                  <c:v>Bollinger</c:v>
                </c:pt>
                <c:pt idx="158">
                  <c:v>Demoiselle</c:v>
                </c:pt>
                <c:pt idx="159">
                  <c:v>Piper Heids</c:v>
                </c:pt>
                <c:pt idx="160">
                  <c:v>Roederer</c:v>
                </c:pt>
                <c:pt idx="161">
                  <c:v>Laurent Per</c:v>
                </c:pt>
                <c:pt idx="162">
                  <c:v>Henriot</c:v>
                </c:pt>
                <c:pt idx="163">
                  <c:v>All Others</c:v>
                </c:pt>
                <c:pt idx="164">
                  <c:v>All Others</c:v>
                </c:pt>
                <c:pt idx="165">
                  <c:v>Nicolas</c:v>
                </c:pt>
                <c:pt idx="166">
                  <c:v>All Others</c:v>
                </c:pt>
                <c:pt idx="167">
                  <c:v>Piper Heids</c:v>
                </c:pt>
                <c:pt idx="168">
                  <c:v>Canard Duch</c:v>
                </c:pt>
                <c:pt idx="169">
                  <c:v>Malard</c:v>
                </c:pt>
                <c:pt idx="170">
                  <c:v>Roederer</c:v>
                </c:pt>
                <c:pt idx="171">
                  <c:v>Pommery</c:v>
                </c:pt>
                <c:pt idx="172">
                  <c:v>Pommery</c:v>
                </c:pt>
                <c:pt idx="173">
                  <c:v>Bollinger</c:v>
                </c:pt>
                <c:pt idx="174">
                  <c:v>De Venoge</c:v>
                </c:pt>
                <c:pt idx="175">
                  <c:v>All Others</c:v>
                </c:pt>
                <c:pt idx="176">
                  <c:v>All Others</c:v>
                </c:pt>
                <c:pt idx="177">
                  <c:v>Moët &amp; Chan</c:v>
                </c:pt>
                <c:pt idx="178">
                  <c:v>Piper Heids</c:v>
                </c:pt>
                <c:pt idx="179">
                  <c:v>Ruinart</c:v>
                </c:pt>
                <c:pt idx="180">
                  <c:v>Ruinart</c:v>
                </c:pt>
                <c:pt idx="181">
                  <c:v>Laurent Per</c:v>
                </c:pt>
                <c:pt idx="182">
                  <c:v>Martel</c:v>
                </c:pt>
                <c:pt idx="183">
                  <c:v>Nicolas Feu</c:v>
                </c:pt>
                <c:pt idx="184">
                  <c:v>Vesselle</c:v>
                </c:pt>
                <c:pt idx="185">
                  <c:v>Ruinart</c:v>
                </c:pt>
                <c:pt idx="186">
                  <c:v>De Bligny</c:v>
                </c:pt>
                <c:pt idx="187">
                  <c:v>Roederer</c:v>
                </c:pt>
                <c:pt idx="188">
                  <c:v>Lanson</c:v>
                </c:pt>
                <c:pt idx="189">
                  <c:v>Bollinger</c:v>
                </c:pt>
                <c:pt idx="190">
                  <c:v>De Venoge</c:v>
                </c:pt>
                <c:pt idx="191">
                  <c:v>All Others</c:v>
                </c:pt>
                <c:pt idx="192">
                  <c:v>Veuve Clicq</c:v>
                </c:pt>
                <c:pt idx="193">
                  <c:v>Ayala</c:v>
                </c:pt>
                <c:pt idx="194">
                  <c:v>Pommery</c:v>
                </c:pt>
                <c:pt idx="195">
                  <c:v>Henriot</c:v>
                </c:pt>
                <c:pt idx="196">
                  <c:v>Demoiselle</c:v>
                </c:pt>
                <c:pt idx="197">
                  <c:v>Roederer</c:v>
                </c:pt>
                <c:pt idx="198">
                  <c:v>Roederer</c:v>
                </c:pt>
                <c:pt idx="199">
                  <c:v>Bollinger</c:v>
                </c:pt>
                <c:pt idx="200">
                  <c:v>Bollinger</c:v>
                </c:pt>
                <c:pt idx="201">
                  <c:v>Nicolas</c:v>
                </c:pt>
                <c:pt idx="202">
                  <c:v>Malard</c:v>
                </c:pt>
                <c:pt idx="203">
                  <c:v>Lanson</c:v>
                </c:pt>
                <c:pt idx="204">
                  <c:v>All Others</c:v>
                </c:pt>
                <c:pt idx="205">
                  <c:v>Roederer</c:v>
                </c:pt>
                <c:pt idx="206">
                  <c:v>Ruinart</c:v>
                </c:pt>
                <c:pt idx="207">
                  <c:v>Malard</c:v>
                </c:pt>
                <c:pt idx="208">
                  <c:v>Nicolas</c:v>
                </c:pt>
                <c:pt idx="209">
                  <c:v>Ayala</c:v>
                </c:pt>
                <c:pt idx="210">
                  <c:v>Demoiselle</c:v>
                </c:pt>
                <c:pt idx="211">
                  <c:v>Canard Duch</c:v>
                </c:pt>
                <c:pt idx="212">
                  <c:v>Ayala</c:v>
                </c:pt>
                <c:pt idx="213">
                  <c:v>Nicolas</c:v>
                </c:pt>
                <c:pt idx="214">
                  <c:v>Vesselle</c:v>
                </c:pt>
              </c:strCache>
            </c:strRef>
          </c:cat>
          <c:val>
            <c:numRef>
              <c:f>Sheet1!$B$2:$B$216</c:f>
              <c:numCache>
                <c:formatCode>General</c:formatCode>
                <c:ptCount val="215"/>
                <c:pt idx="0">
                  <c:v>1</c:v>
                </c:pt>
                <c:pt idx="1">
                  <c:v>1</c:v>
                </c:pt>
                <c:pt idx="2">
                  <c:v>1</c:v>
                </c:pt>
                <c:pt idx="3">
                  <c:v>0.98</c:v>
                </c:pt>
                <c:pt idx="4">
                  <c:v>0.84</c:v>
                </c:pt>
                <c:pt idx="5">
                  <c:v>1</c:v>
                </c:pt>
                <c:pt idx="6">
                  <c:v>0.99</c:v>
                </c:pt>
                <c:pt idx="7">
                  <c:v>1</c:v>
                </c:pt>
                <c:pt idx="8">
                  <c:v>0.99</c:v>
                </c:pt>
                <c:pt idx="9">
                  <c:v>0.92</c:v>
                </c:pt>
                <c:pt idx="10">
                  <c:v>0.97</c:v>
                </c:pt>
                <c:pt idx="11">
                  <c:v>0.75</c:v>
                </c:pt>
                <c:pt idx="12">
                  <c:v>0.93</c:v>
                </c:pt>
                <c:pt idx="13">
                  <c:v>0.77</c:v>
                </c:pt>
                <c:pt idx="14">
                  <c:v>0.98</c:v>
                </c:pt>
                <c:pt idx="15">
                  <c:v>0.76</c:v>
                </c:pt>
                <c:pt idx="16">
                  <c:v>0.73</c:v>
                </c:pt>
                <c:pt idx="17">
                  <c:v>1</c:v>
                </c:pt>
                <c:pt idx="18">
                  <c:v>0.86</c:v>
                </c:pt>
                <c:pt idx="19">
                  <c:v>0.73</c:v>
                </c:pt>
                <c:pt idx="20">
                  <c:v>0.87</c:v>
                </c:pt>
                <c:pt idx="21">
                  <c:v>0.84</c:v>
                </c:pt>
                <c:pt idx="22">
                  <c:v>0.92</c:v>
                </c:pt>
                <c:pt idx="23">
                  <c:v>0.7</c:v>
                </c:pt>
                <c:pt idx="24">
                  <c:v>0.84</c:v>
                </c:pt>
                <c:pt idx="25">
                  <c:v>0.82</c:v>
                </c:pt>
                <c:pt idx="26">
                  <c:v>0.81</c:v>
                </c:pt>
                <c:pt idx="27">
                  <c:v>0.47</c:v>
                </c:pt>
                <c:pt idx="28">
                  <c:v>0.68</c:v>
                </c:pt>
                <c:pt idx="29">
                  <c:v>0.67</c:v>
                </c:pt>
                <c:pt idx="30">
                  <c:v>0.84</c:v>
                </c:pt>
                <c:pt idx="31">
                  <c:v>0.76</c:v>
                </c:pt>
                <c:pt idx="32">
                  <c:v>0.52</c:v>
                </c:pt>
                <c:pt idx="33">
                  <c:v>0.68</c:v>
                </c:pt>
                <c:pt idx="34">
                  <c:v>0.68</c:v>
                </c:pt>
                <c:pt idx="35">
                  <c:v>0.76</c:v>
                </c:pt>
                <c:pt idx="36">
                  <c:v>0.79</c:v>
                </c:pt>
                <c:pt idx="37">
                  <c:v>0.67</c:v>
                </c:pt>
                <c:pt idx="38">
                  <c:v>0.34</c:v>
                </c:pt>
                <c:pt idx="39">
                  <c:v>0.56000000000000005</c:v>
                </c:pt>
                <c:pt idx="40">
                  <c:v>0.69</c:v>
                </c:pt>
                <c:pt idx="41">
                  <c:v>0.68</c:v>
                </c:pt>
                <c:pt idx="42">
                  <c:v>0.83</c:v>
                </c:pt>
                <c:pt idx="43">
                  <c:v>0.71</c:v>
                </c:pt>
                <c:pt idx="44">
                  <c:v>0.49</c:v>
                </c:pt>
                <c:pt idx="45">
                  <c:v>0.56999999999999995</c:v>
                </c:pt>
                <c:pt idx="46">
                  <c:v>0.56000000000000005</c:v>
                </c:pt>
                <c:pt idx="47">
                  <c:v>0.77</c:v>
                </c:pt>
                <c:pt idx="48">
                  <c:v>0.33</c:v>
                </c:pt>
                <c:pt idx="49">
                  <c:v>0.65</c:v>
                </c:pt>
                <c:pt idx="50">
                  <c:v>0.51</c:v>
                </c:pt>
                <c:pt idx="51">
                  <c:v>0.6</c:v>
                </c:pt>
                <c:pt idx="52">
                  <c:v>0.63</c:v>
                </c:pt>
                <c:pt idx="53">
                  <c:v>0.66</c:v>
                </c:pt>
                <c:pt idx="54">
                  <c:v>0.65</c:v>
                </c:pt>
                <c:pt idx="55">
                  <c:v>0.56000000000000005</c:v>
                </c:pt>
                <c:pt idx="56">
                  <c:v>0.56999999999999995</c:v>
                </c:pt>
                <c:pt idx="57">
                  <c:v>0.75</c:v>
                </c:pt>
                <c:pt idx="58">
                  <c:v>0.61</c:v>
                </c:pt>
                <c:pt idx="59">
                  <c:v>0.63</c:v>
                </c:pt>
                <c:pt idx="60">
                  <c:v>0.52</c:v>
                </c:pt>
                <c:pt idx="61">
                  <c:v>0.59</c:v>
                </c:pt>
                <c:pt idx="62">
                  <c:v>0.53</c:v>
                </c:pt>
                <c:pt idx="63">
                  <c:v>0.67</c:v>
                </c:pt>
                <c:pt idx="64">
                  <c:v>0.43</c:v>
                </c:pt>
                <c:pt idx="65">
                  <c:v>0.47</c:v>
                </c:pt>
                <c:pt idx="66">
                  <c:v>0.39</c:v>
                </c:pt>
                <c:pt idx="67">
                  <c:v>0.45</c:v>
                </c:pt>
                <c:pt idx="68">
                  <c:v>0.51</c:v>
                </c:pt>
                <c:pt idx="69">
                  <c:v>0.26</c:v>
                </c:pt>
                <c:pt idx="70">
                  <c:v>0.56000000000000005</c:v>
                </c:pt>
                <c:pt idx="71">
                  <c:v>0.43</c:v>
                </c:pt>
                <c:pt idx="72">
                  <c:v>0.72</c:v>
                </c:pt>
                <c:pt idx="73">
                  <c:v>0.32</c:v>
                </c:pt>
                <c:pt idx="74">
                  <c:v>0.53</c:v>
                </c:pt>
                <c:pt idx="75">
                  <c:v>0.39</c:v>
                </c:pt>
                <c:pt idx="76">
                  <c:v>0.27</c:v>
                </c:pt>
                <c:pt idx="77">
                  <c:v>0.34</c:v>
                </c:pt>
                <c:pt idx="78">
                  <c:v>0.47</c:v>
                </c:pt>
                <c:pt idx="79">
                  <c:v>0.51</c:v>
                </c:pt>
                <c:pt idx="80">
                  <c:v>0.4</c:v>
                </c:pt>
                <c:pt idx="81">
                  <c:v>0.48</c:v>
                </c:pt>
                <c:pt idx="82">
                  <c:v>0.36</c:v>
                </c:pt>
                <c:pt idx="83">
                  <c:v>0.18</c:v>
                </c:pt>
                <c:pt idx="84">
                  <c:v>0.4</c:v>
                </c:pt>
                <c:pt idx="85">
                  <c:v>0.44</c:v>
                </c:pt>
                <c:pt idx="86">
                  <c:v>0.19</c:v>
                </c:pt>
                <c:pt idx="87">
                  <c:v>0.36</c:v>
                </c:pt>
                <c:pt idx="88">
                  <c:v>0.46</c:v>
                </c:pt>
                <c:pt idx="89">
                  <c:v>0.56000000000000005</c:v>
                </c:pt>
                <c:pt idx="90">
                  <c:v>0.28000000000000003</c:v>
                </c:pt>
                <c:pt idx="91">
                  <c:v>0.42</c:v>
                </c:pt>
                <c:pt idx="92">
                  <c:v>0.4</c:v>
                </c:pt>
                <c:pt idx="93">
                  <c:v>0.24</c:v>
                </c:pt>
                <c:pt idx="94">
                  <c:v>0.41</c:v>
                </c:pt>
                <c:pt idx="95">
                  <c:v>0.32</c:v>
                </c:pt>
                <c:pt idx="96">
                  <c:v>0.24</c:v>
                </c:pt>
                <c:pt idx="97">
                  <c:v>0.18</c:v>
                </c:pt>
                <c:pt idx="98">
                  <c:v>0.3</c:v>
                </c:pt>
                <c:pt idx="99">
                  <c:v>0.47</c:v>
                </c:pt>
                <c:pt idx="100">
                  <c:v>0.47</c:v>
                </c:pt>
                <c:pt idx="101">
                  <c:v>0.46</c:v>
                </c:pt>
                <c:pt idx="102">
                  <c:v>0.36</c:v>
                </c:pt>
                <c:pt idx="103">
                  <c:v>0.38</c:v>
                </c:pt>
                <c:pt idx="104">
                  <c:v>0.13</c:v>
                </c:pt>
                <c:pt idx="105">
                  <c:v>0.11</c:v>
                </c:pt>
                <c:pt idx="106">
                  <c:v>0.36</c:v>
                </c:pt>
                <c:pt idx="107">
                  <c:v>0.28000000000000003</c:v>
                </c:pt>
                <c:pt idx="108">
                  <c:v>0.4</c:v>
                </c:pt>
                <c:pt idx="109">
                  <c:v>0.27</c:v>
                </c:pt>
                <c:pt idx="110">
                  <c:v>0.27</c:v>
                </c:pt>
                <c:pt idx="111">
                  <c:v>0.11</c:v>
                </c:pt>
                <c:pt idx="112">
                  <c:v>0.16</c:v>
                </c:pt>
                <c:pt idx="113">
                  <c:v>0.23</c:v>
                </c:pt>
                <c:pt idx="114">
                  <c:v>0.26</c:v>
                </c:pt>
                <c:pt idx="115">
                  <c:v>0.18</c:v>
                </c:pt>
                <c:pt idx="116">
                  <c:v>0.32</c:v>
                </c:pt>
                <c:pt idx="117">
                  <c:v>0.11</c:v>
                </c:pt>
                <c:pt idx="118">
                  <c:v>0.26</c:v>
                </c:pt>
                <c:pt idx="119">
                  <c:v>0.46</c:v>
                </c:pt>
                <c:pt idx="120">
                  <c:v>0.31</c:v>
                </c:pt>
                <c:pt idx="121">
                  <c:v>0.27</c:v>
                </c:pt>
                <c:pt idx="122">
                  <c:v>0.1</c:v>
                </c:pt>
                <c:pt idx="123">
                  <c:v>0.21</c:v>
                </c:pt>
                <c:pt idx="124">
                  <c:v>0.22</c:v>
                </c:pt>
                <c:pt idx="125">
                  <c:v>0.31</c:v>
                </c:pt>
                <c:pt idx="126">
                  <c:v>0.19</c:v>
                </c:pt>
                <c:pt idx="127">
                  <c:v>0.26</c:v>
                </c:pt>
                <c:pt idx="128">
                  <c:v>0.18</c:v>
                </c:pt>
                <c:pt idx="129">
                  <c:v>0.14000000000000001</c:v>
                </c:pt>
                <c:pt idx="130">
                  <c:v>0.14000000000000001</c:v>
                </c:pt>
                <c:pt idx="131">
                  <c:v>0.05</c:v>
                </c:pt>
                <c:pt idx="132">
                  <c:v>0.13</c:v>
                </c:pt>
                <c:pt idx="133">
                  <c:v>0.17</c:v>
                </c:pt>
                <c:pt idx="134">
                  <c:v>0.09</c:v>
                </c:pt>
                <c:pt idx="135">
                  <c:v>0.1</c:v>
                </c:pt>
                <c:pt idx="136">
                  <c:v>0.16</c:v>
                </c:pt>
                <c:pt idx="137">
                  <c:v>0.28000000000000003</c:v>
                </c:pt>
                <c:pt idx="138">
                  <c:v>0.13</c:v>
                </c:pt>
                <c:pt idx="139">
                  <c:v>0.25</c:v>
                </c:pt>
                <c:pt idx="140">
                  <c:v>0.19</c:v>
                </c:pt>
                <c:pt idx="141">
                  <c:v>0.02</c:v>
                </c:pt>
                <c:pt idx="142">
                  <c:v>0.12</c:v>
                </c:pt>
                <c:pt idx="143">
                  <c:v>0.3</c:v>
                </c:pt>
                <c:pt idx="144">
                  <c:v>0.06</c:v>
                </c:pt>
                <c:pt idx="145">
                  <c:v>0.25</c:v>
                </c:pt>
                <c:pt idx="146">
                  <c:v>0.26</c:v>
                </c:pt>
                <c:pt idx="147">
                  <c:v>0.13</c:v>
                </c:pt>
                <c:pt idx="148">
                  <c:v>0.52</c:v>
                </c:pt>
                <c:pt idx="149">
                  <c:v>0.1</c:v>
                </c:pt>
                <c:pt idx="150">
                  <c:v>0.1</c:v>
                </c:pt>
                <c:pt idx="151">
                  <c:v>0.14000000000000001</c:v>
                </c:pt>
                <c:pt idx="152">
                  <c:v>0.11</c:v>
                </c:pt>
                <c:pt idx="153">
                  <c:v>0.1</c:v>
                </c:pt>
                <c:pt idx="154">
                  <c:v>7.0000000000000007E-2</c:v>
                </c:pt>
                <c:pt idx="155">
                  <c:v>0.14000000000000001</c:v>
                </c:pt>
                <c:pt idx="156">
                  <c:v>0.05</c:v>
                </c:pt>
                <c:pt idx="157">
                  <c:v>0.09</c:v>
                </c:pt>
                <c:pt idx="158">
                  <c:v>0.09</c:v>
                </c:pt>
                <c:pt idx="159">
                  <c:v>0.18</c:v>
                </c:pt>
                <c:pt idx="160">
                  <c:v>0.09</c:v>
                </c:pt>
                <c:pt idx="161">
                  <c:v>0.22</c:v>
                </c:pt>
                <c:pt idx="162">
                  <c:v>0.1</c:v>
                </c:pt>
                <c:pt idx="163">
                  <c:v>0.18</c:v>
                </c:pt>
                <c:pt idx="164">
                  <c:v>0.05</c:v>
                </c:pt>
                <c:pt idx="165">
                  <c:v>0.22</c:v>
                </c:pt>
                <c:pt idx="166">
                  <c:v>0.09</c:v>
                </c:pt>
                <c:pt idx="167">
                  <c:v>0.06</c:v>
                </c:pt>
                <c:pt idx="168">
                  <c:v>7.0000000000000007E-2</c:v>
                </c:pt>
                <c:pt idx="169">
                  <c:v>0.08</c:v>
                </c:pt>
                <c:pt idx="170">
                  <c:v>0.1</c:v>
                </c:pt>
                <c:pt idx="171">
                  <c:v>0.11</c:v>
                </c:pt>
                <c:pt idx="172">
                  <c:v>0.11</c:v>
                </c:pt>
                <c:pt idx="173">
                  <c:v>0.1</c:v>
                </c:pt>
                <c:pt idx="174">
                  <c:v>0.27</c:v>
                </c:pt>
                <c:pt idx="175">
                  <c:v>0.13</c:v>
                </c:pt>
                <c:pt idx="176">
                  <c:v>0.11</c:v>
                </c:pt>
                <c:pt idx="177">
                  <c:v>0.08</c:v>
                </c:pt>
                <c:pt idx="178">
                  <c:v>0.08</c:v>
                </c:pt>
                <c:pt idx="179">
                  <c:v>0.05</c:v>
                </c:pt>
                <c:pt idx="180">
                  <c:v>0.03</c:v>
                </c:pt>
                <c:pt idx="181">
                  <c:v>0.11</c:v>
                </c:pt>
                <c:pt idx="182">
                  <c:v>0.04</c:v>
                </c:pt>
                <c:pt idx="183">
                  <c:v>7.0000000000000007E-2</c:v>
                </c:pt>
                <c:pt idx="184">
                  <c:v>0.06</c:v>
                </c:pt>
                <c:pt idx="185">
                  <c:v>0.09</c:v>
                </c:pt>
                <c:pt idx="186">
                  <c:v>0.08</c:v>
                </c:pt>
                <c:pt idx="187">
                  <c:v>0.06</c:v>
                </c:pt>
                <c:pt idx="188">
                  <c:v>0.04</c:v>
                </c:pt>
                <c:pt idx="189">
                  <c:v>0.06</c:v>
                </c:pt>
                <c:pt idx="190">
                  <c:v>0.05</c:v>
                </c:pt>
                <c:pt idx="191">
                  <c:v>7.0000000000000007E-2</c:v>
                </c:pt>
                <c:pt idx="192">
                  <c:v>0.05</c:v>
                </c:pt>
                <c:pt idx="193">
                  <c:v>0.22</c:v>
                </c:pt>
                <c:pt idx="194">
                  <c:v>0.08</c:v>
                </c:pt>
                <c:pt idx="195">
                  <c:v>0.09</c:v>
                </c:pt>
                <c:pt idx="196">
                  <c:v>0.1</c:v>
                </c:pt>
                <c:pt idx="197">
                  <c:v>0.04</c:v>
                </c:pt>
                <c:pt idx="198">
                  <c:v>0.02</c:v>
                </c:pt>
                <c:pt idx="199">
                  <c:v>0.03</c:v>
                </c:pt>
                <c:pt idx="200">
                  <c:v>0.04</c:v>
                </c:pt>
                <c:pt idx="201">
                  <c:v>0.1</c:v>
                </c:pt>
                <c:pt idx="202">
                  <c:v>0.02</c:v>
                </c:pt>
                <c:pt idx="203">
                  <c:v>0.08</c:v>
                </c:pt>
                <c:pt idx="204">
                  <c:v>7.0000000000000007E-2</c:v>
                </c:pt>
                <c:pt idx="205">
                  <c:v>0.08</c:v>
                </c:pt>
                <c:pt idx="206">
                  <c:v>0.1</c:v>
                </c:pt>
                <c:pt idx="207">
                  <c:v>0.05</c:v>
                </c:pt>
                <c:pt idx="208">
                  <c:v>0.08</c:v>
                </c:pt>
                <c:pt idx="209">
                  <c:v>0.06</c:v>
                </c:pt>
                <c:pt idx="210">
                  <c:v>0.09</c:v>
                </c:pt>
                <c:pt idx="211">
                  <c:v>0.06</c:v>
                </c:pt>
                <c:pt idx="212">
                  <c:v>0.08</c:v>
                </c:pt>
                <c:pt idx="213">
                  <c:v>0.03</c:v>
                </c:pt>
                <c:pt idx="214">
                  <c:v>0.03</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7ECAC4"/>
              </a:solidFill>
            </c:spPr>
            <c:extLst>
              <c:ext xmlns:c16="http://schemas.microsoft.com/office/drawing/2014/chart" uri="{C3380CC4-5D6E-409C-BE32-E72D297353CC}">
                <c16:uniqueId val="{0000008D-2993-41DE-A2CB-63102DE87051}"/>
              </c:ext>
            </c:extLst>
          </c:dPt>
          <c:dPt>
            <c:idx val="43"/>
            <c:invertIfNegative val="1"/>
            <c:bubble3D val="0"/>
            <c:spPr>
              <a:solidFill>
                <a:srgbClr val="7ECAC4"/>
              </a:solidFill>
            </c:spPr>
            <c:extLst>
              <c:ext xmlns:c16="http://schemas.microsoft.com/office/drawing/2014/chart" uri="{C3380CC4-5D6E-409C-BE32-E72D297353CC}">
                <c16:uniqueId val="{0000008F-2993-41DE-A2CB-63102DE87051}"/>
              </c:ext>
            </c:extLst>
          </c:dPt>
          <c:dPt>
            <c:idx val="44"/>
            <c:invertIfNegative val="1"/>
            <c:bubble3D val="0"/>
            <c:spPr>
              <a:solidFill>
                <a:srgbClr val="7ECAC4"/>
              </a:solidFill>
            </c:spPr>
            <c:extLst>
              <c:ext xmlns:c16="http://schemas.microsoft.com/office/drawing/2014/chart" uri="{C3380CC4-5D6E-409C-BE32-E72D297353CC}">
                <c16:uniqueId val="{00000091-2993-41DE-A2CB-63102DE87051}"/>
              </c:ext>
            </c:extLst>
          </c:dPt>
          <c:dPt>
            <c:idx val="45"/>
            <c:invertIfNegative val="1"/>
            <c:bubble3D val="0"/>
            <c:spPr>
              <a:solidFill>
                <a:srgbClr val="7ECAC4"/>
              </a:solidFill>
            </c:spPr>
            <c:extLst>
              <c:ext xmlns:c16="http://schemas.microsoft.com/office/drawing/2014/chart" uri="{C3380CC4-5D6E-409C-BE32-E72D297353CC}">
                <c16:uniqueId val="{00000093-2993-41DE-A2CB-63102DE87051}"/>
              </c:ext>
            </c:extLst>
          </c:dPt>
          <c:dPt>
            <c:idx val="46"/>
            <c:invertIfNegative val="1"/>
            <c:bubble3D val="0"/>
            <c:spPr>
              <a:solidFill>
                <a:srgbClr val="7ECAC4"/>
              </a:solidFill>
            </c:spPr>
            <c:extLst>
              <c:ext xmlns:c16="http://schemas.microsoft.com/office/drawing/2014/chart" uri="{C3380CC4-5D6E-409C-BE32-E72D297353CC}">
                <c16:uniqueId val="{00000095-2993-41DE-A2CB-63102DE87051}"/>
              </c:ext>
            </c:extLst>
          </c:dPt>
          <c:dPt>
            <c:idx val="47"/>
            <c:invertIfNegative val="1"/>
            <c:bubble3D val="0"/>
            <c:spPr>
              <a:solidFill>
                <a:srgbClr val="7ECAC4"/>
              </a:solidFill>
            </c:spPr>
            <c:extLst>
              <c:ext xmlns:c16="http://schemas.microsoft.com/office/drawing/2014/chart" uri="{C3380CC4-5D6E-409C-BE32-E72D297353CC}">
                <c16:uniqueId val="{00000097-2993-41DE-A2CB-63102DE87051}"/>
              </c:ext>
            </c:extLst>
          </c:dPt>
          <c:dPt>
            <c:idx val="48"/>
            <c:invertIfNegative val="1"/>
            <c:bubble3D val="0"/>
            <c:spPr>
              <a:solidFill>
                <a:srgbClr val="7ECAC4"/>
              </a:solidFill>
            </c:spPr>
            <c:extLst>
              <c:ext xmlns:c16="http://schemas.microsoft.com/office/drawing/2014/chart" uri="{C3380CC4-5D6E-409C-BE32-E72D297353CC}">
                <c16:uniqueId val="{00000099-2993-41DE-A2CB-63102DE87051}"/>
              </c:ext>
            </c:extLst>
          </c:dPt>
          <c:dPt>
            <c:idx val="49"/>
            <c:invertIfNegative val="1"/>
            <c:bubble3D val="0"/>
            <c:spPr>
              <a:solidFill>
                <a:srgbClr val="7ECAC4"/>
              </a:solidFill>
            </c:spPr>
            <c:extLst>
              <c:ext xmlns:c16="http://schemas.microsoft.com/office/drawing/2014/chart" uri="{C3380CC4-5D6E-409C-BE32-E72D297353CC}">
                <c16:uniqueId val="{0000009B-2993-41DE-A2CB-63102DE87051}"/>
              </c:ext>
            </c:extLst>
          </c:dPt>
          <c:dPt>
            <c:idx val="50"/>
            <c:invertIfNegative val="1"/>
            <c:bubble3D val="0"/>
            <c:spPr>
              <a:solidFill>
                <a:srgbClr val="7ECAC4"/>
              </a:solidFill>
            </c:spPr>
            <c:extLst>
              <c:ext xmlns:c16="http://schemas.microsoft.com/office/drawing/2014/chart" uri="{C3380CC4-5D6E-409C-BE32-E72D297353CC}">
                <c16:uniqueId val="{0000009D-2993-41DE-A2CB-63102DE87051}"/>
              </c:ext>
            </c:extLst>
          </c:dPt>
          <c:dPt>
            <c:idx val="51"/>
            <c:invertIfNegative val="1"/>
            <c:bubble3D val="0"/>
            <c:spPr>
              <a:solidFill>
                <a:srgbClr val="7ECAC4"/>
              </a:solidFill>
            </c:spPr>
            <c:extLst>
              <c:ext xmlns:c16="http://schemas.microsoft.com/office/drawing/2014/chart" uri="{C3380CC4-5D6E-409C-BE32-E72D297353CC}">
                <c16:uniqueId val="{0000009F-2993-41DE-A2CB-63102DE87051}"/>
              </c:ext>
            </c:extLst>
          </c:dPt>
          <c:dPt>
            <c:idx val="52"/>
            <c:invertIfNegative val="1"/>
            <c:bubble3D val="0"/>
            <c:spPr>
              <a:solidFill>
                <a:srgbClr val="7ECAC4"/>
              </a:solidFill>
            </c:spPr>
            <c:extLst>
              <c:ext xmlns:c16="http://schemas.microsoft.com/office/drawing/2014/chart" uri="{C3380CC4-5D6E-409C-BE32-E72D297353CC}">
                <c16:uniqueId val="{000000A1-2993-41DE-A2CB-63102DE87051}"/>
              </c:ext>
            </c:extLst>
          </c:dPt>
          <c:dPt>
            <c:idx val="53"/>
            <c:invertIfNegative val="1"/>
            <c:bubble3D val="0"/>
            <c:spPr>
              <a:solidFill>
                <a:srgbClr val="7ECAC4"/>
              </a:solidFill>
            </c:spPr>
            <c:extLst>
              <c:ext xmlns:c16="http://schemas.microsoft.com/office/drawing/2014/chart" uri="{C3380CC4-5D6E-409C-BE32-E72D297353CC}">
                <c16:uniqueId val="{000000A3-2993-41DE-A2CB-63102DE87051}"/>
              </c:ext>
            </c:extLst>
          </c:dPt>
          <c:dPt>
            <c:idx val="54"/>
            <c:invertIfNegative val="0"/>
            <c:bubble3D val="0"/>
            <c:spPr>
              <a:solidFill>
                <a:srgbClr val="7ECAC4"/>
              </a:solidFill>
            </c:spPr>
            <c:extLst>
              <c:ext xmlns:c16="http://schemas.microsoft.com/office/drawing/2014/chart" uri="{C3380CC4-5D6E-409C-BE32-E72D297353CC}">
                <c16:uniqueId val="{00000072-C76F-4230-900D-40618C09729F}"/>
              </c:ext>
            </c:extLst>
          </c:dPt>
          <c:dPt>
            <c:idx val="55"/>
            <c:invertIfNegative val="0"/>
            <c:bubble3D val="0"/>
            <c:spPr>
              <a:solidFill>
                <a:srgbClr val="7ECAC4"/>
              </a:solidFill>
            </c:spPr>
            <c:extLst>
              <c:ext xmlns:c16="http://schemas.microsoft.com/office/drawing/2014/chart" uri="{C3380CC4-5D6E-409C-BE32-E72D297353CC}">
                <c16:uniqueId val="{00000074-C76F-4230-900D-40618C09729F}"/>
              </c:ext>
            </c:extLst>
          </c:dPt>
          <c:dPt>
            <c:idx val="56"/>
            <c:invertIfNegative val="0"/>
            <c:bubble3D val="0"/>
            <c:spPr>
              <a:solidFill>
                <a:srgbClr val="7ECAC4"/>
              </a:solidFill>
            </c:spPr>
            <c:extLst>
              <c:ext xmlns:c16="http://schemas.microsoft.com/office/drawing/2014/chart" uri="{C3380CC4-5D6E-409C-BE32-E72D297353CC}">
                <c16:uniqueId val="{00000076-C76F-4230-900D-40618C09729F}"/>
              </c:ext>
            </c:extLst>
          </c:dPt>
          <c:dPt>
            <c:idx val="57"/>
            <c:invertIfNegative val="0"/>
            <c:bubble3D val="0"/>
            <c:spPr>
              <a:solidFill>
                <a:srgbClr val="7ECAC4"/>
              </a:solidFill>
            </c:spPr>
            <c:extLst>
              <c:ext xmlns:c16="http://schemas.microsoft.com/office/drawing/2014/chart" uri="{C3380CC4-5D6E-409C-BE32-E72D297353CC}">
                <c16:uniqueId val="{00000078-C76F-4230-900D-40618C09729F}"/>
              </c:ext>
            </c:extLst>
          </c:dPt>
          <c:dPt>
            <c:idx val="58"/>
            <c:invertIfNegative val="0"/>
            <c:bubble3D val="0"/>
            <c:spPr>
              <a:solidFill>
                <a:srgbClr val="7ECAC4"/>
              </a:solidFill>
            </c:spPr>
            <c:extLst>
              <c:ext xmlns:c16="http://schemas.microsoft.com/office/drawing/2014/chart" uri="{C3380CC4-5D6E-409C-BE32-E72D297353CC}">
                <c16:uniqueId val="{0000007A-C76F-4230-900D-40618C09729F}"/>
              </c:ext>
            </c:extLst>
          </c:dPt>
          <c:dPt>
            <c:idx val="59"/>
            <c:invertIfNegative val="0"/>
            <c:bubble3D val="0"/>
            <c:spPr>
              <a:solidFill>
                <a:srgbClr val="7ECAC4"/>
              </a:solidFill>
            </c:spPr>
            <c:extLst>
              <c:ext xmlns:c16="http://schemas.microsoft.com/office/drawing/2014/chart" uri="{C3380CC4-5D6E-409C-BE32-E72D297353CC}">
                <c16:uniqueId val="{0000007C-C76F-4230-900D-40618C09729F}"/>
              </c:ext>
            </c:extLst>
          </c:dPt>
          <c:dPt>
            <c:idx val="60"/>
            <c:invertIfNegative val="0"/>
            <c:bubble3D val="0"/>
            <c:spPr>
              <a:solidFill>
                <a:srgbClr val="7ECAC4"/>
              </a:solidFill>
            </c:spPr>
            <c:extLst>
              <c:ext xmlns:c16="http://schemas.microsoft.com/office/drawing/2014/chart" uri="{C3380CC4-5D6E-409C-BE32-E72D297353CC}">
                <c16:uniqueId val="{0000007E-C76F-4230-900D-40618C09729F}"/>
              </c:ext>
            </c:extLst>
          </c:dPt>
          <c:dPt>
            <c:idx val="61"/>
            <c:invertIfNegative val="0"/>
            <c:bubble3D val="0"/>
            <c:spPr>
              <a:solidFill>
                <a:srgbClr val="7ECAC4"/>
              </a:solidFill>
            </c:spPr>
            <c:extLst>
              <c:ext xmlns:c16="http://schemas.microsoft.com/office/drawing/2014/chart" uri="{C3380CC4-5D6E-409C-BE32-E72D297353CC}">
                <c16:uniqueId val="{00000080-C76F-4230-900D-40618C09729F}"/>
              </c:ext>
            </c:extLst>
          </c:dPt>
          <c:dPt>
            <c:idx val="62"/>
            <c:invertIfNegative val="0"/>
            <c:bubble3D val="0"/>
            <c:spPr>
              <a:solidFill>
                <a:srgbClr val="7ECAC4"/>
              </a:solidFill>
            </c:spPr>
            <c:extLst>
              <c:ext xmlns:c16="http://schemas.microsoft.com/office/drawing/2014/chart" uri="{C3380CC4-5D6E-409C-BE32-E72D297353CC}">
                <c16:uniqueId val="{00000082-C76F-4230-900D-40618C09729F}"/>
              </c:ext>
            </c:extLst>
          </c:dPt>
          <c:dPt>
            <c:idx val="63"/>
            <c:invertIfNegative val="0"/>
            <c:bubble3D val="0"/>
            <c:spPr>
              <a:solidFill>
                <a:srgbClr val="7ECAC4"/>
              </a:solidFill>
            </c:spPr>
            <c:extLst>
              <c:ext xmlns:c16="http://schemas.microsoft.com/office/drawing/2014/chart" uri="{C3380CC4-5D6E-409C-BE32-E72D297353CC}">
                <c16:uniqueId val="{00000084-C76F-4230-900D-40618C09729F}"/>
              </c:ext>
            </c:extLst>
          </c:dPt>
          <c:dPt>
            <c:idx val="64"/>
            <c:invertIfNegative val="0"/>
            <c:bubble3D val="0"/>
            <c:spPr>
              <a:solidFill>
                <a:srgbClr val="7ECAC4"/>
              </a:solidFill>
            </c:spPr>
            <c:extLst>
              <c:ext xmlns:c16="http://schemas.microsoft.com/office/drawing/2014/chart" uri="{C3380CC4-5D6E-409C-BE32-E72D297353CC}">
                <c16:uniqueId val="{00000086-C76F-4230-900D-40618C09729F}"/>
              </c:ext>
            </c:extLst>
          </c:dPt>
          <c:dPt>
            <c:idx val="65"/>
            <c:invertIfNegative val="0"/>
            <c:bubble3D val="0"/>
            <c:spPr>
              <a:solidFill>
                <a:srgbClr val="7ECAC4"/>
              </a:solidFill>
            </c:spPr>
            <c:extLst>
              <c:ext xmlns:c16="http://schemas.microsoft.com/office/drawing/2014/chart" uri="{C3380CC4-5D6E-409C-BE32-E72D297353CC}">
                <c16:uniqueId val="{00000088-C76F-4230-900D-40618C09729F}"/>
              </c:ext>
            </c:extLst>
          </c:dPt>
          <c:dPt>
            <c:idx val="66"/>
            <c:invertIfNegative val="0"/>
            <c:bubble3D val="0"/>
            <c:spPr>
              <a:solidFill>
                <a:srgbClr val="7ECAC4"/>
              </a:solidFill>
            </c:spPr>
            <c:extLst>
              <c:ext xmlns:c16="http://schemas.microsoft.com/office/drawing/2014/chart" uri="{C3380CC4-5D6E-409C-BE32-E72D297353CC}">
                <c16:uniqueId val="{0000008A-C76F-4230-900D-40618C09729F}"/>
              </c:ext>
            </c:extLst>
          </c:dPt>
          <c:dPt>
            <c:idx val="67"/>
            <c:invertIfNegative val="0"/>
            <c:bubble3D val="0"/>
            <c:spPr>
              <a:solidFill>
                <a:srgbClr val="7ECAC4"/>
              </a:solidFill>
            </c:spPr>
            <c:extLst>
              <c:ext xmlns:c16="http://schemas.microsoft.com/office/drawing/2014/chart" uri="{C3380CC4-5D6E-409C-BE32-E72D297353CC}">
                <c16:uniqueId val="{0000008C-C76F-4230-900D-40618C09729F}"/>
              </c:ext>
            </c:extLst>
          </c:dPt>
          <c:dPt>
            <c:idx val="68"/>
            <c:invertIfNegative val="0"/>
            <c:bubble3D val="0"/>
            <c:spPr>
              <a:solidFill>
                <a:srgbClr val="7ECAC4"/>
              </a:solidFill>
            </c:spPr>
            <c:extLst>
              <c:ext xmlns:c16="http://schemas.microsoft.com/office/drawing/2014/chart" uri="{C3380CC4-5D6E-409C-BE32-E72D297353CC}">
                <c16:uniqueId val="{0000008E-C76F-4230-900D-40618C09729F}"/>
              </c:ext>
            </c:extLst>
          </c:dPt>
          <c:dPt>
            <c:idx val="69"/>
            <c:invertIfNegative val="0"/>
            <c:bubble3D val="0"/>
            <c:spPr>
              <a:solidFill>
                <a:srgbClr val="7ECAC4"/>
              </a:solidFill>
            </c:spPr>
            <c:extLst>
              <c:ext xmlns:c16="http://schemas.microsoft.com/office/drawing/2014/chart" uri="{C3380CC4-5D6E-409C-BE32-E72D297353CC}">
                <c16:uniqueId val="{00000090-C76F-4230-900D-40618C09729F}"/>
              </c:ext>
            </c:extLst>
          </c:dPt>
          <c:dPt>
            <c:idx val="70"/>
            <c:invertIfNegative val="0"/>
            <c:bubble3D val="0"/>
            <c:spPr>
              <a:solidFill>
                <a:srgbClr val="7ECAC4"/>
              </a:solidFill>
            </c:spPr>
            <c:extLst>
              <c:ext xmlns:c16="http://schemas.microsoft.com/office/drawing/2014/chart" uri="{C3380CC4-5D6E-409C-BE32-E72D297353CC}">
                <c16:uniqueId val="{00000092-C76F-4230-900D-40618C09729F}"/>
              </c:ext>
            </c:extLst>
          </c:dPt>
          <c:dPt>
            <c:idx val="71"/>
            <c:invertIfNegative val="0"/>
            <c:bubble3D val="0"/>
            <c:spPr>
              <a:solidFill>
                <a:srgbClr val="7ECAC4"/>
              </a:solidFill>
            </c:spPr>
            <c:extLst>
              <c:ext xmlns:c16="http://schemas.microsoft.com/office/drawing/2014/chart" uri="{C3380CC4-5D6E-409C-BE32-E72D297353CC}">
                <c16:uniqueId val="{00000094-C76F-4230-900D-40618C09729F}"/>
              </c:ext>
            </c:extLst>
          </c:dPt>
          <c:dPt>
            <c:idx val="72"/>
            <c:invertIfNegative val="0"/>
            <c:bubble3D val="0"/>
            <c:spPr>
              <a:solidFill>
                <a:srgbClr val="7ECAC4"/>
              </a:solidFill>
            </c:spPr>
            <c:extLst>
              <c:ext xmlns:c16="http://schemas.microsoft.com/office/drawing/2014/chart" uri="{C3380CC4-5D6E-409C-BE32-E72D297353CC}">
                <c16:uniqueId val="{00000096-C76F-4230-900D-40618C09729F}"/>
              </c:ext>
            </c:extLst>
          </c:dPt>
          <c:dPt>
            <c:idx val="73"/>
            <c:invertIfNegative val="0"/>
            <c:bubble3D val="0"/>
            <c:spPr>
              <a:solidFill>
                <a:srgbClr val="7ECAC4"/>
              </a:solidFill>
            </c:spPr>
            <c:extLst>
              <c:ext xmlns:c16="http://schemas.microsoft.com/office/drawing/2014/chart" uri="{C3380CC4-5D6E-409C-BE32-E72D297353CC}">
                <c16:uniqueId val="{00000098-C76F-4230-900D-40618C09729F}"/>
              </c:ext>
            </c:extLst>
          </c:dPt>
          <c:dPt>
            <c:idx val="74"/>
            <c:invertIfNegative val="0"/>
            <c:bubble3D val="0"/>
            <c:spPr>
              <a:solidFill>
                <a:srgbClr val="7ECAC4"/>
              </a:solidFill>
            </c:spPr>
            <c:extLst>
              <c:ext xmlns:c16="http://schemas.microsoft.com/office/drawing/2014/chart" uri="{C3380CC4-5D6E-409C-BE32-E72D297353CC}">
                <c16:uniqueId val="{0000009A-C76F-4230-900D-40618C09729F}"/>
              </c:ext>
            </c:extLst>
          </c:dPt>
          <c:dPt>
            <c:idx val="75"/>
            <c:invertIfNegative val="0"/>
            <c:bubble3D val="0"/>
            <c:spPr>
              <a:solidFill>
                <a:srgbClr val="7ECAC4"/>
              </a:solidFill>
            </c:spPr>
            <c:extLst>
              <c:ext xmlns:c16="http://schemas.microsoft.com/office/drawing/2014/chart" uri="{C3380CC4-5D6E-409C-BE32-E72D297353CC}">
                <c16:uniqueId val="{0000009C-C76F-4230-900D-40618C09729F}"/>
              </c:ext>
            </c:extLst>
          </c:dPt>
          <c:dPt>
            <c:idx val="76"/>
            <c:invertIfNegative val="0"/>
            <c:bubble3D val="0"/>
            <c:spPr>
              <a:solidFill>
                <a:srgbClr val="7ECAC4"/>
              </a:solidFill>
            </c:spPr>
            <c:extLst>
              <c:ext xmlns:c16="http://schemas.microsoft.com/office/drawing/2014/chart" uri="{C3380CC4-5D6E-409C-BE32-E72D297353CC}">
                <c16:uniqueId val="{0000009E-C76F-4230-900D-40618C09729F}"/>
              </c:ext>
            </c:extLst>
          </c:dPt>
          <c:dPt>
            <c:idx val="77"/>
            <c:invertIfNegative val="0"/>
            <c:bubble3D val="0"/>
            <c:spPr>
              <a:solidFill>
                <a:srgbClr val="7ECAC4"/>
              </a:solidFill>
            </c:spPr>
            <c:extLst>
              <c:ext xmlns:c16="http://schemas.microsoft.com/office/drawing/2014/chart" uri="{C3380CC4-5D6E-409C-BE32-E72D297353CC}">
                <c16:uniqueId val="{000000A0-C76F-4230-900D-40618C09729F}"/>
              </c:ext>
            </c:extLst>
          </c:dPt>
          <c:dPt>
            <c:idx val="78"/>
            <c:invertIfNegative val="0"/>
            <c:bubble3D val="0"/>
            <c:spPr>
              <a:solidFill>
                <a:srgbClr val="7ECAC4"/>
              </a:solidFill>
            </c:spPr>
            <c:extLst>
              <c:ext xmlns:c16="http://schemas.microsoft.com/office/drawing/2014/chart" uri="{C3380CC4-5D6E-409C-BE32-E72D297353CC}">
                <c16:uniqueId val="{000000A2-C76F-4230-900D-40618C09729F}"/>
              </c:ext>
            </c:extLst>
          </c:dPt>
          <c:dPt>
            <c:idx val="79"/>
            <c:invertIfNegative val="0"/>
            <c:bubble3D val="0"/>
            <c:spPr>
              <a:solidFill>
                <a:srgbClr val="7ECAC4"/>
              </a:solidFill>
            </c:spPr>
            <c:extLst>
              <c:ext xmlns:c16="http://schemas.microsoft.com/office/drawing/2014/chart" uri="{C3380CC4-5D6E-409C-BE32-E72D297353CC}">
                <c16:uniqueId val="{000000A4-C76F-4230-900D-40618C09729F}"/>
              </c:ext>
            </c:extLst>
          </c:dPt>
          <c:dPt>
            <c:idx val="80"/>
            <c:invertIfNegative val="0"/>
            <c:bubble3D val="0"/>
            <c:spPr>
              <a:solidFill>
                <a:srgbClr val="7ECAC4"/>
              </a:solidFill>
            </c:spPr>
            <c:extLst>
              <c:ext xmlns:c16="http://schemas.microsoft.com/office/drawing/2014/chart" uri="{C3380CC4-5D6E-409C-BE32-E72D297353CC}">
                <c16:uniqueId val="{000000A6-C76F-4230-900D-40618C09729F}"/>
              </c:ext>
            </c:extLst>
          </c:dPt>
          <c:dPt>
            <c:idx val="81"/>
            <c:invertIfNegative val="1"/>
            <c:bubble3D val="0"/>
            <c:spPr>
              <a:solidFill>
                <a:srgbClr val="7ECAC4"/>
              </a:solidFill>
            </c:spPr>
            <c:extLst>
              <c:ext xmlns:c16="http://schemas.microsoft.com/office/drawing/2014/chart" uri="{C3380CC4-5D6E-409C-BE32-E72D297353CC}">
                <c16:uniqueId val="{000000A5-2993-41DE-A2CB-63102DE87051}"/>
              </c:ext>
            </c:extLst>
          </c:dPt>
          <c:dPt>
            <c:idx val="82"/>
            <c:invertIfNegative val="1"/>
            <c:bubble3D val="0"/>
            <c:spPr>
              <a:solidFill>
                <a:srgbClr val="7ECAC4"/>
              </a:solidFill>
            </c:spPr>
            <c:extLst>
              <c:ext xmlns:c16="http://schemas.microsoft.com/office/drawing/2014/chart" uri="{C3380CC4-5D6E-409C-BE32-E72D297353CC}">
                <c16:uniqueId val="{000000A7-2993-41DE-A2CB-63102DE87051}"/>
              </c:ext>
            </c:extLst>
          </c:dPt>
          <c:dPt>
            <c:idx val="83"/>
            <c:invertIfNegative val="1"/>
            <c:bubble3D val="0"/>
            <c:spPr>
              <a:solidFill>
                <a:srgbClr val="7ECAC4"/>
              </a:solidFill>
            </c:spPr>
            <c:extLst>
              <c:ext xmlns:c16="http://schemas.microsoft.com/office/drawing/2014/chart" uri="{C3380CC4-5D6E-409C-BE32-E72D297353CC}">
                <c16:uniqueId val="{000000A9-2993-41DE-A2CB-63102DE87051}"/>
              </c:ext>
            </c:extLst>
          </c:dPt>
          <c:dPt>
            <c:idx val="84"/>
            <c:invertIfNegative val="1"/>
            <c:bubble3D val="0"/>
            <c:spPr>
              <a:solidFill>
                <a:srgbClr val="7ECAC4"/>
              </a:solidFill>
            </c:spPr>
            <c:extLst>
              <c:ext xmlns:c16="http://schemas.microsoft.com/office/drawing/2014/chart" uri="{C3380CC4-5D6E-409C-BE32-E72D297353CC}">
                <c16:uniqueId val="{000000AB-2993-41DE-A2CB-63102DE87051}"/>
              </c:ext>
            </c:extLst>
          </c:dPt>
          <c:dPt>
            <c:idx val="85"/>
            <c:invertIfNegative val="1"/>
            <c:bubble3D val="0"/>
            <c:spPr>
              <a:solidFill>
                <a:srgbClr val="7ECAC4"/>
              </a:solidFill>
            </c:spPr>
            <c:extLst>
              <c:ext xmlns:c16="http://schemas.microsoft.com/office/drawing/2014/chart" uri="{C3380CC4-5D6E-409C-BE32-E72D297353CC}">
                <c16:uniqueId val="{000000AD-2993-41DE-A2CB-63102DE87051}"/>
              </c:ext>
            </c:extLst>
          </c:dPt>
          <c:dPt>
            <c:idx val="86"/>
            <c:invertIfNegative val="1"/>
            <c:bubble3D val="0"/>
            <c:spPr>
              <a:solidFill>
                <a:srgbClr val="7ECAC4"/>
              </a:solidFill>
            </c:spPr>
            <c:extLst>
              <c:ext xmlns:c16="http://schemas.microsoft.com/office/drawing/2014/chart" uri="{C3380CC4-5D6E-409C-BE32-E72D297353CC}">
                <c16:uniqueId val="{000000AF-2993-41DE-A2CB-63102DE87051}"/>
              </c:ext>
            </c:extLst>
          </c:dPt>
          <c:dPt>
            <c:idx val="87"/>
            <c:invertIfNegative val="1"/>
            <c:bubble3D val="0"/>
            <c:spPr>
              <a:solidFill>
                <a:srgbClr val="7ECAC4"/>
              </a:solidFill>
            </c:spPr>
            <c:extLst>
              <c:ext xmlns:c16="http://schemas.microsoft.com/office/drawing/2014/chart" uri="{C3380CC4-5D6E-409C-BE32-E72D297353CC}">
                <c16:uniqueId val="{000000B1-2993-41DE-A2CB-63102DE87051}"/>
              </c:ext>
            </c:extLst>
          </c:dPt>
          <c:dPt>
            <c:idx val="88"/>
            <c:invertIfNegative val="1"/>
            <c:bubble3D val="0"/>
            <c:spPr>
              <a:solidFill>
                <a:srgbClr val="AEABAB"/>
              </a:solidFill>
            </c:spPr>
            <c:extLst>
              <c:ext xmlns:c16="http://schemas.microsoft.com/office/drawing/2014/chart" uri="{C3380CC4-5D6E-409C-BE32-E72D297353CC}">
                <c16:uniqueId val="{000000B3-2993-41DE-A2CB-63102DE87051}"/>
              </c:ext>
            </c:extLst>
          </c:dPt>
          <c:dPt>
            <c:idx val="89"/>
            <c:invertIfNegative val="1"/>
            <c:bubble3D val="0"/>
            <c:spPr>
              <a:solidFill>
                <a:srgbClr val="AEABAB"/>
              </a:solidFill>
            </c:spPr>
            <c:extLst>
              <c:ext xmlns:c16="http://schemas.microsoft.com/office/drawing/2014/chart" uri="{C3380CC4-5D6E-409C-BE32-E72D297353CC}">
                <c16:uniqueId val="{000000B5-2993-41DE-A2CB-63102DE87051}"/>
              </c:ext>
            </c:extLst>
          </c:dPt>
          <c:dPt>
            <c:idx val="90"/>
            <c:invertIfNegative val="1"/>
            <c:bubble3D val="0"/>
            <c:spPr>
              <a:solidFill>
                <a:srgbClr val="AEABAB"/>
              </a:solidFill>
            </c:spPr>
            <c:extLst>
              <c:ext xmlns:c16="http://schemas.microsoft.com/office/drawing/2014/chart" uri="{C3380CC4-5D6E-409C-BE32-E72D297353CC}">
                <c16:uniqueId val="{000000B7-2993-41DE-A2CB-63102DE87051}"/>
              </c:ext>
            </c:extLst>
          </c:dPt>
          <c:dPt>
            <c:idx val="91"/>
            <c:invertIfNegative val="1"/>
            <c:bubble3D val="0"/>
            <c:spPr>
              <a:solidFill>
                <a:srgbClr val="AEABAB"/>
              </a:solidFill>
            </c:spPr>
            <c:extLst>
              <c:ext xmlns:c16="http://schemas.microsoft.com/office/drawing/2014/chart" uri="{C3380CC4-5D6E-409C-BE32-E72D297353CC}">
                <c16:uniqueId val="{000000B9-2993-41DE-A2CB-63102DE87051}"/>
              </c:ext>
            </c:extLst>
          </c:dPt>
          <c:dPt>
            <c:idx val="92"/>
            <c:invertIfNegative val="1"/>
            <c:bubble3D val="0"/>
            <c:spPr>
              <a:solidFill>
                <a:srgbClr val="AEABAB"/>
              </a:solidFill>
            </c:spPr>
            <c:extLst>
              <c:ext xmlns:c16="http://schemas.microsoft.com/office/drawing/2014/chart" uri="{C3380CC4-5D6E-409C-BE32-E72D297353CC}">
                <c16:uniqueId val="{000000BB-2993-41DE-A2CB-63102DE87051}"/>
              </c:ext>
            </c:extLst>
          </c:dPt>
          <c:dPt>
            <c:idx val="93"/>
            <c:invertIfNegative val="1"/>
            <c:bubble3D val="0"/>
            <c:spPr>
              <a:solidFill>
                <a:srgbClr val="AEABAB"/>
              </a:solidFill>
            </c:spPr>
            <c:extLst>
              <c:ext xmlns:c16="http://schemas.microsoft.com/office/drawing/2014/chart" uri="{C3380CC4-5D6E-409C-BE32-E72D297353CC}">
                <c16:uniqueId val="{000000BD-2993-41DE-A2CB-63102DE87051}"/>
              </c:ext>
            </c:extLst>
          </c:dPt>
          <c:dPt>
            <c:idx val="94"/>
            <c:invertIfNegative val="1"/>
            <c:bubble3D val="0"/>
            <c:spPr>
              <a:solidFill>
                <a:srgbClr val="AEABAB"/>
              </a:solidFill>
            </c:spPr>
            <c:extLst>
              <c:ext xmlns:c16="http://schemas.microsoft.com/office/drawing/2014/chart" uri="{C3380CC4-5D6E-409C-BE32-E72D297353CC}">
                <c16:uniqueId val="{000000BF-2993-41DE-A2CB-63102DE87051}"/>
              </c:ext>
            </c:extLst>
          </c:dPt>
          <c:dPt>
            <c:idx val="95"/>
            <c:invertIfNegative val="1"/>
            <c:bubble3D val="0"/>
            <c:spPr>
              <a:solidFill>
                <a:srgbClr val="AEABAB"/>
              </a:solidFill>
            </c:spPr>
            <c:extLst>
              <c:ext xmlns:c16="http://schemas.microsoft.com/office/drawing/2014/chart" uri="{C3380CC4-5D6E-409C-BE32-E72D297353CC}">
                <c16:uniqueId val="{000000C1-2993-41DE-A2CB-63102DE87051}"/>
              </c:ext>
            </c:extLst>
          </c:dPt>
          <c:dPt>
            <c:idx val="96"/>
            <c:invertIfNegative val="1"/>
            <c:bubble3D val="0"/>
            <c:spPr>
              <a:solidFill>
                <a:srgbClr val="AEABAB"/>
              </a:solidFill>
            </c:spPr>
            <c:extLst>
              <c:ext xmlns:c16="http://schemas.microsoft.com/office/drawing/2014/chart" uri="{C3380CC4-5D6E-409C-BE32-E72D297353CC}">
                <c16:uniqueId val="{000000C3-2993-41DE-A2CB-63102DE87051}"/>
              </c:ext>
            </c:extLst>
          </c:dPt>
          <c:dPt>
            <c:idx val="97"/>
            <c:invertIfNegative val="1"/>
            <c:bubble3D val="0"/>
            <c:spPr>
              <a:solidFill>
                <a:srgbClr val="AEABAB"/>
              </a:solidFill>
            </c:spPr>
            <c:extLst>
              <c:ext xmlns:c16="http://schemas.microsoft.com/office/drawing/2014/chart" uri="{C3380CC4-5D6E-409C-BE32-E72D297353CC}">
                <c16:uniqueId val="{000000C5-2993-41DE-A2CB-63102DE87051}"/>
              </c:ext>
            </c:extLst>
          </c:dPt>
          <c:dPt>
            <c:idx val="98"/>
            <c:invertIfNegative val="1"/>
            <c:bubble3D val="0"/>
            <c:spPr>
              <a:solidFill>
                <a:srgbClr val="AEABAB"/>
              </a:solidFill>
            </c:spPr>
            <c:extLst>
              <c:ext xmlns:c16="http://schemas.microsoft.com/office/drawing/2014/chart" uri="{C3380CC4-5D6E-409C-BE32-E72D297353CC}">
                <c16:uniqueId val="{000000C7-2993-41DE-A2CB-63102DE87051}"/>
              </c:ext>
            </c:extLst>
          </c:dPt>
          <c:dPt>
            <c:idx val="99"/>
            <c:invertIfNegative val="1"/>
            <c:bubble3D val="0"/>
            <c:spPr>
              <a:solidFill>
                <a:srgbClr val="AEABAB"/>
              </a:solidFill>
            </c:spPr>
            <c:extLst>
              <c:ext xmlns:c16="http://schemas.microsoft.com/office/drawing/2014/chart" uri="{C3380CC4-5D6E-409C-BE32-E72D297353CC}">
                <c16:uniqueId val="{000000C9-2993-41DE-A2CB-63102DE87051}"/>
              </c:ext>
            </c:extLst>
          </c:dPt>
          <c:dPt>
            <c:idx val="100"/>
            <c:invertIfNegative val="1"/>
            <c:bubble3D val="0"/>
            <c:spPr>
              <a:solidFill>
                <a:srgbClr val="AEABAB"/>
              </a:solidFill>
            </c:spPr>
            <c:extLst>
              <c:ext xmlns:c16="http://schemas.microsoft.com/office/drawing/2014/chart" uri="{C3380CC4-5D6E-409C-BE32-E72D297353CC}">
                <c16:uniqueId val="{000000CB-2993-41DE-A2CB-63102DE87051}"/>
              </c:ext>
            </c:extLst>
          </c:dPt>
          <c:dPt>
            <c:idx val="101"/>
            <c:invertIfNegative val="1"/>
            <c:bubble3D val="0"/>
            <c:spPr>
              <a:solidFill>
                <a:srgbClr val="AEABAB"/>
              </a:solidFill>
            </c:spPr>
            <c:extLst>
              <c:ext xmlns:c16="http://schemas.microsoft.com/office/drawing/2014/chart" uri="{C3380CC4-5D6E-409C-BE32-E72D297353CC}">
                <c16:uniqueId val="{000000CD-2993-41DE-A2CB-63102DE87051}"/>
              </c:ext>
            </c:extLst>
          </c:dPt>
          <c:dPt>
            <c:idx val="102"/>
            <c:invertIfNegative val="1"/>
            <c:bubble3D val="0"/>
            <c:spPr>
              <a:solidFill>
                <a:srgbClr val="AEABAB"/>
              </a:solidFill>
            </c:spPr>
            <c:extLst>
              <c:ext xmlns:c16="http://schemas.microsoft.com/office/drawing/2014/chart" uri="{C3380CC4-5D6E-409C-BE32-E72D297353CC}">
                <c16:uniqueId val="{000000CF-2993-41DE-A2CB-63102DE87051}"/>
              </c:ext>
            </c:extLst>
          </c:dPt>
          <c:dPt>
            <c:idx val="103"/>
            <c:invertIfNegative val="1"/>
            <c:bubble3D val="0"/>
            <c:spPr>
              <a:solidFill>
                <a:srgbClr val="AEABAB"/>
              </a:solidFill>
            </c:spPr>
            <c:extLst>
              <c:ext xmlns:c16="http://schemas.microsoft.com/office/drawing/2014/chart" uri="{C3380CC4-5D6E-409C-BE32-E72D297353CC}">
                <c16:uniqueId val="{000000D1-2993-41DE-A2CB-63102DE87051}"/>
              </c:ext>
            </c:extLst>
          </c:dPt>
          <c:dPt>
            <c:idx val="104"/>
            <c:invertIfNegative val="1"/>
            <c:bubble3D val="0"/>
            <c:spPr>
              <a:solidFill>
                <a:srgbClr val="AEABAB"/>
              </a:solidFill>
            </c:spPr>
            <c:extLst>
              <c:ext xmlns:c16="http://schemas.microsoft.com/office/drawing/2014/chart" uri="{C3380CC4-5D6E-409C-BE32-E72D297353CC}">
                <c16:uniqueId val="{000000D3-2993-41DE-A2CB-63102DE87051}"/>
              </c:ext>
            </c:extLst>
          </c:dPt>
          <c:dPt>
            <c:idx val="105"/>
            <c:invertIfNegative val="1"/>
            <c:bubble3D val="0"/>
            <c:spPr>
              <a:solidFill>
                <a:srgbClr val="AEABAB"/>
              </a:solidFill>
            </c:spPr>
            <c:extLst>
              <c:ext xmlns:c16="http://schemas.microsoft.com/office/drawing/2014/chart" uri="{C3380CC4-5D6E-409C-BE32-E72D297353CC}">
                <c16:uniqueId val="{000000D5-2993-41DE-A2CB-63102DE87051}"/>
              </c:ext>
            </c:extLst>
          </c:dPt>
          <c:dPt>
            <c:idx val="106"/>
            <c:invertIfNegative val="1"/>
            <c:bubble3D val="0"/>
            <c:spPr>
              <a:solidFill>
                <a:srgbClr val="AEABAB"/>
              </a:solidFill>
            </c:spPr>
            <c:extLst>
              <c:ext xmlns:c16="http://schemas.microsoft.com/office/drawing/2014/chart" uri="{C3380CC4-5D6E-409C-BE32-E72D297353CC}">
                <c16:uniqueId val="{000000D7-2993-41DE-A2CB-63102DE87051}"/>
              </c:ext>
            </c:extLst>
          </c:dPt>
          <c:dPt>
            <c:idx val="107"/>
            <c:invertIfNegative val="1"/>
            <c:bubble3D val="0"/>
            <c:spPr>
              <a:solidFill>
                <a:srgbClr val="AEABAB"/>
              </a:solidFill>
            </c:spPr>
            <c:extLst>
              <c:ext xmlns:c16="http://schemas.microsoft.com/office/drawing/2014/chart" uri="{C3380CC4-5D6E-409C-BE32-E72D297353CC}">
                <c16:uniqueId val="{000000D9-2993-41DE-A2CB-63102DE87051}"/>
              </c:ext>
            </c:extLst>
          </c:dPt>
          <c:dPt>
            <c:idx val="108"/>
            <c:invertIfNegative val="1"/>
            <c:bubble3D val="0"/>
            <c:spPr>
              <a:solidFill>
                <a:srgbClr val="AEABAB"/>
              </a:solidFill>
            </c:spPr>
            <c:extLst>
              <c:ext xmlns:c16="http://schemas.microsoft.com/office/drawing/2014/chart" uri="{C3380CC4-5D6E-409C-BE32-E72D297353CC}">
                <c16:uniqueId val="{000000DB-2993-41DE-A2CB-63102DE87051}"/>
              </c:ext>
            </c:extLst>
          </c:dPt>
          <c:dPt>
            <c:idx val="109"/>
            <c:invertIfNegative val="1"/>
            <c:bubble3D val="0"/>
            <c:spPr>
              <a:solidFill>
                <a:srgbClr val="AEABAB"/>
              </a:solidFill>
            </c:spPr>
            <c:extLst>
              <c:ext xmlns:c16="http://schemas.microsoft.com/office/drawing/2014/chart" uri="{C3380CC4-5D6E-409C-BE32-E72D297353CC}">
                <c16:uniqueId val="{000000DD-2993-41DE-A2CB-63102DE87051}"/>
              </c:ext>
            </c:extLst>
          </c:dPt>
          <c:dPt>
            <c:idx val="110"/>
            <c:invertIfNegative val="1"/>
            <c:bubble3D val="0"/>
            <c:spPr>
              <a:solidFill>
                <a:srgbClr val="AEABAB"/>
              </a:solidFill>
            </c:spPr>
            <c:extLst>
              <c:ext xmlns:c16="http://schemas.microsoft.com/office/drawing/2014/chart" uri="{C3380CC4-5D6E-409C-BE32-E72D297353CC}">
                <c16:uniqueId val="{000000DF-2993-41DE-A2CB-63102DE87051}"/>
              </c:ext>
            </c:extLst>
          </c:dPt>
          <c:dPt>
            <c:idx val="111"/>
            <c:invertIfNegative val="1"/>
            <c:bubble3D val="0"/>
            <c:spPr>
              <a:solidFill>
                <a:srgbClr val="AEABAB"/>
              </a:solidFill>
            </c:spPr>
            <c:extLst>
              <c:ext xmlns:c16="http://schemas.microsoft.com/office/drawing/2014/chart" uri="{C3380CC4-5D6E-409C-BE32-E72D297353CC}">
                <c16:uniqueId val="{000000E1-2993-41DE-A2CB-63102DE87051}"/>
              </c:ext>
            </c:extLst>
          </c:dPt>
          <c:dPt>
            <c:idx val="112"/>
            <c:invertIfNegative val="1"/>
            <c:bubble3D val="0"/>
            <c:spPr>
              <a:solidFill>
                <a:srgbClr val="AEABAB"/>
              </a:solidFill>
            </c:spPr>
            <c:extLst>
              <c:ext xmlns:c16="http://schemas.microsoft.com/office/drawing/2014/chart" uri="{C3380CC4-5D6E-409C-BE32-E72D297353CC}">
                <c16:uniqueId val="{000000E3-2993-41DE-A2CB-63102DE87051}"/>
              </c:ext>
            </c:extLst>
          </c:dPt>
          <c:dPt>
            <c:idx val="113"/>
            <c:invertIfNegative val="1"/>
            <c:bubble3D val="0"/>
            <c:spPr>
              <a:solidFill>
                <a:srgbClr val="AEABAB"/>
              </a:solidFill>
            </c:spPr>
            <c:extLst>
              <c:ext xmlns:c16="http://schemas.microsoft.com/office/drawing/2014/chart" uri="{C3380CC4-5D6E-409C-BE32-E72D297353CC}">
                <c16:uniqueId val="{000000E5-2993-41DE-A2CB-63102DE87051}"/>
              </c:ext>
            </c:extLst>
          </c:dPt>
          <c:dPt>
            <c:idx val="114"/>
            <c:invertIfNegative val="1"/>
            <c:bubble3D val="0"/>
            <c:spPr>
              <a:solidFill>
                <a:srgbClr val="AEABAB"/>
              </a:solidFill>
            </c:spPr>
            <c:extLst>
              <c:ext xmlns:c16="http://schemas.microsoft.com/office/drawing/2014/chart" uri="{C3380CC4-5D6E-409C-BE32-E72D297353CC}">
                <c16:uniqueId val="{000000E7-2993-41DE-A2CB-63102DE87051}"/>
              </c:ext>
            </c:extLst>
          </c:dPt>
          <c:dPt>
            <c:idx val="115"/>
            <c:invertIfNegative val="1"/>
            <c:bubble3D val="0"/>
            <c:spPr>
              <a:solidFill>
                <a:srgbClr val="AEABAB"/>
              </a:solidFill>
            </c:spPr>
            <c:extLst>
              <c:ext xmlns:c16="http://schemas.microsoft.com/office/drawing/2014/chart" uri="{C3380CC4-5D6E-409C-BE32-E72D297353CC}">
                <c16:uniqueId val="{000000E9-2993-41DE-A2CB-63102DE87051}"/>
              </c:ext>
            </c:extLst>
          </c:dPt>
          <c:dPt>
            <c:idx val="116"/>
            <c:invertIfNegative val="1"/>
            <c:bubble3D val="0"/>
            <c:spPr>
              <a:solidFill>
                <a:srgbClr val="AEABAB"/>
              </a:solidFill>
            </c:spPr>
            <c:extLst>
              <c:ext xmlns:c16="http://schemas.microsoft.com/office/drawing/2014/chart" uri="{C3380CC4-5D6E-409C-BE32-E72D297353CC}">
                <c16:uniqueId val="{000000EB-2993-41DE-A2CB-63102DE87051}"/>
              </c:ext>
            </c:extLst>
          </c:dPt>
          <c:dPt>
            <c:idx val="117"/>
            <c:invertIfNegative val="1"/>
            <c:bubble3D val="0"/>
            <c:spPr>
              <a:solidFill>
                <a:srgbClr val="AEABAB"/>
              </a:solidFill>
            </c:spPr>
            <c:extLst>
              <c:ext xmlns:c16="http://schemas.microsoft.com/office/drawing/2014/chart" uri="{C3380CC4-5D6E-409C-BE32-E72D297353CC}">
                <c16:uniqueId val="{000000ED-2993-41DE-A2CB-63102DE87051}"/>
              </c:ext>
            </c:extLst>
          </c:dPt>
          <c:dPt>
            <c:idx val="118"/>
            <c:invertIfNegative val="1"/>
            <c:bubble3D val="0"/>
            <c:spPr>
              <a:solidFill>
                <a:srgbClr val="AEABAB"/>
              </a:solidFill>
            </c:spPr>
            <c:extLst>
              <c:ext xmlns:c16="http://schemas.microsoft.com/office/drawing/2014/chart" uri="{C3380CC4-5D6E-409C-BE32-E72D297353CC}">
                <c16:uniqueId val="{000000EF-2993-41DE-A2CB-63102DE87051}"/>
              </c:ext>
            </c:extLst>
          </c:dPt>
          <c:dPt>
            <c:idx val="119"/>
            <c:invertIfNegative val="1"/>
            <c:bubble3D val="0"/>
            <c:spPr>
              <a:solidFill>
                <a:srgbClr val="AEABAB"/>
              </a:solidFill>
            </c:spPr>
            <c:extLst>
              <c:ext xmlns:c16="http://schemas.microsoft.com/office/drawing/2014/chart" uri="{C3380CC4-5D6E-409C-BE32-E72D297353CC}">
                <c16:uniqueId val="{000000F1-2993-41DE-A2CB-63102DE87051}"/>
              </c:ext>
            </c:extLst>
          </c:dPt>
          <c:dPt>
            <c:idx val="120"/>
            <c:invertIfNegative val="1"/>
            <c:bubble3D val="0"/>
            <c:spPr>
              <a:solidFill>
                <a:srgbClr val="AEABAB"/>
              </a:solidFill>
            </c:spPr>
            <c:extLst>
              <c:ext xmlns:c16="http://schemas.microsoft.com/office/drawing/2014/chart" uri="{C3380CC4-5D6E-409C-BE32-E72D297353CC}">
                <c16:uniqueId val="{000000F3-2993-41DE-A2CB-63102DE87051}"/>
              </c:ext>
            </c:extLst>
          </c:dPt>
          <c:dPt>
            <c:idx val="121"/>
            <c:invertIfNegative val="1"/>
            <c:bubble3D val="0"/>
            <c:spPr>
              <a:solidFill>
                <a:srgbClr val="AEABAB"/>
              </a:solidFill>
            </c:spPr>
            <c:extLst>
              <c:ext xmlns:c16="http://schemas.microsoft.com/office/drawing/2014/chart" uri="{C3380CC4-5D6E-409C-BE32-E72D297353CC}">
                <c16:uniqueId val="{000000F5-2993-41DE-A2CB-63102DE87051}"/>
              </c:ext>
            </c:extLst>
          </c:dPt>
          <c:dPt>
            <c:idx val="122"/>
            <c:invertIfNegative val="1"/>
            <c:bubble3D val="0"/>
            <c:spPr>
              <a:solidFill>
                <a:srgbClr val="AEABAB"/>
              </a:solidFill>
            </c:spPr>
            <c:extLst>
              <c:ext xmlns:c16="http://schemas.microsoft.com/office/drawing/2014/chart" uri="{C3380CC4-5D6E-409C-BE32-E72D297353CC}">
                <c16:uniqueId val="{000000F7-2993-41DE-A2CB-63102DE87051}"/>
              </c:ext>
            </c:extLst>
          </c:dPt>
          <c:dPt>
            <c:idx val="123"/>
            <c:invertIfNegative val="1"/>
            <c:bubble3D val="0"/>
            <c:spPr>
              <a:solidFill>
                <a:srgbClr val="AEABAB"/>
              </a:solidFill>
            </c:spPr>
            <c:extLst>
              <c:ext xmlns:c16="http://schemas.microsoft.com/office/drawing/2014/chart" uri="{C3380CC4-5D6E-409C-BE32-E72D297353CC}">
                <c16:uniqueId val="{000000F9-2993-41DE-A2CB-63102DE87051}"/>
              </c:ext>
            </c:extLst>
          </c:dPt>
          <c:dPt>
            <c:idx val="124"/>
            <c:invertIfNegative val="1"/>
            <c:bubble3D val="0"/>
            <c:spPr>
              <a:solidFill>
                <a:srgbClr val="AEABAB"/>
              </a:solidFill>
            </c:spPr>
            <c:extLst>
              <c:ext xmlns:c16="http://schemas.microsoft.com/office/drawing/2014/chart" uri="{C3380CC4-5D6E-409C-BE32-E72D297353CC}">
                <c16:uniqueId val="{000000FB-2993-41DE-A2CB-63102DE87051}"/>
              </c:ext>
            </c:extLst>
          </c:dPt>
          <c:dPt>
            <c:idx val="125"/>
            <c:invertIfNegative val="1"/>
            <c:bubble3D val="0"/>
            <c:spPr>
              <a:solidFill>
                <a:srgbClr val="AEABAB"/>
              </a:solidFill>
            </c:spPr>
            <c:extLst>
              <c:ext xmlns:c16="http://schemas.microsoft.com/office/drawing/2014/chart" uri="{C3380CC4-5D6E-409C-BE32-E72D297353CC}">
                <c16:uniqueId val="{000000FD-2993-41DE-A2CB-63102DE87051}"/>
              </c:ext>
            </c:extLst>
          </c:dPt>
          <c:dPt>
            <c:idx val="126"/>
            <c:invertIfNegative val="1"/>
            <c:bubble3D val="0"/>
            <c:spPr>
              <a:solidFill>
                <a:srgbClr val="AEABAB"/>
              </a:solidFill>
            </c:spPr>
            <c:extLst>
              <c:ext xmlns:c16="http://schemas.microsoft.com/office/drawing/2014/chart" uri="{C3380CC4-5D6E-409C-BE32-E72D297353CC}">
                <c16:uniqueId val="{000000FF-2993-41DE-A2CB-63102DE87051}"/>
              </c:ext>
            </c:extLst>
          </c:dPt>
          <c:dPt>
            <c:idx val="127"/>
            <c:invertIfNegative val="1"/>
            <c:bubble3D val="0"/>
            <c:spPr>
              <a:solidFill>
                <a:srgbClr val="AEABAB"/>
              </a:solidFill>
            </c:spPr>
            <c:extLst>
              <c:ext xmlns:c16="http://schemas.microsoft.com/office/drawing/2014/chart" uri="{C3380CC4-5D6E-409C-BE32-E72D297353CC}">
                <c16:uniqueId val="{00000101-2993-41DE-A2CB-63102DE87051}"/>
              </c:ext>
            </c:extLst>
          </c:dPt>
          <c:dPt>
            <c:idx val="128"/>
            <c:invertIfNegative val="1"/>
            <c:bubble3D val="0"/>
            <c:spPr>
              <a:solidFill>
                <a:srgbClr val="AEABAB"/>
              </a:solidFill>
            </c:spPr>
            <c:extLst>
              <c:ext xmlns:c16="http://schemas.microsoft.com/office/drawing/2014/chart" uri="{C3380CC4-5D6E-409C-BE32-E72D297353CC}">
                <c16:uniqueId val="{00000103-2993-41DE-A2CB-63102DE87051}"/>
              </c:ext>
            </c:extLst>
          </c:dPt>
          <c:dPt>
            <c:idx val="129"/>
            <c:invertIfNegative val="1"/>
            <c:bubble3D val="0"/>
            <c:spPr>
              <a:solidFill>
                <a:srgbClr val="AEABAB"/>
              </a:solidFill>
            </c:spPr>
            <c:extLst>
              <c:ext xmlns:c16="http://schemas.microsoft.com/office/drawing/2014/chart" uri="{C3380CC4-5D6E-409C-BE32-E72D297353CC}">
                <c16:uniqueId val="{00000105-2993-41DE-A2CB-63102DE87051}"/>
              </c:ext>
            </c:extLst>
          </c:dPt>
          <c:dPt>
            <c:idx val="130"/>
            <c:invertIfNegative val="1"/>
            <c:bubble3D val="0"/>
            <c:spPr>
              <a:solidFill>
                <a:srgbClr val="AEABAB"/>
              </a:solidFill>
            </c:spPr>
            <c:extLst>
              <c:ext xmlns:c16="http://schemas.microsoft.com/office/drawing/2014/chart" uri="{C3380CC4-5D6E-409C-BE32-E72D297353CC}">
                <c16:uniqueId val="{00000107-2993-41DE-A2CB-63102DE87051}"/>
              </c:ext>
            </c:extLst>
          </c:dPt>
          <c:dPt>
            <c:idx val="131"/>
            <c:invertIfNegative val="1"/>
            <c:bubble3D val="0"/>
            <c:spPr>
              <a:solidFill>
                <a:srgbClr val="AEABAB"/>
              </a:solidFill>
            </c:spPr>
            <c:extLst>
              <c:ext xmlns:c16="http://schemas.microsoft.com/office/drawing/2014/chart" uri="{C3380CC4-5D6E-409C-BE32-E72D297353CC}">
                <c16:uniqueId val="{00000109-2993-41DE-A2CB-63102DE87051}"/>
              </c:ext>
            </c:extLst>
          </c:dPt>
          <c:dPt>
            <c:idx val="132"/>
            <c:invertIfNegative val="1"/>
            <c:bubble3D val="0"/>
            <c:spPr>
              <a:solidFill>
                <a:srgbClr val="AEABAB"/>
              </a:solidFill>
            </c:spPr>
            <c:extLst>
              <c:ext xmlns:c16="http://schemas.microsoft.com/office/drawing/2014/chart" uri="{C3380CC4-5D6E-409C-BE32-E72D297353CC}">
                <c16:uniqueId val="{0000010B-2993-41DE-A2CB-63102DE87051}"/>
              </c:ext>
            </c:extLst>
          </c:dPt>
          <c:dPt>
            <c:idx val="133"/>
            <c:invertIfNegative val="1"/>
            <c:bubble3D val="0"/>
            <c:spPr>
              <a:solidFill>
                <a:srgbClr val="AEABAB"/>
              </a:solidFill>
            </c:spPr>
            <c:extLst>
              <c:ext xmlns:c16="http://schemas.microsoft.com/office/drawing/2014/chart" uri="{C3380CC4-5D6E-409C-BE32-E72D297353CC}">
                <c16:uniqueId val="{0000010D-2993-41DE-A2CB-63102DE87051}"/>
              </c:ext>
            </c:extLst>
          </c:dPt>
          <c:dPt>
            <c:idx val="134"/>
            <c:invertIfNegative val="1"/>
            <c:bubble3D val="0"/>
            <c:spPr>
              <a:solidFill>
                <a:srgbClr val="AEABAB"/>
              </a:solidFill>
            </c:spPr>
            <c:extLst>
              <c:ext xmlns:c16="http://schemas.microsoft.com/office/drawing/2014/chart" uri="{C3380CC4-5D6E-409C-BE32-E72D297353CC}">
                <c16:uniqueId val="{0000010F-2993-41DE-A2CB-63102DE87051}"/>
              </c:ext>
            </c:extLst>
          </c:dPt>
          <c:dPt>
            <c:idx val="135"/>
            <c:invertIfNegative val="1"/>
            <c:bubble3D val="0"/>
            <c:spPr>
              <a:solidFill>
                <a:srgbClr val="AEABAB"/>
              </a:solidFill>
            </c:spPr>
            <c:extLst>
              <c:ext xmlns:c16="http://schemas.microsoft.com/office/drawing/2014/chart" uri="{C3380CC4-5D6E-409C-BE32-E72D297353CC}">
                <c16:uniqueId val="{00000111-2993-41DE-A2CB-63102DE87051}"/>
              </c:ext>
            </c:extLst>
          </c:dPt>
          <c:dPt>
            <c:idx val="136"/>
            <c:invertIfNegative val="1"/>
            <c:bubble3D val="0"/>
            <c:spPr>
              <a:solidFill>
                <a:srgbClr val="AEABAB"/>
              </a:solidFill>
            </c:spPr>
            <c:extLst>
              <c:ext xmlns:c16="http://schemas.microsoft.com/office/drawing/2014/chart" uri="{C3380CC4-5D6E-409C-BE32-E72D297353CC}">
                <c16:uniqueId val="{00000113-2993-41DE-A2CB-63102DE87051}"/>
              </c:ext>
            </c:extLst>
          </c:dPt>
          <c:dPt>
            <c:idx val="137"/>
            <c:invertIfNegative val="1"/>
            <c:bubble3D val="0"/>
            <c:spPr>
              <a:solidFill>
                <a:srgbClr val="AEABAB"/>
              </a:solidFill>
            </c:spPr>
            <c:extLst>
              <c:ext xmlns:c16="http://schemas.microsoft.com/office/drawing/2014/chart" uri="{C3380CC4-5D6E-409C-BE32-E72D297353CC}">
                <c16:uniqueId val="{00000115-2993-41DE-A2CB-63102DE87051}"/>
              </c:ext>
            </c:extLst>
          </c:dPt>
          <c:dPt>
            <c:idx val="138"/>
            <c:invertIfNegative val="1"/>
            <c:bubble3D val="0"/>
            <c:spPr>
              <a:solidFill>
                <a:srgbClr val="AEABAB"/>
              </a:solidFill>
            </c:spPr>
            <c:extLst>
              <c:ext xmlns:c16="http://schemas.microsoft.com/office/drawing/2014/chart" uri="{C3380CC4-5D6E-409C-BE32-E72D297353CC}">
                <c16:uniqueId val="{00000117-2993-41DE-A2CB-63102DE87051}"/>
              </c:ext>
            </c:extLst>
          </c:dPt>
          <c:dPt>
            <c:idx val="139"/>
            <c:invertIfNegative val="1"/>
            <c:bubble3D val="0"/>
            <c:spPr>
              <a:solidFill>
                <a:srgbClr val="AEABAB"/>
              </a:solidFill>
            </c:spPr>
            <c:extLst>
              <c:ext xmlns:c16="http://schemas.microsoft.com/office/drawing/2014/chart" uri="{C3380CC4-5D6E-409C-BE32-E72D297353CC}">
                <c16:uniqueId val="{00000119-2993-41DE-A2CB-63102DE87051}"/>
              </c:ext>
            </c:extLst>
          </c:dPt>
          <c:dPt>
            <c:idx val="140"/>
            <c:invertIfNegative val="1"/>
            <c:bubble3D val="0"/>
            <c:spPr>
              <a:solidFill>
                <a:srgbClr val="AEABAB"/>
              </a:solidFill>
            </c:spPr>
            <c:extLst>
              <c:ext xmlns:c16="http://schemas.microsoft.com/office/drawing/2014/chart" uri="{C3380CC4-5D6E-409C-BE32-E72D297353CC}">
                <c16:uniqueId val="{0000011B-2993-41DE-A2CB-63102DE87051}"/>
              </c:ext>
            </c:extLst>
          </c:dPt>
          <c:dPt>
            <c:idx val="141"/>
            <c:invertIfNegative val="1"/>
            <c:bubble3D val="0"/>
            <c:spPr>
              <a:solidFill>
                <a:srgbClr val="AEABAB"/>
              </a:solidFill>
            </c:spPr>
            <c:extLst>
              <c:ext xmlns:c16="http://schemas.microsoft.com/office/drawing/2014/chart" uri="{C3380CC4-5D6E-409C-BE32-E72D297353CC}">
                <c16:uniqueId val="{0000011D-2993-41DE-A2CB-63102DE87051}"/>
              </c:ext>
            </c:extLst>
          </c:dPt>
          <c:dPt>
            <c:idx val="142"/>
            <c:invertIfNegative val="1"/>
            <c:bubble3D val="0"/>
            <c:spPr>
              <a:solidFill>
                <a:srgbClr val="AEABAB"/>
              </a:solidFill>
            </c:spPr>
            <c:extLst>
              <c:ext xmlns:c16="http://schemas.microsoft.com/office/drawing/2014/chart" uri="{C3380CC4-5D6E-409C-BE32-E72D297353CC}">
                <c16:uniqueId val="{0000011F-2993-41DE-A2CB-63102DE87051}"/>
              </c:ext>
            </c:extLst>
          </c:dPt>
          <c:dPt>
            <c:idx val="143"/>
            <c:invertIfNegative val="1"/>
            <c:bubble3D val="0"/>
            <c:spPr>
              <a:solidFill>
                <a:srgbClr val="AEABAB"/>
              </a:solidFill>
            </c:spPr>
            <c:extLst>
              <c:ext xmlns:c16="http://schemas.microsoft.com/office/drawing/2014/chart" uri="{C3380CC4-5D6E-409C-BE32-E72D297353CC}">
                <c16:uniqueId val="{00000121-2993-41DE-A2CB-63102DE87051}"/>
              </c:ext>
            </c:extLst>
          </c:dPt>
          <c:dPt>
            <c:idx val="144"/>
            <c:invertIfNegative val="1"/>
            <c:bubble3D val="0"/>
            <c:spPr>
              <a:solidFill>
                <a:srgbClr val="AEABAB"/>
              </a:solidFill>
            </c:spPr>
            <c:extLst>
              <c:ext xmlns:c16="http://schemas.microsoft.com/office/drawing/2014/chart" uri="{C3380CC4-5D6E-409C-BE32-E72D297353CC}">
                <c16:uniqueId val="{00000123-2993-41DE-A2CB-63102DE87051}"/>
              </c:ext>
            </c:extLst>
          </c:dPt>
          <c:dPt>
            <c:idx val="145"/>
            <c:invertIfNegative val="1"/>
            <c:bubble3D val="0"/>
            <c:spPr>
              <a:solidFill>
                <a:srgbClr val="AEABAB"/>
              </a:solidFill>
            </c:spPr>
            <c:extLst>
              <c:ext xmlns:c16="http://schemas.microsoft.com/office/drawing/2014/chart" uri="{C3380CC4-5D6E-409C-BE32-E72D297353CC}">
                <c16:uniqueId val="{00000125-2993-41DE-A2CB-63102DE87051}"/>
              </c:ext>
            </c:extLst>
          </c:dPt>
          <c:dPt>
            <c:idx val="146"/>
            <c:invertIfNegative val="1"/>
            <c:bubble3D val="0"/>
            <c:spPr>
              <a:solidFill>
                <a:srgbClr val="AEABAB"/>
              </a:solidFill>
            </c:spPr>
            <c:extLst>
              <c:ext xmlns:c16="http://schemas.microsoft.com/office/drawing/2014/chart" uri="{C3380CC4-5D6E-409C-BE32-E72D297353CC}">
                <c16:uniqueId val="{00000127-2993-41DE-A2CB-63102DE87051}"/>
              </c:ext>
            </c:extLst>
          </c:dPt>
          <c:dPt>
            <c:idx val="147"/>
            <c:invertIfNegative val="1"/>
            <c:bubble3D val="0"/>
            <c:spPr>
              <a:solidFill>
                <a:srgbClr val="AEABAB"/>
              </a:solidFill>
            </c:spPr>
            <c:extLst>
              <c:ext xmlns:c16="http://schemas.microsoft.com/office/drawing/2014/chart" uri="{C3380CC4-5D6E-409C-BE32-E72D297353CC}">
                <c16:uniqueId val="{00000129-2993-41DE-A2CB-63102DE87051}"/>
              </c:ext>
            </c:extLst>
          </c:dPt>
          <c:dPt>
            <c:idx val="148"/>
            <c:invertIfNegative val="1"/>
            <c:bubble3D val="0"/>
            <c:spPr>
              <a:solidFill>
                <a:srgbClr val="AEABAB"/>
              </a:solidFill>
            </c:spPr>
            <c:extLst>
              <c:ext xmlns:c16="http://schemas.microsoft.com/office/drawing/2014/chart" uri="{C3380CC4-5D6E-409C-BE32-E72D297353CC}">
                <c16:uniqueId val="{0000012B-2993-41DE-A2CB-63102DE87051}"/>
              </c:ext>
            </c:extLst>
          </c:dPt>
          <c:dPt>
            <c:idx val="149"/>
            <c:invertIfNegative val="1"/>
            <c:bubble3D val="0"/>
            <c:spPr>
              <a:solidFill>
                <a:srgbClr val="AEABAB"/>
              </a:solidFill>
            </c:spPr>
            <c:extLst>
              <c:ext xmlns:c16="http://schemas.microsoft.com/office/drawing/2014/chart" uri="{C3380CC4-5D6E-409C-BE32-E72D297353CC}">
                <c16:uniqueId val="{0000012D-2993-41DE-A2CB-63102DE87051}"/>
              </c:ext>
            </c:extLst>
          </c:dPt>
          <c:dPt>
            <c:idx val="150"/>
            <c:invertIfNegative val="1"/>
            <c:bubble3D val="0"/>
            <c:spPr>
              <a:solidFill>
                <a:srgbClr val="AEABAB"/>
              </a:solidFill>
            </c:spPr>
            <c:extLst>
              <c:ext xmlns:c16="http://schemas.microsoft.com/office/drawing/2014/chart" uri="{C3380CC4-5D6E-409C-BE32-E72D297353CC}">
                <c16:uniqueId val="{0000012F-2993-41DE-A2CB-63102DE87051}"/>
              </c:ext>
            </c:extLst>
          </c:dPt>
          <c:dPt>
            <c:idx val="151"/>
            <c:invertIfNegative val="1"/>
            <c:bubble3D val="0"/>
            <c:spPr>
              <a:solidFill>
                <a:srgbClr val="AEABAB"/>
              </a:solidFill>
            </c:spPr>
            <c:extLst>
              <c:ext xmlns:c16="http://schemas.microsoft.com/office/drawing/2014/chart" uri="{C3380CC4-5D6E-409C-BE32-E72D297353CC}">
                <c16:uniqueId val="{00000131-2993-41DE-A2CB-63102DE87051}"/>
              </c:ext>
            </c:extLst>
          </c:dPt>
          <c:dPt>
            <c:idx val="152"/>
            <c:invertIfNegative val="1"/>
            <c:bubble3D val="0"/>
            <c:spPr>
              <a:solidFill>
                <a:srgbClr val="AEABAB"/>
              </a:solidFill>
            </c:spPr>
            <c:extLst>
              <c:ext xmlns:c16="http://schemas.microsoft.com/office/drawing/2014/chart" uri="{C3380CC4-5D6E-409C-BE32-E72D297353CC}">
                <c16:uniqueId val="{00000133-2993-41DE-A2CB-63102DE87051}"/>
              </c:ext>
            </c:extLst>
          </c:dPt>
          <c:dPt>
            <c:idx val="153"/>
            <c:invertIfNegative val="1"/>
            <c:bubble3D val="0"/>
            <c:spPr>
              <a:solidFill>
                <a:srgbClr val="AEABAB"/>
              </a:solidFill>
            </c:spPr>
            <c:extLst>
              <c:ext xmlns:c16="http://schemas.microsoft.com/office/drawing/2014/chart" uri="{C3380CC4-5D6E-409C-BE32-E72D297353CC}">
                <c16:uniqueId val="{00000135-2993-41DE-A2CB-63102DE87051}"/>
              </c:ext>
            </c:extLst>
          </c:dPt>
          <c:dPt>
            <c:idx val="154"/>
            <c:invertIfNegative val="1"/>
            <c:bubble3D val="0"/>
            <c:spPr>
              <a:solidFill>
                <a:srgbClr val="AEABAB"/>
              </a:solidFill>
            </c:spPr>
            <c:extLst>
              <c:ext xmlns:c16="http://schemas.microsoft.com/office/drawing/2014/chart" uri="{C3380CC4-5D6E-409C-BE32-E72D297353CC}">
                <c16:uniqueId val="{00000137-2993-41DE-A2CB-63102DE87051}"/>
              </c:ext>
            </c:extLst>
          </c:dPt>
          <c:dPt>
            <c:idx val="155"/>
            <c:invertIfNegative val="1"/>
            <c:bubble3D val="0"/>
            <c:spPr>
              <a:solidFill>
                <a:srgbClr val="AEABAB"/>
              </a:solidFill>
            </c:spPr>
            <c:extLst>
              <c:ext xmlns:c16="http://schemas.microsoft.com/office/drawing/2014/chart" uri="{C3380CC4-5D6E-409C-BE32-E72D297353CC}">
                <c16:uniqueId val="{00000139-2993-41DE-A2CB-63102DE87051}"/>
              </c:ext>
            </c:extLst>
          </c:dPt>
          <c:dPt>
            <c:idx val="156"/>
            <c:invertIfNegative val="1"/>
            <c:bubble3D val="0"/>
            <c:spPr>
              <a:solidFill>
                <a:srgbClr val="AEABAB"/>
              </a:solidFill>
            </c:spPr>
            <c:extLst>
              <c:ext xmlns:c16="http://schemas.microsoft.com/office/drawing/2014/chart" uri="{C3380CC4-5D6E-409C-BE32-E72D297353CC}">
                <c16:uniqueId val="{0000013B-2993-41DE-A2CB-63102DE87051}"/>
              </c:ext>
            </c:extLst>
          </c:dPt>
          <c:dPt>
            <c:idx val="157"/>
            <c:invertIfNegative val="1"/>
            <c:bubble3D val="0"/>
            <c:spPr>
              <a:solidFill>
                <a:srgbClr val="AEABAB"/>
              </a:solidFill>
            </c:spPr>
            <c:extLst>
              <c:ext xmlns:c16="http://schemas.microsoft.com/office/drawing/2014/chart" uri="{C3380CC4-5D6E-409C-BE32-E72D297353CC}">
                <c16:uniqueId val="{0000013D-2993-41DE-A2CB-63102DE87051}"/>
              </c:ext>
            </c:extLst>
          </c:dPt>
          <c:dPt>
            <c:idx val="158"/>
            <c:invertIfNegative val="1"/>
            <c:bubble3D val="0"/>
            <c:spPr>
              <a:solidFill>
                <a:srgbClr val="AEABAB"/>
              </a:solidFill>
            </c:spPr>
            <c:extLst>
              <c:ext xmlns:c16="http://schemas.microsoft.com/office/drawing/2014/chart" uri="{C3380CC4-5D6E-409C-BE32-E72D297353CC}">
                <c16:uniqueId val="{0000013F-2993-41DE-A2CB-63102DE87051}"/>
              </c:ext>
            </c:extLst>
          </c:dPt>
          <c:dPt>
            <c:idx val="159"/>
            <c:invertIfNegative val="1"/>
            <c:bubble3D val="0"/>
            <c:spPr>
              <a:solidFill>
                <a:srgbClr val="AEABAB"/>
              </a:solidFill>
            </c:spPr>
            <c:extLst>
              <c:ext xmlns:c16="http://schemas.microsoft.com/office/drawing/2014/chart" uri="{C3380CC4-5D6E-409C-BE32-E72D297353CC}">
                <c16:uniqueId val="{00000141-2993-41DE-A2CB-63102DE87051}"/>
              </c:ext>
            </c:extLst>
          </c:dPt>
          <c:dPt>
            <c:idx val="160"/>
            <c:invertIfNegative val="1"/>
            <c:bubble3D val="0"/>
            <c:spPr>
              <a:solidFill>
                <a:srgbClr val="AEABAB"/>
              </a:solidFill>
            </c:spPr>
            <c:extLst>
              <c:ext xmlns:c16="http://schemas.microsoft.com/office/drawing/2014/chart" uri="{C3380CC4-5D6E-409C-BE32-E72D297353CC}">
                <c16:uniqueId val="{00000143-2993-41DE-A2CB-63102DE87051}"/>
              </c:ext>
            </c:extLst>
          </c:dPt>
          <c:dPt>
            <c:idx val="161"/>
            <c:invertIfNegative val="1"/>
            <c:bubble3D val="0"/>
            <c:spPr>
              <a:solidFill>
                <a:srgbClr val="AEABAB"/>
              </a:solidFill>
            </c:spPr>
            <c:extLst>
              <c:ext xmlns:c16="http://schemas.microsoft.com/office/drawing/2014/chart" uri="{C3380CC4-5D6E-409C-BE32-E72D297353CC}">
                <c16:uniqueId val="{00000145-2993-41DE-A2CB-63102DE87051}"/>
              </c:ext>
            </c:extLst>
          </c:dPt>
          <c:dPt>
            <c:idx val="162"/>
            <c:invertIfNegative val="1"/>
            <c:bubble3D val="0"/>
            <c:spPr>
              <a:solidFill>
                <a:srgbClr val="AEABAB"/>
              </a:solidFill>
            </c:spPr>
            <c:extLst>
              <c:ext xmlns:c16="http://schemas.microsoft.com/office/drawing/2014/chart" uri="{C3380CC4-5D6E-409C-BE32-E72D297353CC}">
                <c16:uniqueId val="{00000147-2993-41DE-A2CB-63102DE87051}"/>
              </c:ext>
            </c:extLst>
          </c:dPt>
          <c:dPt>
            <c:idx val="163"/>
            <c:invertIfNegative val="1"/>
            <c:bubble3D val="0"/>
            <c:spPr>
              <a:solidFill>
                <a:srgbClr val="AEABAB"/>
              </a:solidFill>
            </c:spPr>
            <c:extLst>
              <c:ext xmlns:c16="http://schemas.microsoft.com/office/drawing/2014/chart" uri="{C3380CC4-5D6E-409C-BE32-E72D297353CC}">
                <c16:uniqueId val="{00000149-2993-41DE-A2CB-63102DE87051}"/>
              </c:ext>
            </c:extLst>
          </c:dPt>
          <c:dPt>
            <c:idx val="164"/>
            <c:invertIfNegative val="1"/>
            <c:bubble3D val="0"/>
            <c:spPr>
              <a:solidFill>
                <a:srgbClr val="AEABAB"/>
              </a:solidFill>
            </c:spPr>
            <c:extLst>
              <c:ext xmlns:c16="http://schemas.microsoft.com/office/drawing/2014/chart" uri="{C3380CC4-5D6E-409C-BE32-E72D297353CC}">
                <c16:uniqueId val="{0000014B-2993-41DE-A2CB-63102DE87051}"/>
              </c:ext>
            </c:extLst>
          </c:dPt>
          <c:dPt>
            <c:idx val="165"/>
            <c:invertIfNegative val="1"/>
            <c:bubble3D val="0"/>
            <c:spPr>
              <a:solidFill>
                <a:srgbClr val="AEABAB"/>
              </a:solidFill>
            </c:spPr>
            <c:extLst>
              <c:ext xmlns:c16="http://schemas.microsoft.com/office/drawing/2014/chart" uri="{C3380CC4-5D6E-409C-BE32-E72D297353CC}">
                <c16:uniqueId val="{0000014D-2993-41DE-A2CB-63102DE87051}"/>
              </c:ext>
            </c:extLst>
          </c:dPt>
          <c:dPt>
            <c:idx val="166"/>
            <c:invertIfNegative val="1"/>
            <c:bubble3D val="0"/>
            <c:spPr>
              <a:solidFill>
                <a:srgbClr val="AEABAB"/>
              </a:solidFill>
            </c:spPr>
            <c:extLst>
              <c:ext xmlns:c16="http://schemas.microsoft.com/office/drawing/2014/chart" uri="{C3380CC4-5D6E-409C-BE32-E72D297353CC}">
                <c16:uniqueId val="{0000014F-2993-41DE-A2CB-63102DE87051}"/>
              </c:ext>
            </c:extLst>
          </c:dPt>
          <c:dPt>
            <c:idx val="167"/>
            <c:invertIfNegative val="1"/>
            <c:bubble3D val="0"/>
            <c:spPr>
              <a:solidFill>
                <a:srgbClr val="AEABAB"/>
              </a:solidFill>
            </c:spPr>
            <c:extLst>
              <c:ext xmlns:c16="http://schemas.microsoft.com/office/drawing/2014/chart" uri="{C3380CC4-5D6E-409C-BE32-E72D297353CC}">
                <c16:uniqueId val="{00000151-2993-41DE-A2CB-63102DE87051}"/>
              </c:ext>
            </c:extLst>
          </c:dPt>
          <c:dPt>
            <c:idx val="168"/>
            <c:invertIfNegative val="1"/>
            <c:bubble3D val="0"/>
            <c:spPr>
              <a:solidFill>
                <a:srgbClr val="AEABAB"/>
              </a:solidFill>
            </c:spPr>
            <c:extLst>
              <c:ext xmlns:c16="http://schemas.microsoft.com/office/drawing/2014/chart" uri="{C3380CC4-5D6E-409C-BE32-E72D297353CC}">
                <c16:uniqueId val="{00000153-2993-41DE-A2CB-63102DE87051}"/>
              </c:ext>
            </c:extLst>
          </c:dPt>
          <c:dPt>
            <c:idx val="169"/>
            <c:invertIfNegative val="1"/>
            <c:bubble3D val="0"/>
            <c:spPr>
              <a:solidFill>
                <a:srgbClr val="AEABAB"/>
              </a:solidFill>
            </c:spPr>
            <c:extLst>
              <c:ext xmlns:c16="http://schemas.microsoft.com/office/drawing/2014/chart" uri="{C3380CC4-5D6E-409C-BE32-E72D297353CC}">
                <c16:uniqueId val="{00000155-2993-41DE-A2CB-63102DE87051}"/>
              </c:ext>
            </c:extLst>
          </c:dPt>
          <c:dPt>
            <c:idx val="170"/>
            <c:invertIfNegative val="1"/>
            <c:bubble3D val="0"/>
            <c:spPr>
              <a:solidFill>
                <a:srgbClr val="AEABAB"/>
              </a:solidFill>
            </c:spPr>
            <c:extLst>
              <c:ext xmlns:c16="http://schemas.microsoft.com/office/drawing/2014/chart" uri="{C3380CC4-5D6E-409C-BE32-E72D297353CC}">
                <c16:uniqueId val="{00000157-2993-41DE-A2CB-63102DE87051}"/>
              </c:ext>
            </c:extLst>
          </c:dPt>
          <c:dPt>
            <c:idx val="171"/>
            <c:invertIfNegative val="1"/>
            <c:bubble3D val="0"/>
            <c:spPr>
              <a:solidFill>
                <a:srgbClr val="AEABAB"/>
              </a:solidFill>
            </c:spPr>
            <c:extLst>
              <c:ext xmlns:c16="http://schemas.microsoft.com/office/drawing/2014/chart" uri="{C3380CC4-5D6E-409C-BE32-E72D297353CC}">
                <c16:uniqueId val="{00000159-2993-41DE-A2CB-63102DE87051}"/>
              </c:ext>
            </c:extLst>
          </c:dPt>
          <c:dPt>
            <c:idx val="172"/>
            <c:invertIfNegative val="1"/>
            <c:bubble3D val="0"/>
            <c:spPr>
              <a:solidFill>
                <a:srgbClr val="AEABAB"/>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dPt>
            <c:idx val="210"/>
            <c:invertIfNegative val="1"/>
            <c:bubble3D val="0"/>
            <c:spPr>
              <a:solidFill>
                <a:srgbClr val="AEABAB"/>
              </a:solidFill>
            </c:spPr>
            <c:extLst>
              <c:ext xmlns:c16="http://schemas.microsoft.com/office/drawing/2014/chart" uri="{C3380CC4-5D6E-409C-BE32-E72D297353CC}">
                <c16:uniqueId val="{000001A7-A823-4FB9-8084-2DDBDCC1B4FE}"/>
              </c:ext>
            </c:extLst>
          </c:dPt>
          <c:dPt>
            <c:idx val="211"/>
            <c:invertIfNegative val="1"/>
            <c:bubble3D val="0"/>
            <c:spPr>
              <a:solidFill>
                <a:srgbClr val="AEABAB"/>
              </a:solidFill>
            </c:spPr>
            <c:extLst>
              <c:ext xmlns:c16="http://schemas.microsoft.com/office/drawing/2014/chart" uri="{C3380CC4-5D6E-409C-BE32-E72D297353CC}">
                <c16:uniqueId val="{000001A9-A823-4FB9-8084-2DDBDCC1B4FE}"/>
              </c:ext>
            </c:extLst>
          </c:dPt>
          <c:dPt>
            <c:idx val="212"/>
            <c:invertIfNegative val="1"/>
            <c:bubble3D val="0"/>
            <c:spPr>
              <a:solidFill>
                <a:srgbClr val="AEABAB"/>
              </a:solidFill>
            </c:spPr>
            <c:extLst>
              <c:ext xmlns:c16="http://schemas.microsoft.com/office/drawing/2014/chart" uri="{C3380CC4-5D6E-409C-BE32-E72D297353CC}">
                <c16:uniqueId val="{000001AB-A823-4FB9-8084-2DDBDCC1B4FE}"/>
              </c:ext>
            </c:extLst>
          </c:dPt>
          <c:dPt>
            <c:idx val="213"/>
            <c:invertIfNegative val="1"/>
            <c:bubble3D val="0"/>
            <c:spPr>
              <a:solidFill>
                <a:srgbClr val="AEABAB"/>
              </a:solidFill>
            </c:spPr>
            <c:extLst>
              <c:ext xmlns:c16="http://schemas.microsoft.com/office/drawing/2014/chart" uri="{C3380CC4-5D6E-409C-BE32-E72D297353CC}">
                <c16:uniqueId val="{000001AD-A823-4FB9-8084-2DDBDCC1B4FE}"/>
              </c:ext>
            </c:extLst>
          </c:dPt>
          <c:dPt>
            <c:idx val="214"/>
            <c:invertIfNegative val="1"/>
            <c:bubble3D val="0"/>
            <c:spPr>
              <a:solidFill>
                <a:srgbClr val="AEABAB"/>
              </a:solidFill>
            </c:spPr>
            <c:extLst>
              <c:ext xmlns:c16="http://schemas.microsoft.com/office/drawing/2014/chart" uri="{C3380CC4-5D6E-409C-BE32-E72D297353CC}">
                <c16:uniqueId val="{000001AF-A823-4FB9-8084-2DDBDCC1B4FE}"/>
              </c:ext>
            </c:extLst>
          </c:dPt>
          <c:cat>
            <c:strRef>
              <c:f>Sheet1!$A$2:$A$216</c:f>
              <c:strCache>
                <c:ptCount val="215"/>
                <c:pt idx="0">
                  <c:v>Ruinart</c:v>
                </c:pt>
                <c:pt idx="1">
                  <c:v>Nicolas</c:v>
                </c:pt>
                <c:pt idx="2">
                  <c:v>Deutz</c:v>
                </c:pt>
                <c:pt idx="3">
                  <c:v>Heidsieck &amp;</c:v>
                </c:pt>
                <c:pt idx="4">
                  <c:v>Ruinart</c:v>
                </c:pt>
                <c:pt idx="5">
                  <c:v>Ayala</c:v>
                </c:pt>
                <c:pt idx="6">
                  <c:v>De Bligny</c:v>
                </c:pt>
                <c:pt idx="7">
                  <c:v>Malard</c:v>
                </c:pt>
                <c:pt idx="8">
                  <c:v>Canard Duch</c:v>
                </c:pt>
                <c:pt idx="9">
                  <c:v>Besserat De</c:v>
                </c:pt>
                <c:pt idx="10">
                  <c:v>Laurent Per</c:v>
                </c:pt>
                <c:pt idx="11">
                  <c:v>Campari: Al</c:v>
                </c:pt>
                <c:pt idx="12">
                  <c:v>Bollinger</c:v>
                </c:pt>
                <c:pt idx="13">
                  <c:v>Deutz</c:v>
                </c:pt>
                <c:pt idx="14">
                  <c:v>Taittinger</c:v>
                </c:pt>
                <c:pt idx="15">
                  <c:v>Ruinart</c:v>
                </c:pt>
                <c:pt idx="16">
                  <c:v>Ruinart</c:v>
                </c:pt>
                <c:pt idx="17">
                  <c:v>Nicolas Feu</c:v>
                </c:pt>
                <c:pt idx="18">
                  <c:v>Ruinart</c:v>
                </c:pt>
                <c:pt idx="19">
                  <c:v>Ruinart</c:v>
                </c:pt>
                <c:pt idx="20">
                  <c:v>Demoiselle</c:v>
                </c:pt>
                <c:pt idx="21">
                  <c:v>Savian</c:v>
                </c:pt>
                <c:pt idx="22">
                  <c:v>Deutz</c:v>
                </c:pt>
                <c:pt idx="23">
                  <c:v>Louis Marti</c:v>
                </c:pt>
                <c:pt idx="24">
                  <c:v>All Others</c:v>
                </c:pt>
                <c:pt idx="25">
                  <c:v>Perrier Jou</c:v>
                </c:pt>
                <c:pt idx="26">
                  <c:v>Laurent Per</c:v>
                </c:pt>
                <c:pt idx="27">
                  <c:v>Dom Perigno</c:v>
                </c:pt>
                <c:pt idx="28">
                  <c:v>Henriot</c:v>
                </c:pt>
                <c:pt idx="29">
                  <c:v>Roederer</c:v>
                </c:pt>
                <c:pt idx="30">
                  <c:v>Malard</c:v>
                </c:pt>
                <c:pt idx="31">
                  <c:v>Pommery</c:v>
                </c:pt>
                <c:pt idx="32">
                  <c:v>Besserat De</c:v>
                </c:pt>
                <c:pt idx="33">
                  <c:v>Vesselle</c:v>
                </c:pt>
                <c:pt idx="34">
                  <c:v>Roederer</c:v>
                </c:pt>
                <c:pt idx="35">
                  <c:v>Campari: Al</c:v>
                </c:pt>
                <c:pt idx="36">
                  <c:v>Demoiselle</c:v>
                </c:pt>
                <c:pt idx="37">
                  <c:v>Ruinart</c:v>
                </c:pt>
                <c:pt idx="38">
                  <c:v>Dom Perigno</c:v>
                </c:pt>
                <c:pt idx="39">
                  <c:v>Laurent Per</c:v>
                </c:pt>
                <c:pt idx="40">
                  <c:v>All Others</c:v>
                </c:pt>
                <c:pt idx="41">
                  <c:v>Nicolas</c:v>
                </c:pt>
                <c:pt idx="42">
                  <c:v>Nicolas</c:v>
                </c:pt>
                <c:pt idx="43">
                  <c:v>Moët &amp; Chan</c:v>
                </c:pt>
                <c:pt idx="44">
                  <c:v>Taittinger</c:v>
                </c:pt>
                <c:pt idx="45">
                  <c:v>Malard</c:v>
                </c:pt>
                <c:pt idx="46">
                  <c:v>Nicolas</c:v>
                </c:pt>
                <c:pt idx="47">
                  <c:v>Deutz</c:v>
                </c:pt>
                <c:pt idx="48">
                  <c:v>Ruinart</c:v>
                </c:pt>
                <c:pt idx="49">
                  <c:v>All Others</c:v>
                </c:pt>
                <c:pt idx="50">
                  <c:v>Delamotte</c:v>
                </c:pt>
                <c:pt idx="51">
                  <c:v>Ruinart</c:v>
                </c:pt>
                <c:pt idx="52">
                  <c:v>Besserat De</c:v>
                </c:pt>
                <c:pt idx="53">
                  <c:v>Malard</c:v>
                </c:pt>
                <c:pt idx="54">
                  <c:v>Henriot</c:v>
                </c:pt>
                <c:pt idx="55">
                  <c:v>Veuve Clicq</c:v>
                </c:pt>
                <c:pt idx="56">
                  <c:v>Veuve Clicq</c:v>
                </c:pt>
                <c:pt idx="57">
                  <c:v>Pommery</c:v>
                </c:pt>
                <c:pt idx="58">
                  <c:v>Lanson</c:v>
                </c:pt>
                <c:pt idx="59">
                  <c:v>Nicolas Feu</c:v>
                </c:pt>
                <c:pt idx="60">
                  <c:v>Veuve Clicq</c:v>
                </c:pt>
                <c:pt idx="61">
                  <c:v>Piper Heids</c:v>
                </c:pt>
                <c:pt idx="62">
                  <c:v>Nicolas Feu</c:v>
                </c:pt>
                <c:pt idx="63">
                  <c:v>De Bligny</c:v>
                </c:pt>
                <c:pt idx="64">
                  <c:v>Ayala</c:v>
                </c:pt>
                <c:pt idx="65">
                  <c:v>Canard Duch</c:v>
                </c:pt>
                <c:pt idx="66">
                  <c:v>Ruinart</c:v>
                </c:pt>
                <c:pt idx="67">
                  <c:v>De Venoge</c:v>
                </c:pt>
                <c:pt idx="68">
                  <c:v>Nicolas Feu</c:v>
                </c:pt>
                <c:pt idx="69">
                  <c:v>Roederer</c:v>
                </c:pt>
                <c:pt idx="70">
                  <c:v>Krug</c:v>
                </c:pt>
                <c:pt idx="71">
                  <c:v>Henriot</c:v>
                </c:pt>
                <c:pt idx="72">
                  <c:v>Canard Duch</c:v>
                </c:pt>
                <c:pt idx="73">
                  <c:v>Laurent Per</c:v>
                </c:pt>
                <c:pt idx="74">
                  <c:v>Roederer</c:v>
                </c:pt>
                <c:pt idx="75">
                  <c:v>Bollinger</c:v>
                </c:pt>
                <c:pt idx="76">
                  <c:v>Roederer</c:v>
                </c:pt>
                <c:pt idx="77">
                  <c:v>Roederer</c:v>
                </c:pt>
                <c:pt idx="78">
                  <c:v>Henriot</c:v>
                </c:pt>
                <c:pt idx="79">
                  <c:v>Nicolas</c:v>
                </c:pt>
                <c:pt idx="80">
                  <c:v>Malard</c:v>
                </c:pt>
                <c:pt idx="81">
                  <c:v>De Venoge</c:v>
                </c:pt>
                <c:pt idx="82">
                  <c:v>Nicolas</c:v>
                </c:pt>
                <c:pt idx="83">
                  <c:v>Ruinart</c:v>
                </c:pt>
                <c:pt idx="84">
                  <c:v>Perrier Jou</c:v>
                </c:pt>
                <c:pt idx="85">
                  <c:v>Canard Duch</c:v>
                </c:pt>
                <c:pt idx="86">
                  <c:v>Roederer</c:v>
                </c:pt>
                <c:pt idx="87">
                  <c:v>Ruinart</c:v>
                </c:pt>
                <c:pt idx="88">
                  <c:v>Moët &amp; Chan</c:v>
                </c:pt>
                <c:pt idx="89">
                  <c:v>Deutz</c:v>
                </c:pt>
                <c:pt idx="90">
                  <c:v>Moët &amp; Chan</c:v>
                </c:pt>
                <c:pt idx="91">
                  <c:v>De Venoge</c:v>
                </c:pt>
                <c:pt idx="92">
                  <c:v>Malard</c:v>
                </c:pt>
                <c:pt idx="93">
                  <c:v>Veuve Clicq</c:v>
                </c:pt>
                <c:pt idx="94">
                  <c:v>De Venoge</c:v>
                </c:pt>
                <c:pt idx="95">
                  <c:v>Vranken</c:v>
                </c:pt>
                <c:pt idx="96">
                  <c:v>Roederer</c:v>
                </c:pt>
                <c:pt idx="97">
                  <c:v>Dom Perigno</c:v>
                </c:pt>
                <c:pt idx="98">
                  <c:v>Vranken</c:v>
                </c:pt>
                <c:pt idx="99">
                  <c:v>Bollinger</c:v>
                </c:pt>
                <c:pt idx="100">
                  <c:v>Nicolas</c:v>
                </c:pt>
                <c:pt idx="101">
                  <c:v>Roederer</c:v>
                </c:pt>
                <c:pt idx="102">
                  <c:v>All Others</c:v>
                </c:pt>
                <c:pt idx="103">
                  <c:v>Nicolas</c:v>
                </c:pt>
                <c:pt idx="104">
                  <c:v>Deutz</c:v>
                </c:pt>
                <c:pt idx="105">
                  <c:v>Ruinart</c:v>
                </c:pt>
                <c:pt idx="106">
                  <c:v>Laurent Per</c:v>
                </c:pt>
                <c:pt idx="107">
                  <c:v>Nicolas</c:v>
                </c:pt>
                <c:pt idx="108">
                  <c:v>Nicolas Feu</c:v>
                </c:pt>
                <c:pt idx="109">
                  <c:v>Roederer</c:v>
                </c:pt>
                <c:pt idx="110">
                  <c:v>Roederer</c:v>
                </c:pt>
                <c:pt idx="111">
                  <c:v>Canard Duch</c:v>
                </c:pt>
                <c:pt idx="112">
                  <c:v>Nicolas</c:v>
                </c:pt>
                <c:pt idx="113">
                  <c:v>Deutz</c:v>
                </c:pt>
                <c:pt idx="114">
                  <c:v>Louis Marti</c:v>
                </c:pt>
                <c:pt idx="115">
                  <c:v>Nicolas</c:v>
                </c:pt>
                <c:pt idx="116">
                  <c:v>Nicolas</c:v>
                </c:pt>
                <c:pt idx="117">
                  <c:v>Pommery</c:v>
                </c:pt>
                <c:pt idx="118">
                  <c:v>Laurent Per</c:v>
                </c:pt>
                <c:pt idx="119">
                  <c:v>Nicolas</c:v>
                </c:pt>
                <c:pt idx="120">
                  <c:v>Demoiselle</c:v>
                </c:pt>
                <c:pt idx="121">
                  <c:v>Taittinger</c:v>
                </c:pt>
                <c:pt idx="122">
                  <c:v>Bollinger</c:v>
                </c:pt>
                <c:pt idx="123">
                  <c:v>Ruinart</c:v>
                </c:pt>
                <c:pt idx="124">
                  <c:v>Dom Perigno</c:v>
                </c:pt>
                <c:pt idx="125">
                  <c:v>Ayala</c:v>
                </c:pt>
                <c:pt idx="126">
                  <c:v>Ruinart</c:v>
                </c:pt>
                <c:pt idx="127">
                  <c:v>Besserat De</c:v>
                </c:pt>
                <c:pt idx="128">
                  <c:v>Nicolas</c:v>
                </c:pt>
                <c:pt idx="129">
                  <c:v>Laurent Per</c:v>
                </c:pt>
                <c:pt idx="130">
                  <c:v>Ruinart</c:v>
                </c:pt>
                <c:pt idx="131">
                  <c:v>Roederer</c:v>
                </c:pt>
                <c:pt idx="132">
                  <c:v>Nicolas</c:v>
                </c:pt>
                <c:pt idx="133">
                  <c:v>Perrier Jou</c:v>
                </c:pt>
                <c:pt idx="134">
                  <c:v>Roederer</c:v>
                </c:pt>
                <c:pt idx="135">
                  <c:v>Piper Heids</c:v>
                </c:pt>
                <c:pt idx="136">
                  <c:v>All Others</c:v>
                </c:pt>
                <c:pt idx="137">
                  <c:v>Pommery</c:v>
                </c:pt>
                <c:pt idx="138">
                  <c:v>Nicolas</c:v>
                </c:pt>
                <c:pt idx="139">
                  <c:v>Lanson</c:v>
                </c:pt>
                <c:pt idx="140">
                  <c:v>Vesselle</c:v>
                </c:pt>
                <c:pt idx="141">
                  <c:v>Deutz</c:v>
                </c:pt>
                <c:pt idx="142">
                  <c:v>Vranken</c:v>
                </c:pt>
                <c:pt idx="143">
                  <c:v>Besserat De</c:v>
                </c:pt>
                <c:pt idx="144">
                  <c:v>Ruinart</c:v>
                </c:pt>
                <c:pt idx="145">
                  <c:v>Moët &amp; Chan</c:v>
                </c:pt>
                <c:pt idx="146">
                  <c:v>Pommery</c:v>
                </c:pt>
                <c:pt idx="147">
                  <c:v>Nicolas</c:v>
                </c:pt>
                <c:pt idx="148">
                  <c:v>Delamotte</c:v>
                </c:pt>
                <c:pt idx="149">
                  <c:v>Ruinart</c:v>
                </c:pt>
                <c:pt idx="150">
                  <c:v>Taittinger</c:v>
                </c:pt>
                <c:pt idx="151">
                  <c:v>Ruinart</c:v>
                </c:pt>
                <c:pt idx="152">
                  <c:v>Roederer</c:v>
                </c:pt>
                <c:pt idx="153">
                  <c:v>All Others</c:v>
                </c:pt>
                <c:pt idx="154">
                  <c:v>Ruinart</c:v>
                </c:pt>
                <c:pt idx="155">
                  <c:v>Canard Duch</c:v>
                </c:pt>
                <c:pt idx="156">
                  <c:v>Nicolas</c:v>
                </c:pt>
                <c:pt idx="157">
                  <c:v>Bollinger</c:v>
                </c:pt>
                <c:pt idx="158">
                  <c:v>Demoiselle</c:v>
                </c:pt>
                <c:pt idx="159">
                  <c:v>Piper Heids</c:v>
                </c:pt>
                <c:pt idx="160">
                  <c:v>Roederer</c:v>
                </c:pt>
                <c:pt idx="161">
                  <c:v>Laurent Per</c:v>
                </c:pt>
                <c:pt idx="162">
                  <c:v>Henriot</c:v>
                </c:pt>
                <c:pt idx="163">
                  <c:v>All Others</c:v>
                </c:pt>
                <c:pt idx="164">
                  <c:v>All Others</c:v>
                </c:pt>
                <c:pt idx="165">
                  <c:v>Nicolas</c:v>
                </c:pt>
                <c:pt idx="166">
                  <c:v>All Others</c:v>
                </c:pt>
                <c:pt idx="167">
                  <c:v>Piper Heids</c:v>
                </c:pt>
                <c:pt idx="168">
                  <c:v>Canard Duch</c:v>
                </c:pt>
                <c:pt idx="169">
                  <c:v>Malard</c:v>
                </c:pt>
                <c:pt idx="170">
                  <c:v>Roederer</c:v>
                </c:pt>
                <c:pt idx="171">
                  <c:v>Pommery</c:v>
                </c:pt>
                <c:pt idx="172">
                  <c:v>Pommery</c:v>
                </c:pt>
                <c:pt idx="173">
                  <c:v>Bollinger</c:v>
                </c:pt>
                <c:pt idx="174">
                  <c:v>De Venoge</c:v>
                </c:pt>
                <c:pt idx="175">
                  <c:v>All Others</c:v>
                </c:pt>
                <c:pt idx="176">
                  <c:v>All Others</c:v>
                </c:pt>
                <c:pt idx="177">
                  <c:v>Moët &amp; Chan</c:v>
                </c:pt>
                <c:pt idx="178">
                  <c:v>Piper Heids</c:v>
                </c:pt>
                <c:pt idx="179">
                  <c:v>Ruinart</c:v>
                </c:pt>
                <c:pt idx="180">
                  <c:v>Ruinart</c:v>
                </c:pt>
                <c:pt idx="181">
                  <c:v>Laurent Per</c:v>
                </c:pt>
                <c:pt idx="182">
                  <c:v>Martel</c:v>
                </c:pt>
                <c:pt idx="183">
                  <c:v>Nicolas Feu</c:v>
                </c:pt>
                <c:pt idx="184">
                  <c:v>Vesselle</c:v>
                </c:pt>
                <c:pt idx="185">
                  <c:v>Ruinart</c:v>
                </c:pt>
                <c:pt idx="186">
                  <c:v>De Bligny</c:v>
                </c:pt>
                <c:pt idx="187">
                  <c:v>Roederer</c:v>
                </c:pt>
                <c:pt idx="188">
                  <c:v>Lanson</c:v>
                </c:pt>
                <c:pt idx="189">
                  <c:v>Bollinger</c:v>
                </c:pt>
                <c:pt idx="190">
                  <c:v>De Venoge</c:v>
                </c:pt>
                <c:pt idx="191">
                  <c:v>All Others</c:v>
                </c:pt>
                <c:pt idx="192">
                  <c:v>Veuve Clicq</c:v>
                </c:pt>
                <c:pt idx="193">
                  <c:v>Ayala</c:v>
                </c:pt>
                <c:pt idx="194">
                  <c:v>Pommery</c:v>
                </c:pt>
                <c:pt idx="195">
                  <c:v>Henriot</c:v>
                </c:pt>
                <c:pt idx="196">
                  <c:v>Demoiselle</c:v>
                </c:pt>
                <c:pt idx="197">
                  <c:v>Roederer</c:v>
                </c:pt>
                <c:pt idx="198">
                  <c:v>Roederer</c:v>
                </c:pt>
                <c:pt idx="199">
                  <c:v>Bollinger</c:v>
                </c:pt>
                <c:pt idx="200">
                  <c:v>Bollinger</c:v>
                </c:pt>
                <c:pt idx="201">
                  <c:v>Nicolas</c:v>
                </c:pt>
                <c:pt idx="202">
                  <c:v>Malard</c:v>
                </c:pt>
                <c:pt idx="203">
                  <c:v>Lanson</c:v>
                </c:pt>
                <c:pt idx="204">
                  <c:v>All Others</c:v>
                </c:pt>
                <c:pt idx="205">
                  <c:v>Roederer</c:v>
                </c:pt>
                <c:pt idx="206">
                  <c:v>Ruinart</c:v>
                </c:pt>
                <c:pt idx="207">
                  <c:v>Malard</c:v>
                </c:pt>
                <c:pt idx="208">
                  <c:v>Nicolas</c:v>
                </c:pt>
                <c:pt idx="209">
                  <c:v>Ayala</c:v>
                </c:pt>
                <c:pt idx="210">
                  <c:v>Demoiselle</c:v>
                </c:pt>
                <c:pt idx="211">
                  <c:v>Canard Duch</c:v>
                </c:pt>
                <c:pt idx="212">
                  <c:v>Ayala</c:v>
                </c:pt>
                <c:pt idx="213">
                  <c:v>Nicolas</c:v>
                </c:pt>
                <c:pt idx="214">
                  <c:v>Vesselle</c:v>
                </c:pt>
              </c:strCache>
            </c:strRef>
          </c:cat>
          <c:val>
            <c:numRef>
              <c:f>Sheet1!$C$2:$C$216</c:f>
              <c:numCache>
                <c:formatCode>General</c:formatCode>
                <c:ptCount val="215"/>
                <c:pt idx="0">
                  <c:v>9.5459218977421365E-2</c:v>
                </c:pt>
                <c:pt idx="1">
                  <c:v>0.18477921351117435</c:v>
                </c:pt>
                <c:pt idx="2">
                  <c:v>0.24167915733030232</c:v>
                </c:pt>
                <c:pt idx="3">
                  <c:v>0.29104999663782427</c:v>
                </c:pt>
                <c:pt idx="4">
                  <c:v>0.32813045675699715</c:v>
                </c:pt>
                <c:pt idx="5">
                  <c:v>0.36401680220211668</c:v>
                </c:pt>
                <c:pt idx="6">
                  <c:v>0.39932452804813773</c:v>
                </c:pt>
                <c:pt idx="7">
                  <c:v>0.43169794213153267</c:v>
                </c:pt>
                <c:pt idx="8">
                  <c:v>0.45306023066694723</c:v>
                </c:pt>
                <c:pt idx="9">
                  <c:v>0.47212973226235383</c:v>
                </c:pt>
                <c:pt idx="10">
                  <c:v>0.48964287186205968</c:v>
                </c:pt>
                <c:pt idx="11">
                  <c:v>0.506418501944639</c:v>
                </c:pt>
                <c:pt idx="12">
                  <c:v>0.52294305341954961</c:v>
                </c:pt>
                <c:pt idx="13">
                  <c:v>0.5393835505009642</c:v>
                </c:pt>
                <c:pt idx="14">
                  <c:v>0.55491734470544085</c:v>
                </c:pt>
                <c:pt idx="15">
                  <c:v>0.56982262896113112</c:v>
                </c:pt>
                <c:pt idx="16">
                  <c:v>0.58466609256612101</c:v>
                </c:pt>
                <c:pt idx="17">
                  <c:v>0.59901878697037603</c:v>
                </c:pt>
                <c:pt idx="18">
                  <c:v>0.61322181032556711</c:v>
                </c:pt>
                <c:pt idx="19">
                  <c:v>0.62625403732231988</c:v>
                </c:pt>
                <c:pt idx="20">
                  <c:v>0.63863985891876773</c:v>
                </c:pt>
                <c:pt idx="21">
                  <c:v>0.64966562619980872</c:v>
                </c:pt>
                <c:pt idx="22">
                  <c:v>0.66060679680094403</c:v>
                </c:pt>
                <c:pt idx="23">
                  <c:v>0.67034463385906196</c:v>
                </c:pt>
                <c:pt idx="24">
                  <c:v>0.68003691885876916</c:v>
                </c:pt>
                <c:pt idx="25">
                  <c:v>0.68955133391611056</c:v>
                </c:pt>
                <c:pt idx="26">
                  <c:v>0.69885479956009733</c:v>
                </c:pt>
                <c:pt idx="27">
                  <c:v>0.70795761923251299</c:v>
                </c:pt>
                <c:pt idx="28">
                  <c:v>0.71641294893180429</c:v>
                </c:pt>
                <c:pt idx="29">
                  <c:v>0.7244729518384595</c:v>
                </c:pt>
                <c:pt idx="30">
                  <c:v>0.7319169173837502</c:v>
                </c:pt>
                <c:pt idx="31">
                  <c:v>0.73934461433675136</c:v>
                </c:pt>
                <c:pt idx="32">
                  <c:v>0.74653695898796357</c:v>
                </c:pt>
                <c:pt idx="33">
                  <c:v>0.75365284125541487</c:v>
                </c:pt>
                <c:pt idx="34">
                  <c:v>0.76047480428883485</c:v>
                </c:pt>
                <c:pt idx="35">
                  <c:v>0.76691228625781172</c:v>
                </c:pt>
                <c:pt idx="36">
                  <c:v>0.77328577843044966</c:v>
                </c:pt>
                <c:pt idx="37">
                  <c:v>0.77955732075807305</c:v>
                </c:pt>
                <c:pt idx="38">
                  <c:v>0.78581964421673234</c:v>
                </c:pt>
                <c:pt idx="39">
                  <c:v>0.79205268420927044</c:v>
                </c:pt>
                <c:pt idx="40">
                  <c:v>0.79817238634219134</c:v>
                </c:pt>
                <c:pt idx="41">
                  <c:v>0.80426931244590683</c:v>
                </c:pt>
                <c:pt idx="42">
                  <c:v>0.81003869755819269</c:v>
                </c:pt>
                <c:pt idx="43">
                  <c:v>0.8155559194899904</c:v>
                </c:pt>
                <c:pt idx="44">
                  <c:v>0.82099396760597898</c:v>
                </c:pt>
                <c:pt idx="45">
                  <c:v>0.8260144551865356</c:v>
                </c:pt>
                <c:pt idx="46">
                  <c:v>0.83080338647017093</c:v>
                </c:pt>
                <c:pt idx="47">
                  <c:v>0.83529622937413639</c:v>
                </c:pt>
                <c:pt idx="48">
                  <c:v>0.83972454019535325</c:v>
                </c:pt>
                <c:pt idx="49">
                  <c:v>0.8439093644186364</c:v>
                </c:pt>
                <c:pt idx="50">
                  <c:v>0.84806870118066591</c:v>
                </c:pt>
                <c:pt idx="51">
                  <c:v>0.8520566754372455</c:v>
                </c:pt>
                <c:pt idx="52">
                  <c:v>0.85588196377092951</c:v>
                </c:pt>
                <c:pt idx="53">
                  <c:v>0.85968556064822743</c:v>
                </c:pt>
                <c:pt idx="54">
                  <c:v>0.86335467049593173</c:v>
                </c:pt>
                <c:pt idx="55">
                  <c:v>0.86694677567346545</c:v>
                </c:pt>
                <c:pt idx="56">
                  <c:v>0.87048899050131123</c:v>
                </c:pt>
                <c:pt idx="57">
                  <c:v>0.87392925548414246</c:v>
                </c:pt>
                <c:pt idx="58">
                  <c:v>0.87732234154933397</c:v>
                </c:pt>
                <c:pt idx="59">
                  <c:v>0.88062757721616192</c:v>
                </c:pt>
                <c:pt idx="60">
                  <c:v>0.88391871343633888</c:v>
                </c:pt>
                <c:pt idx="61">
                  <c:v>0.8871859890544912</c:v>
                </c:pt>
                <c:pt idx="62">
                  <c:v>0.89045326467264352</c:v>
                </c:pt>
                <c:pt idx="63">
                  <c:v>0.89369125682467465</c:v>
                </c:pt>
                <c:pt idx="64">
                  <c:v>0.8969151495300548</c:v>
                </c:pt>
                <c:pt idx="65">
                  <c:v>0.89998937118637101</c:v>
                </c:pt>
                <c:pt idx="66">
                  <c:v>0.90290795664311718</c:v>
                </c:pt>
                <c:pt idx="67">
                  <c:v>0.90575170657533133</c:v>
                </c:pt>
                <c:pt idx="68">
                  <c:v>0.90856237703655673</c:v>
                </c:pt>
                <c:pt idx="69">
                  <c:v>0.91128031652173169</c:v>
                </c:pt>
                <c:pt idx="70">
                  <c:v>0.91394185822030283</c:v>
                </c:pt>
                <c:pt idx="71">
                  <c:v>0.91658225074889754</c:v>
                </c:pt>
                <c:pt idx="72">
                  <c:v>0.91919498667060007</c:v>
                </c:pt>
                <c:pt idx="73">
                  <c:v>0.921744817368783</c:v>
                </c:pt>
                <c:pt idx="74">
                  <c:v>0.92427566804262806</c:v>
                </c:pt>
                <c:pt idx="75">
                  <c:v>0.92674740949782108</c:v>
                </c:pt>
                <c:pt idx="76">
                  <c:v>0.92912479311773466</c:v>
                </c:pt>
                <c:pt idx="77">
                  <c:v>0.93129827704761925</c:v>
                </c:pt>
                <c:pt idx="78">
                  <c:v>0.93343868150651499</c:v>
                </c:pt>
                <c:pt idx="79">
                  <c:v>0.93546412124656453</c:v>
                </c:pt>
                <c:pt idx="80">
                  <c:v>0.93731386018988694</c:v>
                </c:pt>
                <c:pt idx="81">
                  <c:v>0.93914570368169081</c:v>
                </c:pt>
                <c:pt idx="82">
                  <c:v>0.9409558557171086</c:v>
                </c:pt>
                <c:pt idx="83">
                  <c:v>0.9427383511456342</c:v>
                </c:pt>
                <c:pt idx="84">
                  <c:v>0.94437659838919241</c:v>
                </c:pt>
                <c:pt idx="85">
                  <c:v>0.94601267648711196</c:v>
                </c:pt>
                <c:pt idx="86">
                  <c:v>0.947605913958669</c:v>
                </c:pt>
                <c:pt idx="87">
                  <c:v>0.94904297294424633</c:v>
                </c:pt>
                <c:pt idx="88">
                  <c:v>0.95044532559960593</c:v>
                </c:pt>
                <c:pt idx="89">
                  <c:v>0.9518037530557838</c:v>
                </c:pt>
                <c:pt idx="90">
                  <c:v>0.95316055365273267</c:v>
                </c:pt>
                <c:pt idx="91">
                  <c:v>0.95442082726876354</c:v>
                </c:pt>
                <c:pt idx="92">
                  <c:v>0.95560897679231072</c:v>
                </c:pt>
                <c:pt idx="93">
                  <c:v>0.95674072852925407</c:v>
                </c:pt>
                <c:pt idx="94">
                  <c:v>0.95786163453800444</c:v>
                </c:pt>
                <c:pt idx="95">
                  <c:v>0.95897440625061003</c:v>
                </c:pt>
                <c:pt idx="96">
                  <c:v>0.96003620304070836</c:v>
                </c:pt>
                <c:pt idx="97">
                  <c:v>0.96107956209287848</c:v>
                </c:pt>
                <c:pt idx="98">
                  <c:v>0.9621061102663494</c:v>
                </c:pt>
                <c:pt idx="99">
                  <c:v>0.9631299470077721</c:v>
                </c:pt>
                <c:pt idx="100">
                  <c:v>0.96414944545791759</c:v>
                </c:pt>
                <c:pt idx="101">
                  <c:v>0.96513749129630322</c:v>
                </c:pt>
                <c:pt idx="102">
                  <c:v>0.96608757708601323</c:v>
                </c:pt>
                <c:pt idx="103">
                  <c:v>0.96702302114266259</c:v>
                </c:pt>
                <c:pt idx="104">
                  <c:v>0.96795304233521551</c:v>
                </c:pt>
                <c:pt idx="105">
                  <c:v>0.96887221779957533</c:v>
                </c:pt>
                <c:pt idx="106">
                  <c:v>0.96978651268624827</c:v>
                </c:pt>
                <c:pt idx="107">
                  <c:v>0.97068508126704134</c:v>
                </c:pt>
                <c:pt idx="108">
                  <c:v>0.97156900811477387</c:v>
                </c:pt>
                <c:pt idx="109">
                  <c:v>0.97243883551585542</c:v>
                </c:pt>
                <c:pt idx="110">
                  <c:v>0.97329835947515353</c:v>
                </c:pt>
                <c:pt idx="111">
                  <c:v>0.97411666966731814</c:v>
                </c:pt>
                <c:pt idx="112">
                  <c:v>0.97490895011181944</c:v>
                </c:pt>
                <c:pt idx="113">
                  <c:v>0.97562964875024671</c:v>
                </c:pt>
                <c:pt idx="114">
                  <c:v>0.97633462108279412</c:v>
                </c:pt>
                <c:pt idx="115">
                  <c:v>0.97703308597842564</c:v>
                </c:pt>
                <c:pt idx="116">
                  <c:v>0.97772070514586418</c:v>
                </c:pt>
                <c:pt idx="117">
                  <c:v>0.97838229456563941</c:v>
                </c:pt>
                <c:pt idx="118">
                  <c:v>0.97902165024261889</c:v>
                </c:pt>
                <c:pt idx="119">
                  <c:v>0.97965666762832115</c:v>
                </c:pt>
                <c:pt idx="120">
                  <c:v>0.98028951586838486</c:v>
                </c:pt>
                <c:pt idx="121">
                  <c:v>0.98091585667153269</c:v>
                </c:pt>
                <c:pt idx="122">
                  <c:v>0.9815042374260049</c:v>
                </c:pt>
                <c:pt idx="123">
                  <c:v>0.98207363815613935</c:v>
                </c:pt>
                <c:pt idx="124">
                  <c:v>0.98261592456579117</c:v>
                </c:pt>
                <c:pt idx="125">
                  <c:v>0.98313001208214112</c:v>
                </c:pt>
                <c:pt idx="126">
                  <c:v>0.98364301502567175</c:v>
                </c:pt>
                <c:pt idx="127">
                  <c:v>0.98413703794486462</c:v>
                </c:pt>
                <c:pt idx="128">
                  <c:v>0.98458876252410454</c:v>
                </c:pt>
                <c:pt idx="129">
                  <c:v>0.98502747222951292</c:v>
                </c:pt>
                <c:pt idx="130">
                  <c:v>0.98546563964851164</c:v>
                </c:pt>
                <c:pt idx="131">
                  <c:v>0.98587831960625671</c:v>
                </c:pt>
                <c:pt idx="132">
                  <c:v>0.98627906926298947</c:v>
                </c:pt>
                <c:pt idx="133">
                  <c:v>0.98667927663331256</c:v>
                </c:pt>
                <c:pt idx="134">
                  <c:v>0.98707948400363565</c:v>
                </c:pt>
                <c:pt idx="135">
                  <c:v>0.98747806451472975</c:v>
                </c:pt>
                <c:pt idx="136">
                  <c:v>0.98786688387045007</c:v>
                </c:pt>
                <c:pt idx="137">
                  <c:v>0.98825407636694151</c:v>
                </c:pt>
                <c:pt idx="138">
                  <c:v>0.98862228883909509</c:v>
                </c:pt>
                <c:pt idx="139">
                  <c:v>0.98897965558305567</c:v>
                </c:pt>
                <c:pt idx="140">
                  <c:v>0.98933431089496793</c:v>
                </c:pt>
                <c:pt idx="141">
                  <c:v>0.98966998618254243</c:v>
                </c:pt>
                <c:pt idx="142">
                  <c:v>0.99000186546524938</c:v>
                </c:pt>
                <c:pt idx="143">
                  <c:v>0.9903125955779799</c:v>
                </c:pt>
                <c:pt idx="144">
                  <c:v>0.99061790282661388</c:v>
                </c:pt>
                <c:pt idx="145">
                  <c:v>0.99091561806551276</c:v>
                </c:pt>
                <c:pt idx="146">
                  <c:v>0.99119652242571243</c:v>
                </c:pt>
                <c:pt idx="147">
                  <c:v>0.99147471535386378</c:v>
                </c:pt>
                <c:pt idx="148">
                  <c:v>0.99174531627228002</c:v>
                </c:pt>
                <c:pt idx="149">
                  <c:v>0.99199747945276817</c:v>
                </c:pt>
                <c:pt idx="150">
                  <c:v>0.99224801577402733</c:v>
                </c:pt>
                <c:pt idx="151">
                  <c:v>0.99248879093991271</c:v>
                </c:pt>
                <c:pt idx="152">
                  <c:v>0.99272902381938843</c:v>
                </c:pt>
                <c:pt idx="153">
                  <c:v>0.99296762983963527</c:v>
                </c:pt>
                <c:pt idx="154">
                  <c:v>0.99320081299578555</c:v>
                </c:pt>
                <c:pt idx="155">
                  <c:v>0.9934269464286104</c:v>
                </c:pt>
                <c:pt idx="156">
                  <c:v>0.99364060727401327</c:v>
                </c:pt>
                <c:pt idx="157">
                  <c:v>0.99384559153686169</c:v>
                </c:pt>
                <c:pt idx="158">
                  <c:v>0.99404027235792669</c:v>
                </c:pt>
                <c:pt idx="159">
                  <c:v>0.99422844574207592</c:v>
                </c:pt>
                <c:pt idx="160">
                  <c:v>0.99441607683981548</c:v>
                </c:pt>
                <c:pt idx="161">
                  <c:v>0.99460262336473571</c:v>
                </c:pt>
                <c:pt idx="162">
                  <c:v>0.9947880853168366</c:v>
                </c:pt>
                <c:pt idx="163">
                  <c:v>0.9949735472689375</c:v>
                </c:pt>
                <c:pt idx="164">
                  <c:v>0.99514762120643574</c:v>
                </c:pt>
                <c:pt idx="165">
                  <c:v>0.99531030712933133</c:v>
                </c:pt>
                <c:pt idx="166">
                  <c:v>0.99547299305222692</c:v>
                </c:pt>
                <c:pt idx="167">
                  <c:v>0.99563025611102596</c:v>
                </c:pt>
                <c:pt idx="168">
                  <c:v>0.99578480773777678</c:v>
                </c:pt>
                <c:pt idx="169">
                  <c:v>0.99593664793247927</c:v>
                </c:pt>
                <c:pt idx="170">
                  <c:v>0.99608631898154321</c:v>
                </c:pt>
                <c:pt idx="171">
                  <c:v>0.99623544774419748</c:v>
                </c:pt>
                <c:pt idx="172">
                  <c:v>0.99638403422044208</c:v>
                </c:pt>
                <c:pt idx="173">
                  <c:v>0.99652448640054192</c:v>
                </c:pt>
                <c:pt idx="174">
                  <c:v>0.99666439629423209</c:v>
                </c:pt>
                <c:pt idx="175">
                  <c:v>0.9968037639015126</c:v>
                </c:pt>
                <c:pt idx="176">
                  <c:v>0.99694204693597377</c:v>
                </c:pt>
                <c:pt idx="177">
                  <c:v>0.99707761853838672</c:v>
                </c:pt>
                <c:pt idx="178">
                  <c:v>0.99721319014079968</c:v>
                </c:pt>
                <c:pt idx="179">
                  <c:v>0.99734821945680296</c:v>
                </c:pt>
                <c:pt idx="180">
                  <c:v>0.99748270648639659</c:v>
                </c:pt>
                <c:pt idx="181">
                  <c:v>0.99761231293830333</c:v>
                </c:pt>
                <c:pt idx="182">
                  <c:v>0.9977337850940653</c:v>
                </c:pt>
                <c:pt idx="183">
                  <c:v>0.99785308810418871</c:v>
                </c:pt>
                <c:pt idx="184">
                  <c:v>0.99797239111431213</c:v>
                </c:pt>
                <c:pt idx="185">
                  <c:v>0.99808898269238733</c:v>
                </c:pt>
                <c:pt idx="186">
                  <c:v>0.9982028628384142</c:v>
                </c:pt>
                <c:pt idx="187">
                  <c:v>0.99831132012034451</c:v>
                </c:pt>
                <c:pt idx="188">
                  <c:v>0.99841706597022661</c:v>
                </c:pt>
                <c:pt idx="189">
                  <c:v>0.99851955810165083</c:v>
                </c:pt>
                <c:pt idx="190">
                  <c:v>0.99861662736897849</c:v>
                </c:pt>
                <c:pt idx="191">
                  <c:v>0.99871315434989649</c:v>
                </c:pt>
                <c:pt idx="192">
                  <c:v>0.9988080544715856</c:v>
                </c:pt>
                <c:pt idx="193">
                  <c:v>0.99890187002045538</c:v>
                </c:pt>
                <c:pt idx="194">
                  <c:v>0.99899405871009617</c:v>
                </c:pt>
                <c:pt idx="195">
                  <c:v>0.99908516282691773</c:v>
                </c:pt>
                <c:pt idx="196">
                  <c:v>0.99916867493400408</c:v>
                </c:pt>
                <c:pt idx="197">
                  <c:v>0.99924459503135532</c:v>
                </c:pt>
                <c:pt idx="198">
                  <c:v>0.99931617683742935</c:v>
                </c:pt>
                <c:pt idx="199">
                  <c:v>0.99938450492504549</c:v>
                </c:pt>
                <c:pt idx="200">
                  <c:v>0.99945229072625197</c:v>
                </c:pt>
                <c:pt idx="201">
                  <c:v>0.99951899195463911</c:v>
                </c:pt>
                <c:pt idx="202">
                  <c:v>0.99958027031892982</c:v>
                </c:pt>
                <c:pt idx="203">
                  <c:v>0.9996388372511722</c:v>
                </c:pt>
                <c:pt idx="204">
                  <c:v>0.99969360817854702</c:v>
                </c:pt>
                <c:pt idx="205">
                  <c:v>0.99974512538746396</c:v>
                </c:pt>
                <c:pt idx="206">
                  <c:v>0.99978850830023613</c:v>
                </c:pt>
                <c:pt idx="207">
                  <c:v>0.99982863749455042</c:v>
                </c:pt>
                <c:pt idx="208">
                  <c:v>0.99986442839758749</c:v>
                </c:pt>
                <c:pt idx="209">
                  <c:v>0.99989425415011834</c:v>
                </c:pt>
                <c:pt idx="210">
                  <c:v>0.99991757246573343</c:v>
                </c:pt>
                <c:pt idx="211">
                  <c:v>0.99994034849493885</c:v>
                </c:pt>
                <c:pt idx="212">
                  <c:v>0.9999625822377346</c:v>
                </c:pt>
                <c:pt idx="213">
                  <c:v>0.99998318912130135</c:v>
                </c:pt>
                <c:pt idx="214">
                  <c:v>1.0000000000000007</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50</c:f>
              <c:strCache>
                <c:ptCount val="249"/>
                <c:pt idx="0">
                  <c:v>Ruinart</c:v>
                </c:pt>
                <c:pt idx="1">
                  <c:v>Nicolas</c:v>
                </c:pt>
                <c:pt idx="2">
                  <c:v>All Others</c:v>
                </c:pt>
                <c:pt idx="3">
                  <c:v>Deutz</c:v>
                </c:pt>
                <c:pt idx="4">
                  <c:v>Ruinart</c:v>
                </c:pt>
                <c:pt idx="5">
                  <c:v>Ayala</c:v>
                </c:pt>
                <c:pt idx="6">
                  <c:v>All Others</c:v>
                </c:pt>
                <c:pt idx="7">
                  <c:v>Bollinger</c:v>
                </c:pt>
                <c:pt idx="8">
                  <c:v>De Bligny</c:v>
                </c:pt>
                <c:pt idx="9">
                  <c:v>Malard</c:v>
                </c:pt>
                <c:pt idx="10">
                  <c:v>Laurent Per</c:v>
                </c:pt>
                <c:pt idx="11">
                  <c:v>Nicolas Feu</c:v>
                </c:pt>
                <c:pt idx="12">
                  <c:v>Heidsieck &amp;</c:v>
                </c:pt>
                <c:pt idx="13">
                  <c:v>Canard Duch</c:v>
                </c:pt>
                <c:pt idx="14">
                  <c:v>Ruinart</c:v>
                </c:pt>
                <c:pt idx="15">
                  <c:v>Taittinger</c:v>
                </c:pt>
                <c:pt idx="16">
                  <c:v>All Others</c:v>
                </c:pt>
                <c:pt idx="17">
                  <c:v>Ruinart</c:v>
                </c:pt>
                <c:pt idx="18">
                  <c:v>Demoiselle</c:v>
                </c:pt>
                <c:pt idx="19">
                  <c:v>Deutz</c:v>
                </c:pt>
                <c:pt idx="20">
                  <c:v>All Others</c:v>
                </c:pt>
                <c:pt idx="21">
                  <c:v>Ruinart</c:v>
                </c:pt>
                <c:pt idx="22">
                  <c:v>Perrier Jou</c:v>
                </c:pt>
                <c:pt idx="23">
                  <c:v>Pommery</c:v>
                </c:pt>
                <c:pt idx="24">
                  <c:v>Lanson-Bcc:</c:v>
                </c:pt>
                <c:pt idx="25">
                  <c:v>Campari: Al</c:v>
                </c:pt>
                <c:pt idx="26">
                  <c:v>All Others</c:v>
                </c:pt>
                <c:pt idx="27">
                  <c:v>Savian</c:v>
                </c:pt>
                <c:pt idx="28">
                  <c:v>Besserat De</c:v>
                </c:pt>
                <c:pt idx="29">
                  <c:v>Nicolas</c:v>
                </c:pt>
                <c:pt idx="30">
                  <c:v>Deutz</c:v>
                </c:pt>
                <c:pt idx="31">
                  <c:v>All Others</c:v>
                </c:pt>
                <c:pt idx="32">
                  <c:v>All Others</c:v>
                </c:pt>
                <c:pt idx="33">
                  <c:v>Ruinart</c:v>
                </c:pt>
                <c:pt idx="34">
                  <c:v>Laurent Per</c:v>
                </c:pt>
                <c:pt idx="35">
                  <c:v>All Others</c:v>
                </c:pt>
                <c:pt idx="36">
                  <c:v>Vesselle</c:v>
                </c:pt>
                <c:pt idx="37">
                  <c:v>Taittinger</c:v>
                </c:pt>
                <c:pt idx="38">
                  <c:v>Demoiselle</c:v>
                </c:pt>
                <c:pt idx="39">
                  <c:v>Dom Perigno</c:v>
                </c:pt>
                <c:pt idx="40">
                  <c:v>Malard</c:v>
                </c:pt>
                <c:pt idx="41">
                  <c:v>Roederer</c:v>
                </c:pt>
                <c:pt idx="42">
                  <c:v>Moët &amp; Chan</c:v>
                </c:pt>
                <c:pt idx="43">
                  <c:v>Malard</c:v>
                </c:pt>
                <c:pt idx="44">
                  <c:v>Laurent Per</c:v>
                </c:pt>
                <c:pt idx="45">
                  <c:v>Roederer</c:v>
                </c:pt>
                <c:pt idx="46">
                  <c:v>Ruinart</c:v>
                </c:pt>
                <c:pt idx="47">
                  <c:v>Nicolas</c:v>
                </c:pt>
                <c:pt idx="48">
                  <c:v>Canard Duch</c:v>
                </c:pt>
                <c:pt idx="49">
                  <c:v>Bollinger</c:v>
                </c:pt>
                <c:pt idx="50">
                  <c:v>Veuve Clicq</c:v>
                </c:pt>
                <c:pt idx="51">
                  <c:v>Veuve Clicq</c:v>
                </c:pt>
                <c:pt idx="52">
                  <c:v>Vranken</c:v>
                </c:pt>
                <c:pt idx="53">
                  <c:v>Malard</c:v>
                </c:pt>
                <c:pt idx="54">
                  <c:v>Henriot</c:v>
                </c:pt>
                <c:pt idx="55">
                  <c:v>Ayala</c:v>
                </c:pt>
                <c:pt idx="56">
                  <c:v>Ruinart</c:v>
                </c:pt>
                <c:pt idx="57">
                  <c:v>Dom Perigno</c:v>
                </c:pt>
                <c:pt idx="58">
                  <c:v>Ruinart</c:v>
                </c:pt>
                <c:pt idx="59">
                  <c:v>Lanson</c:v>
                </c:pt>
                <c:pt idx="60">
                  <c:v>De Venoge</c:v>
                </c:pt>
                <c:pt idx="61">
                  <c:v>Veuve Clicq</c:v>
                </c:pt>
                <c:pt idx="62">
                  <c:v>All Others</c:v>
                </c:pt>
                <c:pt idx="63">
                  <c:v>Malard</c:v>
                </c:pt>
                <c:pt idx="64">
                  <c:v>All Others</c:v>
                </c:pt>
                <c:pt idx="65">
                  <c:v>Deutz</c:v>
                </c:pt>
                <c:pt idx="66">
                  <c:v>Nicolas Feu</c:v>
                </c:pt>
                <c:pt idx="67">
                  <c:v>Malard</c:v>
                </c:pt>
                <c:pt idx="68">
                  <c:v>Nicolas Feu</c:v>
                </c:pt>
                <c:pt idx="69">
                  <c:v>Louis Marti</c:v>
                </c:pt>
                <c:pt idx="70">
                  <c:v>De Bligny</c:v>
                </c:pt>
                <c:pt idx="71">
                  <c:v>Pommery</c:v>
                </c:pt>
                <c:pt idx="72">
                  <c:v>All Others</c:v>
                </c:pt>
                <c:pt idx="73">
                  <c:v>Piper Heids</c:v>
                </c:pt>
                <c:pt idx="74">
                  <c:v>Canard Duch</c:v>
                </c:pt>
                <c:pt idx="75">
                  <c:v>Moët &amp; Chan</c:v>
                </c:pt>
                <c:pt idx="76">
                  <c:v>All Others</c:v>
                </c:pt>
                <c:pt idx="77">
                  <c:v>Delamotte</c:v>
                </c:pt>
                <c:pt idx="78">
                  <c:v>Deutz</c:v>
                </c:pt>
                <c:pt idx="79">
                  <c:v>Henriot</c:v>
                </c:pt>
                <c:pt idx="80">
                  <c:v>De Venoge</c:v>
                </c:pt>
                <c:pt idx="81">
                  <c:v>Nicolas Feu</c:v>
                </c:pt>
                <c:pt idx="82">
                  <c:v>Roederer</c:v>
                </c:pt>
                <c:pt idx="83">
                  <c:v>Roederer</c:v>
                </c:pt>
                <c:pt idx="84">
                  <c:v>Campari: Al</c:v>
                </c:pt>
                <c:pt idx="85">
                  <c:v>Canard Duch</c:v>
                </c:pt>
                <c:pt idx="86">
                  <c:v>Krug</c:v>
                </c:pt>
                <c:pt idx="87">
                  <c:v>All Others</c:v>
                </c:pt>
                <c:pt idx="88">
                  <c:v>Bollinger</c:v>
                </c:pt>
                <c:pt idx="89">
                  <c:v>Dom Perigno</c:v>
                </c:pt>
                <c:pt idx="90">
                  <c:v>Laurent Per</c:v>
                </c:pt>
                <c:pt idx="91">
                  <c:v>All Others</c:v>
                </c:pt>
                <c:pt idx="92">
                  <c:v>Besserat De</c:v>
                </c:pt>
                <c:pt idx="93">
                  <c:v>De Venoge</c:v>
                </c:pt>
                <c:pt idx="94">
                  <c:v>Ruinart</c:v>
                </c:pt>
                <c:pt idx="95">
                  <c:v>Vranken</c:v>
                </c:pt>
                <c:pt idx="96">
                  <c:v>Delamotte</c:v>
                </c:pt>
                <c:pt idx="97">
                  <c:v>Besserat De</c:v>
                </c:pt>
                <c:pt idx="98">
                  <c:v>Nicolas</c:v>
                </c:pt>
                <c:pt idx="99">
                  <c:v>Veuve Clicq</c:v>
                </c:pt>
                <c:pt idx="100">
                  <c:v>Henriot</c:v>
                </c:pt>
                <c:pt idx="101">
                  <c:v>Canard Duch</c:v>
                </c:pt>
                <c:pt idx="102">
                  <c:v>Roederer</c:v>
                </c:pt>
                <c:pt idx="103">
                  <c:v>Henriot</c:v>
                </c:pt>
                <c:pt idx="104">
                  <c:v>Bollinger</c:v>
                </c:pt>
                <c:pt idx="105">
                  <c:v>Pommery</c:v>
                </c:pt>
                <c:pt idx="106">
                  <c:v>De Venoge</c:v>
                </c:pt>
                <c:pt idx="107">
                  <c:v>Moët &amp; Chan</c:v>
                </c:pt>
                <c:pt idx="108">
                  <c:v>Ruinart</c:v>
                </c:pt>
                <c:pt idx="109">
                  <c:v>Ruinart</c:v>
                </c:pt>
                <c:pt idx="110">
                  <c:v>Ruinart</c:v>
                </c:pt>
                <c:pt idx="111">
                  <c:v>Deutz</c:v>
                </c:pt>
                <c:pt idx="112">
                  <c:v>Perrier Jou</c:v>
                </c:pt>
                <c:pt idx="113">
                  <c:v>Ruinart</c:v>
                </c:pt>
                <c:pt idx="114">
                  <c:v>Nicolas</c:v>
                </c:pt>
                <c:pt idx="115">
                  <c:v>Nicolas</c:v>
                </c:pt>
                <c:pt idx="116">
                  <c:v>All Others</c:v>
                </c:pt>
                <c:pt idx="117">
                  <c:v>Nicolas</c:v>
                </c:pt>
                <c:pt idx="118">
                  <c:v>Deutz</c:v>
                </c:pt>
                <c:pt idx="119">
                  <c:v>Ruinart</c:v>
                </c:pt>
                <c:pt idx="120">
                  <c:v>Laurent Per</c:v>
                </c:pt>
                <c:pt idx="121">
                  <c:v>Roederer</c:v>
                </c:pt>
                <c:pt idx="122">
                  <c:v>Roederer</c:v>
                </c:pt>
                <c:pt idx="123">
                  <c:v>Roederer</c:v>
                </c:pt>
                <c:pt idx="124">
                  <c:v>All Others</c:v>
                </c:pt>
                <c:pt idx="125">
                  <c:v>Nicolas</c:v>
                </c:pt>
                <c:pt idx="126">
                  <c:v>Nicolas</c:v>
                </c:pt>
                <c:pt idx="127">
                  <c:v>Piper Heids</c:v>
                </c:pt>
                <c:pt idx="128">
                  <c:v>All Others</c:v>
                </c:pt>
                <c:pt idx="129">
                  <c:v>Taittinger</c:v>
                </c:pt>
                <c:pt idx="130">
                  <c:v>Perrier Jou</c:v>
                </c:pt>
                <c:pt idx="131">
                  <c:v>Nicolas Feu</c:v>
                </c:pt>
                <c:pt idx="132">
                  <c:v>Nicolas</c:v>
                </c:pt>
                <c:pt idx="133">
                  <c:v>Laurent Per</c:v>
                </c:pt>
                <c:pt idx="134">
                  <c:v>All Others</c:v>
                </c:pt>
                <c:pt idx="135">
                  <c:v>All Others</c:v>
                </c:pt>
                <c:pt idx="136">
                  <c:v>Canard Duch</c:v>
                </c:pt>
                <c:pt idx="137">
                  <c:v>Moët &amp; Chan</c:v>
                </c:pt>
                <c:pt idx="138">
                  <c:v>Besserat De</c:v>
                </c:pt>
                <c:pt idx="139">
                  <c:v>Ruinart</c:v>
                </c:pt>
                <c:pt idx="140">
                  <c:v>All Others</c:v>
                </c:pt>
                <c:pt idx="141">
                  <c:v>De Venoge</c:v>
                </c:pt>
                <c:pt idx="142">
                  <c:v>Lanson</c:v>
                </c:pt>
                <c:pt idx="143">
                  <c:v>Vranken</c:v>
                </c:pt>
                <c:pt idx="144">
                  <c:v>Roederer</c:v>
                </c:pt>
                <c:pt idx="145">
                  <c:v>Nicolas</c:v>
                </c:pt>
                <c:pt idx="146">
                  <c:v>Vesselle</c:v>
                </c:pt>
                <c:pt idx="147">
                  <c:v>All Others</c:v>
                </c:pt>
                <c:pt idx="148">
                  <c:v>Ruinart</c:v>
                </c:pt>
                <c:pt idx="149">
                  <c:v>All Others</c:v>
                </c:pt>
                <c:pt idx="150">
                  <c:v>Nicolas</c:v>
                </c:pt>
                <c:pt idx="151">
                  <c:v>All Others</c:v>
                </c:pt>
                <c:pt idx="152">
                  <c:v>Laurent Per</c:v>
                </c:pt>
                <c:pt idx="153">
                  <c:v>Moët &amp; Chan</c:v>
                </c:pt>
                <c:pt idx="154">
                  <c:v>All Others</c:v>
                </c:pt>
                <c:pt idx="155">
                  <c:v>Ayala</c:v>
                </c:pt>
                <c:pt idx="156">
                  <c:v>Pommery</c:v>
                </c:pt>
                <c:pt idx="157">
                  <c:v>Nicolas</c:v>
                </c:pt>
                <c:pt idx="158">
                  <c:v>Dom Perigno</c:v>
                </c:pt>
                <c:pt idx="159">
                  <c:v>Nicolas</c:v>
                </c:pt>
                <c:pt idx="160">
                  <c:v>Roederer</c:v>
                </c:pt>
                <c:pt idx="161">
                  <c:v>Pommery</c:v>
                </c:pt>
                <c:pt idx="162">
                  <c:v>Louis Marti</c:v>
                </c:pt>
                <c:pt idx="163">
                  <c:v>Roederer</c:v>
                </c:pt>
                <c:pt idx="164">
                  <c:v>Ruinart</c:v>
                </c:pt>
                <c:pt idx="165">
                  <c:v>Ruinart</c:v>
                </c:pt>
                <c:pt idx="166">
                  <c:v>Canard Duch</c:v>
                </c:pt>
                <c:pt idx="167">
                  <c:v>Nicolas</c:v>
                </c:pt>
                <c:pt idx="168">
                  <c:v>Pommery</c:v>
                </c:pt>
                <c:pt idx="169">
                  <c:v>Bollinger</c:v>
                </c:pt>
                <c:pt idx="170">
                  <c:v>Taittinger</c:v>
                </c:pt>
                <c:pt idx="171">
                  <c:v>De Venoge</c:v>
                </c:pt>
                <c:pt idx="172">
                  <c:v>Lanson</c:v>
                </c:pt>
                <c:pt idx="173">
                  <c:v>Roederer</c:v>
                </c:pt>
                <c:pt idx="174">
                  <c:v>Pommery</c:v>
                </c:pt>
                <c:pt idx="175">
                  <c:v>Demoiselle</c:v>
                </c:pt>
                <c:pt idx="176">
                  <c:v>Henriot</c:v>
                </c:pt>
                <c:pt idx="177">
                  <c:v>Laurent Per</c:v>
                </c:pt>
                <c:pt idx="178">
                  <c:v>Vesselle</c:v>
                </c:pt>
                <c:pt idx="179">
                  <c:v>Nicolas</c:v>
                </c:pt>
                <c:pt idx="180">
                  <c:v>Roederer</c:v>
                </c:pt>
                <c:pt idx="181">
                  <c:v>Bollinger</c:v>
                </c:pt>
                <c:pt idx="182">
                  <c:v>De Bligny</c:v>
                </c:pt>
                <c:pt idx="183">
                  <c:v>Piper Heids</c:v>
                </c:pt>
                <c:pt idx="184">
                  <c:v>Canard Duch</c:v>
                </c:pt>
                <c:pt idx="185">
                  <c:v>Moët &amp; Chan</c:v>
                </c:pt>
                <c:pt idx="186">
                  <c:v>Laurent Per</c:v>
                </c:pt>
                <c:pt idx="187">
                  <c:v>Ruinart</c:v>
                </c:pt>
                <c:pt idx="188">
                  <c:v>De Venoge</c:v>
                </c:pt>
                <c:pt idx="189">
                  <c:v>Roederer</c:v>
                </c:pt>
                <c:pt idx="190">
                  <c:v>Henriot</c:v>
                </c:pt>
                <c:pt idx="191">
                  <c:v>De Bligny</c:v>
                </c:pt>
                <c:pt idx="192">
                  <c:v>Nicolas</c:v>
                </c:pt>
                <c:pt idx="193">
                  <c:v>Laurent Per</c:v>
                </c:pt>
                <c:pt idx="194">
                  <c:v>Piper Heids</c:v>
                </c:pt>
                <c:pt idx="195">
                  <c:v>All Others</c:v>
                </c:pt>
                <c:pt idx="196">
                  <c:v>Nicolas Feu</c:v>
                </c:pt>
                <c:pt idx="197">
                  <c:v>Roederer</c:v>
                </c:pt>
                <c:pt idx="198">
                  <c:v>Perrier Jou</c:v>
                </c:pt>
                <c:pt idx="199">
                  <c:v>Laurent Per</c:v>
                </c:pt>
                <c:pt idx="200">
                  <c:v>Demoiselle</c:v>
                </c:pt>
                <c:pt idx="201">
                  <c:v>Malard</c:v>
                </c:pt>
                <c:pt idx="202">
                  <c:v>All Others</c:v>
                </c:pt>
                <c:pt idx="203">
                  <c:v>Deutz</c:v>
                </c:pt>
                <c:pt idx="204">
                  <c:v>Nicolas</c:v>
                </c:pt>
                <c:pt idx="205">
                  <c:v>Roederer</c:v>
                </c:pt>
                <c:pt idx="206">
                  <c:v>Taittinger</c:v>
                </c:pt>
                <c:pt idx="207">
                  <c:v>Ruinart</c:v>
                </c:pt>
                <c:pt idx="208">
                  <c:v>All Others</c:v>
                </c:pt>
                <c:pt idx="209">
                  <c:v>Laurent Per</c:v>
                </c:pt>
                <c:pt idx="210">
                  <c:v>De Venoge</c:v>
                </c:pt>
                <c:pt idx="211">
                  <c:v>Roederer</c:v>
                </c:pt>
                <c:pt idx="212">
                  <c:v>Bollinger</c:v>
                </c:pt>
                <c:pt idx="213">
                  <c:v>Besserat De</c:v>
                </c:pt>
                <c:pt idx="214">
                  <c:v>Laurent Per</c:v>
                </c:pt>
                <c:pt idx="215">
                  <c:v>Bollinger</c:v>
                </c:pt>
                <c:pt idx="216">
                  <c:v>Ruinart</c:v>
                </c:pt>
                <c:pt idx="217">
                  <c:v>Roederer</c:v>
                </c:pt>
                <c:pt idx="218">
                  <c:v>Veuve Clicq</c:v>
                </c:pt>
                <c:pt idx="219">
                  <c:v>Laurent Per</c:v>
                </c:pt>
                <c:pt idx="220">
                  <c:v>Veuve Clicq</c:v>
                </c:pt>
                <c:pt idx="221">
                  <c:v>Vranken</c:v>
                </c:pt>
                <c:pt idx="222">
                  <c:v>Perrier Jou</c:v>
                </c:pt>
                <c:pt idx="223">
                  <c:v>Deutz</c:v>
                </c:pt>
                <c:pt idx="224">
                  <c:v>All Others</c:v>
                </c:pt>
                <c:pt idx="225">
                  <c:v>Nicolas Feu</c:v>
                </c:pt>
                <c:pt idx="226">
                  <c:v>All Others</c:v>
                </c:pt>
                <c:pt idx="227">
                  <c:v>Besserat De</c:v>
                </c:pt>
                <c:pt idx="228">
                  <c:v>All Others</c:v>
                </c:pt>
                <c:pt idx="229">
                  <c:v>Veuve Clicq</c:v>
                </c:pt>
                <c:pt idx="230">
                  <c:v>Nicolas</c:v>
                </c:pt>
                <c:pt idx="231">
                  <c:v>Malard</c:v>
                </c:pt>
                <c:pt idx="232">
                  <c:v>Roederer</c:v>
                </c:pt>
                <c:pt idx="233">
                  <c:v>Lanson</c:v>
                </c:pt>
                <c:pt idx="234">
                  <c:v>Roederer</c:v>
                </c:pt>
                <c:pt idx="235">
                  <c:v>Roederer</c:v>
                </c:pt>
                <c:pt idx="236">
                  <c:v>De Venoge</c:v>
                </c:pt>
                <c:pt idx="237">
                  <c:v>Bollinger</c:v>
                </c:pt>
                <c:pt idx="238">
                  <c:v>Roederer</c:v>
                </c:pt>
                <c:pt idx="239">
                  <c:v>Henriot</c:v>
                </c:pt>
                <c:pt idx="240">
                  <c:v>Nicolas</c:v>
                </c:pt>
                <c:pt idx="241">
                  <c:v>Piper Heids</c:v>
                </c:pt>
                <c:pt idx="242">
                  <c:v>Nicolas</c:v>
                </c:pt>
                <c:pt idx="243">
                  <c:v>Vranken Pom</c:v>
                </c:pt>
                <c:pt idx="244">
                  <c:v>Moët &amp; Chan</c:v>
                </c:pt>
                <c:pt idx="245">
                  <c:v>Nicolas</c:v>
                </c:pt>
                <c:pt idx="246">
                  <c:v>Malard</c:v>
                </c:pt>
                <c:pt idx="247">
                  <c:v>Demoiselle</c:v>
                </c:pt>
                <c:pt idx="248">
                  <c:v>Besserat De</c:v>
                </c:pt>
              </c:strCache>
            </c:strRef>
          </c:cat>
          <c:val>
            <c:numRef>
              <c:f>Sheet1!$B$2:$B$250</c:f>
              <c:numCache>
                <c:formatCode>General</c:formatCode>
                <c:ptCount val="249"/>
                <c:pt idx="0">
                  <c:v>1</c:v>
                </c:pt>
                <c:pt idx="1">
                  <c:v>1</c:v>
                </c:pt>
                <c:pt idx="2">
                  <c:v>0.48</c:v>
                </c:pt>
                <c:pt idx="3">
                  <c:v>0.93</c:v>
                </c:pt>
                <c:pt idx="4">
                  <c:v>0.82</c:v>
                </c:pt>
                <c:pt idx="5">
                  <c:v>0.9</c:v>
                </c:pt>
                <c:pt idx="6">
                  <c:v>0.46</c:v>
                </c:pt>
                <c:pt idx="7">
                  <c:v>0.95</c:v>
                </c:pt>
                <c:pt idx="8">
                  <c:v>0.86</c:v>
                </c:pt>
                <c:pt idx="9">
                  <c:v>0.85</c:v>
                </c:pt>
                <c:pt idx="10">
                  <c:v>0.97</c:v>
                </c:pt>
                <c:pt idx="11">
                  <c:v>0.92</c:v>
                </c:pt>
                <c:pt idx="12">
                  <c:v>0.85</c:v>
                </c:pt>
                <c:pt idx="13">
                  <c:v>0.96</c:v>
                </c:pt>
                <c:pt idx="14">
                  <c:v>0.71</c:v>
                </c:pt>
                <c:pt idx="15">
                  <c:v>0.91</c:v>
                </c:pt>
                <c:pt idx="16">
                  <c:v>0.39</c:v>
                </c:pt>
                <c:pt idx="17">
                  <c:v>0.71</c:v>
                </c:pt>
                <c:pt idx="18">
                  <c:v>0.86</c:v>
                </c:pt>
                <c:pt idx="19">
                  <c:v>0.68</c:v>
                </c:pt>
                <c:pt idx="20">
                  <c:v>0.76</c:v>
                </c:pt>
                <c:pt idx="21">
                  <c:v>0.64</c:v>
                </c:pt>
                <c:pt idx="22">
                  <c:v>0.73</c:v>
                </c:pt>
                <c:pt idx="23">
                  <c:v>0.74</c:v>
                </c:pt>
                <c:pt idx="24">
                  <c:v>0.4</c:v>
                </c:pt>
                <c:pt idx="25">
                  <c:v>0.75</c:v>
                </c:pt>
                <c:pt idx="26">
                  <c:v>0.43</c:v>
                </c:pt>
                <c:pt idx="27">
                  <c:v>0.68</c:v>
                </c:pt>
                <c:pt idx="28">
                  <c:v>0.73</c:v>
                </c:pt>
                <c:pt idx="29">
                  <c:v>0.74</c:v>
                </c:pt>
                <c:pt idx="30">
                  <c:v>0.65</c:v>
                </c:pt>
                <c:pt idx="31">
                  <c:v>0.38</c:v>
                </c:pt>
                <c:pt idx="32">
                  <c:v>0.41</c:v>
                </c:pt>
                <c:pt idx="33">
                  <c:v>0.54</c:v>
                </c:pt>
                <c:pt idx="34">
                  <c:v>0.72</c:v>
                </c:pt>
                <c:pt idx="35">
                  <c:v>0.38</c:v>
                </c:pt>
                <c:pt idx="36">
                  <c:v>0.56999999999999995</c:v>
                </c:pt>
                <c:pt idx="37">
                  <c:v>0.56000000000000005</c:v>
                </c:pt>
                <c:pt idx="38">
                  <c:v>0.79</c:v>
                </c:pt>
                <c:pt idx="39">
                  <c:v>0.62</c:v>
                </c:pt>
                <c:pt idx="40">
                  <c:v>0.65</c:v>
                </c:pt>
                <c:pt idx="41">
                  <c:v>0.55000000000000004</c:v>
                </c:pt>
                <c:pt idx="42">
                  <c:v>0.59</c:v>
                </c:pt>
                <c:pt idx="43">
                  <c:v>0.7</c:v>
                </c:pt>
                <c:pt idx="44">
                  <c:v>0.7</c:v>
                </c:pt>
                <c:pt idx="45">
                  <c:v>0.55000000000000004</c:v>
                </c:pt>
                <c:pt idx="46">
                  <c:v>0.34</c:v>
                </c:pt>
                <c:pt idx="47">
                  <c:v>0.43</c:v>
                </c:pt>
                <c:pt idx="48">
                  <c:v>0.6</c:v>
                </c:pt>
                <c:pt idx="49">
                  <c:v>0.36</c:v>
                </c:pt>
                <c:pt idx="50">
                  <c:v>0.52</c:v>
                </c:pt>
                <c:pt idx="51">
                  <c:v>0.43</c:v>
                </c:pt>
                <c:pt idx="52">
                  <c:v>0.5</c:v>
                </c:pt>
                <c:pt idx="53">
                  <c:v>0.52</c:v>
                </c:pt>
                <c:pt idx="54">
                  <c:v>0.46</c:v>
                </c:pt>
                <c:pt idx="55">
                  <c:v>0.46</c:v>
                </c:pt>
                <c:pt idx="56">
                  <c:v>0.55000000000000004</c:v>
                </c:pt>
                <c:pt idx="57">
                  <c:v>0.28000000000000003</c:v>
                </c:pt>
                <c:pt idx="58">
                  <c:v>0.54</c:v>
                </c:pt>
                <c:pt idx="59">
                  <c:v>0.44</c:v>
                </c:pt>
                <c:pt idx="60">
                  <c:v>0.49</c:v>
                </c:pt>
                <c:pt idx="61">
                  <c:v>0.5</c:v>
                </c:pt>
                <c:pt idx="62">
                  <c:v>0.41</c:v>
                </c:pt>
                <c:pt idx="63">
                  <c:v>0.56000000000000005</c:v>
                </c:pt>
                <c:pt idx="64">
                  <c:v>0.48</c:v>
                </c:pt>
                <c:pt idx="65">
                  <c:v>0.56000000000000005</c:v>
                </c:pt>
                <c:pt idx="66">
                  <c:v>0.55000000000000004</c:v>
                </c:pt>
                <c:pt idx="67">
                  <c:v>0.43</c:v>
                </c:pt>
                <c:pt idx="68">
                  <c:v>0.51</c:v>
                </c:pt>
                <c:pt idx="69">
                  <c:v>0.56999999999999995</c:v>
                </c:pt>
                <c:pt idx="70">
                  <c:v>0.5</c:v>
                </c:pt>
                <c:pt idx="71">
                  <c:v>0.45</c:v>
                </c:pt>
                <c:pt idx="72">
                  <c:v>0.52</c:v>
                </c:pt>
                <c:pt idx="73">
                  <c:v>0.42</c:v>
                </c:pt>
                <c:pt idx="74">
                  <c:v>0.89</c:v>
                </c:pt>
                <c:pt idx="75">
                  <c:v>0.49</c:v>
                </c:pt>
                <c:pt idx="76">
                  <c:v>0.44</c:v>
                </c:pt>
                <c:pt idx="77">
                  <c:v>0.34</c:v>
                </c:pt>
                <c:pt idx="78">
                  <c:v>0.23</c:v>
                </c:pt>
                <c:pt idx="79">
                  <c:v>0.5</c:v>
                </c:pt>
                <c:pt idx="80">
                  <c:v>0.44</c:v>
                </c:pt>
                <c:pt idx="81">
                  <c:v>0.33</c:v>
                </c:pt>
                <c:pt idx="82">
                  <c:v>0.24</c:v>
                </c:pt>
                <c:pt idx="83">
                  <c:v>0.34</c:v>
                </c:pt>
                <c:pt idx="84">
                  <c:v>0.61</c:v>
                </c:pt>
                <c:pt idx="85">
                  <c:v>0.38</c:v>
                </c:pt>
                <c:pt idx="86">
                  <c:v>0.22</c:v>
                </c:pt>
                <c:pt idx="87">
                  <c:v>0.36</c:v>
                </c:pt>
                <c:pt idx="88">
                  <c:v>0.31</c:v>
                </c:pt>
                <c:pt idx="89">
                  <c:v>0.22</c:v>
                </c:pt>
                <c:pt idx="90">
                  <c:v>0.45</c:v>
                </c:pt>
                <c:pt idx="91">
                  <c:v>0.46</c:v>
                </c:pt>
                <c:pt idx="92">
                  <c:v>0.28000000000000003</c:v>
                </c:pt>
                <c:pt idx="93">
                  <c:v>0.47</c:v>
                </c:pt>
                <c:pt idx="94">
                  <c:v>0.38</c:v>
                </c:pt>
                <c:pt idx="95">
                  <c:v>0.48</c:v>
                </c:pt>
                <c:pt idx="96">
                  <c:v>0.44</c:v>
                </c:pt>
                <c:pt idx="97">
                  <c:v>0.43</c:v>
                </c:pt>
                <c:pt idx="98">
                  <c:v>0.56999999999999995</c:v>
                </c:pt>
                <c:pt idx="99">
                  <c:v>0.23</c:v>
                </c:pt>
                <c:pt idx="100">
                  <c:v>0.35</c:v>
                </c:pt>
                <c:pt idx="101">
                  <c:v>0.45</c:v>
                </c:pt>
                <c:pt idx="102">
                  <c:v>0.32</c:v>
                </c:pt>
                <c:pt idx="103">
                  <c:v>0.31</c:v>
                </c:pt>
                <c:pt idx="104">
                  <c:v>0.33</c:v>
                </c:pt>
                <c:pt idx="105">
                  <c:v>0.37</c:v>
                </c:pt>
                <c:pt idx="106">
                  <c:v>0.28000000000000003</c:v>
                </c:pt>
                <c:pt idx="107">
                  <c:v>0.52</c:v>
                </c:pt>
                <c:pt idx="108">
                  <c:v>0.2</c:v>
                </c:pt>
                <c:pt idx="109">
                  <c:v>0.19</c:v>
                </c:pt>
                <c:pt idx="110">
                  <c:v>0.38</c:v>
                </c:pt>
                <c:pt idx="111">
                  <c:v>0.53</c:v>
                </c:pt>
                <c:pt idx="112">
                  <c:v>0.31</c:v>
                </c:pt>
                <c:pt idx="113">
                  <c:v>0.28000000000000003</c:v>
                </c:pt>
                <c:pt idx="114">
                  <c:v>0.27</c:v>
                </c:pt>
                <c:pt idx="115">
                  <c:v>0.42</c:v>
                </c:pt>
                <c:pt idx="116">
                  <c:v>0.39</c:v>
                </c:pt>
                <c:pt idx="117">
                  <c:v>0.32</c:v>
                </c:pt>
                <c:pt idx="118">
                  <c:v>0.22</c:v>
                </c:pt>
                <c:pt idx="119">
                  <c:v>0.19</c:v>
                </c:pt>
                <c:pt idx="120">
                  <c:v>0.41</c:v>
                </c:pt>
                <c:pt idx="121">
                  <c:v>0.27</c:v>
                </c:pt>
                <c:pt idx="122">
                  <c:v>0.41</c:v>
                </c:pt>
                <c:pt idx="123">
                  <c:v>0.28000000000000003</c:v>
                </c:pt>
                <c:pt idx="124">
                  <c:v>0.47</c:v>
                </c:pt>
                <c:pt idx="125">
                  <c:v>0.33</c:v>
                </c:pt>
                <c:pt idx="126">
                  <c:v>0.34</c:v>
                </c:pt>
                <c:pt idx="127">
                  <c:v>0.24</c:v>
                </c:pt>
                <c:pt idx="128">
                  <c:v>0.38</c:v>
                </c:pt>
                <c:pt idx="129">
                  <c:v>0.21</c:v>
                </c:pt>
                <c:pt idx="130">
                  <c:v>0.28000000000000003</c:v>
                </c:pt>
                <c:pt idx="131">
                  <c:v>0.32</c:v>
                </c:pt>
                <c:pt idx="132">
                  <c:v>0.5</c:v>
                </c:pt>
                <c:pt idx="133">
                  <c:v>0.27</c:v>
                </c:pt>
                <c:pt idx="134">
                  <c:v>0.34</c:v>
                </c:pt>
                <c:pt idx="135">
                  <c:v>0.35</c:v>
                </c:pt>
                <c:pt idx="136">
                  <c:v>0.27</c:v>
                </c:pt>
                <c:pt idx="137">
                  <c:v>0.4</c:v>
                </c:pt>
                <c:pt idx="138">
                  <c:v>0.31</c:v>
                </c:pt>
                <c:pt idx="139">
                  <c:v>0.24</c:v>
                </c:pt>
                <c:pt idx="140">
                  <c:v>0.21</c:v>
                </c:pt>
                <c:pt idx="141">
                  <c:v>0.25</c:v>
                </c:pt>
                <c:pt idx="142">
                  <c:v>0.41</c:v>
                </c:pt>
                <c:pt idx="143">
                  <c:v>0.34</c:v>
                </c:pt>
                <c:pt idx="144">
                  <c:v>0.2</c:v>
                </c:pt>
                <c:pt idx="145">
                  <c:v>0.25</c:v>
                </c:pt>
                <c:pt idx="146">
                  <c:v>0.28000000000000003</c:v>
                </c:pt>
                <c:pt idx="147">
                  <c:v>0.22</c:v>
                </c:pt>
                <c:pt idx="148">
                  <c:v>0.2</c:v>
                </c:pt>
                <c:pt idx="149">
                  <c:v>0.32</c:v>
                </c:pt>
                <c:pt idx="150">
                  <c:v>0.34</c:v>
                </c:pt>
                <c:pt idx="151">
                  <c:v>0.35</c:v>
                </c:pt>
                <c:pt idx="152">
                  <c:v>0.27</c:v>
                </c:pt>
                <c:pt idx="153">
                  <c:v>0.28000000000000003</c:v>
                </c:pt>
                <c:pt idx="154">
                  <c:v>0.4</c:v>
                </c:pt>
                <c:pt idx="155">
                  <c:v>0.2</c:v>
                </c:pt>
                <c:pt idx="156">
                  <c:v>0.34</c:v>
                </c:pt>
                <c:pt idx="157">
                  <c:v>0.41</c:v>
                </c:pt>
                <c:pt idx="158">
                  <c:v>0.06</c:v>
                </c:pt>
                <c:pt idx="159">
                  <c:v>0.26</c:v>
                </c:pt>
                <c:pt idx="160">
                  <c:v>0.15</c:v>
                </c:pt>
                <c:pt idx="161">
                  <c:v>0.31</c:v>
                </c:pt>
                <c:pt idx="162">
                  <c:v>0.22</c:v>
                </c:pt>
                <c:pt idx="163">
                  <c:v>0.13</c:v>
                </c:pt>
                <c:pt idx="164">
                  <c:v>0.18</c:v>
                </c:pt>
                <c:pt idx="165">
                  <c:v>0.13</c:v>
                </c:pt>
                <c:pt idx="166">
                  <c:v>0.25</c:v>
                </c:pt>
                <c:pt idx="167">
                  <c:v>0.28000000000000003</c:v>
                </c:pt>
                <c:pt idx="168">
                  <c:v>0.32</c:v>
                </c:pt>
                <c:pt idx="169">
                  <c:v>0.24</c:v>
                </c:pt>
                <c:pt idx="170">
                  <c:v>0.25</c:v>
                </c:pt>
                <c:pt idx="171">
                  <c:v>0.1</c:v>
                </c:pt>
                <c:pt idx="172">
                  <c:v>0.12</c:v>
                </c:pt>
                <c:pt idx="173">
                  <c:v>0.34</c:v>
                </c:pt>
                <c:pt idx="174">
                  <c:v>0.22</c:v>
                </c:pt>
                <c:pt idx="175">
                  <c:v>0.38</c:v>
                </c:pt>
                <c:pt idx="176">
                  <c:v>0.1</c:v>
                </c:pt>
                <c:pt idx="177">
                  <c:v>0.16</c:v>
                </c:pt>
                <c:pt idx="178">
                  <c:v>0.1</c:v>
                </c:pt>
                <c:pt idx="179">
                  <c:v>0.23</c:v>
                </c:pt>
                <c:pt idx="180">
                  <c:v>0.11</c:v>
                </c:pt>
                <c:pt idx="181">
                  <c:v>0.24</c:v>
                </c:pt>
                <c:pt idx="182">
                  <c:v>0.1</c:v>
                </c:pt>
                <c:pt idx="183">
                  <c:v>0.31</c:v>
                </c:pt>
                <c:pt idx="184">
                  <c:v>0.32</c:v>
                </c:pt>
                <c:pt idx="185">
                  <c:v>0.06</c:v>
                </c:pt>
                <c:pt idx="186">
                  <c:v>0.2</c:v>
                </c:pt>
                <c:pt idx="187">
                  <c:v>0.28000000000000003</c:v>
                </c:pt>
                <c:pt idx="188">
                  <c:v>0.18</c:v>
                </c:pt>
                <c:pt idx="189">
                  <c:v>0.15</c:v>
                </c:pt>
                <c:pt idx="190">
                  <c:v>0.09</c:v>
                </c:pt>
                <c:pt idx="191">
                  <c:v>0.22</c:v>
                </c:pt>
                <c:pt idx="192">
                  <c:v>0.13</c:v>
                </c:pt>
                <c:pt idx="193">
                  <c:v>0.1</c:v>
                </c:pt>
                <c:pt idx="194">
                  <c:v>0.05</c:v>
                </c:pt>
                <c:pt idx="195">
                  <c:v>0.28000000000000003</c:v>
                </c:pt>
                <c:pt idx="196">
                  <c:v>0.03</c:v>
                </c:pt>
                <c:pt idx="197">
                  <c:v>0.06</c:v>
                </c:pt>
                <c:pt idx="198">
                  <c:v>0.12</c:v>
                </c:pt>
                <c:pt idx="199">
                  <c:v>0.09</c:v>
                </c:pt>
                <c:pt idx="200">
                  <c:v>0.09</c:v>
                </c:pt>
                <c:pt idx="201">
                  <c:v>0.11</c:v>
                </c:pt>
                <c:pt idx="202">
                  <c:v>0.23</c:v>
                </c:pt>
                <c:pt idx="203">
                  <c:v>7.0000000000000007E-2</c:v>
                </c:pt>
                <c:pt idx="204">
                  <c:v>0.15</c:v>
                </c:pt>
                <c:pt idx="205">
                  <c:v>0.06</c:v>
                </c:pt>
                <c:pt idx="206">
                  <c:v>0.11</c:v>
                </c:pt>
                <c:pt idx="207">
                  <c:v>0.21</c:v>
                </c:pt>
                <c:pt idx="208">
                  <c:v>0.09</c:v>
                </c:pt>
                <c:pt idx="209">
                  <c:v>0.24</c:v>
                </c:pt>
                <c:pt idx="210">
                  <c:v>0.08</c:v>
                </c:pt>
                <c:pt idx="211">
                  <c:v>0.14000000000000001</c:v>
                </c:pt>
                <c:pt idx="212">
                  <c:v>0.13</c:v>
                </c:pt>
                <c:pt idx="213">
                  <c:v>0.2</c:v>
                </c:pt>
                <c:pt idx="214">
                  <c:v>0.16</c:v>
                </c:pt>
                <c:pt idx="215">
                  <c:v>0.15</c:v>
                </c:pt>
                <c:pt idx="216">
                  <c:v>0.22</c:v>
                </c:pt>
                <c:pt idx="217">
                  <c:v>0.31</c:v>
                </c:pt>
                <c:pt idx="218">
                  <c:v>0.23</c:v>
                </c:pt>
                <c:pt idx="219">
                  <c:v>0.06</c:v>
                </c:pt>
                <c:pt idx="220">
                  <c:v>0.21</c:v>
                </c:pt>
                <c:pt idx="221">
                  <c:v>0.04</c:v>
                </c:pt>
                <c:pt idx="222">
                  <c:v>7.0000000000000007E-2</c:v>
                </c:pt>
                <c:pt idx="223">
                  <c:v>0.19</c:v>
                </c:pt>
                <c:pt idx="224">
                  <c:v>0.11</c:v>
                </c:pt>
                <c:pt idx="225">
                  <c:v>0.05</c:v>
                </c:pt>
                <c:pt idx="226">
                  <c:v>0.03</c:v>
                </c:pt>
                <c:pt idx="227">
                  <c:v>0.11</c:v>
                </c:pt>
                <c:pt idx="228">
                  <c:v>0.09</c:v>
                </c:pt>
                <c:pt idx="229">
                  <c:v>0.03</c:v>
                </c:pt>
                <c:pt idx="230">
                  <c:v>0.03</c:v>
                </c:pt>
                <c:pt idx="231">
                  <c:v>0.04</c:v>
                </c:pt>
                <c:pt idx="232">
                  <c:v>0.02</c:v>
                </c:pt>
                <c:pt idx="233">
                  <c:v>0.05</c:v>
                </c:pt>
                <c:pt idx="234">
                  <c:v>0.04</c:v>
                </c:pt>
                <c:pt idx="235">
                  <c:v>0.04</c:v>
                </c:pt>
                <c:pt idx="236">
                  <c:v>0.08</c:v>
                </c:pt>
                <c:pt idx="237">
                  <c:v>0.03</c:v>
                </c:pt>
                <c:pt idx="238">
                  <c:v>0.22</c:v>
                </c:pt>
                <c:pt idx="239">
                  <c:v>0.03</c:v>
                </c:pt>
                <c:pt idx="240">
                  <c:v>0.02</c:v>
                </c:pt>
                <c:pt idx="241">
                  <c:v>0.03</c:v>
                </c:pt>
                <c:pt idx="242">
                  <c:v>0.08</c:v>
                </c:pt>
                <c:pt idx="243">
                  <c:v>0.08</c:v>
                </c:pt>
                <c:pt idx="244">
                  <c:v>0.02</c:v>
                </c:pt>
                <c:pt idx="245">
                  <c:v>0.05</c:v>
                </c:pt>
                <c:pt idx="246">
                  <c:v>0.01</c:v>
                </c:pt>
                <c:pt idx="247">
                  <c:v>0.21</c:v>
                </c:pt>
                <c:pt idx="248">
                  <c:v>0.03</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7ECAC4"/>
              </a:solidFill>
            </c:spPr>
            <c:extLst>
              <c:ext xmlns:c16="http://schemas.microsoft.com/office/drawing/2014/chart" uri="{C3380CC4-5D6E-409C-BE32-E72D297353CC}">
                <c16:uniqueId val="{00000084-C76F-4230-900D-40618C09729F}"/>
              </c:ext>
            </c:extLst>
          </c:dPt>
          <c:dPt>
            <c:idx val="64"/>
            <c:invertIfNegative val="0"/>
            <c:bubble3D val="0"/>
            <c:spPr>
              <a:solidFill>
                <a:srgbClr val="7ECAC4"/>
              </a:solidFill>
            </c:spPr>
            <c:extLst>
              <c:ext xmlns:c16="http://schemas.microsoft.com/office/drawing/2014/chart" uri="{C3380CC4-5D6E-409C-BE32-E72D297353CC}">
                <c16:uniqueId val="{00000086-C76F-4230-900D-40618C09729F}"/>
              </c:ext>
            </c:extLst>
          </c:dPt>
          <c:dPt>
            <c:idx val="65"/>
            <c:invertIfNegative val="0"/>
            <c:bubble3D val="0"/>
            <c:spPr>
              <a:solidFill>
                <a:srgbClr val="7ECAC4"/>
              </a:solidFill>
            </c:spPr>
            <c:extLst>
              <c:ext xmlns:c16="http://schemas.microsoft.com/office/drawing/2014/chart" uri="{C3380CC4-5D6E-409C-BE32-E72D297353CC}">
                <c16:uniqueId val="{00000088-C76F-4230-900D-40618C09729F}"/>
              </c:ext>
            </c:extLst>
          </c:dPt>
          <c:dPt>
            <c:idx val="66"/>
            <c:invertIfNegative val="0"/>
            <c:bubble3D val="0"/>
            <c:spPr>
              <a:solidFill>
                <a:srgbClr val="7ECAC4"/>
              </a:solidFill>
            </c:spPr>
            <c:extLst>
              <c:ext xmlns:c16="http://schemas.microsoft.com/office/drawing/2014/chart" uri="{C3380CC4-5D6E-409C-BE32-E72D297353CC}">
                <c16:uniqueId val="{0000008A-C76F-4230-900D-40618C09729F}"/>
              </c:ext>
            </c:extLst>
          </c:dPt>
          <c:dPt>
            <c:idx val="67"/>
            <c:invertIfNegative val="0"/>
            <c:bubble3D val="0"/>
            <c:spPr>
              <a:solidFill>
                <a:srgbClr val="7ECAC4"/>
              </a:solidFill>
            </c:spPr>
            <c:extLst>
              <c:ext xmlns:c16="http://schemas.microsoft.com/office/drawing/2014/chart" uri="{C3380CC4-5D6E-409C-BE32-E72D297353CC}">
                <c16:uniqueId val="{0000008C-C76F-4230-900D-40618C09729F}"/>
              </c:ext>
            </c:extLst>
          </c:dPt>
          <c:dPt>
            <c:idx val="68"/>
            <c:invertIfNegative val="0"/>
            <c:bubble3D val="0"/>
            <c:spPr>
              <a:solidFill>
                <a:srgbClr val="7ECAC4"/>
              </a:solidFill>
            </c:spPr>
            <c:extLst>
              <c:ext xmlns:c16="http://schemas.microsoft.com/office/drawing/2014/chart" uri="{C3380CC4-5D6E-409C-BE32-E72D297353CC}">
                <c16:uniqueId val="{0000008E-C76F-4230-900D-40618C09729F}"/>
              </c:ext>
            </c:extLst>
          </c:dPt>
          <c:dPt>
            <c:idx val="69"/>
            <c:invertIfNegative val="0"/>
            <c:bubble3D val="0"/>
            <c:spPr>
              <a:solidFill>
                <a:srgbClr val="7ECAC4"/>
              </a:solidFill>
            </c:spPr>
            <c:extLst>
              <c:ext xmlns:c16="http://schemas.microsoft.com/office/drawing/2014/chart" uri="{C3380CC4-5D6E-409C-BE32-E72D297353CC}">
                <c16:uniqueId val="{00000090-C76F-4230-900D-40618C09729F}"/>
              </c:ext>
            </c:extLst>
          </c:dPt>
          <c:dPt>
            <c:idx val="70"/>
            <c:invertIfNegative val="0"/>
            <c:bubble3D val="0"/>
            <c:spPr>
              <a:solidFill>
                <a:srgbClr val="7ECAC4"/>
              </a:solidFill>
            </c:spPr>
            <c:extLst>
              <c:ext xmlns:c16="http://schemas.microsoft.com/office/drawing/2014/chart" uri="{C3380CC4-5D6E-409C-BE32-E72D297353CC}">
                <c16:uniqueId val="{00000092-C76F-4230-900D-40618C09729F}"/>
              </c:ext>
            </c:extLst>
          </c:dPt>
          <c:dPt>
            <c:idx val="71"/>
            <c:invertIfNegative val="0"/>
            <c:bubble3D val="0"/>
            <c:spPr>
              <a:solidFill>
                <a:srgbClr val="7ECAC4"/>
              </a:solidFill>
            </c:spPr>
            <c:extLst>
              <c:ext xmlns:c16="http://schemas.microsoft.com/office/drawing/2014/chart" uri="{C3380CC4-5D6E-409C-BE32-E72D297353CC}">
                <c16:uniqueId val="{00000094-C76F-4230-900D-40618C09729F}"/>
              </c:ext>
            </c:extLst>
          </c:dPt>
          <c:dPt>
            <c:idx val="72"/>
            <c:invertIfNegative val="0"/>
            <c:bubble3D val="0"/>
            <c:spPr>
              <a:solidFill>
                <a:srgbClr val="7ECAC4"/>
              </a:solidFill>
            </c:spPr>
            <c:extLst>
              <c:ext xmlns:c16="http://schemas.microsoft.com/office/drawing/2014/chart" uri="{C3380CC4-5D6E-409C-BE32-E72D297353CC}">
                <c16:uniqueId val="{00000096-C76F-4230-900D-40618C09729F}"/>
              </c:ext>
            </c:extLst>
          </c:dPt>
          <c:dPt>
            <c:idx val="73"/>
            <c:invertIfNegative val="0"/>
            <c:bubble3D val="0"/>
            <c:spPr>
              <a:solidFill>
                <a:srgbClr val="7ECAC4"/>
              </a:solidFill>
            </c:spPr>
            <c:extLst>
              <c:ext xmlns:c16="http://schemas.microsoft.com/office/drawing/2014/chart" uri="{C3380CC4-5D6E-409C-BE32-E72D297353CC}">
                <c16:uniqueId val="{00000098-C76F-4230-900D-40618C09729F}"/>
              </c:ext>
            </c:extLst>
          </c:dPt>
          <c:dPt>
            <c:idx val="74"/>
            <c:invertIfNegative val="0"/>
            <c:bubble3D val="0"/>
            <c:spPr>
              <a:solidFill>
                <a:srgbClr val="7ECAC4"/>
              </a:solidFill>
            </c:spPr>
            <c:extLst>
              <c:ext xmlns:c16="http://schemas.microsoft.com/office/drawing/2014/chart" uri="{C3380CC4-5D6E-409C-BE32-E72D297353CC}">
                <c16:uniqueId val="{0000009A-C76F-4230-900D-40618C09729F}"/>
              </c:ext>
            </c:extLst>
          </c:dPt>
          <c:dPt>
            <c:idx val="75"/>
            <c:invertIfNegative val="0"/>
            <c:bubble3D val="0"/>
            <c:spPr>
              <a:solidFill>
                <a:srgbClr val="7ECAC4"/>
              </a:solidFill>
            </c:spPr>
            <c:extLst>
              <c:ext xmlns:c16="http://schemas.microsoft.com/office/drawing/2014/chart" uri="{C3380CC4-5D6E-409C-BE32-E72D297353CC}">
                <c16:uniqueId val="{0000009C-C76F-4230-900D-40618C09729F}"/>
              </c:ext>
            </c:extLst>
          </c:dPt>
          <c:dPt>
            <c:idx val="76"/>
            <c:invertIfNegative val="0"/>
            <c:bubble3D val="0"/>
            <c:spPr>
              <a:solidFill>
                <a:srgbClr val="7ECAC4"/>
              </a:solidFill>
            </c:spPr>
            <c:extLst>
              <c:ext xmlns:c16="http://schemas.microsoft.com/office/drawing/2014/chart" uri="{C3380CC4-5D6E-409C-BE32-E72D297353CC}">
                <c16:uniqueId val="{0000009E-C76F-4230-900D-40618C09729F}"/>
              </c:ext>
            </c:extLst>
          </c:dPt>
          <c:dPt>
            <c:idx val="77"/>
            <c:invertIfNegative val="0"/>
            <c:bubble3D val="0"/>
            <c:spPr>
              <a:solidFill>
                <a:srgbClr val="7ECAC4"/>
              </a:solidFill>
            </c:spPr>
            <c:extLst>
              <c:ext xmlns:c16="http://schemas.microsoft.com/office/drawing/2014/chart" uri="{C3380CC4-5D6E-409C-BE32-E72D297353CC}">
                <c16:uniqueId val="{000000A0-C76F-4230-900D-40618C09729F}"/>
              </c:ext>
            </c:extLst>
          </c:dPt>
          <c:dPt>
            <c:idx val="78"/>
            <c:invertIfNegative val="0"/>
            <c:bubble3D val="0"/>
            <c:spPr>
              <a:solidFill>
                <a:srgbClr val="7ECAC4"/>
              </a:solidFill>
            </c:spPr>
            <c:extLst>
              <c:ext xmlns:c16="http://schemas.microsoft.com/office/drawing/2014/chart" uri="{C3380CC4-5D6E-409C-BE32-E72D297353CC}">
                <c16:uniqueId val="{000000A2-C76F-4230-900D-40618C09729F}"/>
              </c:ext>
            </c:extLst>
          </c:dPt>
          <c:dPt>
            <c:idx val="79"/>
            <c:invertIfNegative val="0"/>
            <c:bubble3D val="0"/>
            <c:spPr>
              <a:solidFill>
                <a:srgbClr val="7ECAC4"/>
              </a:solidFill>
            </c:spPr>
            <c:extLst>
              <c:ext xmlns:c16="http://schemas.microsoft.com/office/drawing/2014/chart" uri="{C3380CC4-5D6E-409C-BE32-E72D297353CC}">
                <c16:uniqueId val="{000000A4-C76F-4230-900D-40618C09729F}"/>
              </c:ext>
            </c:extLst>
          </c:dPt>
          <c:dPt>
            <c:idx val="80"/>
            <c:invertIfNegative val="0"/>
            <c:bubble3D val="0"/>
            <c:spPr>
              <a:solidFill>
                <a:srgbClr val="7ECAC4"/>
              </a:solidFill>
            </c:spPr>
            <c:extLst>
              <c:ext xmlns:c16="http://schemas.microsoft.com/office/drawing/2014/chart" uri="{C3380CC4-5D6E-409C-BE32-E72D297353CC}">
                <c16:uniqueId val="{000000A6-C76F-4230-900D-40618C09729F}"/>
              </c:ext>
            </c:extLst>
          </c:dPt>
          <c:dPt>
            <c:idx val="81"/>
            <c:invertIfNegative val="1"/>
            <c:bubble3D val="0"/>
            <c:spPr>
              <a:solidFill>
                <a:srgbClr val="7ECAC4"/>
              </a:solidFill>
            </c:spPr>
            <c:extLst>
              <c:ext xmlns:c16="http://schemas.microsoft.com/office/drawing/2014/chart" uri="{C3380CC4-5D6E-409C-BE32-E72D297353CC}">
                <c16:uniqueId val="{000000A5-2993-41DE-A2CB-63102DE87051}"/>
              </c:ext>
            </c:extLst>
          </c:dPt>
          <c:dPt>
            <c:idx val="82"/>
            <c:invertIfNegative val="1"/>
            <c:bubble3D val="0"/>
            <c:spPr>
              <a:solidFill>
                <a:srgbClr val="7ECAC4"/>
              </a:solidFill>
            </c:spPr>
            <c:extLst>
              <c:ext xmlns:c16="http://schemas.microsoft.com/office/drawing/2014/chart" uri="{C3380CC4-5D6E-409C-BE32-E72D297353CC}">
                <c16:uniqueId val="{000000A7-2993-41DE-A2CB-63102DE87051}"/>
              </c:ext>
            </c:extLst>
          </c:dPt>
          <c:dPt>
            <c:idx val="83"/>
            <c:invertIfNegative val="1"/>
            <c:bubble3D val="0"/>
            <c:spPr>
              <a:solidFill>
                <a:srgbClr val="7ECAC4"/>
              </a:solidFill>
            </c:spPr>
            <c:extLst>
              <c:ext xmlns:c16="http://schemas.microsoft.com/office/drawing/2014/chart" uri="{C3380CC4-5D6E-409C-BE32-E72D297353CC}">
                <c16:uniqueId val="{000000A9-2993-41DE-A2CB-63102DE87051}"/>
              </c:ext>
            </c:extLst>
          </c:dPt>
          <c:dPt>
            <c:idx val="84"/>
            <c:invertIfNegative val="1"/>
            <c:bubble3D val="0"/>
            <c:spPr>
              <a:solidFill>
                <a:srgbClr val="7ECAC4"/>
              </a:solidFill>
            </c:spPr>
            <c:extLst>
              <c:ext xmlns:c16="http://schemas.microsoft.com/office/drawing/2014/chart" uri="{C3380CC4-5D6E-409C-BE32-E72D297353CC}">
                <c16:uniqueId val="{000000AB-2993-41DE-A2CB-63102DE87051}"/>
              </c:ext>
            </c:extLst>
          </c:dPt>
          <c:dPt>
            <c:idx val="85"/>
            <c:invertIfNegative val="1"/>
            <c:bubble3D val="0"/>
            <c:spPr>
              <a:solidFill>
                <a:srgbClr val="7ECAC4"/>
              </a:solidFill>
            </c:spPr>
            <c:extLst>
              <c:ext xmlns:c16="http://schemas.microsoft.com/office/drawing/2014/chart" uri="{C3380CC4-5D6E-409C-BE32-E72D297353CC}">
                <c16:uniqueId val="{000000AD-2993-41DE-A2CB-63102DE87051}"/>
              </c:ext>
            </c:extLst>
          </c:dPt>
          <c:dPt>
            <c:idx val="86"/>
            <c:invertIfNegative val="1"/>
            <c:bubble3D val="0"/>
            <c:spPr>
              <a:solidFill>
                <a:srgbClr val="7ECAC4"/>
              </a:solidFill>
            </c:spPr>
            <c:extLst>
              <c:ext xmlns:c16="http://schemas.microsoft.com/office/drawing/2014/chart" uri="{C3380CC4-5D6E-409C-BE32-E72D297353CC}">
                <c16:uniqueId val="{000000AF-2993-41DE-A2CB-63102DE87051}"/>
              </c:ext>
            </c:extLst>
          </c:dPt>
          <c:dPt>
            <c:idx val="87"/>
            <c:invertIfNegative val="1"/>
            <c:bubble3D val="0"/>
            <c:spPr>
              <a:solidFill>
                <a:srgbClr val="7ECAC4"/>
              </a:solidFill>
            </c:spPr>
            <c:extLst>
              <c:ext xmlns:c16="http://schemas.microsoft.com/office/drawing/2014/chart" uri="{C3380CC4-5D6E-409C-BE32-E72D297353CC}">
                <c16:uniqueId val="{000000B1-2993-41DE-A2CB-63102DE87051}"/>
              </c:ext>
            </c:extLst>
          </c:dPt>
          <c:dPt>
            <c:idx val="88"/>
            <c:invertIfNegative val="1"/>
            <c:bubble3D val="0"/>
            <c:spPr>
              <a:solidFill>
                <a:srgbClr val="7ECAC4"/>
              </a:solidFill>
            </c:spPr>
            <c:extLst>
              <c:ext xmlns:c16="http://schemas.microsoft.com/office/drawing/2014/chart" uri="{C3380CC4-5D6E-409C-BE32-E72D297353CC}">
                <c16:uniqueId val="{000000B3-2993-41DE-A2CB-63102DE87051}"/>
              </c:ext>
            </c:extLst>
          </c:dPt>
          <c:dPt>
            <c:idx val="89"/>
            <c:invertIfNegative val="1"/>
            <c:bubble3D val="0"/>
            <c:spPr>
              <a:solidFill>
                <a:srgbClr val="7ECAC4"/>
              </a:solidFill>
            </c:spPr>
            <c:extLst>
              <c:ext xmlns:c16="http://schemas.microsoft.com/office/drawing/2014/chart" uri="{C3380CC4-5D6E-409C-BE32-E72D297353CC}">
                <c16:uniqueId val="{000000B5-2993-41DE-A2CB-63102DE87051}"/>
              </c:ext>
            </c:extLst>
          </c:dPt>
          <c:dPt>
            <c:idx val="90"/>
            <c:invertIfNegative val="1"/>
            <c:bubble3D val="0"/>
            <c:spPr>
              <a:solidFill>
                <a:srgbClr val="7ECAC4"/>
              </a:solidFill>
            </c:spPr>
            <c:extLst>
              <c:ext xmlns:c16="http://schemas.microsoft.com/office/drawing/2014/chart" uri="{C3380CC4-5D6E-409C-BE32-E72D297353CC}">
                <c16:uniqueId val="{000000B7-2993-41DE-A2CB-63102DE87051}"/>
              </c:ext>
            </c:extLst>
          </c:dPt>
          <c:dPt>
            <c:idx val="91"/>
            <c:invertIfNegative val="1"/>
            <c:bubble3D val="0"/>
            <c:spPr>
              <a:solidFill>
                <a:srgbClr val="7ECAC4"/>
              </a:solidFill>
            </c:spPr>
            <c:extLst>
              <c:ext xmlns:c16="http://schemas.microsoft.com/office/drawing/2014/chart" uri="{C3380CC4-5D6E-409C-BE32-E72D297353CC}">
                <c16:uniqueId val="{000000B9-2993-41DE-A2CB-63102DE87051}"/>
              </c:ext>
            </c:extLst>
          </c:dPt>
          <c:dPt>
            <c:idx val="92"/>
            <c:invertIfNegative val="1"/>
            <c:bubble3D val="0"/>
            <c:spPr>
              <a:solidFill>
                <a:srgbClr val="7ECAC4"/>
              </a:solidFill>
            </c:spPr>
            <c:extLst>
              <c:ext xmlns:c16="http://schemas.microsoft.com/office/drawing/2014/chart" uri="{C3380CC4-5D6E-409C-BE32-E72D297353CC}">
                <c16:uniqueId val="{000000BB-2993-41DE-A2CB-63102DE87051}"/>
              </c:ext>
            </c:extLst>
          </c:dPt>
          <c:dPt>
            <c:idx val="93"/>
            <c:invertIfNegative val="1"/>
            <c:bubble3D val="0"/>
            <c:spPr>
              <a:solidFill>
                <a:srgbClr val="7ECAC4"/>
              </a:solidFill>
            </c:spPr>
            <c:extLst>
              <c:ext xmlns:c16="http://schemas.microsoft.com/office/drawing/2014/chart" uri="{C3380CC4-5D6E-409C-BE32-E72D297353CC}">
                <c16:uniqueId val="{000000BD-2993-41DE-A2CB-63102DE87051}"/>
              </c:ext>
            </c:extLst>
          </c:dPt>
          <c:dPt>
            <c:idx val="94"/>
            <c:invertIfNegative val="1"/>
            <c:bubble3D val="0"/>
            <c:spPr>
              <a:solidFill>
                <a:srgbClr val="7ECAC4"/>
              </a:solidFill>
            </c:spPr>
            <c:extLst>
              <c:ext xmlns:c16="http://schemas.microsoft.com/office/drawing/2014/chart" uri="{C3380CC4-5D6E-409C-BE32-E72D297353CC}">
                <c16:uniqueId val="{000000BF-2993-41DE-A2CB-63102DE87051}"/>
              </c:ext>
            </c:extLst>
          </c:dPt>
          <c:dPt>
            <c:idx val="95"/>
            <c:invertIfNegative val="1"/>
            <c:bubble3D val="0"/>
            <c:spPr>
              <a:solidFill>
                <a:srgbClr val="7ECAC4"/>
              </a:solidFill>
            </c:spPr>
            <c:extLst>
              <c:ext xmlns:c16="http://schemas.microsoft.com/office/drawing/2014/chart" uri="{C3380CC4-5D6E-409C-BE32-E72D297353CC}">
                <c16:uniqueId val="{000000C1-2993-41DE-A2CB-63102DE87051}"/>
              </c:ext>
            </c:extLst>
          </c:dPt>
          <c:dPt>
            <c:idx val="96"/>
            <c:invertIfNegative val="1"/>
            <c:bubble3D val="0"/>
            <c:spPr>
              <a:solidFill>
                <a:srgbClr val="7ECAC4"/>
              </a:solidFill>
            </c:spPr>
            <c:extLst>
              <c:ext xmlns:c16="http://schemas.microsoft.com/office/drawing/2014/chart" uri="{C3380CC4-5D6E-409C-BE32-E72D297353CC}">
                <c16:uniqueId val="{000000C3-2993-41DE-A2CB-63102DE87051}"/>
              </c:ext>
            </c:extLst>
          </c:dPt>
          <c:dPt>
            <c:idx val="97"/>
            <c:invertIfNegative val="1"/>
            <c:bubble3D val="0"/>
            <c:spPr>
              <a:solidFill>
                <a:srgbClr val="7ECAC4"/>
              </a:solidFill>
            </c:spPr>
            <c:extLst>
              <c:ext xmlns:c16="http://schemas.microsoft.com/office/drawing/2014/chart" uri="{C3380CC4-5D6E-409C-BE32-E72D297353CC}">
                <c16:uniqueId val="{000000C5-2993-41DE-A2CB-63102DE87051}"/>
              </c:ext>
            </c:extLst>
          </c:dPt>
          <c:dPt>
            <c:idx val="98"/>
            <c:invertIfNegative val="1"/>
            <c:bubble3D val="0"/>
            <c:spPr>
              <a:solidFill>
                <a:srgbClr val="7ECAC4"/>
              </a:solidFill>
            </c:spPr>
            <c:extLst>
              <c:ext xmlns:c16="http://schemas.microsoft.com/office/drawing/2014/chart" uri="{C3380CC4-5D6E-409C-BE32-E72D297353CC}">
                <c16:uniqueId val="{000000C7-2993-41DE-A2CB-63102DE87051}"/>
              </c:ext>
            </c:extLst>
          </c:dPt>
          <c:dPt>
            <c:idx val="99"/>
            <c:invertIfNegative val="1"/>
            <c:bubble3D val="0"/>
            <c:spPr>
              <a:solidFill>
                <a:srgbClr val="7ECAC4"/>
              </a:solidFill>
            </c:spPr>
            <c:extLst>
              <c:ext xmlns:c16="http://schemas.microsoft.com/office/drawing/2014/chart" uri="{C3380CC4-5D6E-409C-BE32-E72D297353CC}">
                <c16:uniqueId val="{000000C9-2993-41DE-A2CB-63102DE87051}"/>
              </c:ext>
            </c:extLst>
          </c:dPt>
          <c:dPt>
            <c:idx val="100"/>
            <c:invertIfNegative val="1"/>
            <c:bubble3D val="0"/>
            <c:spPr>
              <a:solidFill>
                <a:srgbClr val="7ECAC4"/>
              </a:solidFill>
            </c:spPr>
            <c:extLst>
              <c:ext xmlns:c16="http://schemas.microsoft.com/office/drawing/2014/chart" uri="{C3380CC4-5D6E-409C-BE32-E72D297353CC}">
                <c16:uniqueId val="{000000CB-2993-41DE-A2CB-63102DE87051}"/>
              </c:ext>
            </c:extLst>
          </c:dPt>
          <c:dPt>
            <c:idx val="101"/>
            <c:invertIfNegative val="1"/>
            <c:bubble3D val="0"/>
            <c:spPr>
              <a:solidFill>
                <a:srgbClr val="7ECAC4"/>
              </a:solidFill>
            </c:spPr>
            <c:extLst>
              <c:ext xmlns:c16="http://schemas.microsoft.com/office/drawing/2014/chart" uri="{C3380CC4-5D6E-409C-BE32-E72D297353CC}">
                <c16:uniqueId val="{000000CD-2993-41DE-A2CB-63102DE87051}"/>
              </c:ext>
            </c:extLst>
          </c:dPt>
          <c:dPt>
            <c:idx val="102"/>
            <c:invertIfNegative val="1"/>
            <c:bubble3D val="0"/>
            <c:spPr>
              <a:solidFill>
                <a:srgbClr val="7ECAC4"/>
              </a:solidFill>
            </c:spPr>
            <c:extLst>
              <c:ext xmlns:c16="http://schemas.microsoft.com/office/drawing/2014/chart" uri="{C3380CC4-5D6E-409C-BE32-E72D297353CC}">
                <c16:uniqueId val="{000000CF-2993-41DE-A2CB-63102DE87051}"/>
              </c:ext>
            </c:extLst>
          </c:dPt>
          <c:dPt>
            <c:idx val="103"/>
            <c:invertIfNegative val="1"/>
            <c:bubble3D val="0"/>
            <c:spPr>
              <a:solidFill>
                <a:srgbClr val="7ECAC4"/>
              </a:solidFill>
            </c:spPr>
            <c:extLst>
              <c:ext xmlns:c16="http://schemas.microsoft.com/office/drawing/2014/chart" uri="{C3380CC4-5D6E-409C-BE32-E72D297353CC}">
                <c16:uniqueId val="{000000D1-2993-41DE-A2CB-63102DE87051}"/>
              </c:ext>
            </c:extLst>
          </c:dPt>
          <c:dPt>
            <c:idx val="104"/>
            <c:invertIfNegative val="1"/>
            <c:bubble3D val="0"/>
            <c:spPr>
              <a:solidFill>
                <a:srgbClr val="7ECAC4"/>
              </a:solidFill>
            </c:spPr>
            <c:extLst>
              <c:ext xmlns:c16="http://schemas.microsoft.com/office/drawing/2014/chart" uri="{C3380CC4-5D6E-409C-BE32-E72D297353CC}">
                <c16:uniqueId val="{000000D3-2993-41DE-A2CB-63102DE87051}"/>
              </c:ext>
            </c:extLst>
          </c:dPt>
          <c:dPt>
            <c:idx val="105"/>
            <c:invertIfNegative val="1"/>
            <c:bubble3D val="0"/>
            <c:spPr>
              <a:solidFill>
                <a:srgbClr val="7ECAC4"/>
              </a:solidFill>
            </c:spPr>
            <c:extLst>
              <c:ext xmlns:c16="http://schemas.microsoft.com/office/drawing/2014/chart" uri="{C3380CC4-5D6E-409C-BE32-E72D297353CC}">
                <c16:uniqueId val="{000000D5-2993-41DE-A2CB-63102DE87051}"/>
              </c:ext>
            </c:extLst>
          </c:dPt>
          <c:dPt>
            <c:idx val="106"/>
            <c:invertIfNegative val="1"/>
            <c:bubble3D val="0"/>
            <c:spPr>
              <a:solidFill>
                <a:srgbClr val="7ECAC4"/>
              </a:solidFill>
            </c:spPr>
            <c:extLst>
              <c:ext xmlns:c16="http://schemas.microsoft.com/office/drawing/2014/chart" uri="{C3380CC4-5D6E-409C-BE32-E72D297353CC}">
                <c16:uniqueId val="{000000D7-2993-41DE-A2CB-63102DE87051}"/>
              </c:ext>
            </c:extLst>
          </c:dPt>
          <c:dPt>
            <c:idx val="107"/>
            <c:invertIfNegative val="1"/>
            <c:bubble3D val="0"/>
            <c:spPr>
              <a:solidFill>
                <a:srgbClr val="7ECAC4"/>
              </a:solidFill>
            </c:spPr>
            <c:extLst>
              <c:ext xmlns:c16="http://schemas.microsoft.com/office/drawing/2014/chart" uri="{C3380CC4-5D6E-409C-BE32-E72D297353CC}">
                <c16:uniqueId val="{000000D9-2993-41DE-A2CB-63102DE87051}"/>
              </c:ext>
            </c:extLst>
          </c:dPt>
          <c:dPt>
            <c:idx val="108"/>
            <c:invertIfNegative val="1"/>
            <c:bubble3D val="0"/>
            <c:spPr>
              <a:solidFill>
                <a:srgbClr val="7ECAC4"/>
              </a:solidFill>
            </c:spPr>
            <c:extLst>
              <c:ext xmlns:c16="http://schemas.microsoft.com/office/drawing/2014/chart" uri="{C3380CC4-5D6E-409C-BE32-E72D297353CC}">
                <c16:uniqueId val="{000000DB-2993-41DE-A2CB-63102DE87051}"/>
              </c:ext>
            </c:extLst>
          </c:dPt>
          <c:dPt>
            <c:idx val="109"/>
            <c:invertIfNegative val="1"/>
            <c:bubble3D val="0"/>
            <c:spPr>
              <a:solidFill>
                <a:srgbClr val="7ECAC4"/>
              </a:solidFill>
            </c:spPr>
            <c:extLst>
              <c:ext xmlns:c16="http://schemas.microsoft.com/office/drawing/2014/chart" uri="{C3380CC4-5D6E-409C-BE32-E72D297353CC}">
                <c16:uniqueId val="{000000DD-2993-41DE-A2CB-63102DE87051}"/>
              </c:ext>
            </c:extLst>
          </c:dPt>
          <c:dPt>
            <c:idx val="110"/>
            <c:invertIfNegative val="1"/>
            <c:bubble3D val="0"/>
            <c:spPr>
              <a:solidFill>
                <a:srgbClr val="7ECAC4"/>
              </a:solidFill>
            </c:spPr>
            <c:extLst>
              <c:ext xmlns:c16="http://schemas.microsoft.com/office/drawing/2014/chart" uri="{C3380CC4-5D6E-409C-BE32-E72D297353CC}">
                <c16:uniqueId val="{000000DF-2993-41DE-A2CB-63102DE87051}"/>
              </c:ext>
            </c:extLst>
          </c:dPt>
          <c:dPt>
            <c:idx val="111"/>
            <c:invertIfNegative val="1"/>
            <c:bubble3D val="0"/>
            <c:spPr>
              <a:solidFill>
                <a:srgbClr val="7ECAC4"/>
              </a:solidFill>
            </c:spPr>
            <c:extLst>
              <c:ext xmlns:c16="http://schemas.microsoft.com/office/drawing/2014/chart" uri="{C3380CC4-5D6E-409C-BE32-E72D297353CC}">
                <c16:uniqueId val="{000000E1-2993-41DE-A2CB-63102DE87051}"/>
              </c:ext>
            </c:extLst>
          </c:dPt>
          <c:dPt>
            <c:idx val="112"/>
            <c:invertIfNegative val="1"/>
            <c:bubble3D val="0"/>
            <c:spPr>
              <a:solidFill>
                <a:srgbClr val="7ECAC4"/>
              </a:solidFill>
            </c:spPr>
            <c:extLst>
              <c:ext xmlns:c16="http://schemas.microsoft.com/office/drawing/2014/chart" uri="{C3380CC4-5D6E-409C-BE32-E72D297353CC}">
                <c16:uniqueId val="{000000E3-2993-41DE-A2CB-63102DE87051}"/>
              </c:ext>
            </c:extLst>
          </c:dPt>
          <c:dPt>
            <c:idx val="113"/>
            <c:invertIfNegative val="1"/>
            <c:bubble3D val="0"/>
            <c:spPr>
              <a:solidFill>
                <a:srgbClr val="7ECAC4"/>
              </a:solidFill>
            </c:spPr>
            <c:extLst>
              <c:ext xmlns:c16="http://schemas.microsoft.com/office/drawing/2014/chart" uri="{C3380CC4-5D6E-409C-BE32-E72D297353CC}">
                <c16:uniqueId val="{000000E5-2993-41DE-A2CB-63102DE87051}"/>
              </c:ext>
            </c:extLst>
          </c:dPt>
          <c:dPt>
            <c:idx val="114"/>
            <c:invertIfNegative val="1"/>
            <c:bubble3D val="0"/>
            <c:spPr>
              <a:solidFill>
                <a:srgbClr val="7ECAC4"/>
              </a:solidFill>
            </c:spPr>
            <c:extLst>
              <c:ext xmlns:c16="http://schemas.microsoft.com/office/drawing/2014/chart" uri="{C3380CC4-5D6E-409C-BE32-E72D297353CC}">
                <c16:uniqueId val="{000000E7-2993-41DE-A2CB-63102DE87051}"/>
              </c:ext>
            </c:extLst>
          </c:dPt>
          <c:dPt>
            <c:idx val="115"/>
            <c:invertIfNegative val="1"/>
            <c:bubble3D val="0"/>
            <c:spPr>
              <a:solidFill>
                <a:srgbClr val="7ECAC4"/>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AEABAB"/>
              </a:solidFill>
            </c:spPr>
            <c:extLst>
              <c:ext xmlns:c16="http://schemas.microsoft.com/office/drawing/2014/chart" uri="{C3380CC4-5D6E-409C-BE32-E72D297353CC}">
                <c16:uniqueId val="{00000105-2993-41DE-A2CB-63102DE87051}"/>
              </c:ext>
            </c:extLst>
          </c:dPt>
          <c:dPt>
            <c:idx val="130"/>
            <c:invertIfNegative val="1"/>
            <c:bubble3D val="0"/>
            <c:spPr>
              <a:solidFill>
                <a:srgbClr val="AEABAB"/>
              </a:solidFill>
            </c:spPr>
            <c:extLst>
              <c:ext xmlns:c16="http://schemas.microsoft.com/office/drawing/2014/chart" uri="{C3380CC4-5D6E-409C-BE32-E72D297353CC}">
                <c16:uniqueId val="{00000107-2993-41DE-A2CB-63102DE87051}"/>
              </c:ext>
            </c:extLst>
          </c:dPt>
          <c:dPt>
            <c:idx val="131"/>
            <c:invertIfNegative val="1"/>
            <c:bubble3D val="0"/>
            <c:spPr>
              <a:solidFill>
                <a:srgbClr val="AEABAB"/>
              </a:solidFill>
            </c:spPr>
            <c:extLst>
              <c:ext xmlns:c16="http://schemas.microsoft.com/office/drawing/2014/chart" uri="{C3380CC4-5D6E-409C-BE32-E72D297353CC}">
                <c16:uniqueId val="{00000109-2993-41DE-A2CB-63102DE87051}"/>
              </c:ext>
            </c:extLst>
          </c:dPt>
          <c:dPt>
            <c:idx val="132"/>
            <c:invertIfNegative val="1"/>
            <c:bubble3D val="0"/>
            <c:spPr>
              <a:solidFill>
                <a:srgbClr val="AEABAB"/>
              </a:solidFill>
            </c:spPr>
            <c:extLst>
              <c:ext xmlns:c16="http://schemas.microsoft.com/office/drawing/2014/chart" uri="{C3380CC4-5D6E-409C-BE32-E72D297353CC}">
                <c16:uniqueId val="{0000010B-2993-41DE-A2CB-63102DE87051}"/>
              </c:ext>
            </c:extLst>
          </c:dPt>
          <c:dPt>
            <c:idx val="133"/>
            <c:invertIfNegative val="1"/>
            <c:bubble3D val="0"/>
            <c:spPr>
              <a:solidFill>
                <a:srgbClr val="AEABAB"/>
              </a:solidFill>
            </c:spPr>
            <c:extLst>
              <c:ext xmlns:c16="http://schemas.microsoft.com/office/drawing/2014/chart" uri="{C3380CC4-5D6E-409C-BE32-E72D297353CC}">
                <c16:uniqueId val="{0000010D-2993-41DE-A2CB-63102DE87051}"/>
              </c:ext>
            </c:extLst>
          </c:dPt>
          <c:dPt>
            <c:idx val="134"/>
            <c:invertIfNegative val="1"/>
            <c:bubble3D val="0"/>
            <c:spPr>
              <a:solidFill>
                <a:srgbClr val="AEABAB"/>
              </a:solidFill>
            </c:spPr>
            <c:extLst>
              <c:ext xmlns:c16="http://schemas.microsoft.com/office/drawing/2014/chart" uri="{C3380CC4-5D6E-409C-BE32-E72D297353CC}">
                <c16:uniqueId val="{0000010F-2993-41DE-A2CB-63102DE87051}"/>
              </c:ext>
            </c:extLst>
          </c:dPt>
          <c:dPt>
            <c:idx val="135"/>
            <c:invertIfNegative val="1"/>
            <c:bubble3D val="0"/>
            <c:spPr>
              <a:solidFill>
                <a:srgbClr val="AEABAB"/>
              </a:solidFill>
            </c:spPr>
            <c:extLst>
              <c:ext xmlns:c16="http://schemas.microsoft.com/office/drawing/2014/chart" uri="{C3380CC4-5D6E-409C-BE32-E72D297353CC}">
                <c16:uniqueId val="{00000111-2993-41DE-A2CB-63102DE87051}"/>
              </c:ext>
            </c:extLst>
          </c:dPt>
          <c:dPt>
            <c:idx val="136"/>
            <c:invertIfNegative val="1"/>
            <c:bubble3D val="0"/>
            <c:spPr>
              <a:solidFill>
                <a:srgbClr val="AEABAB"/>
              </a:solidFill>
            </c:spPr>
            <c:extLst>
              <c:ext xmlns:c16="http://schemas.microsoft.com/office/drawing/2014/chart" uri="{C3380CC4-5D6E-409C-BE32-E72D297353CC}">
                <c16:uniqueId val="{00000113-2993-41DE-A2CB-63102DE87051}"/>
              </c:ext>
            </c:extLst>
          </c:dPt>
          <c:dPt>
            <c:idx val="137"/>
            <c:invertIfNegative val="1"/>
            <c:bubble3D val="0"/>
            <c:spPr>
              <a:solidFill>
                <a:srgbClr val="AEABAB"/>
              </a:solidFill>
            </c:spPr>
            <c:extLst>
              <c:ext xmlns:c16="http://schemas.microsoft.com/office/drawing/2014/chart" uri="{C3380CC4-5D6E-409C-BE32-E72D297353CC}">
                <c16:uniqueId val="{00000115-2993-41DE-A2CB-63102DE87051}"/>
              </c:ext>
            </c:extLst>
          </c:dPt>
          <c:dPt>
            <c:idx val="138"/>
            <c:invertIfNegative val="1"/>
            <c:bubble3D val="0"/>
            <c:spPr>
              <a:solidFill>
                <a:srgbClr val="AEABAB"/>
              </a:solidFill>
            </c:spPr>
            <c:extLst>
              <c:ext xmlns:c16="http://schemas.microsoft.com/office/drawing/2014/chart" uri="{C3380CC4-5D6E-409C-BE32-E72D297353CC}">
                <c16:uniqueId val="{00000117-2993-41DE-A2CB-63102DE87051}"/>
              </c:ext>
            </c:extLst>
          </c:dPt>
          <c:dPt>
            <c:idx val="139"/>
            <c:invertIfNegative val="1"/>
            <c:bubble3D val="0"/>
            <c:spPr>
              <a:solidFill>
                <a:srgbClr val="AEABAB"/>
              </a:solidFill>
            </c:spPr>
            <c:extLst>
              <c:ext xmlns:c16="http://schemas.microsoft.com/office/drawing/2014/chart" uri="{C3380CC4-5D6E-409C-BE32-E72D297353CC}">
                <c16:uniqueId val="{00000119-2993-41DE-A2CB-63102DE87051}"/>
              </c:ext>
            </c:extLst>
          </c:dPt>
          <c:dPt>
            <c:idx val="140"/>
            <c:invertIfNegative val="1"/>
            <c:bubble3D val="0"/>
            <c:spPr>
              <a:solidFill>
                <a:srgbClr val="AEABAB"/>
              </a:solidFill>
            </c:spPr>
            <c:extLst>
              <c:ext xmlns:c16="http://schemas.microsoft.com/office/drawing/2014/chart" uri="{C3380CC4-5D6E-409C-BE32-E72D297353CC}">
                <c16:uniqueId val="{0000011B-2993-41DE-A2CB-63102DE87051}"/>
              </c:ext>
            </c:extLst>
          </c:dPt>
          <c:dPt>
            <c:idx val="141"/>
            <c:invertIfNegative val="1"/>
            <c:bubble3D val="0"/>
            <c:spPr>
              <a:solidFill>
                <a:srgbClr val="AEABAB"/>
              </a:solidFill>
            </c:spPr>
            <c:extLst>
              <c:ext xmlns:c16="http://schemas.microsoft.com/office/drawing/2014/chart" uri="{C3380CC4-5D6E-409C-BE32-E72D297353CC}">
                <c16:uniqueId val="{0000011D-2993-41DE-A2CB-63102DE87051}"/>
              </c:ext>
            </c:extLst>
          </c:dPt>
          <c:dPt>
            <c:idx val="142"/>
            <c:invertIfNegative val="1"/>
            <c:bubble3D val="0"/>
            <c:spPr>
              <a:solidFill>
                <a:srgbClr val="AEABAB"/>
              </a:solidFill>
            </c:spPr>
            <c:extLst>
              <c:ext xmlns:c16="http://schemas.microsoft.com/office/drawing/2014/chart" uri="{C3380CC4-5D6E-409C-BE32-E72D297353CC}">
                <c16:uniqueId val="{0000011F-2993-41DE-A2CB-63102DE87051}"/>
              </c:ext>
            </c:extLst>
          </c:dPt>
          <c:dPt>
            <c:idx val="143"/>
            <c:invertIfNegative val="1"/>
            <c:bubble3D val="0"/>
            <c:spPr>
              <a:solidFill>
                <a:srgbClr val="AEABAB"/>
              </a:solidFill>
            </c:spPr>
            <c:extLst>
              <c:ext xmlns:c16="http://schemas.microsoft.com/office/drawing/2014/chart" uri="{C3380CC4-5D6E-409C-BE32-E72D297353CC}">
                <c16:uniqueId val="{00000121-2993-41DE-A2CB-63102DE87051}"/>
              </c:ext>
            </c:extLst>
          </c:dPt>
          <c:dPt>
            <c:idx val="144"/>
            <c:invertIfNegative val="1"/>
            <c:bubble3D val="0"/>
            <c:spPr>
              <a:solidFill>
                <a:srgbClr val="AEABAB"/>
              </a:solidFill>
            </c:spPr>
            <c:extLst>
              <c:ext xmlns:c16="http://schemas.microsoft.com/office/drawing/2014/chart" uri="{C3380CC4-5D6E-409C-BE32-E72D297353CC}">
                <c16:uniqueId val="{00000123-2993-41DE-A2CB-63102DE87051}"/>
              </c:ext>
            </c:extLst>
          </c:dPt>
          <c:dPt>
            <c:idx val="145"/>
            <c:invertIfNegative val="1"/>
            <c:bubble3D val="0"/>
            <c:spPr>
              <a:solidFill>
                <a:srgbClr val="AEABAB"/>
              </a:solidFill>
            </c:spPr>
            <c:extLst>
              <c:ext xmlns:c16="http://schemas.microsoft.com/office/drawing/2014/chart" uri="{C3380CC4-5D6E-409C-BE32-E72D297353CC}">
                <c16:uniqueId val="{00000125-2993-41DE-A2CB-63102DE87051}"/>
              </c:ext>
            </c:extLst>
          </c:dPt>
          <c:dPt>
            <c:idx val="146"/>
            <c:invertIfNegative val="1"/>
            <c:bubble3D val="0"/>
            <c:spPr>
              <a:solidFill>
                <a:srgbClr val="AEABAB"/>
              </a:solidFill>
            </c:spPr>
            <c:extLst>
              <c:ext xmlns:c16="http://schemas.microsoft.com/office/drawing/2014/chart" uri="{C3380CC4-5D6E-409C-BE32-E72D297353CC}">
                <c16:uniqueId val="{00000127-2993-41DE-A2CB-63102DE87051}"/>
              </c:ext>
            </c:extLst>
          </c:dPt>
          <c:dPt>
            <c:idx val="147"/>
            <c:invertIfNegative val="1"/>
            <c:bubble3D val="0"/>
            <c:spPr>
              <a:solidFill>
                <a:srgbClr val="AEABAB"/>
              </a:solidFill>
            </c:spPr>
            <c:extLst>
              <c:ext xmlns:c16="http://schemas.microsoft.com/office/drawing/2014/chart" uri="{C3380CC4-5D6E-409C-BE32-E72D297353CC}">
                <c16:uniqueId val="{00000129-2993-41DE-A2CB-63102DE87051}"/>
              </c:ext>
            </c:extLst>
          </c:dPt>
          <c:dPt>
            <c:idx val="148"/>
            <c:invertIfNegative val="1"/>
            <c:bubble3D val="0"/>
            <c:spPr>
              <a:solidFill>
                <a:srgbClr val="AEABAB"/>
              </a:solidFill>
            </c:spPr>
            <c:extLst>
              <c:ext xmlns:c16="http://schemas.microsoft.com/office/drawing/2014/chart" uri="{C3380CC4-5D6E-409C-BE32-E72D297353CC}">
                <c16:uniqueId val="{0000012B-2993-41DE-A2CB-63102DE87051}"/>
              </c:ext>
            </c:extLst>
          </c:dPt>
          <c:dPt>
            <c:idx val="149"/>
            <c:invertIfNegative val="1"/>
            <c:bubble3D val="0"/>
            <c:spPr>
              <a:solidFill>
                <a:srgbClr val="AEABAB"/>
              </a:solidFill>
            </c:spPr>
            <c:extLst>
              <c:ext xmlns:c16="http://schemas.microsoft.com/office/drawing/2014/chart" uri="{C3380CC4-5D6E-409C-BE32-E72D297353CC}">
                <c16:uniqueId val="{0000012D-2993-41DE-A2CB-63102DE87051}"/>
              </c:ext>
            </c:extLst>
          </c:dPt>
          <c:dPt>
            <c:idx val="150"/>
            <c:invertIfNegative val="1"/>
            <c:bubble3D val="0"/>
            <c:spPr>
              <a:solidFill>
                <a:srgbClr val="AEABAB"/>
              </a:solidFill>
            </c:spPr>
            <c:extLst>
              <c:ext xmlns:c16="http://schemas.microsoft.com/office/drawing/2014/chart" uri="{C3380CC4-5D6E-409C-BE32-E72D297353CC}">
                <c16:uniqueId val="{0000012F-2993-41DE-A2CB-63102DE87051}"/>
              </c:ext>
            </c:extLst>
          </c:dPt>
          <c:dPt>
            <c:idx val="151"/>
            <c:invertIfNegative val="1"/>
            <c:bubble3D val="0"/>
            <c:spPr>
              <a:solidFill>
                <a:srgbClr val="AEABAB"/>
              </a:solidFill>
            </c:spPr>
            <c:extLst>
              <c:ext xmlns:c16="http://schemas.microsoft.com/office/drawing/2014/chart" uri="{C3380CC4-5D6E-409C-BE32-E72D297353CC}">
                <c16:uniqueId val="{00000131-2993-41DE-A2CB-63102DE87051}"/>
              </c:ext>
            </c:extLst>
          </c:dPt>
          <c:dPt>
            <c:idx val="152"/>
            <c:invertIfNegative val="1"/>
            <c:bubble3D val="0"/>
            <c:spPr>
              <a:solidFill>
                <a:srgbClr val="AEABAB"/>
              </a:solidFill>
            </c:spPr>
            <c:extLst>
              <c:ext xmlns:c16="http://schemas.microsoft.com/office/drawing/2014/chart" uri="{C3380CC4-5D6E-409C-BE32-E72D297353CC}">
                <c16:uniqueId val="{00000133-2993-41DE-A2CB-63102DE87051}"/>
              </c:ext>
            </c:extLst>
          </c:dPt>
          <c:dPt>
            <c:idx val="153"/>
            <c:invertIfNegative val="1"/>
            <c:bubble3D val="0"/>
            <c:spPr>
              <a:solidFill>
                <a:srgbClr val="AEABAB"/>
              </a:solidFill>
            </c:spPr>
            <c:extLst>
              <c:ext xmlns:c16="http://schemas.microsoft.com/office/drawing/2014/chart" uri="{C3380CC4-5D6E-409C-BE32-E72D297353CC}">
                <c16:uniqueId val="{00000135-2993-41DE-A2CB-63102DE87051}"/>
              </c:ext>
            </c:extLst>
          </c:dPt>
          <c:dPt>
            <c:idx val="154"/>
            <c:invertIfNegative val="1"/>
            <c:bubble3D val="0"/>
            <c:spPr>
              <a:solidFill>
                <a:srgbClr val="AEABAB"/>
              </a:solidFill>
            </c:spPr>
            <c:extLst>
              <c:ext xmlns:c16="http://schemas.microsoft.com/office/drawing/2014/chart" uri="{C3380CC4-5D6E-409C-BE32-E72D297353CC}">
                <c16:uniqueId val="{00000137-2993-41DE-A2CB-63102DE87051}"/>
              </c:ext>
            </c:extLst>
          </c:dPt>
          <c:dPt>
            <c:idx val="155"/>
            <c:invertIfNegative val="1"/>
            <c:bubble3D val="0"/>
            <c:spPr>
              <a:solidFill>
                <a:srgbClr val="AEABAB"/>
              </a:solidFill>
            </c:spPr>
            <c:extLst>
              <c:ext xmlns:c16="http://schemas.microsoft.com/office/drawing/2014/chart" uri="{C3380CC4-5D6E-409C-BE32-E72D297353CC}">
                <c16:uniqueId val="{00000139-2993-41DE-A2CB-63102DE87051}"/>
              </c:ext>
            </c:extLst>
          </c:dPt>
          <c:dPt>
            <c:idx val="156"/>
            <c:invertIfNegative val="1"/>
            <c:bubble3D val="0"/>
            <c:spPr>
              <a:solidFill>
                <a:srgbClr val="AEABAB"/>
              </a:solidFill>
            </c:spPr>
            <c:extLst>
              <c:ext xmlns:c16="http://schemas.microsoft.com/office/drawing/2014/chart" uri="{C3380CC4-5D6E-409C-BE32-E72D297353CC}">
                <c16:uniqueId val="{0000013B-2993-41DE-A2CB-63102DE87051}"/>
              </c:ext>
            </c:extLst>
          </c:dPt>
          <c:dPt>
            <c:idx val="157"/>
            <c:invertIfNegative val="1"/>
            <c:bubble3D val="0"/>
            <c:spPr>
              <a:solidFill>
                <a:srgbClr val="AEABAB"/>
              </a:solidFill>
            </c:spPr>
            <c:extLst>
              <c:ext xmlns:c16="http://schemas.microsoft.com/office/drawing/2014/chart" uri="{C3380CC4-5D6E-409C-BE32-E72D297353CC}">
                <c16:uniqueId val="{0000013D-2993-41DE-A2CB-63102DE87051}"/>
              </c:ext>
            </c:extLst>
          </c:dPt>
          <c:dPt>
            <c:idx val="158"/>
            <c:invertIfNegative val="1"/>
            <c:bubble3D val="0"/>
            <c:spPr>
              <a:solidFill>
                <a:srgbClr val="AEABAB"/>
              </a:solidFill>
            </c:spPr>
            <c:extLst>
              <c:ext xmlns:c16="http://schemas.microsoft.com/office/drawing/2014/chart" uri="{C3380CC4-5D6E-409C-BE32-E72D297353CC}">
                <c16:uniqueId val="{0000013F-2993-41DE-A2CB-63102DE87051}"/>
              </c:ext>
            </c:extLst>
          </c:dPt>
          <c:dPt>
            <c:idx val="159"/>
            <c:invertIfNegative val="1"/>
            <c:bubble3D val="0"/>
            <c:spPr>
              <a:solidFill>
                <a:srgbClr val="AEABAB"/>
              </a:solidFill>
            </c:spPr>
            <c:extLst>
              <c:ext xmlns:c16="http://schemas.microsoft.com/office/drawing/2014/chart" uri="{C3380CC4-5D6E-409C-BE32-E72D297353CC}">
                <c16:uniqueId val="{00000141-2993-41DE-A2CB-63102DE87051}"/>
              </c:ext>
            </c:extLst>
          </c:dPt>
          <c:dPt>
            <c:idx val="160"/>
            <c:invertIfNegative val="1"/>
            <c:bubble3D val="0"/>
            <c:spPr>
              <a:solidFill>
                <a:srgbClr val="AEABAB"/>
              </a:solidFill>
            </c:spPr>
            <c:extLst>
              <c:ext xmlns:c16="http://schemas.microsoft.com/office/drawing/2014/chart" uri="{C3380CC4-5D6E-409C-BE32-E72D297353CC}">
                <c16:uniqueId val="{00000143-2993-41DE-A2CB-63102DE87051}"/>
              </c:ext>
            </c:extLst>
          </c:dPt>
          <c:dPt>
            <c:idx val="161"/>
            <c:invertIfNegative val="1"/>
            <c:bubble3D val="0"/>
            <c:spPr>
              <a:solidFill>
                <a:srgbClr val="AEABAB"/>
              </a:solidFill>
            </c:spPr>
            <c:extLst>
              <c:ext xmlns:c16="http://schemas.microsoft.com/office/drawing/2014/chart" uri="{C3380CC4-5D6E-409C-BE32-E72D297353CC}">
                <c16:uniqueId val="{00000145-2993-41DE-A2CB-63102DE87051}"/>
              </c:ext>
            </c:extLst>
          </c:dPt>
          <c:dPt>
            <c:idx val="162"/>
            <c:invertIfNegative val="1"/>
            <c:bubble3D val="0"/>
            <c:spPr>
              <a:solidFill>
                <a:srgbClr val="AEABAB"/>
              </a:solidFill>
            </c:spPr>
            <c:extLst>
              <c:ext xmlns:c16="http://schemas.microsoft.com/office/drawing/2014/chart" uri="{C3380CC4-5D6E-409C-BE32-E72D297353CC}">
                <c16:uniqueId val="{00000147-2993-41DE-A2CB-63102DE87051}"/>
              </c:ext>
            </c:extLst>
          </c:dPt>
          <c:dPt>
            <c:idx val="163"/>
            <c:invertIfNegative val="1"/>
            <c:bubble3D val="0"/>
            <c:spPr>
              <a:solidFill>
                <a:srgbClr val="AEABAB"/>
              </a:solidFill>
            </c:spPr>
            <c:extLst>
              <c:ext xmlns:c16="http://schemas.microsoft.com/office/drawing/2014/chart" uri="{C3380CC4-5D6E-409C-BE32-E72D297353CC}">
                <c16:uniqueId val="{00000149-2993-41DE-A2CB-63102DE87051}"/>
              </c:ext>
            </c:extLst>
          </c:dPt>
          <c:dPt>
            <c:idx val="164"/>
            <c:invertIfNegative val="1"/>
            <c:bubble3D val="0"/>
            <c:spPr>
              <a:solidFill>
                <a:srgbClr val="AEABAB"/>
              </a:solidFill>
            </c:spPr>
            <c:extLst>
              <c:ext xmlns:c16="http://schemas.microsoft.com/office/drawing/2014/chart" uri="{C3380CC4-5D6E-409C-BE32-E72D297353CC}">
                <c16:uniqueId val="{0000014B-2993-41DE-A2CB-63102DE87051}"/>
              </c:ext>
            </c:extLst>
          </c:dPt>
          <c:dPt>
            <c:idx val="165"/>
            <c:invertIfNegative val="1"/>
            <c:bubble3D val="0"/>
            <c:spPr>
              <a:solidFill>
                <a:srgbClr val="AEABAB"/>
              </a:solidFill>
            </c:spPr>
            <c:extLst>
              <c:ext xmlns:c16="http://schemas.microsoft.com/office/drawing/2014/chart" uri="{C3380CC4-5D6E-409C-BE32-E72D297353CC}">
                <c16:uniqueId val="{0000014D-2993-41DE-A2CB-63102DE87051}"/>
              </c:ext>
            </c:extLst>
          </c:dPt>
          <c:dPt>
            <c:idx val="166"/>
            <c:invertIfNegative val="1"/>
            <c:bubble3D val="0"/>
            <c:spPr>
              <a:solidFill>
                <a:srgbClr val="AEABAB"/>
              </a:solidFill>
            </c:spPr>
            <c:extLst>
              <c:ext xmlns:c16="http://schemas.microsoft.com/office/drawing/2014/chart" uri="{C3380CC4-5D6E-409C-BE32-E72D297353CC}">
                <c16:uniqueId val="{0000014F-2993-41DE-A2CB-63102DE87051}"/>
              </c:ext>
            </c:extLst>
          </c:dPt>
          <c:dPt>
            <c:idx val="167"/>
            <c:invertIfNegative val="1"/>
            <c:bubble3D val="0"/>
            <c:spPr>
              <a:solidFill>
                <a:srgbClr val="AEABAB"/>
              </a:solidFill>
            </c:spPr>
            <c:extLst>
              <c:ext xmlns:c16="http://schemas.microsoft.com/office/drawing/2014/chart" uri="{C3380CC4-5D6E-409C-BE32-E72D297353CC}">
                <c16:uniqueId val="{00000151-2993-41DE-A2CB-63102DE87051}"/>
              </c:ext>
            </c:extLst>
          </c:dPt>
          <c:dPt>
            <c:idx val="168"/>
            <c:invertIfNegative val="1"/>
            <c:bubble3D val="0"/>
            <c:spPr>
              <a:solidFill>
                <a:srgbClr val="AEABAB"/>
              </a:solidFill>
            </c:spPr>
            <c:extLst>
              <c:ext xmlns:c16="http://schemas.microsoft.com/office/drawing/2014/chart" uri="{C3380CC4-5D6E-409C-BE32-E72D297353CC}">
                <c16:uniqueId val="{00000153-2993-41DE-A2CB-63102DE87051}"/>
              </c:ext>
            </c:extLst>
          </c:dPt>
          <c:dPt>
            <c:idx val="169"/>
            <c:invertIfNegative val="1"/>
            <c:bubble3D val="0"/>
            <c:spPr>
              <a:solidFill>
                <a:srgbClr val="AEABAB"/>
              </a:solidFill>
            </c:spPr>
            <c:extLst>
              <c:ext xmlns:c16="http://schemas.microsoft.com/office/drawing/2014/chart" uri="{C3380CC4-5D6E-409C-BE32-E72D297353CC}">
                <c16:uniqueId val="{00000155-2993-41DE-A2CB-63102DE87051}"/>
              </c:ext>
            </c:extLst>
          </c:dPt>
          <c:dPt>
            <c:idx val="170"/>
            <c:invertIfNegative val="1"/>
            <c:bubble3D val="0"/>
            <c:spPr>
              <a:solidFill>
                <a:srgbClr val="AEABAB"/>
              </a:solidFill>
            </c:spPr>
            <c:extLst>
              <c:ext xmlns:c16="http://schemas.microsoft.com/office/drawing/2014/chart" uri="{C3380CC4-5D6E-409C-BE32-E72D297353CC}">
                <c16:uniqueId val="{00000157-2993-41DE-A2CB-63102DE87051}"/>
              </c:ext>
            </c:extLst>
          </c:dPt>
          <c:dPt>
            <c:idx val="171"/>
            <c:invertIfNegative val="1"/>
            <c:bubble3D val="0"/>
            <c:spPr>
              <a:solidFill>
                <a:srgbClr val="AEABAB"/>
              </a:solidFill>
            </c:spPr>
            <c:extLst>
              <c:ext xmlns:c16="http://schemas.microsoft.com/office/drawing/2014/chart" uri="{C3380CC4-5D6E-409C-BE32-E72D297353CC}">
                <c16:uniqueId val="{00000159-2993-41DE-A2CB-63102DE87051}"/>
              </c:ext>
            </c:extLst>
          </c:dPt>
          <c:dPt>
            <c:idx val="172"/>
            <c:invertIfNegative val="1"/>
            <c:bubble3D val="0"/>
            <c:spPr>
              <a:solidFill>
                <a:srgbClr val="AEABAB"/>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dPt>
            <c:idx val="210"/>
            <c:invertIfNegative val="1"/>
            <c:bubble3D val="0"/>
            <c:spPr>
              <a:solidFill>
                <a:srgbClr val="AEABAB"/>
              </a:solidFill>
            </c:spPr>
            <c:extLst>
              <c:ext xmlns:c16="http://schemas.microsoft.com/office/drawing/2014/chart" uri="{C3380CC4-5D6E-409C-BE32-E72D297353CC}">
                <c16:uniqueId val="{000001A7-7AB7-4578-9607-4000F0810193}"/>
              </c:ext>
            </c:extLst>
          </c:dPt>
          <c:dPt>
            <c:idx val="211"/>
            <c:invertIfNegative val="1"/>
            <c:bubble3D val="0"/>
            <c:spPr>
              <a:solidFill>
                <a:srgbClr val="AEABAB"/>
              </a:solidFill>
            </c:spPr>
            <c:extLst>
              <c:ext xmlns:c16="http://schemas.microsoft.com/office/drawing/2014/chart" uri="{C3380CC4-5D6E-409C-BE32-E72D297353CC}">
                <c16:uniqueId val="{000001A9-7AB7-4578-9607-4000F0810193}"/>
              </c:ext>
            </c:extLst>
          </c:dPt>
          <c:dPt>
            <c:idx val="212"/>
            <c:invertIfNegative val="1"/>
            <c:bubble3D val="0"/>
            <c:spPr>
              <a:solidFill>
                <a:srgbClr val="AEABAB"/>
              </a:solidFill>
            </c:spPr>
            <c:extLst>
              <c:ext xmlns:c16="http://schemas.microsoft.com/office/drawing/2014/chart" uri="{C3380CC4-5D6E-409C-BE32-E72D297353CC}">
                <c16:uniqueId val="{000001AB-7AB7-4578-9607-4000F0810193}"/>
              </c:ext>
            </c:extLst>
          </c:dPt>
          <c:dPt>
            <c:idx val="213"/>
            <c:invertIfNegative val="1"/>
            <c:bubble3D val="0"/>
            <c:spPr>
              <a:solidFill>
                <a:srgbClr val="AEABAB"/>
              </a:solidFill>
            </c:spPr>
            <c:extLst>
              <c:ext xmlns:c16="http://schemas.microsoft.com/office/drawing/2014/chart" uri="{C3380CC4-5D6E-409C-BE32-E72D297353CC}">
                <c16:uniqueId val="{000001AD-7AB7-4578-9607-4000F0810193}"/>
              </c:ext>
            </c:extLst>
          </c:dPt>
          <c:dPt>
            <c:idx val="214"/>
            <c:invertIfNegative val="1"/>
            <c:bubble3D val="0"/>
            <c:spPr>
              <a:solidFill>
                <a:srgbClr val="AEABAB"/>
              </a:solidFill>
            </c:spPr>
            <c:extLst>
              <c:ext xmlns:c16="http://schemas.microsoft.com/office/drawing/2014/chart" uri="{C3380CC4-5D6E-409C-BE32-E72D297353CC}">
                <c16:uniqueId val="{000001AF-7AB7-4578-9607-4000F0810193}"/>
              </c:ext>
            </c:extLst>
          </c:dPt>
          <c:dPt>
            <c:idx val="215"/>
            <c:invertIfNegative val="1"/>
            <c:bubble3D val="0"/>
            <c:spPr>
              <a:solidFill>
                <a:srgbClr val="AEABAB"/>
              </a:solidFill>
            </c:spPr>
            <c:extLst>
              <c:ext xmlns:c16="http://schemas.microsoft.com/office/drawing/2014/chart" uri="{C3380CC4-5D6E-409C-BE32-E72D297353CC}">
                <c16:uniqueId val="{000001B1-7AB7-4578-9607-4000F0810193}"/>
              </c:ext>
            </c:extLst>
          </c:dPt>
          <c:dPt>
            <c:idx val="216"/>
            <c:invertIfNegative val="1"/>
            <c:bubble3D val="0"/>
            <c:spPr>
              <a:solidFill>
                <a:srgbClr val="AEABAB"/>
              </a:solidFill>
            </c:spPr>
            <c:extLst>
              <c:ext xmlns:c16="http://schemas.microsoft.com/office/drawing/2014/chart" uri="{C3380CC4-5D6E-409C-BE32-E72D297353CC}">
                <c16:uniqueId val="{000001B3-7AB7-4578-9607-4000F0810193}"/>
              </c:ext>
            </c:extLst>
          </c:dPt>
          <c:dPt>
            <c:idx val="217"/>
            <c:invertIfNegative val="1"/>
            <c:bubble3D val="0"/>
            <c:spPr>
              <a:solidFill>
                <a:srgbClr val="AEABAB"/>
              </a:solidFill>
            </c:spPr>
            <c:extLst>
              <c:ext xmlns:c16="http://schemas.microsoft.com/office/drawing/2014/chart" uri="{C3380CC4-5D6E-409C-BE32-E72D297353CC}">
                <c16:uniqueId val="{000001B5-7AB7-4578-9607-4000F0810193}"/>
              </c:ext>
            </c:extLst>
          </c:dPt>
          <c:dPt>
            <c:idx val="218"/>
            <c:invertIfNegative val="1"/>
            <c:bubble3D val="0"/>
            <c:spPr>
              <a:solidFill>
                <a:srgbClr val="AEABAB"/>
              </a:solidFill>
            </c:spPr>
            <c:extLst>
              <c:ext xmlns:c16="http://schemas.microsoft.com/office/drawing/2014/chart" uri="{C3380CC4-5D6E-409C-BE32-E72D297353CC}">
                <c16:uniqueId val="{000001B7-7AB7-4578-9607-4000F0810193}"/>
              </c:ext>
            </c:extLst>
          </c:dPt>
          <c:dPt>
            <c:idx val="219"/>
            <c:invertIfNegative val="1"/>
            <c:bubble3D val="0"/>
            <c:spPr>
              <a:solidFill>
                <a:srgbClr val="AEABAB"/>
              </a:solidFill>
            </c:spPr>
            <c:extLst>
              <c:ext xmlns:c16="http://schemas.microsoft.com/office/drawing/2014/chart" uri="{C3380CC4-5D6E-409C-BE32-E72D297353CC}">
                <c16:uniqueId val="{000001B9-7AB7-4578-9607-4000F0810193}"/>
              </c:ext>
            </c:extLst>
          </c:dPt>
          <c:dPt>
            <c:idx val="220"/>
            <c:invertIfNegative val="1"/>
            <c:bubble3D val="0"/>
            <c:spPr>
              <a:solidFill>
                <a:srgbClr val="AEABAB"/>
              </a:solidFill>
            </c:spPr>
            <c:extLst>
              <c:ext xmlns:c16="http://schemas.microsoft.com/office/drawing/2014/chart" uri="{C3380CC4-5D6E-409C-BE32-E72D297353CC}">
                <c16:uniqueId val="{000001BB-7AB7-4578-9607-4000F0810193}"/>
              </c:ext>
            </c:extLst>
          </c:dPt>
          <c:dPt>
            <c:idx val="221"/>
            <c:invertIfNegative val="1"/>
            <c:bubble3D val="0"/>
            <c:spPr>
              <a:solidFill>
                <a:srgbClr val="AEABAB"/>
              </a:solidFill>
            </c:spPr>
            <c:extLst>
              <c:ext xmlns:c16="http://schemas.microsoft.com/office/drawing/2014/chart" uri="{C3380CC4-5D6E-409C-BE32-E72D297353CC}">
                <c16:uniqueId val="{000001BD-7AB7-4578-9607-4000F0810193}"/>
              </c:ext>
            </c:extLst>
          </c:dPt>
          <c:dPt>
            <c:idx val="222"/>
            <c:invertIfNegative val="1"/>
            <c:bubble3D val="0"/>
            <c:spPr>
              <a:solidFill>
                <a:srgbClr val="AEABAB"/>
              </a:solidFill>
            </c:spPr>
            <c:extLst>
              <c:ext xmlns:c16="http://schemas.microsoft.com/office/drawing/2014/chart" uri="{C3380CC4-5D6E-409C-BE32-E72D297353CC}">
                <c16:uniqueId val="{000001BF-7AB7-4578-9607-4000F0810193}"/>
              </c:ext>
            </c:extLst>
          </c:dPt>
          <c:dPt>
            <c:idx val="223"/>
            <c:invertIfNegative val="1"/>
            <c:bubble3D val="0"/>
            <c:spPr>
              <a:solidFill>
                <a:srgbClr val="AEABAB"/>
              </a:solidFill>
            </c:spPr>
            <c:extLst>
              <c:ext xmlns:c16="http://schemas.microsoft.com/office/drawing/2014/chart" uri="{C3380CC4-5D6E-409C-BE32-E72D297353CC}">
                <c16:uniqueId val="{000001C1-7AB7-4578-9607-4000F0810193}"/>
              </c:ext>
            </c:extLst>
          </c:dPt>
          <c:dPt>
            <c:idx val="224"/>
            <c:invertIfNegative val="1"/>
            <c:bubble3D val="0"/>
            <c:spPr>
              <a:solidFill>
                <a:srgbClr val="AEABAB"/>
              </a:solidFill>
            </c:spPr>
            <c:extLst>
              <c:ext xmlns:c16="http://schemas.microsoft.com/office/drawing/2014/chart" uri="{C3380CC4-5D6E-409C-BE32-E72D297353CC}">
                <c16:uniqueId val="{000001C3-7AB7-4578-9607-4000F0810193}"/>
              </c:ext>
            </c:extLst>
          </c:dPt>
          <c:dPt>
            <c:idx val="225"/>
            <c:invertIfNegative val="1"/>
            <c:bubble3D val="0"/>
            <c:spPr>
              <a:solidFill>
                <a:srgbClr val="AEABAB"/>
              </a:solidFill>
            </c:spPr>
            <c:extLst>
              <c:ext xmlns:c16="http://schemas.microsoft.com/office/drawing/2014/chart" uri="{C3380CC4-5D6E-409C-BE32-E72D297353CC}">
                <c16:uniqueId val="{000001C5-7AB7-4578-9607-4000F0810193}"/>
              </c:ext>
            </c:extLst>
          </c:dPt>
          <c:dPt>
            <c:idx val="226"/>
            <c:invertIfNegative val="1"/>
            <c:bubble3D val="0"/>
            <c:spPr>
              <a:solidFill>
                <a:srgbClr val="AEABAB"/>
              </a:solidFill>
            </c:spPr>
            <c:extLst>
              <c:ext xmlns:c16="http://schemas.microsoft.com/office/drawing/2014/chart" uri="{C3380CC4-5D6E-409C-BE32-E72D297353CC}">
                <c16:uniqueId val="{000001C7-7AB7-4578-9607-4000F0810193}"/>
              </c:ext>
            </c:extLst>
          </c:dPt>
          <c:dPt>
            <c:idx val="227"/>
            <c:invertIfNegative val="1"/>
            <c:bubble3D val="0"/>
            <c:spPr>
              <a:solidFill>
                <a:srgbClr val="AEABAB"/>
              </a:solidFill>
            </c:spPr>
            <c:extLst>
              <c:ext xmlns:c16="http://schemas.microsoft.com/office/drawing/2014/chart" uri="{C3380CC4-5D6E-409C-BE32-E72D297353CC}">
                <c16:uniqueId val="{000001C9-7AB7-4578-9607-4000F0810193}"/>
              </c:ext>
            </c:extLst>
          </c:dPt>
          <c:dPt>
            <c:idx val="228"/>
            <c:invertIfNegative val="1"/>
            <c:bubble3D val="0"/>
            <c:spPr>
              <a:solidFill>
                <a:srgbClr val="AEABAB"/>
              </a:solidFill>
            </c:spPr>
            <c:extLst>
              <c:ext xmlns:c16="http://schemas.microsoft.com/office/drawing/2014/chart" uri="{C3380CC4-5D6E-409C-BE32-E72D297353CC}">
                <c16:uniqueId val="{000001CB-7AB7-4578-9607-4000F0810193}"/>
              </c:ext>
            </c:extLst>
          </c:dPt>
          <c:dPt>
            <c:idx val="229"/>
            <c:invertIfNegative val="1"/>
            <c:bubble3D val="0"/>
            <c:spPr>
              <a:solidFill>
                <a:srgbClr val="AEABAB"/>
              </a:solidFill>
            </c:spPr>
            <c:extLst>
              <c:ext xmlns:c16="http://schemas.microsoft.com/office/drawing/2014/chart" uri="{C3380CC4-5D6E-409C-BE32-E72D297353CC}">
                <c16:uniqueId val="{000001CD-7AB7-4578-9607-4000F0810193}"/>
              </c:ext>
            </c:extLst>
          </c:dPt>
          <c:dPt>
            <c:idx val="230"/>
            <c:invertIfNegative val="1"/>
            <c:bubble3D val="0"/>
            <c:spPr>
              <a:solidFill>
                <a:srgbClr val="AEABAB"/>
              </a:solidFill>
            </c:spPr>
            <c:extLst>
              <c:ext xmlns:c16="http://schemas.microsoft.com/office/drawing/2014/chart" uri="{C3380CC4-5D6E-409C-BE32-E72D297353CC}">
                <c16:uniqueId val="{000001CF-7AB7-4578-9607-4000F0810193}"/>
              </c:ext>
            </c:extLst>
          </c:dPt>
          <c:dPt>
            <c:idx val="231"/>
            <c:invertIfNegative val="1"/>
            <c:bubble3D val="0"/>
            <c:spPr>
              <a:solidFill>
                <a:srgbClr val="AEABAB"/>
              </a:solidFill>
            </c:spPr>
            <c:extLst>
              <c:ext xmlns:c16="http://schemas.microsoft.com/office/drawing/2014/chart" uri="{C3380CC4-5D6E-409C-BE32-E72D297353CC}">
                <c16:uniqueId val="{000001D1-7AB7-4578-9607-4000F0810193}"/>
              </c:ext>
            </c:extLst>
          </c:dPt>
          <c:dPt>
            <c:idx val="232"/>
            <c:invertIfNegative val="1"/>
            <c:bubble3D val="0"/>
            <c:spPr>
              <a:solidFill>
                <a:srgbClr val="AEABAB"/>
              </a:solidFill>
            </c:spPr>
            <c:extLst>
              <c:ext xmlns:c16="http://schemas.microsoft.com/office/drawing/2014/chart" uri="{C3380CC4-5D6E-409C-BE32-E72D297353CC}">
                <c16:uniqueId val="{000001D3-7AB7-4578-9607-4000F0810193}"/>
              </c:ext>
            </c:extLst>
          </c:dPt>
          <c:dPt>
            <c:idx val="233"/>
            <c:invertIfNegative val="1"/>
            <c:bubble3D val="0"/>
            <c:spPr>
              <a:solidFill>
                <a:srgbClr val="AEABAB"/>
              </a:solidFill>
            </c:spPr>
            <c:extLst>
              <c:ext xmlns:c16="http://schemas.microsoft.com/office/drawing/2014/chart" uri="{C3380CC4-5D6E-409C-BE32-E72D297353CC}">
                <c16:uniqueId val="{000001D5-7AB7-4578-9607-4000F0810193}"/>
              </c:ext>
            </c:extLst>
          </c:dPt>
          <c:dPt>
            <c:idx val="234"/>
            <c:invertIfNegative val="1"/>
            <c:bubble3D val="0"/>
            <c:spPr>
              <a:solidFill>
                <a:srgbClr val="AEABAB"/>
              </a:solidFill>
            </c:spPr>
            <c:extLst>
              <c:ext xmlns:c16="http://schemas.microsoft.com/office/drawing/2014/chart" uri="{C3380CC4-5D6E-409C-BE32-E72D297353CC}">
                <c16:uniqueId val="{000001D7-7AB7-4578-9607-4000F0810193}"/>
              </c:ext>
            </c:extLst>
          </c:dPt>
          <c:dPt>
            <c:idx val="235"/>
            <c:invertIfNegative val="1"/>
            <c:bubble3D val="0"/>
            <c:spPr>
              <a:solidFill>
                <a:srgbClr val="AEABAB"/>
              </a:solidFill>
            </c:spPr>
            <c:extLst>
              <c:ext xmlns:c16="http://schemas.microsoft.com/office/drawing/2014/chart" uri="{C3380CC4-5D6E-409C-BE32-E72D297353CC}">
                <c16:uniqueId val="{000001D9-7AB7-4578-9607-4000F0810193}"/>
              </c:ext>
            </c:extLst>
          </c:dPt>
          <c:dPt>
            <c:idx val="236"/>
            <c:invertIfNegative val="1"/>
            <c:bubble3D val="0"/>
            <c:spPr>
              <a:solidFill>
                <a:srgbClr val="AEABAB"/>
              </a:solidFill>
            </c:spPr>
            <c:extLst>
              <c:ext xmlns:c16="http://schemas.microsoft.com/office/drawing/2014/chart" uri="{C3380CC4-5D6E-409C-BE32-E72D297353CC}">
                <c16:uniqueId val="{000001DB-7AB7-4578-9607-4000F0810193}"/>
              </c:ext>
            </c:extLst>
          </c:dPt>
          <c:dPt>
            <c:idx val="237"/>
            <c:invertIfNegative val="1"/>
            <c:bubble3D val="0"/>
            <c:spPr>
              <a:solidFill>
                <a:srgbClr val="AEABAB"/>
              </a:solidFill>
            </c:spPr>
            <c:extLst>
              <c:ext xmlns:c16="http://schemas.microsoft.com/office/drawing/2014/chart" uri="{C3380CC4-5D6E-409C-BE32-E72D297353CC}">
                <c16:uniqueId val="{000001DD-7AB7-4578-9607-4000F0810193}"/>
              </c:ext>
            </c:extLst>
          </c:dPt>
          <c:dPt>
            <c:idx val="238"/>
            <c:invertIfNegative val="1"/>
            <c:bubble3D val="0"/>
            <c:spPr>
              <a:solidFill>
                <a:srgbClr val="AEABAB"/>
              </a:solidFill>
            </c:spPr>
            <c:extLst>
              <c:ext xmlns:c16="http://schemas.microsoft.com/office/drawing/2014/chart" uri="{C3380CC4-5D6E-409C-BE32-E72D297353CC}">
                <c16:uniqueId val="{000001DF-7AB7-4578-9607-4000F0810193}"/>
              </c:ext>
            </c:extLst>
          </c:dPt>
          <c:dPt>
            <c:idx val="239"/>
            <c:invertIfNegative val="1"/>
            <c:bubble3D val="0"/>
            <c:spPr>
              <a:solidFill>
                <a:srgbClr val="AEABAB"/>
              </a:solidFill>
            </c:spPr>
            <c:extLst>
              <c:ext xmlns:c16="http://schemas.microsoft.com/office/drawing/2014/chart" uri="{C3380CC4-5D6E-409C-BE32-E72D297353CC}">
                <c16:uniqueId val="{000001E1-7AB7-4578-9607-4000F0810193}"/>
              </c:ext>
            </c:extLst>
          </c:dPt>
          <c:dPt>
            <c:idx val="240"/>
            <c:invertIfNegative val="1"/>
            <c:bubble3D val="0"/>
            <c:spPr>
              <a:solidFill>
                <a:srgbClr val="AEABAB"/>
              </a:solidFill>
            </c:spPr>
            <c:extLst>
              <c:ext xmlns:c16="http://schemas.microsoft.com/office/drawing/2014/chart" uri="{C3380CC4-5D6E-409C-BE32-E72D297353CC}">
                <c16:uniqueId val="{000001E3-7AB7-4578-9607-4000F0810193}"/>
              </c:ext>
            </c:extLst>
          </c:dPt>
          <c:dPt>
            <c:idx val="241"/>
            <c:invertIfNegative val="1"/>
            <c:bubble3D val="0"/>
            <c:spPr>
              <a:solidFill>
                <a:srgbClr val="AEABAB"/>
              </a:solidFill>
            </c:spPr>
            <c:extLst>
              <c:ext xmlns:c16="http://schemas.microsoft.com/office/drawing/2014/chart" uri="{C3380CC4-5D6E-409C-BE32-E72D297353CC}">
                <c16:uniqueId val="{000001E5-7AB7-4578-9607-4000F0810193}"/>
              </c:ext>
            </c:extLst>
          </c:dPt>
          <c:dPt>
            <c:idx val="242"/>
            <c:invertIfNegative val="1"/>
            <c:bubble3D val="0"/>
            <c:spPr>
              <a:solidFill>
                <a:srgbClr val="AEABAB"/>
              </a:solidFill>
            </c:spPr>
            <c:extLst>
              <c:ext xmlns:c16="http://schemas.microsoft.com/office/drawing/2014/chart" uri="{C3380CC4-5D6E-409C-BE32-E72D297353CC}">
                <c16:uniqueId val="{000001E7-7AB7-4578-9607-4000F0810193}"/>
              </c:ext>
            </c:extLst>
          </c:dPt>
          <c:dPt>
            <c:idx val="243"/>
            <c:invertIfNegative val="1"/>
            <c:bubble3D val="0"/>
            <c:spPr>
              <a:solidFill>
                <a:srgbClr val="AEABAB"/>
              </a:solidFill>
            </c:spPr>
            <c:extLst>
              <c:ext xmlns:c16="http://schemas.microsoft.com/office/drawing/2014/chart" uri="{C3380CC4-5D6E-409C-BE32-E72D297353CC}">
                <c16:uniqueId val="{000001E9-7AB7-4578-9607-4000F0810193}"/>
              </c:ext>
            </c:extLst>
          </c:dPt>
          <c:dPt>
            <c:idx val="244"/>
            <c:invertIfNegative val="1"/>
            <c:bubble3D val="0"/>
            <c:spPr>
              <a:solidFill>
                <a:srgbClr val="AEABAB"/>
              </a:solidFill>
            </c:spPr>
            <c:extLst>
              <c:ext xmlns:c16="http://schemas.microsoft.com/office/drawing/2014/chart" uri="{C3380CC4-5D6E-409C-BE32-E72D297353CC}">
                <c16:uniqueId val="{000001EB-7AB7-4578-9607-4000F0810193}"/>
              </c:ext>
            </c:extLst>
          </c:dPt>
          <c:dPt>
            <c:idx val="245"/>
            <c:invertIfNegative val="1"/>
            <c:bubble3D val="0"/>
            <c:spPr>
              <a:solidFill>
                <a:srgbClr val="AEABAB"/>
              </a:solidFill>
            </c:spPr>
            <c:extLst>
              <c:ext xmlns:c16="http://schemas.microsoft.com/office/drawing/2014/chart" uri="{C3380CC4-5D6E-409C-BE32-E72D297353CC}">
                <c16:uniqueId val="{000001ED-7AB7-4578-9607-4000F0810193}"/>
              </c:ext>
            </c:extLst>
          </c:dPt>
          <c:dPt>
            <c:idx val="246"/>
            <c:invertIfNegative val="1"/>
            <c:bubble3D val="0"/>
            <c:spPr>
              <a:solidFill>
                <a:srgbClr val="AEABAB"/>
              </a:solidFill>
            </c:spPr>
            <c:extLst>
              <c:ext xmlns:c16="http://schemas.microsoft.com/office/drawing/2014/chart" uri="{C3380CC4-5D6E-409C-BE32-E72D297353CC}">
                <c16:uniqueId val="{000001EF-7AB7-4578-9607-4000F0810193}"/>
              </c:ext>
            </c:extLst>
          </c:dPt>
          <c:dPt>
            <c:idx val="247"/>
            <c:invertIfNegative val="1"/>
            <c:bubble3D val="0"/>
            <c:spPr>
              <a:solidFill>
                <a:srgbClr val="AEABAB"/>
              </a:solidFill>
            </c:spPr>
            <c:extLst>
              <c:ext xmlns:c16="http://schemas.microsoft.com/office/drawing/2014/chart" uri="{C3380CC4-5D6E-409C-BE32-E72D297353CC}">
                <c16:uniqueId val="{000001F1-7AB7-4578-9607-4000F0810193}"/>
              </c:ext>
            </c:extLst>
          </c:dPt>
          <c:dPt>
            <c:idx val="248"/>
            <c:invertIfNegative val="1"/>
            <c:bubble3D val="0"/>
            <c:spPr>
              <a:solidFill>
                <a:srgbClr val="AEABAB"/>
              </a:solidFill>
            </c:spPr>
            <c:extLst>
              <c:ext xmlns:c16="http://schemas.microsoft.com/office/drawing/2014/chart" uri="{C3380CC4-5D6E-409C-BE32-E72D297353CC}">
                <c16:uniqueId val="{000001F3-7AB7-4578-9607-4000F0810193}"/>
              </c:ext>
            </c:extLst>
          </c:dPt>
          <c:cat>
            <c:strRef>
              <c:f>Sheet1!$A$2:$A$250</c:f>
              <c:strCache>
                <c:ptCount val="249"/>
                <c:pt idx="0">
                  <c:v>Ruinart</c:v>
                </c:pt>
                <c:pt idx="1">
                  <c:v>Nicolas</c:v>
                </c:pt>
                <c:pt idx="2">
                  <c:v>All Others</c:v>
                </c:pt>
                <c:pt idx="3">
                  <c:v>Deutz</c:v>
                </c:pt>
                <c:pt idx="4">
                  <c:v>Ruinart</c:v>
                </c:pt>
                <c:pt idx="5">
                  <c:v>Ayala</c:v>
                </c:pt>
                <c:pt idx="6">
                  <c:v>All Others</c:v>
                </c:pt>
                <c:pt idx="7">
                  <c:v>Bollinger</c:v>
                </c:pt>
                <c:pt idx="8">
                  <c:v>De Bligny</c:v>
                </c:pt>
                <c:pt idx="9">
                  <c:v>Malard</c:v>
                </c:pt>
                <c:pt idx="10">
                  <c:v>Laurent Per</c:v>
                </c:pt>
                <c:pt idx="11">
                  <c:v>Nicolas Feu</c:v>
                </c:pt>
                <c:pt idx="12">
                  <c:v>Heidsieck &amp;</c:v>
                </c:pt>
                <c:pt idx="13">
                  <c:v>Canard Duch</c:v>
                </c:pt>
                <c:pt idx="14">
                  <c:v>Ruinart</c:v>
                </c:pt>
                <c:pt idx="15">
                  <c:v>Taittinger</c:v>
                </c:pt>
                <c:pt idx="16">
                  <c:v>All Others</c:v>
                </c:pt>
                <c:pt idx="17">
                  <c:v>Ruinart</c:v>
                </c:pt>
                <c:pt idx="18">
                  <c:v>Demoiselle</c:v>
                </c:pt>
                <c:pt idx="19">
                  <c:v>Deutz</c:v>
                </c:pt>
                <c:pt idx="20">
                  <c:v>All Others</c:v>
                </c:pt>
                <c:pt idx="21">
                  <c:v>Ruinart</c:v>
                </c:pt>
                <c:pt idx="22">
                  <c:v>Perrier Jou</c:v>
                </c:pt>
                <c:pt idx="23">
                  <c:v>Pommery</c:v>
                </c:pt>
                <c:pt idx="24">
                  <c:v>Lanson-Bcc:</c:v>
                </c:pt>
                <c:pt idx="25">
                  <c:v>Campari: Al</c:v>
                </c:pt>
                <c:pt idx="26">
                  <c:v>All Others</c:v>
                </c:pt>
                <c:pt idx="27">
                  <c:v>Savian</c:v>
                </c:pt>
                <c:pt idx="28">
                  <c:v>Besserat De</c:v>
                </c:pt>
                <c:pt idx="29">
                  <c:v>Nicolas</c:v>
                </c:pt>
                <c:pt idx="30">
                  <c:v>Deutz</c:v>
                </c:pt>
                <c:pt idx="31">
                  <c:v>All Others</c:v>
                </c:pt>
                <c:pt idx="32">
                  <c:v>All Others</c:v>
                </c:pt>
                <c:pt idx="33">
                  <c:v>Ruinart</c:v>
                </c:pt>
                <c:pt idx="34">
                  <c:v>Laurent Per</c:v>
                </c:pt>
                <c:pt idx="35">
                  <c:v>All Others</c:v>
                </c:pt>
                <c:pt idx="36">
                  <c:v>Vesselle</c:v>
                </c:pt>
                <c:pt idx="37">
                  <c:v>Taittinger</c:v>
                </c:pt>
                <c:pt idx="38">
                  <c:v>Demoiselle</c:v>
                </c:pt>
                <c:pt idx="39">
                  <c:v>Dom Perigno</c:v>
                </c:pt>
                <c:pt idx="40">
                  <c:v>Malard</c:v>
                </c:pt>
                <c:pt idx="41">
                  <c:v>Roederer</c:v>
                </c:pt>
                <c:pt idx="42">
                  <c:v>Moët &amp; Chan</c:v>
                </c:pt>
                <c:pt idx="43">
                  <c:v>Malard</c:v>
                </c:pt>
                <c:pt idx="44">
                  <c:v>Laurent Per</c:v>
                </c:pt>
                <c:pt idx="45">
                  <c:v>Roederer</c:v>
                </c:pt>
                <c:pt idx="46">
                  <c:v>Ruinart</c:v>
                </c:pt>
                <c:pt idx="47">
                  <c:v>Nicolas</c:v>
                </c:pt>
                <c:pt idx="48">
                  <c:v>Canard Duch</c:v>
                </c:pt>
                <c:pt idx="49">
                  <c:v>Bollinger</c:v>
                </c:pt>
                <c:pt idx="50">
                  <c:v>Veuve Clicq</c:v>
                </c:pt>
                <c:pt idx="51">
                  <c:v>Veuve Clicq</c:v>
                </c:pt>
                <c:pt idx="52">
                  <c:v>Vranken</c:v>
                </c:pt>
                <c:pt idx="53">
                  <c:v>Malard</c:v>
                </c:pt>
                <c:pt idx="54">
                  <c:v>Henriot</c:v>
                </c:pt>
                <c:pt idx="55">
                  <c:v>Ayala</c:v>
                </c:pt>
                <c:pt idx="56">
                  <c:v>Ruinart</c:v>
                </c:pt>
                <c:pt idx="57">
                  <c:v>Dom Perigno</c:v>
                </c:pt>
                <c:pt idx="58">
                  <c:v>Ruinart</c:v>
                </c:pt>
                <c:pt idx="59">
                  <c:v>Lanson</c:v>
                </c:pt>
                <c:pt idx="60">
                  <c:v>De Venoge</c:v>
                </c:pt>
                <c:pt idx="61">
                  <c:v>Veuve Clicq</c:v>
                </c:pt>
                <c:pt idx="62">
                  <c:v>All Others</c:v>
                </c:pt>
                <c:pt idx="63">
                  <c:v>Malard</c:v>
                </c:pt>
                <c:pt idx="64">
                  <c:v>All Others</c:v>
                </c:pt>
                <c:pt idx="65">
                  <c:v>Deutz</c:v>
                </c:pt>
                <c:pt idx="66">
                  <c:v>Nicolas Feu</c:v>
                </c:pt>
                <c:pt idx="67">
                  <c:v>Malard</c:v>
                </c:pt>
                <c:pt idx="68">
                  <c:v>Nicolas Feu</c:v>
                </c:pt>
                <c:pt idx="69">
                  <c:v>Louis Marti</c:v>
                </c:pt>
                <c:pt idx="70">
                  <c:v>De Bligny</c:v>
                </c:pt>
                <c:pt idx="71">
                  <c:v>Pommery</c:v>
                </c:pt>
                <c:pt idx="72">
                  <c:v>All Others</c:v>
                </c:pt>
                <c:pt idx="73">
                  <c:v>Piper Heids</c:v>
                </c:pt>
                <c:pt idx="74">
                  <c:v>Canard Duch</c:v>
                </c:pt>
                <c:pt idx="75">
                  <c:v>Moët &amp; Chan</c:v>
                </c:pt>
                <c:pt idx="76">
                  <c:v>All Others</c:v>
                </c:pt>
                <c:pt idx="77">
                  <c:v>Delamotte</c:v>
                </c:pt>
                <c:pt idx="78">
                  <c:v>Deutz</c:v>
                </c:pt>
                <c:pt idx="79">
                  <c:v>Henriot</c:v>
                </c:pt>
                <c:pt idx="80">
                  <c:v>De Venoge</c:v>
                </c:pt>
                <c:pt idx="81">
                  <c:v>Nicolas Feu</c:v>
                </c:pt>
                <c:pt idx="82">
                  <c:v>Roederer</c:v>
                </c:pt>
                <c:pt idx="83">
                  <c:v>Roederer</c:v>
                </c:pt>
                <c:pt idx="84">
                  <c:v>Campari: Al</c:v>
                </c:pt>
                <c:pt idx="85">
                  <c:v>Canard Duch</c:v>
                </c:pt>
                <c:pt idx="86">
                  <c:v>Krug</c:v>
                </c:pt>
                <c:pt idx="87">
                  <c:v>All Others</c:v>
                </c:pt>
                <c:pt idx="88">
                  <c:v>Bollinger</c:v>
                </c:pt>
                <c:pt idx="89">
                  <c:v>Dom Perigno</c:v>
                </c:pt>
                <c:pt idx="90">
                  <c:v>Laurent Per</c:v>
                </c:pt>
                <c:pt idx="91">
                  <c:v>All Others</c:v>
                </c:pt>
                <c:pt idx="92">
                  <c:v>Besserat De</c:v>
                </c:pt>
                <c:pt idx="93">
                  <c:v>De Venoge</c:v>
                </c:pt>
                <c:pt idx="94">
                  <c:v>Ruinart</c:v>
                </c:pt>
                <c:pt idx="95">
                  <c:v>Vranken</c:v>
                </c:pt>
                <c:pt idx="96">
                  <c:v>Delamotte</c:v>
                </c:pt>
                <c:pt idx="97">
                  <c:v>Besserat De</c:v>
                </c:pt>
                <c:pt idx="98">
                  <c:v>Nicolas</c:v>
                </c:pt>
                <c:pt idx="99">
                  <c:v>Veuve Clicq</c:v>
                </c:pt>
                <c:pt idx="100">
                  <c:v>Henriot</c:v>
                </c:pt>
                <c:pt idx="101">
                  <c:v>Canard Duch</c:v>
                </c:pt>
                <c:pt idx="102">
                  <c:v>Roederer</c:v>
                </c:pt>
                <c:pt idx="103">
                  <c:v>Henriot</c:v>
                </c:pt>
                <c:pt idx="104">
                  <c:v>Bollinger</c:v>
                </c:pt>
                <c:pt idx="105">
                  <c:v>Pommery</c:v>
                </c:pt>
                <c:pt idx="106">
                  <c:v>De Venoge</c:v>
                </c:pt>
                <c:pt idx="107">
                  <c:v>Moët &amp; Chan</c:v>
                </c:pt>
                <c:pt idx="108">
                  <c:v>Ruinart</c:v>
                </c:pt>
                <c:pt idx="109">
                  <c:v>Ruinart</c:v>
                </c:pt>
                <c:pt idx="110">
                  <c:v>Ruinart</c:v>
                </c:pt>
                <c:pt idx="111">
                  <c:v>Deutz</c:v>
                </c:pt>
                <c:pt idx="112">
                  <c:v>Perrier Jou</c:v>
                </c:pt>
                <c:pt idx="113">
                  <c:v>Ruinart</c:v>
                </c:pt>
                <c:pt idx="114">
                  <c:v>Nicolas</c:v>
                </c:pt>
                <c:pt idx="115">
                  <c:v>Nicolas</c:v>
                </c:pt>
                <c:pt idx="116">
                  <c:v>All Others</c:v>
                </c:pt>
                <c:pt idx="117">
                  <c:v>Nicolas</c:v>
                </c:pt>
                <c:pt idx="118">
                  <c:v>Deutz</c:v>
                </c:pt>
                <c:pt idx="119">
                  <c:v>Ruinart</c:v>
                </c:pt>
                <c:pt idx="120">
                  <c:v>Laurent Per</c:v>
                </c:pt>
                <c:pt idx="121">
                  <c:v>Roederer</c:v>
                </c:pt>
                <c:pt idx="122">
                  <c:v>Roederer</c:v>
                </c:pt>
                <c:pt idx="123">
                  <c:v>Roederer</c:v>
                </c:pt>
                <c:pt idx="124">
                  <c:v>All Others</c:v>
                </c:pt>
                <c:pt idx="125">
                  <c:v>Nicolas</c:v>
                </c:pt>
                <c:pt idx="126">
                  <c:v>Nicolas</c:v>
                </c:pt>
                <c:pt idx="127">
                  <c:v>Piper Heids</c:v>
                </c:pt>
                <c:pt idx="128">
                  <c:v>All Others</c:v>
                </c:pt>
                <c:pt idx="129">
                  <c:v>Taittinger</c:v>
                </c:pt>
                <c:pt idx="130">
                  <c:v>Perrier Jou</c:v>
                </c:pt>
                <c:pt idx="131">
                  <c:v>Nicolas Feu</c:v>
                </c:pt>
                <c:pt idx="132">
                  <c:v>Nicolas</c:v>
                </c:pt>
                <c:pt idx="133">
                  <c:v>Laurent Per</c:v>
                </c:pt>
                <c:pt idx="134">
                  <c:v>All Others</c:v>
                </c:pt>
                <c:pt idx="135">
                  <c:v>All Others</c:v>
                </c:pt>
                <c:pt idx="136">
                  <c:v>Canard Duch</c:v>
                </c:pt>
                <c:pt idx="137">
                  <c:v>Moët &amp; Chan</c:v>
                </c:pt>
                <c:pt idx="138">
                  <c:v>Besserat De</c:v>
                </c:pt>
                <c:pt idx="139">
                  <c:v>Ruinart</c:v>
                </c:pt>
                <c:pt idx="140">
                  <c:v>All Others</c:v>
                </c:pt>
                <c:pt idx="141">
                  <c:v>De Venoge</c:v>
                </c:pt>
                <c:pt idx="142">
                  <c:v>Lanson</c:v>
                </c:pt>
                <c:pt idx="143">
                  <c:v>Vranken</c:v>
                </c:pt>
                <c:pt idx="144">
                  <c:v>Roederer</c:v>
                </c:pt>
                <c:pt idx="145">
                  <c:v>Nicolas</c:v>
                </c:pt>
                <c:pt idx="146">
                  <c:v>Vesselle</c:v>
                </c:pt>
                <c:pt idx="147">
                  <c:v>All Others</c:v>
                </c:pt>
                <c:pt idx="148">
                  <c:v>Ruinart</c:v>
                </c:pt>
                <c:pt idx="149">
                  <c:v>All Others</c:v>
                </c:pt>
                <c:pt idx="150">
                  <c:v>Nicolas</c:v>
                </c:pt>
                <c:pt idx="151">
                  <c:v>All Others</c:v>
                </c:pt>
                <c:pt idx="152">
                  <c:v>Laurent Per</c:v>
                </c:pt>
                <c:pt idx="153">
                  <c:v>Moët &amp; Chan</c:v>
                </c:pt>
                <c:pt idx="154">
                  <c:v>All Others</c:v>
                </c:pt>
                <c:pt idx="155">
                  <c:v>Ayala</c:v>
                </c:pt>
                <c:pt idx="156">
                  <c:v>Pommery</c:v>
                </c:pt>
                <c:pt idx="157">
                  <c:v>Nicolas</c:v>
                </c:pt>
                <c:pt idx="158">
                  <c:v>Dom Perigno</c:v>
                </c:pt>
                <c:pt idx="159">
                  <c:v>Nicolas</c:v>
                </c:pt>
                <c:pt idx="160">
                  <c:v>Roederer</c:v>
                </c:pt>
                <c:pt idx="161">
                  <c:v>Pommery</c:v>
                </c:pt>
                <c:pt idx="162">
                  <c:v>Louis Marti</c:v>
                </c:pt>
                <c:pt idx="163">
                  <c:v>Roederer</c:v>
                </c:pt>
                <c:pt idx="164">
                  <c:v>Ruinart</c:v>
                </c:pt>
                <c:pt idx="165">
                  <c:v>Ruinart</c:v>
                </c:pt>
                <c:pt idx="166">
                  <c:v>Canard Duch</c:v>
                </c:pt>
                <c:pt idx="167">
                  <c:v>Nicolas</c:v>
                </c:pt>
                <c:pt idx="168">
                  <c:v>Pommery</c:v>
                </c:pt>
                <c:pt idx="169">
                  <c:v>Bollinger</c:v>
                </c:pt>
                <c:pt idx="170">
                  <c:v>Taittinger</c:v>
                </c:pt>
                <c:pt idx="171">
                  <c:v>De Venoge</c:v>
                </c:pt>
                <c:pt idx="172">
                  <c:v>Lanson</c:v>
                </c:pt>
                <c:pt idx="173">
                  <c:v>Roederer</c:v>
                </c:pt>
                <c:pt idx="174">
                  <c:v>Pommery</c:v>
                </c:pt>
                <c:pt idx="175">
                  <c:v>Demoiselle</c:v>
                </c:pt>
                <c:pt idx="176">
                  <c:v>Henriot</c:v>
                </c:pt>
                <c:pt idx="177">
                  <c:v>Laurent Per</c:v>
                </c:pt>
                <c:pt idx="178">
                  <c:v>Vesselle</c:v>
                </c:pt>
                <c:pt idx="179">
                  <c:v>Nicolas</c:v>
                </c:pt>
                <c:pt idx="180">
                  <c:v>Roederer</c:v>
                </c:pt>
                <c:pt idx="181">
                  <c:v>Bollinger</c:v>
                </c:pt>
                <c:pt idx="182">
                  <c:v>De Bligny</c:v>
                </c:pt>
                <c:pt idx="183">
                  <c:v>Piper Heids</c:v>
                </c:pt>
                <c:pt idx="184">
                  <c:v>Canard Duch</c:v>
                </c:pt>
                <c:pt idx="185">
                  <c:v>Moët &amp; Chan</c:v>
                </c:pt>
                <c:pt idx="186">
                  <c:v>Laurent Per</c:v>
                </c:pt>
                <c:pt idx="187">
                  <c:v>Ruinart</c:v>
                </c:pt>
                <c:pt idx="188">
                  <c:v>De Venoge</c:v>
                </c:pt>
                <c:pt idx="189">
                  <c:v>Roederer</c:v>
                </c:pt>
                <c:pt idx="190">
                  <c:v>Henriot</c:v>
                </c:pt>
                <c:pt idx="191">
                  <c:v>De Bligny</c:v>
                </c:pt>
                <c:pt idx="192">
                  <c:v>Nicolas</c:v>
                </c:pt>
                <c:pt idx="193">
                  <c:v>Laurent Per</c:v>
                </c:pt>
                <c:pt idx="194">
                  <c:v>Piper Heids</c:v>
                </c:pt>
                <c:pt idx="195">
                  <c:v>All Others</c:v>
                </c:pt>
                <c:pt idx="196">
                  <c:v>Nicolas Feu</c:v>
                </c:pt>
                <c:pt idx="197">
                  <c:v>Roederer</c:v>
                </c:pt>
                <c:pt idx="198">
                  <c:v>Perrier Jou</c:v>
                </c:pt>
                <c:pt idx="199">
                  <c:v>Laurent Per</c:v>
                </c:pt>
                <c:pt idx="200">
                  <c:v>Demoiselle</c:v>
                </c:pt>
                <c:pt idx="201">
                  <c:v>Malard</c:v>
                </c:pt>
                <c:pt idx="202">
                  <c:v>All Others</c:v>
                </c:pt>
                <c:pt idx="203">
                  <c:v>Deutz</c:v>
                </c:pt>
                <c:pt idx="204">
                  <c:v>Nicolas</c:v>
                </c:pt>
                <c:pt idx="205">
                  <c:v>Roederer</c:v>
                </c:pt>
                <c:pt idx="206">
                  <c:v>Taittinger</c:v>
                </c:pt>
                <c:pt idx="207">
                  <c:v>Ruinart</c:v>
                </c:pt>
                <c:pt idx="208">
                  <c:v>All Others</c:v>
                </c:pt>
                <c:pt idx="209">
                  <c:v>Laurent Per</c:v>
                </c:pt>
                <c:pt idx="210">
                  <c:v>De Venoge</c:v>
                </c:pt>
                <c:pt idx="211">
                  <c:v>Roederer</c:v>
                </c:pt>
                <c:pt idx="212">
                  <c:v>Bollinger</c:v>
                </c:pt>
                <c:pt idx="213">
                  <c:v>Besserat De</c:v>
                </c:pt>
                <c:pt idx="214">
                  <c:v>Laurent Per</c:v>
                </c:pt>
                <c:pt idx="215">
                  <c:v>Bollinger</c:v>
                </c:pt>
                <c:pt idx="216">
                  <c:v>Ruinart</c:v>
                </c:pt>
                <c:pt idx="217">
                  <c:v>Roederer</c:v>
                </c:pt>
                <c:pt idx="218">
                  <c:v>Veuve Clicq</c:v>
                </c:pt>
                <c:pt idx="219">
                  <c:v>Laurent Per</c:v>
                </c:pt>
                <c:pt idx="220">
                  <c:v>Veuve Clicq</c:v>
                </c:pt>
                <c:pt idx="221">
                  <c:v>Vranken</c:v>
                </c:pt>
                <c:pt idx="222">
                  <c:v>Perrier Jou</c:v>
                </c:pt>
                <c:pt idx="223">
                  <c:v>Deutz</c:v>
                </c:pt>
                <c:pt idx="224">
                  <c:v>All Others</c:v>
                </c:pt>
                <c:pt idx="225">
                  <c:v>Nicolas Feu</c:v>
                </c:pt>
                <c:pt idx="226">
                  <c:v>All Others</c:v>
                </c:pt>
                <c:pt idx="227">
                  <c:v>Besserat De</c:v>
                </c:pt>
                <c:pt idx="228">
                  <c:v>All Others</c:v>
                </c:pt>
                <c:pt idx="229">
                  <c:v>Veuve Clicq</c:v>
                </c:pt>
                <c:pt idx="230">
                  <c:v>Nicolas</c:v>
                </c:pt>
                <c:pt idx="231">
                  <c:v>Malard</c:v>
                </c:pt>
                <c:pt idx="232">
                  <c:v>Roederer</c:v>
                </c:pt>
                <c:pt idx="233">
                  <c:v>Lanson</c:v>
                </c:pt>
                <c:pt idx="234">
                  <c:v>Roederer</c:v>
                </c:pt>
                <c:pt idx="235">
                  <c:v>Roederer</c:v>
                </c:pt>
                <c:pt idx="236">
                  <c:v>De Venoge</c:v>
                </c:pt>
                <c:pt idx="237">
                  <c:v>Bollinger</c:v>
                </c:pt>
                <c:pt idx="238">
                  <c:v>Roederer</c:v>
                </c:pt>
                <c:pt idx="239">
                  <c:v>Henriot</c:v>
                </c:pt>
                <c:pt idx="240">
                  <c:v>Nicolas</c:v>
                </c:pt>
                <c:pt idx="241">
                  <c:v>Piper Heids</c:v>
                </c:pt>
                <c:pt idx="242">
                  <c:v>Nicolas</c:v>
                </c:pt>
                <c:pt idx="243">
                  <c:v>Vranken Pom</c:v>
                </c:pt>
                <c:pt idx="244">
                  <c:v>Moët &amp; Chan</c:v>
                </c:pt>
                <c:pt idx="245">
                  <c:v>Nicolas</c:v>
                </c:pt>
                <c:pt idx="246">
                  <c:v>Malard</c:v>
                </c:pt>
                <c:pt idx="247">
                  <c:v>Demoiselle</c:v>
                </c:pt>
                <c:pt idx="248">
                  <c:v>Besserat De</c:v>
                </c:pt>
              </c:strCache>
            </c:strRef>
          </c:cat>
          <c:val>
            <c:numRef>
              <c:f>Sheet1!$C$2:$C$250</c:f>
              <c:numCache>
                <c:formatCode>General</c:formatCode>
                <c:ptCount val="249"/>
                <c:pt idx="0">
                  <c:v>8.0523143273404638E-2</c:v>
                </c:pt>
                <c:pt idx="1">
                  <c:v>0.14647774758380697</c:v>
                </c:pt>
                <c:pt idx="2">
                  <c:v>0.18551649457350133</c:v>
                </c:pt>
                <c:pt idx="3">
                  <c:v>0.21900063151739355</c:v>
                </c:pt>
                <c:pt idx="4">
                  <c:v>0.24944687679426061</c:v>
                </c:pt>
                <c:pt idx="5">
                  <c:v>0.27512214219677034</c:v>
                </c:pt>
                <c:pt idx="6">
                  <c:v>0.29623901156618182</c:v>
                </c:pt>
                <c:pt idx="7">
                  <c:v>0.317043551010459</c:v>
                </c:pt>
                <c:pt idx="8">
                  <c:v>0.3377439804796914</c:v>
                </c:pt>
                <c:pt idx="9">
                  <c:v>0.35830663567057114</c:v>
                </c:pt>
                <c:pt idx="10">
                  <c:v>0.37844911048312641</c:v>
                </c:pt>
                <c:pt idx="11">
                  <c:v>0.39739463228917887</c:v>
                </c:pt>
                <c:pt idx="12">
                  <c:v>0.41506901493884629</c:v>
                </c:pt>
                <c:pt idx="13">
                  <c:v>0.43154208069084138</c:v>
                </c:pt>
                <c:pt idx="14">
                  <c:v>0.4476891014311693</c:v>
                </c:pt>
                <c:pt idx="15">
                  <c:v>0.4617582865617712</c:v>
                </c:pt>
                <c:pt idx="16">
                  <c:v>0.4755276100277232</c:v>
                </c:pt>
                <c:pt idx="17">
                  <c:v>0.48838924413041057</c:v>
                </c:pt>
                <c:pt idx="18">
                  <c:v>0.50016863322305161</c:v>
                </c:pt>
                <c:pt idx="19">
                  <c:v>0.5114511621353891</c:v>
                </c:pt>
                <c:pt idx="20">
                  <c:v>0.52271872913514539</c:v>
                </c:pt>
                <c:pt idx="21">
                  <c:v>0.53384914526957317</c:v>
                </c:pt>
                <c:pt idx="22">
                  <c:v>0.5441373304082795</c:v>
                </c:pt>
                <c:pt idx="23">
                  <c:v>0.55431143096355351</c:v>
                </c:pt>
                <c:pt idx="24">
                  <c:v>0.56448553151882752</c:v>
                </c:pt>
                <c:pt idx="25">
                  <c:v>0.57449006373151357</c:v>
                </c:pt>
                <c:pt idx="26">
                  <c:v>0.58448524474883634</c:v>
                </c:pt>
                <c:pt idx="27">
                  <c:v>0.59389005363222258</c:v>
                </c:pt>
                <c:pt idx="28">
                  <c:v>0.60304736754499344</c:v>
                </c:pt>
                <c:pt idx="29">
                  <c:v>0.61215917230699612</c:v>
                </c:pt>
                <c:pt idx="30">
                  <c:v>0.62107647220544215</c:v>
                </c:pt>
                <c:pt idx="31">
                  <c:v>0.62996945899594359</c:v>
                </c:pt>
                <c:pt idx="32">
                  <c:v>0.63878327233236909</c:v>
                </c:pt>
                <c:pt idx="33">
                  <c:v>0.64753910825754202</c:v>
                </c:pt>
                <c:pt idx="34">
                  <c:v>0.65585169752249439</c:v>
                </c:pt>
                <c:pt idx="35">
                  <c:v>0.66320236049107495</c:v>
                </c:pt>
                <c:pt idx="36">
                  <c:v>0.6705143718521539</c:v>
                </c:pt>
                <c:pt idx="37">
                  <c:v>0.67777838041036786</c:v>
                </c:pt>
                <c:pt idx="38">
                  <c:v>0.68488653571252678</c:v>
                </c:pt>
                <c:pt idx="39">
                  <c:v>0.69167363330721232</c:v>
                </c:pt>
                <c:pt idx="40">
                  <c:v>0.6981795716279745</c:v>
                </c:pt>
                <c:pt idx="41">
                  <c:v>0.70438876534920791</c:v>
                </c:pt>
                <c:pt idx="42">
                  <c:v>0.71026942040667729</c:v>
                </c:pt>
                <c:pt idx="43">
                  <c:v>0.71580158758360757</c:v>
                </c:pt>
                <c:pt idx="44">
                  <c:v>0.72119972096033047</c:v>
                </c:pt>
                <c:pt idx="45">
                  <c:v>0.72655795590350325</c:v>
                </c:pt>
                <c:pt idx="46">
                  <c:v>0.73180210626324371</c:v>
                </c:pt>
                <c:pt idx="47">
                  <c:v>0.7369614724516903</c:v>
                </c:pt>
                <c:pt idx="48">
                  <c:v>0.74196373855803333</c:v>
                </c:pt>
                <c:pt idx="49">
                  <c:v>0.74693982131735914</c:v>
                </c:pt>
                <c:pt idx="50">
                  <c:v>0.75166217497582732</c:v>
                </c:pt>
                <c:pt idx="51">
                  <c:v>0.75628041865925066</c:v>
                </c:pt>
                <c:pt idx="52">
                  <c:v>0.76076774560758775</c:v>
                </c:pt>
                <c:pt idx="53">
                  <c:v>0.76518462688418798</c:v>
                </c:pt>
                <c:pt idx="54">
                  <c:v>0.76957906529191633</c:v>
                </c:pt>
                <c:pt idx="55">
                  <c:v>0.77395729496101495</c:v>
                </c:pt>
                <c:pt idx="56">
                  <c:v>0.77823266148111725</c:v>
                </c:pt>
                <c:pt idx="57">
                  <c:v>0.78234469378887384</c:v>
                </c:pt>
                <c:pt idx="58">
                  <c:v>0.78643864711892797</c:v>
                </c:pt>
                <c:pt idx="59">
                  <c:v>0.79052574290571576</c:v>
                </c:pt>
                <c:pt idx="60">
                  <c:v>0.79451433943467675</c:v>
                </c:pt>
                <c:pt idx="61">
                  <c:v>0.79845306292170015</c:v>
                </c:pt>
                <c:pt idx="62">
                  <c:v>0.80220289226238473</c:v>
                </c:pt>
                <c:pt idx="63">
                  <c:v>0.80594648747282716</c:v>
                </c:pt>
                <c:pt idx="64">
                  <c:v>0.80956851714354661</c:v>
                </c:pt>
                <c:pt idx="65">
                  <c:v>0.8131712210105152</c:v>
                </c:pt>
                <c:pt idx="66">
                  <c:v>0.81673776692207911</c:v>
                </c:pt>
                <c:pt idx="67">
                  <c:v>0.82028062313872263</c:v>
                </c:pt>
                <c:pt idx="68">
                  <c:v>0.82379542576927622</c:v>
                </c:pt>
                <c:pt idx="69">
                  <c:v>0.82729838355236962</c:v>
                </c:pt>
                <c:pt idx="70">
                  <c:v>0.83077453457542161</c:v>
                </c:pt>
                <c:pt idx="71">
                  <c:v>0.83418834429605149</c:v>
                </c:pt>
                <c:pt idx="72">
                  <c:v>0.8375815813868821</c:v>
                </c:pt>
                <c:pt idx="73">
                  <c:v>0.84086946167661958</c:v>
                </c:pt>
                <c:pt idx="74">
                  <c:v>0.84414736735796947</c:v>
                </c:pt>
                <c:pt idx="75">
                  <c:v>0.84719959752455165</c:v>
                </c:pt>
                <c:pt idx="76">
                  <c:v>0.85024684038694009</c:v>
                </c:pt>
                <c:pt idx="77">
                  <c:v>0.85324919751158468</c:v>
                </c:pt>
                <c:pt idx="78">
                  <c:v>0.85609757161924682</c:v>
                </c:pt>
                <c:pt idx="79">
                  <c:v>0.85890854094545577</c:v>
                </c:pt>
                <c:pt idx="80">
                  <c:v>0.86162038760081372</c:v>
                </c:pt>
                <c:pt idx="81">
                  <c:v>0.86433161084314747</c:v>
                </c:pt>
                <c:pt idx="82">
                  <c:v>0.86703847019431168</c:v>
                </c:pt>
                <c:pt idx="83">
                  <c:v>0.86964308980950378</c:v>
                </c:pt>
                <c:pt idx="84">
                  <c:v>0.87224583918562315</c:v>
                </c:pt>
                <c:pt idx="85">
                  <c:v>0.87483923736637925</c:v>
                </c:pt>
                <c:pt idx="86">
                  <c:v>0.87739024346148842</c:v>
                </c:pt>
                <c:pt idx="87">
                  <c:v>0.87989636381885372</c:v>
                </c:pt>
                <c:pt idx="88">
                  <c:v>0.88239687345900097</c:v>
                </c:pt>
                <c:pt idx="89">
                  <c:v>0.88482132671019342</c:v>
                </c:pt>
                <c:pt idx="90">
                  <c:v>0.88723268828787727</c:v>
                </c:pt>
                <c:pt idx="91">
                  <c:v>0.88943707674151995</c:v>
                </c:pt>
                <c:pt idx="92">
                  <c:v>0.89162650328258131</c:v>
                </c:pt>
                <c:pt idx="93">
                  <c:v>0.89379411036779499</c:v>
                </c:pt>
                <c:pt idx="94">
                  <c:v>0.89589127178127181</c:v>
                </c:pt>
                <c:pt idx="95">
                  <c:v>0.89797222445611891</c:v>
                </c:pt>
                <c:pt idx="96">
                  <c:v>0.89996776954664781</c:v>
                </c:pt>
                <c:pt idx="97">
                  <c:v>0.90191281818221491</c:v>
                </c:pt>
                <c:pt idx="98">
                  <c:v>0.9038316834707647</c:v>
                </c:pt>
                <c:pt idx="99">
                  <c:v>0.90573496343370907</c:v>
                </c:pt>
                <c:pt idx="100">
                  <c:v>0.90758462987657051</c:v>
                </c:pt>
                <c:pt idx="101">
                  <c:v>0.90938192962539743</c:v>
                </c:pt>
                <c:pt idx="102">
                  <c:v>0.91116613770071575</c:v>
                </c:pt>
                <c:pt idx="103">
                  <c:v>0.9129422414067192</c:v>
                </c:pt>
                <c:pt idx="104">
                  <c:v>0.91468592763546319</c:v>
                </c:pt>
                <c:pt idx="105">
                  <c:v>0.91641465195162586</c:v>
                </c:pt>
                <c:pt idx="106">
                  <c:v>0.91813901237661899</c:v>
                </c:pt>
                <c:pt idx="107">
                  <c:v>0.91985838549741838</c:v>
                </c:pt>
                <c:pt idx="108">
                  <c:v>0.92156279670563646</c:v>
                </c:pt>
                <c:pt idx="109">
                  <c:v>0.92324289480590993</c:v>
                </c:pt>
                <c:pt idx="110">
                  <c:v>0.92491675877594126</c:v>
                </c:pt>
                <c:pt idx="111">
                  <c:v>0.92651207270492075</c:v>
                </c:pt>
                <c:pt idx="112">
                  <c:v>0.92810239932970651</c:v>
                </c:pt>
                <c:pt idx="113">
                  <c:v>0.92963973584743353</c:v>
                </c:pt>
                <c:pt idx="114">
                  <c:v>0.93112221201902923</c:v>
                </c:pt>
                <c:pt idx="115">
                  <c:v>0.93257601119151079</c:v>
                </c:pt>
                <c:pt idx="116">
                  <c:v>0.93399365240858756</c:v>
                </c:pt>
                <c:pt idx="117">
                  <c:v>0.93537575908328374</c:v>
                </c:pt>
                <c:pt idx="118">
                  <c:v>0.93675537210588311</c:v>
                </c:pt>
                <c:pt idx="119">
                  <c:v>0.93810693154239255</c:v>
                </c:pt>
                <c:pt idx="120">
                  <c:v>0.93943604811003001</c:v>
                </c:pt>
                <c:pt idx="121">
                  <c:v>0.94074957935206205</c:v>
                </c:pt>
                <c:pt idx="122">
                  <c:v>0.94202944629078611</c:v>
                </c:pt>
                <c:pt idx="123">
                  <c:v>0.94328874059971091</c:v>
                </c:pt>
                <c:pt idx="124">
                  <c:v>0.94452060473557009</c:v>
                </c:pt>
                <c:pt idx="125">
                  <c:v>0.94573189624163001</c:v>
                </c:pt>
                <c:pt idx="126">
                  <c:v>0.94693258972627814</c:v>
                </c:pt>
                <c:pt idx="127">
                  <c:v>0.94811582764624813</c:v>
                </c:pt>
                <c:pt idx="128">
                  <c:v>0.94924233498101407</c:v>
                </c:pt>
                <c:pt idx="129">
                  <c:v>0.95036572525065888</c:v>
                </c:pt>
                <c:pt idx="130">
                  <c:v>0.95148662186820687</c:v>
                </c:pt>
                <c:pt idx="131">
                  <c:v>0.95259255657317354</c:v>
                </c:pt>
                <c:pt idx="132">
                  <c:v>0.95369350397394648</c:v>
                </c:pt>
                <c:pt idx="133">
                  <c:v>0.95474333150673329</c:v>
                </c:pt>
                <c:pt idx="134">
                  <c:v>0.95574640306270364</c:v>
                </c:pt>
                <c:pt idx="135">
                  <c:v>0.95670583570697854</c:v>
                </c:pt>
                <c:pt idx="136">
                  <c:v>0.95764220206935735</c:v>
                </c:pt>
                <c:pt idx="137">
                  <c:v>0.95857669819266345</c:v>
                </c:pt>
                <c:pt idx="138">
                  <c:v>0.9595049601857274</c:v>
                </c:pt>
                <c:pt idx="139">
                  <c:v>0.96042761146157329</c:v>
                </c:pt>
                <c:pt idx="140">
                  <c:v>0.96134963932439499</c:v>
                </c:pt>
                <c:pt idx="141">
                  <c:v>0.96226917353511976</c:v>
                </c:pt>
                <c:pt idx="142">
                  <c:v>0.96317499265931172</c:v>
                </c:pt>
                <c:pt idx="143">
                  <c:v>0.96408018837047949</c:v>
                </c:pt>
                <c:pt idx="144">
                  <c:v>0.96498164360350192</c:v>
                </c:pt>
                <c:pt idx="145">
                  <c:v>0.96586127938067667</c:v>
                </c:pt>
                <c:pt idx="146">
                  <c:v>0.96672907031039124</c:v>
                </c:pt>
                <c:pt idx="147">
                  <c:v>0.96759561441405739</c:v>
                </c:pt>
                <c:pt idx="148">
                  <c:v>0.96846153510469923</c:v>
                </c:pt>
                <c:pt idx="149">
                  <c:v>0.96930189586134807</c:v>
                </c:pt>
                <c:pt idx="150">
                  <c:v>0.97013851613985158</c:v>
                </c:pt>
                <c:pt idx="151">
                  <c:v>0.97096453839694341</c:v>
                </c:pt>
                <c:pt idx="152">
                  <c:v>0.97178245628472038</c:v>
                </c:pt>
                <c:pt idx="153">
                  <c:v>0.97257793130362535</c:v>
                </c:pt>
                <c:pt idx="154">
                  <c:v>0.9733571975839006</c:v>
                </c:pt>
                <c:pt idx="155">
                  <c:v>0.97411651464740079</c:v>
                </c:pt>
                <c:pt idx="156">
                  <c:v>0.97487583171090098</c:v>
                </c:pt>
                <c:pt idx="157">
                  <c:v>0.9755902630366573</c:v>
                </c:pt>
                <c:pt idx="158">
                  <c:v>0.9762760173632995</c:v>
                </c:pt>
                <c:pt idx="159">
                  <c:v>0.97691937960429476</c:v>
                </c:pt>
                <c:pt idx="160">
                  <c:v>0.97756211843226581</c:v>
                </c:pt>
                <c:pt idx="161">
                  <c:v>0.97820049336906734</c:v>
                </c:pt>
                <c:pt idx="162">
                  <c:v>0.97882640004538446</c:v>
                </c:pt>
                <c:pt idx="163">
                  <c:v>0.97944295552633831</c:v>
                </c:pt>
                <c:pt idx="164">
                  <c:v>0.98001587209559671</c:v>
                </c:pt>
                <c:pt idx="165">
                  <c:v>0.98057694381739491</c:v>
                </c:pt>
                <c:pt idx="166">
                  <c:v>0.98111370243124851</c:v>
                </c:pt>
                <c:pt idx="167">
                  <c:v>0.98164298008881146</c:v>
                </c:pt>
                <c:pt idx="168">
                  <c:v>0.98216976409427759</c:v>
                </c:pt>
                <c:pt idx="169">
                  <c:v>0.98269343103462259</c:v>
                </c:pt>
                <c:pt idx="170">
                  <c:v>0.98321148725774954</c:v>
                </c:pt>
                <c:pt idx="171">
                  <c:v>0.98372767324180388</c:v>
                </c:pt>
                <c:pt idx="172">
                  <c:v>0.98423263779142223</c:v>
                </c:pt>
                <c:pt idx="173">
                  <c:v>0.98473136821079843</c:v>
                </c:pt>
                <c:pt idx="174">
                  <c:v>0.98522448791295658</c:v>
                </c:pt>
                <c:pt idx="175">
                  <c:v>0.98571199689789679</c:v>
                </c:pt>
                <c:pt idx="176">
                  <c:v>0.98618329714420727</c:v>
                </c:pt>
                <c:pt idx="177">
                  <c:v>0.98662654380442782</c:v>
                </c:pt>
                <c:pt idx="178">
                  <c:v>0.98706417974743044</c:v>
                </c:pt>
                <c:pt idx="179">
                  <c:v>0.987496204973215</c:v>
                </c:pt>
                <c:pt idx="180">
                  <c:v>0.98791015122129722</c:v>
                </c:pt>
                <c:pt idx="181">
                  <c:v>0.98831349944796765</c:v>
                </c:pt>
                <c:pt idx="182">
                  <c:v>0.98871248378346854</c:v>
                </c:pt>
                <c:pt idx="183">
                  <c:v>0.98908715501102484</c:v>
                </c:pt>
                <c:pt idx="184">
                  <c:v>0.98944000678273347</c:v>
                </c:pt>
                <c:pt idx="185">
                  <c:v>0.98978226053303042</c:v>
                </c:pt>
                <c:pt idx="186">
                  <c:v>0.99012389087030306</c:v>
                </c:pt>
                <c:pt idx="187">
                  <c:v>0.99045741683826083</c:v>
                </c:pt>
                <c:pt idx="188">
                  <c:v>0.99078657891504907</c:v>
                </c:pt>
                <c:pt idx="189">
                  <c:v>0.99110638979647403</c:v>
                </c:pt>
                <c:pt idx="190">
                  <c:v>0.99142495385185059</c:v>
                </c:pt>
                <c:pt idx="191">
                  <c:v>0.99174351790722715</c:v>
                </c:pt>
                <c:pt idx="192">
                  <c:v>0.99205896489748258</c:v>
                </c:pt>
                <c:pt idx="193">
                  <c:v>0.99237004799656847</c:v>
                </c:pt>
                <c:pt idx="194">
                  <c:v>0.99267552037843643</c:v>
                </c:pt>
                <c:pt idx="195">
                  <c:v>0.99294047091373006</c:v>
                </c:pt>
                <c:pt idx="196">
                  <c:v>0.99320105755785415</c:v>
                </c:pt>
                <c:pt idx="197">
                  <c:v>0.99346102078895393</c:v>
                </c:pt>
                <c:pt idx="198">
                  <c:v>0.9937184903679569</c:v>
                </c:pt>
                <c:pt idx="199">
                  <c:v>0.99396660875159659</c:v>
                </c:pt>
                <c:pt idx="200">
                  <c:v>0.99421285689616357</c:v>
                </c:pt>
                <c:pt idx="201">
                  <c:v>0.99445536456258521</c:v>
                </c:pt>
                <c:pt idx="202">
                  <c:v>0.99469413175086152</c:v>
                </c:pt>
                <c:pt idx="203">
                  <c:v>0.99493040528704102</c:v>
                </c:pt>
                <c:pt idx="204">
                  <c:v>0.99516231493205098</c:v>
                </c:pt>
                <c:pt idx="205">
                  <c:v>0.99538674362077029</c:v>
                </c:pt>
                <c:pt idx="206">
                  <c:v>0.99560431476622313</c:v>
                </c:pt>
                <c:pt idx="207">
                  <c:v>0.99581939225957916</c:v>
                </c:pt>
                <c:pt idx="208">
                  <c:v>0.99603135268781406</c:v>
                </c:pt>
                <c:pt idx="209">
                  <c:v>0.99624081946395204</c:v>
                </c:pt>
                <c:pt idx="210">
                  <c:v>0.99644218187077516</c:v>
                </c:pt>
                <c:pt idx="211">
                  <c:v>0.99662297164779901</c:v>
                </c:pt>
                <c:pt idx="212">
                  <c:v>0.99680189118575024</c:v>
                </c:pt>
                <c:pt idx="213">
                  <c:v>0.99697894048462876</c:v>
                </c:pt>
                <c:pt idx="214">
                  <c:v>0.9971453917620956</c:v>
                </c:pt>
                <c:pt idx="215">
                  <c:v>0.99730747914839291</c:v>
                </c:pt>
                <c:pt idx="216">
                  <c:v>0.99746208557839955</c:v>
                </c:pt>
                <c:pt idx="217">
                  <c:v>0.99761232811723666</c:v>
                </c:pt>
                <c:pt idx="218">
                  <c:v>0.99776257065607377</c:v>
                </c:pt>
                <c:pt idx="219">
                  <c:v>0.99791218978188667</c:v>
                </c:pt>
                <c:pt idx="220">
                  <c:v>0.99804622358209405</c:v>
                </c:pt>
                <c:pt idx="221">
                  <c:v>0.99817527007810769</c:v>
                </c:pt>
                <c:pt idx="222">
                  <c:v>0.99829371855270954</c:v>
                </c:pt>
                <c:pt idx="223">
                  <c:v>0.99840967337521447</c:v>
                </c:pt>
                <c:pt idx="224">
                  <c:v>0.99852001748050145</c:v>
                </c:pt>
                <c:pt idx="225">
                  <c:v>0.99862911475974003</c:v>
                </c:pt>
                <c:pt idx="226">
                  <c:v>0.99873571838688169</c:v>
                </c:pt>
                <c:pt idx="227">
                  <c:v>0.99884232201402334</c:v>
                </c:pt>
                <c:pt idx="228">
                  <c:v>0.99894830222814079</c:v>
                </c:pt>
                <c:pt idx="229">
                  <c:v>0.99905428244225825</c:v>
                </c:pt>
                <c:pt idx="230">
                  <c:v>0.99915652217823037</c:v>
                </c:pt>
                <c:pt idx="231">
                  <c:v>0.99924317658859696</c:v>
                </c:pt>
                <c:pt idx="232">
                  <c:v>0.99931611591243075</c:v>
                </c:pt>
                <c:pt idx="233">
                  <c:v>0.99938282110602228</c:v>
                </c:pt>
                <c:pt idx="234">
                  <c:v>0.99944453899542007</c:v>
                </c:pt>
                <c:pt idx="235">
                  <c:v>0.99950376323272094</c:v>
                </c:pt>
                <c:pt idx="236">
                  <c:v>0.9995598704049008</c:v>
                </c:pt>
                <c:pt idx="237">
                  <c:v>0.99961223709893532</c:v>
                </c:pt>
                <c:pt idx="238">
                  <c:v>0.99966211014087292</c:v>
                </c:pt>
                <c:pt idx="239">
                  <c:v>0.99971135976978631</c:v>
                </c:pt>
                <c:pt idx="240">
                  <c:v>0.9997587391596271</c:v>
                </c:pt>
                <c:pt idx="241">
                  <c:v>0.99980611854946788</c:v>
                </c:pt>
                <c:pt idx="242">
                  <c:v>0.99985162770023595</c:v>
                </c:pt>
                <c:pt idx="243">
                  <c:v>0.99988591541656802</c:v>
                </c:pt>
                <c:pt idx="244">
                  <c:v>0.99991396900265794</c:v>
                </c:pt>
                <c:pt idx="245">
                  <c:v>0.99994202258874787</c:v>
                </c:pt>
                <c:pt idx="246">
                  <c:v>0.99996571228366826</c:v>
                </c:pt>
                <c:pt idx="247">
                  <c:v>0.99998753173951593</c:v>
                </c:pt>
                <c:pt idx="248">
                  <c:v>1.000000000000000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384</c:f>
              <c:strCache>
                <c:ptCount val="383"/>
                <c:pt idx="0">
                  <c:v>Ruinart</c:v>
                </c:pt>
                <c:pt idx="1">
                  <c:v>Ruinart</c:v>
                </c:pt>
                <c:pt idx="2">
                  <c:v>Nicolas</c:v>
                </c:pt>
                <c:pt idx="3">
                  <c:v>Deutz</c:v>
                </c:pt>
                <c:pt idx="4">
                  <c:v>Laurent Per</c:v>
                </c:pt>
                <c:pt idx="5">
                  <c:v>Heidsieck &amp;</c:v>
                </c:pt>
                <c:pt idx="6">
                  <c:v>Malard</c:v>
                </c:pt>
                <c:pt idx="7">
                  <c:v>Ayala</c:v>
                </c:pt>
                <c:pt idx="8">
                  <c:v>Ruinart</c:v>
                </c:pt>
                <c:pt idx="9">
                  <c:v>Nicolas Feu</c:v>
                </c:pt>
                <c:pt idx="10">
                  <c:v>Taittinger</c:v>
                </c:pt>
                <c:pt idx="11">
                  <c:v>Bollinger</c:v>
                </c:pt>
                <c:pt idx="12">
                  <c:v>Ruinart</c:v>
                </c:pt>
                <c:pt idx="13">
                  <c:v>De Bligny</c:v>
                </c:pt>
                <c:pt idx="14">
                  <c:v>Canard Duch</c:v>
                </c:pt>
                <c:pt idx="15">
                  <c:v>Perrier Jou</c:v>
                </c:pt>
                <c:pt idx="16">
                  <c:v>Ruinart</c:v>
                </c:pt>
                <c:pt idx="17">
                  <c:v>Besserat De</c:v>
                </c:pt>
                <c:pt idx="18">
                  <c:v>Deutz</c:v>
                </c:pt>
                <c:pt idx="19">
                  <c:v>Dom Perigno</c:v>
                </c:pt>
                <c:pt idx="20">
                  <c:v>Ruinart</c:v>
                </c:pt>
                <c:pt idx="21">
                  <c:v>Roederer</c:v>
                </c:pt>
                <c:pt idx="22">
                  <c:v>Demoiselle</c:v>
                </c:pt>
                <c:pt idx="23">
                  <c:v>Dom Perigno</c:v>
                </c:pt>
                <c:pt idx="24">
                  <c:v>All Others</c:v>
                </c:pt>
                <c:pt idx="25">
                  <c:v>Laurent Per</c:v>
                </c:pt>
                <c:pt idx="26">
                  <c:v>Ruinart</c:v>
                </c:pt>
                <c:pt idx="27">
                  <c:v>Campari: Al</c:v>
                </c:pt>
                <c:pt idx="28">
                  <c:v>Deutz</c:v>
                </c:pt>
                <c:pt idx="29">
                  <c:v>Veuve Clicq</c:v>
                </c:pt>
                <c:pt idx="30">
                  <c:v>Pommery</c:v>
                </c:pt>
                <c:pt idx="31">
                  <c:v>All Others</c:v>
                </c:pt>
                <c:pt idx="32">
                  <c:v>Laurent Per</c:v>
                </c:pt>
                <c:pt idx="33">
                  <c:v>Moët &amp; Chan</c:v>
                </c:pt>
                <c:pt idx="34">
                  <c:v>Vesselle</c:v>
                </c:pt>
                <c:pt idx="35">
                  <c:v>Veuve Clicq</c:v>
                </c:pt>
                <c:pt idx="36">
                  <c:v>Ruinart</c:v>
                </c:pt>
                <c:pt idx="37">
                  <c:v>Taittinger</c:v>
                </c:pt>
                <c:pt idx="38">
                  <c:v>Savian</c:v>
                </c:pt>
                <c:pt idx="39">
                  <c:v>Demoiselle</c:v>
                </c:pt>
                <c:pt idx="40">
                  <c:v>Malard</c:v>
                </c:pt>
                <c:pt idx="41">
                  <c:v>Ruinart</c:v>
                </c:pt>
                <c:pt idx="42">
                  <c:v>Nicolas</c:v>
                </c:pt>
                <c:pt idx="43">
                  <c:v>Roederer</c:v>
                </c:pt>
                <c:pt idx="44">
                  <c:v>Veuve Clicq</c:v>
                </c:pt>
                <c:pt idx="45">
                  <c:v>Dom Perigno</c:v>
                </c:pt>
                <c:pt idx="46">
                  <c:v>Louis Marti</c:v>
                </c:pt>
                <c:pt idx="47">
                  <c:v>Henriot</c:v>
                </c:pt>
                <c:pt idx="48">
                  <c:v>Ruinart</c:v>
                </c:pt>
                <c:pt idx="49">
                  <c:v>Roederer</c:v>
                </c:pt>
                <c:pt idx="50">
                  <c:v>Moët &amp; Chan</c:v>
                </c:pt>
                <c:pt idx="51">
                  <c:v>Malard</c:v>
                </c:pt>
                <c:pt idx="52">
                  <c:v>Roederer</c:v>
                </c:pt>
                <c:pt idx="53">
                  <c:v>All Others</c:v>
                </c:pt>
                <c:pt idx="54">
                  <c:v>Nicolas Feu</c:v>
                </c:pt>
                <c:pt idx="55">
                  <c:v>Krug</c:v>
                </c:pt>
                <c:pt idx="56">
                  <c:v>Nicolas Feu</c:v>
                </c:pt>
                <c:pt idx="57">
                  <c:v>Deutz</c:v>
                </c:pt>
                <c:pt idx="58">
                  <c:v>Besserat De</c:v>
                </c:pt>
                <c:pt idx="59">
                  <c:v>Nicolas</c:v>
                </c:pt>
                <c:pt idx="60">
                  <c:v>Piper Heids</c:v>
                </c:pt>
                <c:pt idx="61">
                  <c:v>Campari: Al</c:v>
                </c:pt>
                <c:pt idx="62">
                  <c:v>Nicolas</c:v>
                </c:pt>
                <c:pt idx="63">
                  <c:v>Moët &amp; Chan</c:v>
                </c:pt>
                <c:pt idx="64">
                  <c:v>Dom Perigno</c:v>
                </c:pt>
                <c:pt idx="65">
                  <c:v>Bollinger</c:v>
                </c:pt>
                <c:pt idx="66">
                  <c:v>Perrier Jou</c:v>
                </c:pt>
                <c:pt idx="67">
                  <c:v>De Venoge</c:v>
                </c:pt>
                <c:pt idx="68">
                  <c:v>Laurent Per</c:v>
                </c:pt>
                <c:pt idx="69">
                  <c:v>Lanson</c:v>
                </c:pt>
                <c:pt idx="70">
                  <c:v>Delamotte</c:v>
                </c:pt>
                <c:pt idx="71">
                  <c:v>Nicolas Feu</c:v>
                </c:pt>
                <c:pt idx="72">
                  <c:v>Besserat De</c:v>
                </c:pt>
                <c:pt idx="73">
                  <c:v>Malard</c:v>
                </c:pt>
                <c:pt idx="74">
                  <c:v>Canard Duch</c:v>
                </c:pt>
                <c:pt idx="75">
                  <c:v>Pommery</c:v>
                </c:pt>
                <c:pt idx="76">
                  <c:v>Henriot</c:v>
                </c:pt>
                <c:pt idx="77">
                  <c:v>Malard</c:v>
                </c:pt>
                <c:pt idx="78">
                  <c:v>Ruinart</c:v>
                </c:pt>
                <c:pt idx="79">
                  <c:v>Roederer</c:v>
                </c:pt>
                <c:pt idx="80">
                  <c:v>Roederer</c:v>
                </c:pt>
                <c:pt idx="81">
                  <c:v>Roederer</c:v>
                </c:pt>
                <c:pt idx="82">
                  <c:v>Ayala</c:v>
                </c:pt>
                <c:pt idx="83">
                  <c:v>Bollinger</c:v>
                </c:pt>
                <c:pt idx="84">
                  <c:v>Roederer</c:v>
                </c:pt>
                <c:pt idx="85">
                  <c:v>Ruinart</c:v>
                </c:pt>
                <c:pt idx="86">
                  <c:v>All Others</c:v>
                </c:pt>
                <c:pt idx="87">
                  <c:v>Roederer</c:v>
                </c:pt>
                <c:pt idx="88">
                  <c:v>Henriot</c:v>
                </c:pt>
                <c:pt idx="89">
                  <c:v>De Bligny</c:v>
                </c:pt>
                <c:pt idx="90">
                  <c:v>Vranken</c:v>
                </c:pt>
                <c:pt idx="91">
                  <c:v>Ruinart</c:v>
                </c:pt>
                <c:pt idx="92">
                  <c:v>Henriot</c:v>
                </c:pt>
                <c:pt idx="93">
                  <c:v>Deutz</c:v>
                </c:pt>
                <c:pt idx="94">
                  <c:v>Perrier Jou</c:v>
                </c:pt>
                <c:pt idx="95">
                  <c:v>Veuve Clicq</c:v>
                </c:pt>
                <c:pt idx="96">
                  <c:v>Ruinart</c:v>
                </c:pt>
                <c:pt idx="97">
                  <c:v>Ruinart</c:v>
                </c:pt>
                <c:pt idx="98">
                  <c:v>Deutz</c:v>
                </c:pt>
                <c:pt idx="99">
                  <c:v>Roederer</c:v>
                </c:pt>
                <c:pt idx="100">
                  <c:v>Nicolas</c:v>
                </c:pt>
                <c:pt idx="101">
                  <c:v>Laurent Per</c:v>
                </c:pt>
                <c:pt idx="102">
                  <c:v>Canard Duch</c:v>
                </c:pt>
                <c:pt idx="103">
                  <c:v>De Venoge</c:v>
                </c:pt>
                <c:pt idx="104">
                  <c:v>De Venoge</c:v>
                </c:pt>
                <c:pt idx="105">
                  <c:v>Laurent Per</c:v>
                </c:pt>
                <c:pt idx="106">
                  <c:v>Malard</c:v>
                </c:pt>
                <c:pt idx="107">
                  <c:v>Laurent Per</c:v>
                </c:pt>
                <c:pt idx="108">
                  <c:v>Taittinger</c:v>
                </c:pt>
                <c:pt idx="109">
                  <c:v>Laurent Per</c:v>
                </c:pt>
                <c:pt idx="110">
                  <c:v>Nicolas</c:v>
                </c:pt>
                <c:pt idx="111">
                  <c:v>Bollinger</c:v>
                </c:pt>
                <c:pt idx="112">
                  <c:v>Canard Duch</c:v>
                </c:pt>
                <c:pt idx="113">
                  <c:v>Nicolas Feu</c:v>
                </c:pt>
                <c:pt idx="114">
                  <c:v>De Venoge</c:v>
                </c:pt>
                <c:pt idx="115">
                  <c:v>Roederer</c:v>
                </c:pt>
                <c:pt idx="116">
                  <c:v>Moët &amp; Chan</c:v>
                </c:pt>
                <c:pt idx="117">
                  <c:v>Roederer</c:v>
                </c:pt>
                <c:pt idx="118">
                  <c:v>Taittinger</c:v>
                </c:pt>
                <c:pt idx="119">
                  <c:v>Roederer</c:v>
                </c:pt>
                <c:pt idx="120">
                  <c:v>Perrier Jou</c:v>
                </c:pt>
                <c:pt idx="121">
                  <c:v>Vranken</c:v>
                </c:pt>
                <c:pt idx="122">
                  <c:v>Ruinart</c:v>
                </c:pt>
                <c:pt idx="123">
                  <c:v>Nicolas</c:v>
                </c:pt>
                <c:pt idx="124">
                  <c:v>Nicolas</c:v>
                </c:pt>
                <c:pt idx="125">
                  <c:v>Ruinart</c:v>
                </c:pt>
                <c:pt idx="126">
                  <c:v>Nicolas</c:v>
                </c:pt>
                <c:pt idx="127">
                  <c:v>Ruinart</c:v>
                </c:pt>
                <c:pt idx="128">
                  <c:v>Nicolas</c:v>
                </c:pt>
                <c:pt idx="129">
                  <c:v>Nicolas</c:v>
                </c:pt>
                <c:pt idx="130">
                  <c:v>Demoiselle</c:v>
                </c:pt>
                <c:pt idx="131">
                  <c:v>Laurent Per</c:v>
                </c:pt>
                <c:pt idx="132">
                  <c:v>Ruinart</c:v>
                </c:pt>
                <c:pt idx="133">
                  <c:v>Pommery</c:v>
                </c:pt>
                <c:pt idx="134">
                  <c:v>Veuve Clicq</c:v>
                </c:pt>
                <c:pt idx="135">
                  <c:v>All Others</c:v>
                </c:pt>
                <c:pt idx="136">
                  <c:v>Lanson</c:v>
                </c:pt>
                <c:pt idx="137">
                  <c:v>Veuve Clicq</c:v>
                </c:pt>
                <c:pt idx="138">
                  <c:v>Besserat De</c:v>
                </c:pt>
                <c:pt idx="139">
                  <c:v>Moët &amp; Chan</c:v>
                </c:pt>
                <c:pt idx="140">
                  <c:v>Moët &amp; Chan</c:v>
                </c:pt>
                <c:pt idx="141">
                  <c:v>Dom Perigno</c:v>
                </c:pt>
                <c:pt idx="142">
                  <c:v>Canard Duch</c:v>
                </c:pt>
                <c:pt idx="143">
                  <c:v>Pommery</c:v>
                </c:pt>
                <c:pt idx="144">
                  <c:v>All Others</c:v>
                </c:pt>
                <c:pt idx="145">
                  <c:v>Nicolas</c:v>
                </c:pt>
                <c:pt idx="146">
                  <c:v>Veuve Clicq</c:v>
                </c:pt>
                <c:pt idx="147">
                  <c:v>All Others</c:v>
                </c:pt>
                <c:pt idx="148">
                  <c:v>Laurent Per</c:v>
                </c:pt>
                <c:pt idx="149">
                  <c:v>Pommery</c:v>
                </c:pt>
                <c:pt idx="150">
                  <c:v>Pommery</c:v>
                </c:pt>
                <c:pt idx="151">
                  <c:v>All Others</c:v>
                </c:pt>
                <c:pt idx="152">
                  <c:v>Vesselle</c:v>
                </c:pt>
                <c:pt idx="153">
                  <c:v>All Others</c:v>
                </c:pt>
                <c:pt idx="154">
                  <c:v>Deutz</c:v>
                </c:pt>
                <c:pt idx="155">
                  <c:v>Lanson-Bcc:</c:v>
                </c:pt>
                <c:pt idx="156">
                  <c:v>Nicolas</c:v>
                </c:pt>
                <c:pt idx="157">
                  <c:v>Moët &amp; Chan</c:v>
                </c:pt>
                <c:pt idx="158">
                  <c:v>Canard Duch</c:v>
                </c:pt>
                <c:pt idx="159">
                  <c:v>Deutz</c:v>
                </c:pt>
                <c:pt idx="160">
                  <c:v>Laurent Per</c:v>
                </c:pt>
                <c:pt idx="161">
                  <c:v>Delamotte</c:v>
                </c:pt>
                <c:pt idx="162">
                  <c:v>Piper Heids</c:v>
                </c:pt>
                <c:pt idx="163">
                  <c:v>All Others</c:v>
                </c:pt>
                <c:pt idx="164">
                  <c:v>Roederer</c:v>
                </c:pt>
                <c:pt idx="165">
                  <c:v>Dom Perigno</c:v>
                </c:pt>
                <c:pt idx="166">
                  <c:v>Pommery</c:v>
                </c:pt>
                <c:pt idx="167">
                  <c:v>All Others</c:v>
                </c:pt>
                <c:pt idx="168">
                  <c:v>Bollinger</c:v>
                </c:pt>
                <c:pt idx="169">
                  <c:v>Deutz</c:v>
                </c:pt>
                <c:pt idx="170">
                  <c:v>Nicolas</c:v>
                </c:pt>
                <c:pt idx="171">
                  <c:v>All Others</c:v>
                </c:pt>
                <c:pt idx="172">
                  <c:v>Canard Duch</c:v>
                </c:pt>
                <c:pt idx="173">
                  <c:v>All Others</c:v>
                </c:pt>
                <c:pt idx="174">
                  <c:v>Bollinger</c:v>
                </c:pt>
                <c:pt idx="175">
                  <c:v>Perrier Jou</c:v>
                </c:pt>
                <c:pt idx="176">
                  <c:v>Nicolas</c:v>
                </c:pt>
                <c:pt idx="177">
                  <c:v>Deutz</c:v>
                </c:pt>
                <c:pt idx="178">
                  <c:v>All Others</c:v>
                </c:pt>
                <c:pt idx="179">
                  <c:v>Ruinart</c:v>
                </c:pt>
                <c:pt idx="180">
                  <c:v>Ruinart</c:v>
                </c:pt>
                <c:pt idx="181">
                  <c:v>Louis Marti</c:v>
                </c:pt>
                <c:pt idx="182">
                  <c:v>Demoiselle</c:v>
                </c:pt>
                <c:pt idx="183">
                  <c:v>Krug</c:v>
                </c:pt>
                <c:pt idx="184">
                  <c:v>Nicolas</c:v>
                </c:pt>
                <c:pt idx="185">
                  <c:v>Nicolas</c:v>
                </c:pt>
                <c:pt idx="186">
                  <c:v>All Others</c:v>
                </c:pt>
                <c:pt idx="187">
                  <c:v>Roederer</c:v>
                </c:pt>
                <c:pt idx="188">
                  <c:v>Lanson</c:v>
                </c:pt>
                <c:pt idx="189">
                  <c:v>Laurent Per</c:v>
                </c:pt>
                <c:pt idx="190">
                  <c:v>De Venoge</c:v>
                </c:pt>
                <c:pt idx="191">
                  <c:v>Pommery</c:v>
                </c:pt>
                <c:pt idx="192">
                  <c:v>Krug</c:v>
                </c:pt>
                <c:pt idx="193">
                  <c:v>Roederer</c:v>
                </c:pt>
                <c:pt idx="194">
                  <c:v>Taittinger</c:v>
                </c:pt>
                <c:pt idx="195">
                  <c:v>Canard Duch</c:v>
                </c:pt>
                <c:pt idx="196">
                  <c:v>Ayala</c:v>
                </c:pt>
                <c:pt idx="197">
                  <c:v>Vranken</c:v>
                </c:pt>
                <c:pt idx="198">
                  <c:v>Deutz</c:v>
                </c:pt>
                <c:pt idx="199">
                  <c:v>Veuve Clicq</c:v>
                </c:pt>
                <c:pt idx="200">
                  <c:v>All Others</c:v>
                </c:pt>
                <c:pt idx="201">
                  <c:v>All Others</c:v>
                </c:pt>
                <c:pt idx="202">
                  <c:v>Moët &amp; Chan</c:v>
                </c:pt>
                <c:pt idx="203">
                  <c:v>Vesselle</c:v>
                </c:pt>
                <c:pt idx="204">
                  <c:v>Taittinger</c:v>
                </c:pt>
                <c:pt idx="205">
                  <c:v>Krug</c:v>
                </c:pt>
                <c:pt idx="206">
                  <c:v>Roederer</c:v>
                </c:pt>
                <c:pt idx="207">
                  <c:v>Roederer</c:v>
                </c:pt>
                <c:pt idx="208">
                  <c:v>All Others</c:v>
                </c:pt>
                <c:pt idx="209">
                  <c:v>All Others</c:v>
                </c:pt>
                <c:pt idx="210">
                  <c:v>Piper Heids</c:v>
                </c:pt>
                <c:pt idx="211">
                  <c:v>Laurent Per</c:v>
                </c:pt>
                <c:pt idx="212">
                  <c:v>All Others</c:v>
                </c:pt>
                <c:pt idx="213">
                  <c:v>Dom Perigno</c:v>
                </c:pt>
                <c:pt idx="214">
                  <c:v>Demoiselle</c:v>
                </c:pt>
                <c:pt idx="215">
                  <c:v>Deutz</c:v>
                </c:pt>
                <c:pt idx="216">
                  <c:v>Besserat De</c:v>
                </c:pt>
                <c:pt idx="217">
                  <c:v>Moët &amp; Chan</c:v>
                </c:pt>
                <c:pt idx="218">
                  <c:v>Dom Perigno</c:v>
                </c:pt>
                <c:pt idx="219">
                  <c:v>Dom Perigno</c:v>
                </c:pt>
                <c:pt idx="220">
                  <c:v>De Venoge</c:v>
                </c:pt>
                <c:pt idx="221">
                  <c:v>Perrier Jou</c:v>
                </c:pt>
                <c:pt idx="222">
                  <c:v>Deutz</c:v>
                </c:pt>
                <c:pt idx="223">
                  <c:v>Malard</c:v>
                </c:pt>
                <c:pt idx="224">
                  <c:v>Deutz</c:v>
                </c:pt>
                <c:pt idx="225">
                  <c:v>Roederer</c:v>
                </c:pt>
                <c:pt idx="226">
                  <c:v>Ruinart</c:v>
                </c:pt>
                <c:pt idx="227">
                  <c:v>All Others</c:v>
                </c:pt>
                <c:pt idx="228">
                  <c:v>All Others</c:v>
                </c:pt>
                <c:pt idx="229">
                  <c:v>All Others</c:v>
                </c:pt>
                <c:pt idx="230">
                  <c:v>Bollinger</c:v>
                </c:pt>
                <c:pt idx="231">
                  <c:v>All Others</c:v>
                </c:pt>
                <c:pt idx="232">
                  <c:v>Delamotte</c:v>
                </c:pt>
                <c:pt idx="233">
                  <c:v>Ruinart</c:v>
                </c:pt>
                <c:pt idx="234">
                  <c:v>Piper Heids</c:v>
                </c:pt>
                <c:pt idx="235">
                  <c:v>Bollinger</c:v>
                </c:pt>
                <c:pt idx="236">
                  <c:v>Bollinger</c:v>
                </c:pt>
                <c:pt idx="237">
                  <c:v>Krug</c:v>
                </c:pt>
                <c:pt idx="238">
                  <c:v>All Others</c:v>
                </c:pt>
                <c:pt idx="239">
                  <c:v>Ruinart</c:v>
                </c:pt>
                <c:pt idx="240">
                  <c:v>All Others</c:v>
                </c:pt>
                <c:pt idx="241">
                  <c:v>Nicolas</c:v>
                </c:pt>
                <c:pt idx="242">
                  <c:v>Moët &amp; Chan</c:v>
                </c:pt>
                <c:pt idx="243">
                  <c:v>Veuve Clicq</c:v>
                </c:pt>
                <c:pt idx="244">
                  <c:v>Laurent Per</c:v>
                </c:pt>
                <c:pt idx="245">
                  <c:v>De Venoge</c:v>
                </c:pt>
                <c:pt idx="246">
                  <c:v>Nicolas Feu</c:v>
                </c:pt>
                <c:pt idx="247">
                  <c:v>Taittinger</c:v>
                </c:pt>
                <c:pt idx="248">
                  <c:v>Perrier Jou</c:v>
                </c:pt>
                <c:pt idx="249">
                  <c:v>Dom Perigno</c:v>
                </c:pt>
                <c:pt idx="250">
                  <c:v>Nicolas</c:v>
                </c:pt>
                <c:pt idx="251">
                  <c:v>De Venoge</c:v>
                </c:pt>
                <c:pt idx="252">
                  <c:v>Delamotte</c:v>
                </c:pt>
                <c:pt idx="253">
                  <c:v>All Others</c:v>
                </c:pt>
                <c:pt idx="254">
                  <c:v>Roederer</c:v>
                </c:pt>
                <c:pt idx="255">
                  <c:v>Henriot</c:v>
                </c:pt>
                <c:pt idx="256">
                  <c:v>Pommery</c:v>
                </c:pt>
                <c:pt idx="257">
                  <c:v>All Others</c:v>
                </c:pt>
                <c:pt idx="258">
                  <c:v>De Bligny</c:v>
                </c:pt>
                <c:pt idx="259">
                  <c:v>Demoiselle</c:v>
                </c:pt>
                <c:pt idx="260">
                  <c:v>All Others</c:v>
                </c:pt>
                <c:pt idx="261">
                  <c:v>Dom Perigno</c:v>
                </c:pt>
                <c:pt idx="262">
                  <c:v>Nicolas</c:v>
                </c:pt>
                <c:pt idx="263">
                  <c:v>Veuve Clicq</c:v>
                </c:pt>
                <c:pt idx="264">
                  <c:v>Dom Perigno</c:v>
                </c:pt>
                <c:pt idx="265">
                  <c:v>All Others</c:v>
                </c:pt>
                <c:pt idx="266">
                  <c:v>De Venoge</c:v>
                </c:pt>
                <c:pt idx="267">
                  <c:v>Ayala</c:v>
                </c:pt>
                <c:pt idx="268">
                  <c:v>Vesselle</c:v>
                </c:pt>
                <c:pt idx="269">
                  <c:v>Pommery</c:v>
                </c:pt>
                <c:pt idx="270">
                  <c:v>Canard Duch</c:v>
                </c:pt>
                <c:pt idx="271">
                  <c:v>Moët &amp; Chan</c:v>
                </c:pt>
                <c:pt idx="272">
                  <c:v>Krug</c:v>
                </c:pt>
                <c:pt idx="273">
                  <c:v>Bollinger</c:v>
                </c:pt>
                <c:pt idx="274">
                  <c:v>Ayala</c:v>
                </c:pt>
                <c:pt idx="275">
                  <c:v>Canard Duch</c:v>
                </c:pt>
                <c:pt idx="276">
                  <c:v>Veuve Clicq</c:v>
                </c:pt>
                <c:pt idx="277">
                  <c:v>Ruinart</c:v>
                </c:pt>
                <c:pt idx="278">
                  <c:v>Roederer</c:v>
                </c:pt>
                <c:pt idx="279">
                  <c:v>Roederer</c:v>
                </c:pt>
                <c:pt idx="280">
                  <c:v>Bollinger</c:v>
                </c:pt>
                <c:pt idx="281">
                  <c:v>All Others</c:v>
                </c:pt>
                <c:pt idx="282">
                  <c:v>Deutz</c:v>
                </c:pt>
                <c:pt idx="283">
                  <c:v>Perrier Jou</c:v>
                </c:pt>
                <c:pt idx="284">
                  <c:v>Nicolas Feu</c:v>
                </c:pt>
                <c:pt idx="285">
                  <c:v>Veuve Clicq</c:v>
                </c:pt>
                <c:pt idx="286">
                  <c:v>Heidsieck &amp;</c:v>
                </c:pt>
                <c:pt idx="287">
                  <c:v>Roederer</c:v>
                </c:pt>
                <c:pt idx="288">
                  <c:v>Henriot</c:v>
                </c:pt>
                <c:pt idx="289">
                  <c:v>Taittinger</c:v>
                </c:pt>
                <c:pt idx="290">
                  <c:v>Krug</c:v>
                </c:pt>
                <c:pt idx="291">
                  <c:v>Ayala</c:v>
                </c:pt>
                <c:pt idx="292">
                  <c:v>Pommery</c:v>
                </c:pt>
                <c:pt idx="293">
                  <c:v>Moët &amp; Chan</c:v>
                </c:pt>
                <c:pt idx="294">
                  <c:v>Pommery</c:v>
                </c:pt>
                <c:pt idx="295">
                  <c:v>Taittinger</c:v>
                </c:pt>
                <c:pt idx="296">
                  <c:v>Pommery</c:v>
                </c:pt>
                <c:pt idx="297">
                  <c:v>Vranken</c:v>
                </c:pt>
                <c:pt idx="298">
                  <c:v>Roederer</c:v>
                </c:pt>
                <c:pt idx="299">
                  <c:v>Canard Duch</c:v>
                </c:pt>
                <c:pt idx="300">
                  <c:v>Laurent Per</c:v>
                </c:pt>
                <c:pt idx="301">
                  <c:v>Roederer</c:v>
                </c:pt>
                <c:pt idx="302">
                  <c:v>Piper Heids</c:v>
                </c:pt>
                <c:pt idx="303">
                  <c:v>Laurent Per</c:v>
                </c:pt>
                <c:pt idx="304">
                  <c:v>All Others</c:v>
                </c:pt>
                <c:pt idx="305">
                  <c:v>Heidsieck &amp;</c:v>
                </c:pt>
                <c:pt idx="306">
                  <c:v>Taittinger</c:v>
                </c:pt>
                <c:pt idx="307">
                  <c:v>All Others</c:v>
                </c:pt>
                <c:pt idx="308">
                  <c:v>Besserat De</c:v>
                </c:pt>
                <c:pt idx="309">
                  <c:v>Piper Heids</c:v>
                </c:pt>
                <c:pt idx="310">
                  <c:v>All Others</c:v>
                </c:pt>
                <c:pt idx="311">
                  <c:v>Nicolas Feu</c:v>
                </c:pt>
                <c:pt idx="312">
                  <c:v>All Others</c:v>
                </c:pt>
                <c:pt idx="313">
                  <c:v>Henriot</c:v>
                </c:pt>
                <c:pt idx="314">
                  <c:v>Lanson</c:v>
                </c:pt>
                <c:pt idx="315">
                  <c:v>Krug</c:v>
                </c:pt>
                <c:pt idx="316">
                  <c:v>All Others</c:v>
                </c:pt>
                <c:pt idx="317">
                  <c:v>Ruinart</c:v>
                </c:pt>
                <c:pt idx="318">
                  <c:v>Dom Perigno</c:v>
                </c:pt>
                <c:pt idx="319">
                  <c:v>De Bligny</c:v>
                </c:pt>
                <c:pt idx="320">
                  <c:v>Demoiselle</c:v>
                </c:pt>
                <c:pt idx="321">
                  <c:v>Deutz</c:v>
                </c:pt>
                <c:pt idx="322">
                  <c:v>Moët &amp; Chan</c:v>
                </c:pt>
                <c:pt idx="323">
                  <c:v>Veuve Clicq</c:v>
                </c:pt>
                <c:pt idx="324">
                  <c:v>Moët &amp; Chan</c:v>
                </c:pt>
                <c:pt idx="325">
                  <c:v>Bollinger</c:v>
                </c:pt>
                <c:pt idx="326">
                  <c:v>Martel</c:v>
                </c:pt>
                <c:pt idx="327">
                  <c:v>Bollinger</c:v>
                </c:pt>
                <c:pt idx="328">
                  <c:v>Ruinart</c:v>
                </c:pt>
                <c:pt idx="329">
                  <c:v>Taittinger</c:v>
                </c:pt>
                <c:pt idx="330">
                  <c:v>All Others</c:v>
                </c:pt>
                <c:pt idx="331">
                  <c:v>All Others</c:v>
                </c:pt>
                <c:pt idx="332">
                  <c:v>De Venoge</c:v>
                </c:pt>
                <c:pt idx="333">
                  <c:v>All Others</c:v>
                </c:pt>
                <c:pt idx="334">
                  <c:v>Nicolas Feu</c:v>
                </c:pt>
                <c:pt idx="335">
                  <c:v>Laurent Per</c:v>
                </c:pt>
                <c:pt idx="336">
                  <c:v>Laurent Per</c:v>
                </c:pt>
                <c:pt idx="337">
                  <c:v>All Others</c:v>
                </c:pt>
                <c:pt idx="338">
                  <c:v>Roederer</c:v>
                </c:pt>
                <c:pt idx="339">
                  <c:v>All Others</c:v>
                </c:pt>
                <c:pt idx="340">
                  <c:v>Demoiselle</c:v>
                </c:pt>
                <c:pt idx="341">
                  <c:v>All Others</c:v>
                </c:pt>
                <c:pt idx="342">
                  <c:v>Bollinger</c:v>
                </c:pt>
                <c:pt idx="343">
                  <c:v>Nicolas Feu</c:v>
                </c:pt>
                <c:pt idx="344">
                  <c:v>All Others</c:v>
                </c:pt>
                <c:pt idx="345">
                  <c:v>Ayala</c:v>
                </c:pt>
                <c:pt idx="346">
                  <c:v>All Others</c:v>
                </c:pt>
                <c:pt idx="347">
                  <c:v>All Others</c:v>
                </c:pt>
                <c:pt idx="348">
                  <c:v>Ruinart</c:v>
                </c:pt>
                <c:pt idx="349">
                  <c:v>Bollinger</c:v>
                </c:pt>
                <c:pt idx="350">
                  <c:v>Canard Duch</c:v>
                </c:pt>
                <c:pt idx="351">
                  <c:v>Pommery</c:v>
                </c:pt>
                <c:pt idx="352">
                  <c:v>All Others</c:v>
                </c:pt>
                <c:pt idx="353">
                  <c:v>Roederer</c:v>
                </c:pt>
                <c:pt idx="354">
                  <c:v>Besserat De</c:v>
                </c:pt>
                <c:pt idx="355">
                  <c:v>Piper Heids</c:v>
                </c:pt>
                <c:pt idx="356">
                  <c:v>Pommery</c:v>
                </c:pt>
                <c:pt idx="357">
                  <c:v>De Venoge</c:v>
                </c:pt>
                <c:pt idx="358">
                  <c:v>All Others</c:v>
                </c:pt>
                <c:pt idx="359">
                  <c:v>Nicolas</c:v>
                </c:pt>
                <c:pt idx="360">
                  <c:v>Malard</c:v>
                </c:pt>
                <c:pt idx="361">
                  <c:v>All Others</c:v>
                </c:pt>
                <c:pt idx="362">
                  <c:v>Laurent Per</c:v>
                </c:pt>
                <c:pt idx="363">
                  <c:v>Mumm</c:v>
                </c:pt>
                <c:pt idx="364">
                  <c:v>Roederer</c:v>
                </c:pt>
                <c:pt idx="365">
                  <c:v>Taittinger</c:v>
                </c:pt>
                <c:pt idx="366">
                  <c:v>Vranken</c:v>
                </c:pt>
                <c:pt idx="367">
                  <c:v>Moët &amp; Chan</c:v>
                </c:pt>
                <c:pt idx="368">
                  <c:v>Henriot</c:v>
                </c:pt>
                <c:pt idx="369">
                  <c:v>Besserat De</c:v>
                </c:pt>
                <c:pt idx="370">
                  <c:v>Nicolas</c:v>
                </c:pt>
                <c:pt idx="371">
                  <c:v>Laurent Per</c:v>
                </c:pt>
                <c:pt idx="372">
                  <c:v>Deutz</c:v>
                </c:pt>
                <c:pt idx="373">
                  <c:v>Laurent Per</c:v>
                </c:pt>
                <c:pt idx="374">
                  <c:v>Pommery</c:v>
                </c:pt>
                <c:pt idx="375">
                  <c:v>Moët &amp; Chan</c:v>
                </c:pt>
                <c:pt idx="376">
                  <c:v>Roederer</c:v>
                </c:pt>
                <c:pt idx="377">
                  <c:v>Piper Heids</c:v>
                </c:pt>
                <c:pt idx="378">
                  <c:v>Malard</c:v>
                </c:pt>
                <c:pt idx="379">
                  <c:v>Demoiselle</c:v>
                </c:pt>
                <c:pt idx="380">
                  <c:v>All Others</c:v>
                </c:pt>
                <c:pt idx="381">
                  <c:v>Vesselle</c:v>
                </c:pt>
                <c:pt idx="382">
                  <c:v>Roederer</c:v>
                </c:pt>
              </c:strCache>
            </c:strRef>
          </c:cat>
          <c:val>
            <c:numRef>
              <c:f>Sheet1!$B$2:$B$384</c:f>
              <c:numCache>
                <c:formatCode>General</c:formatCode>
                <c:ptCount val="383"/>
                <c:pt idx="0">
                  <c:v>1</c:v>
                </c:pt>
                <c:pt idx="1">
                  <c:v>0.9</c:v>
                </c:pt>
                <c:pt idx="2">
                  <c:v>1</c:v>
                </c:pt>
                <c:pt idx="3">
                  <c:v>1</c:v>
                </c:pt>
                <c:pt idx="4">
                  <c:v>1</c:v>
                </c:pt>
                <c:pt idx="5">
                  <c:v>0.98</c:v>
                </c:pt>
                <c:pt idx="6">
                  <c:v>1</c:v>
                </c:pt>
                <c:pt idx="7">
                  <c:v>1</c:v>
                </c:pt>
                <c:pt idx="8">
                  <c:v>0.89</c:v>
                </c:pt>
                <c:pt idx="9">
                  <c:v>0.99</c:v>
                </c:pt>
                <c:pt idx="10">
                  <c:v>0.96</c:v>
                </c:pt>
                <c:pt idx="11">
                  <c:v>1</c:v>
                </c:pt>
                <c:pt idx="12">
                  <c:v>0.8</c:v>
                </c:pt>
                <c:pt idx="13">
                  <c:v>0.96</c:v>
                </c:pt>
                <c:pt idx="14">
                  <c:v>0.98</c:v>
                </c:pt>
                <c:pt idx="15">
                  <c:v>0.98</c:v>
                </c:pt>
                <c:pt idx="16">
                  <c:v>0.74</c:v>
                </c:pt>
                <c:pt idx="17">
                  <c:v>0.91</c:v>
                </c:pt>
                <c:pt idx="18">
                  <c:v>0.93</c:v>
                </c:pt>
                <c:pt idx="19">
                  <c:v>0.46</c:v>
                </c:pt>
                <c:pt idx="20">
                  <c:v>0.8</c:v>
                </c:pt>
                <c:pt idx="21">
                  <c:v>0.88</c:v>
                </c:pt>
                <c:pt idx="22">
                  <c:v>0.94</c:v>
                </c:pt>
                <c:pt idx="23">
                  <c:v>0.44</c:v>
                </c:pt>
                <c:pt idx="24">
                  <c:v>0.89</c:v>
                </c:pt>
                <c:pt idx="25">
                  <c:v>0.98</c:v>
                </c:pt>
                <c:pt idx="26">
                  <c:v>0.51</c:v>
                </c:pt>
                <c:pt idx="27">
                  <c:v>0.88</c:v>
                </c:pt>
                <c:pt idx="28">
                  <c:v>0.87</c:v>
                </c:pt>
                <c:pt idx="29">
                  <c:v>0.76</c:v>
                </c:pt>
                <c:pt idx="30">
                  <c:v>0.85</c:v>
                </c:pt>
                <c:pt idx="31">
                  <c:v>0.74</c:v>
                </c:pt>
                <c:pt idx="32">
                  <c:v>0.78</c:v>
                </c:pt>
                <c:pt idx="33">
                  <c:v>0.92</c:v>
                </c:pt>
                <c:pt idx="34">
                  <c:v>0.84</c:v>
                </c:pt>
                <c:pt idx="35">
                  <c:v>0.78</c:v>
                </c:pt>
                <c:pt idx="36">
                  <c:v>0.66</c:v>
                </c:pt>
                <c:pt idx="37">
                  <c:v>0.7</c:v>
                </c:pt>
                <c:pt idx="38">
                  <c:v>0.86</c:v>
                </c:pt>
                <c:pt idx="39">
                  <c:v>0.94</c:v>
                </c:pt>
                <c:pt idx="40">
                  <c:v>0.8</c:v>
                </c:pt>
                <c:pt idx="41">
                  <c:v>0.65</c:v>
                </c:pt>
                <c:pt idx="42">
                  <c:v>0.7</c:v>
                </c:pt>
                <c:pt idx="43">
                  <c:v>0.3</c:v>
                </c:pt>
                <c:pt idx="44">
                  <c:v>0.74</c:v>
                </c:pt>
                <c:pt idx="45">
                  <c:v>0.24</c:v>
                </c:pt>
                <c:pt idx="46">
                  <c:v>0.63</c:v>
                </c:pt>
                <c:pt idx="47">
                  <c:v>0.67</c:v>
                </c:pt>
                <c:pt idx="48">
                  <c:v>0.83</c:v>
                </c:pt>
                <c:pt idx="49">
                  <c:v>0.65</c:v>
                </c:pt>
                <c:pt idx="50">
                  <c:v>0.78</c:v>
                </c:pt>
                <c:pt idx="51">
                  <c:v>0.76</c:v>
                </c:pt>
                <c:pt idx="52">
                  <c:v>0.24</c:v>
                </c:pt>
                <c:pt idx="53">
                  <c:v>0.56000000000000005</c:v>
                </c:pt>
                <c:pt idx="54">
                  <c:v>0.66</c:v>
                </c:pt>
                <c:pt idx="55">
                  <c:v>0.28000000000000003</c:v>
                </c:pt>
                <c:pt idx="56">
                  <c:v>0.72</c:v>
                </c:pt>
                <c:pt idx="57">
                  <c:v>0.92</c:v>
                </c:pt>
                <c:pt idx="58">
                  <c:v>0.55000000000000004</c:v>
                </c:pt>
                <c:pt idx="59">
                  <c:v>0.73</c:v>
                </c:pt>
                <c:pt idx="60">
                  <c:v>0.72</c:v>
                </c:pt>
                <c:pt idx="61">
                  <c:v>0.66</c:v>
                </c:pt>
                <c:pt idx="62">
                  <c:v>0.9</c:v>
                </c:pt>
                <c:pt idx="63">
                  <c:v>0.62</c:v>
                </c:pt>
                <c:pt idx="64">
                  <c:v>0.35</c:v>
                </c:pt>
                <c:pt idx="65">
                  <c:v>0.37</c:v>
                </c:pt>
                <c:pt idx="66">
                  <c:v>0.35</c:v>
                </c:pt>
                <c:pt idx="67">
                  <c:v>0.66</c:v>
                </c:pt>
                <c:pt idx="68">
                  <c:v>0.48</c:v>
                </c:pt>
                <c:pt idx="69">
                  <c:v>0.74</c:v>
                </c:pt>
                <c:pt idx="70">
                  <c:v>0.43</c:v>
                </c:pt>
                <c:pt idx="71">
                  <c:v>0.56000000000000005</c:v>
                </c:pt>
                <c:pt idx="72">
                  <c:v>0.43</c:v>
                </c:pt>
                <c:pt idx="73">
                  <c:v>0.72</c:v>
                </c:pt>
                <c:pt idx="74">
                  <c:v>0.86</c:v>
                </c:pt>
                <c:pt idx="75">
                  <c:v>0.61</c:v>
                </c:pt>
                <c:pt idx="76">
                  <c:v>0.75</c:v>
                </c:pt>
                <c:pt idx="77">
                  <c:v>0.59</c:v>
                </c:pt>
                <c:pt idx="78">
                  <c:v>0.26</c:v>
                </c:pt>
                <c:pt idx="79">
                  <c:v>0.33</c:v>
                </c:pt>
                <c:pt idx="80">
                  <c:v>0.26</c:v>
                </c:pt>
                <c:pt idx="81">
                  <c:v>0.23</c:v>
                </c:pt>
                <c:pt idx="82">
                  <c:v>0.42</c:v>
                </c:pt>
                <c:pt idx="83">
                  <c:v>0.3</c:v>
                </c:pt>
                <c:pt idx="84">
                  <c:v>0.44</c:v>
                </c:pt>
                <c:pt idx="85">
                  <c:v>0.21</c:v>
                </c:pt>
                <c:pt idx="86">
                  <c:v>0.03</c:v>
                </c:pt>
                <c:pt idx="87">
                  <c:v>0.36</c:v>
                </c:pt>
                <c:pt idx="88">
                  <c:v>0.49</c:v>
                </c:pt>
                <c:pt idx="89">
                  <c:v>0.67</c:v>
                </c:pt>
                <c:pt idx="90">
                  <c:v>0.35</c:v>
                </c:pt>
                <c:pt idx="91">
                  <c:v>0.54</c:v>
                </c:pt>
                <c:pt idx="92">
                  <c:v>0.47</c:v>
                </c:pt>
                <c:pt idx="93">
                  <c:v>0.2</c:v>
                </c:pt>
                <c:pt idx="94">
                  <c:v>0.21</c:v>
                </c:pt>
                <c:pt idx="95">
                  <c:v>0.24</c:v>
                </c:pt>
                <c:pt idx="96">
                  <c:v>0.23</c:v>
                </c:pt>
                <c:pt idx="97">
                  <c:v>0.37</c:v>
                </c:pt>
                <c:pt idx="98">
                  <c:v>0.54</c:v>
                </c:pt>
                <c:pt idx="99">
                  <c:v>0.59</c:v>
                </c:pt>
                <c:pt idx="100">
                  <c:v>0.34</c:v>
                </c:pt>
                <c:pt idx="101">
                  <c:v>0.39</c:v>
                </c:pt>
                <c:pt idx="102">
                  <c:v>0.54</c:v>
                </c:pt>
                <c:pt idx="103">
                  <c:v>0.48</c:v>
                </c:pt>
                <c:pt idx="104">
                  <c:v>0.31</c:v>
                </c:pt>
                <c:pt idx="105">
                  <c:v>0.19</c:v>
                </c:pt>
                <c:pt idx="106">
                  <c:v>0.47</c:v>
                </c:pt>
                <c:pt idx="107">
                  <c:v>0.09</c:v>
                </c:pt>
                <c:pt idx="108">
                  <c:v>0.15</c:v>
                </c:pt>
                <c:pt idx="109">
                  <c:v>0.27</c:v>
                </c:pt>
                <c:pt idx="110">
                  <c:v>0.43</c:v>
                </c:pt>
                <c:pt idx="111">
                  <c:v>0.16</c:v>
                </c:pt>
                <c:pt idx="112">
                  <c:v>0.37</c:v>
                </c:pt>
                <c:pt idx="113">
                  <c:v>0.46</c:v>
                </c:pt>
                <c:pt idx="114">
                  <c:v>0.26</c:v>
                </c:pt>
                <c:pt idx="115">
                  <c:v>0.09</c:v>
                </c:pt>
                <c:pt idx="116">
                  <c:v>0.39</c:v>
                </c:pt>
                <c:pt idx="117">
                  <c:v>0.49</c:v>
                </c:pt>
                <c:pt idx="118">
                  <c:v>0.1</c:v>
                </c:pt>
                <c:pt idx="119">
                  <c:v>7.0000000000000007E-2</c:v>
                </c:pt>
                <c:pt idx="120">
                  <c:v>0.12</c:v>
                </c:pt>
                <c:pt idx="121">
                  <c:v>0.22</c:v>
                </c:pt>
                <c:pt idx="122">
                  <c:v>0.13</c:v>
                </c:pt>
                <c:pt idx="123">
                  <c:v>0.23</c:v>
                </c:pt>
                <c:pt idx="124">
                  <c:v>0.35</c:v>
                </c:pt>
                <c:pt idx="125">
                  <c:v>0.14000000000000001</c:v>
                </c:pt>
                <c:pt idx="126">
                  <c:v>0.42</c:v>
                </c:pt>
                <c:pt idx="127">
                  <c:v>0.17</c:v>
                </c:pt>
                <c:pt idx="128">
                  <c:v>0.28000000000000003</c:v>
                </c:pt>
                <c:pt idx="129">
                  <c:v>0.42</c:v>
                </c:pt>
                <c:pt idx="130">
                  <c:v>0.45</c:v>
                </c:pt>
                <c:pt idx="131">
                  <c:v>0.09</c:v>
                </c:pt>
                <c:pt idx="132">
                  <c:v>0.1</c:v>
                </c:pt>
                <c:pt idx="133">
                  <c:v>0.27</c:v>
                </c:pt>
                <c:pt idx="134">
                  <c:v>0.21</c:v>
                </c:pt>
                <c:pt idx="135">
                  <c:v>0.2</c:v>
                </c:pt>
                <c:pt idx="136">
                  <c:v>0.2</c:v>
                </c:pt>
                <c:pt idx="137">
                  <c:v>0.32</c:v>
                </c:pt>
                <c:pt idx="138">
                  <c:v>0.34</c:v>
                </c:pt>
                <c:pt idx="139">
                  <c:v>0.23</c:v>
                </c:pt>
                <c:pt idx="140">
                  <c:v>0.14000000000000001</c:v>
                </c:pt>
                <c:pt idx="141">
                  <c:v>7.0000000000000007E-2</c:v>
                </c:pt>
                <c:pt idx="142">
                  <c:v>0.17</c:v>
                </c:pt>
                <c:pt idx="143">
                  <c:v>0.28000000000000003</c:v>
                </c:pt>
                <c:pt idx="144">
                  <c:v>0.03</c:v>
                </c:pt>
                <c:pt idx="145">
                  <c:v>0.25</c:v>
                </c:pt>
                <c:pt idx="146">
                  <c:v>0.09</c:v>
                </c:pt>
                <c:pt idx="147">
                  <c:v>0.27</c:v>
                </c:pt>
                <c:pt idx="148">
                  <c:v>0.15</c:v>
                </c:pt>
                <c:pt idx="149">
                  <c:v>0.24</c:v>
                </c:pt>
                <c:pt idx="150">
                  <c:v>0.21</c:v>
                </c:pt>
                <c:pt idx="151">
                  <c:v>0.03</c:v>
                </c:pt>
                <c:pt idx="152">
                  <c:v>0.21</c:v>
                </c:pt>
                <c:pt idx="153">
                  <c:v>0.03</c:v>
                </c:pt>
                <c:pt idx="154">
                  <c:v>0.1</c:v>
                </c:pt>
                <c:pt idx="155">
                  <c:v>0.03</c:v>
                </c:pt>
                <c:pt idx="156">
                  <c:v>0.24</c:v>
                </c:pt>
                <c:pt idx="157">
                  <c:v>0.11</c:v>
                </c:pt>
                <c:pt idx="158">
                  <c:v>0.16</c:v>
                </c:pt>
                <c:pt idx="159">
                  <c:v>0.12</c:v>
                </c:pt>
                <c:pt idx="160">
                  <c:v>0.09</c:v>
                </c:pt>
                <c:pt idx="161">
                  <c:v>0.18</c:v>
                </c:pt>
                <c:pt idx="162">
                  <c:v>7.0000000000000007E-2</c:v>
                </c:pt>
                <c:pt idx="163">
                  <c:v>0.13</c:v>
                </c:pt>
                <c:pt idx="164">
                  <c:v>0.28000000000000003</c:v>
                </c:pt>
                <c:pt idx="165">
                  <c:v>0.04</c:v>
                </c:pt>
                <c:pt idx="166">
                  <c:v>0.09</c:v>
                </c:pt>
                <c:pt idx="167">
                  <c:v>0.03</c:v>
                </c:pt>
                <c:pt idx="168">
                  <c:v>0.09</c:v>
                </c:pt>
                <c:pt idx="169">
                  <c:v>0.09</c:v>
                </c:pt>
                <c:pt idx="170">
                  <c:v>7.0000000000000007E-2</c:v>
                </c:pt>
                <c:pt idx="171">
                  <c:v>0.03</c:v>
                </c:pt>
                <c:pt idx="172">
                  <c:v>0.2</c:v>
                </c:pt>
                <c:pt idx="173">
                  <c:v>0.09</c:v>
                </c:pt>
                <c:pt idx="174">
                  <c:v>0.15</c:v>
                </c:pt>
                <c:pt idx="175">
                  <c:v>7.0000000000000007E-2</c:v>
                </c:pt>
                <c:pt idx="176">
                  <c:v>0.14000000000000001</c:v>
                </c:pt>
                <c:pt idx="177">
                  <c:v>0.05</c:v>
                </c:pt>
                <c:pt idx="178">
                  <c:v>0.09</c:v>
                </c:pt>
                <c:pt idx="179">
                  <c:v>0.05</c:v>
                </c:pt>
                <c:pt idx="180">
                  <c:v>0.08</c:v>
                </c:pt>
                <c:pt idx="181">
                  <c:v>0.24</c:v>
                </c:pt>
                <c:pt idx="182">
                  <c:v>0.06</c:v>
                </c:pt>
                <c:pt idx="183">
                  <c:v>7.0000000000000007E-2</c:v>
                </c:pt>
                <c:pt idx="184">
                  <c:v>0.31</c:v>
                </c:pt>
                <c:pt idx="185">
                  <c:v>0.21</c:v>
                </c:pt>
                <c:pt idx="186">
                  <c:v>0.03</c:v>
                </c:pt>
                <c:pt idx="187">
                  <c:v>0.09</c:v>
                </c:pt>
                <c:pt idx="188">
                  <c:v>0.05</c:v>
                </c:pt>
                <c:pt idx="189">
                  <c:v>0.15</c:v>
                </c:pt>
                <c:pt idx="190">
                  <c:v>0.09</c:v>
                </c:pt>
                <c:pt idx="191">
                  <c:v>0.05</c:v>
                </c:pt>
                <c:pt idx="192">
                  <c:v>0.04</c:v>
                </c:pt>
                <c:pt idx="193">
                  <c:v>0.02</c:v>
                </c:pt>
                <c:pt idx="194">
                  <c:v>7.0000000000000007E-2</c:v>
                </c:pt>
                <c:pt idx="195">
                  <c:v>0.2</c:v>
                </c:pt>
                <c:pt idx="196">
                  <c:v>0.08</c:v>
                </c:pt>
                <c:pt idx="197">
                  <c:v>0.08</c:v>
                </c:pt>
                <c:pt idx="198">
                  <c:v>0.09</c:v>
                </c:pt>
                <c:pt idx="199">
                  <c:v>0.21</c:v>
                </c:pt>
                <c:pt idx="200">
                  <c:v>0.09</c:v>
                </c:pt>
                <c:pt idx="201">
                  <c:v>0.03</c:v>
                </c:pt>
                <c:pt idx="202">
                  <c:v>0.05</c:v>
                </c:pt>
                <c:pt idx="203">
                  <c:v>0.1</c:v>
                </c:pt>
                <c:pt idx="204">
                  <c:v>7.0000000000000007E-2</c:v>
                </c:pt>
                <c:pt idx="205">
                  <c:v>7.0000000000000007E-2</c:v>
                </c:pt>
                <c:pt idx="206">
                  <c:v>0.06</c:v>
                </c:pt>
                <c:pt idx="207">
                  <c:v>0.06</c:v>
                </c:pt>
                <c:pt idx="208">
                  <c:v>0.06</c:v>
                </c:pt>
                <c:pt idx="209">
                  <c:v>0.04</c:v>
                </c:pt>
                <c:pt idx="210">
                  <c:v>0.04</c:v>
                </c:pt>
                <c:pt idx="211">
                  <c:v>0.09</c:v>
                </c:pt>
                <c:pt idx="212">
                  <c:v>0.03</c:v>
                </c:pt>
                <c:pt idx="213">
                  <c:v>0.03</c:v>
                </c:pt>
                <c:pt idx="214">
                  <c:v>0.14000000000000001</c:v>
                </c:pt>
                <c:pt idx="215">
                  <c:v>0.09</c:v>
                </c:pt>
                <c:pt idx="216">
                  <c:v>0.1</c:v>
                </c:pt>
                <c:pt idx="217">
                  <c:v>0.08</c:v>
                </c:pt>
                <c:pt idx="218">
                  <c:v>0.02</c:v>
                </c:pt>
                <c:pt idx="219">
                  <c:v>0.05</c:v>
                </c:pt>
                <c:pt idx="220">
                  <c:v>7.0000000000000007E-2</c:v>
                </c:pt>
                <c:pt idx="221">
                  <c:v>0.09</c:v>
                </c:pt>
                <c:pt idx="222">
                  <c:v>0.09</c:v>
                </c:pt>
                <c:pt idx="223">
                  <c:v>0.05</c:v>
                </c:pt>
                <c:pt idx="224">
                  <c:v>0.05</c:v>
                </c:pt>
                <c:pt idx="225">
                  <c:v>0.08</c:v>
                </c:pt>
                <c:pt idx="226">
                  <c:v>0.04</c:v>
                </c:pt>
                <c:pt idx="227">
                  <c:v>0.03</c:v>
                </c:pt>
                <c:pt idx="228">
                  <c:v>0.11</c:v>
                </c:pt>
                <c:pt idx="229">
                  <c:v>7.0000000000000007E-2</c:v>
                </c:pt>
                <c:pt idx="230">
                  <c:v>0.06</c:v>
                </c:pt>
                <c:pt idx="231">
                  <c:v>0.06</c:v>
                </c:pt>
                <c:pt idx="232">
                  <c:v>0.09</c:v>
                </c:pt>
                <c:pt idx="233">
                  <c:v>0.05</c:v>
                </c:pt>
                <c:pt idx="234">
                  <c:v>0.05</c:v>
                </c:pt>
                <c:pt idx="235">
                  <c:v>0.04</c:v>
                </c:pt>
                <c:pt idx="236">
                  <c:v>0.03</c:v>
                </c:pt>
                <c:pt idx="237">
                  <c:v>0.05</c:v>
                </c:pt>
                <c:pt idx="238">
                  <c:v>0.02</c:v>
                </c:pt>
                <c:pt idx="239">
                  <c:v>0.03</c:v>
                </c:pt>
                <c:pt idx="240">
                  <c:v>0.09</c:v>
                </c:pt>
                <c:pt idx="241">
                  <c:v>7.0000000000000007E-2</c:v>
                </c:pt>
                <c:pt idx="242">
                  <c:v>0.08</c:v>
                </c:pt>
                <c:pt idx="243">
                  <c:v>0.12</c:v>
                </c:pt>
                <c:pt idx="244">
                  <c:v>0.03</c:v>
                </c:pt>
                <c:pt idx="245">
                  <c:v>0.05</c:v>
                </c:pt>
                <c:pt idx="246">
                  <c:v>0.05</c:v>
                </c:pt>
                <c:pt idx="247">
                  <c:v>0.02</c:v>
                </c:pt>
                <c:pt idx="248">
                  <c:v>0.03</c:v>
                </c:pt>
                <c:pt idx="249">
                  <c:v>0.03</c:v>
                </c:pt>
                <c:pt idx="250">
                  <c:v>7.0000000000000007E-2</c:v>
                </c:pt>
                <c:pt idx="251">
                  <c:v>0.06</c:v>
                </c:pt>
                <c:pt idx="252">
                  <c:v>7.0000000000000007E-2</c:v>
                </c:pt>
                <c:pt idx="253">
                  <c:v>0.02</c:v>
                </c:pt>
                <c:pt idx="254">
                  <c:v>0.03</c:v>
                </c:pt>
                <c:pt idx="255">
                  <c:v>0.04</c:v>
                </c:pt>
                <c:pt idx="256">
                  <c:v>0.03</c:v>
                </c:pt>
                <c:pt idx="257">
                  <c:v>0.03</c:v>
                </c:pt>
                <c:pt idx="258">
                  <c:v>0.03</c:v>
                </c:pt>
                <c:pt idx="259">
                  <c:v>7.0000000000000007E-2</c:v>
                </c:pt>
                <c:pt idx="260">
                  <c:v>0.09</c:v>
                </c:pt>
                <c:pt idx="261">
                  <c:v>0.06</c:v>
                </c:pt>
                <c:pt idx="262">
                  <c:v>7.0000000000000007E-2</c:v>
                </c:pt>
                <c:pt idx="263">
                  <c:v>0.1</c:v>
                </c:pt>
                <c:pt idx="264">
                  <c:v>0.03</c:v>
                </c:pt>
                <c:pt idx="265">
                  <c:v>0.05</c:v>
                </c:pt>
                <c:pt idx="266">
                  <c:v>7.0000000000000007E-2</c:v>
                </c:pt>
                <c:pt idx="267">
                  <c:v>0.02</c:v>
                </c:pt>
                <c:pt idx="268">
                  <c:v>0.09</c:v>
                </c:pt>
                <c:pt idx="269">
                  <c:v>0.06</c:v>
                </c:pt>
                <c:pt idx="270">
                  <c:v>7.0000000000000007E-2</c:v>
                </c:pt>
                <c:pt idx="271">
                  <c:v>0.06</c:v>
                </c:pt>
                <c:pt idx="272">
                  <c:v>0.08</c:v>
                </c:pt>
                <c:pt idx="273">
                  <c:v>0.04</c:v>
                </c:pt>
                <c:pt idx="274">
                  <c:v>7.0000000000000007E-2</c:v>
                </c:pt>
                <c:pt idx="275">
                  <c:v>0.06</c:v>
                </c:pt>
                <c:pt idx="276">
                  <c:v>0.08</c:v>
                </c:pt>
                <c:pt idx="277">
                  <c:v>0.02</c:v>
                </c:pt>
                <c:pt idx="278">
                  <c:v>0.03</c:v>
                </c:pt>
                <c:pt idx="279">
                  <c:v>0.03</c:v>
                </c:pt>
                <c:pt idx="280">
                  <c:v>0.02</c:v>
                </c:pt>
                <c:pt idx="281">
                  <c:v>0.02</c:v>
                </c:pt>
                <c:pt idx="282">
                  <c:v>0.03</c:v>
                </c:pt>
                <c:pt idx="283">
                  <c:v>0.04</c:v>
                </c:pt>
                <c:pt idx="284">
                  <c:v>0.06</c:v>
                </c:pt>
                <c:pt idx="285">
                  <c:v>0.02</c:v>
                </c:pt>
                <c:pt idx="286">
                  <c:v>0.04</c:v>
                </c:pt>
                <c:pt idx="287">
                  <c:v>0.03</c:v>
                </c:pt>
                <c:pt idx="288">
                  <c:v>0.06</c:v>
                </c:pt>
                <c:pt idx="289">
                  <c:v>0.02</c:v>
                </c:pt>
                <c:pt idx="290">
                  <c:v>0.05</c:v>
                </c:pt>
                <c:pt idx="291">
                  <c:v>0.09</c:v>
                </c:pt>
                <c:pt idx="292">
                  <c:v>0.06</c:v>
                </c:pt>
                <c:pt idx="293">
                  <c:v>7.0000000000000007E-2</c:v>
                </c:pt>
                <c:pt idx="294">
                  <c:v>0.02</c:v>
                </c:pt>
                <c:pt idx="295">
                  <c:v>0.03</c:v>
                </c:pt>
                <c:pt idx="296">
                  <c:v>0.02</c:v>
                </c:pt>
                <c:pt idx="297">
                  <c:v>7.0000000000000007E-2</c:v>
                </c:pt>
                <c:pt idx="298">
                  <c:v>0.01</c:v>
                </c:pt>
                <c:pt idx="299">
                  <c:v>0.05</c:v>
                </c:pt>
                <c:pt idx="300">
                  <c:v>0.02</c:v>
                </c:pt>
                <c:pt idx="301">
                  <c:v>0.04</c:v>
                </c:pt>
                <c:pt idx="302">
                  <c:v>0.09</c:v>
                </c:pt>
                <c:pt idx="303">
                  <c:v>0.02</c:v>
                </c:pt>
                <c:pt idx="304">
                  <c:v>0.03</c:v>
                </c:pt>
                <c:pt idx="305">
                  <c:v>0.02</c:v>
                </c:pt>
                <c:pt idx="306">
                  <c:v>0.03</c:v>
                </c:pt>
                <c:pt idx="307">
                  <c:v>0.03</c:v>
                </c:pt>
                <c:pt idx="308">
                  <c:v>0.02</c:v>
                </c:pt>
                <c:pt idx="309">
                  <c:v>0.09</c:v>
                </c:pt>
                <c:pt idx="310">
                  <c:v>0.02</c:v>
                </c:pt>
                <c:pt idx="311">
                  <c:v>0.03</c:v>
                </c:pt>
                <c:pt idx="312">
                  <c:v>0.02</c:v>
                </c:pt>
                <c:pt idx="313">
                  <c:v>7.0000000000000007E-2</c:v>
                </c:pt>
                <c:pt idx="314">
                  <c:v>0.06</c:v>
                </c:pt>
                <c:pt idx="315">
                  <c:v>0.02</c:v>
                </c:pt>
                <c:pt idx="316">
                  <c:v>0.04</c:v>
                </c:pt>
                <c:pt idx="317">
                  <c:v>0.02</c:v>
                </c:pt>
                <c:pt idx="318">
                  <c:v>0.02</c:v>
                </c:pt>
                <c:pt idx="319">
                  <c:v>7.0000000000000007E-2</c:v>
                </c:pt>
                <c:pt idx="320">
                  <c:v>0.02</c:v>
                </c:pt>
                <c:pt idx="321">
                  <c:v>0.04</c:v>
                </c:pt>
                <c:pt idx="322">
                  <c:v>0.09</c:v>
                </c:pt>
                <c:pt idx="323">
                  <c:v>0.03</c:v>
                </c:pt>
                <c:pt idx="324">
                  <c:v>0.03</c:v>
                </c:pt>
                <c:pt idx="325">
                  <c:v>0.04</c:v>
                </c:pt>
                <c:pt idx="326">
                  <c:v>0.02</c:v>
                </c:pt>
                <c:pt idx="327">
                  <c:v>0.02</c:v>
                </c:pt>
                <c:pt idx="328">
                  <c:v>0.02</c:v>
                </c:pt>
                <c:pt idx="329">
                  <c:v>7.0000000000000007E-2</c:v>
                </c:pt>
                <c:pt idx="330">
                  <c:v>0.02</c:v>
                </c:pt>
                <c:pt idx="331">
                  <c:v>0.03</c:v>
                </c:pt>
                <c:pt idx="332">
                  <c:v>0.03</c:v>
                </c:pt>
                <c:pt idx="333">
                  <c:v>0.03</c:v>
                </c:pt>
                <c:pt idx="334">
                  <c:v>0.02</c:v>
                </c:pt>
                <c:pt idx="335">
                  <c:v>0.03</c:v>
                </c:pt>
                <c:pt idx="336">
                  <c:v>0.02</c:v>
                </c:pt>
                <c:pt idx="337">
                  <c:v>0.04</c:v>
                </c:pt>
                <c:pt idx="338">
                  <c:v>0.02</c:v>
                </c:pt>
                <c:pt idx="339">
                  <c:v>0.01</c:v>
                </c:pt>
                <c:pt idx="340">
                  <c:v>0.02</c:v>
                </c:pt>
                <c:pt idx="341">
                  <c:v>0.02</c:v>
                </c:pt>
                <c:pt idx="342">
                  <c:v>0.02</c:v>
                </c:pt>
                <c:pt idx="343">
                  <c:v>0.01</c:v>
                </c:pt>
                <c:pt idx="344">
                  <c:v>0.02</c:v>
                </c:pt>
                <c:pt idx="345">
                  <c:v>0.04</c:v>
                </c:pt>
                <c:pt idx="346">
                  <c:v>0.02</c:v>
                </c:pt>
                <c:pt idx="347">
                  <c:v>0.02</c:v>
                </c:pt>
                <c:pt idx="348">
                  <c:v>0.03</c:v>
                </c:pt>
                <c:pt idx="349">
                  <c:v>7.0000000000000007E-2</c:v>
                </c:pt>
                <c:pt idx="350">
                  <c:v>0.03</c:v>
                </c:pt>
                <c:pt idx="351">
                  <c:v>0.01</c:v>
                </c:pt>
                <c:pt idx="352">
                  <c:v>0.05</c:v>
                </c:pt>
                <c:pt idx="353">
                  <c:v>0.02</c:v>
                </c:pt>
                <c:pt idx="354">
                  <c:v>0.02</c:v>
                </c:pt>
                <c:pt idx="355">
                  <c:v>0.01</c:v>
                </c:pt>
                <c:pt idx="356">
                  <c:v>0.01</c:v>
                </c:pt>
                <c:pt idx="357">
                  <c:v>0.01</c:v>
                </c:pt>
                <c:pt idx="358">
                  <c:v>0.02</c:v>
                </c:pt>
                <c:pt idx="359">
                  <c:v>0.02</c:v>
                </c:pt>
                <c:pt idx="360">
                  <c:v>0.03</c:v>
                </c:pt>
                <c:pt idx="361">
                  <c:v>0.02</c:v>
                </c:pt>
                <c:pt idx="362">
                  <c:v>0.02</c:v>
                </c:pt>
                <c:pt idx="363">
                  <c:v>0.01</c:v>
                </c:pt>
                <c:pt idx="364">
                  <c:v>0.01</c:v>
                </c:pt>
                <c:pt idx="365">
                  <c:v>0.05</c:v>
                </c:pt>
                <c:pt idx="366">
                  <c:v>0.03</c:v>
                </c:pt>
                <c:pt idx="367">
                  <c:v>0.05</c:v>
                </c:pt>
                <c:pt idx="368">
                  <c:v>0.02</c:v>
                </c:pt>
                <c:pt idx="369">
                  <c:v>0.03</c:v>
                </c:pt>
                <c:pt idx="370">
                  <c:v>0.02</c:v>
                </c:pt>
                <c:pt idx="371">
                  <c:v>0.02</c:v>
                </c:pt>
                <c:pt idx="372">
                  <c:v>0.03</c:v>
                </c:pt>
                <c:pt idx="373">
                  <c:v>0.02</c:v>
                </c:pt>
                <c:pt idx="374">
                  <c:v>0.03</c:v>
                </c:pt>
                <c:pt idx="375">
                  <c:v>0.02</c:v>
                </c:pt>
                <c:pt idx="376">
                  <c:v>0.02</c:v>
                </c:pt>
                <c:pt idx="377">
                  <c:v>0.01</c:v>
                </c:pt>
                <c:pt idx="378">
                  <c:v>0.02</c:v>
                </c:pt>
                <c:pt idx="379">
                  <c:v>0.02</c:v>
                </c:pt>
                <c:pt idx="380">
                  <c:v>0.02</c:v>
                </c:pt>
                <c:pt idx="381">
                  <c:v>0.05</c:v>
                </c:pt>
                <c:pt idx="382">
                  <c:v>0.02</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7ECAC4"/>
              </a:solidFill>
            </c:spPr>
            <c:extLst>
              <c:ext xmlns:c16="http://schemas.microsoft.com/office/drawing/2014/chart" uri="{C3380CC4-5D6E-409C-BE32-E72D297353CC}">
                <c16:uniqueId val="{000000A1-2993-41DE-A2CB-63102DE87051}"/>
              </c:ext>
            </c:extLst>
          </c:dPt>
          <c:dPt>
            <c:idx val="53"/>
            <c:invertIfNegative val="1"/>
            <c:bubble3D val="0"/>
            <c:spPr>
              <a:solidFill>
                <a:srgbClr val="7ECAC4"/>
              </a:solidFill>
            </c:spPr>
            <c:extLst>
              <c:ext xmlns:c16="http://schemas.microsoft.com/office/drawing/2014/chart" uri="{C3380CC4-5D6E-409C-BE32-E72D297353CC}">
                <c16:uniqueId val="{000000A3-2993-41DE-A2CB-63102DE87051}"/>
              </c:ext>
            </c:extLst>
          </c:dPt>
          <c:dPt>
            <c:idx val="54"/>
            <c:invertIfNegative val="0"/>
            <c:bubble3D val="0"/>
            <c:spPr>
              <a:solidFill>
                <a:srgbClr val="7ECAC4"/>
              </a:solidFill>
            </c:spPr>
            <c:extLst>
              <c:ext xmlns:c16="http://schemas.microsoft.com/office/drawing/2014/chart" uri="{C3380CC4-5D6E-409C-BE32-E72D297353CC}">
                <c16:uniqueId val="{00000072-C76F-4230-900D-40618C09729F}"/>
              </c:ext>
            </c:extLst>
          </c:dPt>
          <c:dPt>
            <c:idx val="55"/>
            <c:invertIfNegative val="0"/>
            <c:bubble3D val="0"/>
            <c:spPr>
              <a:solidFill>
                <a:srgbClr val="7ECAC4"/>
              </a:solidFill>
            </c:spPr>
            <c:extLst>
              <c:ext xmlns:c16="http://schemas.microsoft.com/office/drawing/2014/chart" uri="{C3380CC4-5D6E-409C-BE32-E72D297353CC}">
                <c16:uniqueId val="{00000074-C76F-4230-900D-40618C09729F}"/>
              </c:ext>
            </c:extLst>
          </c:dPt>
          <c:dPt>
            <c:idx val="56"/>
            <c:invertIfNegative val="0"/>
            <c:bubble3D val="0"/>
            <c:spPr>
              <a:solidFill>
                <a:srgbClr val="7ECAC4"/>
              </a:solidFill>
            </c:spPr>
            <c:extLst>
              <c:ext xmlns:c16="http://schemas.microsoft.com/office/drawing/2014/chart" uri="{C3380CC4-5D6E-409C-BE32-E72D297353CC}">
                <c16:uniqueId val="{00000076-C76F-4230-900D-40618C09729F}"/>
              </c:ext>
            </c:extLst>
          </c:dPt>
          <c:dPt>
            <c:idx val="57"/>
            <c:invertIfNegative val="0"/>
            <c:bubble3D val="0"/>
            <c:spPr>
              <a:solidFill>
                <a:srgbClr val="7ECAC4"/>
              </a:solidFill>
            </c:spPr>
            <c:extLst>
              <c:ext xmlns:c16="http://schemas.microsoft.com/office/drawing/2014/chart" uri="{C3380CC4-5D6E-409C-BE32-E72D297353CC}">
                <c16:uniqueId val="{00000078-C76F-4230-900D-40618C09729F}"/>
              </c:ext>
            </c:extLst>
          </c:dPt>
          <c:dPt>
            <c:idx val="58"/>
            <c:invertIfNegative val="0"/>
            <c:bubble3D val="0"/>
            <c:spPr>
              <a:solidFill>
                <a:srgbClr val="7ECAC4"/>
              </a:solidFill>
            </c:spPr>
            <c:extLst>
              <c:ext xmlns:c16="http://schemas.microsoft.com/office/drawing/2014/chart" uri="{C3380CC4-5D6E-409C-BE32-E72D297353CC}">
                <c16:uniqueId val="{0000007A-C76F-4230-900D-40618C09729F}"/>
              </c:ext>
            </c:extLst>
          </c:dPt>
          <c:dPt>
            <c:idx val="59"/>
            <c:invertIfNegative val="0"/>
            <c:bubble3D val="0"/>
            <c:spPr>
              <a:solidFill>
                <a:srgbClr val="7ECAC4"/>
              </a:solidFill>
            </c:spPr>
            <c:extLst>
              <c:ext xmlns:c16="http://schemas.microsoft.com/office/drawing/2014/chart" uri="{C3380CC4-5D6E-409C-BE32-E72D297353CC}">
                <c16:uniqueId val="{0000007C-C76F-4230-900D-40618C09729F}"/>
              </c:ext>
            </c:extLst>
          </c:dPt>
          <c:dPt>
            <c:idx val="60"/>
            <c:invertIfNegative val="0"/>
            <c:bubble3D val="0"/>
            <c:spPr>
              <a:solidFill>
                <a:srgbClr val="7ECAC4"/>
              </a:solidFill>
            </c:spPr>
            <c:extLst>
              <c:ext xmlns:c16="http://schemas.microsoft.com/office/drawing/2014/chart" uri="{C3380CC4-5D6E-409C-BE32-E72D297353CC}">
                <c16:uniqueId val="{0000007E-C76F-4230-900D-40618C09729F}"/>
              </c:ext>
            </c:extLst>
          </c:dPt>
          <c:dPt>
            <c:idx val="61"/>
            <c:invertIfNegative val="0"/>
            <c:bubble3D val="0"/>
            <c:spPr>
              <a:solidFill>
                <a:srgbClr val="7ECAC4"/>
              </a:solidFill>
            </c:spPr>
            <c:extLst>
              <c:ext xmlns:c16="http://schemas.microsoft.com/office/drawing/2014/chart" uri="{C3380CC4-5D6E-409C-BE32-E72D297353CC}">
                <c16:uniqueId val="{00000080-C76F-4230-900D-40618C09729F}"/>
              </c:ext>
            </c:extLst>
          </c:dPt>
          <c:dPt>
            <c:idx val="62"/>
            <c:invertIfNegative val="0"/>
            <c:bubble3D val="0"/>
            <c:spPr>
              <a:solidFill>
                <a:srgbClr val="7ECAC4"/>
              </a:solidFill>
            </c:spPr>
            <c:extLst>
              <c:ext xmlns:c16="http://schemas.microsoft.com/office/drawing/2014/chart" uri="{C3380CC4-5D6E-409C-BE32-E72D297353CC}">
                <c16:uniqueId val="{00000082-C76F-4230-900D-40618C09729F}"/>
              </c:ext>
            </c:extLst>
          </c:dPt>
          <c:dPt>
            <c:idx val="63"/>
            <c:invertIfNegative val="0"/>
            <c:bubble3D val="0"/>
            <c:spPr>
              <a:solidFill>
                <a:srgbClr val="7ECAC4"/>
              </a:solidFill>
            </c:spPr>
            <c:extLst>
              <c:ext xmlns:c16="http://schemas.microsoft.com/office/drawing/2014/chart" uri="{C3380CC4-5D6E-409C-BE32-E72D297353CC}">
                <c16:uniqueId val="{00000084-C76F-4230-900D-40618C09729F}"/>
              </c:ext>
            </c:extLst>
          </c:dPt>
          <c:dPt>
            <c:idx val="64"/>
            <c:invertIfNegative val="0"/>
            <c:bubble3D val="0"/>
            <c:spPr>
              <a:solidFill>
                <a:srgbClr val="7ECAC4"/>
              </a:solidFill>
            </c:spPr>
            <c:extLst>
              <c:ext xmlns:c16="http://schemas.microsoft.com/office/drawing/2014/chart" uri="{C3380CC4-5D6E-409C-BE32-E72D297353CC}">
                <c16:uniqueId val="{00000086-C76F-4230-900D-40618C09729F}"/>
              </c:ext>
            </c:extLst>
          </c:dPt>
          <c:dPt>
            <c:idx val="65"/>
            <c:invertIfNegative val="0"/>
            <c:bubble3D val="0"/>
            <c:spPr>
              <a:solidFill>
                <a:srgbClr val="7ECAC4"/>
              </a:solidFill>
            </c:spPr>
            <c:extLst>
              <c:ext xmlns:c16="http://schemas.microsoft.com/office/drawing/2014/chart" uri="{C3380CC4-5D6E-409C-BE32-E72D297353CC}">
                <c16:uniqueId val="{00000088-C76F-4230-900D-40618C09729F}"/>
              </c:ext>
            </c:extLst>
          </c:dPt>
          <c:dPt>
            <c:idx val="66"/>
            <c:invertIfNegative val="0"/>
            <c:bubble3D val="0"/>
            <c:spPr>
              <a:solidFill>
                <a:srgbClr val="7ECAC4"/>
              </a:solidFill>
            </c:spPr>
            <c:extLst>
              <c:ext xmlns:c16="http://schemas.microsoft.com/office/drawing/2014/chart" uri="{C3380CC4-5D6E-409C-BE32-E72D297353CC}">
                <c16:uniqueId val="{0000008A-C76F-4230-900D-40618C09729F}"/>
              </c:ext>
            </c:extLst>
          </c:dPt>
          <c:dPt>
            <c:idx val="67"/>
            <c:invertIfNegative val="0"/>
            <c:bubble3D val="0"/>
            <c:spPr>
              <a:solidFill>
                <a:srgbClr val="7ECAC4"/>
              </a:solidFill>
            </c:spPr>
            <c:extLst>
              <c:ext xmlns:c16="http://schemas.microsoft.com/office/drawing/2014/chart" uri="{C3380CC4-5D6E-409C-BE32-E72D297353CC}">
                <c16:uniqueId val="{0000008C-C76F-4230-900D-40618C09729F}"/>
              </c:ext>
            </c:extLst>
          </c:dPt>
          <c:dPt>
            <c:idx val="68"/>
            <c:invertIfNegative val="0"/>
            <c:bubble3D val="0"/>
            <c:spPr>
              <a:solidFill>
                <a:srgbClr val="7ECAC4"/>
              </a:solidFill>
            </c:spPr>
            <c:extLst>
              <c:ext xmlns:c16="http://schemas.microsoft.com/office/drawing/2014/chart" uri="{C3380CC4-5D6E-409C-BE32-E72D297353CC}">
                <c16:uniqueId val="{0000008E-C76F-4230-900D-40618C09729F}"/>
              </c:ext>
            </c:extLst>
          </c:dPt>
          <c:dPt>
            <c:idx val="69"/>
            <c:invertIfNegative val="0"/>
            <c:bubble3D val="0"/>
            <c:spPr>
              <a:solidFill>
                <a:srgbClr val="7ECAC4"/>
              </a:solidFill>
            </c:spPr>
            <c:extLst>
              <c:ext xmlns:c16="http://schemas.microsoft.com/office/drawing/2014/chart" uri="{C3380CC4-5D6E-409C-BE32-E72D297353CC}">
                <c16:uniqueId val="{00000090-C76F-4230-900D-40618C09729F}"/>
              </c:ext>
            </c:extLst>
          </c:dPt>
          <c:dPt>
            <c:idx val="70"/>
            <c:invertIfNegative val="0"/>
            <c:bubble3D val="0"/>
            <c:spPr>
              <a:solidFill>
                <a:srgbClr val="7ECAC4"/>
              </a:solidFill>
            </c:spPr>
            <c:extLst>
              <c:ext xmlns:c16="http://schemas.microsoft.com/office/drawing/2014/chart" uri="{C3380CC4-5D6E-409C-BE32-E72D297353CC}">
                <c16:uniqueId val="{00000092-C76F-4230-900D-40618C09729F}"/>
              </c:ext>
            </c:extLst>
          </c:dPt>
          <c:dPt>
            <c:idx val="71"/>
            <c:invertIfNegative val="0"/>
            <c:bubble3D val="0"/>
            <c:spPr>
              <a:solidFill>
                <a:srgbClr val="7ECAC4"/>
              </a:solidFill>
            </c:spPr>
            <c:extLst>
              <c:ext xmlns:c16="http://schemas.microsoft.com/office/drawing/2014/chart" uri="{C3380CC4-5D6E-409C-BE32-E72D297353CC}">
                <c16:uniqueId val="{00000094-C76F-4230-900D-40618C09729F}"/>
              </c:ext>
            </c:extLst>
          </c:dPt>
          <c:dPt>
            <c:idx val="72"/>
            <c:invertIfNegative val="0"/>
            <c:bubble3D val="0"/>
            <c:spPr>
              <a:solidFill>
                <a:srgbClr val="7ECAC4"/>
              </a:solidFill>
            </c:spPr>
            <c:extLst>
              <c:ext xmlns:c16="http://schemas.microsoft.com/office/drawing/2014/chart" uri="{C3380CC4-5D6E-409C-BE32-E72D297353CC}">
                <c16:uniqueId val="{00000096-C76F-4230-900D-40618C09729F}"/>
              </c:ext>
            </c:extLst>
          </c:dPt>
          <c:dPt>
            <c:idx val="73"/>
            <c:invertIfNegative val="0"/>
            <c:bubble3D val="0"/>
            <c:spPr>
              <a:solidFill>
                <a:srgbClr val="7ECAC4"/>
              </a:solidFill>
            </c:spPr>
            <c:extLst>
              <c:ext xmlns:c16="http://schemas.microsoft.com/office/drawing/2014/chart" uri="{C3380CC4-5D6E-409C-BE32-E72D297353CC}">
                <c16:uniqueId val="{00000098-C76F-4230-900D-40618C09729F}"/>
              </c:ext>
            </c:extLst>
          </c:dPt>
          <c:dPt>
            <c:idx val="74"/>
            <c:invertIfNegative val="0"/>
            <c:bubble3D val="0"/>
            <c:spPr>
              <a:solidFill>
                <a:srgbClr val="7ECAC4"/>
              </a:solidFill>
            </c:spPr>
            <c:extLst>
              <c:ext xmlns:c16="http://schemas.microsoft.com/office/drawing/2014/chart" uri="{C3380CC4-5D6E-409C-BE32-E72D297353CC}">
                <c16:uniqueId val="{0000009A-C76F-4230-900D-40618C09729F}"/>
              </c:ext>
            </c:extLst>
          </c:dPt>
          <c:dPt>
            <c:idx val="75"/>
            <c:invertIfNegative val="0"/>
            <c:bubble3D val="0"/>
            <c:spPr>
              <a:solidFill>
                <a:srgbClr val="7ECAC4"/>
              </a:solidFill>
            </c:spPr>
            <c:extLst>
              <c:ext xmlns:c16="http://schemas.microsoft.com/office/drawing/2014/chart" uri="{C3380CC4-5D6E-409C-BE32-E72D297353CC}">
                <c16:uniqueId val="{0000009C-C76F-4230-900D-40618C09729F}"/>
              </c:ext>
            </c:extLst>
          </c:dPt>
          <c:dPt>
            <c:idx val="76"/>
            <c:invertIfNegative val="0"/>
            <c:bubble3D val="0"/>
            <c:spPr>
              <a:solidFill>
                <a:srgbClr val="7ECAC4"/>
              </a:solidFill>
            </c:spPr>
            <c:extLst>
              <c:ext xmlns:c16="http://schemas.microsoft.com/office/drawing/2014/chart" uri="{C3380CC4-5D6E-409C-BE32-E72D297353CC}">
                <c16:uniqueId val="{0000009E-C76F-4230-900D-40618C09729F}"/>
              </c:ext>
            </c:extLst>
          </c:dPt>
          <c:dPt>
            <c:idx val="77"/>
            <c:invertIfNegative val="0"/>
            <c:bubble3D val="0"/>
            <c:spPr>
              <a:solidFill>
                <a:srgbClr val="7ECAC4"/>
              </a:solidFill>
            </c:spPr>
            <c:extLst>
              <c:ext xmlns:c16="http://schemas.microsoft.com/office/drawing/2014/chart" uri="{C3380CC4-5D6E-409C-BE32-E72D297353CC}">
                <c16:uniqueId val="{000000A0-C76F-4230-900D-40618C09729F}"/>
              </c:ext>
            </c:extLst>
          </c:dPt>
          <c:dPt>
            <c:idx val="78"/>
            <c:invertIfNegative val="0"/>
            <c:bubble3D val="0"/>
            <c:spPr>
              <a:solidFill>
                <a:srgbClr val="7ECAC4"/>
              </a:solidFill>
            </c:spPr>
            <c:extLst>
              <c:ext xmlns:c16="http://schemas.microsoft.com/office/drawing/2014/chart" uri="{C3380CC4-5D6E-409C-BE32-E72D297353CC}">
                <c16:uniqueId val="{000000A2-C76F-4230-900D-40618C09729F}"/>
              </c:ext>
            </c:extLst>
          </c:dPt>
          <c:dPt>
            <c:idx val="79"/>
            <c:invertIfNegative val="0"/>
            <c:bubble3D val="0"/>
            <c:spPr>
              <a:solidFill>
                <a:srgbClr val="7ECAC4"/>
              </a:solidFill>
            </c:spPr>
            <c:extLst>
              <c:ext xmlns:c16="http://schemas.microsoft.com/office/drawing/2014/chart" uri="{C3380CC4-5D6E-409C-BE32-E72D297353CC}">
                <c16:uniqueId val="{000000A4-C76F-4230-900D-40618C09729F}"/>
              </c:ext>
            </c:extLst>
          </c:dPt>
          <c:dPt>
            <c:idx val="80"/>
            <c:invertIfNegative val="0"/>
            <c:bubble3D val="0"/>
            <c:spPr>
              <a:solidFill>
                <a:srgbClr val="7ECAC4"/>
              </a:solidFill>
            </c:spPr>
            <c:extLst>
              <c:ext xmlns:c16="http://schemas.microsoft.com/office/drawing/2014/chart" uri="{C3380CC4-5D6E-409C-BE32-E72D297353CC}">
                <c16:uniqueId val="{000000A6-C76F-4230-900D-40618C09729F}"/>
              </c:ext>
            </c:extLst>
          </c:dPt>
          <c:dPt>
            <c:idx val="81"/>
            <c:invertIfNegative val="1"/>
            <c:bubble3D val="0"/>
            <c:spPr>
              <a:solidFill>
                <a:srgbClr val="7ECAC4"/>
              </a:solidFill>
            </c:spPr>
            <c:extLst>
              <c:ext xmlns:c16="http://schemas.microsoft.com/office/drawing/2014/chart" uri="{C3380CC4-5D6E-409C-BE32-E72D297353CC}">
                <c16:uniqueId val="{000000A5-2993-41DE-A2CB-63102DE87051}"/>
              </c:ext>
            </c:extLst>
          </c:dPt>
          <c:dPt>
            <c:idx val="82"/>
            <c:invertIfNegative val="1"/>
            <c:bubble3D val="0"/>
            <c:spPr>
              <a:solidFill>
                <a:srgbClr val="7ECAC4"/>
              </a:solidFill>
            </c:spPr>
            <c:extLst>
              <c:ext xmlns:c16="http://schemas.microsoft.com/office/drawing/2014/chart" uri="{C3380CC4-5D6E-409C-BE32-E72D297353CC}">
                <c16:uniqueId val="{000000A7-2993-41DE-A2CB-63102DE87051}"/>
              </c:ext>
            </c:extLst>
          </c:dPt>
          <c:dPt>
            <c:idx val="83"/>
            <c:invertIfNegative val="1"/>
            <c:bubble3D val="0"/>
            <c:spPr>
              <a:solidFill>
                <a:srgbClr val="7ECAC4"/>
              </a:solidFill>
            </c:spPr>
            <c:extLst>
              <c:ext xmlns:c16="http://schemas.microsoft.com/office/drawing/2014/chart" uri="{C3380CC4-5D6E-409C-BE32-E72D297353CC}">
                <c16:uniqueId val="{000000A9-2993-41DE-A2CB-63102DE87051}"/>
              </c:ext>
            </c:extLst>
          </c:dPt>
          <c:dPt>
            <c:idx val="84"/>
            <c:invertIfNegative val="1"/>
            <c:bubble3D val="0"/>
            <c:spPr>
              <a:solidFill>
                <a:srgbClr val="7ECAC4"/>
              </a:solidFill>
            </c:spPr>
            <c:extLst>
              <c:ext xmlns:c16="http://schemas.microsoft.com/office/drawing/2014/chart" uri="{C3380CC4-5D6E-409C-BE32-E72D297353CC}">
                <c16:uniqueId val="{000000AB-2993-41DE-A2CB-63102DE87051}"/>
              </c:ext>
            </c:extLst>
          </c:dPt>
          <c:dPt>
            <c:idx val="85"/>
            <c:invertIfNegative val="1"/>
            <c:bubble3D val="0"/>
            <c:spPr>
              <a:solidFill>
                <a:srgbClr val="7ECAC4"/>
              </a:solidFill>
            </c:spPr>
            <c:extLst>
              <c:ext xmlns:c16="http://schemas.microsoft.com/office/drawing/2014/chart" uri="{C3380CC4-5D6E-409C-BE32-E72D297353CC}">
                <c16:uniqueId val="{000000AD-2993-41DE-A2CB-63102DE87051}"/>
              </c:ext>
            </c:extLst>
          </c:dPt>
          <c:dPt>
            <c:idx val="86"/>
            <c:invertIfNegative val="1"/>
            <c:bubble3D val="0"/>
            <c:spPr>
              <a:solidFill>
                <a:srgbClr val="7ECAC4"/>
              </a:solidFill>
            </c:spPr>
            <c:extLst>
              <c:ext xmlns:c16="http://schemas.microsoft.com/office/drawing/2014/chart" uri="{C3380CC4-5D6E-409C-BE32-E72D297353CC}">
                <c16:uniqueId val="{000000AF-2993-41DE-A2CB-63102DE87051}"/>
              </c:ext>
            </c:extLst>
          </c:dPt>
          <c:dPt>
            <c:idx val="87"/>
            <c:invertIfNegative val="1"/>
            <c:bubble3D val="0"/>
            <c:spPr>
              <a:solidFill>
                <a:srgbClr val="7ECAC4"/>
              </a:solidFill>
            </c:spPr>
            <c:extLst>
              <c:ext xmlns:c16="http://schemas.microsoft.com/office/drawing/2014/chart" uri="{C3380CC4-5D6E-409C-BE32-E72D297353CC}">
                <c16:uniqueId val="{000000B1-2993-41DE-A2CB-63102DE87051}"/>
              </c:ext>
            </c:extLst>
          </c:dPt>
          <c:dPt>
            <c:idx val="88"/>
            <c:invertIfNegative val="1"/>
            <c:bubble3D val="0"/>
            <c:spPr>
              <a:solidFill>
                <a:srgbClr val="7ECAC4"/>
              </a:solidFill>
            </c:spPr>
            <c:extLst>
              <c:ext xmlns:c16="http://schemas.microsoft.com/office/drawing/2014/chart" uri="{C3380CC4-5D6E-409C-BE32-E72D297353CC}">
                <c16:uniqueId val="{000000B3-2993-41DE-A2CB-63102DE87051}"/>
              </c:ext>
            </c:extLst>
          </c:dPt>
          <c:dPt>
            <c:idx val="89"/>
            <c:invertIfNegative val="1"/>
            <c:bubble3D val="0"/>
            <c:spPr>
              <a:solidFill>
                <a:srgbClr val="7ECAC4"/>
              </a:solidFill>
            </c:spPr>
            <c:extLst>
              <c:ext xmlns:c16="http://schemas.microsoft.com/office/drawing/2014/chart" uri="{C3380CC4-5D6E-409C-BE32-E72D297353CC}">
                <c16:uniqueId val="{000000B5-2993-41DE-A2CB-63102DE87051}"/>
              </c:ext>
            </c:extLst>
          </c:dPt>
          <c:dPt>
            <c:idx val="90"/>
            <c:invertIfNegative val="1"/>
            <c:bubble3D val="0"/>
            <c:spPr>
              <a:solidFill>
                <a:srgbClr val="7ECAC4"/>
              </a:solidFill>
            </c:spPr>
            <c:extLst>
              <c:ext xmlns:c16="http://schemas.microsoft.com/office/drawing/2014/chart" uri="{C3380CC4-5D6E-409C-BE32-E72D297353CC}">
                <c16:uniqueId val="{000000B7-2993-41DE-A2CB-63102DE87051}"/>
              </c:ext>
            </c:extLst>
          </c:dPt>
          <c:dPt>
            <c:idx val="91"/>
            <c:invertIfNegative val="1"/>
            <c:bubble3D val="0"/>
            <c:spPr>
              <a:solidFill>
                <a:srgbClr val="7ECAC4"/>
              </a:solidFill>
            </c:spPr>
            <c:extLst>
              <c:ext xmlns:c16="http://schemas.microsoft.com/office/drawing/2014/chart" uri="{C3380CC4-5D6E-409C-BE32-E72D297353CC}">
                <c16:uniqueId val="{000000B9-2993-41DE-A2CB-63102DE87051}"/>
              </c:ext>
            </c:extLst>
          </c:dPt>
          <c:dPt>
            <c:idx val="92"/>
            <c:invertIfNegative val="1"/>
            <c:bubble3D val="0"/>
            <c:spPr>
              <a:solidFill>
                <a:srgbClr val="7ECAC4"/>
              </a:solidFill>
            </c:spPr>
            <c:extLst>
              <c:ext xmlns:c16="http://schemas.microsoft.com/office/drawing/2014/chart" uri="{C3380CC4-5D6E-409C-BE32-E72D297353CC}">
                <c16:uniqueId val="{000000BB-2993-41DE-A2CB-63102DE87051}"/>
              </c:ext>
            </c:extLst>
          </c:dPt>
          <c:dPt>
            <c:idx val="93"/>
            <c:invertIfNegative val="1"/>
            <c:bubble3D val="0"/>
            <c:spPr>
              <a:solidFill>
                <a:srgbClr val="7ECAC4"/>
              </a:solidFill>
            </c:spPr>
            <c:extLst>
              <c:ext xmlns:c16="http://schemas.microsoft.com/office/drawing/2014/chart" uri="{C3380CC4-5D6E-409C-BE32-E72D297353CC}">
                <c16:uniqueId val="{000000BD-2993-41DE-A2CB-63102DE87051}"/>
              </c:ext>
            </c:extLst>
          </c:dPt>
          <c:dPt>
            <c:idx val="94"/>
            <c:invertIfNegative val="1"/>
            <c:bubble3D val="0"/>
            <c:spPr>
              <a:solidFill>
                <a:srgbClr val="7ECAC4"/>
              </a:solidFill>
            </c:spPr>
            <c:extLst>
              <c:ext xmlns:c16="http://schemas.microsoft.com/office/drawing/2014/chart" uri="{C3380CC4-5D6E-409C-BE32-E72D297353CC}">
                <c16:uniqueId val="{000000BF-2993-41DE-A2CB-63102DE87051}"/>
              </c:ext>
            </c:extLst>
          </c:dPt>
          <c:dPt>
            <c:idx val="95"/>
            <c:invertIfNegative val="1"/>
            <c:bubble3D val="0"/>
            <c:spPr>
              <a:solidFill>
                <a:srgbClr val="7ECAC4"/>
              </a:solidFill>
            </c:spPr>
            <c:extLst>
              <c:ext xmlns:c16="http://schemas.microsoft.com/office/drawing/2014/chart" uri="{C3380CC4-5D6E-409C-BE32-E72D297353CC}">
                <c16:uniqueId val="{000000C1-2993-41DE-A2CB-63102DE87051}"/>
              </c:ext>
            </c:extLst>
          </c:dPt>
          <c:dPt>
            <c:idx val="96"/>
            <c:invertIfNegative val="1"/>
            <c:bubble3D val="0"/>
            <c:spPr>
              <a:solidFill>
                <a:srgbClr val="7ECAC4"/>
              </a:solidFill>
            </c:spPr>
            <c:extLst>
              <c:ext xmlns:c16="http://schemas.microsoft.com/office/drawing/2014/chart" uri="{C3380CC4-5D6E-409C-BE32-E72D297353CC}">
                <c16:uniqueId val="{000000C3-2993-41DE-A2CB-63102DE87051}"/>
              </c:ext>
            </c:extLst>
          </c:dPt>
          <c:dPt>
            <c:idx val="97"/>
            <c:invertIfNegative val="1"/>
            <c:bubble3D val="0"/>
            <c:spPr>
              <a:solidFill>
                <a:srgbClr val="7ECAC4"/>
              </a:solidFill>
            </c:spPr>
            <c:extLst>
              <c:ext xmlns:c16="http://schemas.microsoft.com/office/drawing/2014/chart" uri="{C3380CC4-5D6E-409C-BE32-E72D297353CC}">
                <c16:uniqueId val="{000000C5-2993-41DE-A2CB-63102DE87051}"/>
              </c:ext>
            </c:extLst>
          </c:dPt>
          <c:dPt>
            <c:idx val="98"/>
            <c:invertIfNegative val="1"/>
            <c:bubble3D val="0"/>
            <c:spPr>
              <a:solidFill>
                <a:srgbClr val="7ECAC4"/>
              </a:solidFill>
            </c:spPr>
            <c:extLst>
              <c:ext xmlns:c16="http://schemas.microsoft.com/office/drawing/2014/chart" uri="{C3380CC4-5D6E-409C-BE32-E72D297353CC}">
                <c16:uniqueId val="{000000C7-2993-41DE-A2CB-63102DE87051}"/>
              </c:ext>
            </c:extLst>
          </c:dPt>
          <c:dPt>
            <c:idx val="99"/>
            <c:invertIfNegative val="1"/>
            <c:bubble3D val="0"/>
            <c:spPr>
              <a:solidFill>
                <a:srgbClr val="7ECAC4"/>
              </a:solidFill>
            </c:spPr>
            <c:extLst>
              <c:ext xmlns:c16="http://schemas.microsoft.com/office/drawing/2014/chart" uri="{C3380CC4-5D6E-409C-BE32-E72D297353CC}">
                <c16:uniqueId val="{000000C9-2993-41DE-A2CB-63102DE87051}"/>
              </c:ext>
            </c:extLst>
          </c:dPt>
          <c:dPt>
            <c:idx val="100"/>
            <c:invertIfNegative val="1"/>
            <c:bubble3D val="0"/>
            <c:spPr>
              <a:solidFill>
                <a:srgbClr val="7ECAC4"/>
              </a:solidFill>
            </c:spPr>
            <c:extLst>
              <c:ext xmlns:c16="http://schemas.microsoft.com/office/drawing/2014/chart" uri="{C3380CC4-5D6E-409C-BE32-E72D297353CC}">
                <c16:uniqueId val="{000000CB-2993-41DE-A2CB-63102DE87051}"/>
              </c:ext>
            </c:extLst>
          </c:dPt>
          <c:dPt>
            <c:idx val="101"/>
            <c:invertIfNegative val="1"/>
            <c:bubble3D val="0"/>
            <c:spPr>
              <a:solidFill>
                <a:srgbClr val="7ECAC4"/>
              </a:solidFill>
            </c:spPr>
            <c:extLst>
              <c:ext xmlns:c16="http://schemas.microsoft.com/office/drawing/2014/chart" uri="{C3380CC4-5D6E-409C-BE32-E72D297353CC}">
                <c16:uniqueId val="{000000CD-2993-41DE-A2CB-63102DE87051}"/>
              </c:ext>
            </c:extLst>
          </c:dPt>
          <c:dPt>
            <c:idx val="102"/>
            <c:invertIfNegative val="1"/>
            <c:bubble3D val="0"/>
            <c:spPr>
              <a:solidFill>
                <a:srgbClr val="7ECAC4"/>
              </a:solidFill>
            </c:spPr>
            <c:extLst>
              <c:ext xmlns:c16="http://schemas.microsoft.com/office/drawing/2014/chart" uri="{C3380CC4-5D6E-409C-BE32-E72D297353CC}">
                <c16:uniqueId val="{000000CF-2993-41DE-A2CB-63102DE87051}"/>
              </c:ext>
            </c:extLst>
          </c:dPt>
          <c:dPt>
            <c:idx val="103"/>
            <c:invertIfNegative val="1"/>
            <c:bubble3D val="0"/>
            <c:spPr>
              <a:solidFill>
                <a:srgbClr val="7ECAC4"/>
              </a:solidFill>
            </c:spPr>
            <c:extLst>
              <c:ext xmlns:c16="http://schemas.microsoft.com/office/drawing/2014/chart" uri="{C3380CC4-5D6E-409C-BE32-E72D297353CC}">
                <c16:uniqueId val="{000000D1-2993-41DE-A2CB-63102DE87051}"/>
              </c:ext>
            </c:extLst>
          </c:dPt>
          <c:dPt>
            <c:idx val="104"/>
            <c:invertIfNegative val="1"/>
            <c:bubble3D val="0"/>
            <c:spPr>
              <a:solidFill>
                <a:srgbClr val="7ECAC4"/>
              </a:solidFill>
            </c:spPr>
            <c:extLst>
              <c:ext xmlns:c16="http://schemas.microsoft.com/office/drawing/2014/chart" uri="{C3380CC4-5D6E-409C-BE32-E72D297353CC}">
                <c16:uniqueId val="{000000D3-2993-41DE-A2CB-63102DE87051}"/>
              </c:ext>
            </c:extLst>
          </c:dPt>
          <c:dPt>
            <c:idx val="105"/>
            <c:invertIfNegative val="1"/>
            <c:bubble3D val="0"/>
            <c:spPr>
              <a:solidFill>
                <a:srgbClr val="7ECAC4"/>
              </a:solidFill>
            </c:spPr>
            <c:extLst>
              <c:ext xmlns:c16="http://schemas.microsoft.com/office/drawing/2014/chart" uri="{C3380CC4-5D6E-409C-BE32-E72D297353CC}">
                <c16:uniqueId val="{000000D5-2993-41DE-A2CB-63102DE87051}"/>
              </c:ext>
            </c:extLst>
          </c:dPt>
          <c:dPt>
            <c:idx val="106"/>
            <c:invertIfNegative val="1"/>
            <c:bubble3D val="0"/>
            <c:spPr>
              <a:solidFill>
                <a:srgbClr val="7ECAC4"/>
              </a:solidFill>
            </c:spPr>
            <c:extLst>
              <c:ext xmlns:c16="http://schemas.microsoft.com/office/drawing/2014/chart" uri="{C3380CC4-5D6E-409C-BE32-E72D297353CC}">
                <c16:uniqueId val="{000000D7-2993-41DE-A2CB-63102DE87051}"/>
              </c:ext>
            </c:extLst>
          </c:dPt>
          <c:dPt>
            <c:idx val="107"/>
            <c:invertIfNegative val="1"/>
            <c:bubble3D val="0"/>
            <c:spPr>
              <a:solidFill>
                <a:srgbClr val="7ECAC4"/>
              </a:solidFill>
            </c:spPr>
            <c:extLst>
              <c:ext xmlns:c16="http://schemas.microsoft.com/office/drawing/2014/chart" uri="{C3380CC4-5D6E-409C-BE32-E72D297353CC}">
                <c16:uniqueId val="{000000D9-2993-41DE-A2CB-63102DE87051}"/>
              </c:ext>
            </c:extLst>
          </c:dPt>
          <c:dPt>
            <c:idx val="108"/>
            <c:invertIfNegative val="1"/>
            <c:bubble3D val="0"/>
            <c:spPr>
              <a:solidFill>
                <a:srgbClr val="7ECAC4"/>
              </a:solidFill>
            </c:spPr>
            <c:extLst>
              <c:ext xmlns:c16="http://schemas.microsoft.com/office/drawing/2014/chart" uri="{C3380CC4-5D6E-409C-BE32-E72D297353CC}">
                <c16:uniqueId val="{000000DB-2993-41DE-A2CB-63102DE87051}"/>
              </c:ext>
            </c:extLst>
          </c:dPt>
          <c:dPt>
            <c:idx val="109"/>
            <c:invertIfNegative val="1"/>
            <c:bubble3D val="0"/>
            <c:spPr>
              <a:solidFill>
                <a:srgbClr val="7ECAC4"/>
              </a:solidFill>
            </c:spPr>
            <c:extLst>
              <c:ext xmlns:c16="http://schemas.microsoft.com/office/drawing/2014/chart" uri="{C3380CC4-5D6E-409C-BE32-E72D297353CC}">
                <c16:uniqueId val="{000000DD-2993-41DE-A2CB-63102DE87051}"/>
              </c:ext>
            </c:extLst>
          </c:dPt>
          <c:dPt>
            <c:idx val="110"/>
            <c:invertIfNegative val="1"/>
            <c:bubble3D val="0"/>
            <c:spPr>
              <a:solidFill>
                <a:srgbClr val="7ECAC4"/>
              </a:solidFill>
            </c:spPr>
            <c:extLst>
              <c:ext xmlns:c16="http://schemas.microsoft.com/office/drawing/2014/chart" uri="{C3380CC4-5D6E-409C-BE32-E72D297353CC}">
                <c16:uniqueId val="{000000DF-2993-41DE-A2CB-63102DE87051}"/>
              </c:ext>
            </c:extLst>
          </c:dPt>
          <c:dPt>
            <c:idx val="111"/>
            <c:invertIfNegative val="1"/>
            <c:bubble3D val="0"/>
            <c:spPr>
              <a:solidFill>
                <a:srgbClr val="7ECAC4"/>
              </a:solidFill>
            </c:spPr>
            <c:extLst>
              <c:ext xmlns:c16="http://schemas.microsoft.com/office/drawing/2014/chart" uri="{C3380CC4-5D6E-409C-BE32-E72D297353CC}">
                <c16:uniqueId val="{000000E1-2993-41DE-A2CB-63102DE87051}"/>
              </c:ext>
            </c:extLst>
          </c:dPt>
          <c:dPt>
            <c:idx val="112"/>
            <c:invertIfNegative val="1"/>
            <c:bubble3D val="0"/>
            <c:spPr>
              <a:solidFill>
                <a:srgbClr val="7ECAC4"/>
              </a:solidFill>
            </c:spPr>
            <c:extLst>
              <c:ext xmlns:c16="http://schemas.microsoft.com/office/drawing/2014/chart" uri="{C3380CC4-5D6E-409C-BE32-E72D297353CC}">
                <c16:uniqueId val="{000000E3-2993-41DE-A2CB-63102DE87051}"/>
              </c:ext>
            </c:extLst>
          </c:dPt>
          <c:dPt>
            <c:idx val="113"/>
            <c:invertIfNegative val="1"/>
            <c:bubble3D val="0"/>
            <c:spPr>
              <a:solidFill>
                <a:srgbClr val="7ECAC4"/>
              </a:solidFill>
            </c:spPr>
            <c:extLst>
              <c:ext xmlns:c16="http://schemas.microsoft.com/office/drawing/2014/chart" uri="{C3380CC4-5D6E-409C-BE32-E72D297353CC}">
                <c16:uniqueId val="{000000E5-2993-41DE-A2CB-63102DE87051}"/>
              </c:ext>
            </c:extLst>
          </c:dPt>
          <c:dPt>
            <c:idx val="114"/>
            <c:invertIfNegative val="1"/>
            <c:bubble3D val="0"/>
            <c:spPr>
              <a:solidFill>
                <a:srgbClr val="7ECAC4"/>
              </a:solidFill>
            </c:spPr>
            <c:extLst>
              <c:ext xmlns:c16="http://schemas.microsoft.com/office/drawing/2014/chart" uri="{C3380CC4-5D6E-409C-BE32-E72D297353CC}">
                <c16:uniqueId val="{000000E7-2993-41DE-A2CB-63102DE87051}"/>
              </c:ext>
            </c:extLst>
          </c:dPt>
          <c:dPt>
            <c:idx val="115"/>
            <c:invertIfNegative val="1"/>
            <c:bubble3D val="0"/>
            <c:spPr>
              <a:solidFill>
                <a:srgbClr val="AEABAB"/>
              </a:solidFill>
            </c:spPr>
            <c:extLst>
              <c:ext xmlns:c16="http://schemas.microsoft.com/office/drawing/2014/chart" uri="{C3380CC4-5D6E-409C-BE32-E72D297353CC}">
                <c16:uniqueId val="{000000E9-2993-41DE-A2CB-63102DE87051}"/>
              </c:ext>
            </c:extLst>
          </c:dPt>
          <c:dPt>
            <c:idx val="116"/>
            <c:invertIfNegative val="1"/>
            <c:bubble3D val="0"/>
            <c:spPr>
              <a:solidFill>
                <a:srgbClr val="AEABAB"/>
              </a:solidFill>
            </c:spPr>
            <c:extLst>
              <c:ext xmlns:c16="http://schemas.microsoft.com/office/drawing/2014/chart" uri="{C3380CC4-5D6E-409C-BE32-E72D297353CC}">
                <c16:uniqueId val="{000000EB-2993-41DE-A2CB-63102DE87051}"/>
              </c:ext>
            </c:extLst>
          </c:dPt>
          <c:dPt>
            <c:idx val="117"/>
            <c:invertIfNegative val="1"/>
            <c:bubble3D val="0"/>
            <c:spPr>
              <a:solidFill>
                <a:srgbClr val="AEABAB"/>
              </a:solidFill>
            </c:spPr>
            <c:extLst>
              <c:ext xmlns:c16="http://schemas.microsoft.com/office/drawing/2014/chart" uri="{C3380CC4-5D6E-409C-BE32-E72D297353CC}">
                <c16:uniqueId val="{000000ED-2993-41DE-A2CB-63102DE87051}"/>
              </c:ext>
            </c:extLst>
          </c:dPt>
          <c:dPt>
            <c:idx val="118"/>
            <c:invertIfNegative val="1"/>
            <c:bubble3D val="0"/>
            <c:spPr>
              <a:solidFill>
                <a:srgbClr val="AEABAB"/>
              </a:solidFill>
            </c:spPr>
            <c:extLst>
              <c:ext xmlns:c16="http://schemas.microsoft.com/office/drawing/2014/chart" uri="{C3380CC4-5D6E-409C-BE32-E72D297353CC}">
                <c16:uniqueId val="{000000EF-2993-41DE-A2CB-63102DE87051}"/>
              </c:ext>
            </c:extLst>
          </c:dPt>
          <c:dPt>
            <c:idx val="119"/>
            <c:invertIfNegative val="1"/>
            <c:bubble3D val="0"/>
            <c:spPr>
              <a:solidFill>
                <a:srgbClr val="AEABAB"/>
              </a:solidFill>
            </c:spPr>
            <c:extLst>
              <c:ext xmlns:c16="http://schemas.microsoft.com/office/drawing/2014/chart" uri="{C3380CC4-5D6E-409C-BE32-E72D297353CC}">
                <c16:uniqueId val="{000000F1-2993-41DE-A2CB-63102DE87051}"/>
              </c:ext>
            </c:extLst>
          </c:dPt>
          <c:dPt>
            <c:idx val="120"/>
            <c:invertIfNegative val="1"/>
            <c:bubble3D val="0"/>
            <c:spPr>
              <a:solidFill>
                <a:srgbClr val="AEABAB"/>
              </a:solidFill>
            </c:spPr>
            <c:extLst>
              <c:ext xmlns:c16="http://schemas.microsoft.com/office/drawing/2014/chart" uri="{C3380CC4-5D6E-409C-BE32-E72D297353CC}">
                <c16:uniqueId val="{000000F3-2993-41DE-A2CB-63102DE87051}"/>
              </c:ext>
            </c:extLst>
          </c:dPt>
          <c:dPt>
            <c:idx val="121"/>
            <c:invertIfNegative val="1"/>
            <c:bubble3D val="0"/>
            <c:spPr>
              <a:solidFill>
                <a:srgbClr val="AEABAB"/>
              </a:solidFill>
            </c:spPr>
            <c:extLst>
              <c:ext xmlns:c16="http://schemas.microsoft.com/office/drawing/2014/chart" uri="{C3380CC4-5D6E-409C-BE32-E72D297353CC}">
                <c16:uniqueId val="{000000F5-2993-41DE-A2CB-63102DE87051}"/>
              </c:ext>
            </c:extLst>
          </c:dPt>
          <c:dPt>
            <c:idx val="122"/>
            <c:invertIfNegative val="1"/>
            <c:bubble3D val="0"/>
            <c:spPr>
              <a:solidFill>
                <a:srgbClr val="AEABAB"/>
              </a:solidFill>
            </c:spPr>
            <c:extLst>
              <c:ext xmlns:c16="http://schemas.microsoft.com/office/drawing/2014/chart" uri="{C3380CC4-5D6E-409C-BE32-E72D297353CC}">
                <c16:uniqueId val="{000000F7-2993-41DE-A2CB-63102DE87051}"/>
              </c:ext>
            </c:extLst>
          </c:dPt>
          <c:dPt>
            <c:idx val="123"/>
            <c:invertIfNegative val="1"/>
            <c:bubble3D val="0"/>
            <c:spPr>
              <a:solidFill>
                <a:srgbClr val="AEABAB"/>
              </a:solidFill>
            </c:spPr>
            <c:extLst>
              <c:ext xmlns:c16="http://schemas.microsoft.com/office/drawing/2014/chart" uri="{C3380CC4-5D6E-409C-BE32-E72D297353CC}">
                <c16:uniqueId val="{000000F9-2993-41DE-A2CB-63102DE87051}"/>
              </c:ext>
            </c:extLst>
          </c:dPt>
          <c:dPt>
            <c:idx val="124"/>
            <c:invertIfNegative val="1"/>
            <c:bubble3D val="0"/>
            <c:spPr>
              <a:solidFill>
                <a:srgbClr val="AEABAB"/>
              </a:solidFill>
            </c:spPr>
            <c:extLst>
              <c:ext xmlns:c16="http://schemas.microsoft.com/office/drawing/2014/chart" uri="{C3380CC4-5D6E-409C-BE32-E72D297353CC}">
                <c16:uniqueId val="{000000FB-2993-41DE-A2CB-63102DE87051}"/>
              </c:ext>
            </c:extLst>
          </c:dPt>
          <c:dPt>
            <c:idx val="125"/>
            <c:invertIfNegative val="1"/>
            <c:bubble3D val="0"/>
            <c:spPr>
              <a:solidFill>
                <a:srgbClr val="AEABAB"/>
              </a:solidFill>
            </c:spPr>
            <c:extLst>
              <c:ext xmlns:c16="http://schemas.microsoft.com/office/drawing/2014/chart" uri="{C3380CC4-5D6E-409C-BE32-E72D297353CC}">
                <c16:uniqueId val="{000000FD-2993-41DE-A2CB-63102DE87051}"/>
              </c:ext>
            </c:extLst>
          </c:dPt>
          <c:dPt>
            <c:idx val="126"/>
            <c:invertIfNegative val="1"/>
            <c:bubble3D val="0"/>
            <c:spPr>
              <a:solidFill>
                <a:srgbClr val="AEABAB"/>
              </a:solidFill>
            </c:spPr>
            <c:extLst>
              <c:ext xmlns:c16="http://schemas.microsoft.com/office/drawing/2014/chart" uri="{C3380CC4-5D6E-409C-BE32-E72D297353CC}">
                <c16:uniqueId val="{000000FF-2993-41DE-A2CB-63102DE87051}"/>
              </c:ext>
            </c:extLst>
          </c:dPt>
          <c:dPt>
            <c:idx val="127"/>
            <c:invertIfNegative val="1"/>
            <c:bubble3D val="0"/>
            <c:spPr>
              <a:solidFill>
                <a:srgbClr val="AEABAB"/>
              </a:solidFill>
            </c:spPr>
            <c:extLst>
              <c:ext xmlns:c16="http://schemas.microsoft.com/office/drawing/2014/chart" uri="{C3380CC4-5D6E-409C-BE32-E72D297353CC}">
                <c16:uniqueId val="{00000101-2993-41DE-A2CB-63102DE87051}"/>
              </c:ext>
            </c:extLst>
          </c:dPt>
          <c:dPt>
            <c:idx val="128"/>
            <c:invertIfNegative val="1"/>
            <c:bubble3D val="0"/>
            <c:spPr>
              <a:solidFill>
                <a:srgbClr val="AEABAB"/>
              </a:solidFill>
            </c:spPr>
            <c:extLst>
              <c:ext xmlns:c16="http://schemas.microsoft.com/office/drawing/2014/chart" uri="{C3380CC4-5D6E-409C-BE32-E72D297353CC}">
                <c16:uniqueId val="{00000103-2993-41DE-A2CB-63102DE87051}"/>
              </c:ext>
            </c:extLst>
          </c:dPt>
          <c:dPt>
            <c:idx val="129"/>
            <c:invertIfNegative val="1"/>
            <c:bubble3D val="0"/>
            <c:spPr>
              <a:solidFill>
                <a:srgbClr val="AEABAB"/>
              </a:solidFill>
            </c:spPr>
            <c:extLst>
              <c:ext xmlns:c16="http://schemas.microsoft.com/office/drawing/2014/chart" uri="{C3380CC4-5D6E-409C-BE32-E72D297353CC}">
                <c16:uniqueId val="{00000105-2993-41DE-A2CB-63102DE87051}"/>
              </c:ext>
            </c:extLst>
          </c:dPt>
          <c:dPt>
            <c:idx val="130"/>
            <c:invertIfNegative val="1"/>
            <c:bubble3D val="0"/>
            <c:spPr>
              <a:solidFill>
                <a:srgbClr val="AEABAB"/>
              </a:solidFill>
            </c:spPr>
            <c:extLst>
              <c:ext xmlns:c16="http://schemas.microsoft.com/office/drawing/2014/chart" uri="{C3380CC4-5D6E-409C-BE32-E72D297353CC}">
                <c16:uniqueId val="{00000107-2993-41DE-A2CB-63102DE87051}"/>
              </c:ext>
            </c:extLst>
          </c:dPt>
          <c:dPt>
            <c:idx val="131"/>
            <c:invertIfNegative val="1"/>
            <c:bubble3D val="0"/>
            <c:spPr>
              <a:solidFill>
                <a:srgbClr val="AEABAB"/>
              </a:solidFill>
            </c:spPr>
            <c:extLst>
              <c:ext xmlns:c16="http://schemas.microsoft.com/office/drawing/2014/chart" uri="{C3380CC4-5D6E-409C-BE32-E72D297353CC}">
                <c16:uniqueId val="{00000109-2993-41DE-A2CB-63102DE87051}"/>
              </c:ext>
            </c:extLst>
          </c:dPt>
          <c:dPt>
            <c:idx val="132"/>
            <c:invertIfNegative val="1"/>
            <c:bubble3D val="0"/>
            <c:spPr>
              <a:solidFill>
                <a:srgbClr val="AEABAB"/>
              </a:solidFill>
            </c:spPr>
            <c:extLst>
              <c:ext xmlns:c16="http://schemas.microsoft.com/office/drawing/2014/chart" uri="{C3380CC4-5D6E-409C-BE32-E72D297353CC}">
                <c16:uniqueId val="{0000010B-2993-41DE-A2CB-63102DE87051}"/>
              </c:ext>
            </c:extLst>
          </c:dPt>
          <c:dPt>
            <c:idx val="133"/>
            <c:invertIfNegative val="1"/>
            <c:bubble3D val="0"/>
            <c:spPr>
              <a:solidFill>
                <a:srgbClr val="AEABAB"/>
              </a:solidFill>
            </c:spPr>
            <c:extLst>
              <c:ext xmlns:c16="http://schemas.microsoft.com/office/drawing/2014/chart" uri="{C3380CC4-5D6E-409C-BE32-E72D297353CC}">
                <c16:uniqueId val="{0000010D-2993-41DE-A2CB-63102DE87051}"/>
              </c:ext>
            </c:extLst>
          </c:dPt>
          <c:dPt>
            <c:idx val="134"/>
            <c:invertIfNegative val="1"/>
            <c:bubble3D val="0"/>
            <c:spPr>
              <a:solidFill>
                <a:srgbClr val="AEABAB"/>
              </a:solidFill>
            </c:spPr>
            <c:extLst>
              <c:ext xmlns:c16="http://schemas.microsoft.com/office/drawing/2014/chart" uri="{C3380CC4-5D6E-409C-BE32-E72D297353CC}">
                <c16:uniqueId val="{0000010F-2993-41DE-A2CB-63102DE87051}"/>
              </c:ext>
            </c:extLst>
          </c:dPt>
          <c:dPt>
            <c:idx val="135"/>
            <c:invertIfNegative val="1"/>
            <c:bubble3D val="0"/>
            <c:spPr>
              <a:solidFill>
                <a:srgbClr val="AEABAB"/>
              </a:solidFill>
            </c:spPr>
            <c:extLst>
              <c:ext xmlns:c16="http://schemas.microsoft.com/office/drawing/2014/chart" uri="{C3380CC4-5D6E-409C-BE32-E72D297353CC}">
                <c16:uniqueId val="{00000111-2993-41DE-A2CB-63102DE87051}"/>
              </c:ext>
            </c:extLst>
          </c:dPt>
          <c:dPt>
            <c:idx val="136"/>
            <c:invertIfNegative val="1"/>
            <c:bubble3D val="0"/>
            <c:spPr>
              <a:solidFill>
                <a:srgbClr val="AEABAB"/>
              </a:solidFill>
            </c:spPr>
            <c:extLst>
              <c:ext xmlns:c16="http://schemas.microsoft.com/office/drawing/2014/chart" uri="{C3380CC4-5D6E-409C-BE32-E72D297353CC}">
                <c16:uniqueId val="{00000113-2993-41DE-A2CB-63102DE87051}"/>
              </c:ext>
            </c:extLst>
          </c:dPt>
          <c:dPt>
            <c:idx val="137"/>
            <c:invertIfNegative val="1"/>
            <c:bubble3D val="0"/>
            <c:spPr>
              <a:solidFill>
                <a:srgbClr val="AEABAB"/>
              </a:solidFill>
            </c:spPr>
            <c:extLst>
              <c:ext xmlns:c16="http://schemas.microsoft.com/office/drawing/2014/chart" uri="{C3380CC4-5D6E-409C-BE32-E72D297353CC}">
                <c16:uniqueId val="{00000115-2993-41DE-A2CB-63102DE87051}"/>
              </c:ext>
            </c:extLst>
          </c:dPt>
          <c:dPt>
            <c:idx val="138"/>
            <c:invertIfNegative val="1"/>
            <c:bubble3D val="0"/>
            <c:spPr>
              <a:solidFill>
                <a:srgbClr val="AEABAB"/>
              </a:solidFill>
            </c:spPr>
            <c:extLst>
              <c:ext xmlns:c16="http://schemas.microsoft.com/office/drawing/2014/chart" uri="{C3380CC4-5D6E-409C-BE32-E72D297353CC}">
                <c16:uniqueId val="{00000117-2993-41DE-A2CB-63102DE87051}"/>
              </c:ext>
            </c:extLst>
          </c:dPt>
          <c:dPt>
            <c:idx val="139"/>
            <c:invertIfNegative val="1"/>
            <c:bubble3D val="0"/>
            <c:spPr>
              <a:solidFill>
                <a:srgbClr val="AEABAB"/>
              </a:solidFill>
            </c:spPr>
            <c:extLst>
              <c:ext xmlns:c16="http://schemas.microsoft.com/office/drawing/2014/chart" uri="{C3380CC4-5D6E-409C-BE32-E72D297353CC}">
                <c16:uniqueId val="{00000119-2993-41DE-A2CB-63102DE87051}"/>
              </c:ext>
            </c:extLst>
          </c:dPt>
          <c:dPt>
            <c:idx val="140"/>
            <c:invertIfNegative val="1"/>
            <c:bubble3D val="0"/>
            <c:spPr>
              <a:solidFill>
                <a:srgbClr val="AEABAB"/>
              </a:solidFill>
            </c:spPr>
            <c:extLst>
              <c:ext xmlns:c16="http://schemas.microsoft.com/office/drawing/2014/chart" uri="{C3380CC4-5D6E-409C-BE32-E72D297353CC}">
                <c16:uniqueId val="{0000011B-2993-41DE-A2CB-63102DE87051}"/>
              </c:ext>
            </c:extLst>
          </c:dPt>
          <c:dPt>
            <c:idx val="141"/>
            <c:invertIfNegative val="1"/>
            <c:bubble3D val="0"/>
            <c:spPr>
              <a:solidFill>
                <a:srgbClr val="AEABAB"/>
              </a:solidFill>
            </c:spPr>
            <c:extLst>
              <c:ext xmlns:c16="http://schemas.microsoft.com/office/drawing/2014/chart" uri="{C3380CC4-5D6E-409C-BE32-E72D297353CC}">
                <c16:uniqueId val="{0000011D-2993-41DE-A2CB-63102DE87051}"/>
              </c:ext>
            </c:extLst>
          </c:dPt>
          <c:dPt>
            <c:idx val="142"/>
            <c:invertIfNegative val="1"/>
            <c:bubble3D val="0"/>
            <c:spPr>
              <a:solidFill>
                <a:srgbClr val="AEABAB"/>
              </a:solidFill>
            </c:spPr>
            <c:extLst>
              <c:ext xmlns:c16="http://schemas.microsoft.com/office/drawing/2014/chart" uri="{C3380CC4-5D6E-409C-BE32-E72D297353CC}">
                <c16:uniqueId val="{0000011F-2993-41DE-A2CB-63102DE87051}"/>
              </c:ext>
            </c:extLst>
          </c:dPt>
          <c:dPt>
            <c:idx val="143"/>
            <c:invertIfNegative val="1"/>
            <c:bubble3D val="0"/>
            <c:spPr>
              <a:solidFill>
                <a:srgbClr val="AEABAB"/>
              </a:solidFill>
            </c:spPr>
            <c:extLst>
              <c:ext xmlns:c16="http://schemas.microsoft.com/office/drawing/2014/chart" uri="{C3380CC4-5D6E-409C-BE32-E72D297353CC}">
                <c16:uniqueId val="{00000121-2993-41DE-A2CB-63102DE87051}"/>
              </c:ext>
            </c:extLst>
          </c:dPt>
          <c:dPt>
            <c:idx val="144"/>
            <c:invertIfNegative val="1"/>
            <c:bubble3D val="0"/>
            <c:spPr>
              <a:solidFill>
                <a:srgbClr val="AEABAB"/>
              </a:solidFill>
            </c:spPr>
            <c:extLst>
              <c:ext xmlns:c16="http://schemas.microsoft.com/office/drawing/2014/chart" uri="{C3380CC4-5D6E-409C-BE32-E72D297353CC}">
                <c16:uniqueId val="{00000123-2993-41DE-A2CB-63102DE87051}"/>
              </c:ext>
            </c:extLst>
          </c:dPt>
          <c:dPt>
            <c:idx val="145"/>
            <c:invertIfNegative val="1"/>
            <c:bubble3D val="0"/>
            <c:spPr>
              <a:solidFill>
                <a:srgbClr val="AEABAB"/>
              </a:solidFill>
            </c:spPr>
            <c:extLst>
              <c:ext xmlns:c16="http://schemas.microsoft.com/office/drawing/2014/chart" uri="{C3380CC4-5D6E-409C-BE32-E72D297353CC}">
                <c16:uniqueId val="{00000125-2993-41DE-A2CB-63102DE87051}"/>
              </c:ext>
            </c:extLst>
          </c:dPt>
          <c:dPt>
            <c:idx val="146"/>
            <c:invertIfNegative val="1"/>
            <c:bubble3D val="0"/>
            <c:spPr>
              <a:solidFill>
                <a:srgbClr val="AEABAB"/>
              </a:solidFill>
            </c:spPr>
            <c:extLst>
              <c:ext xmlns:c16="http://schemas.microsoft.com/office/drawing/2014/chart" uri="{C3380CC4-5D6E-409C-BE32-E72D297353CC}">
                <c16:uniqueId val="{00000127-2993-41DE-A2CB-63102DE87051}"/>
              </c:ext>
            </c:extLst>
          </c:dPt>
          <c:dPt>
            <c:idx val="147"/>
            <c:invertIfNegative val="1"/>
            <c:bubble3D val="0"/>
            <c:spPr>
              <a:solidFill>
                <a:srgbClr val="AEABAB"/>
              </a:solidFill>
            </c:spPr>
            <c:extLst>
              <c:ext xmlns:c16="http://schemas.microsoft.com/office/drawing/2014/chart" uri="{C3380CC4-5D6E-409C-BE32-E72D297353CC}">
                <c16:uniqueId val="{00000129-2993-41DE-A2CB-63102DE87051}"/>
              </c:ext>
            </c:extLst>
          </c:dPt>
          <c:dPt>
            <c:idx val="148"/>
            <c:invertIfNegative val="1"/>
            <c:bubble3D val="0"/>
            <c:spPr>
              <a:solidFill>
                <a:srgbClr val="AEABAB"/>
              </a:solidFill>
            </c:spPr>
            <c:extLst>
              <c:ext xmlns:c16="http://schemas.microsoft.com/office/drawing/2014/chart" uri="{C3380CC4-5D6E-409C-BE32-E72D297353CC}">
                <c16:uniqueId val="{0000012B-2993-41DE-A2CB-63102DE87051}"/>
              </c:ext>
            </c:extLst>
          </c:dPt>
          <c:dPt>
            <c:idx val="149"/>
            <c:invertIfNegative val="1"/>
            <c:bubble3D val="0"/>
            <c:spPr>
              <a:solidFill>
                <a:srgbClr val="AEABAB"/>
              </a:solidFill>
            </c:spPr>
            <c:extLst>
              <c:ext xmlns:c16="http://schemas.microsoft.com/office/drawing/2014/chart" uri="{C3380CC4-5D6E-409C-BE32-E72D297353CC}">
                <c16:uniqueId val="{0000012D-2993-41DE-A2CB-63102DE87051}"/>
              </c:ext>
            </c:extLst>
          </c:dPt>
          <c:dPt>
            <c:idx val="150"/>
            <c:invertIfNegative val="1"/>
            <c:bubble3D val="0"/>
            <c:spPr>
              <a:solidFill>
                <a:srgbClr val="AEABAB"/>
              </a:solidFill>
            </c:spPr>
            <c:extLst>
              <c:ext xmlns:c16="http://schemas.microsoft.com/office/drawing/2014/chart" uri="{C3380CC4-5D6E-409C-BE32-E72D297353CC}">
                <c16:uniqueId val="{0000012F-2993-41DE-A2CB-63102DE87051}"/>
              </c:ext>
            </c:extLst>
          </c:dPt>
          <c:dPt>
            <c:idx val="151"/>
            <c:invertIfNegative val="1"/>
            <c:bubble3D val="0"/>
            <c:spPr>
              <a:solidFill>
                <a:srgbClr val="AEABAB"/>
              </a:solidFill>
            </c:spPr>
            <c:extLst>
              <c:ext xmlns:c16="http://schemas.microsoft.com/office/drawing/2014/chart" uri="{C3380CC4-5D6E-409C-BE32-E72D297353CC}">
                <c16:uniqueId val="{00000131-2993-41DE-A2CB-63102DE87051}"/>
              </c:ext>
            </c:extLst>
          </c:dPt>
          <c:dPt>
            <c:idx val="152"/>
            <c:invertIfNegative val="1"/>
            <c:bubble3D val="0"/>
            <c:spPr>
              <a:solidFill>
                <a:srgbClr val="AEABAB"/>
              </a:solidFill>
            </c:spPr>
            <c:extLst>
              <c:ext xmlns:c16="http://schemas.microsoft.com/office/drawing/2014/chart" uri="{C3380CC4-5D6E-409C-BE32-E72D297353CC}">
                <c16:uniqueId val="{00000133-2993-41DE-A2CB-63102DE87051}"/>
              </c:ext>
            </c:extLst>
          </c:dPt>
          <c:dPt>
            <c:idx val="153"/>
            <c:invertIfNegative val="1"/>
            <c:bubble3D val="0"/>
            <c:spPr>
              <a:solidFill>
                <a:srgbClr val="AEABAB"/>
              </a:solidFill>
            </c:spPr>
            <c:extLst>
              <c:ext xmlns:c16="http://schemas.microsoft.com/office/drawing/2014/chart" uri="{C3380CC4-5D6E-409C-BE32-E72D297353CC}">
                <c16:uniqueId val="{00000135-2993-41DE-A2CB-63102DE87051}"/>
              </c:ext>
            </c:extLst>
          </c:dPt>
          <c:dPt>
            <c:idx val="154"/>
            <c:invertIfNegative val="1"/>
            <c:bubble3D val="0"/>
            <c:spPr>
              <a:solidFill>
                <a:srgbClr val="AEABAB"/>
              </a:solidFill>
            </c:spPr>
            <c:extLst>
              <c:ext xmlns:c16="http://schemas.microsoft.com/office/drawing/2014/chart" uri="{C3380CC4-5D6E-409C-BE32-E72D297353CC}">
                <c16:uniqueId val="{00000137-2993-41DE-A2CB-63102DE87051}"/>
              </c:ext>
            </c:extLst>
          </c:dPt>
          <c:dPt>
            <c:idx val="155"/>
            <c:invertIfNegative val="1"/>
            <c:bubble3D val="0"/>
            <c:spPr>
              <a:solidFill>
                <a:srgbClr val="AEABAB"/>
              </a:solidFill>
            </c:spPr>
            <c:extLst>
              <c:ext xmlns:c16="http://schemas.microsoft.com/office/drawing/2014/chart" uri="{C3380CC4-5D6E-409C-BE32-E72D297353CC}">
                <c16:uniqueId val="{00000139-2993-41DE-A2CB-63102DE87051}"/>
              </c:ext>
            </c:extLst>
          </c:dPt>
          <c:dPt>
            <c:idx val="156"/>
            <c:invertIfNegative val="1"/>
            <c:bubble3D val="0"/>
            <c:spPr>
              <a:solidFill>
                <a:srgbClr val="AEABAB"/>
              </a:solidFill>
            </c:spPr>
            <c:extLst>
              <c:ext xmlns:c16="http://schemas.microsoft.com/office/drawing/2014/chart" uri="{C3380CC4-5D6E-409C-BE32-E72D297353CC}">
                <c16:uniqueId val="{0000013B-2993-41DE-A2CB-63102DE87051}"/>
              </c:ext>
            </c:extLst>
          </c:dPt>
          <c:dPt>
            <c:idx val="157"/>
            <c:invertIfNegative val="1"/>
            <c:bubble3D val="0"/>
            <c:spPr>
              <a:solidFill>
                <a:srgbClr val="AEABAB"/>
              </a:solidFill>
            </c:spPr>
            <c:extLst>
              <c:ext xmlns:c16="http://schemas.microsoft.com/office/drawing/2014/chart" uri="{C3380CC4-5D6E-409C-BE32-E72D297353CC}">
                <c16:uniqueId val="{0000013D-2993-41DE-A2CB-63102DE87051}"/>
              </c:ext>
            </c:extLst>
          </c:dPt>
          <c:dPt>
            <c:idx val="158"/>
            <c:invertIfNegative val="1"/>
            <c:bubble3D val="0"/>
            <c:spPr>
              <a:solidFill>
                <a:srgbClr val="AEABAB"/>
              </a:solidFill>
            </c:spPr>
            <c:extLst>
              <c:ext xmlns:c16="http://schemas.microsoft.com/office/drawing/2014/chart" uri="{C3380CC4-5D6E-409C-BE32-E72D297353CC}">
                <c16:uniqueId val="{0000013F-2993-41DE-A2CB-63102DE87051}"/>
              </c:ext>
            </c:extLst>
          </c:dPt>
          <c:dPt>
            <c:idx val="159"/>
            <c:invertIfNegative val="1"/>
            <c:bubble3D val="0"/>
            <c:spPr>
              <a:solidFill>
                <a:srgbClr val="AEABAB"/>
              </a:solidFill>
            </c:spPr>
            <c:extLst>
              <c:ext xmlns:c16="http://schemas.microsoft.com/office/drawing/2014/chart" uri="{C3380CC4-5D6E-409C-BE32-E72D297353CC}">
                <c16:uniqueId val="{00000141-2993-41DE-A2CB-63102DE87051}"/>
              </c:ext>
            </c:extLst>
          </c:dPt>
          <c:dPt>
            <c:idx val="160"/>
            <c:invertIfNegative val="1"/>
            <c:bubble3D val="0"/>
            <c:spPr>
              <a:solidFill>
                <a:srgbClr val="AEABAB"/>
              </a:solidFill>
            </c:spPr>
            <c:extLst>
              <c:ext xmlns:c16="http://schemas.microsoft.com/office/drawing/2014/chart" uri="{C3380CC4-5D6E-409C-BE32-E72D297353CC}">
                <c16:uniqueId val="{00000143-2993-41DE-A2CB-63102DE87051}"/>
              </c:ext>
            </c:extLst>
          </c:dPt>
          <c:dPt>
            <c:idx val="161"/>
            <c:invertIfNegative val="1"/>
            <c:bubble3D val="0"/>
            <c:spPr>
              <a:solidFill>
                <a:srgbClr val="AEABAB"/>
              </a:solidFill>
            </c:spPr>
            <c:extLst>
              <c:ext xmlns:c16="http://schemas.microsoft.com/office/drawing/2014/chart" uri="{C3380CC4-5D6E-409C-BE32-E72D297353CC}">
                <c16:uniqueId val="{00000145-2993-41DE-A2CB-63102DE87051}"/>
              </c:ext>
            </c:extLst>
          </c:dPt>
          <c:dPt>
            <c:idx val="162"/>
            <c:invertIfNegative val="1"/>
            <c:bubble3D val="0"/>
            <c:spPr>
              <a:solidFill>
                <a:srgbClr val="AEABAB"/>
              </a:solidFill>
            </c:spPr>
            <c:extLst>
              <c:ext xmlns:c16="http://schemas.microsoft.com/office/drawing/2014/chart" uri="{C3380CC4-5D6E-409C-BE32-E72D297353CC}">
                <c16:uniqueId val="{00000147-2993-41DE-A2CB-63102DE87051}"/>
              </c:ext>
            </c:extLst>
          </c:dPt>
          <c:dPt>
            <c:idx val="163"/>
            <c:invertIfNegative val="1"/>
            <c:bubble3D val="0"/>
            <c:spPr>
              <a:solidFill>
                <a:srgbClr val="AEABAB"/>
              </a:solidFill>
            </c:spPr>
            <c:extLst>
              <c:ext xmlns:c16="http://schemas.microsoft.com/office/drawing/2014/chart" uri="{C3380CC4-5D6E-409C-BE32-E72D297353CC}">
                <c16:uniqueId val="{00000149-2993-41DE-A2CB-63102DE87051}"/>
              </c:ext>
            </c:extLst>
          </c:dPt>
          <c:dPt>
            <c:idx val="164"/>
            <c:invertIfNegative val="1"/>
            <c:bubble3D val="0"/>
            <c:spPr>
              <a:solidFill>
                <a:srgbClr val="AEABAB"/>
              </a:solidFill>
            </c:spPr>
            <c:extLst>
              <c:ext xmlns:c16="http://schemas.microsoft.com/office/drawing/2014/chart" uri="{C3380CC4-5D6E-409C-BE32-E72D297353CC}">
                <c16:uniqueId val="{0000014B-2993-41DE-A2CB-63102DE87051}"/>
              </c:ext>
            </c:extLst>
          </c:dPt>
          <c:dPt>
            <c:idx val="165"/>
            <c:invertIfNegative val="1"/>
            <c:bubble3D val="0"/>
            <c:spPr>
              <a:solidFill>
                <a:srgbClr val="AEABAB"/>
              </a:solidFill>
            </c:spPr>
            <c:extLst>
              <c:ext xmlns:c16="http://schemas.microsoft.com/office/drawing/2014/chart" uri="{C3380CC4-5D6E-409C-BE32-E72D297353CC}">
                <c16:uniqueId val="{0000014D-2993-41DE-A2CB-63102DE87051}"/>
              </c:ext>
            </c:extLst>
          </c:dPt>
          <c:dPt>
            <c:idx val="166"/>
            <c:invertIfNegative val="1"/>
            <c:bubble3D val="0"/>
            <c:spPr>
              <a:solidFill>
                <a:srgbClr val="AEABAB"/>
              </a:solidFill>
            </c:spPr>
            <c:extLst>
              <c:ext xmlns:c16="http://schemas.microsoft.com/office/drawing/2014/chart" uri="{C3380CC4-5D6E-409C-BE32-E72D297353CC}">
                <c16:uniqueId val="{0000014F-2993-41DE-A2CB-63102DE87051}"/>
              </c:ext>
            </c:extLst>
          </c:dPt>
          <c:dPt>
            <c:idx val="167"/>
            <c:invertIfNegative val="1"/>
            <c:bubble3D val="0"/>
            <c:spPr>
              <a:solidFill>
                <a:srgbClr val="AEABAB"/>
              </a:solidFill>
            </c:spPr>
            <c:extLst>
              <c:ext xmlns:c16="http://schemas.microsoft.com/office/drawing/2014/chart" uri="{C3380CC4-5D6E-409C-BE32-E72D297353CC}">
                <c16:uniqueId val="{00000151-2993-41DE-A2CB-63102DE87051}"/>
              </c:ext>
            </c:extLst>
          </c:dPt>
          <c:dPt>
            <c:idx val="168"/>
            <c:invertIfNegative val="1"/>
            <c:bubble3D val="0"/>
            <c:spPr>
              <a:solidFill>
                <a:srgbClr val="AEABAB"/>
              </a:solidFill>
            </c:spPr>
            <c:extLst>
              <c:ext xmlns:c16="http://schemas.microsoft.com/office/drawing/2014/chart" uri="{C3380CC4-5D6E-409C-BE32-E72D297353CC}">
                <c16:uniqueId val="{00000153-2993-41DE-A2CB-63102DE87051}"/>
              </c:ext>
            </c:extLst>
          </c:dPt>
          <c:dPt>
            <c:idx val="169"/>
            <c:invertIfNegative val="1"/>
            <c:bubble3D val="0"/>
            <c:spPr>
              <a:solidFill>
                <a:srgbClr val="AEABAB"/>
              </a:solidFill>
            </c:spPr>
            <c:extLst>
              <c:ext xmlns:c16="http://schemas.microsoft.com/office/drawing/2014/chart" uri="{C3380CC4-5D6E-409C-BE32-E72D297353CC}">
                <c16:uniqueId val="{00000155-2993-41DE-A2CB-63102DE87051}"/>
              </c:ext>
            </c:extLst>
          </c:dPt>
          <c:dPt>
            <c:idx val="170"/>
            <c:invertIfNegative val="1"/>
            <c:bubble3D val="0"/>
            <c:spPr>
              <a:solidFill>
                <a:srgbClr val="AEABAB"/>
              </a:solidFill>
            </c:spPr>
            <c:extLst>
              <c:ext xmlns:c16="http://schemas.microsoft.com/office/drawing/2014/chart" uri="{C3380CC4-5D6E-409C-BE32-E72D297353CC}">
                <c16:uniqueId val="{00000157-2993-41DE-A2CB-63102DE87051}"/>
              </c:ext>
            </c:extLst>
          </c:dPt>
          <c:dPt>
            <c:idx val="171"/>
            <c:invertIfNegative val="1"/>
            <c:bubble3D val="0"/>
            <c:spPr>
              <a:solidFill>
                <a:srgbClr val="AEABAB"/>
              </a:solidFill>
            </c:spPr>
            <c:extLst>
              <c:ext xmlns:c16="http://schemas.microsoft.com/office/drawing/2014/chart" uri="{C3380CC4-5D6E-409C-BE32-E72D297353CC}">
                <c16:uniqueId val="{00000159-2993-41DE-A2CB-63102DE87051}"/>
              </c:ext>
            </c:extLst>
          </c:dPt>
          <c:dPt>
            <c:idx val="172"/>
            <c:invertIfNegative val="1"/>
            <c:bubble3D val="0"/>
            <c:spPr>
              <a:solidFill>
                <a:srgbClr val="AEABAB"/>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dPt>
            <c:idx val="210"/>
            <c:invertIfNegative val="1"/>
            <c:bubble3D val="0"/>
            <c:spPr>
              <a:solidFill>
                <a:srgbClr val="AEABAB"/>
              </a:solidFill>
            </c:spPr>
            <c:extLst>
              <c:ext xmlns:c16="http://schemas.microsoft.com/office/drawing/2014/chart" uri="{C3380CC4-5D6E-409C-BE32-E72D297353CC}">
                <c16:uniqueId val="{000001A7-D24B-4B5A-AC8C-DEFE829A962E}"/>
              </c:ext>
            </c:extLst>
          </c:dPt>
          <c:dPt>
            <c:idx val="211"/>
            <c:invertIfNegative val="1"/>
            <c:bubble3D val="0"/>
            <c:spPr>
              <a:solidFill>
                <a:srgbClr val="AEABAB"/>
              </a:solidFill>
            </c:spPr>
            <c:extLst>
              <c:ext xmlns:c16="http://schemas.microsoft.com/office/drawing/2014/chart" uri="{C3380CC4-5D6E-409C-BE32-E72D297353CC}">
                <c16:uniqueId val="{000001A9-D24B-4B5A-AC8C-DEFE829A962E}"/>
              </c:ext>
            </c:extLst>
          </c:dPt>
          <c:dPt>
            <c:idx val="212"/>
            <c:invertIfNegative val="1"/>
            <c:bubble3D val="0"/>
            <c:spPr>
              <a:solidFill>
                <a:srgbClr val="AEABAB"/>
              </a:solidFill>
            </c:spPr>
            <c:extLst>
              <c:ext xmlns:c16="http://schemas.microsoft.com/office/drawing/2014/chart" uri="{C3380CC4-5D6E-409C-BE32-E72D297353CC}">
                <c16:uniqueId val="{000001AB-D24B-4B5A-AC8C-DEFE829A962E}"/>
              </c:ext>
            </c:extLst>
          </c:dPt>
          <c:dPt>
            <c:idx val="213"/>
            <c:invertIfNegative val="1"/>
            <c:bubble3D val="0"/>
            <c:spPr>
              <a:solidFill>
                <a:srgbClr val="AEABAB"/>
              </a:solidFill>
            </c:spPr>
            <c:extLst>
              <c:ext xmlns:c16="http://schemas.microsoft.com/office/drawing/2014/chart" uri="{C3380CC4-5D6E-409C-BE32-E72D297353CC}">
                <c16:uniqueId val="{000001AD-D24B-4B5A-AC8C-DEFE829A962E}"/>
              </c:ext>
            </c:extLst>
          </c:dPt>
          <c:dPt>
            <c:idx val="214"/>
            <c:invertIfNegative val="1"/>
            <c:bubble3D val="0"/>
            <c:spPr>
              <a:solidFill>
                <a:srgbClr val="AEABAB"/>
              </a:solidFill>
            </c:spPr>
            <c:extLst>
              <c:ext xmlns:c16="http://schemas.microsoft.com/office/drawing/2014/chart" uri="{C3380CC4-5D6E-409C-BE32-E72D297353CC}">
                <c16:uniqueId val="{000001AF-D24B-4B5A-AC8C-DEFE829A962E}"/>
              </c:ext>
            </c:extLst>
          </c:dPt>
          <c:dPt>
            <c:idx val="215"/>
            <c:invertIfNegative val="1"/>
            <c:bubble3D val="0"/>
            <c:spPr>
              <a:solidFill>
                <a:srgbClr val="AEABAB"/>
              </a:solidFill>
            </c:spPr>
            <c:extLst>
              <c:ext xmlns:c16="http://schemas.microsoft.com/office/drawing/2014/chart" uri="{C3380CC4-5D6E-409C-BE32-E72D297353CC}">
                <c16:uniqueId val="{000001B1-D24B-4B5A-AC8C-DEFE829A962E}"/>
              </c:ext>
            </c:extLst>
          </c:dPt>
          <c:dPt>
            <c:idx val="216"/>
            <c:invertIfNegative val="1"/>
            <c:bubble3D val="0"/>
            <c:spPr>
              <a:solidFill>
                <a:srgbClr val="AEABAB"/>
              </a:solidFill>
            </c:spPr>
            <c:extLst>
              <c:ext xmlns:c16="http://schemas.microsoft.com/office/drawing/2014/chart" uri="{C3380CC4-5D6E-409C-BE32-E72D297353CC}">
                <c16:uniqueId val="{000001B3-D24B-4B5A-AC8C-DEFE829A962E}"/>
              </c:ext>
            </c:extLst>
          </c:dPt>
          <c:dPt>
            <c:idx val="217"/>
            <c:invertIfNegative val="1"/>
            <c:bubble3D val="0"/>
            <c:spPr>
              <a:solidFill>
                <a:srgbClr val="AEABAB"/>
              </a:solidFill>
            </c:spPr>
            <c:extLst>
              <c:ext xmlns:c16="http://schemas.microsoft.com/office/drawing/2014/chart" uri="{C3380CC4-5D6E-409C-BE32-E72D297353CC}">
                <c16:uniqueId val="{000001B5-D24B-4B5A-AC8C-DEFE829A962E}"/>
              </c:ext>
            </c:extLst>
          </c:dPt>
          <c:dPt>
            <c:idx val="218"/>
            <c:invertIfNegative val="1"/>
            <c:bubble3D val="0"/>
            <c:spPr>
              <a:solidFill>
                <a:srgbClr val="AEABAB"/>
              </a:solidFill>
            </c:spPr>
            <c:extLst>
              <c:ext xmlns:c16="http://schemas.microsoft.com/office/drawing/2014/chart" uri="{C3380CC4-5D6E-409C-BE32-E72D297353CC}">
                <c16:uniqueId val="{000001B7-D24B-4B5A-AC8C-DEFE829A962E}"/>
              </c:ext>
            </c:extLst>
          </c:dPt>
          <c:dPt>
            <c:idx val="219"/>
            <c:invertIfNegative val="1"/>
            <c:bubble3D val="0"/>
            <c:spPr>
              <a:solidFill>
                <a:srgbClr val="AEABAB"/>
              </a:solidFill>
            </c:spPr>
            <c:extLst>
              <c:ext xmlns:c16="http://schemas.microsoft.com/office/drawing/2014/chart" uri="{C3380CC4-5D6E-409C-BE32-E72D297353CC}">
                <c16:uniqueId val="{000001B9-D24B-4B5A-AC8C-DEFE829A962E}"/>
              </c:ext>
            </c:extLst>
          </c:dPt>
          <c:dPt>
            <c:idx val="220"/>
            <c:invertIfNegative val="1"/>
            <c:bubble3D val="0"/>
            <c:spPr>
              <a:solidFill>
                <a:srgbClr val="AEABAB"/>
              </a:solidFill>
            </c:spPr>
            <c:extLst>
              <c:ext xmlns:c16="http://schemas.microsoft.com/office/drawing/2014/chart" uri="{C3380CC4-5D6E-409C-BE32-E72D297353CC}">
                <c16:uniqueId val="{000001BB-D24B-4B5A-AC8C-DEFE829A962E}"/>
              </c:ext>
            </c:extLst>
          </c:dPt>
          <c:dPt>
            <c:idx val="221"/>
            <c:invertIfNegative val="1"/>
            <c:bubble3D val="0"/>
            <c:spPr>
              <a:solidFill>
                <a:srgbClr val="AEABAB"/>
              </a:solidFill>
            </c:spPr>
            <c:extLst>
              <c:ext xmlns:c16="http://schemas.microsoft.com/office/drawing/2014/chart" uri="{C3380CC4-5D6E-409C-BE32-E72D297353CC}">
                <c16:uniqueId val="{000001BD-D24B-4B5A-AC8C-DEFE829A962E}"/>
              </c:ext>
            </c:extLst>
          </c:dPt>
          <c:dPt>
            <c:idx val="222"/>
            <c:invertIfNegative val="1"/>
            <c:bubble3D val="0"/>
            <c:spPr>
              <a:solidFill>
                <a:srgbClr val="AEABAB"/>
              </a:solidFill>
            </c:spPr>
            <c:extLst>
              <c:ext xmlns:c16="http://schemas.microsoft.com/office/drawing/2014/chart" uri="{C3380CC4-5D6E-409C-BE32-E72D297353CC}">
                <c16:uniqueId val="{000001BF-D24B-4B5A-AC8C-DEFE829A962E}"/>
              </c:ext>
            </c:extLst>
          </c:dPt>
          <c:dPt>
            <c:idx val="223"/>
            <c:invertIfNegative val="1"/>
            <c:bubble3D val="0"/>
            <c:spPr>
              <a:solidFill>
                <a:srgbClr val="AEABAB"/>
              </a:solidFill>
            </c:spPr>
            <c:extLst>
              <c:ext xmlns:c16="http://schemas.microsoft.com/office/drawing/2014/chart" uri="{C3380CC4-5D6E-409C-BE32-E72D297353CC}">
                <c16:uniqueId val="{000001C1-D24B-4B5A-AC8C-DEFE829A962E}"/>
              </c:ext>
            </c:extLst>
          </c:dPt>
          <c:dPt>
            <c:idx val="224"/>
            <c:invertIfNegative val="1"/>
            <c:bubble3D val="0"/>
            <c:spPr>
              <a:solidFill>
                <a:srgbClr val="AEABAB"/>
              </a:solidFill>
            </c:spPr>
            <c:extLst>
              <c:ext xmlns:c16="http://schemas.microsoft.com/office/drawing/2014/chart" uri="{C3380CC4-5D6E-409C-BE32-E72D297353CC}">
                <c16:uniqueId val="{000001C3-D24B-4B5A-AC8C-DEFE829A962E}"/>
              </c:ext>
            </c:extLst>
          </c:dPt>
          <c:dPt>
            <c:idx val="225"/>
            <c:invertIfNegative val="1"/>
            <c:bubble3D val="0"/>
            <c:spPr>
              <a:solidFill>
                <a:srgbClr val="AEABAB"/>
              </a:solidFill>
            </c:spPr>
            <c:extLst>
              <c:ext xmlns:c16="http://schemas.microsoft.com/office/drawing/2014/chart" uri="{C3380CC4-5D6E-409C-BE32-E72D297353CC}">
                <c16:uniqueId val="{000001C5-D24B-4B5A-AC8C-DEFE829A962E}"/>
              </c:ext>
            </c:extLst>
          </c:dPt>
          <c:dPt>
            <c:idx val="226"/>
            <c:invertIfNegative val="1"/>
            <c:bubble3D val="0"/>
            <c:spPr>
              <a:solidFill>
                <a:srgbClr val="AEABAB"/>
              </a:solidFill>
            </c:spPr>
            <c:extLst>
              <c:ext xmlns:c16="http://schemas.microsoft.com/office/drawing/2014/chart" uri="{C3380CC4-5D6E-409C-BE32-E72D297353CC}">
                <c16:uniqueId val="{000001C7-D24B-4B5A-AC8C-DEFE829A962E}"/>
              </c:ext>
            </c:extLst>
          </c:dPt>
          <c:dPt>
            <c:idx val="227"/>
            <c:invertIfNegative val="1"/>
            <c:bubble3D val="0"/>
            <c:spPr>
              <a:solidFill>
                <a:srgbClr val="AEABAB"/>
              </a:solidFill>
            </c:spPr>
            <c:extLst>
              <c:ext xmlns:c16="http://schemas.microsoft.com/office/drawing/2014/chart" uri="{C3380CC4-5D6E-409C-BE32-E72D297353CC}">
                <c16:uniqueId val="{000001C9-D24B-4B5A-AC8C-DEFE829A962E}"/>
              </c:ext>
            </c:extLst>
          </c:dPt>
          <c:dPt>
            <c:idx val="228"/>
            <c:invertIfNegative val="1"/>
            <c:bubble3D val="0"/>
            <c:spPr>
              <a:solidFill>
                <a:srgbClr val="AEABAB"/>
              </a:solidFill>
            </c:spPr>
            <c:extLst>
              <c:ext xmlns:c16="http://schemas.microsoft.com/office/drawing/2014/chart" uri="{C3380CC4-5D6E-409C-BE32-E72D297353CC}">
                <c16:uniqueId val="{000001CB-D24B-4B5A-AC8C-DEFE829A962E}"/>
              </c:ext>
            </c:extLst>
          </c:dPt>
          <c:dPt>
            <c:idx val="229"/>
            <c:invertIfNegative val="1"/>
            <c:bubble3D val="0"/>
            <c:spPr>
              <a:solidFill>
                <a:srgbClr val="AEABAB"/>
              </a:solidFill>
            </c:spPr>
            <c:extLst>
              <c:ext xmlns:c16="http://schemas.microsoft.com/office/drawing/2014/chart" uri="{C3380CC4-5D6E-409C-BE32-E72D297353CC}">
                <c16:uniqueId val="{000001CD-D24B-4B5A-AC8C-DEFE829A962E}"/>
              </c:ext>
            </c:extLst>
          </c:dPt>
          <c:dPt>
            <c:idx val="230"/>
            <c:invertIfNegative val="1"/>
            <c:bubble3D val="0"/>
            <c:spPr>
              <a:solidFill>
                <a:srgbClr val="AEABAB"/>
              </a:solidFill>
            </c:spPr>
            <c:extLst>
              <c:ext xmlns:c16="http://schemas.microsoft.com/office/drawing/2014/chart" uri="{C3380CC4-5D6E-409C-BE32-E72D297353CC}">
                <c16:uniqueId val="{000001CF-D24B-4B5A-AC8C-DEFE829A962E}"/>
              </c:ext>
            </c:extLst>
          </c:dPt>
          <c:dPt>
            <c:idx val="231"/>
            <c:invertIfNegative val="1"/>
            <c:bubble3D val="0"/>
            <c:spPr>
              <a:solidFill>
                <a:srgbClr val="AEABAB"/>
              </a:solidFill>
            </c:spPr>
            <c:extLst>
              <c:ext xmlns:c16="http://schemas.microsoft.com/office/drawing/2014/chart" uri="{C3380CC4-5D6E-409C-BE32-E72D297353CC}">
                <c16:uniqueId val="{000001D1-D24B-4B5A-AC8C-DEFE829A962E}"/>
              </c:ext>
            </c:extLst>
          </c:dPt>
          <c:dPt>
            <c:idx val="232"/>
            <c:invertIfNegative val="1"/>
            <c:bubble3D val="0"/>
            <c:spPr>
              <a:solidFill>
                <a:srgbClr val="AEABAB"/>
              </a:solidFill>
            </c:spPr>
            <c:extLst>
              <c:ext xmlns:c16="http://schemas.microsoft.com/office/drawing/2014/chart" uri="{C3380CC4-5D6E-409C-BE32-E72D297353CC}">
                <c16:uniqueId val="{000001D3-D24B-4B5A-AC8C-DEFE829A962E}"/>
              </c:ext>
            </c:extLst>
          </c:dPt>
          <c:dPt>
            <c:idx val="233"/>
            <c:invertIfNegative val="1"/>
            <c:bubble3D val="0"/>
            <c:spPr>
              <a:solidFill>
                <a:srgbClr val="AEABAB"/>
              </a:solidFill>
            </c:spPr>
            <c:extLst>
              <c:ext xmlns:c16="http://schemas.microsoft.com/office/drawing/2014/chart" uri="{C3380CC4-5D6E-409C-BE32-E72D297353CC}">
                <c16:uniqueId val="{000001D5-D24B-4B5A-AC8C-DEFE829A962E}"/>
              </c:ext>
            </c:extLst>
          </c:dPt>
          <c:dPt>
            <c:idx val="234"/>
            <c:invertIfNegative val="1"/>
            <c:bubble3D val="0"/>
            <c:spPr>
              <a:solidFill>
                <a:srgbClr val="AEABAB"/>
              </a:solidFill>
            </c:spPr>
            <c:extLst>
              <c:ext xmlns:c16="http://schemas.microsoft.com/office/drawing/2014/chart" uri="{C3380CC4-5D6E-409C-BE32-E72D297353CC}">
                <c16:uniqueId val="{000001D7-D24B-4B5A-AC8C-DEFE829A962E}"/>
              </c:ext>
            </c:extLst>
          </c:dPt>
          <c:dPt>
            <c:idx val="235"/>
            <c:invertIfNegative val="1"/>
            <c:bubble3D val="0"/>
            <c:spPr>
              <a:solidFill>
                <a:srgbClr val="AEABAB"/>
              </a:solidFill>
            </c:spPr>
            <c:extLst>
              <c:ext xmlns:c16="http://schemas.microsoft.com/office/drawing/2014/chart" uri="{C3380CC4-5D6E-409C-BE32-E72D297353CC}">
                <c16:uniqueId val="{000001D9-D24B-4B5A-AC8C-DEFE829A962E}"/>
              </c:ext>
            </c:extLst>
          </c:dPt>
          <c:dPt>
            <c:idx val="236"/>
            <c:invertIfNegative val="1"/>
            <c:bubble3D val="0"/>
            <c:spPr>
              <a:solidFill>
                <a:srgbClr val="AEABAB"/>
              </a:solidFill>
            </c:spPr>
            <c:extLst>
              <c:ext xmlns:c16="http://schemas.microsoft.com/office/drawing/2014/chart" uri="{C3380CC4-5D6E-409C-BE32-E72D297353CC}">
                <c16:uniqueId val="{000001DB-D24B-4B5A-AC8C-DEFE829A962E}"/>
              </c:ext>
            </c:extLst>
          </c:dPt>
          <c:dPt>
            <c:idx val="237"/>
            <c:invertIfNegative val="1"/>
            <c:bubble3D val="0"/>
            <c:spPr>
              <a:solidFill>
                <a:srgbClr val="AEABAB"/>
              </a:solidFill>
            </c:spPr>
            <c:extLst>
              <c:ext xmlns:c16="http://schemas.microsoft.com/office/drawing/2014/chart" uri="{C3380CC4-5D6E-409C-BE32-E72D297353CC}">
                <c16:uniqueId val="{000001DD-D24B-4B5A-AC8C-DEFE829A962E}"/>
              </c:ext>
            </c:extLst>
          </c:dPt>
          <c:dPt>
            <c:idx val="238"/>
            <c:invertIfNegative val="1"/>
            <c:bubble3D val="0"/>
            <c:spPr>
              <a:solidFill>
                <a:srgbClr val="AEABAB"/>
              </a:solidFill>
            </c:spPr>
            <c:extLst>
              <c:ext xmlns:c16="http://schemas.microsoft.com/office/drawing/2014/chart" uri="{C3380CC4-5D6E-409C-BE32-E72D297353CC}">
                <c16:uniqueId val="{000001DF-D24B-4B5A-AC8C-DEFE829A962E}"/>
              </c:ext>
            </c:extLst>
          </c:dPt>
          <c:dPt>
            <c:idx val="239"/>
            <c:invertIfNegative val="1"/>
            <c:bubble3D val="0"/>
            <c:spPr>
              <a:solidFill>
                <a:srgbClr val="AEABAB"/>
              </a:solidFill>
            </c:spPr>
            <c:extLst>
              <c:ext xmlns:c16="http://schemas.microsoft.com/office/drawing/2014/chart" uri="{C3380CC4-5D6E-409C-BE32-E72D297353CC}">
                <c16:uniqueId val="{000001E1-D24B-4B5A-AC8C-DEFE829A962E}"/>
              </c:ext>
            </c:extLst>
          </c:dPt>
          <c:dPt>
            <c:idx val="240"/>
            <c:invertIfNegative val="1"/>
            <c:bubble3D val="0"/>
            <c:spPr>
              <a:solidFill>
                <a:srgbClr val="AEABAB"/>
              </a:solidFill>
            </c:spPr>
            <c:extLst>
              <c:ext xmlns:c16="http://schemas.microsoft.com/office/drawing/2014/chart" uri="{C3380CC4-5D6E-409C-BE32-E72D297353CC}">
                <c16:uniqueId val="{000001E3-D24B-4B5A-AC8C-DEFE829A962E}"/>
              </c:ext>
            </c:extLst>
          </c:dPt>
          <c:dPt>
            <c:idx val="241"/>
            <c:invertIfNegative val="1"/>
            <c:bubble3D val="0"/>
            <c:spPr>
              <a:solidFill>
                <a:srgbClr val="AEABAB"/>
              </a:solidFill>
            </c:spPr>
            <c:extLst>
              <c:ext xmlns:c16="http://schemas.microsoft.com/office/drawing/2014/chart" uri="{C3380CC4-5D6E-409C-BE32-E72D297353CC}">
                <c16:uniqueId val="{000001E5-D24B-4B5A-AC8C-DEFE829A962E}"/>
              </c:ext>
            </c:extLst>
          </c:dPt>
          <c:dPt>
            <c:idx val="242"/>
            <c:invertIfNegative val="1"/>
            <c:bubble3D val="0"/>
            <c:spPr>
              <a:solidFill>
                <a:srgbClr val="AEABAB"/>
              </a:solidFill>
            </c:spPr>
            <c:extLst>
              <c:ext xmlns:c16="http://schemas.microsoft.com/office/drawing/2014/chart" uri="{C3380CC4-5D6E-409C-BE32-E72D297353CC}">
                <c16:uniqueId val="{000001E7-D24B-4B5A-AC8C-DEFE829A962E}"/>
              </c:ext>
            </c:extLst>
          </c:dPt>
          <c:dPt>
            <c:idx val="243"/>
            <c:invertIfNegative val="1"/>
            <c:bubble3D val="0"/>
            <c:spPr>
              <a:solidFill>
                <a:srgbClr val="AEABAB"/>
              </a:solidFill>
            </c:spPr>
            <c:extLst>
              <c:ext xmlns:c16="http://schemas.microsoft.com/office/drawing/2014/chart" uri="{C3380CC4-5D6E-409C-BE32-E72D297353CC}">
                <c16:uniqueId val="{000001E9-D24B-4B5A-AC8C-DEFE829A962E}"/>
              </c:ext>
            </c:extLst>
          </c:dPt>
          <c:dPt>
            <c:idx val="244"/>
            <c:invertIfNegative val="1"/>
            <c:bubble3D val="0"/>
            <c:spPr>
              <a:solidFill>
                <a:srgbClr val="AEABAB"/>
              </a:solidFill>
            </c:spPr>
            <c:extLst>
              <c:ext xmlns:c16="http://schemas.microsoft.com/office/drawing/2014/chart" uri="{C3380CC4-5D6E-409C-BE32-E72D297353CC}">
                <c16:uniqueId val="{000001EB-D24B-4B5A-AC8C-DEFE829A962E}"/>
              </c:ext>
            </c:extLst>
          </c:dPt>
          <c:dPt>
            <c:idx val="245"/>
            <c:invertIfNegative val="1"/>
            <c:bubble3D val="0"/>
            <c:spPr>
              <a:solidFill>
                <a:srgbClr val="AEABAB"/>
              </a:solidFill>
            </c:spPr>
            <c:extLst>
              <c:ext xmlns:c16="http://schemas.microsoft.com/office/drawing/2014/chart" uri="{C3380CC4-5D6E-409C-BE32-E72D297353CC}">
                <c16:uniqueId val="{000001ED-D24B-4B5A-AC8C-DEFE829A962E}"/>
              </c:ext>
            </c:extLst>
          </c:dPt>
          <c:dPt>
            <c:idx val="246"/>
            <c:invertIfNegative val="1"/>
            <c:bubble3D val="0"/>
            <c:spPr>
              <a:solidFill>
                <a:srgbClr val="AEABAB"/>
              </a:solidFill>
            </c:spPr>
            <c:extLst>
              <c:ext xmlns:c16="http://schemas.microsoft.com/office/drawing/2014/chart" uri="{C3380CC4-5D6E-409C-BE32-E72D297353CC}">
                <c16:uniqueId val="{000001EF-D24B-4B5A-AC8C-DEFE829A962E}"/>
              </c:ext>
            </c:extLst>
          </c:dPt>
          <c:dPt>
            <c:idx val="247"/>
            <c:invertIfNegative val="1"/>
            <c:bubble3D val="0"/>
            <c:spPr>
              <a:solidFill>
                <a:srgbClr val="AEABAB"/>
              </a:solidFill>
            </c:spPr>
            <c:extLst>
              <c:ext xmlns:c16="http://schemas.microsoft.com/office/drawing/2014/chart" uri="{C3380CC4-5D6E-409C-BE32-E72D297353CC}">
                <c16:uniqueId val="{000001F1-D24B-4B5A-AC8C-DEFE829A962E}"/>
              </c:ext>
            </c:extLst>
          </c:dPt>
          <c:dPt>
            <c:idx val="248"/>
            <c:invertIfNegative val="1"/>
            <c:bubble3D val="0"/>
            <c:spPr>
              <a:solidFill>
                <a:srgbClr val="AEABAB"/>
              </a:solidFill>
            </c:spPr>
            <c:extLst>
              <c:ext xmlns:c16="http://schemas.microsoft.com/office/drawing/2014/chart" uri="{C3380CC4-5D6E-409C-BE32-E72D297353CC}">
                <c16:uniqueId val="{000001F3-D24B-4B5A-AC8C-DEFE829A962E}"/>
              </c:ext>
            </c:extLst>
          </c:dPt>
          <c:dPt>
            <c:idx val="249"/>
            <c:invertIfNegative val="1"/>
            <c:bubble3D val="0"/>
            <c:spPr>
              <a:solidFill>
                <a:srgbClr val="AEABAB"/>
              </a:solidFill>
            </c:spPr>
            <c:extLst>
              <c:ext xmlns:c16="http://schemas.microsoft.com/office/drawing/2014/chart" uri="{C3380CC4-5D6E-409C-BE32-E72D297353CC}">
                <c16:uniqueId val="{000001F5-D24B-4B5A-AC8C-DEFE829A962E}"/>
              </c:ext>
            </c:extLst>
          </c:dPt>
          <c:dPt>
            <c:idx val="250"/>
            <c:invertIfNegative val="1"/>
            <c:bubble3D val="0"/>
            <c:spPr>
              <a:solidFill>
                <a:srgbClr val="AEABAB"/>
              </a:solidFill>
            </c:spPr>
            <c:extLst>
              <c:ext xmlns:c16="http://schemas.microsoft.com/office/drawing/2014/chart" uri="{C3380CC4-5D6E-409C-BE32-E72D297353CC}">
                <c16:uniqueId val="{000001F7-D24B-4B5A-AC8C-DEFE829A962E}"/>
              </c:ext>
            </c:extLst>
          </c:dPt>
          <c:dPt>
            <c:idx val="251"/>
            <c:invertIfNegative val="1"/>
            <c:bubble3D val="0"/>
            <c:spPr>
              <a:solidFill>
                <a:srgbClr val="AEABAB"/>
              </a:solidFill>
            </c:spPr>
            <c:extLst>
              <c:ext xmlns:c16="http://schemas.microsoft.com/office/drawing/2014/chart" uri="{C3380CC4-5D6E-409C-BE32-E72D297353CC}">
                <c16:uniqueId val="{000001F9-D24B-4B5A-AC8C-DEFE829A962E}"/>
              </c:ext>
            </c:extLst>
          </c:dPt>
          <c:dPt>
            <c:idx val="252"/>
            <c:invertIfNegative val="1"/>
            <c:bubble3D val="0"/>
            <c:spPr>
              <a:solidFill>
                <a:srgbClr val="AEABAB"/>
              </a:solidFill>
            </c:spPr>
            <c:extLst>
              <c:ext xmlns:c16="http://schemas.microsoft.com/office/drawing/2014/chart" uri="{C3380CC4-5D6E-409C-BE32-E72D297353CC}">
                <c16:uniqueId val="{000001FB-D24B-4B5A-AC8C-DEFE829A962E}"/>
              </c:ext>
            </c:extLst>
          </c:dPt>
          <c:dPt>
            <c:idx val="253"/>
            <c:invertIfNegative val="1"/>
            <c:bubble3D val="0"/>
            <c:spPr>
              <a:solidFill>
                <a:srgbClr val="AEABAB"/>
              </a:solidFill>
            </c:spPr>
            <c:extLst>
              <c:ext xmlns:c16="http://schemas.microsoft.com/office/drawing/2014/chart" uri="{C3380CC4-5D6E-409C-BE32-E72D297353CC}">
                <c16:uniqueId val="{000001FD-D24B-4B5A-AC8C-DEFE829A962E}"/>
              </c:ext>
            </c:extLst>
          </c:dPt>
          <c:dPt>
            <c:idx val="254"/>
            <c:invertIfNegative val="1"/>
            <c:bubble3D val="0"/>
            <c:spPr>
              <a:solidFill>
                <a:srgbClr val="AEABAB"/>
              </a:solidFill>
            </c:spPr>
            <c:extLst>
              <c:ext xmlns:c16="http://schemas.microsoft.com/office/drawing/2014/chart" uri="{C3380CC4-5D6E-409C-BE32-E72D297353CC}">
                <c16:uniqueId val="{000001FF-D24B-4B5A-AC8C-DEFE829A962E}"/>
              </c:ext>
            </c:extLst>
          </c:dPt>
          <c:dPt>
            <c:idx val="255"/>
            <c:invertIfNegative val="1"/>
            <c:bubble3D val="0"/>
            <c:spPr>
              <a:solidFill>
                <a:srgbClr val="AEABAB"/>
              </a:solidFill>
            </c:spPr>
            <c:extLst>
              <c:ext xmlns:c16="http://schemas.microsoft.com/office/drawing/2014/chart" uri="{C3380CC4-5D6E-409C-BE32-E72D297353CC}">
                <c16:uniqueId val="{00000201-D24B-4B5A-AC8C-DEFE829A962E}"/>
              </c:ext>
            </c:extLst>
          </c:dPt>
          <c:dPt>
            <c:idx val="256"/>
            <c:invertIfNegative val="1"/>
            <c:bubble3D val="0"/>
            <c:spPr>
              <a:solidFill>
                <a:srgbClr val="AEABAB"/>
              </a:solidFill>
            </c:spPr>
            <c:extLst>
              <c:ext xmlns:c16="http://schemas.microsoft.com/office/drawing/2014/chart" uri="{C3380CC4-5D6E-409C-BE32-E72D297353CC}">
                <c16:uniqueId val="{00000203-D24B-4B5A-AC8C-DEFE829A962E}"/>
              </c:ext>
            </c:extLst>
          </c:dPt>
          <c:dPt>
            <c:idx val="257"/>
            <c:invertIfNegative val="1"/>
            <c:bubble3D val="0"/>
            <c:spPr>
              <a:solidFill>
                <a:srgbClr val="AEABAB"/>
              </a:solidFill>
            </c:spPr>
            <c:extLst>
              <c:ext xmlns:c16="http://schemas.microsoft.com/office/drawing/2014/chart" uri="{C3380CC4-5D6E-409C-BE32-E72D297353CC}">
                <c16:uniqueId val="{00000205-D24B-4B5A-AC8C-DEFE829A962E}"/>
              </c:ext>
            </c:extLst>
          </c:dPt>
          <c:dPt>
            <c:idx val="258"/>
            <c:invertIfNegative val="1"/>
            <c:bubble3D val="0"/>
            <c:spPr>
              <a:solidFill>
                <a:srgbClr val="AEABAB"/>
              </a:solidFill>
            </c:spPr>
            <c:extLst>
              <c:ext xmlns:c16="http://schemas.microsoft.com/office/drawing/2014/chart" uri="{C3380CC4-5D6E-409C-BE32-E72D297353CC}">
                <c16:uniqueId val="{00000207-D24B-4B5A-AC8C-DEFE829A962E}"/>
              </c:ext>
            </c:extLst>
          </c:dPt>
          <c:dPt>
            <c:idx val="259"/>
            <c:invertIfNegative val="1"/>
            <c:bubble3D val="0"/>
            <c:spPr>
              <a:solidFill>
                <a:srgbClr val="AEABAB"/>
              </a:solidFill>
            </c:spPr>
            <c:extLst>
              <c:ext xmlns:c16="http://schemas.microsoft.com/office/drawing/2014/chart" uri="{C3380CC4-5D6E-409C-BE32-E72D297353CC}">
                <c16:uniqueId val="{00000209-D24B-4B5A-AC8C-DEFE829A962E}"/>
              </c:ext>
            </c:extLst>
          </c:dPt>
          <c:dPt>
            <c:idx val="260"/>
            <c:invertIfNegative val="1"/>
            <c:bubble3D val="0"/>
            <c:spPr>
              <a:solidFill>
                <a:srgbClr val="AEABAB"/>
              </a:solidFill>
            </c:spPr>
            <c:extLst>
              <c:ext xmlns:c16="http://schemas.microsoft.com/office/drawing/2014/chart" uri="{C3380CC4-5D6E-409C-BE32-E72D297353CC}">
                <c16:uniqueId val="{0000020B-D24B-4B5A-AC8C-DEFE829A962E}"/>
              </c:ext>
            </c:extLst>
          </c:dPt>
          <c:dPt>
            <c:idx val="261"/>
            <c:invertIfNegative val="1"/>
            <c:bubble3D val="0"/>
            <c:spPr>
              <a:solidFill>
                <a:srgbClr val="AEABAB"/>
              </a:solidFill>
            </c:spPr>
            <c:extLst>
              <c:ext xmlns:c16="http://schemas.microsoft.com/office/drawing/2014/chart" uri="{C3380CC4-5D6E-409C-BE32-E72D297353CC}">
                <c16:uniqueId val="{0000020D-D24B-4B5A-AC8C-DEFE829A962E}"/>
              </c:ext>
            </c:extLst>
          </c:dPt>
          <c:dPt>
            <c:idx val="262"/>
            <c:invertIfNegative val="1"/>
            <c:bubble3D val="0"/>
            <c:spPr>
              <a:solidFill>
                <a:srgbClr val="AEABAB"/>
              </a:solidFill>
            </c:spPr>
            <c:extLst>
              <c:ext xmlns:c16="http://schemas.microsoft.com/office/drawing/2014/chart" uri="{C3380CC4-5D6E-409C-BE32-E72D297353CC}">
                <c16:uniqueId val="{0000020F-D24B-4B5A-AC8C-DEFE829A962E}"/>
              </c:ext>
            </c:extLst>
          </c:dPt>
          <c:dPt>
            <c:idx val="263"/>
            <c:invertIfNegative val="1"/>
            <c:bubble3D val="0"/>
            <c:spPr>
              <a:solidFill>
                <a:srgbClr val="AEABAB"/>
              </a:solidFill>
            </c:spPr>
            <c:extLst>
              <c:ext xmlns:c16="http://schemas.microsoft.com/office/drawing/2014/chart" uri="{C3380CC4-5D6E-409C-BE32-E72D297353CC}">
                <c16:uniqueId val="{00000211-D24B-4B5A-AC8C-DEFE829A962E}"/>
              </c:ext>
            </c:extLst>
          </c:dPt>
          <c:dPt>
            <c:idx val="264"/>
            <c:invertIfNegative val="1"/>
            <c:bubble3D val="0"/>
            <c:spPr>
              <a:solidFill>
                <a:srgbClr val="AEABAB"/>
              </a:solidFill>
            </c:spPr>
            <c:extLst>
              <c:ext xmlns:c16="http://schemas.microsoft.com/office/drawing/2014/chart" uri="{C3380CC4-5D6E-409C-BE32-E72D297353CC}">
                <c16:uniqueId val="{00000213-D24B-4B5A-AC8C-DEFE829A962E}"/>
              </c:ext>
            </c:extLst>
          </c:dPt>
          <c:dPt>
            <c:idx val="265"/>
            <c:invertIfNegative val="1"/>
            <c:bubble3D val="0"/>
            <c:spPr>
              <a:solidFill>
                <a:srgbClr val="AEABAB"/>
              </a:solidFill>
            </c:spPr>
            <c:extLst>
              <c:ext xmlns:c16="http://schemas.microsoft.com/office/drawing/2014/chart" uri="{C3380CC4-5D6E-409C-BE32-E72D297353CC}">
                <c16:uniqueId val="{00000215-D24B-4B5A-AC8C-DEFE829A962E}"/>
              </c:ext>
            </c:extLst>
          </c:dPt>
          <c:dPt>
            <c:idx val="266"/>
            <c:invertIfNegative val="1"/>
            <c:bubble3D val="0"/>
            <c:spPr>
              <a:solidFill>
                <a:srgbClr val="AEABAB"/>
              </a:solidFill>
            </c:spPr>
            <c:extLst>
              <c:ext xmlns:c16="http://schemas.microsoft.com/office/drawing/2014/chart" uri="{C3380CC4-5D6E-409C-BE32-E72D297353CC}">
                <c16:uniqueId val="{00000217-D24B-4B5A-AC8C-DEFE829A962E}"/>
              </c:ext>
            </c:extLst>
          </c:dPt>
          <c:dPt>
            <c:idx val="267"/>
            <c:invertIfNegative val="1"/>
            <c:bubble3D val="0"/>
            <c:spPr>
              <a:solidFill>
                <a:srgbClr val="AEABAB"/>
              </a:solidFill>
            </c:spPr>
            <c:extLst>
              <c:ext xmlns:c16="http://schemas.microsoft.com/office/drawing/2014/chart" uri="{C3380CC4-5D6E-409C-BE32-E72D297353CC}">
                <c16:uniqueId val="{00000219-D24B-4B5A-AC8C-DEFE829A962E}"/>
              </c:ext>
            </c:extLst>
          </c:dPt>
          <c:dPt>
            <c:idx val="268"/>
            <c:invertIfNegative val="1"/>
            <c:bubble3D val="0"/>
            <c:spPr>
              <a:solidFill>
                <a:srgbClr val="AEABAB"/>
              </a:solidFill>
            </c:spPr>
            <c:extLst>
              <c:ext xmlns:c16="http://schemas.microsoft.com/office/drawing/2014/chart" uri="{C3380CC4-5D6E-409C-BE32-E72D297353CC}">
                <c16:uniqueId val="{0000021B-D24B-4B5A-AC8C-DEFE829A962E}"/>
              </c:ext>
            </c:extLst>
          </c:dPt>
          <c:dPt>
            <c:idx val="269"/>
            <c:invertIfNegative val="1"/>
            <c:bubble3D val="0"/>
            <c:spPr>
              <a:solidFill>
                <a:srgbClr val="AEABAB"/>
              </a:solidFill>
            </c:spPr>
            <c:extLst>
              <c:ext xmlns:c16="http://schemas.microsoft.com/office/drawing/2014/chart" uri="{C3380CC4-5D6E-409C-BE32-E72D297353CC}">
                <c16:uniqueId val="{0000021D-D24B-4B5A-AC8C-DEFE829A962E}"/>
              </c:ext>
            </c:extLst>
          </c:dPt>
          <c:dPt>
            <c:idx val="270"/>
            <c:invertIfNegative val="1"/>
            <c:bubble3D val="0"/>
            <c:spPr>
              <a:solidFill>
                <a:srgbClr val="AEABAB"/>
              </a:solidFill>
            </c:spPr>
            <c:extLst>
              <c:ext xmlns:c16="http://schemas.microsoft.com/office/drawing/2014/chart" uri="{C3380CC4-5D6E-409C-BE32-E72D297353CC}">
                <c16:uniqueId val="{0000021F-D24B-4B5A-AC8C-DEFE829A962E}"/>
              </c:ext>
            </c:extLst>
          </c:dPt>
          <c:dPt>
            <c:idx val="271"/>
            <c:invertIfNegative val="1"/>
            <c:bubble3D val="0"/>
            <c:spPr>
              <a:solidFill>
                <a:srgbClr val="AEABAB"/>
              </a:solidFill>
            </c:spPr>
            <c:extLst>
              <c:ext xmlns:c16="http://schemas.microsoft.com/office/drawing/2014/chart" uri="{C3380CC4-5D6E-409C-BE32-E72D297353CC}">
                <c16:uniqueId val="{00000221-D24B-4B5A-AC8C-DEFE829A962E}"/>
              </c:ext>
            </c:extLst>
          </c:dPt>
          <c:dPt>
            <c:idx val="272"/>
            <c:invertIfNegative val="1"/>
            <c:bubble3D val="0"/>
            <c:spPr>
              <a:solidFill>
                <a:srgbClr val="AEABAB"/>
              </a:solidFill>
            </c:spPr>
            <c:extLst>
              <c:ext xmlns:c16="http://schemas.microsoft.com/office/drawing/2014/chart" uri="{C3380CC4-5D6E-409C-BE32-E72D297353CC}">
                <c16:uniqueId val="{00000223-D24B-4B5A-AC8C-DEFE829A962E}"/>
              </c:ext>
            </c:extLst>
          </c:dPt>
          <c:dPt>
            <c:idx val="273"/>
            <c:invertIfNegative val="1"/>
            <c:bubble3D val="0"/>
            <c:spPr>
              <a:solidFill>
                <a:srgbClr val="AEABAB"/>
              </a:solidFill>
            </c:spPr>
            <c:extLst>
              <c:ext xmlns:c16="http://schemas.microsoft.com/office/drawing/2014/chart" uri="{C3380CC4-5D6E-409C-BE32-E72D297353CC}">
                <c16:uniqueId val="{00000225-D24B-4B5A-AC8C-DEFE829A962E}"/>
              </c:ext>
            </c:extLst>
          </c:dPt>
          <c:dPt>
            <c:idx val="274"/>
            <c:invertIfNegative val="1"/>
            <c:bubble3D val="0"/>
            <c:spPr>
              <a:solidFill>
                <a:srgbClr val="AEABAB"/>
              </a:solidFill>
            </c:spPr>
            <c:extLst>
              <c:ext xmlns:c16="http://schemas.microsoft.com/office/drawing/2014/chart" uri="{C3380CC4-5D6E-409C-BE32-E72D297353CC}">
                <c16:uniqueId val="{00000227-D24B-4B5A-AC8C-DEFE829A962E}"/>
              </c:ext>
            </c:extLst>
          </c:dPt>
          <c:dPt>
            <c:idx val="275"/>
            <c:invertIfNegative val="1"/>
            <c:bubble3D val="0"/>
            <c:spPr>
              <a:solidFill>
                <a:srgbClr val="AEABAB"/>
              </a:solidFill>
            </c:spPr>
            <c:extLst>
              <c:ext xmlns:c16="http://schemas.microsoft.com/office/drawing/2014/chart" uri="{C3380CC4-5D6E-409C-BE32-E72D297353CC}">
                <c16:uniqueId val="{00000229-D24B-4B5A-AC8C-DEFE829A962E}"/>
              </c:ext>
            </c:extLst>
          </c:dPt>
          <c:dPt>
            <c:idx val="276"/>
            <c:invertIfNegative val="1"/>
            <c:bubble3D val="0"/>
            <c:spPr>
              <a:solidFill>
                <a:srgbClr val="AEABAB"/>
              </a:solidFill>
            </c:spPr>
            <c:extLst>
              <c:ext xmlns:c16="http://schemas.microsoft.com/office/drawing/2014/chart" uri="{C3380CC4-5D6E-409C-BE32-E72D297353CC}">
                <c16:uniqueId val="{0000022B-D24B-4B5A-AC8C-DEFE829A962E}"/>
              </c:ext>
            </c:extLst>
          </c:dPt>
          <c:dPt>
            <c:idx val="277"/>
            <c:invertIfNegative val="1"/>
            <c:bubble3D val="0"/>
            <c:spPr>
              <a:solidFill>
                <a:srgbClr val="AEABAB"/>
              </a:solidFill>
            </c:spPr>
            <c:extLst>
              <c:ext xmlns:c16="http://schemas.microsoft.com/office/drawing/2014/chart" uri="{C3380CC4-5D6E-409C-BE32-E72D297353CC}">
                <c16:uniqueId val="{0000022D-D24B-4B5A-AC8C-DEFE829A962E}"/>
              </c:ext>
            </c:extLst>
          </c:dPt>
          <c:dPt>
            <c:idx val="278"/>
            <c:invertIfNegative val="1"/>
            <c:bubble3D val="0"/>
            <c:spPr>
              <a:solidFill>
                <a:srgbClr val="AEABAB"/>
              </a:solidFill>
            </c:spPr>
            <c:extLst>
              <c:ext xmlns:c16="http://schemas.microsoft.com/office/drawing/2014/chart" uri="{C3380CC4-5D6E-409C-BE32-E72D297353CC}">
                <c16:uniqueId val="{0000022F-D24B-4B5A-AC8C-DEFE829A962E}"/>
              </c:ext>
            </c:extLst>
          </c:dPt>
          <c:dPt>
            <c:idx val="279"/>
            <c:invertIfNegative val="1"/>
            <c:bubble3D val="0"/>
            <c:spPr>
              <a:solidFill>
                <a:srgbClr val="AEABAB"/>
              </a:solidFill>
            </c:spPr>
            <c:extLst>
              <c:ext xmlns:c16="http://schemas.microsoft.com/office/drawing/2014/chart" uri="{C3380CC4-5D6E-409C-BE32-E72D297353CC}">
                <c16:uniqueId val="{00000231-D24B-4B5A-AC8C-DEFE829A962E}"/>
              </c:ext>
            </c:extLst>
          </c:dPt>
          <c:dPt>
            <c:idx val="280"/>
            <c:invertIfNegative val="1"/>
            <c:bubble3D val="0"/>
            <c:spPr>
              <a:solidFill>
                <a:srgbClr val="AEABAB"/>
              </a:solidFill>
            </c:spPr>
            <c:extLst>
              <c:ext xmlns:c16="http://schemas.microsoft.com/office/drawing/2014/chart" uri="{C3380CC4-5D6E-409C-BE32-E72D297353CC}">
                <c16:uniqueId val="{00000233-D24B-4B5A-AC8C-DEFE829A962E}"/>
              </c:ext>
            </c:extLst>
          </c:dPt>
          <c:dPt>
            <c:idx val="281"/>
            <c:invertIfNegative val="1"/>
            <c:bubble3D val="0"/>
            <c:spPr>
              <a:solidFill>
                <a:srgbClr val="AEABAB"/>
              </a:solidFill>
            </c:spPr>
            <c:extLst>
              <c:ext xmlns:c16="http://schemas.microsoft.com/office/drawing/2014/chart" uri="{C3380CC4-5D6E-409C-BE32-E72D297353CC}">
                <c16:uniqueId val="{00000235-D24B-4B5A-AC8C-DEFE829A962E}"/>
              </c:ext>
            </c:extLst>
          </c:dPt>
          <c:dPt>
            <c:idx val="282"/>
            <c:invertIfNegative val="1"/>
            <c:bubble3D val="0"/>
            <c:spPr>
              <a:solidFill>
                <a:srgbClr val="AEABAB"/>
              </a:solidFill>
            </c:spPr>
            <c:extLst>
              <c:ext xmlns:c16="http://schemas.microsoft.com/office/drawing/2014/chart" uri="{C3380CC4-5D6E-409C-BE32-E72D297353CC}">
                <c16:uniqueId val="{00000237-D24B-4B5A-AC8C-DEFE829A962E}"/>
              </c:ext>
            </c:extLst>
          </c:dPt>
          <c:dPt>
            <c:idx val="283"/>
            <c:invertIfNegative val="1"/>
            <c:bubble3D val="0"/>
            <c:spPr>
              <a:solidFill>
                <a:srgbClr val="AEABAB"/>
              </a:solidFill>
            </c:spPr>
            <c:extLst>
              <c:ext xmlns:c16="http://schemas.microsoft.com/office/drawing/2014/chart" uri="{C3380CC4-5D6E-409C-BE32-E72D297353CC}">
                <c16:uniqueId val="{00000239-D24B-4B5A-AC8C-DEFE829A962E}"/>
              </c:ext>
            </c:extLst>
          </c:dPt>
          <c:dPt>
            <c:idx val="284"/>
            <c:invertIfNegative val="1"/>
            <c:bubble3D val="0"/>
            <c:spPr>
              <a:solidFill>
                <a:srgbClr val="AEABAB"/>
              </a:solidFill>
            </c:spPr>
            <c:extLst>
              <c:ext xmlns:c16="http://schemas.microsoft.com/office/drawing/2014/chart" uri="{C3380CC4-5D6E-409C-BE32-E72D297353CC}">
                <c16:uniqueId val="{0000023B-D24B-4B5A-AC8C-DEFE829A962E}"/>
              </c:ext>
            </c:extLst>
          </c:dPt>
          <c:dPt>
            <c:idx val="285"/>
            <c:invertIfNegative val="1"/>
            <c:bubble3D val="0"/>
            <c:spPr>
              <a:solidFill>
                <a:srgbClr val="AEABAB"/>
              </a:solidFill>
            </c:spPr>
            <c:extLst>
              <c:ext xmlns:c16="http://schemas.microsoft.com/office/drawing/2014/chart" uri="{C3380CC4-5D6E-409C-BE32-E72D297353CC}">
                <c16:uniqueId val="{0000023D-D24B-4B5A-AC8C-DEFE829A962E}"/>
              </c:ext>
            </c:extLst>
          </c:dPt>
          <c:dPt>
            <c:idx val="286"/>
            <c:invertIfNegative val="1"/>
            <c:bubble3D val="0"/>
            <c:spPr>
              <a:solidFill>
                <a:srgbClr val="AEABAB"/>
              </a:solidFill>
            </c:spPr>
            <c:extLst>
              <c:ext xmlns:c16="http://schemas.microsoft.com/office/drawing/2014/chart" uri="{C3380CC4-5D6E-409C-BE32-E72D297353CC}">
                <c16:uniqueId val="{0000023F-D24B-4B5A-AC8C-DEFE829A962E}"/>
              </c:ext>
            </c:extLst>
          </c:dPt>
          <c:dPt>
            <c:idx val="287"/>
            <c:invertIfNegative val="1"/>
            <c:bubble3D val="0"/>
            <c:spPr>
              <a:solidFill>
                <a:srgbClr val="AEABAB"/>
              </a:solidFill>
            </c:spPr>
            <c:extLst>
              <c:ext xmlns:c16="http://schemas.microsoft.com/office/drawing/2014/chart" uri="{C3380CC4-5D6E-409C-BE32-E72D297353CC}">
                <c16:uniqueId val="{00000241-D24B-4B5A-AC8C-DEFE829A962E}"/>
              </c:ext>
            </c:extLst>
          </c:dPt>
          <c:dPt>
            <c:idx val="288"/>
            <c:invertIfNegative val="1"/>
            <c:bubble3D val="0"/>
            <c:spPr>
              <a:solidFill>
                <a:srgbClr val="AEABAB"/>
              </a:solidFill>
            </c:spPr>
            <c:extLst>
              <c:ext xmlns:c16="http://schemas.microsoft.com/office/drawing/2014/chart" uri="{C3380CC4-5D6E-409C-BE32-E72D297353CC}">
                <c16:uniqueId val="{00000243-D24B-4B5A-AC8C-DEFE829A962E}"/>
              </c:ext>
            </c:extLst>
          </c:dPt>
          <c:dPt>
            <c:idx val="289"/>
            <c:invertIfNegative val="1"/>
            <c:bubble3D val="0"/>
            <c:spPr>
              <a:solidFill>
                <a:srgbClr val="AEABAB"/>
              </a:solidFill>
            </c:spPr>
            <c:extLst>
              <c:ext xmlns:c16="http://schemas.microsoft.com/office/drawing/2014/chart" uri="{C3380CC4-5D6E-409C-BE32-E72D297353CC}">
                <c16:uniqueId val="{00000245-D24B-4B5A-AC8C-DEFE829A962E}"/>
              </c:ext>
            </c:extLst>
          </c:dPt>
          <c:dPt>
            <c:idx val="290"/>
            <c:invertIfNegative val="1"/>
            <c:bubble3D val="0"/>
            <c:spPr>
              <a:solidFill>
                <a:srgbClr val="AEABAB"/>
              </a:solidFill>
            </c:spPr>
            <c:extLst>
              <c:ext xmlns:c16="http://schemas.microsoft.com/office/drawing/2014/chart" uri="{C3380CC4-5D6E-409C-BE32-E72D297353CC}">
                <c16:uniqueId val="{00000247-D24B-4B5A-AC8C-DEFE829A962E}"/>
              </c:ext>
            </c:extLst>
          </c:dPt>
          <c:dPt>
            <c:idx val="291"/>
            <c:invertIfNegative val="1"/>
            <c:bubble3D val="0"/>
            <c:spPr>
              <a:solidFill>
                <a:srgbClr val="AEABAB"/>
              </a:solidFill>
            </c:spPr>
            <c:extLst>
              <c:ext xmlns:c16="http://schemas.microsoft.com/office/drawing/2014/chart" uri="{C3380CC4-5D6E-409C-BE32-E72D297353CC}">
                <c16:uniqueId val="{00000249-D24B-4B5A-AC8C-DEFE829A962E}"/>
              </c:ext>
            </c:extLst>
          </c:dPt>
          <c:dPt>
            <c:idx val="292"/>
            <c:invertIfNegative val="1"/>
            <c:bubble3D val="0"/>
            <c:spPr>
              <a:solidFill>
                <a:srgbClr val="AEABAB"/>
              </a:solidFill>
            </c:spPr>
            <c:extLst>
              <c:ext xmlns:c16="http://schemas.microsoft.com/office/drawing/2014/chart" uri="{C3380CC4-5D6E-409C-BE32-E72D297353CC}">
                <c16:uniqueId val="{0000024B-D24B-4B5A-AC8C-DEFE829A962E}"/>
              </c:ext>
            </c:extLst>
          </c:dPt>
          <c:dPt>
            <c:idx val="293"/>
            <c:invertIfNegative val="1"/>
            <c:bubble3D val="0"/>
            <c:spPr>
              <a:solidFill>
                <a:srgbClr val="AEABAB"/>
              </a:solidFill>
            </c:spPr>
            <c:extLst>
              <c:ext xmlns:c16="http://schemas.microsoft.com/office/drawing/2014/chart" uri="{C3380CC4-5D6E-409C-BE32-E72D297353CC}">
                <c16:uniqueId val="{0000024D-D24B-4B5A-AC8C-DEFE829A962E}"/>
              </c:ext>
            </c:extLst>
          </c:dPt>
          <c:dPt>
            <c:idx val="294"/>
            <c:invertIfNegative val="1"/>
            <c:bubble3D val="0"/>
            <c:spPr>
              <a:solidFill>
                <a:srgbClr val="AEABAB"/>
              </a:solidFill>
            </c:spPr>
            <c:extLst>
              <c:ext xmlns:c16="http://schemas.microsoft.com/office/drawing/2014/chart" uri="{C3380CC4-5D6E-409C-BE32-E72D297353CC}">
                <c16:uniqueId val="{0000024F-D24B-4B5A-AC8C-DEFE829A962E}"/>
              </c:ext>
            </c:extLst>
          </c:dPt>
          <c:dPt>
            <c:idx val="295"/>
            <c:invertIfNegative val="1"/>
            <c:bubble3D val="0"/>
            <c:spPr>
              <a:solidFill>
                <a:srgbClr val="AEABAB"/>
              </a:solidFill>
            </c:spPr>
            <c:extLst>
              <c:ext xmlns:c16="http://schemas.microsoft.com/office/drawing/2014/chart" uri="{C3380CC4-5D6E-409C-BE32-E72D297353CC}">
                <c16:uniqueId val="{00000251-D24B-4B5A-AC8C-DEFE829A962E}"/>
              </c:ext>
            </c:extLst>
          </c:dPt>
          <c:dPt>
            <c:idx val="296"/>
            <c:invertIfNegative val="1"/>
            <c:bubble3D val="0"/>
            <c:spPr>
              <a:solidFill>
                <a:srgbClr val="AEABAB"/>
              </a:solidFill>
            </c:spPr>
            <c:extLst>
              <c:ext xmlns:c16="http://schemas.microsoft.com/office/drawing/2014/chart" uri="{C3380CC4-5D6E-409C-BE32-E72D297353CC}">
                <c16:uniqueId val="{00000253-D24B-4B5A-AC8C-DEFE829A962E}"/>
              </c:ext>
            </c:extLst>
          </c:dPt>
          <c:dPt>
            <c:idx val="297"/>
            <c:invertIfNegative val="1"/>
            <c:bubble3D val="0"/>
            <c:spPr>
              <a:solidFill>
                <a:srgbClr val="AEABAB"/>
              </a:solidFill>
            </c:spPr>
            <c:extLst>
              <c:ext xmlns:c16="http://schemas.microsoft.com/office/drawing/2014/chart" uri="{C3380CC4-5D6E-409C-BE32-E72D297353CC}">
                <c16:uniqueId val="{00000255-D24B-4B5A-AC8C-DEFE829A962E}"/>
              </c:ext>
            </c:extLst>
          </c:dPt>
          <c:dPt>
            <c:idx val="298"/>
            <c:invertIfNegative val="1"/>
            <c:bubble3D val="0"/>
            <c:spPr>
              <a:solidFill>
                <a:srgbClr val="AEABAB"/>
              </a:solidFill>
            </c:spPr>
            <c:extLst>
              <c:ext xmlns:c16="http://schemas.microsoft.com/office/drawing/2014/chart" uri="{C3380CC4-5D6E-409C-BE32-E72D297353CC}">
                <c16:uniqueId val="{00000257-D24B-4B5A-AC8C-DEFE829A962E}"/>
              </c:ext>
            </c:extLst>
          </c:dPt>
          <c:dPt>
            <c:idx val="299"/>
            <c:invertIfNegative val="1"/>
            <c:bubble3D val="0"/>
            <c:spPr>
              <a:solidFill>
                <a:srgbClr val="AEABAB"/>
              </a:solidFill>
            </c:spPr>
            <c:extLst>
              <c:ext xmlns:c16="http://schemas.microsoft.com/office/drawing/2014/chart" uri="{C3380CC4-5D6E-409C-BE32-E72D297353CC}">
                <c16:uniqueId val="{00000259-D24B-4B5A-AC8C-DEFE829A962E}"/>
              </c:ext>
            </c:extLst>
          </c:dPt>
          <c:dPt>
            <c:idx val="300"/>
            <c:invertIfNegative val="1"/>
            <c:bubble3D val="0"/>
            <c:spPr>
              <a:solidFill>
                <a:srgbClr val="AEABAB"/>
              </a:solidFill>
            </c:spPr>
            <c:extLst>
              <c:ext xmlns:c16="http://schemas.microsoft.com/office/drawing/2014/chart" uri="{C3380CC4-5D6E-409C-BE32-E72D297353CC}">
                <c16:uniqueId val="{0000025B-D24B-4B5A-AC8C-DEFE829A962E}"/>
              </c:ext>
            </c:extLst>
          </c:dPt>
          <c:dPt>
            <c:idx val="301"/>
            <c:invertIfNegative val="1"/>
            <c:bubble3D val="0"/>
            <c:spPr>
              <a:solidFill>
                <a:srgbClr val="AEABAB"/>
              </a:solidFill>
            </c:spPr>
            <c:extLst>
              <c:ext xmlns:c16="http://schemas.microsoft.com/office/drawing/2014/chart" uri="{C3380CC4-5D6E-409C-BE32-E72D297353CC}">
                <c16:uniqueId val="{0000025D-D24B-4B5A-AC8C-DEFE829A962E}"/>
              </c:ext>
            </c:extLst>
          </c:dPt>
          <c:dPt>
            <c:idx val="302"/>
            <c:invertIfNegative val="1"/>
            <c:bubble3D val="0"/>
            <c:spPr>
              <a:solidFill>
                <a:srgbClr val="AEABAB"/>
              </a:solidFill>
            </c:spPr>
            <c:extLst>
              <c:ext xmlns:c16="http://schemas.microsoft.com/office/drawing/2014/chart" uri="{C3380CC4-5D6E-409C-BE32-E72D297353CC}">
                <c16:uniqueId val="{0000025F-D24B-4B5A-AC8C-DEFE829A962E}"/>
              </c:ext>
            </c:extLst>
          </c:dPt>
          <c:dPt>
            <c:idx val="303"/>
            <c:invertIfNegative val="1"/>
            <c:bubble3D val="0"/>
            <c:spPr>
              <a:solidFill>
                <a:srgbClr val="AEABAB"/>
              </a:solidFill>
            </c:spPr>
            <c:extLst>
              <c:ext xmlns:c16="http://schemas.microsoft.com/office/drawing/2014/chart" uri="{C3380CC4-5D6E-409C-BE32-E72D297353CC}">
                <c16:uniqueId val="{00000261-D24B-4B5A-AC8C-DEFE829A962E}"/>
              </c:ext>
            </c:extLst>
          </c:dPt>
          <c:dPt>
            <c:idx val="304"/>
            <c:invertIfNegative val="1"/>
            <c:bubble3D val="0"/>
            <c:spPr>
              <a:solidFill>
                <a:srgbClr val="AEABAB"/>
              </a:solidFill>
            </c:spPr>
            <c:extLst>
              <c:ext xmlns:c16="http://schemas.microsoft.com/office/drawing/2014/chart" uri="{C3380CC4-5D6E-409C-BE32-E72D297353CC}">
                <c16:uniqueId val="{00000263-D24B-4B5A-AC8C-DEFE829A962E}"/>
              </c:ext>
            </c:extLst>
          </c:dPt>
          <c:dPt>
            <c:idx val="305"/>
            <c:invertIfNegative val="1"/>
            <c:bubble3D val="0"/>
            <c:spPr>
              <a:solidFill>
                <a:srgbClr val="AEABAB"/>
              </a:solidFill>
            </c:spPr>
            <c:extLst>
              <c:ext xmlns:c16="http://schemas.microsoft.com/office/drawing/2014/chart" uri="{C3380CC4-5D6E-409C-BE32-E72D297353CC}">
                <c16:uniqueId val="{00000265-D24B-4B5A-AC8C-DEFE829A962E}"/>
              </c:ext>
            </c:extLst>
          </c:dPt>
          <c:dPt>
            <c:idx val="306"/>
            <c:invertIfNegative val="1"/>
            <c:bubble3D val="0"/>
            <c:spPr>
              <a:solidFill>
                <a:srgbClr val="AEABAB"/>
              </a:solidFill>
            </c:spPr>
            <c:extLst>
              <c:ext xmlns:c16="http://schemas.microsoft.com/office/drawing/2014/chart" uri="{C3380CC4-5D6E-409C-BE32-E72D297353CC}">
                <c16:uniqueId val="{00000267-D24B-4B5A-AC8C-DEFE829A962E}"/>
              </c:ext>
            </c:extLst>
          </c:dPt>
          <c:dPt>
            <c:idx val="307"/>
            <c:invertIfNegative val="1"/>
            <c:bubble3D val="0"/>
            <c:spPr>
              <a:solidFill>
                <a:srgbClr val="AEABAB"/>
              </a:solidFill>
            </c:spPr>
            <c:extLst>
              <c:ext xmlns:c16="http://schemas.microsoft.com/office/drawing/2014/chart" uri="{C3380CC4-5D6E-409C-BE32-E72D297353CC}">
                <c16:uniqueId val="{00000269-D24B-4B5A-AC8C-DEFE829A962E}"/>
              </c:ext>
            </c:extLst>
          </c:dPt>
          <c:dPt>
            <c:idx val="308"/>
            <c:invertIfNegative val="1"/>
            <c:bubble3D val="0"/>
            <c:spPr>
              <a:solidFill>
                <a:srgbClr val="AEABAB"/>
              </a:solidFill>
            </c:spPr>
            <c:extLst>
              <c:ext xmlns:c16="http://schemas.microsoft.com/office/drawing/2014/chart" uri="{C3380CC4-5D6E-409C-BE32-E72D297353CC}">
                <c16:uniqueId val="{0000026B-D24B-4B5A-AC8C-DEFE829A962E}"/>
              </c:ext>
            </c:extLst>
          </c:dPt>
          <c:dPt>
            <c:idx val="309"/>
            <c:invertIfNegative val="1"/>
            <c:bubble3D val="0"/>
            <c:spPr>
              <a:solidFill>
                <a:srgbClr val="AEABAB"/>
              </a:solidFill>
            </c:spPr>
            <c:extLst>
              <c:ext xmlns:c16="http://schemas.microsoft.com/office/drawing/2014/chart" uri="{C3380CC4-5D6E-409C-BE32-E72D297353CC}">
                <c16:uniqueId val="{0000026D-D24B-4B5A-AC8C-DEFE829A962E}"/>
              </c:ext>
            </c:extLst>
          </c:dPt>
          <c:dPt>
            <c:idx val="310"/>
            <c:invertIfNegative val="1"/>
            <c:bubble3D val="0"/>
            <c:spPr>
              <a:solidFill>
                <a:srgbClr val="AEABAB"/>
              </a:solidFill>
            </c:spPr>
            <c:extLst>
              <c:ext xmlns:c16="http://schemas.microsoft.com/office/drawing/2014/chart" uri="{C3380CC4-5D6E-409C-BE32-E72D297353CC}">
                <c16:uniqueId val="{0000026F-D24B-4B5A-AC8C-DEFE829A962E}"/>
              </c:ext>
            </c:extLst>
          </c:dPt>
          <c:dPt>
            <c:idx val="311"/>
            <c:invertIfNegative val="1"/>
            <c:bubble3D val="0"/>
            <c:spPr>
              <a:solidFill>
                <a:srgbClr val="AEABAB"/>
              </a:solidFill>
            </c:spPr>
            <c:extLst>
              <c:ext xmlns:c16="http://schemas.microsoft.com/office/drawing/2014/chart" uri="{C3380CC4-5D6E-409C-BE32-E72D297353CC}">
                <c16:uniqueId val="{00000271-D24B-4B5A-AC8C-DEFE829A962E}"/>
              </c:ext>
            </c:extLst>
          </c:dPt>
          <c:dPt>
            <c:idx val="312"/>
            <c:invertIfNegative val="1"/>
            <c:bubble3D val="0"/>
            <c:spPr>
              <a:solidFill>
                <a:srgbClr val="AEABAB"/>
              </a:solidFill>
            </c:spPr>
            <c:extLst>
              <c:ext xmlns:c16="http://schemas.microsoft.com/office/drawing/2014/chart" uri="{C3380CC4-5D6E-409C-BE32-E72D297353CC}">
                <c16:uniqueId val="{00000273-D24B-4B5A-AC8C-DEFE829A962E}"/>
              </c:ext>
            </c:extLst>
          </c:dPt>
          <c:dPt>
            <c:idx val="313"/>
            <c:invertIfNegative val="1"/>
            <c:bubble3D val="0"/>
            <c:spPr>
              <a:solidFill>
                <a:srgbClr val="AEABAB"/>
              </a:solidFill>
            </c:spPr>
            <c:extLst>
              <c:ext xmlns:c16="http://schemas.microsoft.com/office/drawing/2014/chart" uri="{C3380CC4-5D6E-409C-BE32-E72D297353CC}">
                <c16:uniqueId val="{00000275-D24B-4B5A-AC8C-DEFE829A962E}"/>
              </c:ext>
            </c:extLst>
          </c:dPt>
          <c:dPt>
            <c:idx val="314"/>
            <c:invertIfNegative val="1"/>
            <c:bubble3D val="0"/>
            <c:spPr>
              <a:solidFill>
                <a:srgbClr val="AEABAB"/>
              </a:solidFill>
            </c:spPr>
            <c:extLst>
              <c:ext xmlns:c16="http://schemas.microsoft.com/office/drawing/2014/chart" uri="{C3380CC4-5D6E-409C-BE32-E72D297353CC}">
                <c16:uniqueId val="{00000277-D24B-4B5A-AC8C-DEFE829A962E}"/>
              </c:ext>
            </c:extLst>
          </c:dPt>
          <c:dPt>
            <c:idx val="315"/>
            <c:invertIfNegative val="1"/>
            <c:bubble3D val="0"/>
            <c:spPr>
              <a:solidFill>
                <a:srgbClr val="AEABAB"/>
              </a:solidFill>
            </c:spPr>
            <c:extLst>
              <c:ext xmlns:c16="http://schemas.microsoft.com/office/drawing/2014/chart" uri="{C3380CC4-5D6E-409C-BE32-E72D297353CC}">
                <c16:uniqueId val="{00000279-D24B-4B5A-AC8C-DEFE829A962E}"/>
              </c:ext>
            </c:extLst>
          </c:dPt>
          <c:dPt>
            <c:idx val="316"/>
            <c:invertIfNegative val="1"/>
            <c:bubble3D val="0"/>
            <c:spPr>
              <a:solidFill>
                <a:srgbClr val="AEABAB"/>
              </a:solidFill>
            </c:spPr>
            <c:extLst>
              <c:ext xmlns:c16="http://schemas.microsoft.com/office/drawing/2014/chart" uri="{C3380CC4-5D6E-409C-BE32-E72D297353CC}">
                <c16:uniqueId val="{0000027B-D24B-4B5A-AC8C-DEFE829A962E}"/>
              </c:ext>
            </c:extLst>
          </c:dPt>
          <c:dPt>
            <c:idx val="317"/>
            <c:invertIfNegative val="1"/>
            <c:bubble3D val="0"/>
            <c:spPr>
              <a:solidFill>
                <a:srgbClr val="AEABAB"/>
              </a:solidFill>
            </c:spPr>
            <c:extLst>
              <c:ext xmlns:c16="http://schemas.microsoft.com/office/drawing/2014/chart" uri="{C3380CC4-5D6E-409C-BE32-E72D297353CC}">
                <c16:uniqueId val="{0000027D-D24B-4B5A-AC8C-DEFE829A962E}"/>
              </c:ext>
            </c:extLst>
          </c:dPt>
          <c:dPt>
            <c:idx val="318"/>
            <c:invertIfNegative val="1"/>
            <c:bubble3D val="0"/>
            <c:spPr>
              <a:solidFill>
                <a:srgbClr val="AEABAB"/>
              </a:solidFill>
            </c:spPr>
            <c:extLst>
              <c:ext xmlns:c16="http://schemas.microsoft.com/office/drawing/2014/chart" uri="{C3380CC4-5D6E-409C-BE32-E72D297353CC}">
                <c16:uniqueId val="{0000027F-D24B-4B5A-AC8C-DEFE829A962E}"/>
              </c:ext>
            </c:extLst>
          </c:dPt>
          <c:dPt>
            <c:idx val="319"/>
            <c:invertIfNegative val="1"/>
            <c:bubble3D val="0"/>
            <c:spPr>
              <a:solidFill>
                <a:srgbClr val="AEABAB"/>
              </a:solidFill>
            </c:spPr>
            <c:extLst>
              <c:ext xmlns:c16="http://schemas.microsoft.com/office/drawing/2014/chart" uri="{C3380CC4-5D6E-409C-BE32-E72D297353CC}">
                <c16:uniqueId val="{00000281-D24B-4B5A-AC8C-DEFE829A962E}"/>
              </c:ext>
            </c:extLst>
          </c:dPt>
          <c:dPt>
            <c:idx val="320"/>
            <c:invertIfNegative val="1"/>
            <c:bubble3D val="0"/>
            <c:spPr>
              <a:solidFill>
                <a:srgbClr val="AEABAB"/>
              </a:solidFill>
            </c:spPr>
            <c:extLst>
              <c:ext xmlns:c16="http://schemas.microsoft.com/office/drawing/2014/chart" uri="{C3380CC4-5D6E-409C-BE32-E72D297353CC}">
                <c16:uniqueId val="{00000283-D24B-4B5A-AC8C-DEFE829A962E}"/>
              </c:ext>
            </c:extLst>
          </c:dPt>
          <c:dPt>
            <c:idx val="321"/>
            <c:invertIfNegative val="1"/>
            <c:bubble3D val="0"/>
            <c:spPr>
              <a:solidFill>
                <a:srgbClr val="AEABAB"/>
              </a:solidFill>
            </c:spPr>
            <c:extLst>
              <c:ext xmlns:c16="http://schemas.microsoft.com/office/drawing/2014/chart" uri="{C3380CC4-5D6E-409C-BE32-E72D297353CC}">
                <c16:uniqueId val="{00000285-D24B-4B5A-AC8C-DEFE829A962E}"/>
              </c:ext>
            </c:extLst>
          </c:dPt>
          <c:dPt>
            <c:idx val="322"/>
            <c:invertIfNegative val="1"/>
            <c:bubble3D val="0"/>
            <c:spPr>
              <a:solidFill>
                <a:srgbClr val="AEABAB"/>
              </a:solidFill>
            </c:spPr>
            <c:extLst>
              <c:ext xmlns:c16="http://schemas.microsoft.com/office/drawing/2014/chart" uri="{C3380CC4-5D6E-409C-BE32-E72D297353CC}">
                <c16:uniqueId val="{00000287-D24B-4B5A-AC8C-DEFE829A962E}"/>
              </c:ext>
            </c:extLst>
          </c:dPt>
          <c:dPt>
            <c:idx val="323"/>
            <c:invertIfNegative val="1"/>
            <c:bubble3D val="0"/>
            <c:spPr>
              <a:solidFill>
                <a:srgbClr val="AEABAB"/>
              </a:solidFill>
            </c:spPr>
            <c:extLst>
              <c:ext xmlns:c16="http://schemas.microsoft.com/office/drawing/2014/chart" uri="{C3380CC4-5D6E-409C-BE32-E72D297353CC}">
                <c16:uniqueId val="{00000289-D24B-4B5A-AC8C-DEFE829A962E}"/>
              </c:ext>
            </c:extLst>
          </c:dPt>
          <c:dPt>
            <c:idx val="324"/>
            <c:invertIfNegative val="1"/>
            <c:bubble3D val="0"/>
            <c:spPr>
              <a:solidFill>
                <a:srgbClr val="AEABAB"/>
              </a:solidFill>
            </c:spPr>
            <c:extLst>
              <c:ext xmlns:c16="http://schemas.microsoft.com/office/drawing/2014/chart" uri="{C3380CC4-5D6E-409C-BE32-E72D297353CC}">
                <c16:uniqueId val="{0000028B-D24B-4B5A-AC8C-DEFE829A962E}"/>
              </c:ext>
            </c:extLst>
          </c:dPt>
          <c:dPt>
            <c:idx val="325"/>
            <c:invertIfNegative val="1"/>
            <c:bubble3D val="0"/>
            <c:spPr>
              <a:solidFill>
                <a:srgbClr val="AEABAB"/>
              </a:solidFill>
            </c:spPr>
            <c:extLst>
              <c:ext xmlns:c16="http://schemas.microsoft.com/office/drawing/2014/chart" uri="{C3380CC4-5D6E-409C-BE32-E72D297353CC}">
                <c16:uniqueId val="{0000028D-D24B-4B5A-AC8C-DEFE829A962E}"/>
              </c:ext>
            </c:extLst>
          </c:dPt>
          <c:dPt>
            <c:idx val="326"/>
            <c:invertIfNegative val="1"/>
            <c:bubble3D val="0"/>
            <c:spPr>
              <a:solidFill>
                <a:srgbClr val="AEABAB"/>
              </a:solidFill>
            </c:spPr>
            <c:extLst>
              <c:ext xmlns:c16="http://schemas.microsoft.com/office/drawing/2014/chart" uri="{C3380CC4-5D6E-409C-BE32-E72D297353CC}">
                <c16:uniqueId val="{0000028F-D24B-4B5A-AC8C-DEFE829A962E}"/>
              </c:ext>
            </c:extLst>
          </c:dPt>
          <c:dPt>
            <c:idx val="327"/>
            <c:invertIfNegative val="1"/>
            <c:bubble3D val="0"/>
            <c:spPr>
              <a:solidFill>
                <a:srgbClr val="AEABAB"/>
              </a:solidFill>
            </c:spPr>
            <c:extLst>
              <c:ext xmlns:c16="http://schemas.microsoft.com/office/drawing/2014/chart" uri="{C3380CC4-5D6E-409C-BE32-E72D297353CC}">
                <c16:uniqueId val="{00000291-D24B-4B5A-AC8C-DEFE829A962E}"/>
              </c:ext>
            </c:extLst>
          </c:dPt>
          <c:dPt>
            <c:idx val="328"/>
            <c:invertIfNegative val="1"/>
            <c:bubble3D val="0"/>
            <c:spPr>
              <a:solidFill>
                <a:srgbClr val="AEABAB"/>
              </a:solidFill>
            </c:spPr>
            <c:extLst>
              <c:ext xmlns:c16="http://schemas.microsoft.com/office/drawing/2014/chart" uri="{C3380CC4-5D6E-409C-BE32-E72D297353CC}">
                <c16:uniqueId val="{00000293-D24B-4B5A-AC8C-DEFE829A962E}"/>
              </c:ext>
            </c:extLst>
          </c:dPt>
          <c:dPt>
            <c:idx val="329"/>
            <c:invertIfNegative val="1"/>
            <c:bubble3D val="0"/>
            <c:spPr>
              <a:solidFill>
                <a:srgbClr val="AEABAB"/>
              </a:solidFill>
            </c:spPr>
            <c:extLst>
              <c:ext xmlns:c16="http://schemas.microsoft.com/office/drawing/2014/chart" uri="{C3380CC4-5D6E-409C-BE32-E72D297353CC}">
                <c16:uniqueId val="{00000295-D24B-4B5A-AC8C-DEFE829A962E}"/>
              </c:ext>
            </c:extLst>
          </c:dPt>
          <c:dPt>
            <c:idx val="330"/>
            <c:invertIfNegative val="1"/>
            <c:bubble3D val="0"/>
            <c:spPr>
              <a:solidFill>
                <a:srgbClr val="AEABAB"/>
              </a:solidFill>
            </c:spPr>
            <c:extLst>
              <c:ext xmlns:c16="http://schemas.microsoft.com/office/drawing/2014/chart" uri="{C3380CC4-5D6E-409C-BE32-E72D297353CC}">
                <c16:uniqueId val="{00000297-D24B-4B5A-AC8C-DEFE829A962E}"/>
              </c:ext>
            </c:extLst>
          </c:dPt>
          <c:dPt>
            <c:idx val="331"/>
            <c:invertIfNegative val="1"/>
            <c:bubble3D val="0"/>
            <c:spPr>
              <a:solidFill>
                <a:srgbClr val="AEABAB"/>
              </a:solidFill>
            </c:spPr>
            <c:extLst>
              <c:ext xmlns:c16="http://schemas.microsoft.com/office/drawing/2014/chart" uri="{C3380CC4-5D6E-409C-BE32-E72D297353CC}">
                <c16:uniqueId val="{00000299-D24B-4B5A-AC8C-DEFE829A962E}"/>
              </c:ext>
            </c:extLst>
          </c:dPt>
          <c:dPt>
            <c:idx val="332"/>
            <c:invertIfNegative val="1"/>
            <c:bubble3D val="0"/>
            <c:spPr>
              <a:solidFill>
                <a:srgbClr val="AEABAB"/>
              </a:solidFill>
            </c:spPr>
            <c:extLst>
              <c:ext xmlns:c16="http://schemas.microsoft.com/office/drawing/2014/chart" uri="{C3380CC4-5D6E-409C-BE32-E72D297353CC}">
                <c16:uniqueId val="{0000029B-D24B-4B5A-AC8C-DEFE829A962E}"/>
              </c:ext>
            </c:extLst>
          </c:dPt>
          <c:dPt>
            <c:idx val="333"/>
            <c:invertIfNegative val="1"/>
            <c:bubble3D val="0"/>
            <c:spPr>
              <a:solidFill>
                <a:srgbClr val="AEABAB"/>
              </a:solidFill>
            </c:spPr>
            <c:extLst>
              <c:ext xmlns:c16="http://schemas.microsoft.com/office/drawing/2014/chart" uri="{C3380CC4-5D6E-409C-BE32-E72D297353CC}">
                <c16:uniqueId val="{0000029D-D24B-4B5A-AC8C-DEFE829A962E}"/>
              </c:ext>
            </c:extLst>
          </c:dPt>
          <c:dPt>
            <c:idx val="334"/>
            <c:invertIfNegative val="1"/>
            <c:bubble3D val="0"/>
            <c:spPr>
              <a:solidFill>
                <a:srgbClr val="AEABAB"/>
              </a:solidFill>
            </c:spPr>
            <c:extLst>
              <c:ext xmlns:c16="http://schemas.microsoft.com/office/drawing/2014/chart" uri="{C3380CC4-5D6E-409C-BE32-E72D297353CC}">
                <c16:uniqueId val="{0000029F-D24B-4B5A-AC8C-DEFE829A962E}"/>
              </c:ext>
            </c:extLst>
          </c:dPt>
          <c:dPt>
            <c:idx val="335"/>
            <c:invertIfNegative val="1"/>
            <c:bubble3D val="0"/>
            <c:spPr>
              <a:solidFill>
                <a:srgbClr val="AEABAB"/>
              </a:solidFill>
            </c:spPr>
            <c:extLst>
              <c:ext xmlns:c16="http://schemas.microsoft.com/office/drawing/2014/chart" uri="{C3380CC4-5D6E-409C-BE32-E72D297353CC}">
                <c16:uniqueId val="{000002A1-D24B-4B5A-AC8C-DEFE829A962E}"/>
              </c:ext>
            </c:extLst>
          </c:dPt>
          <c:dPt>
            <c:idx val="336"/>
            <c:invertIfNegative val="1"/>
            <c:bubble3D val="0"/>
            <c:spPr>
              <a:solidFill>
                <a:srgbClr val="AEABAB"/>
              </a:solidFill>
            </c:spPr>
            <c:extLst>
              <c:ext xmlns:c16="http://schemas.microsoft.com/office/drawing/2014/chart" uri="{C3380CC4-5D6E-409C-BE32-E72D297353CC}">
                <c16:uniqueId val="{000002A3-D24B-4B5A-AC8C-DEFE829A962E}"/>
              </c:ext>
            </c:extLst>
          </c:dPt>
          <c:dPt>
            <c:idx val="337"/>
            <c:invertIfNegative val="1"/>
            <c:bubble3D val="0"/>
            <c:spPr>
              <a:solidFill>
                <a:srgbClr val="AEABAB"/>
              </a:solidFill>
            </c:spPr>
            <c:extLst>
              <c:ext xmlns:c16="http://schemas.microsoft.com/office/drawing/2014/chart" uri="{C3380CC4-5D6E-409C-BE32-E72D297353CC}">
                <c16:uniqueId val="{000002A5-D24B-4B5A-AC8C-DEFE829A962E}"/>
              </c:ext>
            </c:extLst>
          </c:dPt>
          <c:dPt>
            <c:idx val="338"/>
            <c:invertIfNegative val="1"/>
            <c:bubble3D val="0"/>
            <c:spPr>
              <a:solidFill>
                <a:srgbClr val="AEABAB"/>
              </a:solidFill>
            </c:spPr>
            <c:extLst>
              <c:ext xmlns:c16="http://schemas.microsoft.com/office/drawing/2014/chart" uri="{C3380CC4-5D6E-409C-BE32-E72D297353CC}">
                <c16:uniqueId val="{000002A7-D24B-4B5A-AC8C-DEFE829A962E}"/>
              </c:ext>
            </c:extLst>
          </c:dPt>
          <c:dPt>
            <c:idx val="339"/>
            <c:invertIfNegative val="1"/>
            <c:bubble3D val="0"/>
            <c:spPr>
              <a:solidFill>
                <a:srgbClr val="AEABAB"/>
              </a:solidFill>
            </c:spPr>
            <c:extLst>
              <c:ext xmlns:c16="http://schemas.microsoft.com/office/drawing/2014/chart" uri="{C3380CC4-5D6E-409C-BE32-E72D297353CC}">
                <c16:uniqueId val="{000002A9-D24B-4B5A-AC8C-DEFE829A962E}"/>
              </c:ext>
            </c:extLst>
          </c:dPt>
          <c:dPt>
            <c:idx val="340"/>
            <c:invertIfNegative val="1"/>
            <c:bubble3D val="0"/>
            <c:spPr>
              <a:solidFill>
                <a:srgbClr val="AEABAB"/>
              </a:solidFill>
            </c:spPr>
            <c:extLst>
              <c:ext xmlns:c16="http://schemas.microsoft.com/office/drawing/2014/chart" uri="{C3380CC4-5D6E-409C-BE32-E72D297353CC}">
                <c16:uniqueId val="{000002AB-D24B-4B5A-AC8C-DEFE829A962E}"/>
              </c:ext>
            </c:extLst>
          </c:dPt>
          <c:dPt>
            <c:idx val="341"/>
            <c:invertIfNegative val="1"/>
            <c:bubble3D val="0"/>
            <c:spPr>
              <a:solidFill>
                <a:srgbClr val="AEABAB"/>
              </a:solidFill>
            </c:spPr>
            <c:extLst>
              <c:ext xmlns:c16="http://schemas.microsoft.com/office/drawing/2014/chart" uri="{C3380CC4-5D6E-409C-BE32-E72D297353CC}">
                <c16:uniqueId val="{000002AD-D24B-4B5A-AC8C-DEFE829A962E}"/>
              </c:ext>
            </c:extLst>
          </c:dPt>
          <c:dPt>
            <c:idx val="342"/>
            <c:invertIfNegative val="1"/>
            <c:bubble3D val="0"/>
            <c:spPr>
              <a:solidFill>
                <a:srgbClr val="AEABAB"/>
              </a:solidFill>
            </c:spPr>
            <c:extLst>
              <c:ext xmlns:c16="http://schemas.microsoft.com/office/drawing/2014/chart" uri="{C3380CC4-5D6E-409C-BE32-E72D297353CC}">
                <c16:uniqueId val="{000002AF-D24B-4B5A-AC8C-DEFE829A962E}"/>
              </c:ext>
            </c:extLst>
          </c:dPt>
          <c:dPt>
            <c:idx val="343"/>
            <c:invertIfNegative val="1"/>
            <c:bubble3D val="0"/>
            <c:spPr>
              <a:solidFill>
                <a:srgbClr val="AEABAB"/>
              </a:solidFill>
            </c:spPr>
            <c:extLst>
              <c:ext xmlns:c16="http://schemas.microsoft.com/office/drawing/2014/chart" uri="{C3380CC4-5D6E-409C-BE32-E72D297353CC}">
                <c16:uniqueId val="{000002B1-D24B-4B5A-AC8C-DEFE829A962E}"/>
              </c:ext>
            </c:extLst>
          </c:dPt>
          <c:dPt>
            <c:idx val="344"/>
            <c:invertIfNegative val="1"/>
            <c:bubble3D val="0"/>
            <c:spPr>
              <a:solidFill>
                <a:srgbClr val="AEABAB"/>
              </a:solidFill>
            </c:spPr>
            <c:extLst>
              <c:ext xmlns:c16="http://schemas.microsoft.com/office/drawing/2014/chart" uri="{C3380CC4-5D6E-409C-BE32-E72D297353CC}">
                <c16:uniqueId val="{000002B3-D24B-4B5A-AC8C-DEFE829A962E}"/>
              </c:ext>
            </c:extLst>
          </c:dPt>
          <c:dPt>
            <c:idx val="345"/>
            <c:invertIfNegative val="1"/>
            <c:bubble3D val="0"/>
            <c:spPr>
              <a:solidFill>
                <a:srgbClr val="AEABAB"/>
              </a:solidFill>
            </c:spPr>
            <c:extLst>
              <c:ext xmlns:c16="http://schemas.microsoft.com/office/drawing/2014/chart" uri="{C3380CC4-5D6E-409C-BE32-E72D297353CC}">
                <c16:uniqueId val="{000002B5-D24B-4B5A-AC8C-DEFE829A962E}"/>
              </c:ext>
            </c:extLst>
          </c:dPt>
          <c:dPt>
            <c:idx val="346"/>
            <c:invertIfNegative val="1"/>
            <c:bubble3D val="0"/>
            <c:spPr>
              <a:solidFill>
                <a:srgbClr val="AEABAB"/>
              </a:solidFill>
            </c:spPr>
            <c:extLst>
              <c:ext xmlns:c16="http://schemas.microsoft.com/office/drawing/2014/chart" uri="{C3380CC4-5D6E-409C-BE32-E72D297353CC}">
                <c16:uniqueId val="{000002B7-D24B-4B5A-AC8C-DEFE829A962E}"/>
              </c:ext>
            </c:extLst>
          </c:dPt>
          <c:dPt>
            <c:idx val="347"/>
            <c:invertIfNegative val="1"/>
            <c:bubble3D val="0"/>
            <c:spPr>
              <a:solidFill>
                <a:srgbClr val="AEABAB"/>
              </a:solidFill>
            </c:spPr>
            <c:extLst>
              <c:ext xmlns:c16="http://schemas.microsoft.com/office/drawing/2014/chart" uri="{C3380CC4-5D6E-409C-BE32-E72D297353CC}">
                <c16:uniqueId val="{000002B9-D24B-4B5A-AC8C-DEFE829A962E}"/>
              </c:ext>
            </c:extLst>
          </c:dPt>
          <c:dPt>
            <c:idx val="348"/>
            <c:invertIfNegative val="1"/>
            <c:bubble3D val="0"/>
            <c:spPr>
              <a:solidFill>
                <a:srgbClr val="AEABAB"/>
              </a:solidFill>
            </c:spPr>
            <c:extLst>
              <c:ext xmlns:c16="http://schemas.microsoft.com/office/drawing/2014/chart" uri="{C3380CC4-5D6E-409C-BE32-E72D297353CC}">
                <c16:uniqueId val="{000002BB-D24B-4B5A-AC8C-DEFE829A962E}"/>
              </c:ext>
            </c:extLst>
          </c:dPt>
          <c:dPt>
            <c:idx val="349"/>
            <c:invertIfNegative val="1"/>
            <c:bubble3D val="0"/>
            <c:spPr>
              <a:solidFill>
                <a:srgbClr val="AEABAB"/>
              </a:solidFill>
            </c:spPr>
            <c:extLst>
              <c:ext xmlns:c16="http://schemas.microsoft.com/office/drawing/2014/chart" uri="{C3380CC4-5D6E-409C-BE32-E72D297353CC}">
                <c16:uniqueId val="{000002BD-D24B-4B5A-AC8C-DEFE829A962E}"/>
              </c:ext>
            </c:extLst>
          </c:dPt>
          <c:dPt>
            <c:idx val="350"/>
            <c:invertIfNegative val="1"/>
            <c:bubble3D val="0"/>
            <c:spPr>
              <a:solidFill>
                <a:srgbClr val="AEABAB"/>
              </a:solidFill>
            </c:spPr>
            <c:extLst>
              <c:ext xmlns:c16="http://schemas.microsoft.com/office/drawing/2014/chart" uri="{C3380CC4-5D6E-409C-BE32-E72D297353CC}">
                <c16:uniqueId val="{000002BF-D24B-4B5A-AC8C-DEFE829A962E}"/>
              </c:ext>
            </c:extLst>
          </c:dPt>
          <c:dPt>
            <c:idx val="351"/>
            <c:invertIfNegative val="1"/>
            <c:bubble3D val="0"/>
            <c:spPr>
              <a:solidFill>
                <a:srgbClr val="AEABAB"/>
              </a:solidFill>
            </c:spPr>
            <c:extLst>
              <c:ext xmlns:c16="http://schemas.microsoft.com/office/drawing/2014/chart" uri="{C3380CC4-5D6E-409C-BE32-E72D297353CC}">
                <c16:uniqueId val="{000002C1-D24B-4B5A-AC8C-DEFE829A962E}"/>
              </c:ext>
            </c:extLst>
          </c:dPt>
          <c:dPt>
            <c:idx val="352"/>
            <c:invertIfNegative val="1"/>
            <c:bubble3D val="0"/>
            <c:spPr>
              <a:solidFill>
                <a:srgbClr val="AEABAB"/>
              </a:solidFill>
            </c:spPr>
            <c:extLst>
              <c:ext xmlns:c16="http://schemas.microsoft.com/office/drawing/2014/chart" uri="{C3380CC4-5D6E-409C-BE32-E72D297353CC}">
                <c16:uniqueId val="{000002C3-D24B-4B5A-AC8C-DEFE829A962E}"/>
              </c:ext>
            </c:extLst>
          </c:dPt>
          <c:dPt>
            <c:idx val="353"/>
            <c:invertIfNegative val="1"/>
            <c:bubble3D val="0"/>
            <c:spPr>
              <a:solidFill>
                <a:srgbClr val="AEABAB"/>
              </a:solidFill>
            </c:spPr>
            <c:extLst>
              <c:ext xmlns:c16="http://schemas.microsoft.com/office/drawing/2014/chart" uri="{C3380CC4-5D6E-409C-BE32-E72D297353CC}">
                <c16:uniqueId val="{000002C5-D24B-4B5A-AC8C-DEFE829A962E}"/>
              </c:ext>
            </c:extLst>
          </c:dPt>
          <c:dPt>
            <c:idx val="354"/>
            <c:invertIfNegative val="1"/>
            <c:bubble3D val="0"/>
            <c:spPr>
              <a:solidFill>
                <a:srgbClr val="AEABAB"/>
              </a:solidFill>
            </c:spPr>
            <c:extLst>
              <c:ext xmlns:c16="http://schemas.microsoft.com/office/drawing/2014/chart" uri="{C3380CC4-5D6E-409C-BE32-E72D297353CC}">
                <c16:uniqueId val="{000002C7-D24B-4B5A-AC8C-DEFE829A962E}"/>
              </c:ext>
            </c:extLst>
          </c:dPt>
          <c:dPt>
            <c:idx val="355"/>
            <c:invertIfNegative val="1"/>
            <c:bubble3D val="0"/>
            <c:spPr>
              <a:solidFill>
                <a:srgbClr val="AEABAB"/>
              </a:solidFill>
            </c:spPr>
            <c:extLst>
              <c:ext xmlns:c16="http://schemas.microsoft.com/office/drawing/2014/chart" uri="{C3380CC4-5D6E-409C-BE32-E72D297353CC}">
                <c16:uniqueId val="{000002C9-D24B-4B5A-AC8C-DEFE829A962E}"/>
              </c:ext>
            </c:extLst>
          </c:dPt>
          <c:dPt>
            <c:idx val="356"/>
            <c:invertIfNegative val="1"/>
            <c:bubble3D val="0"/>
            <c:spPr>
              <a:solidFill>
                <a:srgbClr val="AEABAB"/>
              </a:solidFill>
            </c:spPr>
            <c:extLst>
              <c:ext xmlns:c16="http://schemas.microsoft.com/office/drawing/2014/chart" uri="{C3380CC4-5D6E-409C-BE32-E72D297353CC}">
                <c16:uniqueId val="{000002CB-D24B-4B5A-AC8C-DEFE829A962E}"/>
              </c:ext>
            </c:extLst>
          </c:dPt>
          <c:dPt>
            <c:idx val="357"/>
            <c:invertIfNegative val="1"/>
            <c:bubble3D val="0"/>
            <c:spPr>
              <a:solidFill>
                <a:srgbClr val="AEABAB"/>
              </a:solidFill>
            </c:spPr>
            <c:extLst>
              <c:ext xmlns:c16="http://schemas.microsoft.com/office/drawing/2014/chart" uri="{C3380CC4-5D6E-409C-BE32-E72D297353CC}">
                <c16:uniqueId val="{000002CD-D24B-4B5A-AC8C-DEFE829A962E}"/>
              </c:ext>
            </c:extLst>
          </c:dPt>
          <c:dPt>
            <c:idx val="358"/>
            <c:invertIfNegative val="1"/>
            <c:bubble3D val="0"/>
            <c:spPr>
              <a:solidFill>
                <a:srgbClr val="AEABAB"/>
              </a:solidFill>
            </c:spPr>
            <c:extLst>
              <c:ext xmlns:c16="http://schemas.microsoft.com/office/drawing/2014/chart" uri="{C3380CC4-5D6E-409C-BE32-E72D297353CC}">
                <c16:uniqueId val="{000002CF-D24B-4B5A-AC8C-DEFE829A962E}"/>
              </c:ext>
            </c:extLst>
          </c:dPt>
          <c:dPt>
            <c:idx val="359"/>
            <c:invertIfNegative val="1"/>
            <c:bubble3D val="0"/>
            <c:spPr>
              <a:solidFill>
                <a:srgbClr val="AEABAB"/>
              </a:solidFill>
            </c:spPr>
            <c:extLst>
              <c:ext xmlns:c16="http://schemas.microsoft.com/office/drawing/2014/chart" uri="{C3380CC4-5D6E-409C-BE32-E72D297353CC}">
                <c16:uniqueId val="{000002D1-D24B-4B5A-AC8C-DEFE829A962E}"/>
              </c:ext>
            </c:extLst>
          </c:dPt>
          <c:dPt>
            <c:idx val="360"/>
            <c:invertIfNegative val="1"/>
            <c:bubble3D val="0"/>
            <c:spPr>
              <a:solidFill>
                <a:srgbClr val="AEABAB"/>
              </a:solidFill>
            </c:spPr>
            <c:extLst>
              <c:ext xmlns:c16="http://schemas.microsoft.com/office/drawing/2014/chart" uri="{C3380CC4-5D6E-409C-BE32-E72D297353CC}">
                <c16:uniqueId val="{000002D3-D24B-4B5A-AC8C-DEFE829A962E}"/>
              </c:ext>
            </c:extLst>
          </c:dPt>
          <c:dPt>
            <c:idx val="361"/>
            <c:invertIfNegative val="1"/>
            <c:bubble3D val="0"/>
            <c:spPr>
              <a:solidFill>
                <a:srgbClr val="AEABAB"/>
              </a:solidFill>
            </c:spPr>
            <c:extLst>
              <c:ext xmlns:c16="http://schemas.microsoft.com/office/drawing/2014/chart" uri="{C3380CC4-5D6E-409C-BE32-E72D297353CC}">
                <c16:uniqueId val="{000002D5-D24B-4B5A-AC8C-DEFE829A962E}"/>
              </c:ext>
            </c:extLst>
          </c:dPt>
          <c:dPt>
            <c:idx val="362"/>
            <c:invertIfNegative val="1"/>
            <c:bubble3D val="0"/>
            <c:spPr>
              <a:solidFill>
                <a:srgbClr val="AEABAB"/>
              </a:solidFill>
            </c:spPr>
            <c:extLst>
              <c:ext xmlns:c16="http://schemas.microsoft.com/office/drawing/2014/chart" uri="{C3380CC4-5D6E-409C-BE32-E72D297353CC}">
                <c16:uniqueId val="{000002D7-D24B-4B5A-AC8C-DEFE829A962E}"/>
              </c:ext>
            </c:extLst>
          </c:dPt>
          <c:dPt>
            <c:idx val="363"/>
            <c:invertIfNegative val="1"/>
            <c:bubble3D val="0"/>
            <c:spPr>
              <a:solidFill>
                <a:srgbClr val="AEABAB"/>
              </a:solidFill>
            </c:spPr>
            <c:extLst>
              <c:ext xmlns:c16="http://schemas.microsoft.com/office/drawing/2014/chart" uri="{C3380CC4-5D6E-409C-BE32-E72D297353CC}">
                <c16:uniqueId val="{000002D9-D24B-4B5A-AC8C-DEFE829A962E}"/>
              </c:ext>
            </c:extLst>
          </c:dPt>
          <c:dPt>
            <c:idx val="364"/>
            <c:invertIfNegative val="1"/>
            <c:bubble3D val="0"/>
            <c:spPr>
              <a:solidFill>
                <a:srgbClr val="AEABAB"/>
              </a:solidFill>
            </c:spPr>
            <c:extLst>
              <c:ext xmlns:c16="http://schemas.microsoft.com/office/drawing/2014/chart" uri="{C3380CC4-5D6E-409C-BE32-E72D297353CC}">
                <c16:uniqueId val="{000002DB-D24B-4B5A-AC8C-DEFE829A962E}"/>
              </c:ext>
            </c:extLst>
          </c:dPt>
          <c:dPt>
            <c:idx val="365"/>
            <c:invertIfNegative val="1"/>
            <c:bubble3D val="0"/>
            <c:spPr>
              <a:solidFill>
                <a:srgbClr val="AEABAB"/>
              </a:solidFill>
            </c:spPr>
            <c:extLst>
              <c:ext xmlns:c16="http://schemas.microsoft.com/office/drawing/2014/chart" uri="{C3380CC4-5D6E-409C-BE32-E72D297353CC}">
                <c16:uniqueId val="{000002DD-D24B-4B5A-AC8C-DEFE829A962E}"/>
              </c:ext>
            </c:extLst>
          </c:dPt>
          <c:dPt>
            <c:idx val="366"/>
            <c:invertIfNegative val="1"/>
            <c:bubble3D val="0"/>
            <c:spPr>
              <a:solidFill>
                <a:srgbClr val="AEABAB"/>
              </a:solidFill>
            </c:spPr>
            <c:extLst>
              <c:ext xmlns:c16="http://schemas.microsoft.com/office/drawing/2014/chart" uri="{C3380CC4-5D6E-409C-BE32-E72D297353CC}">
                <c16:uniqueId val="{000002DF-D24B-4B5A-AC8C-DEFE829A962E}"/>
              </c:ext>
            </c:extLst>
          </c:dPt>
          <c:dPt>
            <c:idx val="367"/>
            <c:invertIfNegative val="1"/>
            <c:bubble3D val="0"/>
            <c:spPr>
              <a:solidFill>
                <a:srgbClr val="AEABAB"/>
              </a:solidFill>
            </c:spPr>
            <c:extLst>
              <c:ext xmlns:c16="http://schemas.microsoft.com/office/drawing/2014/chart" uri="{C3380CC4-5D6E-409C-BE32-E72D297353CC}">
                <c16:uniqueId val="{000002E1-D24B-4B5A-AC8C-DEFE829A962E}"/>
              </c:ext>
            </c:extLst>
          </c:dPt>
          <c:dPt>
            <c:idx val="368"/>
            <c:invertIfNegative val="1"/>
            <c:bubble3D val="0"/>
            <c:spPr>
              <a:solidFill>
                <a:srgbClr val="AEABAB"/>
              </a:solidFill>
            </c:spPr>
            <c:extLst>
              <c:ext xmlns:c16="http://schemas.microsoft.com/office/drawing/2014/chart" uri="{C3380CC4-5D6E-409C-BE32-E72D297353CC}">
                <c16:uniqueId val="{000002E3-D24B-4B5A-AC8C-DEFE829A962E}"/>
              </c:ext>
            </c:extLst>
          </c:dPt>
          <c:dPt>
            <c:idx val="369"/>
            <c:invertIfNegative val="1"/>
            <c:bubble3D val="0"/>
            <c:spPr>
              <a:solidFill>
                <a:srgbClr val="AEABAB"/>
              </a:solidFill>
            </c:spPr>
            <c:extLst>
              <c:ext xmlns:c16="http://schemas.microsoft.com/office/drawing/2014/chart" uri="{C3380CC4-5D6E-409C-BE32-E72D297353CC}">
                <c16:uniqueId val="{000002E5-D24B-4B5A-AC8C-DEFE829A962E}"/>
              </c:ext>
            </c:extLst>
          </c:dPt>
          <c:dPt>
            <c:idx val="370"/>
            <c:invertIfNegative val="1"/>
            <c:bubble3D val="0"/>
            <c:spPr>
              <a:solidFill>
                <a:srgbClr val="AEABAB"/>
              </a:solidFill>
            </c:spPr>
            <c:extLst>
              <c:ext xmlns:c16="http://schemas.microsoft.com/office/drawing/2014/chart" uri="{C3380CC4-5D6E-409C-BE32-E72D297353CC}">
                <c16:uniqueId val="{000002E7-D24B-4B5A-AC8C-DEFE829A962E}"/>
              </c:ext>
            </c:extLst>
          </c:dPt>
          <c:dPt>
            <c:idx val="371"/>
            <c:invertIfNegative val="1"/>
            <c:bubble3D val="0"/>
            <c:spPr>
              <a:solidFill>
                <a:srgbClr val="AEABAB"/>
              </a:solidFill>
            </c:spPr>
            <c:extLst>
              <c:ext xmlns:c16="http://schemas.microsoft.com/office/drawing/2014/chart" uri="{C3380CC4-5D6E-409C-BE32-E72D297353CC}">
                <c16:uniqueId val="{000002E9-D24B-4B5A-AC8C-DEFE829A962E}"/>
              </c:ext>
            </c:extLst>
          </c:dPt>
          <c:dPt>
            <c:idx val="372"/>
            <c:invertIfNegative val="1"/>
            <c:bubble3D val="0"/>
            <c:spPr>
              <a:solidFill>
                <a:srgbClr val="AEABAB"/>
              </a:solidFill>
            </c:spPr>
            <c:extLst>
              <c:ext xmlns:c16="http://schemas.microsoft.com/office/drawing/2014/chart" uri="{C3380CC4-5D6E-409C-BE32-E72D297353CC}">
                <c16:uniqueId val="{000002EB-D24B-4B5A-AC8C-DEFE829A962E}"/>
              </c:ext>
            </c:extLst>
          </c:dPt>
          <c:dPt>
            <c:idx val="373"/>
            <c:invertIfNegative val="1"/>
            <c:bubble3D val="0"/>
            <c:spPr>
              <a:solidFill>
                <a:srgbClr val="AEABAB"/>
              </a:solidFill>
            </c:spPr>
            <c:extLst>
              <c:ext xmlns:c16="http://schemas.microsoft.com/office/drawing/2014/chart" uri="{C3380CC4-5D6E-409C-BE32-E72D297353CC}">
                <c16:uniqueId val="{000002ED-D24B-4B5A-AC8C-DEFE829A962E}"/>
              </c:ext>
            </c:extLst>
          </c:dPt>
          <c:dPt>
            <c:idx val="374"/>
            <c:invertIfNegative val="1"/>
            <c:bubble3D val="0"/>
            <c:spPr>
              <a:solidFill>
                <a:srgbClr val="AEABAB"/>
              </a:solidFill>
            </c:spPr>
            <c:extLst>
              <c:ext xmlns:c16="http://schemas.microsoft.com/office/drawing/2014/chart" uri="{C3380CC4-5D6E-409C-BE32-E72D297353CC}">
                <c16:uniqueId val="{000002EF-D24B-4B5A-AC8C-DEFE829A962E}"/>
              </c:ext>
            </c:extLst>
          </c:dPt>
          <c:dPt>
            <c:idx val="375"/>
            <c:invertIfNegative val="1"/>
            <c:bubble3D val="0"/>
            <c:spPr>
              <a:solidFill>
                <a:srgbClr val="AEABAB"/>
              </a:solidFill>
            </c:spPr>
            <c:extLst>
              <c:ext xmlns:c16="http://schemas.microsoft.com/office/drawing/2014/chart" uri="{C3380CC4-5D6E-409C-BE32-E72D297353CC}">
                <c16:uniqueId val="{000002F1-D24B-4B5A-AC8C-DEFE829A962E}"/>
              </c:ext>
            </c:extLst>
          </c:dPt>
          <c:dPt>
            <c:idx val="376"/>
            <c:invertIfNegative val="1"/>
            <c:bubble3D val="0"/>
            <c:spPr>
              <a:solidFill>
                <a:srgbClr val="AEABAB"/>
              </a:solidFill>
            </c:spPr>
            <c:extLst>
              <c:ext xmlns:c16="http://schemas.microsoft.com/office/drawing/2014/chart" uri="{C3380CC4-5D6E-409C-BE32-E72D297353CC}">
                <c16:uniqueId val="{000002F3-D24B-4B5A-AC8C-DEFE829A962E}"/>
              </c:ext>
            </c:extLst>
          </c:dPt>
          <c:dPt>
            <c:idx val="377"/>
            <c:invertIfNegative val="1"/>
            <c:bubble3D val="0"/>
            <c:spPr>
              <a:solidFill>
                <a:srgbClr val="AEABAB"/>
              </a:solidFill>
            </c:spPr>
            <c:extLst>
              <c:ext xmlns:c16="http://schemas.microsoft.com/office/drawing/2014/chart" uri="{C3380CC4-5D6E-409C-BE32-E72D297353CC}">
                <c16:uniqueId val="{000002F5-D24B-4B5A-AC8C-DEFE829A962E}"/>
              </c:ext>
            </c:extLst>
          </c:dPt>
          <c:dPt>
            <c:idx val="378"/>
            <c:invertIfNegative val="1"/>
            <c:bubble3D val="0"/>
            <c:spPr>
              <a:solidFill>
                <a:srgbClr val="AEABAB"/>
              </a:solidFill>
            </c:spPr>
            <c:extLst>
              <c:ext xmlns:c16="http://schemas.microsoft.com/office/drawing/2014/chart" uri="{C3380CC4-5D6E-409C-BE32-E72D297353CC}">
                <c16:uniqueId val="{000002F7-D24B-4B5A-AC8C-DEFE829A962E}"/>
              </c:ext>
            </c:extLst>
          </c:dPt>
          <c:dPt>
            <c:idx val="379"/>
            <c:invertIfNegative val="1"/>
            <c:bubble3D val="0"/>
            <c:spPr>
              <a:solidFill>
                <a:srgbClr val="AEABAB"/>
              </a:solidFill>
            </c:spPr>
            <c:extLst>
              <c:ext xmlns:c16="http://schemas.microsoft.com/office/drawing/2014/chart" uri="{C3380CC4-5D6E-409C-BE32-E72D297353CC}">
                <c16:uniqueId val="{000002F9-D24B-4B5A-AC8C-DEFE829A962E}"/>
              </c:ext>
            </c:extLst>
          </c:dPt>
          <c:dPt>
            <c:idx val="380"/>
            <c:invertIfNegative val="1"/>
            <c:bubble3D val="0"/>
            <c:spPr>
              <a:solidFill>
                <a:srgbClr val="AEABAB"/>
              </a:solidFill>
            </c:spPr>
            <c:extLst>
              <c:ext xmlns:c16="http://schemas.microsoft.com/office/drawing/2014/chart" uri="{C3380CC4-5D6E-409C-BE32-E72D297353CC}">
                <c16:uniqueId val="{000002FB-D24B-4B5A-AC8C-DEFE829A962E}"/>
              </c:ext>
            </c:extLst>
          </c:dPt>
          <c:dPt>
            <c:idx val="381"/>
            <c:invertIfNegative val="1"/>
            <c:bubble3D val="0"/>
            <c:spPr>
              <a:solidFill>
                <a:srgbClr val="AEABAB"/>
              </a:solidFill>
            </c:spPr>
            <c:extLst>
              <c:ext xmlns:c16="http://schemas.microsoft.com/office/drawing/2014/chart" uri="{C3380CC4-5D6E-409C-BE32-E72D297353CC}">
                <c16:uniqueId val="{000002FD-D24B-4B5A-AC8C-DEFE829A962E}"/>
              </c:ext>
            </c:extLst>
          </c:dPt>
          <c:dPt>
            <c:idx val="382"/>
            <c:invertIfNegative val="1"/>
            <c:bubble3D val="0"/>
            <c:spPr>
              <a:solidFill>
                <a:srgbClr val="AEABAB"/>
              </a:solidFill>
            </c:spPr>
            <c:extLst>
              <c:ext xmlns:c16="http://schemas.microsoft.com/office/drawing/2014/chart" uri="{C3380CC4-5D6E-409C-BE32-E72D297353CC}">
                <c16:uniqueId val="{000002FF-D24B-4B5A-AC8C-DEFE829A962E}"/>
              </c:ext>
            </c:extLst>
          </c:dPt>
          <c:cat>
            <c:strRef>
              <c:f>Sheet1!$A$2:$A$384</c:f>
              <c:strCache>
                <c:ptCount val="383"/>
                <c:pt idx="0">
                  <c:v>Ruinart</c:v>
                </c:pt>
                <c:pt idx="1">
                  <c:v>Ruinart</c:v>
                </c:pt>
                <c:pt idx="2">
                  <c:v>Nicolas</c:v>
                </c:pt>
                <c:pt idx="3">
                  <c:v>Deutz</c:v>
                </c:pt>
                <c:pt idx="4">
                  <c:v>Laurent Per</c:v>
                </c:pt>
                <c:pt idx="5">
                  <c:v>Heidsieck &amp;</c:v>
                </c:pt>
                <c:pt idx="6">
                  <c:v>Malard</c:v>
                </c:pt>
                <c:pt idx="7">
                  <c:v>Ayala</c:v>
                </c:pt>
                <c:pt idx="8">
                  <c:v>Ruinart</c:v>
                </c:pt>
                <c:pt idx="9">
                  <c:v>Nicolas Feu</c:v>
                </c:pt>
                <c:pt idx="10">
                  <c:v>Taittinger</c:v>
                </c:pt>
                <c:pt idx="11">
                  <c:v>Bollinger</c:v>
                </c:pt>
                <c:pt idx="12">
                  <c:v>Ruinart</c:v>
                </c:pt>
                <c:pt idx="13">
                  <c:v>De Bligny</c:v>
                </c:pt>
                <c:pt idx="14">
                  <c:v>Canard Duch</c:v>
                </c:pt>
                <c:pt idx="15">
                  <c:v>Perrier Jou</c:v>
                </c:pt>
                <c:pt idx="16">
                  <c:v>Ruinart</c:v>
                </c:pt>
                <c:pt idx="17">
                  <c:v>Besserat De</c:v>
                </c:pt>
                <c:pt idx="18">
                  <c:v>Deutz</c:v>
                </c:pt>
                <c:pt idx="19">
                  <c:v>Dom Perigno</c:v>
                </c:pt>
                <c:pt idx="20">
                  <c:v>Ruinart</c:v>
                </c:pt>
                <c:pt idx="21">
                  <c:v>Roederer</c:v>
                </c:pt>
                <c:pt idx="22">
                  <c:v>Demoiselle</c:v>
                </c:pt>
                <c:pt idx="23">
                  <c:v>Dom Perigno</c:v>
                </c:pt>
                <c:pt idx="24">
                  <c:v>All Others</c:v>
                </c:pt>
                <c:pt idx="25">
                  <c:v>Laurent Per</c:v>
                </c:pt>
                <c:pt idx="26">
                  <c:v>Ruinart</c:v>
                </c:pt>
                <c:pt idx="27">
                  <c:v>Campari: Al</c:v>
                </c:pt>
                <c:pt idx="28">
                  <c:v>Deutz</c:v>
                </c:pt>
                <c:pt idx="29">
                  <c:v>Veuve Clicq</c:v>
                </c:pt>
                <c:pt idx="30">
                  <c:v>Pommery</c:v>
                </c:pt>
                <c:pt idx="31">
                  <c:v>All Others</c:v>
                </c:pt>
                <c:pt idx="32">
                  <c:v>Laurent Per</c:v>
                </c:pt>
                <c:pt idx="33">
                  <c:v>Moët &amp; Chan</c:v>
                </c:pt>
                <c:pt idx="34">
                  <c:v>Vesselle</c:v>
                </c:pt>
                <c:pt idx="35">
                  <c:v>Veuve Clicq</c:v>
                </c:pt>
                <c:pt idx="36">
                  <c:v>Ruinart</c:v>
                </c:pt>
                <c:pt idx="37">
                  <c:v>Taittinger</c:v>
                </c:pt>
                <c:pt idx="38">
                  <c:v>Savian</c:v>
                </c:pt>
                <c:pt idx="39">
                  <c:v>Demoiselle</c:v>
                </c:pt>
                <c:pt idx="40">
                  <c:v>Malard</c:v>
                </c:pt>
                <c:pt idx="41">
                  <c:v>Ruinart</c:v>
                </c:pt>
                <c:pt idx="42">
                  <c:v>Nicolas</c:v>
                </c:pt>
                <c:pt idx="43">
                  <c:v>Roederer</c:v>
                </c:pt>
                <c:pt idx="44">
                  <c:v>Veuve Clicq</c:v>
                </c:pt>
                <c:pt idx="45">
                  <c:v>Dom Perigno</c:v>
                </c:pt>
                <c:pt idx="46">
                  <c:v>Louis Marti</c:v>
                </c:pt>
                <c:pt idx="47">
                  <c:v>Henriot</c:v>
                </c:pt>
                <c:pt idx="48">
                  <c:v>Ruinart</c:v>
                </c:pt>
                <c:pt idx="49">
                  <c:v>Roederer</c:v>
                </c:pt>
                <c:pt idx="50">
                  <c:v>Moët &amp; Chan</c:v>
                </c:pt>
                <c:pt idx="51">
                  <c:v>Malard</c:v>
                </c:pt>
                <c:pt idx="52">
                  <c:v>Roederer</c:v>
                </c:pt>
                <c:pt idx="53">
                  <c:v>All Others</c:v>
                </c:pt>
                <c:pt idx="54">
                  <c:v>Nicolas Feu</c:v>
                </c:pt>
                <c:pt idx="55">
                  <c:v>Krug</c:v>
                </c:pt>
                <c:pt idx="56">
                  <c:v>Nicolas Feu</c:v>
                </c:pt>
                <c:pt idx="57">
                  <c:v>Deutz</c:v>
                </c:pt>
                <c:pt idx="58">
                  <c:v>Besserat De</c:v>
                </c:pt>
                <c:pt idx="59">
                  <c:v>Nicolas</c:v>
                </c:pt>
                <c:pt idx="60">
                  <c:v>Piper Heids</c:v>
                </c:pt>
                <c:pt idx="61">
                  <c:v>Campari: Al</c:v>
                </c:pt>
                <c:pt idx="62">
                  <c:v>Nicolas</c:v>
                </c:pt>
                <c:pt idx="63">
                  <c:v>Moët &amp; Chan</c:v>
                </c:pt>
                <c:pt idx="64">
                  <c:v>Dom Perigno</c:v>
                </c:pt>
                <c:pt idx="65">
                  <c:v>Bollinger</c:v>
                </c:pt>
                <c:pt idx="66">
                  <c:v>Perrier Jou</c:v>
                </c:pt>
                <c:pt idx="67">
                  <c:v>De Venoge</c:v>
                </c:pt>
                <c:pt idx="68">
                  <c:v>Laurent Per</c:v>
                </c:pt>
                <c:pt idx="69">
                  <c:v>Lanson</c:v>
                </c:pt>
                <c:pt idx="70">
                  <c:v>Delamotte</c:v>
                </c:pt>
                <c:pt idx="71">
                  <c:v>Nicolas Feu</c:v>
                </c:pt>
                <c:pt idx="72">
                  <c:v>Besserat De</c:v>
                </c:pt>
                <c:pt idx="73">
                  <c:v>Malard</c:v>
                </c:pt>
                <c:pt idx="74">
                  <c:v>Canard Duch</c:v>
                </c:pt>
                <c:pt idx="75">
                  <c:v>Pommery</c:v>
                </c:pt>
                <c:pt idx="76">
                  <c:v>Henriot</c:v>
                </c:pt>
                <c:pt idx="77">
                  <c:v>Malard</c:v>
                </c:pt>
                <c:pt idx="78">
                  <c:v>Ruinart</c:v>
                </c:pt>
                <c:pt idx="79">
                  <c:v>Roederer</c:v>
                </c:pt>
                <c:pt idx="80">
                  <c:v>Roederer</c:v>
                </c:pt>
                <c:pt idx="81">
                  <c:v>Roederer</c:v>
                </c:pt>
                <c:pt idx="82">
                  <c:v>Ayala</c:v>
                </c:pt>
                <c:pt idx="83">
                  <c:v>Bollinger</c:v>
                </c:pt>
                <c:pt idx="84">
                  <c:v>Roederer</c:v>
                </c:pt>
                <c:pt idx="85">
                  <c:v>Ruinart</c:v>
                </c:pt>
                <c:pt idx="86">
                  <c:v>All Others</c:v>
                </c:pt>
                <c:pt idx="87">
                  <c:v>Roederer</c:v>
                </c:pt>
                <c:pt idx="88">
                  <c:v>Henriot</c:v>
                </c:pt>
                <c:pt idx="89">
                  <c:v>De Bligny</c:v>
                </c:pt>
                <c:pt idx="90">
                  <c:v>Vranken</c:v>
                </c:pt>
                <c:pt idx="91">
                  <c:v>Ruinart</c:v>
                </c:pt>
                <c:pt idx="92">
                  <c:v>Henriot</c:v>
                </c:pt>
                <c:pt idx="93">
                  <c:v>Deutz</c:v>
                </c:pt>
                <c:pt idx="94">
                  <c:v>Perrier Jou</c:v>
                </c:pt>
                <c:pt idx="95">
                  <c:v>Veuve Clicq</c:v>
                </c:pt>
                <c:pt idx="96">
                  <c:v>Ruinart</c:v>
                </c:pt>
                <c:pt idx="97">
                  <c:v>Ruinart</c:v>
                </c:pt>
                <c:pt idx="98">
                  <c:v>Deutz</c:v>
                </c:pt>
                <c:pt idx="99">
                  <c:v>Roederer</c:v>
                </c:pt>
                <c:pt idx="100">
                  <c:v>Nicolas</c:v>
                </c:pt>
                <c:pt idx="101">
                  <c:v>Laurent Per</c:v>
                </c:pt>
                <c:pt idx="102">
                  <c:v>Canard Duch</c:v>
                </c:pt>
                <c:pt idx="103">
                  <c:v>De Venoge</c:v>
                </c:pt>
                <c:pt idx="104">
                  <c:v>De Venoge</c:v>
                </c:pt>
                <c:pt idx="105">
                  <c:v>Laurent Per</c:v>
                </c:pt>
                <c:pt idx="106">
                  <c:v>Malard</c:v>
                </c:pt>
                <c:pt idx="107">
                  <c:v>Laurent Per</c:v>
                </c:pt>
                <c:pt idx="108">
                  <c:v>Taittinger</c:v>
                </c:pt>
                <c:pt idx="109">
                  <c:v>Laurent Per</c:v>
                </c:pt>
                <c:pt idx="110">
                  <c:v>Nicolas</c:v>
                </c:pt>
                <c:pt idx="111">
                  <c:v>Bollinger</c:v>
                </c:pt>
                <c:pt idx="112">
                  <c:v>Canard Duch</c:v>
                </c:pt>
                <c:pt idx="113">
                  <c:v>Nicolas Feu</c:v>
                </c:pt>
                <c:pt idx="114">
                  <c:v>De Venoge</c:v>
                </c:pt>
                <c:pt idx="115">
                  <c:v>Roederer</c:v>
                </c:pt>
                <c:pt idx="116">
                  <c:v>Moët &amp; Chan</c:v>
                </c:pt>
                <c:pt idx="117">
                  <c:v>Roederer</c:v>
                </c:pt>
                <c:pt idx="118">
                  <c:v>Taittinger</c:v>
                </c:pt>
                <c:pt idx="119">
                  <c:v>Roederer</c:v>
                </c:pt>
                <c:pt idx="120">
                  <c:v>Perrier Jou</c:v>
                </c:pt>
                <c:pt idx="121">
                  <c:v>Vranken</c:v>
                </c:pt>
                <c:pt idx="122">
                  <c:v>Ruinart</c:v>
                </c:pt>
                <c:pt idx="123">
                  <c:v>Nicolas</c:v>
                </c:pt>
                <c:pt idx="124">
                  <c:v>Nicolas</c:v>
                </c:pt>
                <c:pt idx="125">
                  <c:v>Ruinart</c:v>
                </c:pt>
                <c:pt idx="126">
                  <c:v>Nicolas</c:v>
                </c:pt>
                <c:pt idx="127">
                  <c:v>Ruinart</c:v>
                </c:pt>
                <c:pt idx="128">
                  <c:v>Nicolas</c:v>
                </c:pt>
                <c:pt idx="129">
                  <c:v>Nicolas</c:v>
                </c:pt>
                <c:pt idx="130">
                  <c:v>Demoiselle</c:v>
                </c:pt>
                <c:pt idx="131">
                  <c:v>Laurent Per</c:v>
                </c:pt>
                <c:pt idx="132">
                  <c:v>Ruinart</c:v>
                </c:pt>
                <c:pt idx="133">
                  <c:v>Pommery</c:v>
                </c:pt>
                <c:pt idx="134">
                  <c:v>Veuve Clicq</c:v>
                </c:pt>
                <c:pt idx="135">
                  <c:v>All Others</c:v>
                </c:pt>
                <c:pt idx="136">
                  <c:v>Lanson</c:v>
                </c:pt>
                <c:pt idx="137">
                  <c:v>Veuve Clicq</c:v>
                </c:pt>
                <c:pt idx="138">
                  <c:v>Besserat De</c:v>
                </c:pt>
                <c:pt idx="139">
                  <c:v>Moët &amp; Chan</c:v>
                </c:pt>
                <c:pt idx="140">
                  <c:v>Moët &amp; Chan</c:v>
                </c:pt>
                <c:pt idx="141">
                  <c:v>Dom Perigno</c:v>
                </c:pt>
                <c:pt idx="142">
                  <c:v>Canard Duch</c:v>
                </c:pt>
                <c:pt idx="143">
                  <c:v>Pommery</c:v>
                </c:pt>
                <c:pt idx="144">
                  <c:v>All Others</c:v>
                </c:pt>
                <c:pt idx="145">
                  <c:v>Nicolas</c:v>
                </c:pt>
                <c:pt idx="146">
                  <c:v>Veuve Clicq</c:v>
                </c:pt>
                <c:pt idx="147">
                  <c:v>All Others</c:v>
                </c:pt>
                <c:pt idx="148">
                  <c:v>Laurent Per</c:v>
                </c:pt>
                <c:pt idx="149">
                  <c:v>Pommery</c:v>
                </c:pt>
                <c:pt idx="150">
                  <c:v>Pommery</c:v>
                </c:pt>
                <c:pt idx="151">
                  <c:v>All Others</c:v>
                </c:pt>
                <c:pt idx="152">
                  <c:v>Vesselle</c:v>
                </c:pt>
                <c:pt idx="153">
                  <c:v>All Others</c:v>
                </c:pt>
                <c:pt idx="154">
                  <c:v>Deutz</c:v>
                </c:pt>
                <c:pt idx="155">
                  <c:v>Lanson-Bcc:</c:v>
                </c:pt>
                <c:pt idx="156">
                  <c:v>Nicolas</c:v>
                </c:pt>
                <c:pt idx="157">
                  <c:v>Moët &amp; Chan</c:v>
                </c:pt>
                <c:pt idx="158">
                  <c:v>Canard Duch</c:v>
                </c:pt>
                <c:pt idx="159">
                  <c:v>Deutz</c:v>
                </c:pt>
                <c:pt idx="160">
                  <c:v>Laurent Per</c:v>
                </c:pt>
                <c:pt idx="161">
                  <c:v>Delamotte</c:v>
                </c:pt>
                <c:pt idx="162">
                  <c:v>Piper Heids</c:v>
                </c:pt>
                <c:pt idx="163">
                  <c:v>All Others</c:v>
                </c:pt>
                <c:pt idx="164">
                  <c:v>Roederer</c:v>
                </c:pt>
                <c:pt idx="165">
                  <c:v>Dom Perigno</c:v>
                </c:pt>
                <c:pt idx="166">
                  <c:v>Pommery</c:v>
                </c:pt>
                <c:pt idx="167">
                  <c:v>All Others</c:v>
                </c:pt>
                <c:pt idx="168">
                  <c:v>Bollinger</c:v>
                </c:pt>
                <c:pt idx="169">
                  <c:v>Deutz</c:v>
                </c:pt>
                <c:pt idx="170">
                  <c:v>Nicolas</c:v>
                </c:pt>
                <c:pt idx="171">
                  <c:v>All Others</c:v>
                </c:pt>
                <c:pt idx="172">
                  <c:v>Canard Duch</c:v>
                </c:pt>
                <c:pt idx="173">
                  <c:v>All Others</c:v>
                </c:pt>
                <c:pt idx="174">
                  <c:v>Bollinger</c:v>
                </c:pt>
                <c:pt idx="175">
                  <c:v>Perrier Jou</c:v>
                </c:pt>
                <c:pt idx="176">
                  <c:v>Nicolas</c:v>
                </c:pt>
                <c:pt idx="177">
                  <c:v>Deutz</c:v>
                </c:pt>
                <c:pt idx="178">
                  <c:v>All Others</c:v>
                </c:pt>
                <c:pt idx="179">
                  <c:v>Ruinart</c:v>
                </c:pt>
                <c:pt idx="180">
                  <c:v>Ruinart</c:v>
                </c:pt>
                <c:pt idx="181">
                  <c:v>Louis Marti</c:v>
                </c:pt>
                <c:pt idx="182">
                  <c:v>Demoiselle</c:v>
                </c:pt>
                <c:pt idx="183">
                  <c:v>Krug</c:v>
                </c:pt>
                <c:pt idx="184">
                  <c:v>Nicolas</c:v>
                </c:pt>
                <c:pt idx="185">
                  <c:v>Nicolas</c:v>
                </c:pt>
                <c:pt idx="186">
                  <c:v>All Others</c:v>
                </c:pt>
                <c:pt idx="187">
                  <c:v>Roederer</c:v>
                </c:pt>
                <c:pt idx="188">
                  <c:v>Lanson</c:v>
                </c:pt>
                <c:pt idx="189">
                  <c:v>Laurent Per</c:v>
                </c:pt>
                <c:pt idx="190">
                  <c:v>De Venoge</c:v>
                </c:pt>
                <c:pt idx="191">
                  <c:v>Pommery</c:v>
                </c:pt>
                <c:pt idx="192">
                  <c:v>Krug</c:v>
                </c:pt>
                <c:pt idx="193">
                  <c:v>Roederer</c:v>
                </c:pt>
                <c:pt idx="194">
                  <c:v>Taittinger</c:v>
                </c:pt>
                <c:pt idx="195">
                  <c:v>Canard Duch</c:v>
                </c:pt>
                <c:pt idx="196">
                  <c:v>Ayala</c:v>
                </c:pt>
                <c:pt idx="197">
                  <c:v>Vranken</c:v>
                </c:pt>
                <c:pt idx="198">
                  <c:v>Deutz</c:v>
                </c:pt>
                <c:pt idx="199">
                  <c:v>Veuve Clicq</c:v>
                </c:pt>
                <c:pt idx="200">
                  <c:v>All Others</c:v>
                </c:pt>
                <c:pt idx="201">
                  <c:v>All Others</c:v>
                </c:pt>
                <c:pt idx="202">
                  <c:v>Moët &amp; Chan</c:v>
                </c:pt>
                <c:pt idx="203">
                  <c:v>Vesselle</c:v>
                </c:pt>
                <c:pt idx="204">
                  <c:v>Taittinger</c:v>
                </c:pt>
                <c:pt idx="205">
                  <c:v>Krug</c:v>
                </c:pt>
                <c:pt idx="206">
                  <c:v>Roederer</c:v>
                </c:pt>
                <c:pt idx="207">
                  <c:v>Roederer</c:v>
                </c:pt>
                <c:pt idx="208">
                  <c:v>All Others</c:v>
                </c:pt>
                <c:pt idx="209">
                  <c:v>All Others</c:v>
                </c:pt>
                <c:pt idx="210">
                  <c:v>Piper Heids</c:v>
                </c:pt>
                <c:pt idx="211">
                  <c:v>Laurent Per</c:v>
                </c:pt>
                <c:pt idx="212">
                  <c:v>All Others</c:v>
                </c:pt>
                <c:pt idx="213">
                  <c:v>Dom Perigno</c:v>
                </c:pt>
                <c:pt idx="214">
                  <c:v>Demoiselle</c:v>
                </c:pt>
                <c:pt idx="215">
                  <c:v>Deutz</c:v>
                </c:pt>
                <c:pt idx="216">
                  <c:v>Besserat De</c:v>
                </c:pt>
                <c:pt idx="217">
                  <c:v>Moët &amp; Chan</c:v>
                </c:pt>
                <c:pt idx="218">
                  <c:v>Dom Perigno</c:v>
                </c:pt>
                <c:pt idx="219">
                  <c:v>Dom Perigno</c:v>
                </c:pt>
                <c:pt idx="220">
                  <c:v>De Venoge</c:v>
                </c:pt>
                <c:pt idx="221">
                  <c:v>Perrier Jou</c:v>
                </c:pt>
                <c:pt idx="222">
                  <c:v>Deutz</c:v>
                </c:pt>
                <c:pt idx="223">
                  <c:v>Malard</c:v>
                </c:pt>
                <c:pt idx="224">
                  <c:v>Deutz</c:v>
                </c:pt>
                <c:pt idx="225">
                  <c:v>Roederer</c:v>
                </c:pt>
                <c:pt idx="226">
                  <c:v>Ruinart</c:v>
                </c:pt>
                <c:pt idx="227">
                  <c:v>All Others</c:v>
                </c:pt>
                <c:pt idx="228">
                  <c:v>All Others</c:v>
                </c:pt>
                <c:pt idx="229">
                  <c:v>All Others</c:v>
                </c:pt>
                <c:pt idx="230">
                  <c:v>Bollinger</c:v>
                </c:pt>
                <c:pt idx="231">
                  <c:v>All Others</c:v>
                </c:pt>
                <c:pt idx="232">
                  <c:v>Delamotte</c:v>
                </c:pt>
                <c:pt idx="233">
                  <c:v>Ruinart</c:v>
                </c:pt>
                <c:pt idx="234">
                  <c:v>Piper Heids</c:v>
                </c:pt>
                <c:pt idx="235">
                  <c:v>Bollinger</c:v>
                </c:pt>
                <c:pt idx="236">
                  <c:v>Bollinger</c:v>
                </c:pt>
                <c:pt idx="237">
                  <c:v>Krug</c:v>
                </c:pt>
                <c:pt idx="238">
                  <c:v>All Others</c:v>
                </c:pt>
                <c:pt idx="239">
                  <c:v>Ruinart</c:v>
                </c:pt>
                <c:pt idx="240">
                  <c:v>All Others</c:v>
                </c:pt>
                <c:pt idx="241">
                  <c:v>Nicolas</c:v>
                </c:pt>
                <c:pt idx="242">
                  <c:v>Moët &amp; Chan</c:v>
                </c:pt>
                <c:pt idx="243">
                  <c:v>Veuve Clicq</c:v>
                </c:pt>
                <c:pt idx="244">
                  <c:v>Laurent Per</c:v>
                </c:pt>
                <c:pt idx="245">
                  <c:v>De Venoge</c:v>
                </c:pt>
                <c:pt idx="246">
                  <c:v>Nicolas Feu</c:v>
                </c:pt>
                <c:pt idx="247">
                  <c:v>Taittinger</c:v>
                </c:pt>
                <c:pt idx="248">
                  <c:v>Perrier Jou</c:v>
                </c:pt>
                <c:pt idx="249">
                  <c:v>Dom Perigno</c:v>
                </c:pt>
                <c:pt idx="250">
                  <c:v>Nicolas</c:v>
                </c:pt>
                <c:pt idx="251">
                  <c:v>De Venoge</c:v>
                </c:pt>
                <c:pt idx="252">
                  <c:v>Delamotte</c:v>
                </c:pt>
                <c:pt idx="253">
                  <c:v>All Others</c:v>
                </c:pt>
                <c:pt idx="254">
                  <c:v>Roederer</c:v>
                </c:pt>
                <c:pt idx="255">
                  <c:v>Henriot</c:v>
                </c:pt>
                <c:pt idx="256">
                  <c:v>Pommery</c:v>
                </c:pt>
                <c:pt idx="257">
                  <c:v>All Others</c:v>
                </c:pt>
                <c:pt idx="258">
                  <c:v>De Bligny</c:v>
                </c:pt>
                <c:pt idx="259">
                  <c:v>Demoiselle</c:v>
                </c:pt>
                <c:pt idx="260">
                  <c:v>All Others</c:v>
                </c:pt>
                <c:pt idx="261">
                  <c:v>Dom Perigno</c:v>
                </c:pt>
                <c:pt idx="262">
                  <c:v>Nicolas</c:v>
                </c:pt>
                <c:pt idx="263">
                  <c:v>Veuve Clicq</c:v>
                </c:pt>
                <c:pt idx="264">
                  <c:v>Dom Perigno</c:v>
                </c:pt>
                <c:pt idx="265">
                  <c:v>All Others</c:v>
                </c:pt>
                <c:pt idx="266">
                  <c:v>De Venoge</c:v>
                </c:pt>
                <c:pt idx="267">
                  <c:v>Ayala</c:v>
                </c:pt>
                <c:pt idx="268">
                  <c:v>Vesselle</c:v>
                </c:pt>
                <c:pt idx="269">
                  <c:v>Pommery</c:v>
                </c:pt>
                <c:pt idx="270">
                  <c:v>Canard Duch</c:v>
                </c:pt>
                <c:pt idx="271">
                  <c:v>Moët &amp; Chan</c:v>
                </c:pt>
                <c:pt idx="272">
                  <c:v>Krug</c:v>
                </c:pt>
                <c:pt idx="273">
                  <c:v>Bollinger</c:v>
                </c:pt>
                <c:pt idx="274">
                  <c:v>Ayala</c:v>
                </c:pt>
                <c:pt idx="275">
                  <c:v>Canard Duch</c:v>
                </c:pt>
                <c:pt idx="276">
                  <c:v>Veuve Clicq</c:v>
                </c:pt>
                <c:pt idx="277">
                  <c:v>Ruinart</c:v>
                </c:pt>
                <c:pt idx="278">
                  <c:v>Roederer</c:v>
                </c:pt>
                <c:pt idx="279">
                  <c:v>Roederer</c:v>
                </c:pt>
                <c:pt idx="280">
                  <c:v>Bollinger</c:v>
                </c:pt>
                <c:pt idx="281">
                  <c:v>All Others</c:v>
                </c:pt>
                <c:pt idx="282">
                  <c:v>Deutz</c:v>
                </c:pt>
                <c:pt idx="283">
                  <c:v>Perrier Jou</c:v>
                </c:pt>
                <c:pt idx="284">
                  <c:v>Nicolas Feu</c:v>
                </c:pt>
                <c:pt idx="285">
                  <c:v>Veuve Clicq</c:v>
                </c:pt>
                <c:pt idx="286">
                  <c:v>Heidsieck &amp;</c:v>
                </c:pt>
                <c:pt idx="287">
                  <c:v>Roederer</c:v>
                </c:pt>
                <c:pt idx="288">
                  <c:v>Henriot</c:v>
                </c:pt>
                <c:pt idx="289">
                  <c:v>Taittinger</c:v>
                </c:pt>
                <c:pt idx="290">
                  <c:v>Krug</c:v>
                </c:pt>
                <c:pt idx="291">
                  <c:v>Ayala</c:v>
                </c:pt>
                <c:pt idx="292">
                  <c:v>Pommery</c:v>
                </c:pt>
                <c:pt idx="293">
                  <c:v>Moët &amp; Chan</c:v>
                </c:pt>
                <c:pt idx="294">
                  <c:v>Pommery</c:v>
                </c:pt>
                <c:pt idx="295">
                  <c:v>Taittinger</c:v>
                </c:pt>
                <c:pt idx="296">
                  <c:v>Pommery</c:v>
                </c:pt>
                <c:pt idx="297">
                  <c:v>Vranken</c:v>
                </c:pt>
                <c:pt idx="298">
                  <c:v>Roederer</c:v>
                </c:pt>
                <c:pt idx="299">
                  <c:v>Canard Duch</c:v>
                </c:pt>
                <c:pt idx="300">
                  <c:v>Laurent Per</c:v>
                </c:pt>
                <c:pt idx="301">
                  <c:v>Roederer</c:v>
                </c:pt>
                <c:pt idx="302">
                  <c:v>Piper Heids</c:v>
                </c:pt>
                <c:pt idx="303">
                  <c:v>Laurent Per</c:v>
                </c:pt>
                <c:pt idx="304">
                  <c:v>All Others</c:v>
                </c:pt>
                <c:pt idx="305">
                  <c:v>Heidsieck &amp;</c:v>
                </c:pt>
                <c:pt idx="306">
                  <c:v>Taittinger</c:v>
                </c:pt>
                <c:pt idx="307">
                  <c:v>All Others</c:v>
                </c:pt>
                <c:pt idx="308">
                  <c:v>Besserat De</c:v>
                </c:pt>
                <c:pt idx="309">
                  <c:v>Piper Heids</c:v>
                </c:pt>
                <c:pt idx="310">
                  <c:v>All Others</c:v>
                </c:pt>
                <c:pt idx="311">
                  <c:v>Nicolas Feu</c:v>
                </c:pt>
                <c:pt idx="312">
                  <c:v>All Others</c:v>
                </c:pt>
                <c:pt idx="313">
                  <c:v>Henriot</c:v>
                </c:pt>
                <c:pt idx="314">
                  <c:v>Lanson</c:v>
                </c:pt>
                <c:pt idx="315">
                  <c:v>Krug</c:v>
                </c:pt>
                <c:pt idx="316">
                  <c:v>All Others</c:v>
                </c:pt>
                <c:pt idx="317">
                  <c:v>Ruinart</c:v>
                </c:pt>
                <c:pt idx="318">
                  <c:v>Dom Perigno</c:v>
                </c:pt>
                <c:pt idx="319">
                  <c:v>De Bligny</c:v>
                </c:pt>
                <c:pt idx="320">
                  <c:v>Demoiselle</c:v>
                </c:pt>
                <c:pt idx="321">
                  <c:v>Deutz</c:v>
                </c:pt>
                <c:pt idx="322">
                  <c:v>Moët &amp; Chan</c:v>
                </c:pt>
                <c:pt idx="323">
                  <c:v>Veuve Clicq</c:v>
                </c:pt>
                <c:pt idx="324">
                  <c:v>Moët &amp; Chan</c:v>
                </c:pt>
                <c:pt idx="325">
                  <c:v>Bollinger</c:v>
                </c:pt>
                <c:pt idx="326">
                  <c:v>Martel</c:v>
                </c:pt>
                <c:pt idx="327">
                  <c:v>Bollinger</c:v>
                </c:pt>
                <c:pt idx="328">
                  <c:v>Ruinart</c:v>
                </c:pt>
                <c:pt idx="329">
                  <c:v>Taittinger</c:v>
                </c:pt>
                <c:pt idx="330">
                  <c:v>All Others</c:v>
                </c:pt>
                <c:pt idx="331">
                  <c:v>All Others</c:v>
                </c:pt>
                <c:pt idx="332">
                  <c:v>De Venoge</c:v>
                </c:pt>
                <c:pt idx="333">
                  <c:v>All Others</c:v>
                </c:pt>
                <c:pt idx="334">
                  <c:v>Nicolas Feu</c:v>
                </c:pt>
                <c:pt idx="335">
                  <c:v>Laurent Per</c:v>
                </c:pt>
                <c:pt idx="336">
                  <c:v>Laurent Per</c:v>
                </c:pt>
                <c:pt idx="337">
                  <c:v>All Others</c:v>
                </c:pt>
                <c:pt idx="338">
                  <c:v>Roederer</c:v>
                </c:pt>
                <c:pt idx="339">
                  <c:v>All Others</c:v>
                </c:pt>
                <c:pt idx="340">
                  <c:v>Demoiselle</c:v>
                </c:pt>
                <c:pt idx="341">
                  <c:v>All Others</c:v>
                </c:pt>
                <c:pt idx="342">
                  <c:v>Bollinger</c:v>
                </c:pt>
                <c:pt idx="343">
                  <c:v>Nicolas Feu</c:v>
                </c:pt>
                <c:pt idx="344">
                  <c:v>All Others</c:v>
                </c:pt>
                <c:pt idx="345">
                  <c:v>Ayala</c:v>
                </c:pt>
                <c:pt idx="346">
                  <c:v>All Others</c:v>
                </c:pt>
                <c:pt idx="347">
                  <c:v>All Others</c:v>
                </c:pt>
                <c:pt idx="348">
                  <c:v>Ruinart</c:v>
                </c:pt>
                <c:pt idx="349">
                  <c:v>Bollinger</c:v>
                </c:pt>
                <c:pt idx="350">
                  <c:v>Canard Duch</c:v>
                </c:pt>
                <c:pt idx="351">
                  <c:v>Pommery</c:v>
                </c:pt>
                <c:pt idx="352">
                  <c:v>All Others</c:v>
                </c:pt>
                <c:pt idx="353">
                  <c:v>Roederer</c:v>
                </c:pt>
                <c:pt idx="354">
                  <c:v>Besserat De</c:v>
                </c:pt>
                <c:pt idx="355">
                  <c:v>Piper Heids</c:v>
                </c:pt>
                <c:pt idx="356">
                  <c:v>Pommery</c:v>
                </c:pt>
                <c:pt idx="357">
                  <c:v>De Venoge</c:v>
                </c:pt>
                <c:pt idx="358">
                  <c:v>All Others</c:v>
                </c:pt>
                <c:pt idx="359">
                  <c:v>Nicolas</c:v>
                </c:pt>
                <c:pt idx="360">
                  <c:v>Malard</c:v>
                </c:pt>
                <c:pt idx="361">
                  <c:v>All Others</c:v>
                </c:pt>
                <c:pt idx="362">
                  <c:v>Laurent Per</c:v>
                </c:pt>
                <c:pt idx="363">
                  <c:v>Mumm</c:v>
                </c:pt>
                <c:pt idx="364">
                  <c:v>Roederer</c:v>
                </c:pt>
                <c:pt idx="365">
                  <c:v>Taittinger</c:v>
                </c:pt>
                <c:pt idx="366">
                  <c:v>Vranken</c:v>
                </c:pt>
                <c:pt idx="367">
                  <c:v>Moët &amp; Chan</c:v>
                </c:pt>
                <c:pt idx="368">
                  <c:v>Henriot</c:v>
                </c:pt>
                <c:pt idx="369">
                  <c:v>Besserat De</c:v>
                </c:pt>
                <c:pt idx="370">
                  <c:v>Nicolas</c:v>
                </c:pt>
                <c:pt idx="371">
                  <c:v>Laurent Per</c:v>
                </c:pt>
                <c:pt idx="372">
                  <c:v>Deutz</c:v>
                </c:pt>
                <c:pt idx="373">
                  <c:v>Laurent Per</c:v>
                </c:pt>
                <c:pt idx="374">
                  <c:v>Pommery</c:v>
                </c:pt>
                <c:pt idx="375">
                  <c:v>Moët &amp; Chan</c:v>
                </c:pt>
                <c:pt idx="376">
                  <c:v>Roederer</c:v>
                </c:pt>
                <c:pt idx="377">
                  <c:v>Piper Heids</c:v>
                </c:pt>
                <c:pt idx="378">
                  <c:v>Malard</c:v>
                </c:pt>
                <c:pt idx="379">
                  <c:v>Demoiselle</c:v>
                </c:pt>
                <c:pt idx="380">
                  <c:v>All Others</c:v>
                </c:pt>
                <c:pt idx="381">
                  <c:v>Vesselle</c:v>
                </c:pt>
                <c:pt idx="382">
                  <c:v>Roederer</c:v>
                </c:pt>
              </c:strCache>
            </c:strRef>
          </c:cat>
          <c:val>
            <c:numRef>
              <c:f>Sheet1!$C$2:$C$384</c:f>
              <c:numCache>
                <c:formatCode>General</c:formatCode>
                <c:ptCount val="383"/>
                <c:pt idx="0">
                  <c:v>9.6677016930465681E-2</c:v>
                </c:pt>
                <c:pt idx="1">
                  <c:v>0.15426775912772897</c:v>
                </c:pt>
                <c:pt idx="2">
                  <c:v>0.20992105151318685</c:v>
                </c:pt>
                <c:pt idx="3">
                  <c:v>0.25677622074364348</c:v>
                </c:pt>
                <c:pt idx="4">
                  <c:v>0.2895574992286104</c:v>
                </c:pt>
                <c:pt idx="5">
                  <c:v>0.31856339678860446</c:v>
                </c:pt>
                <c:pt idx="6">
                  <c:v>0.34558844140579975</c:v>
                </c:pt>
                <c:pt idx="7">
                  <c:v>0.37026663192288584</c:v>
                </c:pt>
                <c:pt idx="8">
                  <c:v>0.3940106977016074</c:v>
                </c:pt>
                <c:pt idx="9">
                  <c:v>0.41547684376473865</c:v>
                </c:pt>
                <c:pt idx="10">
                  <c:v>0.43478703503797533</c:v>
                </c:pt>
                <c:pt idx="11">
                  <c:v>0.45404350429858542</c:v>
                </c:pt>
                <c:pt idx="12">
                  <c:v>0.47226308552539087</c:v>
                </c:pt>
                <c:pt idx="13">
                  <c:v>0.49031485195037761</c:v>
                </c:pt>
                <c:pt idx="14">
                  <c:v>0.50687490169802507</c:v>
                </c:pt>
                <c:pt idx="15">
                  <c:v>0.52166419944334408</c:v>
                </c:pt>
                <c:pt idx="16">
                  <c:v>0.5354285769299485</c:v>
                </c:pt>
                <c:pt idx="17">
                  <c:v>0.54878961380096147</c:v>
                </c:pt>
                <c:pt idx="18">
                  <c:v>0.55978172267558801</c:v>
                </c:pt>
                <c:pt idx="19">
                  <c:v>0.57032517295961527</c:v>
                </c:pt>
                <c:pt idx="20">
                  <c:v>0.58086197447970356</c:v>
                </c:pt>
                <c:pt idx="21">
                  <c:v>0.59136367052619432</c:v>
                </c:pt>
                <c:pt idx="22">
                  <c:v>0.6017485078976943</c:v>
                </c:pt>
                <c:pt idx="23">
                  <c:v>0.61212600503380576</c:v>
                </c:pt>
                <c:pt idx="24">
                  <c:v>0.6218993156932584</c:v>
                </c:pt>
                <c:pt idx="25">
                  <c:v>0.6316091705496778</c:v>
                </c:pt>
                <c:pt idx="26">
                  <c:v>0.64104169216467644</c:v>
                </c:pt>
                <c:pt idx="27">
                  <c:v>0.65018241282792311</c:v>
                </c:pt>
                <c:pt idx="28">
                  <c:v>0.65856788709781833</c:v>
                </c:pt>
                <c:pt idx="29">
                  <c:v>0.66673044161036898</c:v>
                </c:pt>
                <c:pt idx="30">
                  <c:v>0.67466603391710023</c:v>
                </c:pt>
                <c:pt idx="31">
                  <c:v>0.68251035199247778</c:v>
                </c:pt>
                <c:pt idx="32">
                  <c:v>0.69028536335255586</c:v>
                </c:pt>
                <c:pt idx="33">
                  <c:v>0.69791218706196301</c:v>
                </c:pt>
                <c:pt idx="34">
                  <c:v>0.70523013579382299</c:v>
                </c:pt>
                <c:pt idx="35">
                  <c:v>0.71234005799956157</c:v>
                </c:pt>
                <c:pt idx="36">
                  <c:v>0.71937790760420217</c:v>
                </c:pt>
                <c:pt idx="37">
                  <c:v>0.72592491885981481</c:v>
                </c:pt>
                <c:pt idx="38">
                  <c:v>0.73241767620168574</c:v>
                </c:pt>
                <c:pt idx="39">
                  <c:v>0.73866916319774067</c:v>
                </c:pt>
                <c:pt idx="40">
                  <c:v>0.74486432186570495</c:v>
                </c:pt>
                <c:pt idx="41">
                  <c:v>0.75080900829856168</c:v>
                </c:pt>
                <c:pt idx="42">
                  <c:v>0.75656189118930806</c:v>
                </c:pt>
                <c:pt idx="43">
                  <c:v>0.76193191165739482</c:v>
                </c:pt>
                <c:pt idx="44">
                  <c:v>0.76711140514604759</c:v>
                </c:pt>
                <c:pt idx="45">
                  <c:v>0.77225680377322148</c:v>
                </c:pt>
                <c:pt idx="46">
                  <c:v>0.77724167464385374</c:v>
                </c:pt>
                <c:pt idx="47">
                  <c:v>0.78208271945295893</c:v>
                </c:pt>
                <c:pt idx="48">
                  <c:v>0.7868699358692145</c:v>
                </c:pt>
                <c:pt idx="49">
                  <c:v>0.79162050429863873</c:v>
                </c:pt>
                <c:pt idx="50">
                  <c:v>0.7963429351590734</c:v>
                </c:pt>
                <c:pt idx="51">
                  <c:v>0.80099744224710789</c:v>
                </c:pt>
                <c:pt idx="52">
                  <c:v>0.8055786533614796</c:v>
                </c:pt>
                <c:pt idx="53">
                  <c:v>0.81006534564769539</c:v>
                </c:pt>
                <c:pt idx="54">
                  <c:v>0.81438964852346662</c:v>
                </c:pt>
                <c:pt idx="55">
                  <c:v>0.81845023482636403</c:v>
                </c:pt>
                <c:pt idx="56">
                  <c:v>0.82246263088823202</c:v>
                </c:pt>
                <c:pt idx="57">
                  <c:v>0.8264332727125635</c:v>
                </c:pt>
                <c:pt idx="58">
                  <c:v>0.83034487351311725</c:v>
                </c:pt>
                <c:pt idx="59">
                  <c:v>0.83423136858103752</c:v>
                </c:pt>
                <c:pt idx="60">
                  <c:v>0.83803047229574446</c:v>
                </c:pt>
                <c:pt idx="61">
                  <c:v>0.84167458002550699</c:v>
                </c:pt>
                <c:pt idx="62">
                  <c:v>0.84530241158114705</c:v>
                </c:pt>
                <c:pt idx="63">
                  <c:v>0.84891019046474725</c:v>
                </c:pt>
                <c:pt idx="64">
                  <c:v>0.85245690710033228</c:v>
                </c:pt>
                <c:pt idx="65">
                  <c:v>0.85589133941051654</c:v>
                </c:pt>
                <c:pt idx="66">
                  <c:v>0.85922593388139379</c:v>
                </c:pt>
                <c:pt idx="67">
                  <c:v>0.86253893316699737</c:v>
                </c:pt>
                <c:pt idx="68">
                  <c:v>0.86579496584317217</c:v>
                </c:pt>
                <c:pt idx="69">
                  <c:v>0.868893130268381</c:v>
                </c:pt>
                <c:pt idx="70">
                  <c:v>0.87169412154057513</c:v>
                </c:pt>
                <c:pt idx="71">
                  <c:v>0.87434724430276745</c:v>
                </c:pt>
                <c:pt idx="72">
                  <c:v>0.87694813437545549</c:v>
                </c:pt>
                <c:pt idx="73">
                  <c:v>0.87944812280660623</c:v>
                </c:pt>
                <c:pt idx="74">
                  <c:v>0.88193667536378195</c:v>
                </c:pt>
                <c:pt idx="75">
                  <c:v>0.88442283436593971</c:v>
                </c:pt>
                <c:pt idx="76">
                  <c:v>0.88688367487501807</c:v>
                </c:pt>
                <c:pt idx="77">
                  <c:v>0.88932127130536587</c:v>
                </c:pt>
                <c:pt idx="78">
                  <c:v>0.89171844325096494</c:v>
                </c:pt>
                <c:pt idx="79">
                  <c:v>0.89405987195969994</c:v>
                </c:pt>
                <c:pt idx="80">
                  <c:v>0.89637997143371884</c:v>
                </c:pt>
                <c:pt idx="81">
                  <c:v>0.89865836986031278</c:v>
                </c:pt>
                <c:pt idx="82">
                  <c:v>0.90089618423182349</c:v>
                </c:pt>
                <c:pt idx="83">
                  <c:v>0.90303001193532928</c:v>
                </c:pt>
                <c:pt idx="84">
                  <c:v>0.90516341411794299</c:v>
                </c:pt>
                <c:pt idx="85">
                  <c:v>0.9072812847879953</c:v>
                </c:pt>
                <c:pt idx="86">
                  <c:v>0.90935256092036354</c:v>
                </c:pt>
                <c:pt idx="87">
                  <c:v>0.91130942512287061</c:v>
                </c:pt>
                <c:pt idx="88">
                  <c:v>0.91322251386360376</c:v>
                </c:pt>
                <c:pt idx="89">
                  <c:v>0.91513469837244121</c:v>
                </c:pt>
                <c:pt idx="90">
                  <c:v>0.9168171015995491</c:v>
                </c:pt>
                <c:pt idx="91">
                  <c:v>0.91848833490323956</c:v>
                </c:pt>
                <c:pt idx="92">
                  <c:v>0.92013116468738287</c:v>
                </c:pt>
                <c:pt idx="93">
                  <c:v>0.9217708030648355</c:v>
                </c:pt>
                <c:pt idx="94">
                  <c:v>0.9233721445619999</c:v>
                </c:pt>
                <c:pt idx="95">
                  <c:v>0.92494082733069627</c:v>
                </c:pt>
                <c:pt idx="96">
                  <c:v>0.92648706387233482</c:v>
                </c:pt>
                <c:pt idx="97">
                  <c:v>0.92803234299196613</c:v>
                </c:pt>
                <c:pt idx="98">
                  <c:v>0.92957629235880967</c:v>
                </c:pt>
                <c:pt idx="99">
                  <c:v>0.93101630824775983</c:v>
                </c:pt>
                <c:pt idx="100">
                  <c:v>0.93243488852177081</c:v>
                </c:pt>
                <c:pt idx="101">
                  <c:v>0.93379261930821267</c:v>
                </c:pt>
                <c:pt idx="102">
                  <c:v>0.93513561643376586</c:v>
                </c:pt>
                <c:pt idx="103">
                  <c:v>0.93644015710869621</c:v>
                </c:pt>
                <c:pt idx="104">
                  <c:v>0.93773203853708686</c:v>
                </c:pt>
                <c:pt idx="105">
                  <c:v>0.93901211176072197</c:v>
                </c:pt>
                <c:pt idx="106">
                  <c:v>0.94028186610272391</c:v>
                </c:pt>
                <c:pt idx="107">
                  <c:v>0.94150768541261731</c:v>
                </c:pt>
                <c:pt idx="108">
                  <c:v>0.94273307920161864</c:v>
                </c:pt>
                <c:pt idx="109">
                  <c:v>0.9439054956395545</c:v>
                </c:pt>
                <c:pt idx="110">
                  <c:v>0.94507647594447963</c:v>
                </c:pt>
                <c:pt idx="111">
                  <c:v>0.94624160533713841</c:v>
                </c:pt>
                <c:pt idx="112">
                  <c:v>0.94740162847909215</c:v>
                </c:pt>
                <c:pt idx="113">
                  <c:v>0.94854984341629034</c:v>
                </c:pt>
                <c:pt idx="114">
                  <c:v>0.94968710119051714</c:v>
                </c:pt>
                <c:pt idx="115">
                  <c:v>0.95072085100774262</c:v>
                </c:pt>
                <c:pt idx="116">
                  <c:v>0.95172018682282022</c:v>
                </c:pt>
                <c:pt idx="117">
                  <c:v>0.9527095760870451</c:v>
                </c:pt>
                <c:pt idx="118">
                  <c:v>0.95366641300302502</c:v>
                </c:pt>
                <c:pt idx="119">
                  <c:v>0.95460287810629596</c:v>
                </c:pt>
                <c:pt idx="120">
                  <c:v>0.95553679008421444</c:v>
                </c:pt>
                <c:pt idx="121">
                  <c:v>0.95645304294511102</c:v>
                </c:pt>
                <c:pt idx="122">
                  <c:v>0.95732754156847111</c:v>
                </c:pt>
                <c:pt idx="123">
                  <c:v>0.95818129604834179</c:v>
                </c:pt>
                <c:pt idx="124">
                  <c:v>0.95900733848011499</c:v>
                </c:pt>
                <c:pt idx="125">
                  <c:v>0.95982689171828373</c:v>
                </c:pt>
                <c:pt idx="126">
                  <c:v>0.9606407004244093</c:v>
                </c:pt>
                <c:pt idx="127">
                  <c:v>0.96140211687069599</c:v>
                </c:pt>
                <c:pt idx="128">
                  <c:v>0.96215108683088901</c:v>
                </c:pt>
                <c:pt idx="129">
                  <c:v>0.9628781956552509</c:v>
                </c:pt>
                <c:pt idx="130">
                  <c:v>0.96359732596288605</c:v>
                </c:pt>
                <c:pt idx="131">
                  <c:v>0.96431305210338447</c:v>
                </c:pt>
                <c:pt idx="132">
                  <c:v>0.96500138533645441</c:v>
                </c:pt>
                <c:pt idx="133">
                  <c:v>0.96568296342536242</c:v>
                </c:pt>
                <c:pt idx="134">
                  <c:v>0.96635943526356538</c:v>
                </c:pt>
                <c:pt idx="135">
                  <c:v>0.96702877962682576</c:v>
                </c:pt>
                <c:pt idx="136">
                  <c:v>0.9676940815416113</c:v>
                </c:pt>
                <c:pt idx="137">
                  <c:v>0.96834597954829593</c:v>
                </c:pt>
                <c:pt idx="138">
                  <c:v>0.96897851635439036</c:v>
                </c:pt>
                <c:pt idx="139">
                  <c:v>0.96959392594457816</c:v>
                </c:pt>
                <c:pt idx="140">
                  <c:v>0.97020013364547442</c:v>
                </c:pt>
                <c:pt idx="141">
                  <c:v>0.97080277760889944</c:v>
                </c:pt>
                <c:pt idx="142">
                  <c:v>0.97139616649292138</c:v>
                </c:pt>
                <c:pt idx="143">
                  <c:v>0.9719864703504757</c:v>
                </c:pt>
                <c:pt idx="144">
                  <c:v>0.97256778507918462</c:v>
                </c:pt>
                <c:pt idx="145">
                  <c:v>0.97314117448127835</c:v>
                </c:pt>
                <c:pt idx="146">
                  <c:v>0.97371360646136484</c:v>
                </c:pt>
                <c:pt idx="147">
                  <c:v>0.97428513420955565</c:v>
                </c:pt>
                <c:pt idx="148">
                  <c:v>0.97484698135745129</c:v>
                </c:pt>
                <c:pt idx="149">
                  <c:v>0.97540164784029293</c:v>
                </c:pt>
                <c:pt idx="150">
                  <c:v>0.97593392128618828</c:v>
                </c:pt>
                <c:pt idx="151">
                  <c:v>0.97645220573275604</c:v>
                </c:pt>
                <c:pt idx="152">
                  <c:v>0.97697006465843172</c:v>
                </c:pt>
                <c:pt idx="153">
                  <c:v>0.97748255138284479</c:v>
                </c:pt>
                <c:pt idx="154">
                  <c:v>0.97797626199789434</c:v>
                </c:pt>
                <c:pt idx="155">
                  <c:v>0.9784526326365911</c:v>
                </c:pt>
                <c:pt idx="156">
                  <c:v>0.97892400340480579</c:v>
                </c:pt>
                <c:pt idx="157">
                  <c:v>0.97937271518551661</c:v>
                </c:pt>
                <c:pt idx="158">
                  <c:v>0.97982073549477777</c:v>
                </c:pt>
                <c:pt idx="159">
                  <c:v>0.98024503301430477</c:v>
                </c:pt>
                <c:pt idx="160">
                  <c:v>0.98066863906238211</c:v>
                </c:pt>
                <c:pt idx="161">
                  <c:v>0.98107166053730455</c:v>
                </c:pt>
                <c:pt idx="162">
                  <c:v>0.98146356527892109</c:v>
                </c:pt>
                <c:pt idx="163">
                  <c:v>0.98184094912009501</c:v>
                </c:pt>
                <c:pt idx="164">
                  <c:v>0.98221030125443065</c:v>
                </c:pt>
                <c:pt idx="165">
                  <c:v>0.98257593008096056</c:v>
                </c:pt>
                <c:pt idx="166">
                  <c:v>0.98293682498756585</c:v>
                </c:pt>
                <c:pt idx="167">
                  <c:v>0.98329468805781506</c:v>
                </c:pt>
                <c:pt idx="168">
                  <c:v>0.98364983843237719</c:v>
                </c:pt>
                <c:pt idx="169">
                  <c:v>0.98398711692947138</c:v>
                </c:pt>
                <c:pt idx="170">
                  <c:v>0.98432412947600811</c:v>
                </c:pt>
                <c:pt idx="171">
                  <c:v>0.98461784527177443</c:v>
                </c:pt>
                <c:pt idx="172">
                  <c:v>0.98490608248605505</c:v>
                </c:pt>
                <c:pt idx="173">
                  <c:v>0.98519330908821701</c:v>
                </c:pt>
                <c:pt idx="174">
                  <c:v>0.98547899317714516</c:v>
                </c:pt>
                <c:pt idx="175">
                  <c:v>0.9857611667187135</c:v>
                </c:pt>
                <c:pt idx="176">
                  <c:v>0.98604211688771715</c:v>
                </c:pt>
                <c:pt idx="177">
                  <c:v>0.98631721614445445</c:v>
                </c:pt>
                <c:pt idx="178">
                  <c:v>0.98658938994505863</c:v>
                </c:pt>
                <c:pt idx="179">
                  <c:v>0.98685932976097934</c:v>
                </c:pt>
                <c:pt idx="180">
                  <c:v>0.98711772732270209</c:v>
                </c:pt>
                <c:pt idx="181">
                  <c:v>0.9873760716943133</c:v>
                </c:pt>
                <c:pt idx="182">
                  <c:v>0.98762856515365827</c:v>
                </c:pt>
                <c:pt idx="183">
                  <c:v>0.98787430346884131</c:v>
                </c:pt>
                <c:pt idx="184">
                  <c:v>0.98811929712246316</c:v>
                </c:pt>
                <c:pt idx="185">
                  <c:v>0.98835104643831861</c:v>
                </c:pt>
                <c:pt idx="186">
                  <c:v>0.98857891287603372</c:v>
                </c:pt>
                <c:pt idx="187">
                  <c:v>0.98879135418141051</c:v>
                </c:pt>
                <c:pt idx="188">
                  <c:v>0.98900209340321898</c:v>
                </c:pt>
                <c:pt idx="189">
                  <c:v>0.98920586472041949</c:v>
                </c:pt>
                <c:pt idx="190">
                  <c:v>0.98940772119360554</c:v>
                </c:pt>
                <c:pt idx="191">
                  <c:v>0.98960931171623401</c:v>
                </c:pt>
                <c:pt idx="192">
                  <c:v>0.98980345562325089</c:v>
                </c:pt>
                <c:pt idx="193">
                  <c:v>0.98999020610476762</c:v>
                </c:pt>
                <c:pt idx="194">
                  <c:v>0.99017637149505777</c:v>
                </c:pt>
                <c:pt idx="195">
                  <c:v>0.99036094118200257</c:v>
                </c:pt>
                <c:pt idx="196">
                  <c:v>0.99054465982716322</c:v>
                </c:pt>
                <c:pt idx="197">
                  <c:v>0.99072657000853248</c:v>
                </c:pt>
                <c:pt idx="198">
                  <c:v>0.99090358669964262</c:v>
                </c:pt>
                <c:pt idx="199">
                  <c:v>0.99107884811707292</c:v>
                </c:pt>
                <c:pt idx="200">
                  <c:v>0.99125341806305356</c:v>
                </c:pt>
                <c:pt idx="201">
                  <c:v>0.99142575402435074</c:v>
                </c:pt>
                <c:pt idx="202">
                  <c:v>0.99159245183382771</c:v>
                </c:pt>
                <c:pt idx="203">
                  <c:v>0.99174946904300953</c:v>
                </c:pt>
                <c:pt idx="204">
                  <c:v>0.99190499692906908</c:v>
                </c:pt>
                <c:pt idx="205">
                  <c:v>0.99205978015356744</c:v>
                </c:pt>
                <c:pt idx="206">
                  <c:v>0.9922134995758356</c:v>
                </c:pt>
                <c:pt idx="207">
                  <c:v>0.99236668709698861</c:v>
                </c:pt>
                <c:pt idx="208">
                  <c:v>0.99251455560699053</c:v>
                </c:pt>
                <c:pt idx="209">
                  <c:v>0.99266189221587731</c:v>
                </c:pt>
                <c:pt idx="210">
                  <c:v>0.99280523956640077</c:v>
                </c:pt>
                <c:pt idx="211">
                  <c:v>0.99294284238488095</c:v>
                </c:pt>
                <c:pt idx="212">
                  <c:v>0.99307805164834306</c:v>
                </c:pt>
                <c:pt idx="213">
                  <c:v>0.99321315453158221</c:v>
                </c:pt>
                <c:pt idx="214">
                  <c:v>0.99334676809169908</c:v>
                </c:pt>
                <c:pt idx="215">
                  <c:v>0.99347857318802446</c:v>
                </c:pt>
                <c:pt idx="216">
                  <c:v>0.99360974000301172</c:v>
                </c:pt>
                <c:pt idx="217">
                  <c:v>0.99373611970796294</c:v>
                </c:pt>
                <c:pt idx="218">
                  <c:v>0.99385313795328822</c:v>
                </c:pt>
                <c:pt idx="219">
                  <c:v>0.9939690923963832</c:v>
                </c:pt>
                <c:pt idx="220">
                  <c:v>0.99408222776356814</c:v>
                </c:pt>
                <c:pt idx="221">
                  <c:v>0.99419286319551203</c:v>
                </c:pt>
                <c:pt idx="222">
                  <c:v>0.99430009446031919</c:v>
                </c:pt>
                <c:pt idx="223">
                  <c:v>0.99440136843263705</c:v>
                </c:pt>
                <c:pt idx="224">
                  <c:v>0.99449796167514193</c:v>
                </c:pt>
                <c:pt idx="225">
                  <c:v>0.9945931719747475</c:v>
                </c:pt>
                <c:pt idx="226">
                  <c:v>0.9946858291490005</c:v>
                </c:pt>
                <c:pt idx="227">
                  <c:v>0.994778326752919</c:v>
                </c:pt>
                <c:pt idx="228">
                  <c:v>0.99486981374471872</c:v>
                </c:pt>
                <c:pt idx="229">
                  <c:v>0.99495747104848964</c:v>
                </c:pt>
                <c:pt idx="230">
                  <c:v>0.99504417093025332</c:v>
                </c:pt>
                <c:pt idx="231">
                  <c:v>0.9951293282987832</c:v>
                </c:pt>
                <c:pt idx="232">
                  <c:v>0.99521304953430223</c:v>
                </c:pt>
                <c:pt idx="233">
                  <c:v>0.99529602610826018</c:v>
                </c:pt>
                <c:pt idx="234">
                  <c:v>0.99537809845032243</c:v>
                </c:pt>
                <c:pt idx="235">
                  <c:v>0.99545676662524796</c:v>
                </c:pt>
                <c:pt idx="236">
                  <c:v>0.99553495608916986</c:v>
                </c:pt>
                <c:pt idx="237">
                  <c:v>0.99561208175086147</c:v>
                </c:pt>
                <c:pt idx="238">
                  <c:v>0.99568904784221857</c:v>
                </c:pt>
                <c:pt idx="239">
                  <c:v>0.99576303528733101</c:v>
                </c:pt>
                <c:pt idx="240">
                  <c:v>0.99583680997199742</c:v>
                </c:pt>
                <c:pt idx="241">
                  <c:v>0.99590941447421055</c:v>
                </c:pt>
                <c:pt idx="242">
                  <c:v>0.99598180621597765</c:v>
                </c:pt>
                <c:pt idx="243">
                  <c:v>0.99605377243685267</c:v>
                </c:pt>
                <c:pt idx="244">
                  <c:v>0.99612531313683561</c:v>
                </c:pt>
                <c:pt idx="245">
                  <c:v>0.99619680064670701</c:v>
                </c:pt>
                <c:pt idx="246">
                  <c:v>0.99626695840379065</c:v>
                </c:pt>
                <c:pt idx="247">
                  <c:v>0.99633541407730586</c:v>
                </c:pt>
                <c:pt idx="248">
                  <c:v>0.99640355061015207</c:v>
                </c:pt>
                <c:pt idx="249">
                  <c:v>0.99647110205177158</c:v>
                </c:pt>
                <c:pt idx="250">
                  <c:v>0.99653854711316814</c:v>
                </c:pt>
                <c:pt idx="251">
                  <c:v>0.99660540708333811</c:v>
                </c:pt>
                <c:pt idx="252">
                  <c:v>0.99667205429306194</c:v>
                </c:pt>
                <c:pt idx="253">
                  <c:v>0.9967384355522283</c:v>
                </c:pt>
                <c:pt idx="254">
                  <c:v>0.9968030615377147</c:v>
                </c:pt>
                <c:pt idx="255">
                  <c:v>0.9968666237209709</c:v>
                </c:pt>
                <c:pt idx="256">
                  <c:v>0.99692981357344657</c:v>
                </c:pt>
                <c:pt idx="257">
                  <c:v>0.99699071625112723</c:v>
                </c:pt>
                <c:pt idx="258">
                  <c:v>0.99705140616836185</c:v>
                </c:pt>
                <c:pt idx="259">
                  <c:v>0.99711209608559648</c:v>
                </c:pt>
                <c:pt idx="260">
                  <c:v>0.99717124348959718</c:v>
                </c:pt>
                <c:pt idx="261">
                  <c:v>0.99723039089359788</c:v>
                </c:pt>
                <c:pt idx="262">
                  <c:v>0.99728916596681805</c:v>
                </c:pt>
                <c:pt idx="263">
                  <c:v>0.99734767508948063</c:v>
                </c:pt>
                <c:pt idx="264">
                  <c:v>0.99740618421214322</c:v>
                </c:pt>
                <c:pt idx="265">
                  <c:v>0.99746394867324473</c:v>
                </c:pt>
                <c:pt idx="266">
                  <c:v>0.99751783025620588</c:v>
                </c:pt>
                <c:pt idx="267">
                  <c:v>0.997571499078721</c:v>
                </c:pt>
                <c:pt idx="268">
                  <c:v>0.99762506152101305</c:v>
                </c:pt>
                <c:pt idx="269">
                  <c:v>0.99767532617639143</c:v>
                </c:pt>
                <c:pt idx="270">
                  <c:v>0.99772532488121224</c:v>
                </c:pt>
                <c:pt idx="271">
                  <c:v>0.99777420659369132</c:v>
                </c:pt>
                <c:pt idx="272">
                  <c:v>0.99782229045449766</c:v>
                </c:pt>
                <c:pt idx="273">
                  <c:v>0.99786957646363139</c:v>
                </c:pt>
                <c:pt idx="274">
                  <c:v>0.99791547952986581</c:v>
                </c:pt>
                <c:pt idx="275">
                  <c:v>0.99796015922353543</c:v>
                </c:pt>
                <c:pt idx="276">
                  <c:v>0.99800361554464034</c:v>
                </c:pt>
                <c:pt idx="277">
                  <c:v>0.99804664634485307</c:v>
                </c:pt>
                <c:pt idx="278">
                  <c:v>0.99808930481428526</c:v>
                </c:pt>
                <c:pt idx="279">
                  <c:v>0.99813137819249087</c:v>
                </c:pt>
                <c:pt idx="280">
                  <c:v>0.99817281328935836</c:v>
                </c:pt>
                <c:pt idx="281">
                  <c:v>0.99821376967522224</c:v>
                </c:pt>
                <c:pt idx="282">
                  <c:v>0.99825419415997096</c:v>
                </c:pt>
                <c:pt idx="283">
                  <c:v>0.99829461864471969</c:v>
                </c:pt>
                <c:pt idx="284">
                  <c:v>0.99833435165801876</c:v>
                </c:pt>
                <c:pt idx="285">
                  <c:v>0.99837158473607679</c:v>
                </c:pt>
                <c:pt idx="286">
                  <c:v>0.99840881781413482</c:v>
                </c:pt>
                <c:pt idx="287">
                  <c:v>0.99844578494163527</c:v>
                </c:pt>
                <c:pt idx="288">
                  <c:v>0.99848152869657103</c:v>
                </c:pt>
                <c:pt idx="289">
                  <c:v>0.99851711288117218</c:v>
                </c:pt>
                <c:pt idx="290">
                  <c:v>0.99855221835476971</c:v>
                </c:pt>
                <c:pt idx="291">
                  <c:v>0.99858721744814427</c:v>
                </c:pt>
                <c:pt idx="292">
                  <c:v>0.99862168464040368</c:v>
                </c:pt>
                <c:pt idx="293">
                  <c:v>0.99865609864255156</c:v>
                </c:pt>
                <c:pt idx="294">
                  <c:v>0.99869040626447647</c:v>
                </c:pt>
                <c:pt idx="295">
                  <c:v>0.99872423517539777</c:v>
                </c:pt>
                <c:pt idx="296">
                  <c:v>0.99875774494564995</c:v>
                </c:pt>
                <c:pt idx="297">
                  <c:v>0.99879072281478709</c:v>
                </c:pt>
                <c:pt idx="298">
                  <c:v>0.99882359430370116</c:v>
                </c:pt>
                <c:pt idx="299">
                  <c:v>0.99885604027172314</c:v>
                </c:pt>
                <c:pt idx="300">
                  <c:v>0.99888795433862998</c:v>
                </c:pt>
                <c:pt idx="301">
                  <c:v>0.99891976202531385</c:v>
                </c:pt>
                <c:pt idx="302">
                  <c:v>0.99895156971199772</c:v>
                </c:pt>
                <c:pt idx="303">
                  <c:v>0.9989800264216564</c:v>
                </c:pt>
                <c:pt idx="304">
                  <c:v>0.9990082171807575</c:v>
                </c:pt>
                <c:pt idx="305">
                  <c:v>0.99903587603874344</c:v>
                </c:pt>
                <c:pt idx="306">
                  <c:v>0.99906332213628335</c:v>
                </c:pt>
                <c:pt idx="307">
                  <c:v>0.99909044909315425</c:v>
                </c:pt>
                <c:pt idx="308">
                  <c:v>0.99911704414891001</c:v>
                </c:pt>
                <c:pt idx="309">
                  <c:v>0.99914273497277006</c:v>
                </c:pt>
                <c:pt idx="310">
                  <c:v>0.99916831941640705</c:v>
                </c:pt>
                <c:pt idx="311">
                  <c:v>0.99919363790948645</c:v>
                </c:pt>
                <c:pt idx="312">
                  <c:v>0.99921810536078171</c:v>
                </c:pt>
                <c:pt idx="313">
                  <c:v>0.99924150900984676</c:v>
                </c:pt>
                <c:pt idx="314">
                  <c:v>0.99926432756768513</c:v>
                </c:pt>
                <c:pt idx="315">
                  <c:v>0.99928613551340484</c:v>
                </c:pt>
                <c:pt idx="316">
                  <c:v>0.99930687965689435</c:v>
                </c:pt>
                <c:pt idx="317">
                  <c:v>0.99932751742016079</c:v>
                </c:pt>
                <c:pt idx="318">
                  <c:v>0.99934772966253516</c:v>
                </c:pt>
                <c:pt idx="319">
                  <c:v>0.9993674631939059</c:v>
                </c:pt>
                <c:pt idx="320">
                  <c:v>0.99938714353516511</c:v>
                </c:pt>
                <c:pt idx="321">
                  <c:v>0.99940655792586675</c:v>
                </c:pt>
                <c:pt idx="322">
                  <c:v>0.99942591912645695</c:v>
                </c:pt>
                <c:pt idx="323">
                  <c:v>0.99944480161604354</c:v>
                </c:pt>
                <c:pt idx="324">
                  <c:v>0.99946341815507256</c:v>
                </c:pt>
                <c:pt idx="325">
                  <c:v>0.9994819283138785</c:v>
                </c:pt>
                <c:pt idx="326">
                  <c:v>0.99950038528257301</c:v>
                </c:pt>
                <c:pt idx="327">
                  <c:v>0.99951873587104445</c:v>
                </c:pt>
                <c:pt idx="328">
                  <c:v>0.99953703326940435</c:v>
                </c:pt>
                <c:pt idx="329">
                  <c:v>0.99955485195676075</c:v>
                </c:pt>
                <c:pt idx="330">
                  <c:v>0.99957267064411714</c:v>
                </c:pt>
                <c:pt idx="331">
                  <c:v>0.99958995743035839</c:v>
                </c:pt>
                <c:pt idx="332">
                  <c:v>0.99960713783637656</c:v>
                </c:pt>
                <c:pt idx="333">
                  <c:v>0.99962389272150265</c:v>
                </c:pt>
                <c:pt idx="334">
                  <c:v>0.99964016889562513</c:v>
                </c:pt>
                <c:pt idx="335">
                  <c:v>0.9996561259290786</c:v>
                </c:pt>
                <c:pt idx="336">
                  <c:v>0.99967202977242053</c:v>
                </c:pt>
                <c:pt idx="337">
                  <c:v>0.99968788042565093</c:v>
                </c:pt>
                <c:pt idx="338">
                  <c:v>0.99970357150854683</c:v>
                </c:pt>
                <c:pt idx="339">
                  <c:v>0.99971766688809738</c:v>
                </c:pt>
                <c:pt idx="340">
                  <c:v>0.99973170907753639</c:v>
                </c:pt>
                <c:pt idx="341">
                  <c:v>0.9997454321263064</c:v>
                </c:pt>
                <c:pt idx="342">
                  <c:v>0.99975878284429576</c:v>
                </c:pt>
                <c:pt idx="343">
                  <c:v>0.99977181442161611</c:v>
                </c:pt>
                <c:pt idx="344">
                  <c:v>0.99978426090770978</c:v>
                </c:pt>
                <c:pt idx="345">
                  <c:v>0.99979654782346894</c:v>
                </c:pt>
                <c:pt idx="346">
                  <c:v>0.99980872835900503</c:v>
                </c:pt>
                <c:pt idx="347">
                  <c:v>0.99982080251431815</c:v>
                </c:pt>
                <c:pt idx="348">
                  <c:v>0.99983223838829316</c:v>
                </c:pt>
                <c:pt idx="349">
                  <c:v>0.99984340831171059</c:v>
                </c:pt>
                <c:pt idx="350">
                  <c:v>0.99985292934167114</c:v>
                </c:pt>
                <c:pt idx="351">
                  <c:v>0.99986202485073961</c:v>
                </c:pt>
                <c:pt idx="352">
                  <c:v>0.99987026931802392</c:v>
                </c:pt>
                <c:pt idx="353">
                  <c:v>0.99987846059519669</c:v>
                </c:pt>
                <c:pt idx="354">
                  <c:v>0.99988633273170036</c:v>
                </c:pt>
                <c:pt idx="355">
                  <c:v>0.99989415167809259</c:v>
                </c:pt>
                <c:pt idx="356">
                  <c:v>0.9999013323431466</c:v>
                </c:pt>
                <c:pt idx="357">
                  <c:v>0.9999081938675316</c:v>
                </c:pt>
                <c:pt idx="358">
                  <c:v>0.99991489582158199</c:v>
                </c:pt>
                <c:pt idx="359">
                  <c:v>0.99992111906462888</c:v>
                </c:pt>
                <c:pt idx="360">
                  <c:v>0.99992718273734116</c:v>
                </c:pt>
                <c:pt idx="361">
                  <c:v>0.99993250174849235</c:v>
                </c:pt>
                <c:pt idx="362">
                  <c:v>0.99993782075964355</c:v>
                </c:pt>
                <c:pt idx="363">
                  <c:v>0.9999430865806832</c:v>
                </c:pt>
                <c:pt idx="364">
                  <c:v>0.99994792688083078</c:v>
                </c:pt>
                <c:pt idx="365">
                  <c:v>0.99995223527986321</c:v>
                </c:pt>
                <c:pt idx="366">
                  <c:v>0.99995643729867256</c:v>
                </c:pt>
                <c:pt idx="367">
                  <c:v>0.99996058612737049</c:v>
                </c:pt>
                <c:pt idx="368">
                  <c:v>0.9999644158153993</c:v>
                </c:pt>
                <c:pt idx="369">
                  <c:v>0.99996813912320515</c:v>
                </c:pt>
                <c:pt idx="370">
                  <c:v>0.99997170286067638</c:v>
                </c:pt>
                <c:pt idx="371">
                  <c:v>0.99997489426736708</c:v>
                </c:pt>
                <c:pt idx="372">
                  <c:v>0.99997808567405777</c:v>
                </c:pt>
                <c:pt idx="373">
                  <c:v>0.99998122389063693</c:v>
                </c:pt>
                <c:pt idx="374">
                  <c:v>0.99998388339621247</c:v>
                </c:pt>
                <c:pt idx="375">
                  <c:v>0.99998648971167658</c:v>
                </c:pt>
                <c:pt idx="376">
                  <c:v>0.99998893645680609</c:v>
                </c:pt>
                <c:pt idx="377">
                  <c:v>0.99999122363160109</c:v>
                </c:pt>
                <c:pt idx="378">
                  <c:v>0.99999313847561555</c:v>
                </c:pt>
                <c:pt idx="379">
                  <c:v>0.99999500012951847</c:v>
                </c:pt>
                <c:pt idx="380">
                  <c:v>0.99999680859330986</c:v>
                </c:pt>
                <c:pt idx="381">
                  <c:v>0.99999845748676675</c:v>
                </c:pt>
                <c:pt idx="382">
                  <c:v>1.0000000000000007</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48</c:f>
              <c:strCache>
                <c:ptCount val="247"/>
                <c:pt idx="0">
                  <c:v>Ruinart</c:v>
                </c:pt>
                <c:pt idx="1">
                  <c:v>Nicolas</c:v>
                </c:pt>
                <c:pt idx="2">
                  <c:v>Deutz</c:v>
                </c:pt>
                <c:pt idx="3">
                  <c:v>Ruinart</c:v>
                </c:pt>
                <c:pt idx="4">
                  <c:v>Laurent Per</c:v>
                </c:pt>
                <c:pt idx="5">
                  <c:v>Heidsieck &amp;</c:v>
                </c:pt>
                <c:pt idx="6">
                  <c:v>Malard</c:v>
                </c:pt>
                <c:pt idx="7">
                  <c:v>Ayala</c:v>
                </c:pt>
                <c:pt idx="8">
                  <c:v>Nicolas Feu</c:v>
                </c:pt>
                <c:pt idx="9">
                  <c:v>De Bligny</c:v>
                </c:pt>
                <c:pt idx="10">
                  <c:v>Ruinart</c:v>
                </c:pt>
                <c:pt idx="11">
                  <c:v>Canard Duch</c:v>
                </c:pt>
                <c:pt idx="12">
                  <c:v>Ruinart</c:v>
                </c:pt>
                <c:pt idx="13">
                  <c:v>Taittinger</c:v>
                </c:pt>
                <c:pt idx="14">
                  <c:v>Bollinger</c:v>
                </c:pt>
                <c:pt idx="15">
                  <c:v>Besserat De</c:v>
                </c:pt>
                <c:pt idx="16">
                  <c:v>Demoiselle</c:v>
                </c:pt>
                <c:pt idx="17">
                  <c:v>Campari: Al</c:v>
                </c:pt>
                <c:pt idx="18">
                  <c:v>Deutz</c:v>
                </c:pt>
                <c:pt idx="19">
                  <c:v>Perrier Jou</c:v>
                </c:pt>
                <c:pt idx="20">
                  <c:v>Ruinart</c:v>
                </c:pt>
                <c:pt idx="21">
                  <c:v>All Others</c:v>
                </c:pt>
                <c:pt idx="22">
                  <c:v>Ruinart</c:v>
                </c:pt>
                <c:pt idx="23">
                  <c:v>Roederer</c:v>
                </c:pt>
                <c:pt idx="24">
                  <c:v>Laurent Per</c:v>
                </c:pt>
                <c:pt idx="25">
                  <c:v>Pommery</c:v>
                </c:pt>
                <c:pt idx="26">
                  <c:v>All Others</c:v>
                </c:pt>
                <c:pt idx="27">
                  <c:v>Vesselle</c:v>
                </c:pt>
                <c:pt idx="28">
                  <c:v>Dom Perigno</c:v>
                </c:pt>
                <c:pt idx="29">
                  <c:v>Deutz</c:v>
                </c:pt>
                <c:pt idx="30">
                  <c:v>Savian</c:v>
                </c:pt>
                <c:pt idx="31">
                  <c:v>Veuve Clicq</c:v>
                </c:pt>
                <c:pt idx="32">
                  <c:v>Henriot</c:v>
                </c:pt>
                <c:pt idx="33">
                  <c:v>Moët &amp; Chan</c:v>
                </c:pt>
                <c:pt idx="34">
                  <c:v>Demoiselle</c:v>
                </c:pt>
                <c:pt idx="35">
                  <c:v>Malard</c:v>
                </c:pt>
                <c:pt idx="36">
                  <c:v>Laurent Per</c:v>
                </c:pt>
                <c:pt idx="37">
                  <c:v>Dom Perigno</c:v>
                </c:pt>
                <c:pt idx="38">
                  <c:v>Ruinart</c:v>
                </c:pt>
                <c:pt idx="39">
                  <c:v>Taittinger</c:v>
                </c:pt>
                <c:pt idx="40">
                  <c:v>Nicolas</c:v>
                </c:pt>
                <c:pt idx="41">
                  <c:v>Roederer</c:v>
                </c:pt>
                <c:pt idx="42">
                  <c:v>Veuve Clicq</c:v>
                </c:pt>
                <c:pt idx="43">
                  <c:v>Veuve Clicq</c:v>
                </c:pt>
                <c:pt idx="44">
                  <c:v>Moët &amp; Chan</c:v>
                </c:pt>
                <c:pt idx="45">
                  <c:v>Piper Heids</c:v>
                </c:pt>
                <c:pt idx="46">
                  <c:v>Besserat De</c:v>
                </c:pt>
                <c:pt idx="47">
                  <c:v>Malard</c:v>
                </c:pt>
                <c:pt idx="48">
                  <c:v>Ruinart</c:v>
                </c:pt>
                <c:pt idx="49">
                  <c:v>De Venoge</c:v>
                </c:pt>
                <c:pt idx="50">
                  <c:v>Deutz</c:v>
                </c:pt>
                <c:pt idx="51">
                  <c:v>Nicolas</c:v>
                </c:pt>
                <c:pt idx="52">
                  <c:v>Ruinart</c:v>
                </c:pt>
                <c:pt idx="53">
                  <c:v>All Others</c:v>
                </c:pt>
                <c:pt idx="54">
                  <c:v>Nicolas Feu</c:v>
                </c:pt>
                <c:pt idx="55">
                  <c:v>Moët &amp; Chan</c:v>
                </c:pt>
                <c:pt idx="56">
                  <c:v>Louis Marti</c:v>
                </c:pt>
                <c:pt idx="57">
                  <c:v>Lanson</c:v>
                </c:pt>
                <c:pt idx="58">
                  <c:v>Nicolas Feu</c:v>
                </c:pt>
                <c:pt idx="59">
                  <c:v>Campari: Al</c:v>
                </c:pt>
                <c:pt idx="60">
                  <c:v>Nicolas</c:v>
                </c:pt>
                <c:pt idx="61">
                  <c:v>Canard Duch</c:v>
                </c:pt>
                <c:pt idx="62">
                  <c:v>Malard</c:v>
                </c:pt>
                <c:pt idx="63">
                  <c:v>Delamotte</c:v>
                </c:pt>
                <c:pt idx="64">
                  <c:v>Henriot</c:v>
                </c:pt>
                <c:pt idx="65">
                  <c:v>Nicolas Feu</c:v>
                </c:pt>
                <c:pt idx="66">
                  <c:v>Krug</c:v>
                </c:pt>
                <c:pt idx="67">
                  <c:v>Malard</c:v>
                </c:pt>
                <c:pt idx="68">
                  <c:v>Besserat De</c:v>
                </c:pt>
                <c:pt idx="69">
                  <c:v>Vranken</c:v>
                </c:pt>
                <c:pt idx="70">
                  <c:v>Bollinger</c:v>
                </c:pt>
                <c:pt idx="71">
                  <c:v>Ruinart</c:v>
                </c:pt>
                <c:pt idx="72">
                  <c:v>Henriot</c:v>
                </c:pt>
                <c:pt idx="73">
                  <c:v>De Bligny</c:v>
                </c:pt>
                <c:pt idx="74">
                  <c:v>Roederer</c:v>
                </c:pt>
                <c:pt idx="75">
                  <c:v>Laurent Per</c:v>
                </c:pt>
                <c:pt idx="76">
                  <c:v>Pommery</c:v>
                </c:pt>
                <c:pt idx="77">
                  <c:v>Roederer</c:v>
                </c:pt>
                <c:pt idx="78">
                  <c:v>Roederer</c:v>
                </c:pt>
                <c:pt idx="79">
                  <c:v>Ayala</c:v>
                </c:pt>
                <c:pt idx="80">
                  <c:v>Nicolas</c:v>
                </c:pt>
                <c:pt idx="81">
                  <c:v>De Venoge</c:v>
                </c:pt>
                <c:pt idx="82">
                  <c:v>Ruinart</c:v>
                </c:pt>
                <c:pt idx="83">
                  <c:v>Canard Duch</c:v>
                </c:pt>
                <c:pt idx="84">
                  <c:v>Roederer</c:v>
                </c:pt>
                <c:pt idx="85">
                  <c:v>Laurent Per</c:v>
                </c:pt>
                <c:pt idx="86">
                  <c:v>Henriot</c:v>
                </c:pt>
                <c:pt idx="87">
                  <c:v>Roederer</c:v>
                </c:pt>
                <c:pt idx="88">
                  <c:v>De Venoge</c:v>
                </c:pt>
                <c:pt idx="89">
                  <c:v>Deutz</c:v>
                </c:pt>
                <c:pt idx="90">
                  <c:v>Perrier Jou</c:v>
                </c:pt>
                <c:pt idx="91">
                  <c:v>De Venoge</c:v>
                </c:pt>
                <c:pt idx="92">
                  <c:v>Malard</c:v>
                </c:pt>
                <c:pt idx="93">
                  <c:v>Ruinart</c:v>
                </c:pt>
                <c:pt idx="94">
                  <c:v>Roederer</c:v>
                </c:pt>
                <c:pt idx="95">
                  <c:v>Ruinart</c:v>
                </c:pt>
                <c:pt idx="96">
                  <c:v>Ruinart</c:v>
                </c:pt>
                <c:pt idx="97">
                  <c:v>Roederer</c:v>
                </c:pt>
                <c:pt idx="98">
                  <c:v>Dom Perigno</c:v>
                </c:pt>
                <c:pt idx="99">
                  <c:v>Bollinger</c:v>
                </c:pt>
                <c:pt idx="100">
                  <c:v>Deutz</c:v>
                </c:pt>
                <c:pt idx="101">
                  <c:v>Canard Duch</c:v>
                </c:pt>
                <c:pt idx="102">
                  <c:v>Vranken</c:v>
                </c:pt>
                <c:pt idx="103">
                  <c:v>Moët &amp; Chan</c:v>
                </c:pt>
                <c:pt idx="104">
                  <c:v>Nicolas</c:v>
                </c:pt>
                <c:pt idx="105">
                  <c:v>Canard Duch</c:v>
                </c:pt>
                <c:pt idx="106">
                  <c:v>Nicolas Feu</c:v>
                </c:pt>
                <c:pt idx="107">
                  <c:v>Bollinger</c:v>
                </c:pt>
                <c:pt idx="108">
                  <c:v>Veuve Clicq</c:v>
                </c:pt>
                <c:pt idx="109">
                  <c:v>Nicolas</c:v>
                </c:pt>
                <c:pt idx="110">
                  <c:v>Nicolas</c:v>
                </c:pt>
                <c:pt idx="111">
                  <c:v>Nicolas</c:v>
                </c:pt>
                <c:pt idx="112">
                  <c:v>Taittinger</c:v>
                </c:pt>
                <c:pt idx="113">
                  <c:v>All Others</c:v>
                </c:pt>
                <c:pt idx="114">
                  <c:v>Roederer</c:v>
                </c:pt>
                <c:pt idx="115">
                  <c:v>Laurent Per</c:v>
                </c:pt>
                <c:pt idx="116">
                  <c:v>Nicolas</c:v>
                </c:pt>
                <c:pt idx="117">
                  <c:v>Nicolas</c:v>
                </c:pt>
                <c:pt idx="118">
                  <c:v>Moët &amp; Chan</c:v>
                </c:pt>
                <c:pt idx="119">
                  <c:v>Ruinart</c:v>
                </c:pt>
                <c:pt idx="120">
                  <c:v>Besserat De</c:v>
                </c:pt>
                <c:pt idx="121">
                  <c:v>Delamotte</c:v>
                </c:pt>
                <c:pt idx="122">
                  <c:v>All Others</c:v>
                </c:pt>
                <c:pt idx="123">
                  <c:v>Nicolas</c:v>
                </c:pt>
                <c:pt idx="124">
                  <c:v>Demoiselle</c:v>
                </c:pt>
                <c:pt idx="125">
                  <c:v>Ruinart</c:v>
                </c:pt>
                <c:pt idx="126">
                  <c:v>Pommery</c:v>
                </c:pt>
                <c:pt idx="127">
                  <c:v>Nicolas</c:v>
                </c:pt>
                <c:pt idx="128">
                  <c:v>Louis Marti</c:v>
                </c:pt>
                <c:pt idx="129">
                  <c:v>Nicolas</c:v>
                </c:pt>
                <c:pt idx="130">
                  <c:v>Nicolas</c:v>
                </c:pt>
                <c:pt idx="131">
                  <c:v>Lanson</c:v>
                </c:pt>
                <c:pt idx="132">
                  <c:v>Vranken</c:v>
                </c:pt>
                <c:pt idx="133">
                  <c:v>Roederer</c:v>
                </c:pt>
                <c:pt idx="134">
                  <c:v>Pommery</c:v>
                </c:pt>
                <c:pt idx="135">
                  <c:v>Deutz</c:v>
                </c:pt>
                <c:pt idx="136">
                  <c:v>Ruinart</c:v>
                </c:pt>
                <c:pt idx="137">
                  <c:v>Canard Duch</c:v>
                </c:pt>
                <c:pt idx="138">
                  <c:v>Pommery</c:v>
                </c:pt>
                <c:pt idx="139">
                  <c:v>Vesselle</c:v>
                </c:pt>
                <c:pt idx="140">
                  <c:v>Ruinart</c:v>
                </c:pt>
                <c:pt idx="141">
                  <c:v>Ayala</c:v>
                </c:pt>
                <c:pt idx="142">
                  <c:v>Laurent Per</c:v>
                </c:pt>
                <c:pt idx="143">
                  <c:v>Pommery</c:v>
                </c:pt>
                <c:pt idx="144">
                  <c:v>Perrier Jou</c:v>
                </c:pt>
                <c:pt idx="145">
                  <c:v>Laurent Per</c:v>
                </c:pt>
                <c:pt idx="146">
                  <c:v>Nicolas</c:v>
                </c:pt>
                <c:pt idx="147">
                  <c:v>Deutz</c:v>
                </c:pt>
                <c:pt idx="148">
                  <c:v>Nicolas</c:v>
                </c:pt>
                <c:pt idx="149">
                  <c:v>Piper Heids</c:v>
                </c:pt>
                <c:pt idx="150">
                  <c:v>Roederer</c:v>
                </c:pt>
                <c:pt idx="151">
                  <c:v>Piper Heids</c:v>
                </c:pt>
                <c:pt idx="152">
                  <c:v>Vesselle</c:v>
                </c:pt>
                <c:pt idx="153">
                  <c:v>Roederer</c:v>
                </c:pt>
                <c:pt idx="154">
                  <c:v>Ruinart</c:v>
                </c:pt>
                <c:pt idx="155">
                  <c:v>Taittinger</c:v>
                </c:pt>
                <c:pt idx="156">
                  <c:v>Pommery</c:v>
                </c:pt>
                <c:pt idx="157">
                  <c:v>Bollinger</c:v>
                </c:pt>
                <c:pt idx="158">
                  <c:v>Demoiselle</c:v>
                </c:pt>
                <c:pt idx="159">
                  <c:v>Deutz</c:v>
                </c:pt>
                <c:pt idx="160">
                  <c:v>Canard Duch</c:v>
                </c:pt>
                <c:pt idx="161">
                  <c:v>Laurent Per</c:v>
                </c:pt>
                <c:pt idx="162">
                  <c:v>Roederer</c:v>
                </c:pt>
                <c:pt idx="163">
                  <c:v>Ruinart</c:v>
                </c:pt>
                <c:pt idx="164">
                  <c:v>All Others</c:v>
                </c:pt>
                <c:pt idx="165">
                  <c:v>Besserat De</c:v>
                </c:pt>
                <c:pt idx="166">
                  <c:v>All Others</c:v>
                </c:pt>
                <c:pt idx="167">
                  <c:v>Laurent Per</c:v>
                </c:pt>
                <c:pt idx="168">
                  <c:v>Roederer</c:v>
                </c:pt>
                <c:pt idx="169">
                  <c:v>De Venoge</c:v>
                </c:pt>
                <c:pt idx="170">
                  <c:v>Dom Perigno</c:v>
                </c:pt>
                <c:pt idx="171">
                  <c:v>Nicolas</c:v>
                </c:pt>
                <c:pt idx="172">
                  <c:v>Roederer</c:v>
                </c:pt>
                <c:pt idx="173">
                  <c:v>Roederer</c:v>
                </c:pt>
                <c:pt idx="174">
                  <c:v>Laurent Per</c:v>
                </c:pt>
                <c:pt idx="175">
                  <c:v>Bollinger</c:v>
                </c:pt>
                <c:pt idx="176">
                  <c:v>Taittinger</c:v>
                </c:pt>
                <c:pt idx="177">
                  <c:v>De Venoge</c:v>
                </c:pt>
                <c:pt idx="178">
                  <c:v>Bollinger</c:v>
                </c:pt>
                <c:pt idx="179">
                  <c:v>Roederer</c:v>
                </c:pt>
                <c:pt idx="180">
                  <c:v>Dom Perigno</c:v>
                </c:pt>
                <c:pt idx="181">
                  <c:v>Piper Heids</c:v>
                </c:pt>
                <c:pt idx="182">
                  <c:v>Nicolas</c:v>
                </c:pt>
                <c:pt idx="183">
                  <c:v>Henriot</c:v>
                </c:pt>
                <c:pt idx="184">
                  <c:v>Bollinger</c:v>
                </c:pt>
                <c:pt idx="185">
                  <c:v>Nicolas</c:v>
                </c:pt>
                <c:pt idx="186">
                  <c:v>Ruinart</c:v>
                </c:pt>
                <c:pt idx="187">
                  <c:v>De Bligny</c:v>
                </c:pt>
                <c:pt idx="188">
                  <c:v>All Others</c:v>
                </c:pt>
                <c:pt idx="189">
                  <c:v>Henriot</c:v>
                </c:pt>
                <c:pt idx="190">
                  <c:v>Canard Duch</c:v>
                </c:pt>
                <c:pt idx="191">
                  <c:v>Demoiselle</c:v>
                </c:pt>
                <c:pt idx="192">
                  <c:v>Dom Perigno</c:v>
                </c:pt>
                <c:pt idx="193">
                  <c:v>Nicolas</c:v>
                </c:pt>
                <c:pt idx="194">
                  <c:v>De Venoge</c:v>
                </c:pt>
                <c:pt idx="195">
                  <c:v>Laurent Per</c:v>
                </c:pt>
                <c:pt idx="196">
                  <c:v>Malard</c:v>
                </c:pt>
                <c:pt idx="197">
                  <c:v>Roederer</c:v>
                </c:pt>
                <c:pt idx="198">
                  <c:v>All Others</c:v>
                </c:pt>
                <c:pt idx="199">
                  <c:v>Laurent Per</c:v>
                </c:pt>
                <c:pt idx="200">
                  <c:v>All Others</c:v>
                </c:pt>
                <c:pt idx="201">
                  <c:v>Bollinger</c:v>
                </c:pt>
                <c:pt idx="202">
                  <c:v>De Venoge</c:v>
                </c:pt>
                <c:pt idx="203">
                  <c:v>All Others</c:v>
                </c:pt>
                <c:pt idx="204">
                  <c:v>De Venoge</c:v>
                </c:pt>
                <c:pt idx="205">
                  <c:v>Ruinart</c:v>
                </c:pt>
                <c:pt idx="206">
                  <c:v>All Others</c:v>
                </c:pt>
                <c:pt idx="207">
                  <c:v>Moët &amp; Chan</c:v>
                </c:pt>
                <c:pt idx="208">
                  <c:v>Veuve Clicq</c:v>
                </c:pt>
                <c:pt idx="209">
                  <c:v>Roederer</c:v>
                </c:pt>
                <c:pt idx="210">
                  <c:v>All Others</c:v>
                </c:pt>
                <c:pt idx="211">
                  <c:v>Pommery</c:v>
                </c:pt>
                <c:pt idx="212">
                  <c:v>Taittinger</c:v>
                </c:pt>
                <c:pt idx="213">
                  <c:v>Nicolas Feu</c:v>
                </c:pt>
                <c:pt idx="214">
                  <c:v>Perrier Jou</c:v>
                </c:pt>
                <c:pt idx="215">
                  <c:v>Ruinart</c:v>
                </c:pt>
                <c:pt idx="216">
                  <c:v>Piper Heids</c:v>
                </c:pt>
                <c:pt idx="217">
                  <c:v>Veuve Clicq</c:v>
                </c:pt>
                <c:pt idx="218">
                  <c:v>Veuve Clicq</c:v>
                </c:pt>
                <c:pt idx="219">
                  <c:v>Canard Duch</c:v>
                </c:pt>
                <c:pt idx="220">
                  <c:v>Roederer</c:v>
                </c:pt>
                <c:pt idx="221">
                  <c:v>Perrier Jou</c:v>
                </c:pt>
                <c:pt idx="222">
                  <c:v>Deutz</c:v>
                </c:pt>
                <c:pt idx="223">
                  <c:v>Deutz</c:v>
                </c:pt>
                <c:pt idx="224">
                  <c:v>Laurent Per</c:v>
                </c:pt>
                <c:pt idx="225">
                  <c:v>Martel</c:v>
                </c:pt>
                <c:pt idx="226">
                  <c:v>Pommery</c:v>
                </c:pt>
                <c:pt idx="227">
                  <c:v>Ruinart</c:v>
                </c:pt>
                <c:pt idx="228">
                  <c:v>Ayala</c:v>
                </c:pt>
                <c:pt idx="229">
                  <c:v>Roederer</c:v>
                </c:pt>
                <c:pt idx="230">
                  <c:v>Demoiselle</c:v>
                </c:pt>
                <c:pt idx="231">
                  <c:v>Besserat De</c:v>
                </c:pt>
                <c:pt idx="232">
                  <c:v>Lanson</c:v>
                </c:pt>
                <c:pt idx="233">
                  <c:v>Bollinger</c:v>
                </c:pt>
                <c:pt idx="234">
                  <c:v>Demoiselle</c:v>
                </c:pt>
                <c:pt idx="235">
                  <c:v>Bollinger</c:v>
                </c:pt>
                <c:pt idx="236">
                  <c:v>Moët &amp; Chan</c:v>
                </c:pt>
                <c:pt idx="237">
                  <c:v>Roederer</c:v>
                </c:pt>
                <c:pt idx="238">
                  <c:v>Ruinart</c:v>
                </c:pt>
                <c:pt idx="239">
                  <c:v>Besserat De</c:v>
                </c:pt>
                <c:pt idx="240">
                  <c:v>De Venoge</c:v>
                </c:pt>
                <c:pt idx="241">
                  <c:v>All Others</c:v>
                </c:pt>
                <c:pt idx="242">
                  <c:v>Laurent Per</c:v>
                </c:pt>
                <c:pt idx="243">
                  <c:v>Nicolas</c:v>
                </c:pt>
                <c:pt idx="244">
                  <c:v>Malard</c:v>
                </c:pt>
                <c:pt idx="245">
                  <c:v>All Others</c:v>
                </c:pt>
                <c:pt idx="246">
                  <c:v>Nicolas</c:v>
                </c:pt>
              </c:strCache>
            </c:strRef>
          </c:cat>
          <c:val>
            <c:numRef>
              <c:f>Sheet1!$B$2:$B$248</c:f>
              <c:numCache>
                <c:formatCode>General</c:formatCode>
                <c:ptCount val="247"/>
                <c:pt idx="0">
                  <c:v>1</c:v>
                </c:pt>
                <c:pt idx="1">
                  <c:v>1</c:v>
                </c:pt>
                <c:pt idx="2">
                  <c:v>1</c:v>
                </c:pt>
                <c:pt idx="3">
                  <c:v>0.88</c:v>
                </c:pt>
                <c:pt idx="4">
                  <c:v>1</c:v>
                </c:pt>
                <c:pt idx="5">
                  <c:v>0.99</c:v>
                </c:pt>
                <c:pt idx="6">
                  <c:v>1</c:v>
                </c:pt>
                <c:pt idx="7">
                  <c:v>1</c:v>
                </c:pt>
                <c:pt idx="8">
                  <c:v>0.99</c:v>
                </c:pt>
                <c:pt idx="9">
                  <c:v>0.94</c:v>
                </c:pt>
                <c:pt idx="10">
                  <c:v>0.76</c:v>
                </c:pt>
                <c:pt idx="11">
                  <c:v>0.98</c:v>
                </c:pt>
                <c:pt idx="12">
                  <c:v>0.73</c:v>
                </c:pt>
                <c:pt idx="13">
                  <c:v>0.93</c:v>
                </c:pt>
                <c:pt idx="14">
                  <c:v>0.97</c:v>
                </c:pt>
                <c:pt idx="15">
                  <c:v>0.86</c:v>
                </c:pt>
                <c:pt idx="16">
                  <c:v>0.97</c:v>
                </c:pt>
                <c:pt idx="17">
                  <c:v>0.74</c:v>
                </c:pt>
                <c:pt idx="18">
                  <c:v>0.78</c:v>
                </c:pt>
                <c:pt idx="19">
                  <c:v>0.89</c:v>
                </c:pt>
                <c:pt idx="20">
                  <c:v>0.61</c:v>
                </c:pt>
                <c:pt idx="21">
                  <c:v>0.92</c:v>
                </c:pt>
                <c:pt idx="22">
                  <c:v>0.81</c:v>
                </c:pt>
                <c:pt idx="23">
                  <c:v>0.64</c:v>
                </c:pt>
                <c:pt idx="24">
                  <c:v>0.82</c:v>
                </c:pt>
                <c:pt idx="25">
                  <c:v>0.73</c:v>
                </c:pt>
                <c:pt idx="26">
                  <c:v>0.74</c:v>
                </c:pt>
                <c:pt idx="27">
                  <c:v>0.86</c:v>
                </c:pt>
                <c:pt idx="28">
                  <c:v>0.28000000000000003</c:v>
                </c:pt>
                <c:pt idx="29">
                  <c:v>0.77</c:v>
                </c:pt>
                <c:pt idx="30">
                  <c:v>0.79</c:v>
                </c:pt>
                <c:pt idx="31">
                  <c:v>0.71</c:v>
                </c:pt>
                <c:pt idx="32">
                  <c:v>0.7</c:v>
                </c:pt>
                <c:pt idx="33">
                  <c:v>0.75</c:v>
                </c:pt>
                <c:pt idx="34">
                  <c:v>0.86</c:v>
                </c:pt>
                <c:pt idx="35">
                  <c:v>0.7</c:v>
                </c:pt>
                <c:pt idx="36">
                  <c:v>0.76</c:v>
                </c:pt>
                <c:pt idx="37">
                  <c:v>0.33</c:v>
                </c:pt>
                <c:pt idx="38">
                  <c:v>0.37</c:v>
                </c:pt>
                <c:pt idx="39">
                  <c:v>0.54</c:v>
                </c:pt>
                <c:pt idx="40">
                  <c:v>0.69</c:v>
                </c:pt>
                <c:pt idx="41">
                  <c:v>0.5</c:v>
                </c:pt>
                <c:pt idx="42">
                  <c:v>0.56000000000000005</c:v>
                </c:pt>
                <c:pt idx="43">
                  <c:v>0.68</c:v>
                </c:pt>
                <c:pt idx="44">
                  <c:v>0.61</c:v>
                </c:pt>
                <c:pt idx="45">
                  <c:v>0.6</c:v>
                </c:pt>
                <c:pt idx="46">
                  <c:v>0.39</c:v>
                </c:pt>
                <c:pt idx="47">
                  <c:v>0.61</c:v>
                </c:pt>
                <c:pt idx="48">
                  <c:v>0.59</c:v>
                </c:pt>
                <c:pt idx="49">
                  <c:v>0.6</c:v>
                </c:pt>
                <c:pt idx="50">
                  <c:v>0.77</c:v>
                </c:pt>
                <c:pt idx="51">
                  <c:v>0.75</c:v>
                </c:pt>
                <c:pt idx="52">
                  <c:v>0.78</c:v>
                </c:pt>
                <c:pt idx="53">
                  <c:v>0.43</c:v>
                </c:pt>
                <c:pt idx="54">
                  <c:v>0.59</c:v>
                </c:pt>
                <c:pt idx="55">
                  <c:v>0.61</c:v>
                </c:pt>
                <c:pt idx="56">
                  <c:v>0.56000000000000005</c:v>
                </c:pt>
                <c:pt idx="57">
                  <c:v>0.53</c:v>
                </c:pt>
                <c:pt idx="58">
                  <c:v>0.64</c:v>
                </c:pt>
                <c:pt idx="59">
                  <c:v>0.56999999999999995</c:v>
                </c:pt>
                <c:pt idx="60">
                  <c:v>0.91</c:v>
                </c:pt>
                <c:pt idx="61">
                  <c:v>0.79</c:v>
                </c:pt>
                <c:pt idx="62">
                  <c:v>0.51</c:v>
                </c:pt>
                <c:pt idx="63">
                  <c:v>0.31</c:v>
                </c:pt>
                <c:pt idx="64">
                  <c:v>0.68</c:v>
                </c:pt>
                <c:pt idx="65">
                  <c:v>0.5</c:v>
                </c:pt>
                <c:pt idx="66">
                  <c:v>0.13</c:v>
                </c:pt>
                <c:pt idx="67">
                  <c:v>0.56000000000000005</c:v>
                </c:pt>
                <c:pt idx="68">
                  <c:v>0.45</c:v>
                </c:pt>
                <c:pt idx="69">
                  <c:v>0.28000000000000003</c:v>
                </c:pt>
                <c:pt idx="70">
                  <c:v>0.23</c:v>
                </c:pt>
                <c:pt idx="71">
                  <c:v>0.36</c:v>
                </c:pt>
                <c:pt idx="72">
                  <c:v>0.43</c:v>
                </c:pt>
                <c:pt idx="73">
                  <c:v>0.55000000000000004</c:v>
                </c:pt>
                <c:pt idx="74">
                  <c:v>0.15</c:v>
                </c:pt>
                <c:pt idx="75">
                  <c:v>0.3</c:v>
                </c:pt>
                <c:pt idx="76">
                  <c:v>0.5</c:v>
                </c:pt>
                <c:pt idx="77">
                  <c:v>0.17</c:v>
                </c:pt>
                <c:pt idx="78">
                  <c:v>0.3</c:v>
                </c:pt>
                <c:pt idx="79">
                  <c:v>0.38</c:v>
                </c:pt>
                <c:pt idx="80">
                  <c:v>0.45</c:v>
                </c:pt>
                <c:pt idx="81">
                  <c:v>0.39</c:v>
                </c:pt>
                <c:pt idx="82">
                  <c:v>0.27</c:v>
                </c:pt>
                <c:pt idx="83">
                  <c:v>0.42</c:v>
                </c:pt>
                <c:pt idx="84">
                  <c:v>0.28000000000000003</c:v>
                </c:pt>
                <c:pt idx="85">
                  <c:v>0.17</c:v>
                </c:pt>
                <c:pt idx="86">
                  <c:v>0.41</c:v>
                </c:pt>
                <c:pt idx="87">
                  <c:v>0.06</c:v>
                </c:pt>
                <c:pt idx="88">
                  <c:v>0.37</c:v>
                </c:pt>
                <c:pt idx="89">
                  <c:v>0.56999999999999995</c:v>
                </c:pt>
                <c:pt idx="90">
                  <c:v>0.23</c:v>
                </c:pt>
                <c:pt idx="91">
                  <c:v>0.26</c:v>
                </c:pt>
                <c:pt idx="92">
                  <c:v>0.37</c:v>
                </c:pt>
                <c:pt idx="93">
                  <c:v>0.28000000000000003</c:v>
                </c:pt>
                <c:pt idx="94">
                  <c:v>0.25</c:v>
                </c:pt>
                <c:pt idx="95">
                  <c:v>0.22</c:v>
                </c:pt>
                <c:pt idx="96">
                  <c:v>0.18</c:v>
                </c:pt>
                <c:pt idx="97">
                  <c:v>0.3</c:v>
                </c:pt>
                <c:pt idx="98">
                  <c:v>0.13</c:v>
                </c:pt>
                <c:pt idx="99">
                  <c:v>0.18</c:v>
                </c:pt>
                <c:pt idx="100">
                  <c:v>0.12</c:v>
                </c:pt>
                <c:pt idx="101">
                  <c:v>0.27</c:v>
                </c:pt>
                <c:pt idx="102">
                  <c:v>0.16</c:v>
                </c:pt>
                <c:pt idx="103">
                  <c:v>0.28000000000000003</c:v>
                </c:pt>
                <c:pt idx="104">
                  <c:v>0.21</c:v>
                </c:pt>
                <c:pt idx="105">
                  <c:v>0.16</c:v>
                </c:pt>
                <c:pt idx="106">
                  <c:v>0.25</c:v>
                </c:pt>
                <c:pt idx="107">
                  <c:v>0.11</c:v>
                </c:pt>
                <c:pt idx="108">
                  <c:v>0.19</c:v>
                </c:pt>
                <c:pt idx="109">
                  <c:v>0.32</c:v>
                </c:pt>
                <c:pt idx="110">
                  <c:v>0.19</c:v>
                </c:pt>
                <c:pt idx="111">
                  <c:v>0.21</c:v>
                </c:pt>
                <c:pt idx="112">
                  <c:v>7.0000000000000007E-2</c:v>
                </c:pt>
                <c:pt idx="113">
                  <c:v>0.18</c:v>
                </c:pt>
                <c:pt idx="114">
                  <c:v>0.27</c:v>
                </c:pt>
                <c:pt idx="115">
                  <c:v>0.1</c:v>
                </c:pt>
                <c:pt idx="116">
                  <c:v>0.3</c:v>
                </c:pt>
                <c:pt idx="117">
                  <c:v>0.32</c:v>
                </c:pt>
                <c:pt idx="118">
                  <c:v>0.16</c:v>
                </c:pt>
                <c:pt idx="119">
                  <c:v>0.08</c:v>
                </c:pt>
                <c:pt idx="120">
                  <c:v>0.24</c:v>
                </c:pt>
                <c:pt idx="121">
                  <c:v>0.18</c:v>
                </c:pt>
                <c:pt idx="122">
                  <c:v>0.22</c:v>
                </c:pt>
                <c:pt idx="123">
                  <c:v>0.21</c:v>
                </c:pt>
                <c:pt idx="124">
                  <c:v>0.3</c:v>
                </c:pt>
                <c:pt idx="125">
                  <c:v>0.09</c:v>
                </c:pt>
                <c:pt idx="126">
                  <c:v>0.16</c:v>
                </c:pt>
                <c:pt idx="127">
                  <c:v>0.12</c:v>
                </c:pt>
                <c:pt idx="128">
                  <c:v>0.2</c:v>
                </c:pt>
                <c:pt idx="129">
                  <c:v>0.23</c:v>
                </c:pt>
                <c:pt idx="130">
                  <c:v>0.44</c:v>
                </c:pt>
                <c:pt idx="131">
                  <c:v>0.17</c:v>
                </c:pt>
                <c:pt idx="132">
                  <c:v>0.09</c:v>
                </c:pt>
                <c:pt idx="133">
                  <c:v>0.15</c:v>
                </c:pt>
                <c:pt idx="134">
                  <c:v>0.14000000000000001</c:v>
                </c:pt>
                <c:pt idx="135">
                  <c:v>0.08</c:v>
                </c:pt>
                <c:pt idx="136">
                  <c:v>0.05</c:v>
                </c:pt>
                <c:pt idx="137">
                  <c:v>0.18</c:v>
                </c:pt>
                <c:pt idx="138">
                  <c:v>0.16</c:v>
                </c:pt>
                <c:pt idx="139">
                  <c:v>0.18</c:v>
                </c:pt>
                <c:pt idx="140">
                  <c:v>0.08</c:v>
                </c:pt>
                <c:pt idx="141">
                  <c:v>0.08</c:v>
                </c:pt>
                <c:pt idx="142">
                  <c:v>7.0000000000000007E-2</c:v>
                </c:pt>
                <c:pt idx="143">
                  <c:v>0.1</c:v>
                </c:pt>
                <c:pt idx="144">
                  <c:v>0.05</c:v>
                </c:pt>
                <c:pt idx="145">
                  <c:v>0.09</c:v>
                </c:pt>
                <c:pt idx="146">
                  <c:v>0.05</c:v>
                </c:pt>
                <c:pt idx="147">
                  <c:v>0.06</c:v>
                </c:pt>
                <c:pt idx="148">
                  <c:v>0.16</c:v>
                </c:pt>
                <c:pt idx="149">
                  <c:v>0.06</c:v>
                </c:pt>
                <c:pt idx="150">
                  <c:v>0.05</c:v>
                </c:pt>
                <c:pt idx="151">
                  <c:v>7.0000000000000007E-2</c:v>
                </c:pt>
                <c:pt idx="152">
                  <c:v>0.06</c:v>
                </c:pt>
                <c:pt idx="153">
                  <c:v>0.04</c:v>
                </c:pt>
                <c:pt idx="154">
                  <c:v>0.03</c:v>
                </c:pt>
                <c:pt idx="155">
                  <c:v>0.04</c:v>
                </c:pt>
                <c:pt idx="156">
                  <c:v>0.06</c:v>
                </c:pt>
                <c:pt idx="157">
                  <c:v>0.04</c:v>
                </c:pt>
                <c:pt idx="158">
                  <c:v>0.17</c:v>
                </c:pt>
                <c:pt idx="159">
                  <c:v>0.05</c:v>
                </c:pt>
                <c:pt idx="160">
                  <c:v>0.08</c:v>
                </c:pt>
                <c:pt idx="161">
                  <c:v>0.04</c:v>
                </c:pt>
                <c:pt idx="162">
                  <c:v>0.08</c:v>
                </c:pt>
                <c:pt idx="163">
                  <c:v>0.05</c:v>
                </c:pt>
                <c:pt idx="164">
                  <c:v>0.1</c:v>
                </c:pt>
                <c:pt idx="165">
                  <c:v>0.11</c:v>
                </c:pt>
                <c:pt idx="166">
                  <c:v>0.04</c:v>
                </c:pt>
                <c:pt idx="167">
                  <c:v>0.03</c:v>
                </c:pt>
                <c:pt idx="168">
                  <c:v>0.03</c:v>
                </c:pt>
                <c:pt idx="169">
                  <c:v>0.05</c:v>
                </c:pt>
                <c:pt idx="170">
                  <c:v>0.04</c:v>
                </c:pt>
                <c:pt idx="171">
                  <c:v>0.12</c:v>
                </c:pt>
                <c:pt idx="172">
                  <c:v>0.03</c:v>
                </c:pt>
                <c:pt idx="173">
                  <c:v>0.03</c:v>
                </c:pt>
                <c:pt idx="174">
                  <c:v>0.04</c:v>
                </c:pt>
                <c:pt idx="175">
                  <c:v>0.03</c:v>
                </c:pt>
                <c:pt idx="176">
                  <c:v>0.08</c:v>
                </c:pt>
                <c:pt idx="177">
                  <c:v>0.05</c:v>
                </c:pt>
                <c:pt idx="178">
                  <c:v>0.03</c:v>
                </c:pt>
                <c:pt idx="179">
                  <c:v>0.06</c:v>
                </c:pt>
                <c:pt idx="180">
                  <c:v>0.04</c:v>
                </c:pt>
                <c:pt idx="181">
                  <c:v>0.04</c:v>
                </c:pt>
                <c:pt idx="182">
                  <c:v>0.04</c:v>
                </c:pt>
                <c:pt idx="183">
                  <c:v>0.03</c:v>
                </c:pt>
                <c:pt idx="184">
                  <c:v>0.04</c:v>
                </c:pt>
                <c:pt idx="185">
                  <c:v>0.04</c:v>
                </c:pt>
                <c:pt idx="186">
                  <c:v>0.04</c:v>
                </c:pt>
                <c:pt idx="187">
                  <c:v>0.05</c:v>
                </c:pt>
                <c:pt idx="188">
                  <c:v>0.06</c:v>
                </c:pt>
                <c:pt idx="189">
                  <c:v>0.04</c:v>
                </c:pt>
                <c:pt idx="190">
                  <c:v>0.09</c:v>
                </c:pt>
                <c:pt idx="191">
                  <c:v>0.05</c:v>
                </c:pt>
                <c:pt idx="192">
                  <c:v>0.04</c:v>
                </c:pt>
                <c:pt idx="193">
                  <c:v>0.05</c:v>
                </c:pt>
                <c:pt idx="194">
                  <c:v>0.04</c:v>
                </c:pt>
                <c:pt idx="195">
                  <c:v>0.03</c:v>
                </c:pt>
                <c:pt idx="196">
                  <c:v>0.05</c:v>
                </c:pt>
                <c:pt idx="197">
                  <c:v>0.04</c:v>
                </c:pt>
                <c:pt idx="198">
                  <c:v>0.02</c:v>
                </c:pt>
                <c:pt idx="199">
                  <c:v>7.0000000000000007E-2</c:v>
                </c:pt>
                <c:pt idx="200">
                  <c:v>0.03</c:v>
                </c:pt>
                <c:pt idx="201">
                  <c:v>0.03</c:v>
                </c:pt>
                <c:pt idx="202">
                  <c:v>0.03</c:v>
                </c:pt>
                <c:pt idx="203">
                  <c:v>0.05</c:v>
                </c:pt>
                <c:pt idx="204">
                  <c:v>0.02</c:v>
                </c:pt>
                <c:pt idx="205">
                  <c:v>0.04</c:v>
                </c:pt>
                <c:pt idx="206">
                  <c:v>0.03</c:v>
                </c:pt>
                <c:pt idx="207">
                  <c:v>0.02</c:v>
                </c:pt>
                <c:pt idx="208">
                  <c:v>0.04</c:v>
                </c:pt>
                <c:pt idx="209">
                  <c:v>0.03</c:v>
                </c:pt>
                <c:pt idx="210">
                  <c:v>0.01</c:v>
                </c:pt>
                <c:pt idx="211">
                  <c:v>0.02</c:v>
                </c:pt>
                <c:pt idx="212">
                  <c:v>0.03</c:v>
                </c:pt>
                <c:pt idx="213">
                  <c:v>7.0000000000000007E-2</c:v>
                </c:pt>
                <c:pt idx="214">
                  <c:v>0.02</c:v>
                </c:pt>
                <c:pt idx="215">
                  <c:v>0.03</c:v>
                </c:pt>
                <c:pt idx="216">
                  <c:v>0.03</c:v>
                </c:pt>
                <c:pt idx="217">
                  <c:v>0.02</c:v>
                </c:pt>
                <c:pt idx="218">
                  <c:v>0.01</c:v>
                </c:pt>
                <c:pt idx="219">
                  <c:v>0.03</c:v>
                </c:pt>
                <c:pt idx="220">
                  <c:v>0.03</c:v>
                </c:pt>
                <c:pt idx="221">
                  <c:v>0.02</c:v>
                </c:pt>
                <c:pt idx="222">
                  <c:v>0.02</c:v>
                </c:pt>
                <c:pt idx="223">
                  <c:v>0.03</c:v>
                </c:pt>
                <c:pt idx="224">
                  <c:v>0.02</c:v>
                </c:pt>
                <c:pt idx="225">
                  <c:v>0.03</c:v>
                </c:pt>
                <c:pt idx="226">
                  <c:v>0.03</c:v>
                </c:pt>
                <c:pt idx="227">
                  <c:v>0.04</c:v>
                </c:pt>
                <c:pt idx="228">
                  <c:v>0.02</c:v>
                </c:pt>
                <c:pt idx="229">
                  <c:v>0.04</c:v>
                </c:pt>
                <c:pt idx="230">
                  <c:v>0.01</c:v>
                </c:pt>
                <c:pt idx="231">
                  <c:v>0.03</c:v>
                </c:pt>
                <c:pt idx="232">
                  <c:v>0.02</c:v>
                </c:pt>
                <c:pt idx="233">
                  <c:v>0.02</c:v>
                </c:pt>
                <c:pt idx="234">
                  <c:v>0.02</c:v>
                </c:pt>
                <c:pt idx="235">
                  <c:v>0.03</c:v>
                </c:pt>
                <c:pt idx="236">
                  <c:v>0.03</c:v>
                </c:pt>
                <c:pt idx="237">
                  <c:v>0.02</c:v>
                </c:pt>
                <c:pt idx="238">
                  <c:v>0.01</c:v>
                </c:pt>
                <c:pt idx="239">
                  <c:v>0.01</c:v>
                </c:pt>
                <c:pt idx="240">
                  <c:v>0.02</c:v>
                </c:pt>
                <c:pt idx="241">
                  <c:v>0.04</c:v>
                </c:pt>
                <c:pt idx="242">
                  <c:v>0.03</c:v>
                </c:pt>
                <c:pt idx="243">
                  <c:v>0.01</c:v>
                </c:pt>
                <c:pt idx="244">
                  <c:v>0.02</c:v>
                </c:pt>
                <c:pt idx="245">
                  <c:v>0.02</c:v>
                </c:pt>
                <c:pt idx="246">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7ECAC4"/>
              </a:solidFill>
            </c:spPr>
            <c:extLst>
              <c:ext xmlns:c16="http://schemas.microsoft.com/office/drawing/2014/chart" uri="{C3380CC4-5D6E-409C-BE32-E72D297353CC}">
                <c16:uniqueId val="{00000091-2993-41DE-A2CB-63102DE87051}"/>
              </c:ext>
            </c:extLst>
          </c:dPt>
          <c:dPt>
            <c:idx val="45"/>
            <c:invertIfNegative val="1"/>
            <c:bubble3D val="0"/>
            <c:spPr>
              <a:solidFill>
                <a:srgbClr val="7ECAC4"/>
              </a:solidFill>
            </c:spPr>
            <c:extLst>
              <c:ext xmlns:c16="http://schemas.microsoft.com/office/drawing/2014/chart" uri="{C3380CC4-5D6E-409C-BE32-E72D297353CC}">
                <c16:uniqueId val="{00000093-2993-41DE-A2CB-63102DE87051}"/>
              </c:ext>
            </c:extLst>
          </c:dPt>
          <c:dPt>
            <c:idx val="46"/>
            <c:invertIfNegative val="1"/>
            <c:bubble3D val="0"/>
            <c:spPr>
              <a:solidFill>
                <a:srgbClr val="7ECAC4"/>
              </a:solidFill>
            </c:spPr>
            <c:extLst>
              <c:ext xmlns:c16="http://schemas.microsoft.com/office/drawing/2014/chart" uri="{C3380CC4-5D6E-409C-BE32-E72D297353CC}">
                <c16:uniqueId val="{00000095-2993-41DE-A2CB-63102DE87051}"/>
              </c:ext>
            </c:extLst>
          </c:dPt>
          <c:dPt>
            <c:idx val="47"/>
            <c:invertIfNegative val="1"/>
            <c:bubble3D val="0"/>
            <c:spPr>
              <a:solidFill>
                <a:srgbClr val="7ECAC4"/>
              </a:solidFill>
            </c:spPr>
            <c:extLst>
              <c:ext xmlns:c16="http://schemas.microsoft.com/office/drawing/2014/chart" uri="{C3380CC4-5D6E-409C-BE32-E72D297353CC}">
                <c16:uniqueId val="{00000097-2993-41DE-A2CB-63102DE87051}"/>
              </c:ext>
            </c:extLst>
          </c:dPt>
          <c:dPt>
            <c:idx val="48"/>
            <c:invertIfNegative val="1"/>
            <c:bubble3D val="0"/>
            <c:spPr>
              <a:solidFill>
                <a:srgbClr val="7ECAC4"/>
              </a:solidFill>
            </c:spPr>
            <c:extLst>
              <c:ext xmlns:c16="http://schemas.microsoft.com/office/drawing/2014/chart" uri="{C3380CC4-5D6E-409C-BE32-E72D297353CC}">
                <c16:uniqueId val="{00000099-2993-41DE-A2CB-63102DE87051}"/>
              </c:ext>
            </c:extLst>
          </c:dPt>
          <c:dPt>
            <c:idx val="49"/>
            <c:invertIfNegative val="1"/>
            <c:bubble3D val="0"/>
            <c:spPr>
              <a:solidFill>
                <a:srgbClr val="7ECAC4"/>
              </a:solidFill>
            </c:spPr>
            <c:extLst>
              <c:ext xmlns:c16="http://schemas.microsoft.com/office/drawing/2014/chart" uri="{C3380CC4-5D6E-409C-BE32-E72D297353CC}">
                <c16:uniqueId val="{0000009B-2993-41DE-A2CB-63102DE87051}"/>
              </c:ext>
            </c:extLst>
          </c:dPt>
          <c:dPt>
            <c:idx val="50"/>
            <c:invertIfNegative val="1"/>
            <c:bubble3D val="0"/>
            <c:spPr>
              <a:solidFill>
                <a:srgbClr val="7ECAC4"/>
              </a:solidFill>
            </c:spPr>
            <c:extLst>
              <c:ext xmlns:c16="http://schemas.microsoft.com/office/drawing/2014/chart" uri="{C3380CC4-5D6E-409C-BE32-E72D297353CC}">
                <c16:uniqueId val="{0000009D-2993-41DE-A2CB-63102DE87051}"/>
              </c:ext>
            </c:extLst>
          </c:dPt>
          <c:dPt>
            <c:idx val="51"/>
            <c:invertIfNegative val="1"/>
            <c:bubble3D val="0"/>
            <c:spPr>
              <a:solidFill>
                <a:srgbClr val="7ECAC4"/>
              </a:solidFill>
            </c:spPr>
            <c:extLst>
              <c:ext xmlns:c16="http://schemas.microsoft.com/office/drawing/2014/chart" uri="{C3380CC4-5D6E-409C-BE32-E72D297353CC}">
                <c16:uniqueId val="{0000009F-2993-41DE-A2CB-63102DE87051}"/>
              </c:ext>
            </c:extLst>
          </c:dPt>
          <c:dPt>
            <c:idx val="52"/>
            <c:invertIfNegative val="1"/>
            <c:bubble3D val="0"/>
            <c:spPr>
              <a:solidFill>
                <a:srgbClr val="7ECAC4"/>
              </a:solidFill>
            </c:spPr>
            <c:extLst>
              <c:ext xmlns:c16="http://schemas.microsoft.com/office/drawing/2014/chart" uri="{C3380CC4-5D6E-409C-BE32-E72D297353CC}">
                <c16:uniqueId val="{000000A1-2993-41DE-A2CB-63102DE87051}"/>
              </c:ext>
            </c:extLst>
          </c:dPt>
          <c:dPt>
            <c:idx val="53"/>
            <c:invertIfNegative val="1"/>
            <c:bubble3D val="0"/>
            <c:spPr>
              <a:solidFill>
                <a:srgbClr val="7ECAC4"/>
              </a:solidFill>
            </c:spPr>
            <c:extLst>
              <c:ext xmlns:c16="http://schemas.microsoft.com/office/drawing/2014/chart" uri="{C3380CC4-5D6E-409C-BE32-E72D297353CC}">
                <c16:uniqueId val="{000000A3-2993-41DE-A2CB-63102DE87051}"/>
              </c:ext>
            </c:extLst>
          </c:dPt>
          <c:dPt>
            <c:idx val="54"/>
            <c:invertIfNegative val="0"/>
            <c:bubble3D val="0"/>
            <c:spPr>
              <a:solidFill>
                <a:srgbClr val="7ECAC4"/>
              </a:solidFill>
            </c:spPr>
            <c:extLst>
              <c:ext xmlns:c16="http://schemas.microsoft.com/office/drawing/2014/chart" uri="{C3380CC4-5D6E-409C-BE32-E72D297353CC}">
                <c16:uniqueId val="{00000072-C76F-4230-900D-40618C09729F}"/>
              </c:ext>
            </c:extLst>
          </c:dPt>
          <c:dPt>
            <c:idx val="55"/>
            <c:invertIfNegative val="0"/>
            <c:bubble3D val="0"/>
            <c:spPr>
              <a:solidFill>
                <a:srgbClr val="7ECAC4"/>
              </a:solidFill>
            </c:spPr>
            <c:extLst>
              <c:ext xmlns:c16="http://schemas.microsoft.com/office/drawing/2014/chart" uri="{C3380CC4-5D6E-409C-BE32-E72D297353CC}">
                <c16:uniqueId val="{00000074-C76F-4230-900D-40618C09729F}"/>
              </c:ext>
            </c:extLst>
          </c:dPt>
          <c:dPt>
            <c:idx val="56"/>
            <c:invertIfNegative val="0"/>
            <c:bubble3D val="0"/>
            <c:spPr>
              <a:solidFill>
                <a:srgbClr val="7ECAC4"/>
              </a:solidFill>
            </c:spPr>
            <c:extLst>
              <c:ext xmlns:c16="http://schemas.microsoft.com/office/drawing/2014/chart" uri="{C3380CC4-5D6E-409C-BE32-E72D297353CC}">
                <c16:uniqueId val="{00000076-C76F-4230-900D-40618C09729F}"/>
              </c:ext>
            </c:extLst>
          </c:dPt>
          <c:dPt>
            <c:idx val="57"/>
            <c:invertIfNegative val="0"/>
            <c:bubble3D val="0"/>
            <c:spPr>
              <a:solidFill>
                <a:srgbClr val="7ECAC4"/>
              </a:solidFill>
            </c:spPr>
            <c:extLst>
              <c:ext xmlns:c16="http://schemas.microsoft.com/office/drawing/2014/chart" uri="{C3380CC4-5D6E-409C-BE32-E72D297353CC}">
                <c16:uniqueId val="{00000078-C76F-4230-900D-40618C09729F}"/>
              </c:ext>
            </c:extLst>
          </c:dPt>
          <c:dPt>
            <c:idx val="58"/>
            <c:invertIfNegative val="0"/>
            <c:bubble3D val="0"/>
            <c:spPr>
              <a:solidFill>
                <a:srgbClr val="7ECAC4"/>
              </a:solidFill>
            </c:spPr>
            <c:extLst>
              <c:ext xmlns:c16="http://schemas.microsoft.com/office/drawing/2014/chart" uri="{C3380CC4-5D6E-409C-BE32-E72D297353CC}">
                <c16:uniqueId val="{0000007A-C76F-4230-900D-40618C09729F}"/>
              </c:ext>
            </c:extLst>
          </c:dPt>
          <c:dPt>
            <c:idx val="59"/>
            <c:invertIfNegative val="0"/>
            <c:bubble3D val="0"/>
            <c:spPr>
              <a:solidFill>
                <a:srgbClr val="7ECAC4"/>
              </a:solidFill>
            </c:spPr>
            <c:extLst>
              <c:ext xmlns:c16="http://schemas.microsoft.com/office/drawing/2014/chart" uri="{C3380CC4-5D6E-409C-BE32-E72D297353CC}">
                <c16:uniqueId val="{0000007C-C76F-4230-900D-40618C09729F}"/>
              </c:ext>
            </c:extLst>
          </c:dPt>
          <c:dPt>
            <c:idx val="60"/>
            <c:invertIfNegative val="0"/>
            <c:bubble3D val="0"/>
            <c:spPr>
              <a:solidFill>
                <a:srgbClr val="7ECAC4"/>
              </a:solidFill>
            </c:spPr>
            <c:extLst>
              <c:ext xmlns:c16="http://schemas.microsoft.com/office/drawing/2014/chart" uri="{C3380CC4-5D6E-409C-BE32-E72D297353CC}">
                <c16:uniqueId val="{0000007E-C76F-4230-900D-40618C09729F}"/>
              </c:ext>
            </c:extLst>
          </c:dPt>
          <c:dPt>
            <c:idx val="61"/>
            <c:invertIfNegative val="0"/>
            <c:bubble3D val="0"/>
            <c:spPr>
              <a:solidFill>
                <a:srgbClr val="7ECAC4"/>
              </a:solidFill>
            </c:spPr>
            <c:extLst>
              <c:ext xmlns:c16="http://schemas.microsoft.com/office/drawing/2014/chart" uri="{C3380CC4-5D6E-409C-BE32-E72D297353CC}">
                <c16:uniqueId val="{00000080-C76F-4230-900D-40618C09729F}"/>
              </c:ext>
            </c:extLst>
          </c:dPt>
          <c:dPt>
            <c:idx val="62"/>
            <c:invertIfNegative val="0"/>
            <c:bubble3D val="0"/>
            <c:spPr>
              <a:solidFill>
                <a:srgbClr val="7ECAC4"/>
              </a:solidFill>
            </c:spPr>
            <c:extLst>
              <c:ext xmlns:c16="http://schemas.microsoft.com/office/drawing/2014/chart" uri="{C3380CC4-5D6E-409C-BE32-E72D297353CC}">
                <c16:uniqueId val="{00000082-C76F-4230-900D-40618C09729F}"/>
              </c:ext>
            </c:extLst>
          </c:dPt>
          <c:dPt>
            <c:idx val="63"/>
            <c:invertIfNegative val="0"/>
            <c:bubble3D val="0"/>
            <c:spPr>
              <a:solidFill>
                <a:srgbClr val="7ECAC4"/>
              </a:solidFill>
            </c:spPr>
            <c:extLst>
              <c:ext xmlns:c16="http://schemas.microsoft.com/office/drawing/2014/chart" uri="{C3380CC4-5D6E-409C-BE32-E72D297353CC}">
                <c16:uniqueId val="{00000084-C76F-4230-900D-40618C09729F}"/>
              </c:ext>
            </c:extLst>
          </c:dPt>
          <c:dPt>
            <c:idx val="64"/>
            <c:invertIfNegative val="0"/>
            <c:bubble3D val="0"/>
            <c:spPr>
              <a:solidFill>
                <a:srgbClr val="7ECAC4"/>
              </a:solidFill>
            </c:spPr>
            <c:extLst>
              <c:ext xmlns:c16="http://schemas.microsoft.com/office/drawing/2014/chart" uri="{C3380CC4-5D6E-409C-BE32-E72D297353CC}">
                <c16:uniqueId val="{00000086-C76F-4230-900D-40618C09729F}"/>
              </c:ext>
            </c:extLst>
          </c:dPt>
          <c:dPt>
            <c:idx val="65"/>
            <c:invertIfNegative val="0"/>
            <c:bubble3D val="0"/>
            <c:spPr>
              <a:solidFill>
                <a:srgbClr val="7ECAC4"/>
              </a:solidFill>
            </c:spPr>
            <c:extLst>
              <c:ext xmlns:c16="http://schemas.microsoft.com/office/drawing/2014/chart" uri="{C3380CC4-5D6E-409C-BE32-E72D297353CC}">
                <c16:uniqueId val="{00000088-C76F-4230-900D-40618C09729F}"/>
              </c:ext>
            </c:extLst>
          </c:dPt>
          <c:dPt>
            <c:idx val="66"/>
            <c:invertIfNegative val="0"/>
            <c:bubble3D val="0"/>
            <c:spPr>
              <a:solidFill>
                <a:srgbClr val="7ECAC4"/>
              </a:solidFill>
            </c:spPr>
            <c:extLst>
              <c:ext xmlns:c16="http://schemas.microsoft.com/office/drawing/2014/chart" uri="{C3380CC4-5D6E-409C-BE32-E72D297353CC}">
                <c16:uniqueId val="{0000008A-C76F-4230-900D-40618C09729F}"/>
              </c:ext>
            </c:extLst>
          </c:dPt>
          <c:dPt>
            <c:idx val="67"/>
            <c:invertIfNegative val="0"/>
            <c:bubble3D val="0"/>
            <c:spPr>
              <a:solidFill>
                <a:srgbClr val="7ECAC4"/>
              </a:solidFill>
            </c:spPr>
            <c:extLst>
              <c:ext xmlns:c16="http://schemas.microsoft.com/office/drawing/2014/chart" uri="{C3380CC4-5D6E-409C-BE32-E72D297353CC}">
                <c16:uniqueId val="{0000008C-C76F-4230-900D-40618C09729F}"/>
              </c:ext>
            </c:extLst>
          </c:dPt>
          <c:dPt>
            <c:idx val="68"/>
            <c:invertIfNegative val="0"/>
            <c:bubble3D val="0"/>
            <c:spPr>
              <a:solidFill>
                <a:srgbClr val="7ECAC4"/>
              </a:solidFill>
            </c:spPr>
            <c:extLst>
              <c:ext xmlns:c16="http://schemas.microsoft.com/office/drawing/2014/chart" uri="{C3380CC4-5D6E-409C-BE32-E72D297353CC}">
                <c16:uniqueId val="{0000008E-C76F-4230-900D-40618C09729F}"/>
              </c:ext>
            </c:extLst>
          </c:dPt>
          <c:dPt>
            <c:idx val="69"/>
            <c:invertIfNegative val="0"/>
            <c:bubble3D val="0"/>
            <c:spPr>
              <a:solidFill>
                <a:srgbClr val="7ECAC4"/>
              </a:solidFill>
            </c:spPr>
            <c:extLst>
              <c:ext xmlns:c16="http://schemas.microsoft.com/office/drawing/2014/chart" uri="{C3380CC4-5D6E-409C-BE32-E72D297353CC}">
                <c16:uniqueId val="{00000090-C76F-4230-900D-40618C09729F}"/>
              </c:ext>
            </c:extLst>
          </c:dPt>
          <c:dPt>
            <c:idx val="70"/>
            <c:invertIfNegative val="0"/>
            <c:bubble3D val="0"/>
            <c:spPr>
              <a:solidFill>
                <a:srgbClr val="7ECAC4"/>
              </a:solidFill>
            </c:spPr>
            <c:extLst>
              <c:ext xmlns:c16="http://schemas.microsoft.com/office/drawing/2014/chart" uri="{C3380CC4-5D6E-409C-BE32-E72D297353CC}">
                <c16:uniqueId val="{00000092-C76F-4230-900D-40618C09729F}"/>
              </c:ext>
            </c:extLst>
          </c:dPt>
          <c:dPt>
            <c:idx val="71"/>
            <c:invertIfNegative val="0"/>
            <c:bubble3D val="0"/>
            <c:spPr>
              <a:solidFill>
                <a:srgbClr val="7ECAC4"/>
              </a:solidFill>
            </c:spPr>
            <c:extLst>
              <c:ext xmlns:c16="http://schemas.microsoft.com/office/drawing/2014/chart" uri="{C3380CC4-5D6E-409C-BE32-E72D297353CC}">
                <c16:uniqueId val="{00000094-C76F-4230-900D-40618C09729F}"/>
              </c:ext>
            </c:extLst>
          </c:dPt>
          <c:dPt>
            <c:idx val="72"/>
            <c:invertIfNegative val="0"/>
            <c:bubble3D val="0"/>
            <c:spPr>
              <a:solidFill>
                <a:srgbClr val="7ECAC4"/>
              </a:solidFill>
            </c:spPr>
            <c:extLst>
              <c:ext xmlns:c16="http://schemas.microsoft.com/office/drawing/2014/chart" uri="{C3380CC4-5D6E-409C-BE32-E72D297353CC}">
                <c16:uniqueId val="{00000096-C76F-4230-900D-40618C09729F}"/>
              </c:ext>
            </c:extLst>
          </c:dPt>
          <c:dPt>
            <c:idx val="73"/>
            <c:invertIfNegative val="0"/>
            <c:bubble3D val="0"/>
            <c:spPr>
              <a:solidFill>
                <a:srgbClr val="7ECAC4"/>
              </a:solidFill>
            </c:spPr>
            <c:extLst>
              <c:ext xmlns:c16="http://schemas.microsoft.com/office/drawing/2014/chart" uri="{C3380CC4-5D6E-409C-BE32-E72D297353CC}">
                <c16:uniqueId val="{00000098-C76F-4230-900D-40618C09729F}"/>
              </c:ext>
            </c:extLst>
          </c:dPt>
          <c:dPt>
            <c:idx val="74"/>
            <c:invertIfNegative val="0"/>
            <c:bubble3D val="0"/>
            <c:spPr>
              <a:solidFill>
                <a:srgbClr val="7ECAC4"/>
              </a:solidFill>
            </c:spPr>
            <c:extLst>
              <c:ext xmlns:c16="http://schemas.microsoft.com/office/drawing/2014/chart" uri="{C3380CC4-5D6E-409C-BE32-E72D297353CC}">
                <c16:uniqueId val="{0000009A-C76F-4230-900D-40618C09729F}"/>
              </c:ext>
            </c:extLst>
          </c:dPt>
          <c:dPt>
            <c:idx val="75"/>
            <c:invertIfNegative val="0"/>
            <c:bubble3D val="0"/>
            <c:spPr>
              <a:solidFill>
                <a:srgbClr val="7ECAC4"/>
              </a:solidFill>
            </c:spPr>
            <c:extLst>
              <c:ext xmlns:c16="http://schemas.microsoft.com/office/drawing/2014/chart" uri="{C3380CC4-5D6E-409C-BE32-E72D297353CC}">
                <c16:uniqueId val="{0000009C-C76F-4230-900D-40618C09729F}"/>
              </c:ext>
            </c:extLst>
          </c:dPt>
          <c:dPt>
            <c:idx val="76"/>
            <c:invertIfNegative val="0"/>
            <c:bubble3D val="0"/>
            <c:spPr>
              <a:solidFill>
                <a:srgbClr val="7ECAC4"/>
              </a:solidFill>
            </c:spPr>
            <c:extLst>
              <c:ext xmlns:c16="http://schemas.microsoft.com/office/drawing/2014/chart" uri="{C3380CC4-5D6E-409C-BE32-E72D297353CC}">
                <c16:uniqueId val="{0000009E-C76F-4230-900D-40618C09729F}"/>
              </c:ext>
            </c:extLst>
          </c:dPt>
          <c:dPt>
            <c:idx val="77"/>
            <c:invertIfNegative val="0"/>
            <c:bubble3D val="0"/>
            <c:spPr>
              <a:solidFill>
                <a:srgbClr val="7ECAC4"/>
              </a:solidFill>
            </c:spPr>
            <c:extLst>
              <c:ext xmlns:c16="http://schemas.microsoft.com/office/drawing/2014/chart" uri="{C3380CC4-5D6E-409C-BE32-E72D297353CC}">
                <c16:uniqueId val="{000000A0-C76F-4230-900D-40618C09729F}"/>
              </c:ext>
            </c:extLst>
          </c:dPt>
          <c:dPt>
            <c:idx val="78"/>
            <c:invertIfNegative val="0"/>
            <c:bubble3D val="0"/>
            <c:spPr>
              <a:solidFill>
                <a:srgbClr val="7ECAC4"/>
              </a:solidFill>
            </c:spPr>
            <c:extLst>
              <c:ext xmlns:c16="http://schemas.microsoft.com/office/drawing/2014/chart" uri="{C3380CC4-5D6E-409C-BE32-E72D297353CC}">
                <c16:uniqueId val="{000000A2-C76F-4230-900D-40618C09729F}"/>
              </c:ext>
            </c:extLst>
          </c:dPt>
          <c:dPt>
            <c:idx val="79"/>
            <c:invertIfNegative val="0"/>
            <c:bubble3D val="0"/>
            <c:spPr>
              <a:solidFill>
                <a:srgbClr val="7ECAC4"/>
              </a:solidFill>
            </c:spPr>
            <c:extLst>
              <c:ext xmlns:c16="http://schemas.microsoft.com/office/drawing/2014/chart" uri="{C3380CC4-5D6E-409C-BE32-E72D297353CC}">
                <c16:uniqueId val="{000000A4-C76F-4230-900D-40618C09729F}"/>
              </c:ext>
            </c:extLst>
          </c:dPt>
          <c:dPt>
            <c:idx val="80"/>
            <c:invertIfNegative val="0"/>
            <c:bubble3D val="0"/>
            <c:spPr>
              <a:solidFill>
                <a:srgbClr val="7ECAC4"/>
              </a:solidFill>
            </c:spPr>
            <c:extLst>
              <c:ext xmlns:c16="http://schemas.microsoft.com/office/drawing/2014/chart" uri="{C3380CC4-5D6E-409C-BE32-E72D297353CC}">
                <c16:uniqueId val="{000000A6-C76F-4230-900D-40618C09729F}"/>
              </c:ext>
            </c:extLst>
          </c:dPt>
          <c:dPt>
            <c:idx val="81"/>
            <c:invertIfNegative val="1"/>
            <c:bubble3D val="0"/>
            <c:spPr>
              <a:solidFill>
                <a:srgbClr val="7ECAC4"/>
              </a:solidFill>
            </c:spPr>
            <c:extLst>
              <c:ext xmlns:c16="http://schemas.microsoft.com/office/drawing/2014/chart" uri="{C3380CC4-5D6E-409C-BE32-E72D297353CC}">
                <c16:uniqueId val="{000000A5-2993-41DE-A2CB-63102DE87051}"/>
              </c:ext>
            </c:extLst>
          </c:dPt>
          <c:dPt>
            <c:idx val="82"/>
            <c:invertIfNegative val="1"/>
            <c:bubble3D val="0"/>
            <c:spPr>
              <a:solidFill>
                <a:srgbClr val="7ECAC4"/>
              </a:solidFill>
            </c:spPr>
            <c:extLst>
              <c:ext xmlns:c16="http://schemas.microsoft.com/office/drawing/2014/chart" uri="{C3380CC4-5D6E-409C-BE32-E72D297353CC}">
                <c16:uniqueId val="{000000A7-2993-41DE-A2CB-63102DE87051}"/>
              </c:ext>
            </c:extLst>
          </c:dPt>
          <c:dPt>
            <c:idx val="83"/>
            <c:invertIfNegative val="1"/>
            <c:bubble3D val="0"/>
            <c:spPr>
              <a:solidFill>
                <a:srgbClr val="7ECAC4"/>
              </a:solidFill>
            </c:spPr>
            <c:extLst>
              <c:ext xmlns:c16="http://schemas.microsoft.com/office/drawing/2014/chart" uri="{C3380CC4-5D6E-409C-BE32-E72D297353CC}">
                <c16:uniqueId val="{000000A9-2993-41DE-A2CB-63102DE87051}"/>
              </c:ext>
            </c:extLst>
          </c:dPt>
          <c:dPt>
            <c:idx val="84"/>
            <c:invertIfNegative val="1"/>
            <c:bubble3D val="0"/>
            <c:spPr>
              <a:solidFill>
                <a:srgbClr val="7ECAC4"/>
              </a:solidFill>
            </c:spPr>
            <c:extLst>
              <c:ext xmlns:c16="http://schemas.microsoft.com/office/drawing/2014/chart" uri="{C3380CC4-5D6E-409C-BE32-E72D297353CC}">
                <c16:uniqueId val="{000000AB-2993-41DE-A2CB-63102DE87051}"/>
              </c:ext>
            </c:extLst>
          </c:dPt>
          <c:dPt>
            <c:idx val="85"/>
            <c:invertIfNegative val="1"/>
            <c:bubble3D val="0"/>
            <c:spPr>
              <a:solidFill>
                <a:srgbClr val="7ECAC4"/>
              </a:solidFill>
            </c:spPr>
            <c:extLst>
              <c:ext xmlns:c16="http://schemas.microsoft.com/office/drawing/2014/chart" uri="{C3380CC4-5D6E-409C-BE32-E72D297353CC}">
                <c16:uniqueId val="{000000AD-2993-41DE-A2CB-63102DE87051}"/>
              </c:ext>
            </c:extLst>
          </c:dPt>
          <c:dPt>
            <c:idx val="86"/>
            <c:invertIfNegative val="1"/>
            <c:bubble3D val="0"/>
            <c:spPr>
              <a:solidFill>
                <a:srgbClr val="7ECAC4"/>
              </a:solidFill>
            </c:spPr>
            <c:extLst>
              <c:ext xmlns:c16="http://schemas.microsoft.com/office/drawing/2014/chart" uri="{C3380CC4-5D6E-409C-BE32-E72D297353CC}">
                <c16:uniqueId val="{000000AF-2993-41DE-A2CB-63102DE87051}"/>
              </c:ext>
            </c:extLst>
          </c:dPt>
          <c:dPt>
            <c:idx val="87"/>
            <c:invertIfNegative val="1"/>
            <c:bubble3D val="0"/>
            <c:spPr>
              <a:solidFill>
                <a:srgbClr val="7ECAC4"/>
              </a:solidFill>
            </c:spPr>
            <c:extLst>
              <c:ext xmlns:c16="http://schemas.microsoft.com/office/drawing/2014/chart" uri="{C3380CC4-5D6E-409C-BE32-E72D297353CC}">
                <c16:uniqueId val="{000000B1-2993-41DE-A2CB-63102DE87051}"/>
              </c:ext>
            </c:extLst>
          </c:dPt>
          <c:dPt>
            <c:idx val="88"/>
            <c:invertIfNegative val="1"/>
            <c:bubble3D val="0"/>
            <c:spPr>
              <a:solidFill>
                <a:srgbClr val="7ECAC4"/>
              </a:solidFill>
            </c:spPr>
            <c:extLst>
              <c:ext xmlns:c16="http://schemas.microsoft.com/office/drawing/2014/chart" uri="{C3380CC4-5D6E-409C-BE32-E72D297353CC}">
                <c16:uniqueId val="{000000B3-2993-41DE-A2CB-63102DE87051}"/>
              </c:ext>
            </c:extLst>
          </c:dPt>
          <c:dPt>
            <c:idx val="89"/>
            <c:invertIfNegative val="1"/>
            <c:bubble3D val="0"/>
            <c:spPr>
              <a:solidFill>
                <a:srgbClr val="7ECAC4"/>
              </a:solidFill>
            </c:spPr>
            <c:extLst>
              <c:ext xmlns:c16="http://schemas.microsoft.com/office/drawing/2014/chart" uri="{C3380CC4-5D6E-409C-BE32-E72D297353CC}">
                <c16:uniqueId val="{000000B5-2993-41DE-A2CB-63102DE87051}"/>
              </c:ext>
            </c:extLst>
          </c:dPt>
          <c:dPt>
            <c:idx val="90"/>
            <c:invertIfNegative val="1"/>
            <c:bubble3D val="0"/>
            <c:spPr>
              <a:solidFill>
                <a:srgbClr val="7ECAC4"/>
              </a:solidFill>
            </c:spPr>
            <c:extLst>
              <c:ext xmlns:c16="http://schemas.microsoft.com/office/drawing/2014/chart" uri="{C3380CC4-5D6E-409C-BE32-E72D297353CC}">
                <c16:uniqueId val="{000000B7-2993-41DE-A2CB-63102DE87051}"/>
              </c:ext>
            </c:extLst>
          </c:dPt>
          <c:dPt>
            <c:idx val="91"/>
            <c:invertIfNegative val="1"/>
            <c:bubble3D val="0"/>
            <c:spPr>
              <a:solidFill>
                <a:srgbClr val="7ECAC4"/>
              </a:solidFill>
            </c:spPr>
            <c:extLst>
              <c:ext xmlns:c16="http://schemas.microsoft.com/office/drawing/2014/chart" uri="{C3380CC4-5D6E-409C-BE32-E72D297353CC}">
                <c16:uniqueId val="{000000B9-2993-41DE-A2CB-63102DE87051}"/>
              </c:ext>
            </c:extLst>
          </c:dPt>
          <c:dPt>
            <c:idx val="92"/>
            <c:invertIfNegative val="1"/>
            <c:bubble3D val="0"/>
            <c:spPr>
              <a:solidFill>
                <a:srgbClr val="7ECAC4"/>
              </a:solidFill>
            </c:spPr>
            <c:extLst>
              <c:ext xmlns:c16="http://schemas.microsoft.com/office/drawing/2014/chart" uri="{C3380CC4-5D6E-409C-BE32-E72D297353CC}">
                <c16:uniqueId val="{000000BB-2993-41DE-A2CB-63102DE87051}"/>
              </c:ext>
            </c:extLst>
          </c:dPt>
          <c:dPt>
            <c:idx val="93"/>
            <c:invertIfNegative val="1"/>
            <c:bubble3D val="0"/>
            <c:spPr>
              <a:solidFill>
                <a:srgbClr val="AEABAB"/>
              </a:solidFill>
            </c:spPr>
            <c:extLst>
              <c:ext xmlns:c16="http://schemas.microsoft.com/office/drawing/2014/chart" uri="{C3380CC4-5D6E-409C-BE32-E72D297353CC}">
                <c16:uniqueId val="{000000BD-2993-41DE-A2CB-63102DE87051}"/>
              </c:ext>
            </c:extLst>
          </c:dPt>
          <c:dPt>
            <c:idx val="94"/>
            <c:invertIfNegative val="1"/>
            <c:bubble3D val="0"/>
            <c:spPr>
              <a:solidFill>
                <a:srgbClr val="AEABAB"/>
              </a:solidFill>
            </c:spPr>
            <c:extLst>
              <c:ext xmlns:c16="http://schemas.microsoft.com/office/drawing/2014/chart" uri="{C3380CC4-5D6E-409C-BE32-E72D297353CC}">
                <c16:uniqueId val="{000000BF-2993-41DE-A2CB-63102DE87051}"/>
              </c:ext>
            </c:extLst>
          </c:dPt>
          <c:dPt>
            <c:idx val="95"/>
            <c:invertIfNegative val="1"/>
            <c:bubble3D val="0"/>
            <c:spPr>
              <a:solidFill>
                <a:srgbClr val="AEABAB"/>
              </a:solidFill>
            </c:spPr>
            <c:extLst>
              <c:ext xmlns:c16="http://schemas.microsoft.com/office/drawing/2014/chart" uri="{C3380CC4-5D6E-409C-BE32-E72D297353CC}">
                <c16:uniqueId val="{000000C1-2993-41DE-A2CB-63102DE87051}"/>
              </c:ext>
            </c:extLst>
          </c:dPt>
          <c:dPt>
            <c:idx val="96"/>
            <c:invertIfNegative val="1"/>
            <c:bubble3D val="0"/>
            <c:spPr>
              <a:solidFill>
                <a:srgbClr val="AEABAB"/>
              </a:solidFill>
            </c:spPr>
            <c:extLst>
              <c:ext xmlns:c16="http://schemas.microsoft.com/office/drawing/2014/chart" uri="{C3380CC4-5D6E-409C-BE32-E72D297353CC}">
                <c16:uniqueId val="{000000C3-2993-41DE-A2CB-63102DE87051}"/>
              </c:ext>
            </c:extLst>
          </c:dPt>
          <c:dPt>
            <c:idx val="97"/>
            <c:invertIfNegative val="1"/>
            <c:bubble3D val="0"/>
            <c:spPr>
              <a:solidFill>
                <a:srgbClr val="AEABAB"/>
              </a:solidFill>
            </c:spPr>
            <c:extLst>
              <c:ext xmlns:c16="http://schemas.microsoft.com/office/drawing/2014/chart" uri="{C3380CC4-5D6E-409C-BE32-E72D297353CC}">
                <c16:uniqueId val="{000000C5-2993-41DE-A2CB-63102DE87051}"/>
              </c:ext>
            </c:extLst>
          </c:dPt>
          <c:dPt>
            <c:idx val="98"/>
            <c:invertIfNegative val="1"/>
            <c:bubble3D val="0"/>
            <c:spPr>
              <a:solidFill>
                <a:srgbClr val="AEABAB"/>
              </a:solidFill>
            </c:spPr>
            <c:extLst>
              <c:ext xmlns:c16="http://schemas.microsoft.com/office/drawing/2014/chart" uri="{C3380CC4-5D6E-409C-BE32-E72D297353CC}">
                <c16:uniqueId val="{000000C7-2993-41DE-A2CB-63102DE87051}"/>
              </c:ext>
            </c:extLst>
          </c:dPt>
          <c:dPt>
            <c:idx val="99"/>
            <c:invertIfNegative val="1"/>
            <c:bubble3D val="0"/>
            <c:spPr>
              <a:solidFill>
                <a:srgbClr val="AEABAB"/>
              </a:solidFill>
            </c:spPr>
            <c:extLst>
              <c:ext xmlns:c16="http://schemas.microsoft.com/office/drawing/2014/chart" uri="{C3380CC4-5D6E-409C-BE32-E72D297353CC}">
                <c16:uniqueId val="{000000C9-2993-41DE-A2CB-63102DE87051}"/>
              </c:ext>
            </c:extLst>
          </c:dPt>
          <c:dPt>
            <c:idx val="100"/>
            <c:invertIfNegative val="1"/>
            <c:bubble3D val="0"/>
            <c:spPr>
              <a:solidFill>
                <a:srgbClr val="AEABAB"/>
              </a:solidFill>
            </c:spPr>
            <c:extLst>
              <c:ext xmlns:c16="http://schemas.microsoft.com/office/drawing/2014/chart" uri="{C3380CC4-5D6E-409C-BE32-E72D297353CC}">
                <c16:uniqueId val="{000000CB-2993-41DE-A2CB-63102DE87051}"/>
              </c:ext>
            </c:extLst>
          </c:dPt>
          <c:dPt>
            <c:idx val="101"/>
            <c:invertIfNegative val="1"/>
            <c:bubble3D val="0"/>
            <c:spPr>
              <a:solidFill>
                <a:srgbClr val="AEABAB"/>
              </a:solidFill>
            </c:spPr>
            <c:extLst>
              <c:ext xmlns:c16="http://schemas.microsoft.com/office/drawing/2014/chart" uri="{C3380CC4-5D6E-409C-BE32-E72D297353CC}">
                <c16:uniqueId val="{000000CD-2993-41DE-A2CB-63102DE87051}"/>
              </c:ext>
            </c:extLst>
          </c:dPt>
          <c:dPt>
            <c:idx val="102"/>
            <c:invertIfNegative val="1"/>
            <c:bubble3D val="0"/>
            <c:spPr>
              <a:solidFill>
                <a:srgbClr val="AEABAB"/>
              </a:solidFill>
            </c:spPr>
            <c:extLst>
              <c:ext xmlns:c16="http://schemas.microsoft.com/office/drawing/2014/chart" uri="{C3380CC4-5D6E-409C-BE32-E72D297353CC}">
                <c16:uniqueId val="{000000CF-2993-41DE-A2CB-63102DE87051}"/>
              </c:ext>
            </c:extLst>
          </c:dPt>
          <c:dPt>
            <c:idx val="103"/>
            <c:invertIfNegative val="1"/>
            <c:bubble3D val="0"/>
            <c:spPr>
              <a:solidFill>
                <a:srgbClr val="AEABAB"/>
              </a:solidFill>
            </c:spPr>
            <c:extLst>
              <c:ext xmlns:c16="http://schemas.microsoft.com/office/drawing/2014/chart" uri="{C3380CC4-5D6E-409C-BE32-E72D297353CC}">
                <c16:uniqueId val="{000000D1-2993-41DE-A2CB-63102DE87051}"/>
              </c:ext>
            </c:extLst>
          </c:dPt>
          <c:dPt>
            <c:idx val="104"/>
            <c:invertIfNegative val="1"/>
            <c:bubble3D val="0"/>
            <c:spPr>
              <a:solidFill>
                <a:srgbClr val="AEABAB"/>
              </a:solidFill>
            </c:spPr>
            <c:extLst>
              <c:ext xmlns:c16="http://schemas.microsoft.com/office/drawing/2014/chart" uri="{C3380CC4-5D6E-409C-BE32-E72D297353CC}">
                <c16:uniqueId val="{000000D3-2993-41DE-A2CB-63102DE87051}"/>
              </c:ext>
            </c:extLst>
          </c:dPt>
          <c:dPt>
            <c:idx val="105"/>
            <c:invertIfNegative val="1"/>
            <c:bubble3D val="0"/>
            <c:spPr>
              <a:solidFill>
                <a:srgbClr val="AEABAB"/>
              </a:solidFill>
            </c:spPr>
            <c:extLst>
              <c:ext xmlns:c16="http://schemas.microsoft.com/office/drawing/2014/chart" uri="{C3380CC4-5D6E-409C-BE32-E72D297353CC}">
                <c16:uniqueId val="{000000D5-2993-41DE-A2CB-63102DE87051}"/>
              </c:ext>
            </c:extLst>
          </c:dPt>
          <c:dPt>
            <c:idx val="106"/>
            <c:invertIfNegative val="1"/>
            <c:bubble3D val="0"/>
            <c:spPr>
              <a:solidFill>
                <a:srgbClr val="AEABAB"/>
              </a:solidFill>
            </c:spPr>
            <c:extLst>
              <c:ext xmlns:c16="http://schemas.microsoft.com/office/drawing/2014/chart" uri="{C3380CC4-5D6E-409C-BE32-E72D297353CC}">
                <c16:uniqueId val="{000000D7-2993-41DE-A2CB-63102DE87051}"/>
              </c:ext>
            </c:extLst>
          </c:dPt>
          <c:dPt>
            <c:idx val="107"/>
            <c:invertIfNegative val="1"/>
            <c:bubble3D val="0"/>
            <c:spPr>
              <a:solidFill>
                <a:srgbClr val="AEABAB"/>
              </a:solidFill>
            </c:spPr>
            <c:extLst>
              <c:ext xmlns:c16="http://schemas.microsoft.com/office/drawing/2014/chart" uri="{C3380CC4-5D6E-409C-BE32-E72D297353CC}">
                <c16:uniqueId val="{000000D9-2993-41DE-A2CB-63102DE87051}"/>
              </c:ext>
            </c:extLst>
          </c:dPt>
          <c:dPt>
            <c:idx val="108"/>
            <c:invertIfNegative val="1"/>
            <c:bubble3D val="0"/>
            <c:spPr>
              <a:solidFill>
                <a:srgbClr val="AEABAB"/>
              </a:solidFill>
            </c:spPr>
            <c:extLst>
              <c:ext xmlns:c16="http://schemas.microsoft.com/office/drawing/2014/chart" uri="{C3380CC4-5D6E-409C-BE32-E72D297353CC}">
                <c16:uniqueId val="{000000DB-2993-41DE-A2CB-63102DE87051}"/>
              </c:ext>
            </c:extLst>
          </c:dPt>
          <c:dPt>
            <c:idx val="109"/>
            <c:invertIfNegative val="1"/>
            <c:bubble3D val="0"/>
            <c:spPr>
              <a:solidFill>
                <a:srgbClr val="AEABAB"/>
              </a:solidFill>
            </c:spPr>
            <c:extLst>
              <c:ext xmlns:c16="http://schemas.microsoft.com/office/drawing/2014/chart" uri="{C3380CC4-5D6E-409C-BE32-E72D297353CC}">
                <c16:uniqueId val="{000000DD-2993-41DE-A2CB-63102DE87051}"/>
              </c:ext>
            </c:extLst>
          </c:dPt>
          <c:dPt>
            <c:idx val="110"/>
            <c:invertIfNegative val="1"/>
            <c:bubble3D val="0"/>
            <c:spPr>
              <a:solidFill>
                <a:srgbClr val="AEABAB"/>
              </a:solidFill>
            </c:spPr>
            <c:extLst>
              <c:ext xmlns:c16="http://schemas.microsoft.com/office/drawing/2014/chart" uri="{C3380CC4-5D6E-409C-BE32-E72D297353CC}">
                <c16:uniqueId val="{000000DF-2993-41DE-A2CB-63102DE87051}"/>
              </c:ext>
            </c:extLst>
          </c:dPt>
          <c:dPt>
            <c:idx val="111"/>
            <c:invertIfNegative val="1"/>
            <c:bubble3D val="0"/>
            <c:spPr>
              <a:solidFill>
                <a:srgbClr val="AEABAB"/>
              </a:solidFill>
            </c:spPr>
            <c:extLst>
              <c:ext xmlns:c16="http://schemas.microsoft.com/office/drawing/2014/chart" uri="{C3380CC4-5D6E-409C-BE32-E72D297353CC}">
                <c16:uniqueId val="{000000E1-2993-41DE-A2CB-63102DE87051}"/>
              </c:ext>
            </c:extLst>
          </c:dPt>
          <c:dPt>
            <c:idx val="112"/>
            <c:invertIfNegative val="1"/>
            <c:bubble3D val="0"/>
            <c:spPr>
              <a:solidFill>
                <a:srgbClr val="AEABAB"/>
              </a:solidFill>
            </c:spPr>
            <c:extLst>
              <c:ext xmlns:c16="http://schemas.microsoft.com/office/drawing/2014/chart" uri="{C3380CC4-5D6E-409C-BE32-E72D297353CC}">
                <c16:uniqueId val="{000000E3-2993-41DE-A2CB-63102DE87051}"/>
              </c:ext>
            </c:extLst>
          </c:dPt>
          <c:dPt>
            <c:idx val="113"/>
            <c:invertIfNegative val="1"/>
            <c:bubble3D val="0"/>
            <c:spPr>
              <a:solidFill>
                <a:srgbClr val="AEABAB"/>
              </a:solidFill>
            </c:spPr>
            <c:extLst>
              <c:ext xmlns:c16="http://schemas.microsoft.com/office/drawing/2014/chart" uri="{C3380CC4-5D6E-409C-BE32-E72D297353CC}">
                <c16:uniqueId val="{000000E5-2993-41DE-A2CB-63102DE87051}"/>
              </c:ext>
            </c:extLst>
          </c:dPt>
          <c:dPt>
            <c:idx val="114"/>
            <c:invertIfNegative val="1"/>
            <c:bubble3D val="0"/>
            <c:spPr>
              <a:solidFill>
                <a:srgbClr val="AEABAB"/>
              </a:solidFill>
            </c:spPr>
            <c:extLst>
              <c:ext xmlns:c16="http://schemas.microsoft.com/office/drawing/2014/chart" uri="{C3380CC4-5D6E-409C-BE32-E72D297353CC}">
                <c16:uniqueId val="{000000E7-2993-41DE-A2CB-63102DE87051}"/>
              </c:ext>
            </c:extLst>
          </c:dPt>
          <c:dPt>
            <c:idx val="115"/>
            <c:invertIfNegative val="1"/>
            <c:bubble3D val="0"/>
            <c:spPr>
              <a:solidFill>
                <a:srgbClr val="AEABAB"/>
              </a:solidFill>
            </c:spPr>
            <c:extLst>
              <c:ext xmlns:c16="http://schemas.microsoft.com/office/drawing/2014/chart" uri="{C3380CC4-5D6E-409C-BE32-E72D297353CC}">
                <c16:uniqueId val="{000000E9-2993-41DE-A2CB-63102DE87051}"/>
              </c:ext>
            </c:extLst>
          </c:dPt>
          <c:dPt>
            <c:idx val="116"/>
            <c:invertIfNegative val="1"/>
            <c:bubble3D val="0"/>
            <c:spPr>
              <a:solidFill>
                <a:srgbClr val="AEABAB"/>
              </a:solidFill>
            </c:spPr>
            <c:extLst>
              <c:ext xmlns:c16="http://schemas.microsoft.com/office/drawing/2014/chart" uri="{C3380CC4-5D6E-409C-BE32-E72D297353CC}">
                <c16:uniqueId val="{000000EB-2993-41DE-A2CB-63102DE87051}"/>
              </c:ext>
            </c:extLst>
          </c:dPt>
          <c:dPt>
            <c:idx val="117"/>
            <c:invertIfNegative val="1"/>
            <c:bubble3D val="0"/>
            <c:spPr>
              <a:solidFill>
                <a:srgbClr val="AEABAB"/>
              </a:solidFill>
            </c:spPr>
            <c:extLst>
              <c:ext xmlns:c16="http://schemas.microsoft.com/office/drawing/2014/chart" uri="{C3380CC4-5D6E-409C-BE32-E72D297353CC}">
                <c16:uniqueId val="{000000ED-2993-41DE-A2CB-63102DE87051}"/>
              </c:ext>
            </c:extLst>
          </c:dPt>
          <c:dPt>
            <c:idx val="118"/>
            <c:invertIfNegative val="1"/>
            <c:bubble3D val="0"/>
            <c:spPr>
              <a:solidFill>
                <a:srgbClr val="AEABAB"/>
              </a:solidFill>
            </c:spPr>
            <c:extLst>
              <c:ext xmlns:c16="http://schemas.microsoft.com/office/drawing/2014/chart" uri="{C3380CC4-5D6E-409C-BE32-E72D297353CC}">
                <c16:uniqueId val="{000000EF-2993-41DE-A2CB-63102DE87051}"/>
              </c:ext>
            </c:extLst>
          </c:dPt>
          <c:dPt>
            <c:idx val="119"/>
            <c:invertIfNegative val="1"/>
            <c:bubble3D val="0"/>
            <c:spPr>
              <a:solidFill>
                <a:srgbClr val="AEABAB"/>
              </a:solidFill>
            </c:spPr>
            <c:extLst>
              <c:ext xmlns:c16="http://schemas.microsoft.com/office/drawing/2014/chart" uri="{C3380CC4-5D6E-409C-BE32-E72D297353CC}">
                <c16:uniqueId val="{000000F1-2993-41DE-A2CB-63102DE87051}"/>
              </c:ext>
            </c:extLst>
          </c:dPt>
          <c:dPt>
            <c:idx val="120"/>
            <c:invertIfNegative val="1"/>
            <c:bubble3D val="0"/>
            <c:spPr>
              <a:solidFill>
                <a:srgbClr val="AEABAB"/>
              </a:solidFill>
            </c:spPr>
            <c:extLst>
              <c:ext xmlns:c16="http://schemas.microsoft.com/office/drawing/2014/chart" uri="{C3380CC4-5D6E-409C-BE32-E72D297353CC}">
                <c16:uniqueId val="{000000F3-2993-41DE-A2CB-63102DE87051}"/>
              </c:ext>
            </c:extLst>
          </c:dPt>
          <c:dPt>
            <c:idx val="121"/>
            <c:invertIfNegative val="1"/>
            <c:bubble3D val="0"/>
            <c:spPr>
              <a:solidFill>
                <a:srgbClr val="AEABAB"/>
              </a:solidFill>
            </c:spPr>
            <c:extLst>
              <c:ext xmlns:c16="http://schemas.microsoft.com/office/drawing/2014/chart" uri="{C3380CC4-5D6E-409C-BE32-E72D297353CC}">
                <c16:uniqueId val="{000000F5-2993-41DE-A2CB-63102DE87051}"/>
              </c:ext>
            </c:extLst>
          </c:dPt>
          <c:dPt>
            <c:idx val="122"/>
            <c:invertIfNegative val="1"/>
            <c:bubble3D val="0"/>
            <c:spPr>
              <a:solidFill>
                <a:srgbClr val="AEABAB"/>
              </a:solidFill>
            </c:spPr>
            <c:extLst>
              <c:ext xmlns:c16="http://schemas.microsoft.com/office/drawing/2014/chart" uri="{C3380CC4-5D6E-409C-BE32-E72D297353CC}">
                <c16:uniqueId val="{000000F7-2993-41DE-A2CB-63102DE87051}"/>
              </c:ext>
            </c:extLst>
          </c:dPt>
          <c:dPt>
            <c:idx val="123"/>
            <c:invertIfNegative val="1"/>
            <c:bubble3D val="0"/>
            <c:spPr>
              <a:solidFill>
                <a:srgbClr val="AEABAB"/>
              </a:solidFill>
            </c:spPr>
            <c:extLst>
              <c:ext xmlns:c16="http://schemas.microsoft.com/office/drawing/2014/chart" uri="{C3380CC4-5D6E-409C-BE32-E72D297353CC}">
                <c16:uniqueId val="{000000F9-2993-41DE-A2CB-63102DE87051}"/>
              </c:ext>
            </c:extLst>
          </c:dPt>
          <c:dPt>
            <c:idx val="124"/>
            <c:invertIfNegative val="1"/>
            <c:bubble3D val="0"/>
            <c:spPr>
              <a:solidFill>
                <a:srgbClr val="AEABAB"/>
              </a:solidFill>
            </c:spPr>
            <c:extLst>
              <c:ext xmlns:c16="http://schemas.microsoft.com/office/drawing/2014/chart" uri="{C3380CC4-5D6E-409C-BE32-E72D297353CC}">
                <c16:uniqueId val="{000000FB-2993-41DE-A2CB-63102DE87051}"/>
              </c:ext>
            </c:extLst>
          </c:dPt>
          <c:dPt>
            <c:idx val="125"/>
            <c:invertIfNegative val="1"/>
            <c:bubble3D val="0"/>
            <c:spPr>
              <a:solidFill>
                <a:srgbClr val="AEABAB"/>
              </a:solidFill>
            </c:spPr>
            <c:extLst>
              <c:ext xmlns:c16="http://schemas.microsoft.com/office/drawing/2014/chart" uri="{C3380CC4-5D6E-409C-BE32-E72D297353CC}">
                <c16:uniqueId val="{000000FD-2993-41DE-A2CB-63102DE87051}"/>
              </c:ext>
            </c:extLst>
          </c:dPt>
          <c:dPt>
            <c:idx val="126"/>
            <c:invertIfNegative val="1"/>
            <c:bubble3D val="0"/>
            <c:spPr>
              <a:solidFill>
                <a:srgbClr val="AEABAB"/>
              </a:solidFill>
            </c:spPr>
            <c:extLst>
              <c:ext xmlns:c16="http://schemas.microsoft.com/office/drawing/2014/chart" uri="{C3380CC4-5D6E-409C-BE32-E72D297353CC}">
                <c16:uniqueId val="{000000FF-2993-41DE-A2CB-63102DE87051}"/>
              </c:ext>
            </c:extLst>
          </c:dPt>
          <c:dPt>
            <c:idx val="127"/>
            <c:invertIfNegative val="1"/>
            <c:bubble3D val="0"/>
            <c:spPr>
              <a:solidFill>
                <a:srgbClr val="AEABAB"/>
              </a:solidFill>
            </c:spPr>
            <c:extLst>
              <c:ext xmlns:c16="http://schemas.microsoft.com/office/drawing/2014/chart" uri="{C3380CC4-5D6E-409C-BE32-E72D297353CC}">
                <c16:uniqueId val="{00000101-2993-41DE-A2CB-63102DE87051}"/>
              </c:ext>
            </c:extLst>
          </c:dPt>
          <c:dPt>
            <c:idx val="128"/>
            <c:invertIfNegative val="1"/>
            <c:bubble3D val="0"/>
            <c:spPr>
              <a:solidFill>
                <a:srgbClr val="AEABAB"/>
              </a:solidFill>
            </c:spPr>
            <c:extLst>
              <c:ext xmlns:c16="http://schemas.microsoft.com/office/drawing/2014/chart" uri="{C3380CC4-5D6E-409C-BE32-E72D297353CC}">
                <c16:uniqueId val="{00000103-2993-41DE-A2CB-63102DE87051}"/>
              </c:ext>
            </c:extLst>
          </c:dPt>
          <c:dPt>
            <c:idx val="129"/>
            <c:invertIfNegative val="1"/>
            <c:bubble3D val="0"/>
            <c:spPr>
              <a:solidFill>
                <a:srgbClr val="AEABAB"/>
              </a:solidFill>
            </c:spPr>
            <c:extLst>
              <c:ext xmlns:c16="http://schemas.microsoft.com/office/drawing/2014/chart" uri="{C3380CC4-5D6E-409C-BE32-E72D297353CC}">
                <c16:uniqueId val="{00000105-2993-41DE-A2CB-63102DE87051}"/>
              </c:ext>
            </c:extLst>
          </c:dPt>
          <c:dPt>
            <c:idx val="130"/>
            <c:invertIfNegative val="1"/>
            <c:bubble3D val="0"/>
            <c:spPr>
              <a:solidFill>
                <a:srgbClr val="AEABAB"/>
              </a:solidFill>
            </c:spPr>
            <c:extLst>
              <c:ext xmlns:c16="http://schemas.microsoft.com/office/drawing/2014/chart" uri="{C3380CC4-5D6E-409C-BE32-E72D297353CC}">
                <c16:uniqueId val="{00000107-2993-41DE-A2CB-63102DE87051}"/>
              </c:ext>
            </c:extLst>
          </c:dPt>
          <c:dPt>
            <c:idx val="131"/>
            <c:invertIfNegative val="1"/>
            <c:bubble3D val="0"/>
            <c:spPr>
              <a:solidFill>
                <a:srgbClr val="AEABAB"/>
              </a:solidFill>
            </c:spPr>
            <c:extLst>
              <c:ext xmlns:c16="http://schemas.microsoft.com/office/drawing/2014/chart" uri="{C3380CC4-5D6E-409C-BE32-E72D297353CC}">
                <c16:uniqueId val="{00000109-2993-41DE-A2CB-63102DE87051}"/>
              </c:ext>
            </c:extLst>
          </c:dPt>
          <c:dPt>
            <c:idx val="132"/>
            <c:invertIfNegative val="1"/>
            <c:bubble3D val="0"/>
            <c:spPr>
              <a:solidFill>
                <a:srgbClr val="AEABAB"/>
              </a:solidFill>
            </c:spPr>
            <c:extLst>
              <c:ext xmlns:c16="http://schemas.microsoft.com/office/drawing/2014/chart" uri="{C3380CC4-5D6E-409C-BE32-E72D297353CC}">
                <c16:uniqueId val="{0000010B-2993-41DE-A2CB-63102DE87051}"/>
              </c:ext>
            </c:extLst>
          </c:dPt>
          <c:dPt>
            <c:idx val="133"/>
            <c:invertIfNegative val="1"/>
            <c:bubble3D val="0"/>
            <c:spPr>
              <a:solidFill>
                <a:srgbClr val="AEABAB"/>
              </a:solidFill>
            </c:spPr>
            <c:extLst>
              <c:ext xmlns:c16="http://schemas.microsoft.com/office/drawing/2014/chart" uri="{C3380CC4-5D6E-409C-BE32-E72D297353CC}">
                <c16:uniqueId val="{0000010D-2993-41DE-A2CB-63102DE87051}"/>
              </c:ext>
            </c:extLst>
          </c:dPt>
          <c:dPt>
            <c:idx val="134"/>
            <c:invertIfNegative val="1"/>
            <c:bubble3D val="0"/>
            <c:spPr>
              <a:solidFill>
                <a:srgbClr val="AEABAB"/>
              </a:solidFill>
            </c:spPr>
            <c:extLst>
              <c:ext xmlns:c16="http://schemas.microsoft.com/office/drawing/2014/chart" uri="{C3380CC4-5D6E-409C-BE32-E72D297353CC}">
                <c16:uniqueId val="{0000010F-2993-41DE-A2CB-63102DE87051}"/>
              </c:ext>
            </c:extLst>
          </c:dPt>
          <c:dPt>
            <c:idx val="135"/>
            <c:invertIfNegative val="1"/>
            <c:bubble3D val="0"/>
            <c:spPr>
              <a:solidFill>
                <a:srgbClr val="AEABAB"/>
              </a:solidFill>
            </c:spPr>
            <c:extLst>
              <c:ext xmlns:c16="http://schemas.microsoft.com/office/drawing/2014/chart" uri="{C3380CC4-5D6E-409C-BE32-E72D297353CC}">
                <c16:uniqueId val="{00000111-2993-41DE-A2CB-63102DE87051}"/>
              </c:ext>
            </c:extLst>
          </c:dPt>
          <c:dPt>
            <c:idx val="136"/>
            <c:invertIfNegative val="1"/>
            <c:bubble3D val="0"/>
            <c:spPr>
              <a:solidFill>
                <a:srgbClr val="AEABAB"/>
              </a:solidFill>
            </c:spPr>
            <c:extLst>
              <c:ext xmlns:c16="http://schemas.microsoft.com/office/drawing/2014/chart" uri="{C3380CC4-5D6E-409C-BE32-E72D297353CC}">
                <c16:uniqueId val="{00000113-2993-41DE-A2CB-63102DE87051}"/>
              </c:ext>
            </c:extLst>
          </c:dPt>
          <c:dPt>
            <c:idx val="137"/>
            <c:invertIfNegative val="1"/>
            <c:bubble3D val="0"/>
            <c:spPr>
              <a:solidFill>
                <a:srgbClr val="AEABAB"/>
              </a:solidFill>
            </c:spPr>
            <c:extLst>
              <c:ext xmlns:c16="http://schemas.microsoft.com/office/drawing/2014/chart" uri="{C3380CC4-5D6E-409C-BE32-E72D297353CC}">
                <c16:uniqueId val="{00000115-2993-41DE-A2CB-63102DE87051}"/>
              </c:ext>
            </c:extLst>
          </c:dPt>
          <c:dPt>
            <c:idx val="138"/>
            <c:invertIfNegative val="1"/>
            <c:bubble3D val="0"/>
            <c:spPr>
              <a:solidFill>
                <a:srgbClr val="AEABAB"/>
              </a:solidFill>
            </c:spPr>
            <c:extLst>
              <c:ext xmlns:c16="http://schemas.microsoft.com/office/drawing/2014/chart" uri="{C3380CC4-5D6E-409C-BE32-E72D297353CC}">
                <c16:uniqueId val="{00000117-2993-41DE-A2CB-63102DE87051}"/>
              </c:ext>
            </c:extLst>
          </c:dPt>
          <c:dPt>
            <c:idx val="139"/>
            <c:invertIfNegative val="1"/>
            <c:bubble3D val="0"/>
            <c:spPr>
              <a:solidFill>
                <a:srgbClr val="AEABAB"/>
              </a:solidFill>
            </c:spPr>
            <c:extLst>
              <c:ext xmlns:c16="http://schemas.microsoft.com/office/drawing/2014/chart" uri="{C3380CC4-5D6E-409C-BE32-E72D297353CC}">
                <c16:uniqueId val="{00000119-2993-41DE-A2CB-63102DE87051}"/>
              </c:ext>
            </c:extLst>
          </c:dPt>
          <c:dPt>
            <c:idx val="140"/>
            <c:invertIfNegative val="1"/>
            <c:bubble3D val="0"/>
            <c:spPr>
              <a:solidFill>
                <a:srgbClr val="AEABAB"/>
              </a:solidFill>
            </c:spPr>
            <c:extLst>
              <c:ext xmlns:c16="http://schemas.microsoft.com/office/drawing/2014/chart" uri="{C3380CC4-5D6E-409C-BE32-E72D297353CC}">
                <c16:uniqueId val="{0000011B-2993-41DE-A2CB-63102DE87051}"/>
              </c:ext>
            </c:extLst>
          </c:dPt>
          <c:dPt>
            <c:idx val="141"/>
            <c:invertIfNegative val="1"/>
            <c:bubble3D val="0"/>
            <c:spPr>
              <a:solidFill>
                <a:srgbClr val="AEABAB"/>
              </a:solidFill>
            </c:spPr>
            <c:extLst>
              <c:ext xmlns:c16="http://schemas.microsoft.com/office/drawing/2014/chart" uri="{C3380CC4-5D6E-409C-BE32-E72D297353CC}">
                <c16:uniqueId val="{0000011D-2993-41DE-A2CB-63102DE87051}"/>
              </c:ext>
            </c:extLst>
          </c:dPt>
          <c:dPt>
            <c:idx val="142"/>
            <c:invertIfNegative val="1"/>
            <c:bubble3D val="0"/>
            <c:spPr>
              <a:solidFill>
                <a:srgbClr val="AEABAB"/>
              </a:solidFill>
            </c:spPr>
            <c:extLst>
              <c:ext xmlns:c16="http://schemas.microsoft.com/office/drawing/2014/chart" uri="{C3380CC4-5D6E-409C-BE32-E72D297353CC}">
                <c16:uniqueId val="{0000011F-2993-41DE-A2CB-63102DE87051}"/>
              </c:ext>
            </c:extLst>
          </c:dPt>
          <c:dPt>
            <c:idx val="143"/>
            <c:invertIfNegative val="1"/>
            <c:bubble3D val="0"/>
            <c:spPr>
              <a:solidFill>
                <a:srgbClr val="AEABAB"/>
              </a:solidFill>
            </c:spPr>
            <c:extLst>
              <c:ext xmlns:c16="http://schemas.microsoft.com/office/drawing/2014/chart" uri="{C3380CC4-5D6E-409C-BE32-E72D297353CC}">
                <c16:uniqueId val="{00000121-2993-41DE-A2CB-63102DE87051}"/>
              </c:ext>
            </c:extLst>
          </c:dPt>
          <c:dPt>
            <c:idx val="144"/>
            <c:invertIfNegative val="1"/>
            <c:bubble3D val="0"/>
            <c:spPr>
              <a:solidFill>
                <a:srgbClr val="AEABAB"/>
              </a:solidFill>
            </c:spPr>
            <c:extLst>
              <c:ext xmlns:c16="http://schemas.microsoft.com/office/drawing/2014/chart" uri="{C3380CC4-5D6E-409C-BE32-E72D297353CC}">
                <c16:uniqueId val="{00000123-2993-41DE-A2CB-63102DE87051}"/>
              </c:ext>
            </c:extLst>
          </c:dPt>
          <c:dPt>
            <c:idx val="145"/>
            <c:invertIfNegative val="1"/>
            <c:bubble3D val="0"/>
            <c:spPr>
              <a:solidFill>
                <a:srgbClr val="AEABAB"/>
              </a:solidFill>
            </c:spPr>
            <c:extLst>
              <c:ext xmlns:c16="http://schemas.microsoft.com/office/drawing/2014/chart" uri="{C3380CC4-5D6E-409C-BE32-E72D297353CC}">
                <c16:uniqueId val="{00000125-2993-41DE-A2CB-63102DE87051}"/>
              </c:ext>
            </c:extLst>
          </c:dPt>
          <c:dPt>
            <c:idx val="146"/>
            <c:invertIfNegative val="1"/>
            <c:bubble3D val="0"/>
            <c:spPr>
              <a:solidFill>
                <a:srgbClr val="AEABAB"/>
              </a:solidFill>
            </c:spPr>
            <c:extLst>
              <c:ext xmlns:c16="http://schemas.microsoft.com/office/drawing/2014/chart" uri="{C3380CC4-5D6E-409C-BE32-E72D297353CC}">
                <c16:uniqueId val="{00000127-2993-41DE-A2CB-63102DE87051}"/>
              </c:ext>
            </c:extLst>
          </c:dPt>
          <c:dPt>
            <c:idx val="147"/>
            <c:invertIfNegative val="1"/>
            <c:bubble3D val="0"/>
            <c:spPr>
              <a:solidFill>
                <a:srgbClr val="AEABAB"/>
              </a:solidFill>
            </c:spPr>
            <c:extLst>
              <c:ext xmlns:c16="http://schemas.microsoft.com/office/drawing/2014/chart" uri="{C3380CC4-5D6E-409C-BE32-E72D297353CC}">
                <c16:uniqueId val="{00000129-2993-41DE-A2CB-63102DE87051}"/>
              </c:ext>
            </c:extLst>
          </c:dPt>
          <c:dPt>
            <c:idx val="148"/>
            <c:invertIfNegative val="1"/>
            <c:bubble3D val="0"/>
            <c:spPr>
              <a:solidFill>
                <a:srgbClr val="AEABAB"/>
              </a:solidFill>
            </c:spPr>
            <c:extLst>
              <c:ext xmlns:c16="http://schemas.microsoft.com/office/drawing/2014/chart" uri="{C3380CC4-5D6E-409C-BE32-E72D297353CC}">
                <c16:uniqueId val="{0000012B-2993-41DE-A2CB-63102DE87051}"/>
              </c:ext>
            </c:extLst>
          </c:dPt>
          <c:dPt>
            <c:idx val="149"/>
            <c:invertIfNegative val="1"/>
            <c:bubble3D val="0"/>
            <c:spPr>
              <a:solidFill>
                <a:srgbClr val="AEABAB"/>
              </a:solidFill>
            </c:spPr>
            <c:extLst>
              <c:ext xmlns:c16="http://schemas.microsoft.com/office/drawing/2014/chart" uri="{C3380CC4-5D6E-409C-BE32-E72D297353CC}">
                <c16:uniqueId val="{0000012D-2993-41DE-A2CB-63102DE87051}"/>
              </c:ext>
            </c:extLst>
          </c:dPt>
          <c:dPt>
            <c:idx val="150"/>
            <c:invertIfNegative val="1"/>
            <c:bubble3D val="0"/>
            <c:spPr>
              <a:solidFill>
                <a:srgbClr val="AEABAB"/>
              </a:solidFill>
            </c:spPr>
            <c:extLst>
              <c:ext xmlns:c16="http://schemas.microsoft.com/office/drawing/2014/chart" uri="{C3380CC4-5D6E-409C-BE32-E72D297353CC}">
                <c16:uniqueId val="{0000012F-2993-41DE-A2CB-63102DE87051}"/>
              </c:ext>
            </c:extLst>
          </c:dPt>
          <c:dPt>
            <c:idx val="151"/>
            <c:invertIfNegative val="1"/>
            <c:bubble3D val="0"/>
            <c:spPr>
              <a:solidFill>
                <a:srgbClr val="AEABAB"/>
              </a:solidFill>
            </c:spPr>
            <c:extLst>
              <c:ext xmlns:c16="http://schemas.microsoft.com/office/drawing/2014/chart" uri="{C3380CC4-5D6E-409C-BE32-E72D297353CC}">
                <c16:uniqueId val="{00000131-2993-41DE-A2CB-63102DE87051}"/>
              </c:ext>
            </c:extLst>
          </c:dPt>
          <c:dPt>
            <c:idx val="152"/>
            <c:invertIfNegative val="1"/>
            <c:bubble3D val="0"/>
            <c:spPr>
              <a:solidFill>
                <a:srgbClr val="AEABAB"/>
              </a:solidFill>
            </c:spPr>
            <c:extLst>
              <c:ext xmlns:c16="http://schemas.microsoft.com/office/drawing/2014/chart" uri="{C3380CC4-5D6E-409C-BE32-E72D297353CC}">
                <c16:uniqueId val="{00000133-2993-41DE-A2CB-63102DE87051}"/>
              </c:ext>
            </c:extLst>
          </c:dPt>
          <c:dPt>
            <c:idx val="153"/>
            <c:invertIfNegative val="1"/>
            <c:bubble3D val="0"/>
            <c:spPr>
              <a:solidFill>
                <a:srgbClr val="AEABAB"/>
              </a:solidFill>
            </c:spPr>
            <c:extLst>
              <c:ext xmlns:c16="http://schemas.microsoft.com/office/drawing/2014/chart" uri="{C3380CC4-5D6E-409C-BE32-E72D297353CC}">
                <c16:uniqueId val="{00000135-2993-41DE-A2CB-63102DE87051}"/>
              </c:ext>
            </c:extLst>
          </c:dPt>
          <c:dPt>
            <c:idx val="154"/>
            <c:invertIfNegative val="1"/>
            <c:bubble3D val="0"/>
            <c:spPr>
              <a:solidFill>
                <a:srgbClr val="AEABAB"/>
              </a:solidFill>
            </c:spPr>
            <c:extLst>
              <c:ext xmlns:c16="http://schemas.microsoft.com/office/drawing/2014/chart" uri="{C3380CC4-5D6E-409C-BE32-E72D297353CC}">
                <c16:uniqueId val="{00000137-2993-41DE-A2CB-63102DE87051}"/>
              </c:ext>
            </c:extLst>
          </c:dPt>
          <c:dPt>
            <c:idx val="155"/>
            <c:invertIfNegative val="1"/>
            <c:bubble3D val="0"/>
            <c:spPr>
              <a:solidFill>
                <a:srgbClr val="AEABAB"/>
              </a:solidFill>
            </c:spPr>
            <c:extLst>
              <c:ext xmlns:c16="http://schemas.microsoft.com/office/drawing/2014/chart" uri="{C3380CC4-5D6E-409C-BE32-E72D297353CC}">
                <c16:uniqueId val="{00000139-2993-41DE-A2CB-63102DE87051}"/>
              </c:ext>
            </c:extLst>
          </c:dPt>
          <c:dPt>
            <c:idx val="156"/>
            <c:invertIfNegative val="1"/>
            <c:bubble3D val="0"/>
            <c:spPr>
              <a:solidFill>
                <a:srgbClr val="AEABAB"/>
              </a:solidFill>
            </c:spPr>
            <c:extLst>
              <c:ext xmlns:c16="http://schemas.microsoft.com/office/drawing/2014/chart" uri="{C3380CC4-5D6E-409C-BE32-E72D297353CC}">
                <c16:uniqueId val="{0000013B-2993-41DE-A2CB-63102DE87051}"/>
              </c:ext>
            </c:extLst>
          </c:dPt>
          <c:dPt>
            <c:idx val="157"/>
            <c:invertIfNegative val="1"/>
            <c:bubble3D val="0"/>
            <c:spPr>
              <a:solidFill>
                <a:srgbClr val="AEABAB"/>
              </a:solidFill>
            </c:spPr>
            <c:extLst>
              <c:ext xmlns:c16="http://schemas.microsoft.com/office/drawing/2014/chart" uri="{C3380CC4-5D6E-409C-BE32-E72D297353CC}">
                <c16:uniqueId val="{0000013D-2993-41DE-A2CB-63102DE87051}"/>
              </c:ext>
            </c:extLst>
          </c:dPt>
          <c:dPt>
            <c:idx val="158"/>
            <c:invertIfNegative val="1"/>
            <c:bubble3D val="0"/>
            <c:spPr>
              <a:solidFill>
                <a:srgbClr val="AEABAB"/>
              </a:solidFill>
            </c:spPr>
            <c:extLst>
              <c:ext xmlns:c16="http://schemas.microsoft.com/office/drawing/2014/chart" uri="{C3380CC4-5D6E-409C-BE32-E72D297353CC}">
                <c16:uniqueId val="{0000013F-2993-41DE-A2CB-63102DE87051}"/>
              </c:ext>
            </c:extLst>
          </c:dPt>
          <c:dPt>
            <c:idx val="159"/>
            <c:invertIfNegative val="1"/>
            <c:bubble3D val="0"/>
            <c:spPr>
              <a:solidFill>
                <a:srgbClr val="AEABAB"/>
              </a:solidFill>
            </c:spPr>
            <c:extLst>
              <c:ext xmlns:c16="http://schemas.microsoft.com/office/drawing/2014/chart" uri="{C3380CC4-5D6E-409C-BE32-E72D297353CC}">
                <c16:uniqueId val="{00000141-2993-41DE-A2CB-63102DE87051}"/>
              </c:ext>
            </c:extLst>
          </c:dPt>
          <c:dPt>
            <c:idx val="160"/>
            <c:invertIfNegative val="1"/>
            <c:bubble3D val="0"/>
            <c:spPr>
              <a:solidFill>
                <a:srgbClr val="AEABAB"/>
              </a:solidFill>
            </c:spPr>
            <c:extLst>
              <c:ext xmlns:c16="http://schemas.microsoft.com/office/drawing/2014/chart" uri="{C3380CC4-5D6E-409C-BE32-E72D297353CC}">
                <c16:uniqueId val="{00000143-2993-41DE-A2CB-63102DE87051}"/>
              </c:ext>
            </c:extLst>
          </c:dPt>
          <c:dPt>
            <c:idx val="161"/>
            <c:invertIfNegative val="1"/>
            <c:bubble3D val="0"/>
            <c:spPr>
              <a:solidFill>
                <a:srgbClr val="AEABAB"/>
              </a:solidFill>
            </c:spPr>
            <c:extLst>
              <c:ext xmlns:c16="http://schemas.microsoft.com/office/drawing/2014/chart" uri="{C3380CC4-5D6E-409C-BE32-E72D297353CC}">
                <c16:uniqueId val="{00000145-2993-41DE-A2CB-63102DE87051}"/>
              </c:ext>
            </c:extLst>
          </c:dPt>
          <c:dPt>
            <c:idx val="162"/>
            <c:invertIfNegative val="1"/>
            <c:bubble3D val="0"/>
            <c:spPr>
              <a:solidFill>
                <a:srgbClr val="AEABAB"/>
              </a:solidFill>
            </c:spPr>
            <c:extLst>
              <c:ext xmlns:c16="http://schemas.microsoft.com/office/drawing/2014/chart" uri="{C3380CC4-5D6E-409C-BE32-E72D297353CC}">
                <c16:uniqueId val="{00000147-2993-41DE-A2CB-63102DE87051}"/>
              </c:ext>
            </c:extLst>
          </c:dPt>
          <c:dPt>
            <c:idx val="163"/>
            <c:invertIfNegative val="1"/>
            <c:bubble3D val="0"/>
            <c:spPr>
              <a:solidFill>
                <a:srgbClr val="AEABAB"/>
              </a:solidFill>
            </c:spPr>
            <c:extLst>
              <c:ext xmlns:c16="http://schemas.microsoft.com/office/drawing/2014/chart" uri="{C3380CC4-5D6E-409C-BE32-E72D297353CC}">
                <c16:uniqueId val="{00000149-2993-41DE-A2CB-63102DE87051}"/>
              </c:ext>
            </c:extLst>
          </c:dPt>
          <c:dPt>
            <c:idx val="164"/>
            <c:invertIfNegative val="1"/>
            <c:bubble3D val="0"/>
            <c:spPr>
              <a:solidFill>
                <a:srgbClr val="AEABAB"/>
              </a:solidFill>
            </c:spPr>
            <c:extLst>
              <c:ext xmlns:c16="http://schemas.microsoft.com/office/drawing/2014/chart" uri="{C3380CC4-5D6E-409C-BE32-E72D297353CC}">
                <c16:uniqueId val="{0000014B-2993-41DE-A2CB-63102DE87051}"/>
              </c:ext>
            </c:extLst>
          </c:dPt>
          <c:dPt>
            <c:idx val="165"/>
            <c:invertIfNegative val="1"/>
            <c:bubble3D val="0"/>
            <c:spPr>
              <a:solidFill>
                <a:srgbClr val="AEABAB"/>
              </a:solidFill>
            </c:spPr>
            <c:extLst>
              <c:ext xmlns:c16="http://schemas.microsoft.com/office/drawing/2014/chart" uri="{C3380CC4-5D6E-409C-BE32-E72D297353CC}">
                <c16:uniqueId val="{0000014D-2993-41DE-A2CB-63102DE87051}"/>
              </c:ext>
            </c:extLst>
          </c:dPt>
          <c:dPt>
            <c:idx val="166"/>
            <c:invertIfNegative val="1"/>
            <c:bubble3D val="0"/>
            <c:spPr>
              <a:solidFill>
                <a:srgbClr val="AEABAB"/>
              </a:solidFill>
            </c:spPr>
            <c:extLst>
              <c:ext xmlns:c16="http://schemas.microsoft.com/office/drawing/2014/chart" uri="{C3380CC4-5D6E-409C-BE32-E72D297353CC}">
                <c16:uniqueId val="{0000014F-2993-41DE-A2CB-63102DE87051}"/>
              </c:ext>
            </c:extLst>
          </c:dPt>
          <c:dPt>
            <c:idx val="167"/>
            <c:invertIfNegative val="1"/>
            <c:bubble3D val="0"/>
            <c:spPr>
              <a:solidFill>
                <a:srgbClr val="AEABAB"/>
              </a:solidFill>
            </c:spPr>
            <c:extLst>
              <c:ext xmlns:c16="http://schemas.microsoft.com/office/drawing/2014/chart" uri="{C3380CC4-5D6E-409C-BE32-E72D297353CC}">
                <c16:uniqueId val="{00000151-2993-41DE-A2CB-63102DE87051}"/>
              </c:ext>
            </c:extLst>
          </c:dPt>
          <c:dPt>
            <c:idx val="168"/>
            <c:invertIfNegative val="1"/>
            <c:bubble3D val="0"/>
            <c:spPr>
              <a:solidFill>
                <a:srgbClr val="AEABAB"/>
              </a:solidFill>
            </c:spPr>
            <c:extLst>
              <c:ext xmlns:c16="http://schemas.microsoft.com/office/drawing/2014/chart" uri="{C3380CC4-5D6E-409C-BE32-E72D297353CC}">
                <c16:uniqueId val="{00000153-2993-41DE-A2CB-63102DE87051}"/>
              </c:ext>
            </c:extLst>
          </c:dPt>
          <c:dPt>
            <c:idx val="169"/>
            <c:invertIfNegative val="1"/>
            <c:bubble3D val="0"/>
            <c:spPr>
              <a:solidFill>
                <a:srgbClr val="AEABAB"/>
              </a:solidFill>
            </c:spPr>
            <c:extLst>
              <c:ext xmlns:c16="http://schemas.microsoft.com/office/drawing/2014/chart" uri="{C3380CC4-5D6E-409C-BE32-E72D297353CC}">
                <c16:uniqueId val="{00000155-2993-41DE-A2CB-63102DE87051}"/>
              </c:ext>
            </c:extLst>
          </c:dPt>
          <c:dPt>
            <c:idx val="170"/>
            <c:invertIfNegative val="1"/>
            <c:bubble3D val="0"/>
            <c:spPr>
              <a:solidFill>
                <a:srgbClr val="AEABAB"/>
              </a:solidFill>
            </c:spPr>
            <c:extLst>
              <c:ext xmlns:c16="http://schemas.microsoft.com/office/drawing/2014/chart" uri="{C3380CC4-5D6E-409C-BE32-E72D297353CC}">
                <c16:uniqueId val="{00000157-2993-41DE-A2CB-63102DE87051}"/>
              </c:ext>
            </c:extLst>
          </c:dPt>
          <c:dPt>
            <c:idx val="171"/>
            <c:invertIfNegative val="1"/>
            <c:bubble3D val="0"/>
            <c:spPr>
              <a:solidFill>
                <a:srgbClr val="AEABAB"/>
              </a:solidFill>
            </c:spPr>
            <c:extLst>
              <c:ext xmlns:c16="http://schemas.microsoft.com/office/drawing/2014/chart" uri="{C3380CC4-5D6E-409C-BE32-E72D297353CC}">
                <c16:uniqueId val="{00000159-2993-41DE-A2CB-63102DE87051}"/>
              </c:ext>
            </c:extLst>
          </c:dPt>
          <c:dPt>
            <c:idx val="172"/>
            <c:invertIfNegative val="1"/>
            <c:bubble3D val="0"/>
            <c:spPr>
              <a:solidFill>
                <a:srgbClr val="AEABAB"/>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dPt>
            <c:idx val="210"/>
            <c:invertIfNegative val="1"/>
            <c:bubble3D val="0"/>
            <c:spPr>
              <a:solidFill>
                <a:srgbClr val="AEABAB"/>
              </a:solidFill>
            </c:spPr>
            <c:extLst>
              <c:ext xmlns:c16="http://schemas.microsoft.com/office/drawing/2014/chart" uri="{C3380CC4-5D6E-409C-BE32-E72D297353CC}">
                <c16:uniqueId val="{000001A7-1A73-4C5C-B0D7-DD75395A3645}"/>
              </c:ext>
            </c:extLst>
          </c:dPt>
          <c:dPt>
            <c:idx val="211"/>
            <c:invertIfNegative val="1"/>
            <c:bubble3D val="0"/>
            <c:spPr>
              <a:solidFill>
                <a:srgbClr val="AEABAB"/>
              </a:solidFill>
            </c:spPr>
            <c:extLst>
              <c:ext xmlns:c16="http://schemas.microsoft.com/office/drawing/2014/chart" uri="{C3380CC4-5D6E-409C-BE32-E72D297353CC}">
                <c16:uniqueId val="{000001A9-1A73-4C5C-B0D7-DD75395A3645}"/>
              </c:ext>
            </c:extLst>
          </c:dPt>
          <c:dPt>
            <c:idx val="212"/>
            <c:invertIfNegative val="1"/>
            <c:bubble3D val="0"/>
            <c:spPr>
              <a:solidFill>
                <a:srgbClr val="AEABAB"/>
              </a:solidFill>
            </c:spPr>
            <c:extLst>
              <c:ext xmlns:c16="http://schemas.microsoft.com/office/drawing/2014/chart" uri="{C3380CC4-5D6E-409C-BE32-E72D297353CC}">
                <c16:uniqueId val="{000001AB-1A73-4C5C-B0D7-DD75395A3645}"/>
              </c:ext>
            </c:extLst>
          </c:dPt>
          <c:dPt>
            <c:idx val="213"/>
            <c:invertIfNegative val="1"/>
            <c:bubble3D val="0"/>
            <c:spPr>
              <a:solidFill>
                <a:srgbClr val="AEABAB"/>
              </a:solidFill>
            </c:spPr>
            <c:extLst>
              <c:ext xmlns:c16="http://schemas.microsoft.com/office/drawing/2014/chart" uri="{C3380CC4-5D6E-409C-BE32-E72D297353CC}">
                <c16:uniqueId val="{000001AD-1A73-4C5C-B0D7-DD75395A3645}"/>
              </c:ext>
            </c:extLst>
          </c:dPt>
          <c:dPt>
            <c:idx val="214"/>
            <c:invertIfNegative val="1"/>
            <c:bubble3D val="0"/>
            <c:spPr>
              <a:solidFill>
                <a:srgbClr val="AEABAB"/>
              </a:solidFill>
            </c:spPr>
            <c:extLst>
              <c:ext xmlns:c16="http://schemas.microsoft.com/office/drawing/2014/chart" uri="{C3380CC4-5D6E-409C-BE32-E72D297353CC}">
                <c16:uniqueId val="{000001AF-1A73-4C5C-B0D7-DD75395A3645}"/>
              </c:ext>
            </c:extLst>
          </c:dPt>
          <c:dPt>
            <c:idx val="215"/>
            <c:invertIfNegative val="1"/>
            <c:bubble3D val="0"/>
            <c:spPr>
              <a:solidFill>
                <a:srgbClr val="AEABAB"/>
              </a:solidFill>
            </c:spPr>
            <c:extLst>
              <c:ext xmlns:c16="http://schemas.microsoft.com/office/drawing/2014/chart" uri="{C3380CC4-5D6E-409C-BE32-E72D297353CC}">
                <c16:uniqueId val="{000001B1-1A73-4C5C-B0D7-DD75395A3645}"/>
              </c:ext>
            </c:extLst>
          </c:dPt>
          <c:dPt>
            <c:idx val="216"/>
            <c:invertIfNegative val="1"/>
            <c:bubble3D val="0"/>
            <c:spPr>
              <a:solidFill>
                <a:srgbClr val="AEABAB"/>
              </a:solidFill>
            </c:spPr>
            <c:extLst>
              <c:ext xmlns:c16="http://schemas.microsoft.com/office/drawing/2014/chart" uri="{C3380CC4-5D6E-409C-BE32-E72D297353CC}">
                <c16:uniqueId val="{000001B3-1A73-4C5C-B0D7-DD75395A3645}"/>
              </c:ext>
            </c:extLst>
          </c:dPt>
          <c:dPt>
            <c:idx val="217"/>
            <c:invertIfNegative val="1"/>
            <c:bubble3D val="0"/>
            <c:spPr>
              <a:solidFill>
                <a:srgbClr val="AEABAB"/>
              </a:solidFill>
            </c:spPr>
            <c:extLst>
              <c:ext xmlns:c16="http://schemas.microsoft.com/office/drawing/2014/chart" uri="{C3380CC4-5D6E-409C-BE32-E72D297353CC}">
                <c16:uniqueId val="{000001B5-1A73-4C5C-B0D7-DD75395A3645}"/>
              </c:ext>
            </c:extLst>
          </c:dPt>
          <c:dPt>
            <c:idx val="218"/>
            <c:invertIfNegative val="1"/>
            <c:bubble3D val="0"/>
            <c:spPr>
              <a:solidFill>
                <a:srgbClr val="AEABAB"/>
              </a:solidFill>
            </c:spPr>
            <c:extLst>
              <c:ext xmlns:c16="http://schemas.microsoft.com/office/drawing/2014/chart" uri="{C3380CC4-5D6E-409C-BE32-E72D297353CC}">
                <c16:uniqueId val="{000001B7-1A73-4C5C-B0D7-DD75395A3645}"/>
              </c:ext>
            </c:extLst>
          </c:dPt>
          <c:dPt>
            <c:idx val="219"/>
            <c:invertIfNegative val="1"/>
            <c:bubble3D val="0"/>
            <c:spPr>
              <a:solidFill>
                <a:srgbClr val="AEABAB"/>
              </a:solidFill>
            </c:spPr>
            <c:extLst>
              <c:ext xmlns:c16="http://schemas.microsoft.com/office/drawing/2014/chart" uri="{C3380CC4-5D6E-409C-BE32-E72D297353CC}">
                <c16:uniqueId val="{000001B9-1A73-4C5C-B0D7-DD75395A3645}"/>
              </c:ext>
            </c:extLst>
          </c:dPt>
          <c:dPt>
            <c:idx val="220"/>
            <c:invertIfNegative val="1"/>
            <c:bubble3D val="0"/>
            <c:spPr>
              <a:solidFill>
                <a:srgbClr val="AEABAB"/>
              </a:solidFill>
            </c:spPr>
            <c:extLst>
              <c:ext xmlns:c16="http://schemas.microsoft.com/office/drawing/2014/chart" uri="{C3380CC4-5D6E-409C-BE32-E72D297353CC}">
                <c16:uniqueId val="{000001BB-1A73-4C5C-B0D7-DD75395A3645}"/>
              </c:ext>
            </c:extLst>
          </c:dPt>
          <c:dPt>
            <c:idx val="221"/>
            <c:invertIfNegative val="1"/>
            <c:bubble3D val="0"/>
            <c:spPr>
              <a:solidFill>
                <a:srgbClr val="AEABAB"/>
              </a:solidFill>
            </c:spPr>
            <c:extLst>
              <c:ext xmlns:c16="http://schemas.microsoft.com/office/drawing/2014/chart" uri="{C3380CC4-5D6E-409C-BE32-E72D297353CC}">
                <c16:uniqueId val="{000001BD-1A73-4C5C-B0D7-DD75395A3645}"/>
              </c:ext>
            </c:extLst>
          </c:dPt>
          <c:dPt>
            <c:idx val="222"/>
            <c:invertIfNegative val="1"/>
            <c:bubble3D val="0"/>
            <c:spPr>
              <a:solidFill>
                <a:srgbClr val="AEABAB"/>
              </a:solidFill>
            </c:spPr>
            <c:extLst>
              <c:ext xmlns:c16="http://schemas.microsoft.com/office/drawing/2014/chart" uri="{C3380CC4-5D6E-409C-BE32-E72D297353CC}">
                <c16:uniqueId val="{000001BF-1A73-4C5C-B0D7-DD75395A3645}"/>
              </c:ext>
            </c:extLst>
          </c:dPt>
          <c:dPt>
            <c:idx val="223"/>
            <c:invertIfNegative val="1"/>
            <c:bubble3D val="0"/>
            <c:spPr>
              <a:solidFill>
                <a:srgbClr val="AEABAB"/>
              </a:solidFill>
            </c:spPr>
            <c:extLst>
              <c:ext xmlns:c16="http://schemas.microsoft.com/office/drawing/2014/chart" uri="{C3380CC4-5D6E-409C-BE32-E72D297353CC}">
                <c16:uniqueId val="{000001C1-1A73-4C5C-B0D7-DD75395A3645}"/>
              </c:ext>
            </c:extLst>
          </c:dPt>
          <c:dPt>
            <c:idx val="224"/>
            <c:invertIfNegative val="1"/>
            <c:bubble3D val="0"/>
            <c:spPr>
              <a:solidFill>
                <a:srgbClr val="AEABAB"/>
              </a:solidFill>
            </c:spPr>
            <c:extLst>
              <c:ext xmlns:c16="http://schemas.microsoft.com/office/drawing/2014/chart" uri="{C3380CC4-5D6E-409C-BE32-E72D297353CC}">
                <c16:uniqueId val="{000001C3-1A73-4C5C-B0D7-DD75395A3645}"/>
              </c:ext>
            </c:extLst>
          </c:dPt>
          <c:dPt>
            <c:idx val="225"/>
            <c:invertIfNegative val="1"/>
            <c:bubble3D val="0"/>
            <c:spPr>
              <a:solidFill>
                <a:srgbClr val="AEABAB"/>
              </a:solidFill>
            </c:spPr>
            <c:extLst>
              <c:ext xmlns:c16="http://schemas.microsoft.com/office/drawing/2014/chart" uri="{C3380CC4-5D6E-409C-BE32-E72D297353CC}">
                <c16:uniqueId val="{000001C5-1A73-4C5C-B0D7-DD75395A3645}"/>
              </c:ext>
            </c:extLst>
          </c:dPt>
          <c:dPt>
            <c:idx val="226"/>
            <c:invertIfNegative val="1"/>
            <c:bubble3D val="0"/>
            <c:spPr>
              <a:solidFill>
                <a:srgbClr val="AEABAB"/>
              </a:solidFill>
            </c:spPr>
            <c:extLst>
              <c:ext xmlns:c16="http://schemas.microsoft.com/office/drawing/2014/chart" uri="{C3380CC4-5D6E-409C-BE32-E72D297353CC}">
                <c16:uniqueId val="{000001C7-1A73-4C5C-B0D7-DD75395A3645}"/>
              </c:ext>
            </c:extLst>
          </c:dPt>
          <c:dPt>
            <c:idx val="227"/>
            <c:invertIfNegative val="1"/>
            <c:bubble3D val="0"/>
            <c:spPr>
              <a:solidFill>
                <a:srgbClr val="AEABAB"/>
              </a:solidFill>
            </c:spPr>
            <c:extLst>
              <c:ext xmlns:c16="http://schemas.microsoft.com/office/drawing/2014/chart" uri="{C3380CC4-5D6E-409C-BE32-E72D297353CC}">
                <c16:uniqueId val="{000001C9-1A73-4C5C-B0D7-DD75395A3645}"/>
              </c:ext>
            </c:extLst>
          </c:dPt>
          <c:dPt>
            <c:idx val="228"/>
            <c:invertIfNegative val="1"/>
            <c:bubble3D val="0"/>
            <c:spPr>
              <a:solidFill>
                <a:srgbClr val="AEABAB"/>
              </a:solidFill>
            </c:spPr>
            <c:extLst>
              <c:ext xmlns:c16="http://schemas.microsoft.com/office/drawing/2014/chart" uri="{C3380CC4-5D6E-409C-BE32-E72D297353CC}">
                <c16:uniqueId val="{000001CB-1A73-4C5C-B0D7-DD75395A3645}"/>
              </c:ext>
            </c:extLst>
          </c:dPt>
          <c:dPt>
            <c:idx val="229"/>
            <c:invertIfNegative val="1"/>
            <c:bubble3D val="0"/>
            <c:spPr>
              <a:solidFill>
                <a:srgbClr val="AEABAB"/>
              </a:solidFill>
            </c:spPr>
            <c:extLst>
              <c:ext xmlns:c16="http://schemas.microsoft.com/office/drawing/2014/chart" uri="{C3380CC4-5D6E-409C-BE32-E72D297353CC}">
                <c16:uniqueId val="{000001CD-1A73-4C5C-B0D7-DD75395A3645}"/>
              </c:ext>
            </c:extLst>
          </c:dPt>
          <c:dPt>
            <c:idx val="230"/>
            <c:invertIfNegative val="1"/>
            <c:bubble3D val="0"/>
            <c:spPr>
              <a:solidFill>
                <a:srgbClr val="AEABAB"/>
              </a:solidFill>
            </c:spPr>
            <c:extLst>
              <c:ext xmlns:c16="http://schemas.microsoft.com/office/drawing/2014/chart" uri="{C3380CC4-5D6E-409C-BE32-E72D297353CC}">
                <c16:uniqueId val="{000001CF-1A73-4C5C-B0D7-DD75395A3645}"/>
              </c:ext>
            </c:extLst>
          </c:dPt>
          <c:dPt>
            <c:idx val="231"/>
            <c:invertIfNegative val="1"/>
            <c:bubble3D val="0"/>
            <c:spPr>
              <a:solidFill>
                <a:srgbClr val="AEABAB"/>
              </a:solidFill>
            </c:spPr>
            <c:extLst>
              <c:ext xmlns:c16="http://schemas.microsoft.com/office/drawing/2014/chart" uri="{C3380CC4-5D6E-409C-BE32-E72D297353CC}">
                <c16:uniqueId val="{000001D1-1A73-4C5C-B0D7-DD75395A3645}"/>
              </c:ext>
            </c:extLst>
          </c:dPt>
          <c:dPt>
            <c:idx val="232"/>
            <c:invertIfNegative val="1"/>
            <c:bubble3D val="0"/>
            <c:spPr>
              <a:solidFill>
                <a:srgbClr val="AEABAB"/>
              </a:solidFill>
            </c:spPr>
            <c:extLst>
              <c:ext xmlns:c16="http://schemas.microsoft.com/office/drawing/2014/chart" uri="{C3380CC4-5D6E-409C-BE32-E72D297353CC}">
                <c16:uniqueId val="{000001D3-1A73-4C5C-B0D7-DD75395A3645}"/>
              </c:ext>
            </c:extLst>
          </c:dPt>
          <c:dPt>
            <c:idx val="233"/>
            <c:invertIfNegative val="1"/>
            <c:bubble3D val="0"/>
            <c:spPr>
              <a:solidFill>
                <a:srgbClr val="AEABAB"/>
              </a:solidFill>
            </c:spPr>
            <c:extLst>
              <c:ext xmlns:c16="http://schemas.microsoft.com/office/drawing/2014/chart" uri="{C3380CC4-5D6E-409C-BE32-E72D297353CC}">
                <c16:uniqueId val="{000001D5-1A73-4C5C-B0D7-DD75395A3645}"/>
              </c:ext>
            </c:extLst>
          </c:dPt>
          <c:dPt>
            <c:idx val="234"/>
            <c:invertIfNegative val="1"/>
            <c:bubble3D val="0"/>
            <c:spPr>
              <a:solidFill>
                <a:srgbClr val="AEABAB"/>
              </a:solidFill>
            </c:spPr>
            <c:extLst>
              <c:ext xmlns:c16="http://schemas.microsoft.com/office/drawing/2014/chart" uri="{C3380CC4-5D6E-409C-BE32-E72D297353CC}">
                <c16:uniqueId val="{000001D7-1A73-4C5C-B0D7-DD75395A3645}"/>
              </c:ext>
            </c:extLst>
          </c:dPt>
          <c:dPt>
            <c:idx val="235"/>
            <c:invertIfNegative val="1"/>
            <c:bubble3D val="0"/>
            <c:spPr>
              <a:solidFill>
                <a:srgbClr val="AEABAB"/>
              </a:solidFill>
            </c:spPr>
            <c:extLst>
              <c:ext xmlns:c16="http://schemas.microsoft.com/office/drawing/2014/chart" uri="{C3380CC4-5D6E-409C-BE32-E72D297353CC}">
                <c16:uniqueId val="{000001D9-1A73-4C5C-B0D7-DD75395A3645}"/>
              </c:ext>
            </c:extLst>
          </c:dPt>
          <c:dPt>
            <c:idx val="236"/>
            <c:invertIfNegative val="1"/>
            <c:bubble3D val="0"/>
            <c:spPr>
              <a:solidFill>
                <a:srgbClr val="AEABAB"/>
              </a:solidFill>
            </c:spPr>
            <c:extLst>
              <c:ext xmlns:c16="http://schemas.microsoft.com/office/drawing/2014/chart" uri="{C3380CC4-5D6E-409C-BE32-E72D297353CC}">
                <c16:uniqueId val="{000001DB-1A73-4C5C-B0D7-DD75395A3645}"/>
              </c:ext>
            </c:extLst>
          </c:dPt>
          <c:dPt>
            <c:idx val="237"/>
            <c:invertIfNegative val="1"/>
            <c:bubble3D val="0"/>
            <c:spPr>
              <a:solidFill>
                <a:srgbClr val="AEABAB"/>
              </a:solidFill>
            </c:spPr>
            <c:extLst>
              <c:ext xmlns:c16="http://schemas.microsoft.com/office/drawing/2014/chart" uri="{C3380CC4-5D6E-409C-BE32-E72D297353CC}">
                <c16:uniqueId val="{000001DD-1A73-4C5C-B0D7-DD75395A3645}"/>
              </c:ext>
            </c:extLst>
          </c:dPt>
          <c:dPt>
            <c:idx val="238"/>
            <c:invertIfNegative val="1"/>
            <c:bubble3D val="0"/>
            <c:spPr>
              <a:solidFill>
                <a:srgbClr val="AEABAB"/>
              </a:solidFill>
            </c:spPr>
            <c:extLst>
              <c:ext xmlns:c16="http://schemas.microsoft.com/office/drawing/2014/chart" uri="{C3380CC4-5D6E-409C-BE32-E72D297353CC}">
                <c16:uniqueId val="{000001DF-1A73-4C5C-B0D7-DD75395A3645}"/>
              </c:ext>
            </c:extLst>
          </c:dPt>
          <c:dPt>
            <c:idx val="239"/>
            <c:invertIfNegative val="1"/>
            <c:bubble3D val="0"/>
            <c:spPr>
              <a:solidFill>
                <a:srgbClr val="AEABAB"/>
              </a:solidFill>
            </c:spPr>
            <c:extLst>
              <c:ext xmlns:c16="http://schemas.microsoft.com/office/drawing/2014/chart" uri="{C3380CC4-5D6E-409C-BE32-E72D297353CC}">
                <c16:uniqueId val="{000001E1-1A73-4C5C-B0D7-DD75395A3645}"/>
              </c:ext>
            </c:extLst>
          </c:dPt>
          <c:dPt>
            <c:idx val="240"/>
            <c:invertIfNegative val="1"/>
            <c:bubble3D val="0"/>
            <c:spPr>
              <a:solidFill>
                <a:srgbClr val="AEABAB"/>
              </a:solidFill>
            </c:spPr>
            <c:extLst>
              <c:ext xmlns:c16="http://schemas.microsoft.com/office/drawing/2014/chart" uri="{C3380CC4-5D6E-409C-BE32-E72D297353CC}">
                <c16:uniqueId val="{000001E3-1A73-4C5C-B0D7-DD75395A3645}"/>
              </c:ext>
            </c:extLst>
          </c:dPt>
          <c:dPt>
            <c:idx val="241"/>
            <c:invertIfNegative val="1"/>
            <c:bubble3D val="0"/>
            <c:spPr>
              <a:solidFill>
                <a:srgbClr val="AEABAB"/>
              </a:solidFill>
            </c:spPr>
            <c:extLst>
              <c:ext xmlns:c16="http://schemas.microsoft.com/office/drawing/2014/chart" uri="{C3380CC4-5D6E-409C-BE32-E72D297353CC}">
                <c16:uniqueId val="{000001E5-1A73-4C5C-B0D7-DD75395A3645}"/>
              </c:ext>
            </c:extLst>
          </c:dPt>
          <c:dPt>
            <c:idx val="242"/>
            <c:invertIfNegative val="1"/>
            <c:bubble3D val="0"/>
            <c:spPr>
              <a:solidFill>
                <a:srgbClr val="AEABAB"/>
              </a:solidFill>
            </c:spPr>
            <c:extLst>
              <c:ext xmlns:c16="http://schemas.microsoft.com/office/drawing/2014/chart" uri="{C3380CC4-5D6E-409C-BE32-E72D297353CC}">
                <c16:uniqueId val="{000001E7-1A73-4C5C-B0D7-DD75395A3645}"/>
              </c:ext>
            </c:extLst>
          </c:dPt>
          <c:dPt>
            <c:idx val="243"/>
            <c:invertIfNegative val="1"/>
            <c:bubble3D val="0"/>
            <c:spPr>
              <a:solidFill>
                <a:srgbClr val="AEABAB"/>
              </a:solidFill>
            </c:spPr>
            <c:extLst>
              <c:ext xmlns:c16="http://schemas.microsoft.com/office/drawing/2014/chart" uri="{C3380CC4-5D6E-409C-BE32-E72D297353CC}">
                <c16:uniqueId val="{000001E9-1A73-4C5C-B0D7-DD75395A3645}"/>
              </c:ext>
            </c:extLst>
          </c:dPt>
          <c:dPt>
            <c:idx val="244"/>
            <c:invertIfNegative val="1"/>
            <c:bubble3D val="0"/>
            <c:spPr>
              <a:solidFill>
                <a:srgbClr val="AEABAB"/>
              </a:solidFill>
            </c:spPr>
            <c:extLst>
              <c:ext xmlns:c16="http://schemas.microsoft.com/office/drawing/2014/chart" uri="{C3380CC4-5D6E-409C-BE32-E72D297353CC}">
                <c16:uniqueId val="{000001EB-1A73-4C5C-B0D7-DD75395A3645}"/>
              </c:ext>
            </c:extLst>
          </c:dPt>
          <c:dPt>
            <c:idx val="245"/>
            <c:invertIfNegative val="1"/>
            <c:bubble3D val="0"/>
            <c:spPr>
              <a:solidFill>
                <a:srgbClr val="AEABAB"/>
              </a:solidFill>
            </c:spPr>
            <c:extLst>
              <c:ext xmlns:c16="http://schemas.microsoft.com/office/drawing/2014/chart" uri="{C3380CC4-5D6E-409C-BE32-E72D297353CC}">
                <c16:uniqueId val="{000001ED-1A73-4C5C-B0D7-DD75395A3645}"/>
              </c:ext>
            </c:extLst>
          </c:dPt>
          <c:dPt>
            <c:idx val="246"/>
            <c:invertIfNegative val="1"/>
            <c:bubble3D val="0"/>
            <c:spPr>
              <a:solidFill>
                <a:srgbClr val="AEABAB"/>
              </a:solidFill>
            </c:spPr>
            <c:extLst>
              <c:ext xmlns:c16="http://schemas.microsoft.com/office/drawing/2014/chart" uri="{C3380CC4-5D6E-409C-BE32-E72D297353CC}">
                <c16:uniqueId val="{000001EF-1A73-4C5C-B0D7-DD75395A3645}"/>
              </c:ext>
            </c:extLst>
          </c:dPt>
          <c:cat>
            <c:strRef>
              <c:f>Sheet1!$A$2:$A$248</c:f>
              <c:strCache>
                <c:ptCount val="247"/>
                <c:pt idx="0">
                  <c:v>Ruinart</c:v>
                </c:pt>
                <c:pt idx="1">
                  <c:v>Nicolas</c:v>
                </c:pt>
                <c:pt idx="2">
                  <c:v>Deutz</c:v>
                </c:pt>
                <c:pt idx="3">
                  <c:v>Ruinart</c:v>
                </c:pt>
                <c:pt idx="4">
                  <c:v>Laurent Per</c:v>
                </c:pt>
                <c:pt idx="5">
                  <c:v>Heidsieck &amp;</c:v>
                </c:pt>
                <c:pt idx="6">
                  <c:v>Malard</c:v>
                </c:pt>
                <c:pt idx="7">
                  <c:v>Ayala</c:v>
                </c:pt>
                <c:pt idx="8">
                  <c:v>Nicolas Feu</c:v>
                </c:pt>
                <c:pt idx="9">
                  <c:v>De Bligny</c:v>
                </c:pt>
                <c:pt idx="10">
                  <c:v>Ruinart</c:v>
                </c:pt>
                <c:pt idx="11">
                  <c:v>Canard Duch</c:v>
                </c:pt>
                <c:pt idx="12">
                  <c:v>Ruinart</c:v>
                </c:pt>
                <c:pt idx="13">
                  <c:v>Taittinger</c:v>
                </c:pt>
                <c:pt idx="14">
                  <c:v>Bollinger</c:v>
                </c:pt>
                <c:pt idx="15">
                  <c:v>Besserat De</c:v>
                </c:pt>
                <c:pt idx="16">
                  <c:v>Demoiselle</c:v>
                </c:pt>
                <c:pt idx="17">
                  <c:v>Campari: Al</c:v>
                </c:pt>
                <c:pt idx="18">
                  <c:v>Deutz</c:v>
                </c:pt>
                <c:pt idx="19">
                  <c:v>Perrier Jou</c:v>
                </c:pt>
                <c:pt idx="20">
                  <c:v>Ruinart</c:v>
                </c:pt>
                <c:pt idx="21">
                  <c:v>All Others</c:v>
                </c:pt>
                <c:pt idx="22">
                  <c:v>Ruinart</c:v>
                </c:pt>
                <c:pt idx="23">
                  <c:v>Roederer</c:v>
                </c:pt>
                <c:pt idx="24">
                  <c:v>Laurent Per</c:v>
                </c:pt>
                <c:pt idx="25">
                  <c:v>Pommery</c:v>
                </c:pt>
                <c:pt idx="26">
                  <c:v>All Others</c:v>
                </c:pt>
                <c:pt idx="27">
                  <c:v>Vesselle</c:v>
                </c:pt>
                <c:pt idx="28">
                  <c:v>Dom Perigno</c:v>
                </c:pt>
                <c:pt idx="29">
                  <c:v>Deutz</c:v>
                </c:pt>
                <c:pt idx="30">
                  <c:v>Savian</c:v>
                </c:pt>
                <c:pt idx="31">
                  <c:v>Veuve Clicq</c:v>
                </c:pt>
                <c:pt idx="32">
                  <c:v>Henriot</c:v>
                </c:pt>
                <c:pt idx="33">
                  <c:v>Moët &amp; Chan</c:v>
                </c:pt>
                <c:pt idx="34">
                  <c:v>Demoiselle</c:v>
                </c:pt>
                <c:pt idx="35">
                  <c:v>Malard</c:v>
                </c:pt>
                <c:pt idx="36">
                  <c:v>Laurent Per</c:v>
                </c:pt>
                <c:pt idx="37">
                  <c:v>Dom Perigno</c:v>
                </c:pt>
                <c:pt idx="38">
                  <c:v>Ruinart</c:v>
                </c:pt>
                <c:pt idx="39">
                  <c:v>Taittinger</c:v>
                </c:pt>
                <c:pt idx="40">
                  <c:v>Nicolas</c:v>
                </c:pt>
                <c:pt idx="41">
                  <c:v>Roederer</c:v>
                </c:pt>
                <c:pt idx="42">
                  <c:v>Veuve Clicq</c:v>
                </c:pt>
                <c:pt idx="43">
                  <c:v>Veuve Clicq</c:v>
                </c:pt>
                <c:pt idx="44">
                  <c:v>Moët &amp; Chan</c:v>
                </c:pt>
                <c:pt idx="45">
                  <c:v>Piper Heids</c:v>
                </c:pt>
                <c:pt idx="46">
                  <c:v>Besserat De</c:v>
                </c:pt>
                <c:pt idx="47">
                  <c:v>Malard</c:v>
                </c:pt>
                <c:pt idx="48">
                  <c:v>Ruinart</c:v>
                </c:pt>
                <c:pt idx="49">
                  <c:v>De Venoge</c:v>
                </c:pt>
                <c:pt idx="50">
                  <c:v>Deutz</c:v>
                </c:pt>
                <c:pt idx="51">
                  <c:v>Nicolas</c:v>
                </c:pt>
                <c:pt idx="52">
                  <c:v>Ruinart</c:v>
                </c:pt>
                <c:pt idx="53">
                  <c:v>All Others</c:v>
                </c:pt>
                <c:pt idx="54">
                  <c:v>Nicolas Feu</c:v>
                </c:pt>
                <c:pt idx="55">
                  <c:v>Moët &amp; Chan</c:v>
                </c:pt>
                <c:pt idx="56">
                  <c:v>Louis Marti</c:v>
                </c:pt>
                <c:pt idx="57">
                  <c:v>Lanson</c:v>
                </c:pt>
                <c:pt idx="58">
                  <c:v>Nicolas Feu</c:v>
                </c:pt>
                <c:pt idx="59">
                  <c:v>Campari: Al</c:v>
                </c:pt>
                <c:pt idx="60">
                  <c:v>Nicolas</c:v>
                </c:pt>
                <c:pt idx="61">
                  <c:v>Canard Duch</c:v>
                </c:pt>
                <c:pt idx="62">
                  <c:v>Malard</c:v>
                </c:pt>
                <c:pt idx="63">
                  <c:v>Delamotte</c:v>
                </c:pt>
                <c:pt idx="64">
                  <c:v>Henriot</c:v>
                </c:pt>
                <c:pt idx="65">
                  <c:v>Nicolas Feu</c:v>
                </c:pt>
                <c:pt idx="66">
                  <c:v>Krug</c:v>
                </c:pt>
                <c:pt idx="67">
                  <c:v>Malard</c:v>
                </c:pt>
                <c:pt idx="68">
                  <c:v>Besserat De</c:v>
                </c:pt>
                <c:pt idx="69">
                  <c:v>Vranken</c:v>
                </c:pt>
                <c:pt idx="70">
                  <c:v>Bollinger</c:v>
                </c:pt>
                <c:pt idx="71">
                  <c:v>Ruinart</c:v>
                </c:pt>
                <c:pt idx="72">
                  <c:v>Henriot</c:v>
                </c:pt>
                <c:pt idx="73">
                  <c:v>De Bligny</c:v>
                </c:pt>
                <c:pt idx="74">
                  <c:v>Roederer</c:v>
                </c:pt>
                <c:pt idx="75">
                  <c:v>Laurent Per</c:v>
                </c:pt>
                <c:pt idx="76">
                  <c:v>Pommery</c:v>
                </c:pt>
                <c:pt idx="77">
                  <c:v>Roederer</c:v>
                </c:pt>
                <c:pt idx="78">
                  <c:v>Roederer</c:v>
                </c:pt>
                <c:pt idx="79">
                  <c:v>Ayala</c:v>
                </c:pt>
                <c:pt idx="80">
                  <c:v>Nicolas</c:v>
                </c:pt>
                <c:pt idx="81">
                  <c:v>De Venoge</c:v>
                </c:pt>
                <c:pt idx="82">
                  <c:v>Ruinart</c:v>
                </c:pt>
                <c:pt idx="83">
                  <c:v>Canard Duch</c:v>
                </c:pt>
                <c:pt idx="84">
                  <c:v>Roederer</c:v>
                </c:pt>
                <c:pt idx="85">
                  <c:v>Laurent Per</c:v>
                </c:pt>
                <c:pt idx="86">
                  <c:v>Henriot</c:v>
                </c:pt>
                <c:pt idx="87">
                  <c:v>Roederer</c:v>
                </c:pt>
                <c:pt idx="88">
                  <c:v>De Venoge</c:v>
                </c:pt>
                <c:pt idx="89">
                  <c:v>Deutz</c:v>
                </c:pt>
                <c:pt idx="90">
                  <c:v>Perrier Jou</c:v>
                </c:pt>
                <c:pt idx="91">
                  <c:v>De Venoge</c:v>
                </c:pt>
                <c:pt idx="92">
                  <c:v>Malard</c:v>
                </c:pt>
                <c:pt idx="93">
                  <c:v>Ruinart</c:v>
                </c:pt>
                <c:pt idx="94">
                  <c:v>Roederer</c:v>
                </c:pt>
                <c:pt idx="95">
                  <c:v>Ruinart</c:v>
                </c:pt>
                <c:pt idx="96">
                  <c:v>Ruinart</c:v>
                </c:pt>
                <c:pt idx="97">
                  <c:v>Roederer</c:v>
                </c:pt>
                <c:pt idx="98">
                  <c:v>Dom Perigno</c:v>
                </c:pt>
                <c:pt idx="99">
                  <c:v>Bollinger</c:v>
                </c:pt>
                <c:pt idx="100">
                  <c:v>Deutz</c:v>
                </c:pt>
                <c:pt idx="101">
                  <c:v>Canard Duch</c:v>
                </c:pt>
                <c:pt idx="102">
                  <c:v>Vranken</c:v>
                </c:pt>
                <c:pt idx="103">
                  <c:v>Moët &amp; Chan</c:v>
                </c:pt>
                <c:pt idx="104">
                  <c:v>Nicolas</c:v>
                </c:pt>
                <c:pt idx="105">
                  <c:v>Canard Duch</c:v>
                </c:pt>
                <c:pt idx="106">
                  <c:v>Nicolas Feu</c:v>
                </c:pt>
                <c:pt idx="107">
                  <c:v>Bollinger</c:v>
                </c:pt>
                <c:pt idx="108">
                  <c:v>Veuve Clicq</c:v>
                </c:pt>
                <c:pt idx="109">
                  <c:v>Nicolas</c:v>
                </c:pt>
                <c:pt idx="110">
                  <c:v>Nicolas</c:v>
                </c:pt>
                <c:pt idx="111">
                  <c:v>Nicolas</c:v>
                </c:pt>
                <c:pt idx="112">
                  <c:v>Taittinger</c:v>
                </c:pt>
                <c:pt idx="113">
                  <c:v>All Others</c:v>
                </c:pt>
                <c:pt idx="114">
                  <c:v>Roederer</c:v>
                </c:pt>
                <c:pt idx="115">
                  <c:v>Laurent Per</c:v>
                </c:pt>
                <c:pt idx="116">
                  <c:v>Nicolas</c:v>
                </c:pt>
                <c:pt idx="117">
                  <c:v>Nicolas</c:v>
                </c:pt>
                <c:pt idx="118">
                  <c:v>Moët &amp; Chan</c:v>
                </c:pt>
                <c:pt idx="119">
                  <c:v>Ruinart</c:v>
                </c:pt>
                <c:pt idx="120">
                  <c:v>Besserat De</c:v>
                </c:pt>
                <c:pt idx="121">
                  <c:v>Delamotte</c:v>
                </c:pt>
                <c:pt idx="122">
                  <c:v>All Others</c:v>
                </c:pt>
                <c:pt idx="123">
                  <c:v>Nicolas</c:v>
                </c:pt>
                <c:pt idx="124">
                  <c:v>Demoiselle</c:v>
                </c:pt>
                <c:pt idx="125">
                  <c:v>Ruinart</c:v>
                </c:pt>
                <c:pt idx="126">
                  <c:v>Pommery</c:v>
                </c:pt>
                <c:pt idx="127">
                  <c:v>Nicolas</c:v>
                </c:pt>
                <c:pt idx="128">
                  <c:v>Louis Marti</c:v>
                </c:pt>
                <c:pt idx="129">
                  <c:v>Nicolas</c:v>
                </c:pt>
                <c:pt idx="130">
                  <c:v>Nicolas</c:v>
                </c:pt>
                <c:pt idx="131">
                  <c:v>Lanson</c:v>
                </c:pt>
                <c:pt idx="132">
                  <c:v>Vranken</c:v>
                </c:pt>
                <c:pt idx="133">
                  <c:v>Roederer</c:v>
                </c:pt>
                <c:pt idx="134">
                  <c:v>Pommery</c:v>
                </c:pt>
                <c:pt idx="135">
                  <c:v>Deutz</c:v>
                </c:pt>
                <c:pt idx="136">
                  <c:v>Ruinart</c:v>
                </c:pt>
                <c:pt idx="137">
                  <c:v>Canard Duch</c:v>
                </c:pt>
                <c:pt idx="138">
                  <c:v>Pommery</c:v>
                </c:pt>
                <c:pt idx="139">
                  <c:v>Vesselle</c:v>
                </c:pt>
                <c:pt idx="140">
                  <c:v>Ruinart</c:v>
                </c:pt>
                <c:pt idx="141">
                  <c:v>Ayala</c:v>
                </c:pt>
                <c:pt idx="142">
                  <c:v>Laurent Per</c:v>
                </c:pt>
                <c:pt idx="143">
                  <c:v>Pommery</c:v>
                </c:pt>
                <c:pt idx="144">
                  <c:v>Perrier Jou</c:v>
                </c:pt>
                <c:pt idx="145">
                  <c:v>Laurent Per</c:v>
                </c:pt>
                <c:pt idx="146">
                  <c:v>Nicolas</c:v>
                </c:pt>
                <c:pt idx="147">
                  <c:v>Deutz</c:v>
                </c:pt>
                <c:pt idx="148">
                  <c:v>Nicolas</c:v>
                </c:pt>
                <c:pt idx="149">
                  <c:v>Piper Heids</c:v>
                </c:pt>
                <c:pt idx="150">
                  <c:v>Roederer</c:v>
                </c:pt>
                <c:pt idx="151">
                  <c:v>Piper Heids</c:v>
                </c:pt>
                <c:pt idx="152">
                  <c:v>Vesselle</c:v>
                </c:pt>
                <c:pt idx="153">
                  <c:v>Roederer</c:v>
                </c:pt>
                <c:pt idx="154">
                  <c:v>Ruinart</c:v>
                </c:pt>
                <c:pt idx="155">
                  <c:v>Taittinger</c:v>
                </c:pt>
                <c:pt idx="156">
                  <c:v>Pommery</c:v>
                </c:pt>
                <c:pt idx="157">
                  <c:v>Bollinger</c:v>
                </c:pt>
                <c:pt idx="158">
                  <c:v>Demoiselle</c:v>
                </c:pt>
                <c:pt idx="159">
                  <c:v>Deutz</c:v>
                </c:pt>
                <c:pt idx="160">
                  <c:v>Canard Duch</c:v>
                </c:pt>
                <c:pt idx="161">
                  <c:v>Laurent Per</c:v>
                </c:pt>
                <c:pt idx="162">
                  <c:v>Roederer</c:v>
                </c:pt>
                <c:pt idx="163">
                  <c:v>Ruinart</c:v>
                </c:pt>
                <c:pt idx="164">
                  <c:v>All Others</c:v>
                </c:pt>
                <c:pt idx="165">
                  <c:v>Besserat De</c:v>
                </c:pt>
                <c:pt idx="166">
                  <c:v>All Others</c:v>
                </c:pt>
                <c:pt idx="167">
                  <c:v>Laurent Per</c:v>
                </c:pt>
                <c:pt idx="168">
                  <c:v>Roederer</c:v>
                </c:pt>
                <c:pt idx="169">
                  <c:v>De Venoge</c:v>
                </c:pt>
                <c:pt idx="170">
                  <c:v>Dom Perigno</c:v>
                </c:pt>
                <c:pt idx="171">
                  <c:v>Nicolas</c:v>
                </c:pt>
                <c:pt idx="172">
                  <c:v>Roederer</c:v>
                </c:pt>
                <c:pt idx="173">
                  <c:v>Roederer</c:v>
                </c:pt>
                <c:pt idx="174">
                  <c:v>Laurent Per</c:v>
                </c:pt>
                <c:pt idx="175">
                  <c:v>Bollinger</c:v>
                </c:pt>
                <c:pt idx="176">
                  <c:v>Taittinger</c:v>
                </c:pt>
                <c:pt idx="177">
                  <c:v>De Venoge</c:v>
                </c:pt>
                <c:pt idx="178">
                  <c:v>Bollinger</c:v>
                </c:pt>
                <c:pt idx="179">
                  <c:v>Roederer</c:v>
                </c:pt>
                <c:pt idx="180">
                  <c:v>Dom Perigno</c:v>
                </c:pt>
                <c:pt idx="181">
                  <c:v>Piper Heids</c:v>
                </c:pt>
                <c:pt idx="182">
                  <c:v>Nicolas</c:v>
                </c:pt>
                <c:pt idx="183">
                  <c:v>Henriot</c:v>
                </c:pt>
                <c:pt idx="184">
                  <c:v>Bollinger</c:v>
                </c:pt>
                <c:pt idx="185">
                  <c:v>Nicolas</c:v>
                </c:pt>
                <c:pt idx="186">
                  <c:v>Ruinart</c:v>
                </c:pt>
                <c:pt idx="187">
                  <c:v>De Bligny</c:v>
                </c:pt>
                <c:pt idx="188">
                  <c:v>All Others</c:v>
                </c:pt>
                <c:pt idx="189">
                  <c:v>Henriot</c:v>
                </c:pt>
                <c:pt idx="190">
                  <c:v>Canard Duch</c:v>
                </c:pt>
                <c:pt idx="191">
                  <c:v>Demoiselle</c:v>
                </c:pt>
                <c:pt idx="192">
                  <c:v>Dom Perigno</c:v>
                </c:pt>
                <c:pt idx="193">
                  <c:v>Nicolas</c:v>
                </c:pt>
                <c:pt idx="194">
                  <c:v>De Venoge</c:v>
                </c:pt>
                <c:pt idx="195">
                  <c:v>Laurent Per</c:v>
                </c:pt>
                <c:pt idx="196">
                  <c:v>Malard</c:v>
                </c:pt>
                <c:pt idx="197">
                  <c:v>Roederer</c:v>
                </c:pt>
                <c:pt idx="198">
                  <c:v>All Others</c:v>
                </c:pt>
                <c:pt idx="199">
                  <c:v>Laurent Per</c:v>
                </c:pt>
                <c:pt idx="200">
                  <c:v>All Others</c:v>
                </c:pt>
                <c:pt idx="201">
                  <c:v>Bollinger</c:v>
                </c:pt>
                <c:pt idx="202">
                  <c:v>De Venoge</c:v>
                </c:pt>
                <c:pt idx="203">
                  <c:v>All Others</c:v>
                </c:pt>
                <c:pt idx="204">
                  <c:v>De Venoge</c:v>
                </c:pt>
                <c:pt idx="205">
                  <c:v>Ruinart</c:v>
                </c:pt>
                <c:pt idx="206">
                  <c:v>All Others</c:v>
                </c:pt>
                <c:pt idx="207">
                  <c:v>Moët &amp; Chan</c:v>
                </c:pt>
                <c:pt idx="208">
                  <c:v>Veuve Clicq</c:v>
                </c:pt>
                <c:pt idx="209">
                  <c:v>Roederer</c:v>
                </c:pt>
                <c:pt idx="210">
                  <c:v>All Others</c:v>
                </c:pt>
                <c:pt idx="211">
                  <c:v>Pommery</c:v>
                </c:pt>
                <c:pt idx="212">
                  <c:v>Taittinger</c:v>
                </c:pt>
                <c:pt idx="213">
                  <c:v>Nicolas Feu</c:v>
                </c:pt>
                <c:pt idx="214">
                  <c:v>Perrier Jou</c:v>
                </c:pt>
                <c:pt idx="215">
                  <c:v>Ruinart</c:v>
                </c:pt>
                <c:pt idx="216">
                  <c:v>Piper Heids</c:v>
                </c:pt>
                <c:pt idx="217">
                  <c:v>Veuve Clicq</c:v>
                </c:pt>
                <c:pt idx="218">
                  <c:v>Veuve Clicq</c:v>
                </c:pt>
                <c:pt idx="219">
                  <c:v>Canard Duch</c:v>
                </c:pt>
                <c:pt idx="220">
                  <c:v>Roederer</c:v>
                </c:pt>
                <c:pt idx="221">
                  <c:v>Perrier Jou</c:v>
                </c:pt>
                <c:pt idx="222">
                  <c:v>Deutz</c:v>
                </c:pt>
                <c:pt idx="223">
                  <c:v>Deutz</c:v>
                </c:pt>
                <c:pt idx="224">
                  <c:v>Laurent Per</c:v>
                </c:pt>
                <c:pt idx="225">
                  <c:v>Martel</c:v>
                </c:pt>
                <c:pt idx="226">
                  <c:v>Pommery</c:v>
                </c:pt>
                <c:pt idx="227">
                  <c:v>Ruinart</c:v>
                </c:pt>
                <c:pt idx="228">
                  <c:v>Ayala</c:v>
                </c:pt>
                <c:pt idx="229">
                  <c:v>Roederer</c:v>
                </c:pt>
                <c:pt idx="230">
                  <c:v>Demoiselle</c:v>
                </c:pt>
                <c:pt idx="231">
                  <c:v>Besserat De</c:v>
                </c:pt>
                <c:pt idx="232">
                  <c:v>Lanson</c:v>
                </c:pt>
                <c:pt idx="233">
                  <c:v>Bollinger</c:v>
                </c:pt>
                <c:pt idx="234">
                  <c:v>Demoiselle</c:v>
                </c:pt>
                <c:pt idx="235">
                  <c:v>Bollinger</c:v>
                </c:pt>
                <c:pt idx="236">
                  <c:v>Moët &amp; Chan</c:v>
                </c:pt>
                <c:pt idx="237">
                  <c:v>Roederer</c:v>
                </c:pt>
                <c:pt idx="238">
                  <c:v>Ruinart</c:v>
                </c:pt>
                <c:pt idx="239">
                  <c:v>Besserat De</c:v>
                </c:pt>
                <c:pt idx="240">
                  <c:v>De Venoge</c:v>
                </c:pt>
                <c:pt idx="241">
                  <c:v>All Others</c:v>
                </c:pt>
                <c:pt idx="242">
                  <c:v>Laurent Per</c:v>
                </c:pt>
                <c:pt idx="243">
                  <c:v>Nicolas</c:v>
                </c:pt>
                <c:pt idx="244">
                  <c:v>Malard</c:v>
                </c:pt>
                <c:pt idx="245">
                  <c:v>All Others</c:v>
                </c:pt>
                <c:pt idx="246">
                  <c:v>Nicolas</c:v>
                </c:pt>
              </c:strCache>
            </c:strRef>
          </c:cat>
          <c:val>
            <c:numRef>
              <c:f>Sheet1!$C$2:$C$248</c:f>
              <c:numCache>
                <c:formatCode>General</c:formatCode>
                <c:ptCount val="247"/>
                <c:pt idx="0">
                  <c:v>0.10780580837615471</c:v>
                </c:pt>
                <c:pt idx="1">
                  <c:v>0.17788189577956637</c:v>
                </c:pt>
                <c:pt idx="2">
                  <c:v>0.23471887081029871</c:v>
                </c:pt>
                <c:pt idx="3">
                  <c:v>0.27650839163090929</c:v>
                </c:pt>
                <c:pt idx="4">
                  <c:v>0.31234587172717143</c:v>
                </c:pt>
                <c:pt idx="5">
                  <c:v>0.34627216959683776</c:v>
                </c:pt>
                <c:pt idx="6">
                  <c:v>0.37904115097448227</c:v>
                </c:pt>
                <c:pt idx="7">
                  <c:v>0.40710565808211246</c:v>
                </c:pt>
                <c:pt idx="8">
                  <c:v>0.43137409578729879</c:v>
                </c:pt>
                <c:pt idx="9">
                  <c:v>0.45448777965371412</c:v>
                </c:pt>
                <c:pt idx="10">
                  <c:v>0.4759829808626625</c:v>
                </c:pt>
                <c:pt idx="11">
                  <c:v>0.49664754815921819</c:v>
                </c:pt>
                <c:pt idx="12">
                  <c:v>0.51626621867031042</c:v>
                </c:pt>
                <c:pt idx="13">
                  <c:v>0.53491921458466118</c:v>
                </c:pt>
                <c:pt idx="14">
                  <c:v>0.55215049504332714</c:v>
                </c:pt>
                <c:pt idx="15">
                  <c:v>0.56921420026332925</c:v>
                </c:pt>
                <c:pt idx="16">
                  <c:v>0.58333464251488532</c:v>
                </c:pt>
                <c:pt idx="17">
                  <c:v>0.59594155947255245</c:v>
                </c:pt>
                <c:pt idx="18">
                  <c:v>0.60755138147622867</c:v>
                </c:pt>
                <c:pt idx="19">
                  <c:v>0.61902014613140199</c:v>
                </c:pt>
                <c:pt idx="20">
                  <c:v>0.63034094541626573</c:v>
                </c:pt>
                <c:pt idx="21">
                  <c:v>0.64150698272871987</c:v>
                </c:pt>
                <c:pt idx="22">
                  <c:v>0.65213664557380202</c:v>
                </c:pt>
                <c:pt idx="23">
                  <c:v>0.66248229958686689</c:v>
                </c:pt>
                <c:pt idx="24">
                  <c:v>0.6723829432919376</c:v>
                </c:pt>
                <c:pt idx="25">
                  <c:v>0.68186409180181606</c:v>
                </c:pt>
                <c:pt idx="26">
                  <c:v>0.69087783464268204</c:v>
                </c:pt>
                <c:pt idx="27">
                  <c:v>0.6998855608193939</c:v>
                </c:pt>
                <c:pt idx="28">
                  <c:v>0.70816504779404021</c:v>
                </c:pt>
                <c:pt idx="29">
                  <c:v>0.71573568259556219</c:v>
                </c:pt>
                <c:pt idx="30">
                  <c:v>0.7229505542740432</c:v>
                </c:pt>
                <c:pt idx="31">
                  <c:v>0.72980264338797018</c:v>
                </c:pt>
                <c:pt idx="32">
                  <c:v>0.73664113929769703</c:v>
                </c:pt>
                <c:pt idx="33">
                  <c:v>0.74344052689042195</c:v>
                </c:pt>
                <c:pt idx="34">
                  <c:v>0.75018888425754304</c:v>
                </c:pt>
                <c:pt idx="35">
                  <c:v>0.75693122496051002</c:v>
                </c:pt>
                <c:pt idx="36">
                  <c:v>0.76359267495651562</c:v>
                </c:pt>
                <c:pt idx="37">
                  <c:v>0.77010359692896091</c:v>
                </c:pt>
                <c:pt idx="38">
                  <c:v>0.77651513252315607</c:v>
                </c:pt>
                <c:pt idx="39">
                  <c:v>0.78264444200063887</c:v>
                </c:pt>
                <c:pt idx="40">
                  <c:v>0.78873252618669509</c:v>
                </c:pt>
                <c:pt idx="41">
                  <c:v>0.79428846985422852</c:v>
                </c:pt>
                <c:pt idx="42">
                  <c:v>0.79974536140263153</c:v>
                </c:pt>
                <c:pt idx="43">
                  <c:v>0.80484660124770024</c:v>
                </c:pt>
                <c:pt idx="44">
                  <c:v>0.8098954738306865</c:v>
                </c:pt>
                <c:pt idx="45">
                  <c:v>0.81475214741985957</c:v>
                </c:pt>
                <c:pt idx="46">
                  <c:v>0.81954976856455664</c:v>
                </c:pt>
                <c:pt idx="47">
                  <c:v>0.82431028694696984</c:v>
                </c:pt>
                <c:pt idx="48">
                  <c:v>0.8290019479507299</c:v>
                </c:pt>
                <c:pt idx="49">
                  <c:v>0.83367633889997339</c:v>
                </c:pt>
                <c:pt idx="50">
                  <c:v>0.83821758329987961</c:v>
                </c:pt>
                <c:pt idx="51">
                  <c:v>0.84253721390344127</c:v>
                </c:pt>
                <c:pt idx="52">
                  <c:v>0.84682219297826333</c:v>
                </c:pt>
                <c:pt idx="53">
                  <c:v>0.85108299397676213</c:v>
                </c:pt>
                <c:pt idx="54">
                  <c:v>0.85519393546993994</c:v>
                </c:pt>
                <c:pt idx="55">
                  <c:v>0.85927523932117322</c:v>
                </c:pt>
                <c:pt idx="56">
                  <c:v>0.86311097413915183</c:v>
                </c:pt>
                <c:pt idx="57">
                  <c:v>0.86688175126820699</c:v>
                </c:pt>
                <c:pt idx="58">
                  <c:v>0.87062957593771106</c:v>
                </c:pt>
                <c:pt idx="59">
                  <c:v>0.87431433705330308</c:v>
                </c:pt>
                <c:pt idx="60">
                  <c:v>0.87797492009257194</c:v>
                </c:pt>
                <c:pt idx="61">
                  <c:v>0.88119606380917459</c:v>
                </c:pt>
                <c:pt idx="62">
                  <c:v>0.88427158196930544</c:v>
                </c:pt>
                <c:pt idx="63">
                  <c:v>0.88725105634238299</c:v>
                </c:pt>
                <c:pt idx="64">
                  <c:v>0.89023053071546054</c:v>
                </c:pt>
                <c:pt idx="65">
                  <c:v>0.89316176035559824</c:v>
                </c:pt>
                <c:pt idx="66">
                  <c:v>0.89602424403678949</c:v>
                </c:pt>
                <c:pt idx="67">
                  <c:v>0.89887926259764128</c:v>
                </c:pt>
                <c:pt idx="68">
                  <c:v>0.90158353029551963</c:v>
                </c:pt>
                <c:pt idx="69">
                  <c:v>0.9041969909325529</c:v>
                </c:pt>
                <c:pt idx="70">
                  <c:v>0.90673357197206084</c:v>
                </c:pt>
                <c:pt idx="71">
                  <c:v>0.90920954069120108</c:v>
                </c:pt>
                <c:pt idx="72">
                  <c:v>0.91162255727613584</c:v>
                </c:pt>
                <c:pt idx="73">
                  <c:v>0.91390498996498415</c:v>
                </c:pt>
                <c:pt idx="74">
                  <c:v>0.91617683778170944</c:v>
                </c:pt>
                <c:pt idx="75">
                  <c:v>0.91840300351874582</c:v>
                </c:pt>
                <c:pt idx="76">
                  <c:v>0.92055039552324536</c:v>
                </c:pt>
                <c:pt idx="77">
                  <c:v>0.92263516965265913</c:v>
                </c:pt>
                <c:pt idx="78">
                  <c:v>0.92464974936694111</c:v>
                </c:pt>
                <c:pt idx="79">
                  <c:v>0.92656884239270254</c:v>
                </c:pt>
                <c:pt idx="80">
                  <c:v>0.92839868823351079</c:v>
                </c:pt>
                <c:pt idx="81">
                  <c:v>0.93020246186298439</c:v>
                </c:pt>
                <c:pt idx="82">
                  <c:v>0.93199955031006443</c:v>
                </c:pt>
                <c:pt idx="83">
                  <c:v>0.93375318507158667</c:v>
                </c:pt>
                <c:pt idx="84">
                  <c:v>0.9355068198331089</c:v>
                </c:pt>
                <c:pt idx="85">
                  <c:v>0.93723961910950471</c:v>
                </c:pt>
                <c:pt idx="86">
                  <c:v>0.93894244648483638</c:v>
                </c:pt>
                <c:pt idx="87">
                  <c:v>0.9406248840538679</c:v>
                </c:pt>
                <c:pt idx="88">
                  <c:v>0.94227367287151875</c:v>
                </c:pt>
                <c:pt idx="89">
                  <c:v>0.94388335337216756</c:v>
                </c:pt>
                <c:pt idx="90">
                  <c:v>0.9454612792564473</c:v>
                </c:pt>
                <c:pt idx="91">
                  <c:v>0.94702884310801705</c:v>
                </c:pt>
                <c:pt idx="92">
                  <c:v>0.94853044649330431</c:v>
                </c:pt>
                <c:pt idx="93">
                  <c:v>0.95002202210500131</c:v>
                </c:pt>
                <c:pt idx="94">
                  <c:v>0.95146234465168145</c:v>
                </c:pt>
                <c:pt idx="95">
                  <c:v>0.9528587678339776</c:v>
                </c:pt>
                <c:pt idx="96">
                  <c:v>0.95423491262968008</c:v>
                </c:pt>
                <c:pt idx="97">
                  <c:v>0.9555399716525983</c:v>
                </c:pt>
                <c:pt idx="98">
                  <c:v>0.95682107543860651</c:v>
                </c:pt>
                <c:pt idx="99">
                  <c:v>0.95807332152061608</c:v>
                </c:pt>
                <c:pt idx="100">
                  <c:v>0.95930852038752223</c:v>
                </c:pt>
                <c:pt idx="101">
                  <c:v>0.96054316215589564</c:v>
                </c:pt>
                <c:pt idx="102">
                  <c:v>0.96177780392426904</c:v>
                </c:pt>
                <c:pt idx="103">
                  <c:v>0.9628883241395364</c:v>
                </c:pt>
                <c:pt idx="104">
                  <c:v>0.96396764683696734</c:v>
                </c:pt>
                <c:pt idx="105">
                  <c:v>0.96503616182286212</c:v>
                </c:pt>
                <c:pt idx="106">
                  <c:v>0.96609832588548306</c:v>
                </c:pt>
                <c:pt idx="107">
                  <c:v>0.96715603315984167</c:v>
                </c:pt>
                <c:pt idx="108">
                  <c:v>0.96820059290882643</c:v>
                </c:pt>
                <c:pt idx="109">
                  <c:v>0.96917105855294983</c:v>
                </c:pt>
                <c:pt idx="110">
                  <c:v>0.9701381816058765</c:v>
                </c:pt>
                <c:pt idx="111">
                  <c:v>0.97102474821096152</c:v>
                </c:pt>
                <c:pt idx="112">
                  <c:v>0.97187410063405599</c:v>
                </c:pt>
                <c:pt idx="113">
                  <c:v>0.97268668455398621</c:v>
                </c:pt>
                <c:pt idx="114">
                  <c:v>0.97349202619299013</c:v>
                </c:pt>
                <c:pt idx="115">
                  <c:v>0.97429068264960061</c:v>
                </c:pt>
                <c:pt idx="116">
                  <c:v>0.97504722245713193</c:v>
                </c:pt>
                <c:pt idx="117">
                  <c:v>0.97579819127933543</c:v>
                </c:pt>
                <c:pt idx="118">
                  <c:v>0.97653222430614195</c:v>
                </c:pt>
                <c:pt idx="119">
                  <c:v>0.97726380609940422</c:v>
                </c:pt>
                <c:pt idx="120">
                  <c:v>0.97798246320670579</c:v>
                </c:pt>
                <c:pt idx="121">
                  <c:v>0.97864997866869696</c:v>
                </c:pt>
                <c:pt idx="122">
                  <c:v>0.97926612964596482</c:v>
                </c:pt>
                <c:pt idx="123">
                  <c:v>0.97986601334607515</c:v>
                </c:pt>
                <c:pt idx="124">
                  <c:v>0.98046210877616247</c:v>
                </c:pt>
                <c:pt idx="125">
                  <c:v>0.98103781439994964</c:v>
                </c:pt>
                <c:pt idx="126">
                  <c:v>0.98158622219562996</c:v>
                </c:pt>
                <c:pt idx="127">
                  <c:v>0.9821338500533644</c:v>
                </c:pt>
                <c:pt idx="128">
                  <c:v>0.98267479272870528</c:v>
                </c:pt>
                <c:pt idx="129">
                  <c:v>0.98321428694786095</c:v>
                </c:pt>
                <c:pt idx="130">
                  <c:v>0.98372269506888677</c:v>
                </c:pt>
                <c:pt idx="131">
                  <c:v>0.98422976615343394</c:v>
                </c:pt>
                <c:pt idx="132">
                  <c:v>0.9847330489679581</c:v>
                </c:pt>
                <c:pt idx="133">
                  <c:v>0.98519165248015239</c:v>
                </c:pt>
                <c:pt idx="134">
                  <c:v>0.98563142606193832</c:v>
                </c:pt>
                <c:pt idx="135">
                  <c:v>0.98604579595062891</c:v>
                </c:pt>
                <c:pt idx="136">
                  <c:v>0.98642919116089633</c:v>
                </c:pt>
                <c:pt idx="137">
                  <c:v>0.98681002371791282</c:v>
                </c:pt>
                <c:pt idx="138">
                  <c:v>0.98718929639903752</c:v>
                </c:pt>
                <c:pt idx="139">
                  <c:v>0.98753937711704398</c:v>
                </c:pt>
                <c:pt idx="140">
                  <c:v>0.98788544672561429</c:v>
                </c:pt>
                <c:pt idx="141">
                  <c:v>0.98822527683061734</c:v>
                </c:pt>
                <c:pt idx="142">
                  <c:v>0.98855741897586791</c:v>
                </c:pt>
                <c:pt idx="143">
                  <c:v>0.98888800124522658</c:v>
                </c:pt>
                <c:pt idx="144">
                  <c:v>0.98921646654016071</c:v>
                </c:pt>
                <c:pt idx="145">
                  <c:v>0.98954058646653897</c:v>
                </c:pt>
                <c:pt idx="146">
                  <c:v>0.98986292367761231</c:v>
                </c:pt>
                <c:pt idx="147">
                  <c:v>0.99018024700189056</c:v>
                </c:pt>
                <c:pt idx="148">
                  <c:v>0.99049433915467866</c:v>
                </c:pt>
                <c:pt idx="149">
                  <c:v>0.99080052050830103</c:v>
                </c:pt>
                <c:pt idx="150">
                  <c:v>0.99110525340573818</c:v>
                </c:pt>
                <c:pt idx="151">
                  <c:v>0.99140552951491301</c:v>
                </c:pt>
                <c:pt idx="152">
                  <c:v>0.99167538804419741</c:v>
                </c:pt>
                <c:pt idx="153">
                  <c:v>0.99194168114287196</c:v>
                </c:pt>
                <c:pt idx="154">
                  <c:v>0.99220329461387102</c:v>
                </c:pt>
                <c:pt idx="155">
                  <c:v>0.9924606741360209</c:v>
                </c:pt>
                <c:pt idx="156">
                  <c:v>0.99271794223846421</c:v>
                </c:pt>
                <c:pt idx="157">
                  <c:v>0.99297420756354848</c:v>
                </c:pt>
                <c:pt idx="158">
                  <c:v>0.99322757597626221</c:v>
                </c:pt>
                <c:pt idx="159">
                  <c:v>0.99347871599484483</c:v>
                </c:pt>
                <c:pt idx="160">
                  <c:v>0.9937277390390028</c:v>
                </c:pt>
                <c:pt idx="161">
                  <c:v>0.99397631640433448</c:v>
                </c:pt>
                <c:pt idx="162">
                  <c:v>0.99421798574785958</c:v>
                </c:pt>
                <c:pt idx="163">
                  <c:v>0.9944595436716781</c:v>
                </c:pt>
                <c:pt idx="164">
                  <c:v>0.99469508493134251</c:v>
                </c:pt>
                <c:pt idx="165">
                  <c:v>0.99492249255242815</c:v>
                </c:pt>
                <c:pt idx="166">
                  <c:v>0.99514967733410065</c:v>
                </c:pt>
                <c:pt idx="167">
                  <c:v>0.99537195964868463</c:v>
                </c:pt>
                <c:pt idx="168">
                  <c:v>0.99558354567143903</c:v>
                </c:pt>
                <c:pt idx="169">
                  <c:v>0.99578343262500479</c:v>
                </c:pt>
                <c:pt idx="170">
                  <c:v>0.99597061773202289</c:v>
                </c:pt>
                <c:pt idx="171">
                  <c:v>0.99614487815308017</c:v>
                </c:pt>
                <c:pt idx="172">
                  <c:v>0.99630899938084061</c:v>
                </c:pt>
                <c:pt idx="173">
                  <c:v>0.99647055795535022</c:v>
                </c:pt>
                <c:pt idx="174">
                  <c:v>0.99662654554453189</c:v>
                </c:pt>
                <c:pt idx="175">
                  <c:v>0.99677083406452494</c:v>
                </c:pt>
                <c:pt idx="176">
                  <c:v>0.99691434264657208</c:v>
                </c:pt>
                <c:pt idx="177">
                  <c:v>0.99704826913385525</c:v>
                </c:pt>
                <c:pt idx="178">
                  <c:v>0.99717818451170226</c:v>
                </c:pt>
                <c:pt idx="179">
                  <c:v>0.99730074618891651</c:v>
                </c:pt>
                <c:pt idx="180">
                  <c:v>0.99742308502671762</c:v>
                </c:pt>
                <c:pt idx="181">
                  <c:v>0.99753249917855791</c:v>
                </c:pt>
                <c:pt idx="182">
                  <c:v>0.99763344543269983</c:v>
                </c:pt>
                <c:pt idx="183">
                  <c:v>0.99772703798620888</c:v>
                </c:pt>
                <c:pt idx="184">
                  <c:v>0.99781717652881463</c:v>
                </c:pt>
                <c:pt idx="185">
                  <c:v>0.99790285828315806</c:v>
                </c:pt>
                <c:pt idx="186">
                  <c:v>0.99798597738425066</c:v>
                </c:pt>
                <c:pt idx="187">
                  <c:v>0.99806397117884149</c:v>
                </c:pt>
                <c:pt idx="188">
                  <c:v>0.99814029367783397</c:v>
                </c:pt>
                <c:pt idx="189">
                  <c:v>0.99821628191770673</c:v>
                </c:pt>
                <c:pt idx="190">
                  <c:v>0.99828647633283851</c:v>
                </c:pt>
                <c:pt idx="191">
                  <c:v>0.99835555655090469</c:v>
                </c:pt>
                <c:pt idx="192">
                  <c:v>0.99842240837483975</c:v>
                </c:pt>
                <c:pt idx="193">
                  <c:v>0.99848747748346989</c:v>
                </c:pt>
                <c:pt idx="194">
                  <c:v>0.99855254659210002</c:v>
                </c:pt>
                <c:pt idx="195">
                  <c:v>0.99861683576278415</c:v>
                </c:pt>
                <c:pt idx="196">
                  <c:v>0.99867923079845689</c:v>
                </c:pt>
                <c:pt idx="197">
                  <c:v>0.99874151441442305</c:v>
                </c:pt>
                <c:pt idx="198">
                  <c:v>0.99880101253772524</c:v>
                </c:pt>
                <c:pt idx="199">
                  <c:v>0.99885661097129785</c:v>
                </c:pt>
                <c:pt idx="200">
                  <c:v>0.99890719551807539</c:v>
                </c:pt>
                <c:pt idx="201">
                  <c:v>0.99895700012690702</c:v>
                </c:pt>
                <c:pt idx="202">
                  <c:v>0.99900535627955334</c:v>
                </c:pt>
                <c:pt idx="203">
                  <c:v>0.9990531553336669</c:v>
                </c:pt>
                <c:pt idx="204">
                  <c:v>0.99910084296807389</c:v>
                </c:pt>
                <c:pt idx="205">
                  <c:v>0.99914641362805623</c:v>
                </c:pt>
                <c:pt idx="206">
                  <c:v>0.999191872868332</c:v>
                </c:pt>
                <c:pt idx="207">
                  <c:v>0.99923588365242255</c:v>
                </c:pt>
                <c:pt idx="208">
                  <c:v>0.99927488054971803</c:v>
                </c:pt>
                <c:pt idx="209">
                  <c:v>0.99931287466965446</c:v>
                </c:pt>
                <c:pt idx="210">
                  <c:v>0.99935075736988432</c:v>
                </c:pt>
                <c:pt idx="211">
                  <c:v>0.99938852865040761</c:v>
                </c:pt>
                <c:pt idx="212">
                  <c:v>0.99942474005503912</c:v>
                </c:pt>
                <c:pt idx="213">
                  <c:v>0.99945883448524597</c:v>
                </c:pt>
                <c:pt idx="214">
                  <c:v>0.99949226039721351</c:v>
                </c:pt>
                <c:pt idx="215">
                  <c:v>0.99952234371798432</c:v>
                </c:pt>
                <c:pt idx="216">
                  <c:v>0.99954964154609116</c:v>
                </c:pt>
                <c:pt idx="217">
                  <c:v>0.99957638227566514</c:v>
                </c:pt>
                <c:pt idx="218">
                  <c:v>0.99960312300523912</c:v>
                </c:pt>
                <c:pt idx="219">
                  <c:v>0.99962930663628036</c:v>
                </c:pt>
                <c:pt idx="220">
                  <c:v>0.99965549026732159</c:v>
                </c:pt>
                <c:pt idx="221">
                  <c:v>0.99967966834364475</c:v>
                </c:pt>
                <c:pt idx="222">
                  <c:v>0.99970083808789079</c:v>
                </c:pt>
                <c:pt idx="223">
                  <c:v>0.99972156215331065</c:v>
                </c:pt>
                <c:pt idx="224">
                  <c:v>0.99974150628078462</c:v>
                </c:pt>
                <c:pt idx="225">
                  <c:v>0.99976078189001927</c:v>
                </c:pt>
                <c:pt idx="226">
                  <c:v>0.99977994607954734</c:v>
                </c:pt>
                <c:pt idx="227">
                  <c:v>0.99979899884936885</c:v>
                </c:pt>
                <c:pt idx="228">
                  <c:v>0.99981738310095103</c:v>
                </c:pt>
                <c:pt idx="229">
                  <c:v>0.99983543309341349</c:v>
                </c:pt>
                <c:pt idx="230">
                  <c:v>0.99985259172822349</c:v>
                </c:pt>
                <c:pt idx="231">
                  <c:v>0.99986930468420721</c:v>
                </c:pt>
                <c:pt idx="232">
                  <c:v>0.99988523770224502</c:v>
                </c:pt>
                <c:pt idx="233">
                  <c:v>0.99990027936263037</c:v>
                </c:pt>
                <c:pt idx="234">
                  <c:v>0.99991487534418955</c:v>
                </c:pt>
                <c:pt idx="235">
                  <c:v>0.9999288028075094</c:v>
                </c:pt>
                <c:pt idx="236">
                  <c:v>0.99993994477816528</c:v>
                </c:pt>
                <c:pt idx="237">
                  <c:v>0.99994974971234241</c:v>
                </c:pt>
                <c:pt idx="238">
                  <c:v>0.99995866328886707</c:v>
                </c:pt>
                <c:pt idx="239">
                  <c:v>0.99996646266832612</c:v>
                </c:pt>
                <c:pt idx="240">
                  <c:v>0.99997370494925242</c:v>
                </c:pt>
                <c:pt idx="241">
                  <c:v>0.99998005587252625</c:v>
                </c:pt>
                <c:pt idx="242">
                  <c:v>0.99998562685785419</c:v>
                </c:pt>
                <c:pt idx="243">
                  <c:v>0.9999901950658231</c:v>
                </c:pt>
                <c:pt idx="244">
                  <c:v>0.99999442901467228</c:v>
                </c:pt>
                <c:pt idx="245">
                  <c:v>0.99999766018616243</c:v>
                </c:pt>
                <c:pt idx="246">
                  <c:v>1.0000000000000002</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300</c:f>
              <c:strCache>
                <c:ptCount val="299"/>
                <c:pt idx="0">
                  <c:v>Ruinart</c:v>
                </c:pt>
                <c:pt idx="1">
                  <c:v>Nicolas</c:v>
                </c:pt>
                <c:pt idx="2">
                  <c:v>Deutz</c:v>
                </c:pt>
                <c:pt idx="3">
                  <c:v>Ruinart</c:v>
                </c:pt>
                <c:pt idx="4">
                  <c:v>Heidsieck &amp;</c:v>
                </c:pt>
                <c:pt idx="5">
                  <c:v>Malard</c:v>
                </c:pt>
                <c:pt idx="6">
                  <c:v>Ayala</c:v>
                </c:pt>
                <c:pt idx="7">
                  <c:v>Laurent Per</c:v>
                </c:pt>
                <c:pt idx="8">
                  <c:v>De Bligny</c:v>
                </c:pt>
                <c:pt idx="9">
                  <c:v>Nicolas Feu</c:v>
                </c:pt>
                <c:pt idx="10">
                  <c:v>Canard Duch</c:v>
                </c:pt>
                <c:pt idx="11">
                  <c:v>Ruinart</c:v>
                </c:pt>
                <c:pt idx="12">
                  <c:v>Ruinart</c:v>
                </c:pt>
                <c:pt idx="13">
                  <c:v>Taittinger</c:v>
                </c:pt>
                <c:pt idx="14">
                  <c:v>Bollinger</c:v>
                </c:pt>
                <c:pt idx="15">
                  <c:v>Besserat De</c:v>
                </c:pt>
                <c:pt idx="16">
                  <c:v>Demoiselle</c:v>
                </c:pt>
                <c:pt idx="17">
                  <c:v>Ruinart</c:v>
                </c:pt>
                <c:pt idx="18">
                  <c:v>Deutz</c:v>
                </c:pt>
                <c:pt idx="19">
                  <c:v>Perrier Jou</c:v>
                </c:pt>
                <c:pt idx="20">
                  <c:v>Ruinart</c:v>
                </c:pt>
                <c:pt idx="21">
                  <c:v>All Others</c:v>
                </c:pt>
                <c:pt idx="22">
                  <c:v>Campari: Al</c:v>
                </c:pt>
                <c:pt idx="23">
                  <c:v>Laurent Per</c:v>
                </c:pt>
                <c:pt idx="24">
                  <c:v>Deutz</c:v>
                </c:pt>
                <c:pt idx="25">
                  <c:v>Savian</c:v>
                </c:pt>
                <c:pt idx="26">
                  <c:v>Pommery</c:v>
                </c:pt>
                <c:pt idx="27">
                  <c:v>Vesselle</c:v>
                </c:pt>
                <c:pt idx="28">
                  <c:v>Dom Perigno</c:v>
                </c:pt>
                <c:pt idx="29">
                  <c:v>Malard</c:v>
                </c:pt>
                <c:pt idx="30">
                  <c:v>Demoiselle</c:v>
                </c:pt>
                <c:pt idx="31">
                  <c:v>Roederer</c:v>
                </c:pt>
                <c:pt idx="32">
                  <c:v>Veuve Clicq</c:v>
                </c:pt>
                <c:pt idx="33">
                  <c:v>Ruinart</c:v>
                </c:pt>
                <c:pt idx="34">
                  <c:v>Moët &amp; Chan</c:v>
                </c:pt>
                <c:pt idx="35">
                  <c:v>Dom Perigno</c:v>
                </c:pt>
                <c:pt idx="36">
                  <c:v>Taittinger</c:v>
                </c:pt>
                <c:pt idx="37">
                  <c:v>Nicolas</c:v>
                </c:pt>
                <c:pt idx="38">
                  <c:v>Laurent Per</c:v>
                </c:pt>
                <c:pt idx="39">
                  <c:v>All Others</c:v>
                </c:pt>
                <c:pt idx="40">
                  <c:v>Veuve Clicq</c:v>
                </c:pt>
                <c:pt idx="41">
                  <c:v>Henriot</c:v>
                </c:pt>
                <c:pt idx="42">
                  <c:v>Ruinart</c:v>
                </c:pt>
                <c:pt idx="43">
                  <c:v>Roederer</c:v>
                </c:pt>
                <c:pt idx="44">
                  <c:v>All Others</c:v>
                </c:pt>
                <c:pt idx="45">
                  <c:v>Veuve Clicq</c:v>
                </c:pt>
                <c:pt idx="46">
                  <c:v>Besserat De</c:v>
                </c:pt>
                <c:pt idx="47">
                  <c:v>Malard</c:v>
                </c:pt>
                <c:pt idx="48">
                  <c:v>De Venoge</c:v>
                </c:pt>
                <c:pt idx="49">
                  <c:v>Nicolas</c:v>
                </c:pt>
                <c:pt idx="50">
                  <c:v>Nicolas</c:v>
                </c:pt>
                <c:pt idx="51">
                  <c:v>Piper Heids</c:v>
                </c:pt>
                <c:pt idx="52">
                  <c:v>Ruinart</c:v>
                </c:pt>
                <c:pt idx="53">
                  <c:v>Deutz</c:v>
                </c:pt>
                <c:pt idx="54">
                  <c:v>Louis Marti</c:v>
                </c:pt>
                <c:pt idx="55">
                  <c:v>Nicolas Feu</c:v>
                </c:pt>
                <c:pt idx="56">
                  <c:v>Nicolas Feu</c:v>
                </c:pt>
                <c:pt idx="57">
                  <c:v>Moët &amp; Chan</c:v>
                </c:pt>
                <c:pt idx="58">
                  <c:v>Moët &amp; Chan</c:v>
                </c:pt>
                <c:pt idx="59">
                  <c:v>Lanson</c:v>
                </c:pt>
                <c:pt idx="60">
                  <c:v>Campari: Al</c:v>
                </c:pt>
                <c:pt idx="61">
                  <c:v>Nicolas Feu</c:v>
                </c:pt>
                <c:pt idx="62">
                  <c:v>Canard Duch</c:v>
                </c:pt>
                <c:pt idx="63">
                  <c:v>Malard</c:v>
                </c:pt>
                <c:pt idx="64">
                  <c:v>Roederer</c:v>
                </c:pt>
                <c:pt idx="65">
                  <c:v>De Bligny</c:v>
                </c:pt>
                <c:pt idx="66">
                  <c:v>Henriot</c:v>
                </c:pt>
                <c:pt idx="67">
                  <c:v>Malard</c:v>
                </c:pt>
                <c:pt idx="68">
                  <c:v>Henriot</c:v>
                </c:pt>
                <c:pt idx="69">
                  <c:v>Bollinger</c:v>
                </c:pt>
                <c:pt idx="70">
                  <c:v>Besserat De</c:v>
                </c:pt>
                <c:pt idx="71">
                  <c:v>Laurent Per</c:v>
                </c:pt>
                <c:pt idx="72">
                  <c:v>Ruinart</c:v>
                </c:pt>
                <c:pt idx="73">
                  <c:v>Pommery</c:v>
                </c:pt>
                <c:pt idx="74">
                  <c:v>Delamotte</c:v>
                </c:pt>
                <c:pt idx="75">
                  <c:v>Krug</c:v>
                </c:pt>
                <c:pt idx="76">
                  <c:v>Ayala</c:v>
                </c:pt>
                <c:pt idx="77">
                  <c:v>Roederer</c:v>
                </c:pt>
                <c:pt idx="78">
                  <c:v>Ruinart</c:v>
                </c:pt>
                <c:pt idx="79">
                  <c:v>Canard Duch</c:v>
                </c:pt>
                <c:pt idx="80">
                  <c:v>Roederer</c:v>
                </c:pt>
                <c:pt idx="81">
                  <c:v>De Venoge</c:v>
                </c:pt>
                <c:pt idx="82">
                  <c:v>Ruinart</c:v>
                </c:pt>
                <c:pt idx="83">
                  <c:v>Roederer</c:v>
                </c:pt>
                <c:pt idx="84">
                  <c:v>Henriot</c:v>
                </c:pt>
                <c:pt idx="85">
                  <c:v>Deutz</c:v>
                </c:pt>
                <c:pt idx="86">
                  <c:v>Vranken</c:v>
                </c:pt>
                <c:pt idx="87">
                  <c:v>Perrier Jou</c:v>
                </c:pt>
                <c:pt idx="88">
                  <c:v>Vranken</c:v>
                </c:pt>
                <c:pt idx="89">
                  <c:v>Malard</c:v>
                </c:pt>
                <c:pt idx="90">
                  <c:v>Nicolas</c:v>
                </c:pt>
                <c:pt idx="91">
                  <c:v>Ruinart</c:v>
                </c:pt>
                <c:pt idx="92">
                  <c:v>Nicolas</c:v>
                </c:pt>
                <c:pt idx="93">
                  <c:v>Bollinger</c:v>
                </c:pt>
                <c:pt idx="94">
                  <c:v>De Venoge</c:v>
                </c:pt>
                <c:pt idx="95">
                  <c:v>Ruinart</c:v>
                </c:pt>
                <c:pt idx="96">
                  <c:v>Roederer</c:v>
                </c:pt>
                <c:pt idx="97">
                  <c:v>Roederer</c:v>
                </c:pt>
                <c:pt idx="98">
                  <c:v>Deutz</c:v>
                </c:pt>
                <c:pt idx="99">
                  <c:v>Canard Duch</c:v>
                </c:pt>
                <c:pt idx="100">
                  <c:v>All Others</c:v>
                </c:pt>
                <c:pt idx="101">
                  <c:v>De Venoge</c:v>
                </c:pt>
                <c:pt idx="102">
                  <c:v>Dom Perigno</c:v>
                </c:pt>
                <c:pt idx="103">
                  <c:v>Nicolas</c:v>
                </c:pt>
                <c:pt idx="104">
                  <c:v>Nicolas</c:v>
                </c:pt>
                <c:pt idx="105">
                  <c:v>Moët &amp; Chan</c:v>
                </c:pt>
                <c:pt idx="106">
                  <c:v>Canard Duch</c:v>
                </c:pt>
                <c:pt idx="107">
                  <c:v>All Others</c:v>
                </c:pt>
                <c:pt idx="108">
                  <c:v>Nicolas</c:v>
                </c:pt>
                <c:pt idx="109">
                  <c:v>Roederer</c:v>
                </c:pt>
                <c:pt idx="110">
                  <c:v>Nicolas</c:v>
                </c:pt>
                <c:pt idx="111">
                  <c:v>All Others</c:v>
                </c:pt>
                <c:pt idx="112">
                  <c:v>Ruinart</c:v>
                </c:pt>
                <c:pt idx="113">
                  <c:v>Veuve Clicq</c:v>
                </c:pt>
                <c:pt idx="114">
                  <c:v>All Others</c:v>
                </c:pt>
                <c:pt idx="115">
                  <c:v>Nicolas</c:v>
                </c:pt>
                <c:pt idx="116">
                  <c:v>Nicolas Feu</c:v>
                </c:pt>
                <c:pt idx="117">
                  <c:v>Roederer</c:v>
                </c:pt>
                <c:pt idx="118">
                  <c:v>Demoiselle</c:v>
                </c:pt>
                <c:pt idx="119">
                  <c:v>All Others</c:v>
                </c:pt>
                <c:pt idx="120">
                  <c:v>Roederer</c:v>
                </c:pt>
                <c:pt idx="121">
                  <c:v>Nicolas</c:v>
                </c:pt>
                <c:pt idx="122">
                  <c:v>Laurent Per</c:v>
                </c:pt>
                <c:pt idx="123">
                  <c:v>Besserat De</c:v>
                </c:pt>
                <c:pt idx="124">
                  <c:v>Bollinger</c:v>
                </c:pt>
                <c:pt idx="125">
                  <c:v>Nicolas</c:v>
                </c:pt>
                <c:pt idx="126">
                  <c:v>Laurent Per</c:v>
                </c:pt>
                <c:pt idx="127">
                  <c:v>All Others</c:v>
                </c:pt>
                <c:pt idx="128">
                  <c:v>Ruinart</c:v>
                </c:pt>
                <c:pt idx="129">
                  <c:v>Roederer</c:v>
                </c:pt>
                <c:pt idx="130">
                  <c:v>Dom Perigno</c:v>
                </c:pt>
                <c:pt idx="131">
                  <c:v>Moët &amp; Chan</c:v>
                </c:pt>
                <c:pt idx="132">
                  <c:v>Nicolas</c:v>
                </c:pt>
                <c:pt idx="133">
                  <c:v>Ruinart</c:v>
                </c:pt>
                <c:pt idx="134">
                  <c:v>Canard Duch</c:v>
                </c:pt>
                <c:pt idx="135">
                  <c:v>Laurent Per</c:v>
                </c:pt>
                <c:pt idx="136">
                  <c:v>Pommery</c:v>
                </c:pt>
                <c:pt idx="137">
                  <c:v>Pommery</c:v>
                </c:pt>
                <c:pt idx="138">
                  <c:v>Ruinart</c:v>
                </c:pt>
                <c:pt idx="139">
                  <c:v>Ruinart</c:v>
                </c:pt>
                <c:pt idx="140">
                  <c:v>Vesselle</c:v>
                </c:pt>
                <c:pt idx="141">
                  <c:v>Lanson-Bcc:</c:v>
                </c:pt>
                <c:pt idx="142">
                  <c:v>Piper Heids</c:v>
                </c:pt>
                <c:pt idx="143">
                  <c:v>Lanson</c:v>
                </c:pt>
                <c:pt idx="144">
                  <c:v>Pommery</c:v>
                </c:pt>
                <c:pt idx="145">
                  <c:v>Laurent Per</c:v>
                </c:pt>
                <c:pt idx="146">
                  <c:v>Taittinger</c:v>
                </c:pt>
                <c:pt idx="147">
                  <c:v>Nicolas</c:v>
                </c:pt>
                <c:pt idx="148">
                  <c:v>Nicolas</c:v>
                </c:pt>
                <c:pt idx="149">
                  <c:v>Perrier Jou</c:v>
                </c:pt>
                <c:pt idx="150">
                  <c:v>All Others</c:v>
                </c:pt>
                <c:pt idx="151">
                  <c:v>Demoiselle</c:v>
                </c:pt>
                <c:pt idx="152">
                  <c:v>Laurent Per</c:v>
                </c:pt>
                <c:pt idx="153">
                  <c:v>Ayala</c:v>
                </c:pt>
                <c:pt idx="154">
                  <c:v>Vranken</c:v>
                </c:pt>
                <c:pt idx="155">
                  <c:v>Piper Heids</c:v>
                </c:pt>
                <c:pt idx="156">
                  <c:v>Deutz</c:v>
                </c:pt>
                <c:pt idx="157">
                  <c:v>Delamotte</c:v>
                </c:pt>
                <c:pt idx="158">
                  <c:v>Dom Perigno</c:v>
                </c:pt>
                <c:pt idx="159">
                  <c:v>Louis Marti</c:v>
                </c:pt>
                <c:pt idx="160">
                  <c:v>Canard Duch</c:v>
                </c:pt>
                <c:pt idx="161">
                  <c:v>Roederer</c:v>
                </c:pt>
                <c:pt idx="162">
                  <c:v>Deutz</c:v>
                </c:pt>
                <c:pt idx="163">
                  <c:v>Roederer</c:v>
                </c:pt>
                <c:pt idx="164">
                  <c:v>All Others</c:v>
                </c:pt>
                <c:pt idx="165">
                  <c:v>Vesselle</c:v>
                </c:pt>
                <c:pt idx="166">
                  <c:v>Nicolas</c:v>
                </c:pt>
                <c:pt idx="167">
                  <c:v>Pommery</c:v>
                </c:pt>
                <c:pt idx="168">
                  <c:v>Malard</c:v>
                </c:pt>
                <c:pt idx="169">
                  <c:v>Pommery</c:v>
                </c:pt>
                <c:pt idx="170">
                  <c:v>All Others</c:v>
                </c:pt>
                <c:pt idx="171">
                  <c:v>Deutz</c:v>
                </c:pt>
                <c:pt idx="172">
                  <c:v>Nicolas</c:v>
                </c:pt>
                <c:pt idx="173">
                  <c:v>Taittinger</c:v>
                </c:pt>
                <c:pt idx="174">
                  <c:v>Piper Heids</c:v>
                </c:pt>
                <c:pt idx="175">
                  <c:v>Nicolas</c:v>
                </c:pt>
                <c:pt idx="176">
                  <c:v>Bollinger</c:v>
                </c:pt>
                <c:pt idx="177">
                  <c:v>Krug</c:v>
                </c:pt>
                <c:pt idx="178">
                  <c:v>All Others</c:v>
                </c:pt>
                <c:pt idx="179">
                  <c:v>Besserat De</c:v>
                </c:pt>
                <c:pt idx="180">
                  <c:v>Ruinart</c:v>
                </c:pt>
                <c:pt idx="181">
                  <c:v>All Others</c:v>
                </c:pt>
                <c:pt idx="182">
                  <c:v>Taittinger</c:v>
                </c:pt>
                <c:pt idx="183">
                  <c:v>Henriot</c:v>
                </c:pt>
                <c:pt idx="184">
                  <c:v>Roederer</c:v>
                </c:pt>
                <c:pt idx="185">
                  <c:v>Ruinart</c:v>
                </c:pt>
                <c:pt idx="186">
                  <c:v>Roederer</c:v>
                </c:pt>
                <c:pt idx="187">
                  <c:v>Canard Duch</c:v>
                </c:pt>
                <c:pt idx="188">
                  <c:v>Ruinart</c:v>
                </c:pt>
                <c:pt idx="189">
                  <c:v>All Others</c:v>
                </c:pt>
                <c:pt idx="190">
                  <c:v>De Venoge</c:v>
                </c:pt>
                <c:pt idx="191">
                  <c:v>Veuve Clicq</c:v>
                </c:pt>
                <c:pt idx="192">
                  <c:v>All Others</c:v>
                </c:pt>
                <c:pt idx="193">
                  <c:v>Deutz</c:v>
                </c:pt>
                <c:pt idx="194">
                  <c:v>De Venoge</c:v>
                </c:pt>
                <c:pt idx="195">
                  <c:v>De Venoge</c:v>
                </c:pt>
                <c:pt idx="196">
                  <c:v>Nicolas</c:v>
                </c:pt>
                <c:pt idx="197">
                  <c:v>Bollinger</c:v>
                </c:pt>
                <c:pt idx="198">
                  <c:v>Moët &amp; Chan</c:v>
                </c:pt>
                <c:pt idx="199">
                  <c:v>All Others</c:v>
                </c:pt>
                <c:pt idx="200">
                  <c:v>Nicolas</c:v>
                </c:pt>
                <c:pt idx="201">
                  <c:v>Ruinart</c:v>
                </c:pt>
                <c:pt idx="202">
                  <c:v>All Others</c:v>
                </c:pt>
                <c:pt idx="203">
                  <c:v>Piper Heids</c:v>
                </c:pt>
                <c:pt idx="204">
                  <c:v>Henriot</c:v>
                </c:pt>
                <c:pt idx="205">
                  <c:v>De Venoge</c:v>
                </c:pt>
                <c:pt idx="206">
                  <c:v>Pommery</c:v>
                </c:pt>
                <c:pt idx="207">
                  <c:v>Moët &amp; Chan</c:v>
                </c:pt>
                <c:pt idx="208">
                  <c:v>Dom Perigno</c:v>
                </c:pt>
                <c:pt idx="209">
                  <c:v>All Others</c:v>
                </c:pt>
                <c:pt idx="210">
                  <c:v>Lanson</c:v>
                </c:pt>
                <c:pt idx="211">
                  <c:v>Bollinger</c:v>
                </c:pt>
                <c:pt idx="212">
                  <c:v>Roederer</c:v>
                </c:pt>
                <c:pt idx="213">
                  <c:v>Nicolas Feu</c:v>
                </c:pt>
                <c:pt idx="214">
                  <c:v>All Others</c:v>
                </c:pt>
                <c:pt idx="215">
                  <c:v>Taittinger</c:v>
                </c:pt>
                <c:pt idx="216">
                  <c:v>Bollinger</c:v>
                </c:pt>
                <c:pt idx="217">
                  <c:v>Dom Perigno</c:v>
                </c:pt>
                <c:pt idx="218">
                  <c:v>Laurent Per</c:v>
                </c:pt>
                <c:pt idx="219">
                  <c:v>All Others</c:v>
                </c:pt>
                <c:pt idx="220">
                  <c:v>All Others</c:v>
                </c:pt>
                <c:pt idx="221">
                  <c:v>Laurent Per</c:v>
                </c:pt>
                <c:pt idx="222">
                  <c:v>All Others</c:v>
                </c:pt>
                <c:pt idx="223">
                  <c:v>Dom Perigno</c:v>
                </c:pt>
                <c:pt idx="224">
                  <c:v>Ruinart</c:v>
                </c:pt>
                <c:pt idx="225">
                  <c:v>Roederer</c:v>
                </c:pt>
                <c:pt idx="226">
                  <c:v>Dom Perigno</c:v>
                </c:pt>
                <c:pt idx="227">
                  <c:v>Moët &amp; Chan</c:v>
                </c:pt>
                <c:pt idx="228">
                  <c:v>Laurent Per</c:v>
                </c:pt>
                <c:pt idx="229">
                  <c:v>Laurent Per</c:v>
                </c:pt>
                <c:pt idx="230">
                  <c:v>Bollinger</c:v>
                </c:pt>
                <c:pt idx="231">
                  <c:v>Ruinart</c:v>
                </c:pt>
                <c:pt idx="232">
                  <c:v>Bollinger</c:v>
                </c:pt>
                <c:pt idx="233">
                  <c:v>Besserat De</c:v>
                </c:pt>
                <c:pt idx="234">
                  <c:v>Laurent Per</c:v>
                </c:pt>
                <c:pt idx="235">
                  <c:v>Martel</c:v>
                </c:pt>
                <c:pt idx="236">
                  <c:v>Roederer</c:v>
                </c:pt>
                <c:pt idx="237">
                  <c:v>Lanson</c:v>
                </c:pt>
                <c:pt idx="238">
                  <c:v>Perrier Jou</c:v>
                </c:pt>
                <c:pt idx="239">
                  <c:v>All Others</c:v>
                </c:pt>
                <c:pt idx="240">
                  <c:v>Veuve Clicq</c:v>
                </c:pt>
                <c:pt idx="241">
                  <c:v>De Venoge</c:v>
                </c:pt>
                <c:pt idx="242">
                  <c:v>Demoiselle</c:v>
                </c:pt>
                <c:pt idx="243">
                  <c:v>All Others</c:v>
                </c:pt>
                <c:pt idx="244">
                  <c:v>Bollinger</c:v>
                </c:pt>
                <c:pt idx="245">
                  <c:v>Besserat De</c:v>
                </c:pt>
                <c:pt idx="246">
                  <c:v>De Bligny</c:v>
                </c:pt>
                <c:pt idx="247">
                  <c:v>Ayala</c:v>
                </c:pt>
                <c:pt idx="248">
                  <c:v>All Others</c:v>
                </c:pt>
                <c:pt idx="249">
                  <c:v>All Others</c:v>
                </c:pt>
                <c:pt idx="250">
                  <c:v>Perrier Jou</c:v>
                </c:pt>
                <c:pt idx="251">
                  <c:v>Lanson</c:v>
                </c:pt>
                <c:pt idx="252">
                  <c:v>Besserat De</c:v>
                </c:pt>
                <c:pt idx="253">
                  <c:v>All Others</c:v>
                </c:pt>
                <c:pt idx="254">
                  <c:v>Veuve Clicq</c:v>
                </c:pt>
                <c:pt idx="255">
                  <c:v>Canard Duch</c:v>
                </c:pt>
                <c:pt idx="256">
                  <c:v>Ruinart</c:v>
                </c:pt>
                <c:pt idx="257">
                  <c:v>Bollinger</c:v>
                </c:pt>
                <c:pt idx="258">
                  <c:v>All Others</c:v>
                </c:pt>
                <c:pt idx="259">
                  <c:v>Roederer</c:v>
                </c:pt>
                <c:pt idx="260">
                  <c:v>Lanson</c:v>
                </c:pt>
                <c:pt idx="261">
                  <c:v>All Others</c:v>
                </c:pt>
                <c:pt idx="262">
                  <c:v>Perrier Jou</c:v>
                </c:pt>
                <c:pt idx="263">
                  <c:v>Malard</c:v>
                </c:pt>
                <c:pt idx="264">
                  <c:v>Roederer</c:v>
                </c:pt>
                <c:pt idx="265">
                  <c:v>All Others</c:v>
                </c:pt>
                <c:pt idx="266">
                  <c:v>Veuve Clicq</c:v>
                </c:pt>
                <c:pt idx="267">
                  <c:v>All Others</c:v>
                </c:pt>
                <c:pt idx="268">
                  <c:v>Pommery</c:v>
                </c:pt>
                <c:pt idx="269">
                  <c:v>All Others</c:v>
                </c:pt>
                <c:pt idx="270">
                  <c:v>Taittinger</c:v>
                </c:pt>
                <c:pt idx="271">
                  <c:v>Pommery</c:v>
                </c:pt>
                <c:pt idx="272">
                  <c:v>All Others</c:v>
                </c:pt>
                <c:pt idx="273">
                  <c:v>Roederer</c:v>
                </c:pt>
                <c:pt idx="274">
                  <c:v>Laurent Per</c:v>
                </c:pt>
                <c:pt idx="275">
                  <c:v>Pommery</c:v>
                </c:pt>
                <c:pt idx="276">
                  <c:v>De Venoge</c:v>
                </c:pt>
                <c:pt idx="277">
                  <c:v>Nicolas Feu</c:v>
                </c:pt>
                <c:pt idx="278">
                  <c:v>Laurent Per</c:v>
                </c:pt>
                <c:pt idx="279">
                  <c:v>Laurent Per</c:v>
                </c:pt>
                <c:pt idx="280">
                  <c:v>Demoiselle</c:v>
                </c:pt>
                <c:pt idx="281">
                  <c:v>Roederer</c:v>
                </c:pt>
                <c:pt idx="282">
                  <c:v>Besserat De</c:v>
                </c:pt>
                <c:pt idx="283">
                  <c:v>Ayala</c:v>
                </c:pt>
                <c:pt idx="284">
                  <c:v>Roederer</c:v>
                </c:pt>
                <c:pt idx="285">
                  <c:v>Deutz</c:v>
                </c:pt>
                <c:pt idx="286">
                  <c:v>Moët &amp; Chan</c:v>
                </c:pt>
                <c:pt idx="287">
                  <c:v>De Venoge</c:v>
                </c:pt>
                <c:pt idx="288">
                  <c:v>Henriot</c:v>
                </c:pt>
                <c:pt idx="289">
                  <c:v>Ayala</c:v>
                </c:pt>
                <c:pt idx="290">
                  <c:v>Ayala</c:v>
                </c:pt>
                <c:pt idx="291">
                  <c:v>Pommery</c:v>
                </c:pt>
                <c:pt idx="292">
                  <c:v>Perrier Jou</c:v>
                </c:pt>
                <c:pt idx="293">
                  <c:v>Nicolas</c:v>
                </c:pt>
                <c:pt idx="294">
                  <c:v>Malard</c:v>
                </c:pt>
                <c:pt idx="295">
                  <c:v>Demoiselle</c:v>
                </c:pt>
                <c:pt idx="296">
                  <c:v>All Others</c:v>
                </c:pt>
                <c:pt idx="297">
                  <c:v>Vesselle</c:v>
                </c:pt>
                <c:pt idx="298">
                  <c:v>Nicolas</c:v>
                </c:pt>
              </c:strCache>
            </c:strRef>
          </c:cat>
          <c:val>
            <c:numRef>
              <c:f>Sheet1!$B$2:$B$300</c:f>
              <c:numCache>
                <c:formatCode>General</c:formatCode>
                <c:ptCount val="299"/>
                <c:pt idx="0">
                  <c:v>1</c:v>
                </c:pt>
                <c:pt idx="1">
                  <c:v>1</c:v>
                </c:pt>
                <c:pt idx="2">
                  <c:v>1</c:v>
                </c:pt>
                <c:pt idx="3">
                  <c:v>0.82</c:v>
                </c:pt>
                <c:pt idx="4">
                  <c:v>0.94</c:v>
                </c:pt>
                <c:pt idx="5">
                  <c:v>0.97</c:v>
                </c:pt>
                <c:pt idx="6">
                  <c:v>0.97</c:v>
                </c:pt>
                <c:pt idx="7">
                  <c:v>0.98</c:v>
                </c:pt>
                <c:pt idx="8">
                  <c:v>0.98</c:v>
                </c:pt>
                <c:pt idx="9">
                  <c:v>0.95</c:v>
                </c:pt>
                <c:pt idx="10">
                  <c:v>0.97</c:v>
                </c:pt>
                <c:pt idx="11">
                  <c:v>0.66</c:v>
                </c:pt>
                <c:pt idx="12">
                  <c:v>0.66</c:v>
                </c:pt>
                <c:pt idx="13">
                  <c:v>0.92</c:v>
                </c:pt>
                <c:pt idx="14">
                  <c:v>0.92</c:v>
                </c:pt>
                <c:pt idx="15">
                  <c:v>0.84</c:v>
                </c:pt>
                <c:pt idx="16">
                  <c:v>0.93</c:v>
                </c:pt>
                <c:pt idx="17">
                  <c:v>0.52</c:v>
                </c:pt>
                <c:pt idx="18">
                  <c:v>0.67</c:v>
                </c:pt>
                <c:pt idx="19">
                  <c:v>0.83</c:v>
                </c:pt>
                <c:pt idx="20">
                  <c:v>0.64</c:v>
                </c:pt>
                <c:pt idx="21">
                  <c:v>0.78</c:v>
                </c:pt>
                <c:pt idx="22">
                  <c:v>0.66</c:v>
                </c:pt>
                <c:pt idx="23">
                  <c:v>0.69</c:v>
                </c:pt>
                <c:pt idx="24">
                  <c:v>0.69</c:v>
                </c:pt>
                <c:pt idx="25">
                  <c:v>0.71</c:v>
                </c:pt>
                <c:pt idx="26">
                  <c:v>0.68</c:v>
                </c:pt>
                <c:pt idx="27">
                  <c:v>0.74</c:v>
                </c:pt>
                <c:pt idx="28">
                  <c:v>0.26</c:v>
                </c:pt>
                <c:pt idx="29">
                  <c:v>0.67</c:v>
                </c:pt>
                <c:pt idx="30">
                  <c:v>0.88</c:v>
                </c:pt>
                <c:pt idx="31">
                  <c:v>0.53</c:v>
                </c:pt>
                <c:pt idx="32">
                  <c:v>0.62</c:v>
                </c:pt>
                <c:pt idx="33">
                  <c:v>0.32</c:v>
                </c:pt>
                <c:pt idx="34">
                  <c:v>0.64</c:v>
                </c:pt>
                <c:pt idx="35">
                  <c:v>0.31</c:v>
                </c:pt>
                <c:pt idx="36">
                  <c:v>0.45</c:v>
                </c:pt>
                <c:pt idx="37">
                  <c:v>0.51</c:v>
                </c:pt>
                <c:pt idx="38">
                  <c:v>0.5</c:v>
                </c:pt>
                <c:pt idx="39">
                  <c:v>0.62</c:v>
                </c:pt>
                <c:pt idx="40">
                  <c:v>0.42</c:v>
                </c:pt>
                <c:pt idx="41">
                  <c:v>0.62</c:v>
                </c:pt>
                <c:pt idx="42">
                  <c:v>0.47</c:v>
                </c:pt>
                <c:pt idx="43">
                  <c:v>0.49</c:v>
                </c:pt>
                <c:pt idx="44">
                  <c:v>0.49</c:v>
                </c:pt>
                <c:pt idx="45">
                  <c:v>0.56000000000000005</c:v>
                </c:pt>
                <c:pt idx="46">
                  <c:v>0.43</c:v>
                </c:pt>
                <c:pt idx="47">
                  <c:v>0.62</c:v>
                </c:pt>
                <c:pt idx="48">
                  <c:v>0.53</c:v>
                </c:pt>
                <c:pt idx="49">
                  <c:v>0.56000000000000005</c:v>
                </c:pt>
                <c:pt idx="50">
                  <c:v>0.77</c:v>
                </c:pt>
                <c:pt idx="51">
                  <c:v>0.56000000000000005</c:v>
                </c:pt>
                <c:pt idx="52">
                  <c:v>0.55000000000000004</c:v>
                </c:pt>
                <c:pt idx="53">
                  <c:v>0.72</c:v>
                </c:pt>
                <c:pt idx="54">
                  <c:v>0.43</c:v>
                </c:pt>
                <c:pt idx="55">
                  <c:v>0.46</c:v>
                </c:pt>
                <c:pt idx="56">
                  <c:v>0.54</c:v>
                </c:pt>
                <c:pt idx="57">
                  <c:v>0.5</c:v>
                </c:pt>
                <c:pt idx="58">
                  <c:v>0.52</c:v>
                </c:pt>
                <c:pt idx="59">
                  <c:v>0.53</c:v>
                </c:pt>
                <c:pt idx="60">
                  <c:v>0.41</c:v>
                </c:pt>
                <c:pt idx="61">
                  <c:v>0.38</c:v>
                </c:pt>
                <c:pt idx="62">
                  <c:v>0.78</c:v>
                </c:pt>
                <c:pt idx="63">
                  <c:v>0.44</c:v>
                </c:pt>
                <c:pt idx="64">
                  <c:v>0.12</c:v>
                </c:pt>
                <c:pt idx="65">
                  <c:v>0.56000000000000005</c:v>
                </c:pt>
                <c:pt idx="66">
                  <c:v>0.59</c:v>
                </c:pt>
                <c:pt idx="67">
                  <c:v>0.48</c:v>
                </c:pt>
                <c:pt idx="68">
                  <c:v>0.37</c:v>
                </c:pt>
                <c:pt idx="69">
                  <c:v>0.16</c:v>
                </c:pt>
                <c:pt idx="70">
                  <c:v>0.3</c:v>
                </c:pt>
                <c:pt idx="71">
                  <c:v>0.23</c:v>
                </c:pt>
                <c:pt idx="72">
                  <c:v>0.36</c:v>
                </c:pt>
                <c:pt idx="73">
                  <c:v>0.45</c:v>
                </c:pt>
                <c:pt idx="74">
                  <c:v>0.22</c:v>
                </c:pt>
                <c:pt idx="75">
                  <c:v>0.12</c:v>
                </c:pt>
                <c:pt idx="76">
                  <c:v>0.38</c:v>
                </c:pt>
                <c:pt idx="77">
                  <c:v>0.24</c:v>
                </c:pt>
                <c:pt idx="78">
                  <c:v>0.17</c:v>
                </c:pt>
                <c:pt idx="79">
                  <c:v>0.35</c:v>
                </c:pt>
                <c:pt idx="80">
                  <c:v>0.08</c:v>
                </c:pt>
                <c:pt idx="81">
                  <c:v>0.25</c:v>
                </c:pt>
                <c:pt idx="82">
                  <c:v>0.13</c:v>
                </c:pt>
                <c:pt idx="83">
                  <c:v>0.21</c:v>
                </c:pt>
                <c:pt idx="84">
                  <c:v>0.28000000000000003</c:v>
                </c:pt>
                <c:pt idx="85">
                  <c:v>0.09</c:v>
                </c:pt>
                <c:pt idx="86">
                  <c:v>0.24</c:v>
                </c:pt>
                <c:pt idx="87">
                  <c:v>0.11</c:v>
                </c:pt>
                <c:pt idx="88">
                  <c:v>0.2</c:v>
                </c:pt>
                <c:pt idx="89">
                  <c:v>0.42</c:v>
                </c:pt>
                <c:pt idx="90">
                  <c:v>0.36</c:v>
                </c:pt>
                <c:pt idx="91">
                  <c:v>0.26</c:v>
                </c:pt>
                <c:pt idx="92">
                  <c:v>0.17</c:v>
                </c:pt>
                <c:pt idx="93">
                  <c:v>0.2</c:v>
                </c:pt>
                <c:pt idx="94">
                  <c:v>0.4</c:v>
                </c:pt>
                <c:pt idx="95">
                  <c:v>0.22</c:v>
                </c:pt>
                <c:pt idx="96">
                  <c:v>0.17</c:v>
                </c:pt>
                <c:pt idx="97">
                  <c:v>0.13</c:v>
                </c:pt>
                <c:pt idx="98">
                  <c:v>0.44</c:v>
                </c:pt>
                <c:pt idx="99">
                  <c:v>0.22</c:v>
                </c:pt>
                <c:pt idx="100">
                  <c:v>0.03</c:v>
                </c:pt>
                <c:pt idx="101">
                  <c:v>0.15</c:v>
                </c:pt>
                <c:pt idx="102">
                  <c:v>7.0000000000000007E-2</c:v>
                </c:pt>
                <c:pt idx="103">
                  <c:v>0.32</c:v>
                </c:pt>
                <c:pt idx="104">
                  <c:v>0.25</c:v>
                </c:pt>
                <c:pt idx="105">
                  <c:v>0.21</c:v>
                </c:pt>
                <c:pt idx="106">
                  <c:v>0.17</c:v>
                </c:pt>
                <c:pt idx="107">
                  <c:v>0.03</c:v>
                </c:pt>
                <c:pt idx="108">
                  <c:v>0.18</c:v>
                </c:pt>
                <c:pt idx="109">
                  <c:v>0.26</c:v>
                </c:pt>
                <c:pt idx="110">
                  <c:v>0.13</c:v>
                </c:pt>
                <c:pt idx="111">
                  <c:v>0.03</c:v>
                </c:pt>
                <c:pt idx="112">
                  <c:v>0.05</c:v>
                </c:pt>
                <c:pt idx="113">
                  <c:v>0.16</c:v>
                </c:pt>
                <c:pt idx="114">
                  <c:v>0.19</c:v>
                </c:pt>
                <c:pt idx="115">
                  <c:v>0.23</c:v>
                </c:pt>
                <c:pt idx="116">
                  <c:v>0.16</c:v>
                </c:pt>
                <c:pt idx="117">
                  <c:v>0.04</c:v>
                </c:pt>
                <c:pt idx="118">
                  <c:v>0.21</c:v>
                </c:pt>
                <c:pt idx="119">
                  <c:v>0.13</c:v>
                </c:pt>
                <c:pt idx="120">
                  <c:v>0.19</c:v>
                </c:pt>
                <c:pt idx="121">
                  <c:v>0.17</c:v>
                </c:pt>
                <c:pt idx="122">
                  <c:v>0.1</c:v>
                </c:pt>
                <c:pt idx="123">
                  <c:v>0.23</c:v>
                </c:pt>
                <c:pt idx="124">
                  <c:v>0.05</c:v>
                </c:pt>
                <c:pt idx="125">
                  <c:v>0.06</c:v>
                </c:pt>
                <c:pt idx="126">
                  <c:v>0.06</c:v>
                </c:pt>
                <c:pt idx="127">
                  <c:v>0.03</c:v>
                </c:pt>
                <c:pt idx="128">
                  <c:v>0.12</c:v>
                </c:pt>
                <c:pt idx="129">
                  <c:v>0.15</c:v>
                </c:pt>
                <c:pt idx="130">
                  <c:v>0.04</c:v>
                </c:pt>
                <c:pt idx="131">
                  <c:v>0.1</c:v>
                </c:pt>
                <c:pt idx="132">
                  <c:v>0.28000000000000003</c:v>
                </c:pt>
                <c:pt idx="133">
                  <c:v>0.03</c:v>
                </c:pt>
                <c:pt idx="134">
                  <c:v>0.12</c:v>
                </c:pt>
                <c:pt idx="135">
                  <c:v>0.08</c:v>
                </c:pt>
                <c:pt idx="136">
                  <c:v>0.12</c:v>
                </c:pt>
                <c:pt idx="137">
                  <c:v>0.09</c:v>
                </c:pt>
                <c:pt idx="138">
                  <c:v>0.03</c:v>
                </c:pt>
                <c:pt idx="139">
                  <c:v>7.0000000000000007E-2</c:v>
                </c:pt>
                <c:pt idx="140">
                  <c:v>0.13</c:v>
                </c:pt>
                <c:pt idx="141">
                  <c:v>0.03</c:v>
                </c:pt>
                <c:pt idx="142">
                  <c:v>0.02</c:v>
                </c:pt>
                <c:pt idx="143">
                  <c:v>0.09</c:v>
                </c:pt>
                <c:pt idx="144">
                  <c:v>0.06</c:v>
                </c:pt>
                <c:pt idx="145">
                  <c:v>0.04</c:v>
                </c:pt>
                <c:pt idx="146">
                  <c:v>0.04</c:v>
                </c:pt>
                <c:pt idx="147">
                  <c:v>0.19</c:v>
                </c:pt>
                <c:pt idx="148">
                  <c:v>0.06</c:v>
                </c:pt>
                <c:pt idx="149">
                  <c:v>0.02</c:v>
                </c:pt>
                <c:pt idx="150">
                  <c:v>0.11</c:v>
                </c:pt>
                <c:pt idx="151">
                  <c:v>0.17</c:v>
                </c:pt>
                <c:pt idx="152">
                  <c:v>0.03</c:v>
                </c:pt>
                <c:pt idx="153">
                  <c:v>7.0000000000000007E-2</c:v>
                </c:pt>
                <c:pt idx="154">
                  <c:v>0.06</c:v>
                </c:pt>
                <c:pt idx="155">
                  <c:v>0.03</c:v>
                </c:pt>
                <c:pt idx="156">
                  <c:v>0.04</c:v>
                </c:pt>
                <c:pt idx="157">
                  <c:v>0.1</c:v>
                </c:pt>
                <c:pt idx="158">
                  <c:v>0.03</c:v>
                </c:pt>
                <c:pt idx="159">
                  <c:v>0.14000000000000001</c:v>
                </c:pt>
                <c:pt idx="160">
                  <c:v>0.08</c:v>
                </c:pt>
                <c:pt idx="161">
                  <c:v>0.05</c:v>
                </c:pt>
                <c:pt idx="162">
                  <c:v>0.03</c:v>
                </c:pt>
                <c:pt idx="163">
                  <c:v>0.05</c:v>
                </c:pt>
                <c:pt idx="164">
                  <c:v>0.03</c:v>
                </c:pt>
                <c:pt idx="165">
                  <c:v>7.0000000000000007E-2</c:v>
                </c:pt>
                <c:pt idx="166">
                  <c:v>0.09</c:v>
                </c:pt>
                <c:pt idx="167">
                  <c:v>0.08</c:v>
                </c:pt>
                <c:pt idx="168">
                  <c:v>7.0000000000000007E-2</c:v>
                </c:pt>
                <c:pt idx="169">
                  <c:v>0.1</c:v>
                </c:pt>
                <c:pt idx="170">
                  <c:v>0.03</c:v>
                </c:pt>
                <c:pt idx="171">
                  <c:v>0.03</c:v>
                </c:pt>
                <c:pt idx="172">
                  <c:v>0.16</c:v>
                </c:pt>
                <c:pt idx="173">
                  <c:v>0.03</c:v>
                </c:pt>
                <c:pt idx="174">
                  <c:v>0.06</c:v>
                </c:pt>
                <c:pt idx="175">
                  <c:v>0.06</c:v>
                </c:pt>
                <c:pt idx="176">
                  <c:v>0.03</c:v>
                </c:pt>
                <c:pt idx="177">
                  <c:v>0.02</c:v>
                </c:pt>
                <c:pt idx="178">
                  <c:v>0.03</c:v>
                </c:pt>
                <c:pt idx="179">
                  <c:v>7.0000000000000007E-2</c:v>
                </c:pt>
                <c:pt idx="180">
                  <c:v>0.02</c:v>
                </c:pt>
                <c:pt idx="181">
                  <c:v>0.02</c:v>
                </c:pt>
                <c:pt idx="182">
                  <c:v>0.01</c:v>
                </c:pt>
                <c:pt idx="183">
                  <c:v>0.04</c:v>
                </c:pt>
                <c:pt idx="184">
                  <c:v>0.03</c:v>
                </c:pt>
                <c:pt idx="185">
                  <c:v>0.02</c:v>
                </c:pt>
                <c:pt idx="186">
                  <c:v>0.02</c:v>
                </c:pt>
                <c:pt idx="187">
                  <c:v>0.09</c:v>
                </c:pt>
                <c:pt idx="188">
                  <c:v>0.03</c:v>
                </c:pt>
                <c:pt idx="189">
                  <c:v>0.03</c:v>
                </c:pt>
                <c:pt idx="190">
                  <c:v>0.02</c:v>
                </c:pt>
                <c:pt idx="191">
                  <c:v>0.01</c:v>
                </c:pt>
                <c:pt idx="192">
                  <c:v>0.03</c:v>
                </c:pt>
                <c:pt idx="193">
                  <c:v>0.04</c:v>
                </c:pt>
                <c:pt idx="194">
                  <c:v>0.02</c:v>
                </c:pt>
                <c:pt idx="195">
                  <c:v>0.02</c:v>
                </c:pt>
                <c:pt idx="196">
                  <c:v>0.03</c:v>
                </c:pt>
                <c:pt idx="197">
                  <c:v>0.01</c:v>
                </c:pt>
                <c:pt idx="198">
                  <c:v>0.05</c:v>
                </c:pt>
                <c:pt idx="199">
                  <c:v>0.02</c:v>
                </c:pt>
                <c:pt idx="200">
                  <c:v>0.05</c:v>
                </c:pt>
                <c:pt idx="201">
                  <c:v>0.01</c:v>
                </c:pt>
                <c:pt idx="202">
                  <c:v>0.02</c:v>
                </c:pt>
                <c:pt idx="203">
                  <c:v>0.02</c:v>
                </c:pt>
                <c:pt idx="204">
                  <c:v>0.04</c:v>
                </c:pt>
                <c:pt idx="205">
                  <c:v>0.03</c:v>
                </c:pt>
                <c:pt idx="206">
                  <c:v>0.01</c:v>
                </c:pt>
                <c:pt idx="207">
                  <c:v>0.02</c:v>
                </c:pt>
                <c:pt idx="208">
                  <c:v>0.01</c:v>
                </c:pt>
                <c:pt idx="209">
                  <c:v>0.02</c:v>
                </c:pt>
                <c:pt idx="210">
                  <c:v>0.02</c:v>
                </c:pt>
                <c:pt idx="211">
                  <c:v>0.02</c:v>
                </c:pt>
                <c:pt idx="212">
                  <c:v>0.02</c:v>
                </c:pt>
                <c:pt idx="213">
                  <c:v>0.03</c:v>
                </c:pt>
                <c:pt idx="214">
                  <c:v>0.01</c:v>
                </c:pt>
                <c:pt idx="215">
                  <c:v>0.03</c:v>
                </c:pt>
                <c:pt idx="216">
                  <c:v>0.03</c:v>
                </c:pt>
                <c:pt idx="217">
                  <c:v>0.01</c:v>
                </c:pt>
                <c:pt idx="218">
                  <c:v>0.01</c:v>
                </c:pt>
                <c:pt idx="219">
                  <c:v>0.01</c:v>
                </c:pt>
                <c:pt idx="220">
                  <c:v>0.01</c:v>
                </c:pt>
                <c:pt idx="221">
                  <c:v>0.02</c:v>
                </c:pt>
                <c:pt idx="222">
                  <c:v>0.01</c:v>
                </c:pt>
                <c:pt idx="223">
                  <c:v>0.01</c:v>
                </c:pt>
                <c:pt idx="224">
                  <c:v>0.01</c:v>
                </c:pt>
                <c:pt idx="225">
                  <c:v>0.02</c:v>
                </c:pt>
                <c:pt idx="226">
                  <c:v>0.02</c:v>
                </c:pt>
                <c:pt idx="227">
                  <c:v>0.03</c:v>
                </c:pt>
                <c:pt idx="228">
                  <c:v>0.02</c:v>
                </c:pt>
                <c:pt idx="229">
                  <c:v>0.01</c:v>
                </c:pt>
                <c:pt idx="230">
                  <c:v>0.04</c:v>
                </c:pt>
                <c:pt idx="231">
                  <c:v>0.02</c:v>
                </c:pt>
                <c:pt idx="232">
                  <c:v>0.02</c:v>
                </c:pt>
                <c:pt idx="233">
                  <c:v>0.01</c:v>
                </c:pt>
                <c:pt idx="234">
                  <c:v>0.02</c:v>
                </c:pt>
                <c:pt idx="235">
                  <c:v>0.04</c:v>
                </c:pt>
                <c:pt idx="236">
                  <c:v>0.01</c:v>
                </c:pt>
                <c:pt idx="237">
                  <c:v>0.02</c:v>
                </c:pt>
                <c:pt idx="238">
                  <c:v>0.01</c:v>
                </c:pt>
                <c:pt idx="239">
                  <c:v>0.03</c:v>
                </c:pt>
                <c:pt idx="240">
                  <c:v>0.01</c:v>
                </c:pt>
                <c:pt idx="241">
                  <c:v>0.01</c:v>
                </c:pt>
                <c:pt idx="242">
                  <c:v>0.02</c:v>
                </c:pt>
                <c:pt idx="243">
                  <c:v>0.01</c:v>
                </c:pt>
                <c:pt idx="244">
                  <c:v>0.01</c:v>
                </c:pt>
                <c:pt idx="245">
                  <c:v>0.02</c:v>
                </c:pt>
                <c:pt idx="246">
                  <c:v>0.02</c:v>
                </c:pt>
                <c:pt idx="247">
                  <c:v>0.02</c:v>
                </c:pt>
                <c:pt idx="248">
                  <c:v>0.01</c:v>
                </c:pt>
                <c:pt idx="249">
                  <c:v>0.01</c:v>
                </c:pt>
                <c:pt idx="250">
                  <c:v>0.02</c:v>
                </c:pt>
                <c:pt idx="251">
                  <c:v>0.01</c:v>
                </c:pt>
                <c:pt idx="252">
                  <c:v>0.01</c:v>
                </c:pt>
                <c:pt idx="253">
                  <c:v>0.01</c:v>
                </c:pt>
                <c:pt idx="254">
                  <c:v>0.02</c:v>
                </c:pt>
                <c:pt idx="255">
                  <c:v>0.01</c:v>
                </c:pt>
                <c:pt idx="256">
                  <c:v>0.01</c:v>
                </c:pt>
                <c:pt idx="257">
                  <c:v>0.01</c:v>
                </c:pt>
                <c:pt idx="258">
                  <c:v>0.01</c:v>
                </c:pt>
                <c:pt idx="259">
                  <c:v>0.02</c:v>
                </c:pt>
                <c:pt idx="260">
                  <c:v>0.01</c:v>
                </c:pt>
                <c:pt idx="261">
                  <c:v>0.01</c:v>
                </c:pt>
                <c:pt idx="262">
                  <c:v>0.01</c:v>
                </c:pt>
                <c:pt idx="263">
                  <c:v>0.01</c:v>
                </c:pt>
                <c:pt idx="264">
                  <c:v>0.01</c:v>
                </c:pt>
                <c:pt idx="265">
                  <c:v>0.01</c:v>
                </c:pt>
                <c:pt idx="266">
                  <c:v>0.01</c:v>
                </c:pt>
                <c:pt idx="267">
                  <c:v>0.01</c:v>
                </c:pt>
                <c:pt idx="268">
                  <c:v>0.01</c:v>
                </c:pt>
                <c:pt idx="269">
                  <c:v>0.02</c:v>
                </c:pt>
                <c:pt idx="270">
                  <c:v>0.01</c:v>
                </c:pt>
                <c:pt idx="271">
                  <c:v>0.01</c:v>
                </c:pt>
                <c:pt idx="272">
                  <c:v>0.01</c:v>
                </c:pt>
                <c:pt idx="273">
                  <c:v>0.01</c:v>
                </c:pt>
                <c:pt idx="274">
                  <c:v>0.01</c:v>
                </c:pt>
                <c:pt idx="275">
                  <c:v>0.01</c:v>
                </c:pt>
                <c:pt idx="276">
                  <c:v>0.03</c:v>
                </c:pt>
                <c:pt idx="277">
                  <c:v>0.01</c:v>
                </c:pt>
                <c:pt idx="278">
                  <c:v>0.01</c:v>
                </c:pt>
                <c:pt idx="279">
                  <c:v>0.01</c:v>
                </c:pt>
                <c:pt idx="280">
                  <c:v>0.02</c:v>
                </c:pt>
                <c:pt idx="281">
                  <c:v>0.01</c:v>
                </c:pt>
                <c:pt idx="282">
                  <c:v>0.02</c:v>
                </c:pt>
                <c:pt idx="283">
                  <c:v>0.01</c:v>
                </c:pt>
                <c:pt idx="284">
                  <c:v>0.02</c:v>
                </c:pt>
                <c:pt idx="285">
                  <c:v>0.01</c:v>
                </c:pt>
                <c:pt idx="286">
                  <c:v>0.01</c:v>
                </c:pt>
                <c:pt idx="287">
                  <c:v>0.01</c:v>
                </c:pt>
                <c:pt idx="288">
                  <c:v>0.01</c:v>
                </c:pt>
                <c:pt idx="289">
                  <c:v>0.02</c:v>
                </c:pt>
                <c:pt idx="290">
                  <c:v>0.01</c:v>
                </c:pt>
                <c:pt idx="291">
                  <c:v>0.01</c:v>
                </c:pt>
                <c:pt idx="292">
                  <c:v>0.01</c:v>
                </c:pt>
                <c:pt idx="293">
                  <c:v>0.02</c:v>
                </c:pt>
                <c:pt idx="294">
                  <c:v>0.01</c:v>
                </c:pt>
                <c:pt idx="295">
                  <c:v>0.01</c:v>
                </c:pt>
                <c:pt idx="296">
                  <c:v>0.01</c:v>
                </c:pt>
                <c:pt idx="297">
                  <c:v>0.01</c:v>
                </c:pt>
                <c:pt idx="298">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7ECAC4"/>
              </a:solidFill>
            </c:spPr>
            <c:extLst>
              <c:ext xmlns:c16="http://schemas.microsoft.com/office/drawing/2014/chart" uri="{C3380CC4-5D6E-409C-BE32-E72D297353CC}">
                <c16:uniqueId val="{00000093-2993-41DE-A2CB-63102DE87051}"/>
              </c:ext>
            </c:extLst>
          </c:dPt>
          <c:dPt>
            <c:idx val="46"/>
            <c:invertIfNegative val="1"/>
            <c:bubble3D val="0"/>
            <c:spPr>
              <a:solidFill>
                <a:srgbClr val="7ECAC4"/>
              </a:solidFill>
            </c:spPr>
            <c:extLst>
              <c:ext xmlns:c16="http://schemas.microsoft.com/office/drawing/2014/chart" uri="{C3380CC4-5D6E-409C-BE32-E72D297353CC}">
                <c16:uniqueId val="{00000095-2993-41DE-A2CB-63102DE87051}"/>
              </c:ext>
            </c:extLst>
          </c:dPt>
          <c:dPt>
            <c:idx val="47"/>
            <c:invertIfNegative val="1"/>
            <c:bubble3D val="0"/>
            <c:spPr>
              <a:solidFill>
                <a:srgbClr val="7ECAC4"/>
              </a:solidFill>
            </c:spPr>
            <c:extLst>
              <c:ext xmlns:c16="http://schemas.microsoft.com/office/drawing/2014/chart" uri="{C3380CC4-5D6E-409C-BE32-E72D297353CC}">
                <c16:uniqueId val="{00000097-2993-41DE-A2CB-63102DE87051}"/>
              </c:ext>
            </c:extLst>
          </c:dPt>
          <c:dPt>
            <c:idx val="48"/>
            <c:invertIfNegative val="1"/>
            <c:bubble3D val="0"/>
            <c:spPr>
              <a:solidFill>
                <a:srgbClr val="7ECAC4"/>
              </a:solidFill>
            </c:spPr>
            <c:extLst>
              <c:ext xmlns:c16="http://schemas.microsoft.com/office/drawing/2014/chart" uri="{C3380CC4-5D6E-409C-BE32-E72D297353CC}">
                <c16:uniqueId val="{00000099-2993-41DE-A2CB-63102DE87051}"/>
              </c:ext>
            </c:extLst>
          </c:dPt>
          <c:dPt>
            <c:idx val="49"/>
            <c:invertIfNegative val="1"/>
            <c:bubble3D val="0"/>
            <c:spPr>
              <a:solidFill>
                <a:srgbClr val="7ECAC4"/>
              </a:solidFill>
            </c:spPr>
            <c:extLst>
              <c:ext xmlns:c16="http://schemas.microsoft.com/office/drawing/2014/chart" uri="{C3380CC4-5D6E-409C-BE32-E72D297353CC}">
                <c16:uniqueId val="{0000009B-2993-41DE-A2CB-63102DE87051}"/>
              </c:ext>
            </c:extLst>
          </c:dPt>
          <c:dPt>
            <c:idx val="50"/>
            <c:invertIfNegative val="1"/>
            <c:bubble3D val="0"/>
            <c:spPr>
              <a:solidFill>
                <a:srgbClr val="7ECAC4"/>
              </a:solidFill>
            </c:spPr>
            <c:extLst>
              <c:ext xmlns:c16="http://schemas.microsoft.com/office/drawing/2014/chart" uri="{C3380CC4-5D6E-409C-BE32-E72D297353CC}">
                <c16:uniqueId val="{0000009D-2993-41DE-A2CB-63102DE87051}"/>
              </c:ext>
            </c:extLst>
          </c:dPt>
          <c:dPt>
            <c:idx val="51"/>
            <c:invertIfNegative val="1"/>
            <c:bubble3D val="0"/>
            <c:spPr>
              <a:solidFill>
                <a:srgbClr val="7ECAC4"/>
              </a:solidFill>
            </c:spPr>
            <c:extLst>
              <c:ext xmlns:c16="http://schemas.microsoft.com/office/drawing/2014/chart" uri="{C3380CC4-5D6E-409C-BE32-E72D297353CC}">
                <c16:uniqueId val="{0000009F-2993-41DE-A2CB-63102DE87051}"/>
              </c:ext>
            </c:extLst>
          </c:dPt>
          <c:dPt>
            <c:idx val="52"/>
            <c:invertIfNegative val="1"/>
            <c:bubble3D val="0"/>
            <c:spPr>
              <a:solidFill>
                <a:srgbClr val="7ECAC4"/>
              </a:solidFill>
            </c:spPr>
            <c:extLst>
              <c:ext xmlns:c16="http://schemas.microsoft.com/office/drawing/2014/chart" uri="{C3380CC4-5D6E-409C-BE32-E72D297353CC}">
                <c16:uniqueId val="{000000A1-2993-41DE-A2CB-63102DE87051}"/>
              </c:ext>
            </c:extLst>
          </c:dPt>
          <c:dPt>
            <c:idx val="53"/>
            <c:invertIfNegative val="1"/>
            <c:bubble3D val="0"/>
            <c:spPr>
              <a:solidFill>
                <a:srgbClr val="7ECAC4"/>
              </a:solidFill>
            </c:spPr>
            <c:extLst>
              <c:ext xmlns:c16="http://schemas.microsoft.com/office/drawing/2014/chart" uri="{C3380CC4-5D6E-409C-BE32-E72D297353CC}">
                <c16:uniqueId val="{000000A3-2993-41DE-A2CB-63102DE87051}"/>
              </c:ext>
            </c:extLst>
          </c:dPt>
          <c:dPt>
            <c:idx val="54"/>
            <c:invertIfNegative val="0"/>
            <c:bubble3D val="0"/>
            <c:spPr>
              <a:solidFill>
                <a:srgbClr val="7ECAC4"/>
              </a:solidFill>
            </c:spPr>
            <c:extLst>
              <c:ext xmlns:c16="http://schemas.microsoft.com/office/drawing/2014/chart" uri="{C3380CC4-5D6E-409C-BE32-E72D297353CC}">
                <c16:uniqueId val="{00000072-C76F-4230-900D-40618C09729F}"/>
              </c:ext>
            </c:extLst>
          </c:dPt>
          <c:dPt>
            <c:idx val="55"/>
            <c:invertIfNegative val="0"/>
            <c:bubble3D val="0"/>
            <c:spPr>
              <a:solidFill>
                <a:srgbClr val="7ECAC4"/>
              </a:solidFill>
            </c:spPr>
            <c:extLst>
              <c:ext xmlns:c16="http://schemas.microsoft.com/office/drawing/2014/chart" uri="{C3380CC4-5D6E-409C-BE32-E72D297353CC}">
                <c16:uniqueId val="{00000074-C76F-4230-900D-40618C09729F}"/>
              </c:ext>
            </c:extLst>
          </c:dPt>
          <c:dPt>
            <c:idx val="56"/>
            <c:invertIfNegative val="0"/>
            <c:bubble3D val="0"/>
            <c:spPr>
              <a:solidFill>
                <a:srgbClr val="7ECAC4"/>
              </a:solidFill>
            </c:spPr>
            <c:extLst>
              <c:ext xmlns:c16="http://schemas.microsoft.com/office/drawing/2014/chart" uri="{C3380CC4-5D6E-409C-BE32-E72D297353CC}">
                <c16:uniqueId val="{00000076-C76F-4230-900D-40618C09729F}"/>
              </c:ext>
            </c:extLst>
          </c:dPt>
          <c:dPt>
            <c:idx val="57"/>
            <c:invertIfNegative val="0"/>
            <c:bubble3D val="0"/>
            <c:spPr>
              <a:solidFill>
                <a:srgbClr val="7ECAC4"/>
              </a:solidFill>
            </c:spPr>
            <c:extLst>
              <c:ext xmlns:c16="http://schemas.microsoft.com/office/drawing/2014/chart" uri="{C3380CC4-5D6E-409C-BE32-E72D297353CC}">
                <c16:uniqueId val="{00000078-C76F-4230-900D-40618C09729F}"/>
              </c:ext>
            </c:extLst>
          </c:dPt>
          <c:dPt>
            <c:idx val="58"/>
            <c:invertIfNegative val="0"/>
            <c:bubble3D val="0"/>
            <c:spPr>
              <a:solidFill>
                <a:srgbClr val="7ECAC4"/>
              </a:solidFill>
            </c:spPr>
            <c:extLst>
              <c:ext xmlns:c16="http://schemas.microsoft.com/office/drawing/2014/chart" uri="{C3380CC4-5D6E-409C-BE32-E72D297353CC}">
                <c16:uniqueId val="{0000007A-C76F-4230-900D-40618C09729F}"/>
              </c:ext>
            </c:extLst>
          </c:dPt>
          <c:dPt>
            <c:idx val="59"/>
            <c:invertIfNegative val="0"/>
            <c:bubble3D val="0"/>
            <c:spPr>
              <a:solidFill>
                <a:srgbClr val="7ECAC4"/>
              </a:solidFill>
            </c:spPr>
            <c:extLst>
              <c:ext xmlns:c16="http://schemas.microsoft.com/office/drawing/2014/chart" uri="{C3380CC4-5D6E-409C-BE32-E72D297353CC}">
                <c16:uniqueId val="{0000007C-C76F-4230-900D-40618C09729F}"/>
              </c:ext>
            </c:extLst>
          </c:dPt>
          <c:dPt>
            <c:idx val="60"/>
            <c:invertIfNegative val="0"/>
            <c:bubble3D val="0"/>
            <c:spPr>
              <a:solidFill>
                <a:srgbClr val="7ECAC4"/>
              </a:solidFill>
            </c:spPr>
            <c:extLst>
              <c:ext xmlns:c16="http://schemas.microsoft.com/office/drawing/2014/chart" uri="{C3380CC4-5D6E-409C-BE32-E72D297353CC}">
                <c16:uniqueId val="{0000007E-C76F-4230-900D-40618C09729F}"/>
              </c:ext>
            </c:extLst>
          </c:dPt>
          <c:dPt>
            <c:idx val="61"/>
            <c:invertIfNegative val="0"/>
            <c:bubble3D val="0"/>
            <c:spPr>
              <a:solidFill>
                <a:srgbClr val="7ECAC4"/>
              </a:solidFill>
            </c:spPr>
            <c:extLst>
              <c:ext xmlns:c16="http://schemas.microsoft.com/office/drawing/2014/chart" uri="{C3380CC4-5D6E-409C-BE32-E72D297353CC}">
                <c16:uniqueId val="{00000080-C76F-4230-900D-40618C09729F}"/>
              </c:ext>
            </c:extLst>
          </c:dPt>
          <c:dPt>
            <c:idx val="62"/>
            <c:invertIfNegative val="0"/>
            <c:bubble3D val="0"/>
            <c:spPr>
              <a:solidFill>
                <a:srgbClr val="7ECAC4"/>
              </a:solidFill>
            </c:spPr>
            <c:extLst>
              <c:ext xmlns:c16="http://schemas.microsoft.com/office/drawing/2014/chart" uri="{C3380CC4-5D6E-409C-BE32-E72D297353CC}">
                <c16:uniqueId val="{00000082-C76F-4230-900D-40618C09729F}"/>
              </c:ext>
            </c:extLst>
          </c:dPt>
          <c:dPt>
            <c:idx val="63"/>
            <c:invertIfNegative val="0"/>
            <c:bubble3D val="0"/>
            <c:spPr>
              <a:solidFill>
                <a:srgbClr val="7ECAC4"/>
              </a:solidFill>
            </c:spPr>
            <c:extLst>
              <c:ext xmlns:c16="http://schemas.microsoft.com/office/drawing/2014/chart" uri="{C3380CC4-5D6E-409C-BE32-E72D297353CC}">
                <c16:uniqueId val="{00000084-C76F-4230-900D-40618C09729F}"/>
              </c:ext>
            </c:extLst>
          </c:dPt>
          <c:dPt>
            <c:idx val="64"/>
            <c:invertIfNegative val="0"/>
            <c:bubble3D val="0"/>
            <c:spPr>
              <a:solidFill>
                <a:srgbClr val="7ECAC4"/>
              </a:solidFill>
            </c:spPr>
            <c:extLst>
              <c:ext xmlns:c16="http://schemas.microsoft.com/office/drawing/2014/chart" uri="{C3380CC4-5D6E-409C-BE32-E72D297353CC}">
                <c16:uniqueId val="{00000086-C76F-4230-900D-40618C09729F}"/>
              </c:ext>
            </c:extLst>
          </c:dPt>
          <c:dPt>
            <c:idx val="65"/>
            <c:invertIfNegative val="0"/>
            <c:bubble3D val="0"/>
            <c:spPr>
              <a:solidFill>
                <a:srgbClr val="7ECAC4"/>
              </a:solidFill>
            </c:spPr>
            <c:extLst>
              <c:ext xmlns:c16="http://schemas.microsoft.com/office/drawing/2014/chart" uri="{C3380CC4-5D6E-409C-BE32-E72D297353CC}">
                <c16:uniqueId val="{00000088-C76F-4230-900D-40618C09729F}"/>
              </c:ext>
            </c:extLst>
          </c:dPt>
          <c:dPt>
            <c:idx val="66"/>
            <c:invertIfNegative val="0"/>
            <c:bubble3D val="0"/>
            <c:spPr>
              <a:solidFill>
                <a:srgbClr val="7ECAC4"/>
              </a:solidFill>
            </c:spPr>
            <c:extLst>
              <c:ext xmlns:c16="http://schemas.microsoft.com/office/drawing/2014/chart" uri="{C3380CC4-5D6E-409C-BE32-E72D297353CC}">
                <c16:uniqueId val="{0000008A-C76F-4230-900D-40618C09729F}"/>
              </c:ext>
            </c:extLst>
          </c:dPt>
          <c:dPt>
            <c:idx val="67"/>
            <c:invertIfNegative val="0"/>
            <c:bubble3D val="0"/>
            <c:spPr>
              <a:solidFill>
                <a:srgbClr val="7ECAC4"/>
              </a:solidFill>
            </c:spPr>
            <c:extLst>
              <c:ext xmlns:c16="http://schemas.microsoft.com/office/drawing/2014/chart" uri="{C3380CC4-5D6E-409C-BE32-E72D297353CC}">
                <c16:uniqueId val="{0000008C-C76F-4230-900D-40618C09729F}"/>
              </c:ext>
            </c:extLst>
          </c:dPt>
          <c:dPt>
            <c:idx val="68"/>
            <c:invertIfNegative val="0"/>
            <c:bubble3D val="0"/>
            <c:spPr>
              <a:solidFill>
                <a:srgbClr val="7ECAC4"/>
              </a:solidFill>
            </c:spPr>
            <c:extLst>
              <c:ext xmlns:c16="http://schemas.microsoft.com/office/drawing/2014/chart" uri="{C3380CC4-5D6E-409C-BE32-E72D297353CC}">
                <c16:uniqueId val="{0000008E-C76F-4230-900D-40618C09729F}"/>
              </c:ext>
            </c:extLst>
          </c:dPt>
          <c:dPt>
            <c:idx val="69"/>
            <c:invertIfNegative val="0"/>
            <c:bubble3D val="0"/>
            <c:spPr>
              <a:solidFill>
                <a:srgbClr val="7ECAC4"/>
              </a:solidFill>
            </c:spPr>
            <c:extLst>
              <c:ext xmlns:c16="http://schemas.microsoft.com/office/drawing/2014/chart" uri="{C3380CC4-5D6E-409C-BE32-E72D297353CC}">
                <c16:uniqueId val="{00000090-C76F-4230-900D-40618C09729F}"/>
              </c:ext>
            </c:extLst>
          </c:dPt>
          <c:dPt>
            <c:idx val="70"/>
            <c:invertIfNegative val="0"/>
            <c:bubble3D val="0"/>
            <c:spPr>
              <a:solidFill>
                <a:srgbClr val="7ECAC4"/>
              </a:solidFill>
            </c:spPr>
            <c:extLst>
              <c:ext xmlns:c16="http://schemas.microsoft.com/office/drawing/2014/chart" uri="{C3380CC4-5D6E-409C-BE32-E72D297353CC}">
                <c16:uniqueId val="{00000092-C76F-4230-900D-40618C09729F}"/>
              </c:ext>
            </c:extLst>
          </c:dPt>
          <c:dPt>
            <c:idx val="71"/>
            <c:invertIfNegative val="0"/>
            <c:bubble3D val="0"/>
            <c:spPr>
              <a:solidFill>
                <a:srgbClr val="7ECAC4"/>
              </a:solidFill>
            </c:spPr>
            <c:extLst>
              <c:ext xmlns:c16="http://schemas.microsoft.com/office/drawing/2014/chart" uri="{C3380CC4-5D6E-409C-BE32-E72D297353CC}">
                <c16:uniqueId val="{00000094-C76F-4230-900D-40618C09729F}"/>
              </c:ext>
            </c:extLst>
          </c:dPt>
          <c:dPt>
            <c:idx val="72"/>
            <c:invertIfNegative val="0"/>
            <c:bubble3D val="0"/>
            <c:spPr>
              <a:solidFill>
                <a:srgbClr val="7ECAC4"/>
              </a:solidFill>
            </c:spPr>
            <c:extLst>
              <c:ext xmlns:c16="http://schemas.microsoft.com/office/drawing/2014/chart" uri="{C3380CC4-5D6E-409C-BE32-E72D297353CC}">
                <c16:uniqueId val="{00000096-C76F-4230-900D-40618C09729F}"/>
              </c:ext>
            </c:extLst>
          </c:dPt>
          <c:dPt>
            <c:idx val="73"/>
            <c:invertIfNegative val="0"/>
            <c:bubble3D val="0"/>
            <c:spPr>
              <a:solidFill>
                <a:srgbClr val="7ECAC4"/>
              </a:solidFill>
            </c:spPr>
            <c:extLst>
              <c:ext xmlns:c16="http://schemas.microsoft.com/office/drawing/2014/chart" uri="{C3380CC4-5D6E-409C-BE32-E72D297353CC}">
                <c16:uniqueId val="{00000098-C76F-4230-900D-40618C09729F}"/>
              </c:ext>
            </c:extLst>
          </c:dPt>
          <c:dPt>
            <c:idx val="74"/>
            <c:invertIfNegative val="0"/>
            <c:bubble3D val="0"/>
            <c:spPr>
              <a:solidFill>
                <a:srgbClr val="7ECAC4"/>
              </a:solidFill>
            </c:spPr>
            <c:extLst>
              <c:ext xmlns:c16="http://schemas.microsoft.com/office/drawing/2014/chart" uri="{C3380CC4-5D6E-409C-BE32-E72D297353CC}">
                <c16:uniqueId val="{0000009A-C76F-4230-900D-40618C09729F}"/>
              </c:ext>
            </c:extLst>
          </c:dPt>
          <c:dPt>
            <c:idx val="75"/>
            <c:invertIfNegative val="0"/>
            <c:bubble3D val="0"/>
            <c:spPr>
              <a:solidFill>
                <a:srgbClr val="7ECAC4"/>
              </a:solidFill>
            </c:spPr>
            <c:extLst>
              <c:ext xmlns:c16="http://schemas.microsoft.com/office/drawing/2014/chart" uri="{C3380CC4-5D6E-409C-BE32-E72D297353CC}">
                <c16:uniqueId val="{0000009C-C76F-4230-900D-40618C09729F}"/>
              </c:ext>
            </c:extLst>
          </c:dPt>
          <c:dPt>
            <c:idx val="76"/>
            <c:invertIfNegative val="0"/>
            <c:bubble3D val="0"/>
            <c:spPr>
              <a:solidFill>
                <a:srgbClr val="7ECAC4"/>
              </a:solidFill>
            </c:spPr>
            <c:extLst>
              <c:ext xmlns:c16="http://schemas.microsoft.com/office/drawing/2014/chart" uri="{C3380CC4-5D6E-409C-BE32-E72D297353CC}">
                <c16:uniqueId val="{0000009E-C76F-4230-900D-40618C09729F}"/>
              </c:ext>
            </c:extLst>
          </c:dPt>
          <c:dPt>
            <c:idx val="77"/>
            <c:invertIfNegative val="0"/>
            <c:bubble3D val="0"/>
            <c:spPr>
              <a:solidFill>
                <a:srgbClr val="7ECAC4"/>
              </a:solidFill>
            </c:spPr>
            <c:extLst>
              <c:ext xmlns:c16="http://schemas.microsoft.com/office/drawing/2014/chart" uri="{C3380CC4-5D6E-409C-BE32-E72D297353CC}">
                <c16:uniqueId val="{000000A0-C76F-4230-900D-40618C09729F}"/>
              </c:ext>
            </c:extLst>
          </c:dPt>
          <c:dPt>
            <c:idx val="78"/>
            <c:invertIfNegative val="0"/>
            <c:bubble3D val="0"/>
            <c:spPr>
              <a:solidFill>
                <a:srgbClr val="7ECAC4"/>
              </a:solidFill>
            </c:spPr>
            <c:extLst>
              <c:ext xmlns:c16="http://schemas.microsoft.com/office/drawing/2014/chart" uri="{C3380CC4-5D6E-409C-BE32-E72D297353CC}">
                <c16:uniqueId val="{000000A2-C76F-4230-900D-40618C09729F}"/>
              </c:ext>
            </c:extLst>
          </c:dPt>
          <c:dPt>
            <c:idx val="79"/>
            <c:invertIfNegative val="0"/>
            <c:bubble3D val="0"/>
            <c:spPr>
              <a:solidFill>
                <a:srgbClr val="7ECAC4"/>
              </a:solidFill>
            </c:spPr>
            <c:extLst>
              <c:ext xmlns:c16="http://schemas.microsoft.com/office/drawing/2014/chart" uri="{C3380CC4-5D6E-409C-BE32-E72D297353CC}">
                <c16:uniqueId val="{000000A4-C76F-4230-900D-40618C09729F}"/>
              </c:ext>
            </c:extLst>
          </c:dPt>
          <c:dPt>
            <c:idx val="80"/>
            <c:invertIfNegative val="0"/>
            <c:bubble3D val="0"/>
            <c:spPr>
              <a:solidFill>
                <a:srgbClr val="7ECAC4"/>
              </a:solidFill>
            </c:spPr>
            <c:extLst>
              <c:ext xmlns:c16="http://schemas.microsoft.com/office/drawing/2014/chart" uri="{C3380CC4-5D6E-409C-BE32-E72D297353CC}">
                <c16:uniqueId val="{000000A6-C76F-4230-900D-40618C09729F}"/>
              </c:ext>
            </c:extLst>
          </c:dPt>
          <c:dPt>
            <c:idx val="81"/>
            <c:invertIfNegative val="1"/>
            <c:bubble3D val="0"/>
            <c:spPr>
              <a:solidFill>
                <a:srgbClr val="7ECAC4"/>
              </a:solidFill>
            </c:spPr>
            <c:extLst>
              <c:ext xmlns:c16="http://schemas.microsoft.com/office/drawing/2014/chart" uri="{C3380CC4-5D6E-409C-BE32-E72D297353CC}">
                <c16:uniqueId val="{000000A5-2993-41DE-A2CB-63102DE87051}"/>
              </c:ext>
            </c:extLst>
          </c:dPt>
          <c:dPt>
            <c:idx val="82"/>
            <c:invertIfNegative val="1"/>
            <c:bubble3D val="0"/>
            <c:spPr>
              <a:solidFill>
                <a:srgbClr val="7ECAC4"/>
              </a:solidFill>
            </c:spPr>
            <c:extLst>
              <c:ext xmlns:c16="http://schemas.microsoft.com/office/drawing/2014/chart" uri="{C3380CC4-5D6E-409C-BE32-E72D297353CC}">
                <c16:uniqueId val="{000000A7-2993-41DE-A2CB-63102DE87051}"/>
              </c:ext>
            </c:extLst>
          </c:dPt>
          <c:dPt>
            <c:idx val="83"/>
            <c:invertIfNegative val="1"/>
            <c:bubble3D val="0"/>
            <c:spPr>
              <a:solidFill>
                <a:srgbClr val="7ECAC4"/>
              </a:solidFill>
            </c:spPr>
            <c:extLst>
              <c:ext xmlns:c16="http://schemas.microsoft.com/office/drawing/2014/chart" uri="{C3380CC4-5D6E-409C-BE32-E72D297353CC}">
                <c16:uniqueId val="{000000A9-2993-41DE-A2CB-63102DE87051}"/>
              </c:ext>
            </c:extLst>
          </c:dPt>
          <c:dPt>
            <c:idx val="84"/>
            <c:invertIfNegative val="1"/>
            <c:bubble3D val="0"/>
            <c:spPr>
              <a:solidFill>
                <a:srgbClr val="7ECAC4"/>
              </a:solidFill>
            </c:spPr>
            <c:extLst>
              <c:ext xmlns:c16="http://schemas.microsoft.com/office/drawing/2014/chart" uri="{C3380CC4-5D6E-409C-BE32-E72D297353CC}">
                <c16:uniqueId val="{000000AB-2993-41DE-A2CB-63102DE87051}"/>
              </c:ext>
            </c:extLst>
          </c:dPt>
          <c:dPt>
            <c:idx val="85"/>
            <c:invertIfNegative val="1"/>
            <c:bubble3D val="0"/>
            <c:spPr>
              <a:solidFill>
                <a:srgbClr val="7ECAC4"/>
              </a:solidFill>
            </c:spPr>
            <c:extLst>
              <c:ext xmlns:c16="http://schemas.microsoft.com/office/drawing/2014/chart" uri="{C3380CC4-5D6E-409C-BE32-E72D297353CC}">
                <c16:uniqueId val="{000000AD-2993-41DE-A2CB-63102DE87051}"/>
              </c:ext>
            </c:extLst>
          </c:dPt>
          <c:dPt>
            <c:idx val="86"/>
            <c:invertIfNegative val="1"/>
            <c:bubble3D val="0"/>
            <c:spPr>
              <a:solidFill>
                <a:srgbClr val="7ECAC4"/>
              </a:solidFill>
            </c:spPr>
            <c:extLst>
              <c:ext xmlns:c16="http://schemas.microsoft.com/office/drawing/2014/chart" uri="{C3380CC4-5D6E-409C-BE32-E72D297353CC}">
                <c16:uniqueId val="{000000AF-2993-41DE-A2CB-63102DE87051}"/>
              </c:ext>
            </c:extLst>
          </c:dPt>
          <c:dPt>
            <c:idx val="87"/>
            <c:invertIfNegative val="1"/>
            <c:bubble3D val="0"/>
            <c:spPr>
              <a:solidFill>
                <a:srgbClr val="7ECAC4"/>
              </a:solidFill>
            </c:spPr>
            <c:extLst>
              <c:ext xmlns:c16="http://schemas.microsoft.com/office/drawing/2014/chart" uri="{C3380CC4-5D6E-409C-BE32-E72D297353CC}">
                <c16:uniqueId val="{000000B1-2993-41DE-A2CB-63102DE87051}"/>
              </c:ext>
            </c:extLst>
          </c:dPt>
          <c:dPt>
            <c:idx val="88"/>
            <c:invertIfNegative val="1"/>
            <c:bubble3D val="0"/>
            <c:spPr>
              <a:solidFill>
                <a:srgbClr val="7ECAC4"/>
              </a:solidFill>
            </c:spPr>
            <c:extLst>
              <c:ext xmlns:c16="http://schemas.microsoft.com/office/drawing/2014/chart" uri="{C3380CC4-5D6E-409C-BE32-E72D297353CC}">
                <c16:uniqueId val="{000000B3-2993-41DE-A2CB-63102DE87051}"/>
              </c:ext>
            </c:extLst>
          </c:dPt>
          <c:dPt>
            <c:idx val="89"/>
            <c:invertIfNegative val="1"/>
            <c:bubble3D val="0"/>
            <c:spPr>
              <a:solidFill>
                <a:srgbClr val="7ECAC4"/>
              </a:solidFill>
            </c:spPr>
            <c:extLst>
              <c:ext xmlns:c16="http://schemas.microsoft.com/office/drawing/2014/chart" uri="{C3380CC4-5D6E-409C-BE32-E72D297353CC}">
                <c16:uniqueId val="{000000B5-2993-41DE-A2CB-63102DE87051}"/>
              </c:ext>
            </c:extLst>
          </c:dPt>
          <c:dPt>
            <c:idx val="90"/>
            <c:invertIfNegative val="1"/>
            <c:bubble3D val="0"/>
            <c:spPr>
              <a:solidFill>
                <a:srgbClr val="7ECAC4"/>
              </a:solidFill>
            </c:spPr>
            <c:extLst>
              <c:ext xmlns:c16="http://schemas.microsoft.com/office/drawing/2014/chart" uri="{C3380CC4-5D6E-409C-BE32-E72D297353CC}">
                <c16:uniqueId val="{000000B7-2993-41DE-A2CB-63102DE87051}"/>
              </c:ext>
            </c:extLst>
          </c:dPt>
          <c:dPt>
            <c:idx val="91"/>
            <c:invertIfNegative val="1"/>
            <c:bubble3D val="0"/>
            <c:spPr>
              <a:solidFill>
                <a:srgbClr val="7ECAC4"/>
              </a:solidFill>
            </c:spPr>
            <c:extLst>
              <c:ext xmlns:c16="http://schemas.microsoft.com/office/drawing/2014/chart" uri="{C3380CC4-5D6E-409C-BE32-E72D297353CC}">
                <c16:uniqueId val="{000000B9-2993-41DE-A2CB-63102DE87051}"/>
              </c:ext>
            </c:extLst>
          </c:dPt>
          <c:dPt>
            <c:idx val="92"/>
            <c:invertIfNegative val="1"/>
            <c:bubble3D val="0"/>
            <c:spPr>
              <a:solidFill>
                <a:srgbClr val="7ECAC4"/>
              </a:solidFill>
            </c:spPr>
            <c:extLst>
              <c:ext xmlns:c16="http://schemas.microsoft.com/office/drawing/2014/chart" uri="{C3380CC4-5D6E-409C-BE32-E72D297353CC}">
                <c16:uniqueId val="{000000BB-2993-41DE-A2CB-63102DE87051}"/>
              </c:ext>
            </c:extLst>
          </c:dPt>
          <c:dPt>
            <c:idx val="93"/>
            <c:invertIfNegative val="1"/>
            <c:bubble3D val="0"/>
            <c:spPr>
              <a:solidFill>
                <a:srgbClr val="7ECAC4"/>
              </a:solidFill>
            </c:spPr>
            <c:extLst>
              <c:ext xmlns:c16="http://schemas.microsoft.com/office/drawing/2014/chart" uri="{C3380CC4-5D6E-409C-BE32-E72D297353CC}">
                <c16:uniqueId val="{000000BD-2993-41DE-A2CB-63102DE87051}"/>
              </c:ext>
            </c:extLst>
          </c:dPt>
          <c:dPt>
            <c:idx val="94"/>
            <c:invertIfNegative val="1"/>
            <c:bubble3D val="0"/>
            <c:spPr>
              <a:solidFill>
                <a:srgbClr val="7ECAC4"/>
              </a:solidFill>
            </c:spPr>
            <c:extLst>
              <c:ext xmlns:c16="http://schemas.microsoft.com/office/drawing/2014/chart" uri="{C3380CC4-5D6E-409C-BE32-E72D297353CC}">
                <c16:uniqueId val="{000000BF-2993-41DE-A2CB-63102DE87051}"/>
              </c:ext>
            </c:extLst>
          </c:dPt>
          <c:dPt>
            <c:idx val="95"/>
            <c:invertIfNegative val="1"/>
            <c:bubble3D val="0"/>
            <c:spPr>
              <a:solidFill>
                <a:srgbClr val="7ECAC4"/>
              </a:solidFill>
            </c:spPr>
            <c:extLst>
              <c:ext xmlns:c16="http://schemas.microsoft.com/office/drawing/2014/chart" uri="{C3380CC4-5D6E-409C-BE32-E72D297353CC}">
                <c16:uniqueId val="{000000C1-2993-41DE-A2CB-63102DE87051}"/>
              </c:ext>
            </c:extLst>
          </c:dPt>
          <c:dPt>
            <c:idx val="96"/>
            <c:invertIfNegative val="1"/>
            <c:bubble3D val="0"/>
            <c:spPr>
              <a:solidFill>
                <a:srgbClr val="7ECAC4"/>
              </a:solidFill>
            </c:spPr>
            <c:extLst>
              <c:ext xmlns:c16="http://schemas.microsoft.com/office/drawing/2014/chart" uri="{C3380CC4-5D6E-409C-BE32-E72D297353CC}">
                <c16:uniqueId val="{000000C3-2993-41DE-A2CB-63102DE87051}"/>
              </c:ext>
            </c:extLst>
          </c:dPt>
          <c:dPt>
            <c:idx val="97"/>
            <c:invertIfNegative val="1"/>
            <c:bubble3D val="0"/>
            <c:spPr>
              <a:solidFill>
                <a:srgbClr val="7ECAC4"/>
              </a:solidFill>
            </c:spPr>
            <c:extLst>
              <c:ext xmlns:c16="http://schemas.microsoft.com/office/drawing/2014/chart" uri="{C3380CC4-5D6E-409C-BE32-E72D297353CC}">
                <c16:uniqueId val="{000000C5-2993-41DE-A2CB-63102DE87051}"/>
              </c:ext>
            </c:extLst>
          </c:dPt>
          <c:dPt>
            <c:idx val="98"/>
            <c:invertIfNegative val="1"/>
            <c:bubble3D val="0"/>
            <c:spPr>
              <a:solidFill>
                <a:srgbClr val="AEABAB"/>
              </a:solidFill>
            </c:spPr>
            <c:extLst>
              <c:ext xmlns:c16="http://schemas.microsoft.com/office/drawing/2014/chart" uri="{C3380CC4-5D6E-409C-BE32-E72D297353CC}">
                <c16:uniqueId val="{000000C7-2993-41DE-A2CB-63102DE87051}"/>
              </c:ext>
            </c:extLst>
          </c:dPt>
          <c:dPt>
            <c:idx val="99"/>
            <c:invertIfNegative val="1"/>
            <c:bubble3D val="0"/>
            <c:spPr>
              <a:solidFill>
                <a:srgbClr val="AEABAB"/>
              </a:solidFill>
            </c:spPr>
            <c:extLst>
              <c:ext xmlns:c16="http://schemas.microsoft.com/office/drawing/2014/chart" uri="{C3380CC4-5D6E-409C-BE32-E72D297353CC}">
                <c16:uniqueId val="{000000C9-2993-41DE-A2CB-63102DE87051}"/>
              </c:ext>
            </c:extLst>
          </c:dPt>
          <c:dPt>
            <c:idx val="100"/>
            <c:invertIfNegative val="1"/>
            <c:bubble3D val="0"/>
            <c:spPr>
              <a:solidFill>
                <a:srgbClr val="AEABAB"/>
              </a:solidFill>
            </c:spPr>
            <c:extLst>
              <c:ext xmlns:c16="http://schemas.microsoft.com/office/drawing/2014/chart" uri="{C3380CC4-5D6E-409C-BE32-E72D297353CC}">
                <c16:uniqueId val="{000000CB-2993-41DE-A2CB-63102DE87051}"/>
              </c:ext>
            </c:extLst>
          </c:dPt>
          <c:dPt>
            <c:idx val="101"/>
            <c:invertIfNegative val="1"/>
            <c:bubble3D val="0"/>
            <c:spPr>
              <a:solidFill>
                <a:srgbClr val="AEABAB"/>
              </a:solidFill>
            </c:spPr>
            <c:extLst>
              <c:ext xmlns:c16="http://schemas.microsoft.com/office/drawing/2014/chart" uri="{C3380CC4-5D6E-409C-BE32-E72D297353CC}">
                <c16:uniqueId val="{000000CD-2993-41DE-A2CB-63102DE87051}"/>
              </c:ext>
            </c:extLst>
          </c:dPt>
          <c:dPt>
            <c:idx val="102"/>
            <c:invertIfNegative val="1"/>
            <c:bubble3D val="0"/>
            <c:spPr>
              <a:solidFill>
                <a:srgbClr val="AEABAB"/>
              </a:solidFill>
            </c:spPr>
            <c:extLst>
              <c:ext xmlns:c16="http://schemas.microsoft.com/office/drawing/2014/chart" uri="{C3380CC4-5D6E-409C-BE32-E72D297353CC}">
                <c16:uniqueId val="{000000CF-2993-41DE-A2CB-63102DE87051}"/>
              </c:ext>
            </c:extLst>
          </c:dPt>
          <c:dPt>
            <c:idx val="103"/>
            <c:invertIfNegative val="1"/>
            <c:bubble3D val="0"/>
            <c:spPr>
              <a:solidFill>
                <a:srgbClr val="AEABAB"/>
              </a:solidFill>
            </c:spPr>
            <c:extLst>
              <c:ext xmlns:c16="http://schemas.microsoft.com/office/drawing/2014/chart" uri="{C3380CC4-5D6E-409C-BE32-E72D297353CC}">
                <c16:uniqueId val="{000000D1-2993-41DE-A2CB-63102DE87051}"/>
              </c:ext>
            </c:extLst>
          </c:dPt>
          <c:dPt>
            <c:idx val="104"/>
            <c:invertIfNegative val="1"/>
            <c:bubble3D val="0"/>
            <c:spPr>
              <a:solidFill>
                <a:srgbClr val="AEABAB"/>
              </a:solidFill>
            </c:spPr>
            <c:extLst>
              <c:ext xmlns:c16="http://schemas.microsoft.com/office/drawing/2014/chart" uri="{C3380CC4-5D6E-409C-BE32-E72D297353CC}">
                <c16:uniqueId val="{000000D3-2993-41DE-A2CB-63102DE87051}"/>
              </c:ext>
            </c:extLst>
          </c:dPt>
          <c:dPt>
            <c:idx val="105"/>
            <c:invertIfNegative val="1"/>
            <c:bubble3D val="0"/>
            <c:spPr>
              <a:solidFill>
                <a:srgbClr val="AEABAB"/>
              </a:solidFill>
            </c:spPr>
            <c:extLst>
              <c:ext xmlns:c16="http://schemas.microsoft.com/office/drawing/2014/chart" uri="{C3380CC4-5D6E-409C-BE32-E72D297353CC}">
                <c16:uniqueId val="{000000D5-2993-41DE-A2CB-63102DE87051}"/>
              </c:ext>
            </c:extLst>
          </c:dPt>
          <c:dPt>
            <c:idx val="106"/>
            <c:invertIfNegative val="1"/>
            <c:bubble3D val="0"/>
            <c:spPr>
              <a:solidFill>
                <a:srgbClr val="AEABAB"/>
              </a:solidFill>
            </c:spPr>
            <c:extLst>
              <c:ext xmlns:c16="http://schemas.microsoft.com/office/drawing/2014/chart" uri="{C3380CC4-5D6E-409C-BE32-E72D297353CC}">
                <c16:uniqueId val="{000000D7-2993-41DE-A2CB-63102DE87051}"/>
              </c:ext>
            </c:extLst>
          </c:dPt>
          <c:dPt>
            <c:idx val="107"/>
            <c:invertIfNegative val="1"/>
            <c:bubble3D val="0"/>
            <c:spPr>
              <a:solidFill>
                <a:srgbClr val="AEABAB"/>
              </a:solidFill>
            </c:spPr>
            <c:extLst>
              <c:ext xmlns:c16="http://schemas.microsoft.com/office/drawing/2014/chart" uri="{C3380CC4-5D6E-409C-BE32-E72D297353CC}">
                <c16:uniqueId val="{000000D9-2993-41DE-A2CB-63102DE87051}"/>
              </c:ext>
            </c:extLst>
          </c:dPt>
          <c:dPt>
            <c:idx val="108"/>
            <c:invertIfNegative val="1"/>
            <c:bubble3D val="0"/>
            <c:spPr>
              <a:solidFill>
                <a:srgbClr val="AEABAB"/>
              </a:solidFill>
            </c:spPr>
            <c:extLst>
              <c:ext xmlns:c16="http://schemas.microsoft.com/office/drawing/2014/chart" uri="{C3380CC4-5D6E-409C-BE32-E72D297353CC}">
                <c16:uniqueId val="{000000DB-2993-41DE-A2CB-63102DE87051}"/>
              </c:ext>
            </c:extLst>
          </c:dPt>
          <c:dPt>
            <c:idx val="109"/>
            <c:invertIfNegative val="1"/>
            <c:bubble3D val="0"/>
            <c:spPr>
              <a:solidFill>
                <a:srgbClr val="AEABAB"/>
              </a:solidFill>
            </c:spPr>
            <c:extLst>
              <c:ext xmlns:c16="http://schemas.microsoft.com/office/drawing/2014/chart" uri="{C3380CC4-5D6E-409C-BE32-E72D297353CC}">
                <c16:uniqueId val="{000000DD-2993-41DE-A2CB-63102DE87051}"/>
              </c:ext>
            </c:extLst>
          </c:dPt>
          <c:dPt>
            <c:idx val="110"/>
            <c:invertIfNegative val="1"/>
            <c:bubble3D val="0"/>
            <c:spPr>
              <a:solidFill>
                <a:srgbClr val="AEABAB"/>
              </a:solidFill>
            </c:spPr>
            <c:extLst>
              <c:ext xmlns:c16="http://schemas.microsoft.com/office/drawing/2014/chart" uri="{C3380CC4-5D6E-409C-BE32-E72D297353CC}">
                <c16:uniqueId val="{000000DF-2993-41DE-A2CB-63102DE87051}"/>
              </c:ext>
            </c:extLst>
          </c:dPt>
          <c:dPt>
            <c:idx val="111"/>
            <c:invertIfNegative val="1"/>
            <c:bubble3D val="0"/>
            <c:spPr>
              <a:solidFill>
                <a:srgbClr val="AEABAB"/>
              </a:solidFill>
            </c:spPr>
            <c:extLst>
              <c:ext xmlns:c16="http://schemas.microsoft.com/office/drawing/2014/chart" uri="{C3380CC4-5D6E-409C-BE32-E72D297353CC}">
                <c16:uniqueId val="{000000E1-2993-41DE-A2CB-63102DE87051}"/>
              </c:ext>
            </c:extLst>
          </c:dPt>
          <c:dPt>
            <c:idx val="112"/>
            <c:invertIfNegative val="1"/>
            <c:bubble3D val="0"/>
            <c:spPr>
              <a:solidFill>
                <a:srgbClr val="AEABAB"/>
              </a:solidFill>
            </c:spPr>
            <c:extLst>
              <c:ext xmlns:c16="http://schemas.microsoft.com/office/drawing/2014/chart" uri="{C3380CC4-5D6E-409C-BE32-E72D297353CC}">
                <c16:uniqueId val="{000000E3-2993-41DE-A2CB-63102DE87051}"/>
              </c:ext>
            </c:extLst>
          </c:dPt>
          <c:dPt>
            <c:idx val="113"/>
            <c:invertIfNegative val="1"/>
            <c:bubble3D val="0"/>
            <c:spPr>
              <a:solidFill>
                <a:srgbClr val="AEABAB"/>
              </a:solidFill>
            </c:spPr>
            <c:extLst>
              <c:ext xmlns:c16="http://schemas.microsoft.com/office/drawing/2014/chart" uri="{C3380CC4-5D6E-409C-BE32-E72D297353CC}">
                <c16:uniqueId val="{000000E5-2993-41DE-A2CB-63102DE87051}"/>
              </c:ext>
            </c:extLst>
          </c:dPt>
          <c:dPt>
            <c:idx val="114"/>
            <c:invertIfNegative val="1"/>
            <c:bubble3D val="0"/>
            <c:spPr>
              <a:solidFill>
                <a:srgbClr val="AEABAB"/>
              </a:solidFill>
            </c:spPr>
            <c:extLst>
              <c:ext xmlns:c16="http://schemas.microsoft.com/office/drawing/2014/chart" uri="{C3380CC4-5D6E-409C-BE32-E72D297353CC}">
                <c16:uniqueId val="{000000E7-2993-41DE-A2CB-63102DE87051}"/>
              </c:ext>
            </c:extLst>
          </c:dPt>
          <c:dPt>
            <c:idx val="115"/>
            <c:invertIfNegative val="1"/>
            <c:bubble3D val="0"/>
            <c:spPr>
              <a:solidFill>
                <a:srgbClr val="AEABAB"/>
              </a:solidFill>
            </c:spPr>
            <c:extLst>
              <c:ext xmlns:c16="http://schemas.microsoft.com/office/drawing/2014/chart" uri="{C3380CC4-5D6E-409C-BE32-E72D297353CC}">
                <c16:uniqueId val="{000000E9-2993-41DE-A2CB-63102DE87051}"/>
              </c:ext>
            </c:extLst>
          </c:dPt>
          <c:dPt>
            <c:idx val="116"/>
            <c:invertIfNegative val="1"/>
            <c:bubble3D val="0"/>
            <c:spPr>
              <a:solidFill>
                <a:srgbClr val="AEABAB"/>
              </a:solidFill>
            </c:spPr>
            <c:extLst>
              <c:ext xmlns:c16="http://schemas.microsoft.com/office/drawing/2014/chart" uri="{C3380CC4-5D6E-409C-BE32-E72D297353CC}">
                <c16:uniqueId val="{000000EB-2993-41DE-A2CB-63102DE87051}"/>
              </c:ext>
            </c:extLst>
          </c:dPt>
          <c:dPt>
            <c:idx val="117"/>
            <c:invertIfNegative val="1"/>
            <c:bubble3D val="0"/>
            <c:spPr>
              <a:solidFill>
                <a:srgbClr val="AEABAB"/>
              </a:solidFill>
            </c:spPr>
            <c:extLst>
              <c:ext xmlns:c16="http://schemas.microsoft.com/office/drawing/2014/chart" uri="{C3380CC4-5D6E-409C-BE32-E72D297353CC}">
                <c16:uniqueId val="{000000ED-2993-41DE-A2CB-63102DE87051}"/>
              </c:ext>
            </c:extLst>
          </c:dPt>
          <c:dPt>
            <c:idx val="118"/>
            <c:invertIfNegative val="1"/>
            <c:bubble3D val="0"/>
            <c:spPr>
              <a:solidFill>
                <a:srgbClr val="AEABAB"/>
              </a:solidFill>
            </c:spPr>
            <c:extLst>
              <c:ext xmlns:c16="http://schemas.microsoft.com/office/drawing/2014/chart" uri="{C3380CC4-5D6E-409C-BE32-E72D297353CC}">
                <c16:uniqueId val="{000000EF-2993-41DE-A2CB-63102DE87051}"/>
              </c:ext>
            </c:extLst>
          </c:dPt>
          <c:dPt>
            <c:idx val="119"/>
            <c:invertIfNegative val="1"/>
            <c:bubble3D val="0"/>
            <c:spPr>
              <a:solidFill>
                <a:srgbClr val="AEABAB"/>
              </a:solidFill>
            </c:spPr>
            <c:extLst>
              <c:ext xmlns:c16="http://schemas.microsoft.com/office/drawing/2014/chart" uri="{C3380CC4-5D6E-409C-BE32-E72D297353CC}">
                <c16:uniqueId val="{000000F1-2993-41DE-A2CB-63102DE87051}"/>
              </c:ext>
            </c:extLst>
          </c:dPt>
          <c:dPt>
            <c:idx val="120"/>
            <c:invertIfNegative val="1"/>
            <c:bubble3D val="0"/>
            <c:spPr>
              <a:solidFill>
                <a:srgbClr val="AEABAB"/>
              </a:solidFill>
            </c:spPr>
            <c:extLst>
              <c:ext xmlns:c16="http://schemas.microsoft.com/office/drawing/2014/chart" uri="{C3380CC4-5D6E-409C-BE32-E72D297353CC}">
                <c16:uniqueId val="{000000F3-2993-41DE-A2CB-63102DE87051}"/>
              </c:ext>
            </c:extLst>
          </c:dPt>
          <c:dPt>
            <c:idx val="121"/>
            <c:invertIfNegative val="1"/>
            <c:bubble3D val="0"/>
            <c:spPr>
              <a:solidFill>
                <a:srgbClr val="AEABAB"/>
              </a:solidFill>
            </c:spPr>
            <c:extLst>
              <c:ext xmlns:c16="http://schemas.microsoft.com/office/drawing/2014/chart" uri="{C3380CC4-5D6E-409C-BE32-E72D297353CC}">
                <c16:uniqueId val="{000000F5-2993-41DE-A2CB-63102DE87051}"/>
              </c:ext>
            </c:extLst>
          </c:dPt>
          <c:dPt>
            <c:idx val="122"/>
            <c:invertIfNegative val="1"/>
            <c:bubble3D val="0"/>
            <c:spPr>
              <a:solidFill>
                <a:srgbClr val="AEABAB"/>
              </a:solidFill>
            </c:spPr>
            <c:extLst>
              <c:ext xmlns:c16="http://schemas.microsoft.com/office/drawing/2014/chart" uri="{C3380CC4-5D6E-409C-BE32-E72D297353CC}">
                <c16:uniqueId val="{000000F7-2993-41DE-A2CB-63102DE87051}"/>
              </c:ext>
            </c:extLst>
          </c:dPt>
          <c:dPt>
            <c:idx val="123"/>
            <c:invertIfNegative val="1"/>
            <c:bubble3D val="0"/>
            <c:spPr>
              <a:solidFill>
                <a:srgbClr val="AEABAB"/>
              </a:solidFill>
            </c:spPr>
            <c:extLst>
              <c:ext xmlns:c16="http://schemas.microsoft.com/office/drawing/2014/chart" uri="{C3380CC4-5D6E-409C-BE32-E72D297353CC}">
                <c16:uniqueId val="{000000F9-2993-41DE-A2CB-63102DE87051}"/>
              </c:ext>
            </c:extLst>
          </c:dPt>
          <c:dPt>
            <c:idx val="124"/>
            <c:invertIfNegative val="1"/>
            <c:bubble3D val="0"/>
            <c:spPr>
              <a:solidFill>
                <a:srgbClr val="AEABAB"/>
              </a:solidFill>
            </c:spPr>
            <c:extLst>
              <c:ext xmlns:c16="http://schemas.microsoft.com/office/drawing/2014/chart" uri="{C3380CC4-5D6E-409C-BE32-E72D297353CC}">
                <c16:uniqueId val="{000000FB-2993-41DE-A2CB-63102DE87051}"/>
              </c:ext>
            </c:extLst>
          </c:dPt>
          <c:dPt>
            <c:idx val="125"/>
            <c:invertIfNegative val="1"/>
            <c:bubble3D val="0"/>
            <c:spPr>
              <a:solidFill>
                <a:srgbClr val="AEABAB"/>
              </a:solidFill>
            </c:spPr>
            <c:extLst>
              <c:ext xmlns:c16="http://schemas.microsoft.com/office/drawing/2014/chart" uri="{C3380CC4-5D6E-409C-BE32-E72D297353CC}">
                <c16:uniqueId val="{000000FD-2993-41DE-A2CB-63102DE87051}"/>
              </c:ext>
            </c:extLst>
          </c:dPt>
          <c:dPt>
            <c:idx val="126"/>
            <c:invertIfNegative val="1"/>
            <c:bubble3D val="0"/>
            <c:spPr>
              <a:solidFill>
                <a:srgbClr val="AEABAB"/>
              </a:solidFill>
            </c:spPr>
            <c:extLst>
              <c:ext xmlns:c16="http://schemas.microsoft.com/office/drawing/2014/chart" uri="{C3380CC4-5D6E-409C-BE32-E72D297353CC}">
                <c16:uniqueId val="{000000FF-2993-41DE-A2CB-63102DE87051}"/>
              </c:ext>
            </c:extLst>
          </c:dPt>
          <c:dPt>
            <c:idx val="127"/>
            <c:invertIfNegative val="1"/>
            <c:bubble3D val="0"/>
            <c:spPr>
              <a:solidFill>
                <a:srgbClr val="AEABAB"/>
              </a:solidFill>
            </c:spPr>
            <c:extLst>
              <c:ext xmlns:c16="http://schemas.microsoft.com/office/drawing/2014/chart" uri="{C3380CC4-5D6E-409C-BE32-E72D297353CC}">
                <c16:uniqueId val="{00000101-2993-41DE-A2CB-63102DE87051}"/>
              </c:ext>
            </c:extLst>
          </c:dPt>
          <c:dPt>
            <c:idx val="128"/>
            <c:invertIfNegative val="1"/>
            <c:bubble3D val="0"/>
            <c:spPr>
              <a:solidFill>
                <a:srgbClr val="AEABAB"/>
              </a:solidFill>
            </c:spPr>
            <c:extLst>
              <c:ext xmlns:c16="http://schemas.microsoft.com/office/drawing/2014/chart" uri="{C3380CC4-5D6E-409C-BE32-E72D297353CC}">
                <c16:uniqueId val="{00000103-2993-41DE-A2CB-63102DE87051}"/>
              </c:ext>
            </c:extLst>
          </c:dPt>
          <c:dPt>
            <c:idx val="129"/>
            <c:invertIfNegative val="1"/>
            <c:bubble3D val="0"/>
            <c:spPr>
              <a:solidFill>
                <a:srgbClr val="AEABAB"/>
              </a:solidFill>
            </c:spPr>
            <c:extLst>
              <c:ext xmlns:c16="http://schemas.microsoft.com/office/drawing/2014/chart" uri="{C3380CC4-5D6E-409C-BE32-E72D297353CC}">
                <c16:uniqueId val="{00000105-2993-41DE-A2CB-63102DE87051}"/>
              </c:ext>
            </c:extLst>
          </c:dPt>
          <c:dPt>
            <c:idx val="130"/>
            <c:invertIfNegative val="1"/>
            <c:bubble3D val="0"/>
            <c:spPr>
              <a:solidFill>
                <a:srgbClr val="AEABAB"/>
              </a:solidFill>
            </c:spPr>
            <c:extLst>
              <c:ext xmlns:c16="http://schemas.microsoft.com/office/drawing/2014/chart" uri="{C3380CC4-5D6E-409C-BE32-E72D297353CC}">
                <c16:uniqueId val="{00000107-2993-41DE-A2CB-63102DE87051}"/>
              </c:ext>
            </c:extLst>
          </c:dPt>
          <c:dPt>
            <c:idx val="131"/>
            <c:invertIfNegative val="1"/>
            <c:bubble3D val="0"/>
            <c:spPr>
              <a:solidFill>
                <a:srgbClr val="AEABAB"/>
              </a:solidFill>
            </c:spPr>
            <c:extLst>
              <c:ext xmlns:c16="http://schemas.microsoft.com/office/drawing/2014/chart" uri="{C3380CC4-5D6E-409C-BE32-E72D297353CC}">
                <c16:uniqueId val="{00000109-2993-41DE-A2CB-63102DE87051}"/>
              </c:ext>
            </c:extLst>
          </c:dPt>
          <c:dPt>
            <c:idx val="132"/>
            <c:invertIfNegative val="1"/>
            <c:bubble3D val="0"/>
            <c:spPr>
              <a:solidFill>
                <a:srgbClr val="AEABAB"/>
              </a:solidFill>
            </c:spPr>
            <c:extLst>
              <c:ext xmlns:c16="http://schemas.microsoft.com/office/drawing/2014/chart" uri="{C3380CC4-5D6E-409C-BE32-E72D297353CC}">
                <c16:uniqueId val="{0000010B-2993-41DE-A2CB-63102DE87051}"/>
              </c:ext>
            </c:extLst>
          </c:dPt>
          <c:dPt>
            <c:idx val="133"/>
            <c:invertIfNegative val="1"/>
            <c:bubble3D val="0"/>
            <c:spPr>
              <a:solidFill>
                <a:srgbClr val="AEABAB"/>
              </a:solidFill>
            </c:spPr>
            <c:extLst>
              <c:ext xmlns:c16="http://schemas.microsoft.com/office/drawing/2014/chart" uri="{C3380CC4-5D6E-409C-BE32-E72D297353CC}">
                <c16:uniqueId val="{0000010D-2993-41DE-A2CB-63102DE87051}"/>
              </c:ext>
            </c:extLst>
          </c:dPt>
          <c:dPt>
            <c:idx val="134"/>
            <c:invertIfNegative val="1"/>
            <c:bubble3D val="0"/>
            <c:spPr>
              <a:solidFill>
                <a:srgbClr val="AEABAB"/>
              </a:solidFill>
            </c:spPr>
            <c:extLst>
              <c:ext xmlns:c16="http://schemas.microsoft.com/office/drawing/2014/chart" uri="{C3380CC4-5D6E-409C-BE32-E72D297353CC}">
                <c16:uniqueId val="{0000010F-2993-41DE-A2CB-63102DE87051}"/>
              </c:ext>
            </c:extLst>
          </c:dPt>
          <c:dPt>
            <c:idx val="135"/>
            <c:invertIfNegative val="1"/>
            <c:bubble3D val="0"/>
            <c:spPr>
              <a:solidFill>
                <a:srgbClr val="AEABAB"/>
              </a:solidFill>
            </c:spPr>
            <c:extLst>
              <c:ext xmlns:c16="http://schemas.microsoft.com/office/drawing/2014/chart" uri="{C3380CC4-5D6E-409C-BE32-E72D297353CC}">
                <c16:uniqueId val="{00000111-2993-41DE-A2CB-63102DE87051}"/>
              </c:ext>
            </c:extLst>
          </c:dPt>
          <c:dPt>
            <c:idx val="136"/>
            <c:invertIfNegative val="1"/>
            <c:bubble3D val="0"/>
            <c:spPr>
              <a:solidFill>
                <a:srgbClr val="AEABAB"/>
              </a:solidFill>
            </c:spPr>
            <c:extLst>
              <c:ext xmlns:c16="http://schemas.microsoft.com/office/drawing/2014/chart" uri="{C3380CC4-5D6E-409C-BE32-E72D297353CC}">
                <c16:uniqueId val="{00000113-2993-41DE-A2CB-63102DE87051}"/>
              </c:ext>
            </c:extLst>
          </c:dPt>
          <c:dPt>
            <c:idx val="137"/>
            <c:invertIfNegative val="1"/>
            <c:bubble3D val="0"/>
            <c:spPr>
              <a:solidFill>
                <a:srgbClr val="AEABAB"/>
              </a:solidFill>
            </c:spPr>
            <c:extLst>
              <c:ext xmlns:c16="http://schemas.microsoft.com/office/drawing/2014/chart" uri="{C3380CC4-5D6E-409C-BE32-E72D297353CC}">
                <c16:uniqueId val="{00000115-2993-41DE-A2CB-63102DE87051}"/>
              </c:ext>
            </c:extLst>
          </c:dPt>
          <c:dPt>
            <c:idx val="138"/>
            <c:invertIfNegative val="1"/>
            <c:bubble3D val="0"/>
            <c:spPr>
              <a:solidFill>
                <a:srgbClr val="AEABAB"/>
              </a:solidFill>
            </c:spPr>
            <c:extLst>
              <c:ext xmlns:c16="http://schemas.microsoft.com/office/drawing/2014/chart" uri="{C3380CC4-5D6E-409C-BE32-E72D297353CC}">
                <c16:uniqueId val="{00000117-2993-41DE-A2CB-63102DE87051}"/>
              </c:ext>
            </c:extLst>
          </c:dPt>
          <c:dPt>
            <c:idx val="139"/>
            <c:invertIfNegative val="1"/>
            <c:bubble3D val="0"/>
            <c:spPr>
              <a:solidFill>
                <a:srgbClr val="AEABAB"/>
              </a:solidFill>
            </c:spPr>
            <c:extLst>
              <c:ext xmlns:c16="http://schemas.microsoft.com/office/drawing/2014/chart" uri="{C3380CC4-5D6E-409C-BE32-E72D297353CC}">
                <c16:uniqueId val="{00000119-2993-41DE-A2CB-63102DE87051}"/>
              </c:ext>
            </c:extLst>
          </c:dPt>
          <c:dPt>
            <c:idx val="140"/>
            <c:invertIfNegative val="1"/>
            <c:bubble3D val="0"/>
            <c:spPr>
              <a:solidFill>
                <a:srgbClr val="AEABAB"/>
              </a:solidFill>
            </c:spPr>
            <c:extLst>
              <c:ext xmlns:c16="http://schemas.microsoft.com/office/drawing/2014/chart" uri="{C3380CC4-5D6E-409C-BE32-E72D297353CC}">
                <c16:uniqueId val="{0000011B-2993-41DE-A2CB-63102DE87051}"/>
              </c:ext>
            </c:extLst>
          </c:dPt>
          <c:dPt>
            <c:idx val="141"/>
            <c:invertIfNegative val="1"/>
            <c:bubble3D val="0"/>
            <c:spPr>
              <a:solidFill>
                <a:srgbClr val="AEABAB"/>
              </a:solidFill>
            </c:spPr>
            <c:extLst>
              <c:ext xmlns:c16="http://schemas.microsoft.com/office/drawing/2014/chart" uri="{C3380CC4-5D6E-409C-BE32-E72D297353CC}">
                <c16:uniqueId val="{0000011D-2993-41DE-A2CB-63102DE87051}"/>
              </c:ext>
            </c:extLst>
          </c:dPt>
          <c:dPt>
            <c:idx val="142"/>
            <c:invertIfNegative val="1"/>
            <c:bubble3D val="0"/>
            <c:spPr>
              <a:solidFill>
                <a:srgbClr val="AEABAB"/>
              </a:solidFill>
            </c:spPr>
            <c:extLst>
              <c:ext xmlns:c16="http://schemas.microsoft.com/office/drawing/2014/chart" uri="{C3380CC4-5D6E-409C-BE32-E72D297353CC}">
                <c16:uniqueId val="{0000011F-2993-41DE-A2CB-63102DE87051}"/>
              </c:ext>
            </c:extLst>
          </c:dPt>
          <c:dPt>
            <c:idx val="143"/>
            <c:invertIfNegative val="1"/>
            <c:bubble3D val="0"/>
            <c:spPr>
              <a:solidFill>
                <a:srgbClr val="AEABAB"/>
              </a:solidFill>
            </c:spPr>
            <c:extLst>
              <c:ext xmlns:c16="http://schemas.microsoft.com/office/drawing/2014/chart" uri="{C3380CC4-5D6E-409C-BE32-E72D297353CC}">
                <c16:uniqueId val="{00000121-2993-41DE-A2CB-63102DE87051}"/>
              </c:ext>
            </c:extLst>
          </c:dPt>
          <c:dPt>
            <c:idx val="144"/>
            <c:invertIfNegative val="1"/>
            <c:bubble3D val="0"/>
            <c:spPr>
              <a:solidFill>
                <a:srgbClr val="AEABAB"/>
              </a:solidFill>
            </c:spPr>
            <c:extLst>
              <c:ext xmlns:c16="http://schemas.microsoft.com/office/drawing/2014/chart" uri="{C3380CC4-5D6E-409C-BE32-E72D297353CC}">
                <c16:uniqueId val="{00000123-2993-41DE-A2CB-63102DE87051}"/>
              </c:ext>
            </c:extLst>
          </c:dPt>
          <c:dPt>
            <c:idx val="145"/>
            <c:invertIfNegative val="1"/>
            <c:bubble3D val="0"/>
            <c:spPr>
              <a:solidFill>
                <a:srgbClr val="AEABAB"/>
              </a:solidFill>
            </c:spPr>
            <c:extLst>
              <c:ext xmlns:c16="http://schemas.microsoft.com/office/drawing/2014/chart" uri="{C3380CC4-5D6E-409C-BE32-E72D297353CC}">
                <c16:uniqueId val="{00000125-2993-41DE-A2CB-63102DE87051}"/>
              </c:ext>
            </c:extLst>
          </c:dPt>
          <c:dPt>
            <c:idx val="146"/>
            <c:invertIfNegative val="1"/>
            <c:bubble3D val="0"/>
            <c:spPr>
              <a:solidFill>
                <a:srgbClr val="AEABAB"/>
              </a:solidFill>
            </c:spPr>
            <c:extLst>
              <c:ext xmlns:c16="http://schemas.microsoft.com/office/drawing/2014/chart" uri="{C3380CC4-5D6E-409C-BE32-E72D297353CC}">
                <c16:uniqueId val="{00000127-2993-41DE-A2CB-63102DE87051}"/>
              </c:ext>
            </c:extLst>
          </c:dPt>
          <c:dPt>
            <c:idx val="147"/>
            <c:invertIfNegative val="1"/>
            <c:bubble3D val="0"/>
            <c:spPr>
              <a:solidFill>
                <a:srgbClr val="AEABAB"/>
              </a:solidFill>
            </c:spPr>
            <c:extLst>
              <c:ext xmlns:c16="http://schemas.microsoft.com/office/drawing/2014/chart" uri="{C3380CC4-5D6E-409C-BE32-E72D297353CC}">
                <c16:uniqueId val="{00000129-2993-41DE-A2CB-63102DE87051}"/>
              </c:ext>
            </c:extLst>
          </c:dPt>
          <c:dPt>
            <c:idx val="148"/>
            <c:invertIfNegative val="1"/>
            <c:bubble3D val="0"/>
            <c:spPr>
              <a:solidFill>
                <a:srgbClr val="AEABAB"/>
              </a:solidFill>
            </c:spPr>
            <c:extLst>
              <c:ext xmlns:c16="http://schemas.microsoft.com/office/drawing/2014/chart" uri="{C3380CC4-5D6E-409C-BE32-E72D297353CC}">
                <c16:uniqueId val="{0000012B-2993-41DE-A2CB-63102DE87051}"/>
              </c:ext>
            </c:extLst>
          </c:dPt>
          <c:dPt>
            <c:idx val="149"/>
            <c:invertIfNegative val="1"/>
            <c:bubble3D val="0"/>
            <c:spPr>
              <a:solidFill>
                <a:srgbClr val="AEABAB"/>
              </a:solidFill>
            </c:spPr>
            <c:extLst>
              <c:ext xmlns:c16="http://schemas.microsoft.com/office/drawing/2014/chart" uri="{C3380CC4-5D6E-409C-BE32-E72D297353CC}">
                <c16:uniqueId val="{0000012D-2993-41DE-A2CB-63102DE87051}"/>
              </c:ext>
            </c:extLst>
          </c:dPt>
          <c:dPt>
            <c:idx val="150"/>
            <c:invertIfNegative val="1"/>
            <c:bubble3D val="0"/>
            <c:spPr>
              <a:solidFill>
                <a:srgbClr val="AEABAB"/>
              </a:solidFill>
            </c:spPr>
            <c:extLst>
              <c:ext xmlns:c16="http://schemas.microsoft.com/office/drawing/2014/chart" uri="{C3380CC4-5D6E-409C-BE32-E72D297353CC}">
                <c16:uniqueId val="{0000012F-2993-41DE-A2CB-63102DE87051}"/>
              </c:ext>
            </c:extLst>
          </c:dPt>
          <c:dPt>
            <c:idx val="151"/>
            <c:invertIfNegative val="1"/>
            <c:bubble3D val="0"/>
            <c:spPr>
              <a:solidFill>
                <a:srgbClr val="AEABAB"/>
              </a:solidFill>
            </c:spPr>
            <c:extLst>
              <c:ext xmlns:c16="http://schemas.microsoft.com/office/drawing/2014/chart" uri="{C3380CC4-5D6E-409C-BE32-E72D297353CC}">
                <c16:uniqueId val="{00000131-2993-41DE-A2CB-63102DE87051}"/>
              </c:ext>
            </c:extLst>
          </c:dPt>
          <c:dPt>
            <c:idx val="152"/>
            <c:invertIfNegative val="1"/>
            <c:bubble3D val="0"/>
            <c:spPr>
              <a:solidFill>
                <a:srgbClr val="AEABAB"/>
              </a:solidFill>
            </c:spPr>
            <c:extLst>
              <c:ext xmlns:c16="http://schemas.microsoft.com/office/drawing/2014/chart" uri="{C3380CC4-5D6E-409C-BE32-E72D297353CC}">
                <c16:uniqueId val="{00000133-2993-41DE-A2CB-63102DE87051}"/>
              </c:ext>
            </c:extLst>
          </c:dPt>
          <c:dPt>
            <c:idx val="153"/>
            <c:invertIfNegative val="1"/>
            <c:bubble3D val="0"/>
            <c:spPr>
              <a:solidFill>
                <a:srgbClr val="AEABAB"/>
              </a:solidFill>
            </c:spPr>
            <c:extLst>
              <c:ext xmlns:c16="http://schemas.microsoft.com/office/drawing/2014/chart" uri="{C3380CC4-5D6E-409C-BE32-E72D297353CC}">
                <c16:uniqueId val="{00000135-2993-41DE-A2CB-63102DE87051}"/>
              </c:ext>
            </c:extLst>
          </c:dPt>
          <c:dPt>
            <c:idx val="154"/>
            <c:invertIfNegative val="1"/>
            <c:bubble3D val="0"/>
            <c:spPr>
              <a:solidFill>
                <a:srgbClr val="AEABAB"/>
              </a:solidFill>
            </c:spPr>
            <c:extLst>
              <c:ext xmlns:c16="http://schemas.microsoft.com/office/drawing/2014/chart" uri="{C3380CC4-5D6E-409C-BE32-E72D297353CC}">
                <c16:uniqueId val="{00000137-2993-41DE-A2CB-63102DE87051}"/>
              </c:ext>
            </c:extLst>
          </c:dPt>
          <c:dPt>
            <c:idx val="155"/>
            <c:invertIfNegative val="1"/>
            <c:bubble3D val="0"/>
            <c:spPr>
              <a:solidFill>
                <a:srgbClr val="AEABAB"/>
              </a:solidFill>
            </c:spPr>
            <c:extLst>
              <c:ext xmlns:c16="http://schemas.microsoft.com/office/drawing/2014/chart" uri="{C3380CC4-5D6E-409C-BE32-E72D297353CC}">
                <c16:uniqueId val="{00000139-2993-41DE-A2CB-63102DE87051}"/>
              </c:ext>
            </c:extLst>
          </c:dPt>
          <c:dPt>
            <c:idx val="156"/>
            <c:invertIfNegative val="1"/>
            <c:bubble3D val="0"/>
            <c:spPr>
              <a:solidFill>
                <a:srgbClr val="AEABAB"/>
              </a:solidFill>
            </c:spPr>
            <c:extLst>
              <c:ext xmlns:c16="http://schemas.microsoft.com/office/drawing/2014/chart" uri="{C3380CC4-5D6E-409C-BE32-E72D297353CC}">
                <c16:uniqueId val="{0000013B-2993-41DE-A2CB-63102DE87051}"/>
              </c:ext>
            </c:extLst>
          </c:dPt>
          <c:dPt>
            <c:idx val="157"/>
            <c:invertIfNegative val="1"/>
            <c:bubble3D val="0"/>
            <c:spPr>
              <a:solidFill>
                <a:srgbClr val="AEABAB"/>
              </a:solidFill>
            </c:spPr>
            <c:extLst>
              <c:ext xmlns:c16="http://schemas.microsoft.com/office/drawing/2014/chart" uri="{C3380CC4-5D6E-409C-BE32-E72D297353CC}">
                <c16:uniqueId val="{0000013D-2993-41DE-A2CB-63102DE87051}"/>
              </c:ext>
            </c:extLst>
          </c:dPt>
          <c:dPt>
            <c:idx val="158"/>
            <c:invertIfNegative val="1"/>
            <c:bubble3D val="0"/>
            <c:spPr>
              <a:solidFill>
                <a:srgbClr val="AEABAB"/>
              </a:solidFill>
            </c:spPr>
            <c:extLst>
              <c:ext xmlns:c16="http://schemas.microsoft.com/office/drawing/2014/chart" uri="{C3380CC4-5D6E-409C-BE32-E72D297353CC}">
                <c16:uniqueId val="{0000013F-2993-41DE-A2CB-63102DE87051}"/>
              </c:ext>
            </c:extLst>
          </c:dPt>
          <c:dPt>
            <c:idx val="159"/>
            <c:invertIfNegative val="1"/>
            <c:bubble3D val="0"/>
            <c:spPr>
              <a:solidFill>
                <a:srgbClr val="AEABAB"/>
              </a:solidFill>
            </c:spPr>
            <c:extLst>
              <c:ext xmlns:c16="http://schemas.microsoft.com/office/drawing/2014/chart" uri="{C3380CC4-5D6E-409C-BE32-E72D297353CC}">
                <c16:uniqueId val="{00000141-2993-41DE-A2CB-63102DE87051}"/>
              </c:ext>
            </c:extLst>
          </c:dPt>
          <c:dPt>
            <c:idx val="160"/>
            <c:invertIfNegative val="1"/>
            <c:bubble3D val="0"/>
            <c:spPr>
              <a:solidFill>
                <a:srgbClr val="AEABAB"/>
              </a:solidFill>
            </c:spPr>
            <c:extLst>
              <c:ext xmlns:c16="http://schemas.microsoft.com/office/drawing/2014/chart" uri="{C3380CC4-5D6E-409C-BE32-E72D297353CC}">
                <c16:uniqueId val="{00000143-2993-41DE-A2CB-63102DE87051}"/>
              </c:ext>
            </c:extLst>
          </c:dPt>
          <c:dPt>
            <c:idx val="161"/>
            <c:invertIfNegative val="1"/>
            <c:bubble3D val="0"/>
            <c:spPr>
              <a:solidFill>
                <a:srgbClr val="AEABAB"/>
              </a:solidFill>
            </c:spPr>
            <c:extLst>
              <c:ext xmlns:c16="http://schemas.microsoft.com/office/drawing/2014/chart" uri="{C3380CC4-5D6E-409C-BE32-E72D297353CC}">
                <c16:uniqueId val="{00000145-2993-41DE-A2CB-63102DE87051}"/>
              </c:ext>
            </c:extLst>
          </c:dPt>
          <c:dPt>
            <c:idx val="162"/>
            <c:invertIfNegative val="1"/>
            <c:bubble3D val="0"/>
            <c:spPr>
              <a:solidFill>
                <a:srgbClr val="AEABAB"/>
              </a:solidFill>
            </c:spPr>
            <c:extLst>
              <c:ext xmlns:c16="http://schemas.microsoft.com/office/drawing/2014/chart" uri="{C3380CC4-5D6E-409C-BE32-E72D297353CC}">
                <c16:uniqueId val="{00000147-2993-41DE-A2CB-63102DE87051}"/>
              </c:ext>
            </c:extLst>
          </c:dPt>
          <c:dPt>
            <c:idx val="163"/>
            <c:invertIfNegative val="1"/>
            <c:bubble3D val="0"/>
            <c:spPr>
              <a:solidFill>
                <a:srgbClr val="AEABAB"/>
              </a:solidFill>
            </c:spPr>
            <c:extLst>
              <c:ext xmlns:c16="http://schemas.microsoft.com/office/drawing/2014/chart" uri="{C3380CC4-5D6E-409C-BE32-E72D297353CC}">
                <c16:uniqueId val="{00000149-2993-41DE-A2CB-63102DE87051}"/>
              </c:ext>
            </c:extLst>
          </c:dPt>
          <c:dPt>
            <c:idx val="164"/>
            <c:invertIfNegative val="1"/>
            <c:bubble3D val="0"/>
            <c:spPr>
              <a:solidFill>
                <a:srgbClr val="AEABAB"/>
              </a:solidFill>
            </c:spPr>
            <c:extLst>
              <c:ext xmlns:c16="http://schemas.microsoft.com/office/drawing/2014/chart" uri="{C3380CC4-5D6E-409C-BE32-E72D297353CC}">
                <c16:uniqueId val="{0000014B-2993-41DE-A2CB-63102DE87051}"/>
              </c:ext>
            </c:extLst>
          </c:dPt>
          <c:dPt>
            <c:idx val="165"/>
            <c:invertIfNegative val="1"/>
            <c:bubble3D val="0"/>
            <c:spPr>
              <a:solidFill>
                <a:srgbClr val="AEABAB"/>
              </a:solidFill>
            </c:spPr>
            <c:extLst>
              <c:ext xmlns:c16="http://schemas.microsoft.com/office/drawing/2014/chart" uri="{C3380CC4-5D6E-409C-BE32-E72D297353CC}">
                <c16:uniqueId val="{0000014D-2993-41DE-A2CB-63102DE87051}"/>
              </c:ext>
            </c:extLst>
          </c:dPt>
          <c:dPt>
            <c:idx val="166"/>
            <c:invertIfNegative val="1"/>
            <c:bubble3D val="0"/>
            <c:spPr>
              <a:solidFill>
                <a:srgbClr val="AEABAB"/>
              </a:solidFill>
            </c:spPr>
            <c:extLst>
              <c:ext xmlns:c16="http://schemas.microsoft.com/office/drawing/2014/chart" uri="{C3380CC4-5D6E-409C-BE32-E72D297353CC}">
                <c16:uniqueId val="{0000014F-2993-41DE-A2CB-63102DE87051}"/>
              </c:ext>
            </c:extLst>
          </c:dPt>
          <c:dPt>
            <c:idx val="167"/>
            <c:invertIfNegative val="1"/>
            <c:bubble3D val="0"/>
            <c:spPr>
              <a:solidFill>
                <a:srgbClr val="AEABAB"/>
              </a:solidFill>
            </c:spPr>
            <c:extLst>
              <c:ext xmlns:c16="http://schemas.microsoft.com/office/drawing/2014/chart" uri="{C3380CC4-5D6E-409C-BE32-E72D297353CC}">
                <c16:uniqueId val="{00000151-2993-41DE-A2CB-63102DE87051}"/>
              </c:ext>
            </c:extLst>
          </c:dPt>
          <c:dPt>
            <c:idx val="168"/>
            <c:invertIfNegative val="1"/>
            <c:bubble3D val="0"/>
            <c:spPr>
              <a:solidFill>
                <a:srgbClr val="AEABAB"/>
              </a:solidFill>
            </c:spPr>
            <c:extLst>
              <c:ext xmlns:c16="http://schemas.microsoft.com/office/drawing/2014/chart" uri="{C3380CC4-5D6E-409C-BE32-E72D297353CC}">
                <c16:uniqueId val="{00000153-2993-41DE-A2CB-63102DE87051}"/>
              </c:ext>
            </c:extLst>
          </c:dPt>
          <c:dPt>
            <c:idx val="169"/>
            <c:invertIfNegative val="1"/>
            <c:bubble3D val="0"/>
            <c:spPr>
              <a:solidFill>
                <a:srgbClr val="AEABAB"/>
              </a:solidFill>
            </c:spPr>
            <c:extLst>
              <c:ext xmlns:c16="http://schemas.microsoft.com/office/drawing/2014/chart" uri="{C3380CC4-5D6E-409C-BE32-E72D297353CC}">
                <c16:uniqueId val="{00000155-2993-41DE-A2CB-63102DE87051}"/>
              </c:ext>
            </c:extLst>
          </c:dPt>
          <c:dPt>
            <c:idx val="170"/>
            <c:invertIfNegative val="1"/>
            <c:bubble3D val="0"/>
            <c:spPr>
              <a:solidFill>
                <a:srgbClr val="AEABAB"/>
              </a:solidFill>
            </c:spPr>
            <c:extLst>
              <c:ext xmlns:c16="http://schemas.microsoft.com/office/drawing/2014/chart" uri="{C3380CC4-5D6E-409C-BE32-E72D297353CC}">
                <c16:uniqueId val="{00000157-2993-41DE-A2CB-63102DE87051}"/>
              </c:ext>
            </c:extLst>
          </c:dPt>
          <c:dPt>
            <c:idx val="171"/>
            <c:invertIfNegative val="1"/>
            <c:bubble3D val="0"/>
            <c:spPr>
              <a:solidFill>
                <a:srgbClr val="AEABAB"/>
              </a:solidFill>
            </c:spPr>
            <c:extLst>
              <c:ext xmlns:c16="http://schemas.microsoft.com/office/drawing/2014/chart" uri="{C3380CC4-5D6E-409C-BE32-E72D297353CC}">
                <c16:uniqueId val="{00000159-2993-41DE-A2CB-63102DE87051}"/>
              </c:ext>
            </c:extLst>
          </c:dPt>
          <c:dPt>
            <c:idx val="172"/>
            <c:invertIfNegative val="1"/>
            <c:bubble3D val="0"/>
            <c:spPr>
              <a:solidFill>
                <a:srgbClr val="AEABAB"/>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dPt>
            <c:idx val="210"/>
            <c:invertIfNegative val="1"/>
            <c:bubble3D val="0"/>
            <c:spPr>
              <a:solidFill>
                <a:srgbClr val="AEABAB"/>
              </a:solidFill>
            </c:spPr>
            <c:extLst>
              <c:ext xmlns:c16="http://schemas.microsoft.com/office/drawing/2014/chart" uri="{C3380CC4-5D6E-409C-BE32-E72D297353CC}">
                <c16:uniqueId val="{000001A7-C169-4D0C-94B6-253FCA09A7E6}"/>
              </c:ext>
            </c:extLst>
          </c:dPt>
          <c:dPt>
            <c:idx val="211"/>
            <c:invertIfNegative val="1"/>
            <c:bubble3D val="0"/>
            <c:spPr>
              <a:solidFill>
                <a:srgbClr val="AEABAB"/>
              </a:solidFill>
            </c:spPr>
            <c:extLst>
              <c:ext xmlns:c16="http://schemas.microsoft.com/office/drawing/2014/chart" uri="{C3380CC4-5D6E-409C-BE32-E72D297353CC}">
                <c16:uniqueId val="{000001A9-C169-4D0C-94B6-253FCA09A7E6}"/>
              </c:ext>
            </c:extLst>
          </c:dPt>
          <c:dPt>
            <c:idx val="212"/>
            <c:invertIfNegative val="1"/>
            <c:bubble3D val="0"/>
            <c:spPr>
              <a:solidFill>
                <a:srgbClr val="AEABAB"/>
              </a:solidFill>
            </c:spPr>
            <c:extLst>
              <c:ext xmlns:c16="http://schemas.microsoft.com/office/drawing/2014/chart" uri="{C3380CC4-5D6E-409C-BE32-E72D297353CC}">
                <c16:uniqueId val="{000001AB-C169-4D0C-94B6-253FCA09A7E6}"/>
              </c:ext>
            </c:extLst>
          </c:dPt>
          <c:dPt>
            <c:idx val="213"/>
            <c:invertIfNegative val="1"/>
            <c:bubble3D val="0"/>
            <c:spPr>
              <a:solidFill>
                <a:srgbClr val="AEABAB"/>
              </a:solidFill>
            </c:spPr>
            <c:extLst>
              <c:ext xmlns:c16="http://schemas.microsoft.com/office/drawing/2014/chart" uri="{C3380CC4-5D6E-409C-BE32-E72D297353CC}">
                <c16:uniqueId val="{000001AD-C169-4D0C-94B6-253FCA09A7E6}"/>
              </c:ext>
            </c:extLst>
          </c:dPt>
          <c:dPt>
            <c:idx val="214"/>
            <c:invertIfNegative val="1"/>
            <c:bubble3D val="0"/>
            <c:spPr>
              <a:solidFill>
                <a:srgbClr val="AEABAB"/>
              </a:solidFill>
            </c:spPr>
            <c:extLst>
              <c:ext xmlns:c16="http://schemas.microsoft.com/office/drawing/2014/chart" uri="{C3380CC4-5D6E-409C-BE32-E72D297353CC}">
                <c16:uniqueId val="{000001AF-C169-4D0C-94B6-253FCA09A7E6}"/>
              </c:ext>
            </c:extLst>
          </c:dPt>
          <c:dPt>
            <c:idx val="215"/>
            <c:invertIfNegative val="1"/>
            <c:bubble3D val="0"/>
            <c:spPr>
              <a:solidFill>
                <a:srgbClr val="AEABAB"/>
              </a:solidFill>
            </c:spPr>
            <c:extLst>
              <c:ext xmlns:c16="http://schemas.microsoft.com/office/drawing/2014/chart" uri="{C3380CC4-5D6E-409C-BE32-E72D297353CC}">
                <c16:uniqueId val="{000001B1-C169-4D0C-94B6-253FCA09A7E6}"/>
              </c:ext>
            </c:extLst>
          </c:dPt>
          <c:dPt>
            <c:idx val="216"/>
            <c:invertIfNegative val="1"/>
            <c:bubble3D val="0"/>
            <c:spPr>
              <a:solidFill>
                <a:srgbClr val="AEABAB"/>
              </a:solidFill>
            </c:spPr>
            <c:extLst>
              <c:ext xmlns:c16="http://schemas.microsoft.com/office/drawing/2014/chart" uri="{C3380CC4-5D6E-409C-BE32-E72D297353CC}">
                <c16:uniqueId val="{000001B3-C169-4D0C-94B6-253FCA09A7E6}"/>
              </c:ext>
            </c:extLst>
          </c:dPt>
          <c:dPt>
            <c:idx val="217"/>
            <c:invertIfNegative val="1"/>
            <c:bubble3D val="0"/>
            <c:spPr>
              <a:solidFill>
                <a:srgbClr val="AEABAB"/>
              </a:solidFill>
            </c:spPr>
            <c:extLst>
              <c:ext xmlns:c16="http://schemas.microsoft.com/office/drawing/2014/chart" uri="{C3380CC4-5D6E-409C-BE32-E72D297353CC}">
                <c16:uniqueId val="{000001B5-C169-4D0C-94B6-253FCA09A7E6}"/>
              </c:ext>
            </c:extLst>
          </c:dPt>
          <c:dPt>
            <c:idx val="218"/>
            <c:invertIfNegative val="1"/>
            <c:bubble3D val="0"/>
            <c:spPr>
              <a:solidFill>
                <a:srgbClr val="AEABAB"/>
              </a:solidFill>
            </c:spPr>
            <c:extLst>
              <c:ext xmlns:c16="http://schemas.microsoft.com/office/drawing/2014/chart" uri="{C3380CC4-5D6E-409C-BE32-E72D297353CC}">
                <c16:uniqueId val="{000001B7-C169-4D0C-94B6-253FCA09A7E6}"/>
              </c:ext>
            </c:extLst>
          </c:dPt>
          <c:dPt>
            <c:idx val="219"/>
            <c:invertIfNegative val="1"/>
            <c:bubble3D val="0"/>
            <c:spPr>
              <a:solidFill>
                <a:srgbClr val="AEABAB"/>
              </a:solidFill>
            </c:spPr>
            <c:extLst>
              <c:ext xmlns:c16="http://schemas.microsoft.com/office/drawing/2014/chart" uri="{C3380CC4-5D6E-409C-BE32-E72D297353CC}">
                <c16:uniqueId val="{000001B9-C169-4D0C-94B6-253FCA09A7E6}"/>
              </c:ext>
            </c:extLst>
          </c:dPt>
          <c:dPt>
            <c:idx val="220"/>
            <c:invertIfNegative val="1"/>
            <c:bubble3D val="0"/>
            <c:spPr>
              <a:solidFill>
                <a:srgbClr val="AEABAB"/>
              </a:solidFill>
            </c:spPr>
            <c:extLst>
              <c:ext xmlns:c16="http://schemas.microsoft.com/office/drawing/2014/chart" uri="{C3380CC4-5D6E-409C-BE32-E72D297353CC}">
                <c16:uniqueId val="{000001BB-C169-4D0C-94B6-253FCA09A7E6}"/>
              </c:ext>
            </c:extLst>
          </c:dPt>
          <c:dPt>
            <c:idx val="221"/>
            <c:invertIfNegative val="1"/>
            <c:bubble3D val="0"/>
            <c:spPr>
              <a:solidFill>
                <a:srgbClr val="AEABAB"/>
              </a:solidFill>
            </c:spPr>
            <c:extLst>
              <c:ext xmlns:c16="http://schemas.microsoft.com/office/drawing/2014/chart" uri="{C3380CC4-5D6E-409C-BE32-E72D297353CC}">
                <c16:uniqueId val="{000001BD-C169-4D0C-94B6-253FCA09A7E6}"/>
              </c:ext>
            </c:extLst>
          </c:dPt>
          <c:dPt>
            <c:idx val="222"/>
            <c:invertIfNegative val="1"/>
            <c:bubble3D val="0"/>
            <c:spPr>
              <a:solidFill>
                <a:srgbClr val="AEABAB"/>
              </a:solidFill>
            </c:spPr>
            <c:extLst>
              <c:ext xmlns:c16="http://schemas.microsoft.com/office/drawing/2014/chart" uri="{C3380CC4-5D6E-409C-BE32-E72D297353CC}">
                <c16:uniqueId val="{000001BF-C169-4D0C-94B6-253FCA09A7E6}"/>
              </c:ext>
            </c:extLst>
          </c:dPt>
          <c:dPt>
            <c:idx val="223"/>
            <c:invertIfNegative val="1"/>
            <c:bubble3D val="0"/>
            <c:spPr>
              <a:solidFill>
                <a:srgbClr val="AEABAB"/>
              </a:solidFill>
            </c:spPr>
            <c:extLst>
              <c:ext xmlns:c16="http://schemas.microsoft.com/office/drawing/2014/chart" uri="{C3380CC4-5D6E-409C-BE32-E72D297353CC}">
                <c16:uniqueId val="{000001C1-C169-4D0C-94B6-253FCA09A7E6}"/>
              </c:ext>
            </c:extLst>
          </c:dPt>
          <c:dPt>
            <c:idx val="224"/>
            <c:invertIfNegative val="1"/>
            <c:bubble3D val="0"/>
            <c:spPr>
              <a:solidFill>
                <a:srgbClr val="AEABAB"/>
              </a:solidFill>
            </c:spPr>
            <c:extLst>
              <c:ext xmlns:c16="http://schemas.microsoft.com/office/drawing/2014/chart" uri="{C3380CC4-5D6E-409C-BE32-E72D297353CC}">
                <c16:uniqueId val="{000001C3-C169-4D0C-94B6-253FCA09A7E6}"/>
              </c:ext>
            </c:extLst>
          </c:dPt>
          <c:dPt>
            <c:idx val="225"/>
            <c:invertIfNegative val="1"/>
            <c:bubble3D val="0"/>
            <c:spPr>
              <a:solidFill>
                <a:srgbClr val="AEABAB"/>
              </a:solidFill>
            </c:spPr>
            <c:extLst>
              <c:ext xmlns:c16="http://schemas.microsoft.com/office/drawing/2014/chart" uri="{C3380CC4-5D6E-409C-BE32-E72D297353CC}">
                <c16:uniqueId val="{000001C5-C169-4D0C-94B6-253FCA09A7E6}"/>
              </c:ext>
            </c:extLst>
          </c:dPt>
          <c:dPt>
            <c:idx val="226"/>
            <c:invertIfNegative val="1"/>
            <c:bubble3D val="0"/>
            <c:spPr>
              <a:solidFill>
                <a:srgbClr val="AEABAB"/>
              </a:solidFill>
            </c:spPr>
            <c:extLst>
              <c:ext xmlns:c16="http://schemas.microsoft.com/office/drawing/2014/chart" uri="{C3380CC4-5D6E-409C-BE32-E72D297353CC}">
                <c16:uniqueId val="{000001C7-C169-4D0C-94B6-253FCA09A7E6}"/>
              </c:ext>
            </c:extLst>
          </c:dPt>
          <c:dPt>
            <c:idx val="227"/>
            <c:invertIfNegative val="1"/>
            <c:bubble3D val="0"/>
            <c:spPr>
              <a:solidFill>
                <a:srgbClr val="AEABAB"/>
              </a:solidFill>
            </c:spPr>
            <c:extLst>
              <c:ext xmlns:c16="http://schemas.microsoft.com/office/drawing/2014/chart" uri="{C3380CC4-5D6E-409C-BE32-E72D297353CC}">
                <c16:uniqueId val="{000001C9-C169-4D0C-94B6-253FCA09A7E6}"/>
              </c:ext>
            </c:extLst>
          </c:dPt>
          <c:dPt>
            <c:idx val="228"/>
            <c:invertIfNegative val="1"/>
            <c:bubble3D val="0"/>
            <c:spPr>
              <a:solidFill>
                <a:srgbClr val="AEABAB"/>
              </a:solidFill>
            </c:spPr>
            <c:extLst>
              <c:ext xmlns:c16="http://schemas.microsoft.com/office/drawing/2014/chart" uri="{C3380CC4-5D6E-409C-BE32-E72D297353CC}">
                <c16:uniqueId val="{000001CB-C169-4D0C-94B6-253FCA09A7E6}"/>
              </c:ext>
            </c:extLst>
          </c:dPt>
          <c:dPt>
            <c:idx val="229"/>
            <c:invertIfNegative val="1"/>
            <c:bubble3D val="0"/>
            <c:spPr>
              <a:solidFill>
                <a:srgbClr val="AEABAB"/>
              </a:solidFill>
            </c:spPr>
            <c:extLst>
              <c:ext xmlns:c16="http://schemas.microsoft.com/office/drawing/2014/chart" uri="{C3380CC4-5D6E-409C-BE32-E72D297353CC}">
                <c16:uniqueId val="{000001CD-C169-4D0C-94B6-253FCA09A7E6}"/>
              </c:ext>
            </c:extLst>
          </c:dPt>
          <c:dPt>
            <c:idx val="230"/>
            <c:invertIfNegative val="1"/>
            <c:bubble3D val="0"/>
            <c:spPr>
              <a:solidFill>
                <a:srgbClr val="AEABAB"/>
              </a:solidFill>
            </c:spPr>
            <c:extLst>
              <c:ext xmlns:c16="http://schemas.microsoft.com/office/drawing/2014/chart" uri="{C3380CC4-5D6E-409C-BE32-E72D297353CC}">
                <c16:uniqueId val="{000001CF-C169-4D0C-94B6-253FCA09A7E6}"/>
              </c:ext>
            </c:extLst>
          </c:dPt>
          <c:dPt>
            <c:idx val="231"/>
            <c:invertIfNegative val="1"/>
            <c:bubble3D val="0"/>
            <c:spPr>
              <a:solidFill>
                <a:srgbClr val="AEABAB"/>
              </a:solidFill>
            </c:spPr>
            <c:extLst>
              <c:ext xmlns:c16="http://schemas.microsoft.com/office/drawing/2014/chart" uri="{C3380CC4-5D6E-409C-BE32-E72D297353CC}">
                <c16:uniqueId val="{000001D1-C169-4D0C-94B6-253FCA09A7E6}"/>
              </c:ext>
            </c:extLst>
          </c:dPt>
          <c:dPt>
            <c:idx val="232"/>
            <c:invertIfNegative val="1"/>
            <c:bubble3D val="0"/>
            <c:spPr>
              <a:solidFill>
                <a:srgbClr val="AEABAB"/>
              </a:solidFill>
            </c:spPr>
            <c:extLst>
              <c:ext xmlns:c16="http://schemas.microsoft.com/office/drawing/2014/chart" uri="{C3380CC4-5D6E-409C-BE32-E72D297353CC}">
                <c16:uniqueId val="{000001D3-C169-4D0C-94B6-253FCA09A7E6}"/>
              </c:ext>
            </c:extLst>
          </c:dPt>
          <c:dPt>
            <c:idx val="233"/>
            <c:invertIfNegative val="1"/>
            <c:bubble3D val="0"/>
            <c:spPr>
              <a:solidFill>
                <a:srgbClr val="AEABAB"/>
              </a:solidFill>
            </c:spPr>
            <c:extLst>
              <c:ext xmlns:c16="http://schemas.microsoft.com/office/drawing/2014/chart" uri="{C3380CC4-5D6E-409C-BE32-E72D297353CC}">
                <c16:uniqueId val="{000001D5-C169-4D0C-94B6-253FCA09A7E6}"/>
              </c:ext>
            </c:extLst>
          </c:dPt>
          <c:dPt>
            <c:idx val="234"/>
            <c:invertIfNegative val="1"/>
            <c:bubble3D val="0"/>
            <c:spPr>
              <a:solidFill>
                <a:srgbClr val="AEABAB"/>
              </a:solidFill>
            </c:spPr>
            <c:extLst>
              <c:ext xmlns:c16="http://schemas.microsoft.com/office/drawing/2014/chart" uri="{C3380CC4-5D6E-409C-BE32-E72D297353CC}">
                <c16:uniqueId val="{000001D7-C169-4D0C-94B6-253FCA09A7E6}"/>
              </c:ext>
            </c:extLst>
          </c:dPt>
          <c:dPt>
            <c:idx val="235"/>
            <c:invertIfNegative val="1"/>
            <c:bubble3D val="0"/>
            <c:spPr>
              <a:solidFill>
                <a:srgbClr val="AEABAB"/>
              </a:solidFill>
            </c:spPr>
            <c:extLst>
              <c:ext xmlns:c16="http://schemas.microsoft.com/office/drawing/2014/chart" uri="{C3380CC4-5D6E-409C-BE32-E72D297353CC}">
                <c16:uniqueId val="{000001D9-C169-4D0C-94B6-253FCA09A7E6}"/>
              </c:ext>
            </c:extLst>
          </c:dPt>
          <c:dPt>
            <c:idx val="236"/>
            <c:invertIfNegative val="1"/>
            <c:bubble3D val="0"/>
            <c:spPr>
              <a:solidFill>
                <a:srgbClr val="AEABAB"/>
              </a:solidFill>
            </c:spPr>
            <c:extLst>
              <c:ext xmlns:c16="http://schemas.microsoft.com/office/drawing/2014/chart" uri="{C3380CC4-5D6E-409C-BE32-E72D297353CC}">
                <c16:uniqueId val="{000001DB-C169-4D0C-94B6-253FCA09A7E6}"/>
              </c:ext>
            </c:extLst>
          </c:dPt>
          <c:dPt>
            <c:idx val="237"/>
            <c:invertIfNegative val="1"/>
            <c:bubble3D val="0"/>
            <c:spPr>
              <a:solidFill>
                <a:srgbClr val="AEABAB"/>
              </a:solidFill>
            </c:spPr>
            <c:extLst>
              <c:ext xmlns:c16="http://schemas.microsoft.com/office/drawing/2014/chart" uri="{C3380CC4-5D6E-409C-BE32-E72D297353CC}">
                <c16:uniqueId val="{000001DD-C169-4D0C-94B6-253FCA09A7E6}"/>
              </c:ext>
            </c:extLst>
          </c:dPt>
          <c:dPt>
            <c:idx val="238"/>
            <c:invertIfNegative val="1"/>
            <c:bubble3D val="0"/>
            <c:spPr>
              <a:solidFill>
                <a:srgbClr val="AEABAB"/>
              </a:solidFill>
            </c:spPr>
            <c:extLst>
              <c:ext xmlns:c16="http://schemas.microsoft.com/office/drawing/2014/chart" uri="{C3380CC4-5D6E-409C-BE32-E72D297353CC}">
                <c16:uniqueId val="{000001DF-C169-4D0C-94B6-253FCA09A7E6}"/>
              </c:ext>
            </c:extLst>
          </c:dPt>
          <c:dPt>
            <c:idx val="239"/>
            <c:invertIfNegative val="1"/>
            <c:bubble3D val="0"/>
            <c:spPr>
              <a:solidFill>
                <a:srgbClr val="AEABAB"/>
              </a:solidFill>
            </c:spPr>
            <c:extLst>
              <c:ext xmlns:c16="http://schemas.microsoft.com/office/drawing/2014/chart" uri="{C3380CC4-5D6E-409C-BE32-E72D297353CC}">
                <c16:uniqueId val="{000001E1-C169-4D0C-94B6-253FCA09A7E6}"/>
              </c:ext>
            </c:extLst>
          </c:dPt>
          <c:dPt>
            <c:idx val="240"/>
            <c:invertIfNegative val="1"/>
            <c:bubble3D val="0"/>
            <c:spPr>
              <a:solidFill>
                <a:srgbClr val="AEABAB"/>
              </a:solidFill>
            </c:spPr>
            <c:extLst>
              <c:ext xmlns:c16="http://schemas.microsoft.com/office/drawing/2014/chart" uri="{C3380CC4-5D6E-409C-BE32-E72D297353CC}">
                <c16:uniqueId val="{000001E3-C169-4D0C-94B6-253FCA09A7E6}"/>
              </c:ext>
            </c:extLst>
          </c:dPt>
          <c:dPt>
            <c:idx val="241"/>
            <c:invertIfNegative val="1"/>
            <c:bubble3D val="0"/>
            <c:spPr>
              <a:solidFill>
                <a:srgbClr val="AEABAB"/>
              </a:solidFill>
            </c:spPr>
            <c:extLst>
              <c:ext xmlns:c16="http://schemas.microsoft.com/office/drawing/2014/chart" uri="{C3380CC4-5D6E-409C-BE32-E72D297353CC}">
                <c16:uniqueId val="{000001E5-C169-4D0C-94B6-253FCA09A7E6}"/>
              </c:ext>
            </c:extLst>
          </c:dPt>
          <c:dPt>
            <c:idx val="242"/>
            <c:invertIfNegative val="1"/>
            <c:bubble3D val="0"/>
            <c:spPr>
              <a:solidFill>
                <a:srgbClr val="AEABAB"/>
              </a:solidFill>
            </c:spPr>
            <c:extLst>
              <c:ext xmlns:c16="http://schemas.microsoft.com/office/drawing/2014/chart" uri="{C3380CC4-5D6E-409C-BE32-E72D297353CC}">
                <c16:uniqueId val="{000001E7-C169-4D0C-94B6-253FCA09A7E6}"/>
              </c:ext>
            </c:extLst>
          </c:dPt>
          <c:dPt>
            <c:idx val="243"/>
            <c:invertIfNegative val="1"/>
            <c:bubble3D val="0"/>
            <c:spPr>
              <a:solidFill>
                <a:srgbClr val="AEABAB"/>
              </a:solidFill>
            </c:spPr>
            <c:extLst>
              <c:ext xmlns:c16="http://schemas.microsoft.com/office/drawing/2014/chart" uri="{C3380CC4-5D6E-409C-BE32-E72D297353CC}">
                <c16:uniqueId val="{000001E9-C169-4D0C-94B6-253FCA09A7E6}"/>
              </c:ext>
            </c:extLst>
          </c:dPt>
          <c:dPt>
            <c:idx val="244"/>
            <c:invertIfNegative val="1"/>
            <c:bubble3D val="0"/>
            <c:spPr>
              <a:solidFill>
                <a:srgbClr val="AEABAB"/>
              </a:solidFill>
            </c:spPr>
            <c:extLst>
              <c:ext xmlns:c16="http://schemas.microsoft.com/office/drawing/2014/chart" uri="{C3380CC4-5D6E-409C-BE32-E72D297353CC}">
                <c16:uniqueId val="{000001EB-C169-4D0C-94B6-253FCA09A7E6}"/>
              </c:ext>
            </c:extLst>
          </c:dPt>
          <c:dPt>
            <c:idx val="245"/>
            <c:invertIfNegative val="1"/>
            <c:bubble3D val="0"/>
            <c:spPr>
              <a:solidFill>
                <a:srgbClr val="AEABAB"/>
              </a:solidFill>
            </c:spPr>
            <c:extLst>
              <c:ext xmlns:c16="http://schemas.microsoft.com/office/drawing/2014/chart" uri="{C3380CC4-5D6E-409C-BE32-E72D297353CC}">
                <c16:uniqueId val="{000001ED-C169-4D0C-94B6-253FCA09A7E6}"/>
              </c:ext>
            </c:extLst>
          </c:dPt>
          <c:dPt>
            <c:idx val="246"/>
            <c:invertIfNegative val="1"/>
            <c:bubble3D val="0"/>
            <c:spPr>
              <a:solidFill>
                <a:srgbClr val="AEABAB"/>
              </a:solidFill>
            </c:spPr>
            <c:extLst>
              <c:ext xmlns:c16="http://schemas.microsoft.com/office/drawing/2014/chart" uri="{C3380CC4-5D6E-409C-BE32-E72D297353CC}">
                <c16:uniqueId val="{000001EF-C169-4D0C-94B6-253FCA09A7E6}"/>
              </c:ext>
            </c:extLst>
          </c:dPt>
          <c:dPt>
            <c:idx val="247"/>
            <c:invertIfNegative val="1"/>
            <c:bubble3D val="0"/>
            <c:spPr>
              <a:solidFill>
                <a:srgbClr val="AEABAB"/>
              </a:solidFill>
            </c:spPr>
            <c:extLst>
              <c:ext xmlns:c16="http://schemas.microsoft.com/office/drawing/2014/chart" uri="{C3380CC4-5D6E-409C-BE32-E72D297353CC}">
                <c16:uniqueId val="{000001F1-C169-4D0C-94B6-253FCA09A7E6}"/>
              </c:ext>
            </c:extLst>
          </c:dPt>
          <c:dPt>
            <c:idx val="248"/>
            <c:invertIfNegative val="1"/>
            <c:bubble3D val="0"/>
            <c:spPr>
              <a:solidFill>
                <a:srgbClr val="AEABAB"/>
              </a:solidFill>
            </c:spPr>
            <c:extLst>
              <c:ext xmlns:c16="http://schemas.microsoft.com/office/drawing/2014/chart" uri="{C3380CC4-5D6E-409C-BE32-E72D297353CC}">
                <c16:uniqueId val="{000001F3-C169-4D0C-94B6-253FCA09A7E6}"/>
              </c:ext>
            </c:extLst>
          </c:dPt>
          <c:dPt>
            <c:idx val="249"/>
            <c:invertIfNegative val="1"/>
            <c:bubble3D val="0"/>
            <c:spPr>
              <a:solidFill>
                <a:srgbClr val="AEABAB"/>
              </a:solidFill>
            </c:spPr>
            <c:extLst>
              <c:ext xmlns:c16="http://schemas.microsoft.com/office/drawing/2014/chart" uri="{C3380CC4-5D6E-409C-BE32-E72D297353CC}">
                <c16:uniqueId val="{000001F5-C169-4D0C-94B6-253FCA09A7E6}"/>
              </c:ext>
            </c:extLst>
          </c:dPt>
          <c:dPt>
            <c:idx val="250"/>
            <c:invertIfNegative val="1"/>
            <c:bubble3D val="0"/>
            <c:spPr>
              <a:solidFill>
                <a:srgbClr val="AEABAB"/>
              </a:solidFill>
            </c:spPr>
            <c:extLst>
              <c:ext xmlns:c16="http://schemas.microsoft.com/office/drawing/2014/chart" uri="{C3380CC4-5D6E-409C-BE32-E72D297353CC}">
                <c16:uniqueId val="{000001F7-C169-4D0C-94B6-253FCA09A7E6}"/>
              </c:ext>
            </c:extLst>
          </c:dPt>
          <c:dPt>
            <c:idx val="251"/>
            <c:invertIfNegative val="1"/>
            <c:bubble3D val="0"/>
            <c:spPr>
              <a:solidFill>
                <a:srgbClr val="AEABAB"/>
              </a:solidFill>
            </c:spPr>
            <c:extLst>
              <c:ext xmlns:c16="http://schemas.microsoft.com/office/drawing/2014/chart" uri="{C3380CC4-5D6E-409C-BE32-E72D297353CC}">
                <c16:uniqueId val="{000001F9-C169-4D0C-94B6-253FCA09A7E6}"/>
              </c:ext>
            </c:extLst>
          </c:dPt>
          <c:dPt>
            <c:idx val="252"/>
            <c:invertIfNegative val="1"/>
            <c:bubble3D val="0"/>
            <c:spPr>
              <a:solidFill>
                <a:srgbClr val="AEABAB"/>
              </a:solidFill>
            </c:spPr>
            <c:extLst>
              <c:ext xmlns:c16="http://schemas.microsoft.com/office/drawing/2014/chart" uri="{C3380CC4-5D6E-409C-BE32-E72D297353CC}">
                <c16:uniqueId val="{000001FB-C169-4D0C-94B6-253FCA09A7E6}"/>
              </c:ext>
            </c:extLst>
          </c:dPt>
          <c:dPt>
            <c:idx val="253"/>
            <c:invertIfNegative val="1"/>
            <c:bubble3D val="0"/>
            <c:spPr>
              <a:solidFill>
                <a:srgbClr val="AEABAB"/>
              </a:solidFill>
            </c:spPr>
            <c:extLst>
              <c:ext xmlns:c16="http://schemas.microsoft.com/office/drawing/2014/chart" uri="{C3380CC4-5D6E-409C-BE32-E72D297353CC}">
                <c16:uniqueId val="{000001FD-C169-4D0C-94B6-253FCA09A7E6}"/>
              </c:ext>
            </c:extLst>
          </c:dPt>
          <c:dPt>
            <c:idx val="254"/>
            <c:invertIfNegative val="1"/>
            <c:bubble3D val="0"/>
            <c:spPr>
              <a:solidFill>
                <a:srgbClr val="AEABAB"/>
              </a:solidFill>
            </c:spPr>
            <c:extLst>
              <c:ext xmlns:c16="http://schemas.microsoft.com/office/drawing/2014/chart" uri="{C3380CC4-5D6E-409C-BE32-E72D297353CC}">
                <c16:uniqueId val="{000001FF-C169-4D0C-94B6-253FCA09A7E6}"/>
              </c:ext>
            </c:extLst>
          </c:dPt>
          <c:dPt>
            <c:idx val="255"/>
            <c:invertIfNegative val="1"/>
            <c:bubble3D val="0"/>
            <c:spPr>
              <a:solidFill>
                <a:srgbClr val="AEABAB"/>
              </a:solidFill>
            </c:spPr>
            <c:extLst>
              <c:ext xmlns:c16="http://schemas.microsoft.com/office/drawing/2014/chart" uri="{C3380CC4-5D6E-409C-BE32-E72D297353CC}">
                <c16:uniqueId val="{00000201-C169-4D0C-94B6-253FCA09A7E6}"/>
              </c:ext>
            </c:extLst>
          </c:dPt>
          <c:dPt>
            <c:idx val="256"/>
            <c:invertIfNegative val="1"/>
            <c:bubble3D val="0"/>
            <c:spPr>
              <a:solidFill>
                <a:srgbClr val="AEABAB"/>
              </a:solidFill>
            </c:spPr>
            <c:extLst>
              <c:ext xmlns:c16="http://schemas.microsoft.com/office/drawing/2014/chart" uri="{C3380CC4-5D6E-409C-BE32-E72D297353CC}">
                <c16:uniqueId val="{00000203-C169-4D0C-94B6-253FCA09A7E6}"/>
              </c:ext>
            </c:extLst>
          </c:dPt>
          <c:dPt>
            <c:idx val="257"/>
            <c:invertIfNegative val="1"/>
            <c:bubble3D val="0"/>
            <c:spPr>
              <a:solidFill>
                <a:srgbClr val="AEABAB"/>
              </a:solidFill>
            </c:spPr>
            <c:extLst>
              <c:ext xmlns:c16="http://schemas.microsoft.com/office/drawing/2014/chart" uri="{C3380CC4-5D6E-409C-BE32-E72D297353CC}">
                <c16:uniqueId val="{00000205-C169-4D0C-94B6-253FCA09A7E6}"/>
              </c:ext>
            </c:extLst>
          </c:dPt>
          <c:dPt>
            <c:idx val="258"/>
            <c:invertIfNegative val="1"/>
            <c:bubble3D val="0"/>
            <c:spPr>
              <a:solidFill>
                <a:srgbClr val="AEABAB"/>
              </a:solidFill>
            </c:spPr>
            <c:extLst>
              <c:ext xmlns:c16="http://schemas.microsoft.com/office/drawing/2014/chart" uri="{C3380CC4-5D6E-409C-BE32-E72D297353CC}">
                <c16:uniqueId val="{00000207-C169-4D0C-94B6-253FCA09A7E6}"/>
              </c:ext>
            </c:extLst>
          </c:dPt>
          <c:dPt>
            <c:idx val="259"/>
            <c:invertIfNegative val="1"/>
            <c:bubble3D val="0"/>
            <c:spPr>
              <a:solidFill>
                <a:srgbClr val="AEABAB"/>
              </a:solidFill>
            </c:spPr>
            <c:extLst>
              <c:ext xmlns:c16="http://schemas.microsoft.com/office/drawing/2014/chart" uri="{C3380CC4-5D6E-409C-BE32-E72D297353CC}">
                <c16:uniqueId val="{00000209-C169-4D0C-94B6-253FCA09A7E6}"/>
              </c:ext>
            </c:extLst>
          </c:dPt>
          <c:dPt>
            <c:idx val="260"/>
            <c:invertIfNegative val="1"/>
            <c:bubble3D val="0"/>
            <c:spPr>
              <a:solidFill>
                <a:srgbClr val="AEABAB"/>
              </a:solidFill>
            </c:spPr>
            <c:extLst>
              <c:ext xmlns:c16="http://schemas.microsoft.com/office/drawing/2014/chart" uri="{C3380CC4-5D6E-409C-BE32-E72D297353CC}">
                <c16:uniqueId val="{0000020B-C169-4D0C-94B6-253FCA09A7E6}"/>
              </c:ext>
            </c:extLst>
          </c:dPt>
          <c:dPt>
            <c:idx val="261"/>
            <c:invertIfNegative val="1"/>
            <c:bubble3D val="0"/>
            <c:spPr>
              <a:solidFill>
                <a:srgbClr val="AEABAB"/>
              </a:solidFill>
            </c:spPr>
            <c:extLst>
              <c:ext xmlns:c16="http://schemas.microsoft.com/office/drawing/2014/chart" uri="{C3380CC4-5D6E-409C-BE32-E72D297353CC}">
                <c16:uniqueId val="{0000020D-C169-4D0C-94B6-253FCA09A7E6}"/>
              </c:ext>
            </c:extLst>
          </c:dPt>
          <c:dPt>
            <c:idx val="262"/>
            <c:invertIfNegative val="1"/>
            <c:bubble3D val="0"/>
            <c:spPr>
              <a:solidFill>
                <a:srgbClr val="AEABAB"/>
              </a:solidFill>
            </c:spPr>
            <c:extLst>
              <c:ext xmlns:c16="http://schemas.microsoft.com/office/drawing/2014/chart" uri="{C3380CC4-5D6E-409C-BE32-E72D297353CC}">
                <c16:uniqueId val="{0000020F-C169-4D0C-94B6-253FCA09A7E6}"/>
              </c:ext>
            </c:extLst>
          </c:dPt>
          <c:dPt>
            <c:idx val="263"/>
            <c:invertIfNegative val="1"/>
            <c:bubble3D val="0"/>
            <c:spPr>
              <a:solidFill>
                <a:srgbClr val="AEABAB"/>
              </a:solidFill>
            </c:spPr>
            <c:extLst>
              <c:ext xmlns:c16="http://schemas.microsoft.com/office/drawing/2014/chart" uri="{C3380CC4-5D6E-409C-BE32-E72D297353CC}">
                <c16:uniqueId val="{00000211-C169-4D0C-94B6-253FCA09A7E6}"/>
              </c:ext>
            </c:extLst>
          </c:dPt>
          <c:dPt>
            <c:idx val="264"/>
            <c:invertIfNegative val="1"/>
            <c:bubble3D val="0"/>
            <c:spPr>
              <a:solidFill>
                <a:srgbClr val="AEABAB"/>
              </a:solidFill>
            </c:spPr>
            <c:extLst>
              <c:ext xmlns:c16="http://schemas.microsoft.com/office/drawing/2014/chart" uri="{C3380CC4-5D6E-409C-BE32-E72D297353CC}">
                <c16:uniqueId val="{00000213-C169-4D0C-94B6-253FCA09A7E6}"/>
              </c:ext>
            </c:extLst>
          </c:dPt>
          <c:dPt>
            <c:idx val="265"/>
            <c:invertIfNegative val="1"/>
            <c:bubble3D val="0"/>
            <c:spPr>
              <a:solidFill>
                <a:srgbClr val="AEABAB"/>
              </a:solidFill>
            </c:spPr>
            <c:extLst>
              <c:ext xmlns:c16="http://schemas.microsoft.com/office/drawing/2014/chart" uri="{C3380CC4-5D6E-409C-BE32-E72D297353CC}">
                <c16:uniqueId val="{00000215-C169-4D0C-94B6-253FCA09A7E6}"/>
              </c:ext>
            </c:extLst>
          </c:dPt>
          <c:dPt>
            <c:idx val="266"/>
            <c:invertIfNegative val="1"/>
            <c:bubble3D val="0"/>
            <c:spPr>
              <a:solidFill>
                <a:srgbClr val="AEABAB"/>
              </a:solidFill>
            </c:spPr>
            <c:extLst>
              <c:ext xmlns:c16="http://schemas.microsoft.com/office/drawing/2014/chart" uri="{C3380CC4-5D6E-409C-BE32-E72D297353CC}">
                <c16:uniqueId val="{00000217-C169-4D0C-94B6-253FCA09A7E6}"/>
              </c:ext>
            </c:extLst>
          </c:dPt>
          <c:dPt>
            <c:idx val="267"/>
            <c:invertIfNegative val="1"/>
            <c:bubble3D val="0"/>
            <c:spPr>
              <a:solidFill>
                <a:srgbClr val="AEABAB"/>
              </a:solidFill>
            </c:spPr>
            <c:extLst>
              <c:ext xmlns:c16="http://schemas.microsoft.com/office/drawing/2014/chart" uri="{C3380CC4-5D6E-409C-BE32-E72D297353CC}">
                <c16:uniqueId val="{00000219-C169-4D0C-94B6-253FCA09A7E6}"/>
              </c:ext>
            </c:extLst>
          </c:dPt>
          <c:dPt>
            <c:idx val="268"/>
            <c:invertIfNegative val="1"/>
            <c:bubble3D val="0"/>
            <c:spPr>
              <a:solidFill>
                <a:srgbClr val="AEABAB"/>
              </a:solidFill>
            </c:spPr>
            <c:extLst>
              <c:ext xmlns:c16="http://schemas.microsoft.com/office/drawing/2014/chart" uri="{C3380CC4-5D6E-409C-BE32-E72D297353CC}">
                <c16:uniqueId val="{0000021B-C169-4D0C-94B6-253FCA09A7E6}"/>
              </c:ext>
            </c:extLst>
          </c:dPt>
          <c:dPt>
            <c:idx val="269"/>
            <c:invertIfNegative val="1"/>
            <c:bubble3D val="0"/>
            <c:spPr>
              <a:solidFill>
                <a:srgbClr val="AEABAB"/>
              </a:solidFill>
            </c:spPr>
            <c:extLst>
              <c:ext xmlns:c16="http://schemas.microsoft.com/office/drawing/2014/chart" uri="{C3380CC4-5D6E-409C-BE32-E72D297353CC}">
                <c16:uniqueId val="{0000021D-C169-4D0C-94B6-253FCA09A7E6}"/>
              </c:ext>
            </c:extLst>
          </c:dPt>
          <c:dPt>
            <c:idx val="270"/>
            <c:invertIfNegative val="1"/>
            <c:bubble3D val="0"/>
            <c:spPr>
              <a:solidFill>
                <a:srgbClr val="AEABAB"/>
              </a:solidFill>
            </c:spPr>
            <c:extLst>
              <c:ext xmlns:c16="http://schemas.microsoft.com/office/drawing/2014/chart" uri="{C3380CC4-5D6E-409C-BE32-E72D297353CC}">
                <c16:uniqueId val="{0000021F-C169-4D0C-94B6-253FCA09A7E6}"/>
              </c:ext>
            </c:extLst>
          </c:dPt>
          <c:dPt>
            <c:idx val="271"/>
            <c:invertIfNegative val="1"/>
            <c:bubble3D val="0"/>
            <c:spPr>
              <a:solidFill>
                <a:srgbClr val="AEABAB"/>
              </a:solidFill>
            </c:spPr>
            <c:extLst>
              <c:ext xmlns:c16="http://schemas.microsoft.com/office/drawing/2014/chart" uri="{C3380CC4-5D6E-409C-BE32-E72D297353CC}">
                <c16:uniqueId val="{00000221-C169-4D0C-94B6-253FCA09A7E6}"/>
              </c:ext>
            </c:extLst>
          </c:dPt>
          <c:dPt>
            <c:idx val="272"/>
            <c:invertIfNegative val="1"/>
            <c:bubble3D val="0"/>
            <c:spPr>
              <a:solidFill>
                <a:srgbClr val="AEABAB"/>
              </a:solidFill>
            </c:spPr>
            <c:extLst>
              <c:ext xmlns:c16="http://schemas.microsoft.com/office/drawing/2014/chart" uri="{C3380CC4-5D6E-409C-BE32-E72D297353CC}">
                <c16:uniqueId val="{00000223-C169-4D0C-94B6-253FCA09A7E6}"/>
              </c:ext>
            </c:extLst>
          </c:dPt>
          <c:dPt>
            <c:idx val="273"/>
            <c:invertIfNegative val="1"/>
            <c:bubble3D val="0"/>
            <c:spPr>
              <a:solidFill>
                <a:srgbClr val="AEABAB"/>
              </a:solidFill>
            </c:spPr>
            <c:extLst>
              <c:ext xmlns:c16="http://schemas.microsoft.com/office/drawing/2014/chart" uri="{C3380CC4-5D6E-409C-BE32-E72D297353CC}">
                <c16:uniqueId val="{00000225-C169-4D0C-94B6-253FCA09A7E6}"/>
              </c:ext>
            </c:extLst>
          </c:dPt>
          <c:dPt>
            <c:idx val="274"/>
            <c:invertIfNegative val="1"/>
            <c:bubble3D val="0"/>
            <c:spPr>
              <a:solidFill>
                <a:srgbClr val="AEABAB"/>
              </a:solidFill>
            </c:spPr>
            <c:extLst>
              <c:ext xmlns:c16="http://schemas.microsoft.com/office/drawing/2014/chart" uri="{C3380CC4-5D6E-409C-BE32-E72D297353CC}">
                <c16:uniqueId val="{00000227-C169-4D0C-94B6-253FCA09A7E6}"/>
              </c:ext>
            </c:extLst>
          </c:dPt>
          <c:dPt>
            <c:idx val="275"/>
            <c:invertIfNegative val="1"/>
            <c:bubble3D val="0"/>
            <c:spPr>
              <a:solidFill>
                <a:srgbClr val="AEABAB"/>
              </a:solidFill>
            </c:spPr>
            <c:extLst>
              <c:ext xmlns:c16="http://schemas.microsoft.com/office/drawing/2014/chart" uri="{C3380CC4-5D6E-409C-BE32-E72D297353CC}">
                <c16:uniqueId val="{00000229-C169-4D0C-94B6-253FCA09A7E6}"/>
              </c:ext>
            </c:extLst>
          </c:dPt>
          <c:dPt>
            <c:idx val="276"/>
            <c:invertIfNegative val="1"/>
            <c:bubble3D val="0"/>
            <c:spPr>
              <a:solidFill>
                <a:srgbClr val="AEABAB"/>
              </a:solidFill>
            </c:spPr>
            <c:extLst>
              <c:ext xmlns:c16="http://schemas.microsoft.com/office/drawing/2014/chart" uri="{C3380CC4-5D6E-409C-BE32-E72D297353CC}">
                <c16:uniqueId val="{0000022B-C169-4D0C-94B6-253FCA09A7E6}"/>
              </c:ext>
            </c:extLst>
          </c:dPt>
          <c:dPt>
            <c:idx val="277"/>
            <c:invertIfNegative val="1"/>
            <c:bubble3D val="0"/>
            <c:spPr>
              <a:solidFill>
                <a:srgbClr val="AEABAB"/>
              </a:solidFill>
            </c:spPr>
            <c:extLst>
              <c:ext xmlns:c16="http://schemas.microsoft.com/office/drawing/2014/chart" uri="{C3380CC4-5D6E-409C-BE32-E72D297353CC}">
                <c16:uniqueId val="{0000022D-C169-4D0C-94B6-253FCA09A7E6}"/>
              </c:ext>
            </c:extLst>
          </c:dPt>
          <c:dPt>
            <c:idx val="278"/>
            <c:invertIfNegative val="1"/>
            <c:bubble3D val="0"/>
            <c:spPr>
              <a:solidFill>
                <a:srgbClr val="AEABAB"/>
              </a:solidFill>
            </c:spPr>
            <c:extLst>
              <c:ext xmlns:c16="http://schemas.microsoft.com/office/drawing/2014/chart" uri="{C3380CC4-5D6E-409C-BE32-E72D297353CC}">
                <c16:uniqueId val="{0000022F-C169-4D0C-94B6-253FCA09A7E6}"/>
              </c:ext>
            </c:extLst>
          </c:dPt>
          <c:dPt>
            <c:idx val="279"/>
            <c:invertIfNegative val="1"/>
            <c:bubble3D val="0"/>
            <c:spPr>
              <a:solidFill>
                <a:srgbClr val="AEABAB"/>
              </a:solidFill>
            </c:spPr>
            <c:extLst>
              <c:ext xmlns:c16="http://schemas.microsoft.com/office/drawing/2014/chart" uri="{C3380CC4-5D6E-409C-BE32-E72D297353CC}">
                <c16:uniqueId val="{00000231-C169-4D0C-94B6-253FCA09A7E6}"/>
              </c:ext>
            </c:extLst>
          </c:dPt>
          <c:dPt>
            <c:idx val="280"/>
            <c:invertIfNegative val="1"/>
            <c:bubble3D val="0"/>
            <c:spPr>
              <a:solidFill>
                <a:srgbClr val="AEABAB"/>
              </a:solidFill>
            </c:spPr>
            <c:extLst>
              <c:ext xmlns:c16="http://schemas.microsoft.com/office/drawing/2014/chart" uri="{C3380CC4-5D6E-409C-BE32-E72D297353CC}">
                <c16:uniqueId val="{00000233-C169-4D0C-94B6-253FCA09A7E6}"/>
              </c:ext>
            </c:extLst>
          </c:dPt>
          <c:dPt>
            <c:idx val="281"/>
            <c:invertIfNegative val="1"/>
            <c:bubble3D val="0"/>
            <c:spPr>
              <a:solidFill>
                <a:srgbClr val="AEABAB"/>
              </a:solidFill>
            </c:spPr>
            <c:extLst>
              <c:ext xmlns:c16="http://schemas.microsoft.com/office/drawing/2014/chart" uri="{C3380CC4-5D6E-409C-BE32-E72D297353CC}">
                <c16:uniqueId val="{00000235-C169-4D0C-94B6-253FCA09A7E6}"/>
              </c:ext>
            </c:extLst>
          </c:dPt>
          <c:dPt>
            <c:idx val="282"/>
            <c:invertIfNegative val="1"/>
            <c:bubble3D val="0"/>
            <c:spPr>
              <a:solidFill>
                <a:srgbClr val="AEABAB"/>
              </a:solidFill>
            </c:spPr>
            <c:extLst>
              <c:ext xmlns:c16="http://schemas.microsoft.com/office/drawing/2014/chart" uri="{C3380CC4-5D6E-409C-BE32-E72D297353CC}">
                <c16:uniqueId val="{00000237-C169-4D0C-94B6-253FCA09A7E6}"/>
              </c:ext>
            </c:extLst>
          </c:dPt>
          <c:dPt>
            <c:idx val="283"/>
            <c:invertIfNegative val="1"/>
            <c:bubble3D val="0"/>
            <c:spPr>
              <a:solidFill>
                <a:srgbClr val="AEABAB"/>
              </a:solidFill>
            </c:spPr>
            <c:extLst>
              <c:ext xmlns:c16="http://schemas.microsoft.com/office/drawing/2014/chart" uri="{C3380CC4-5D6E-409C-BE32-E72D297353CC}">
                <c16:uniqueId val="{00000239-C169-4D0C-94B6-253FCA09A7E6}"/>
              </c:ext>
            </c:extLst>
          </c:dPt>
          <c:dPt>
            <c:idx val="284"/>
            <c:invertIfNegative val="1"/>
            <c:bubble3D val="0"/>
            <c:spPr>
              <a:solidFill>
                <a:srgbClr val="AEABAB"/>
              </a:solidFill>
            </c:spPr>
            <c:extLst>
              <c:ext xmlns:c16="http://schemas.microsoft.com/office/drawing/2014/chart" uri="{C3380CC4-5D6E-409C-BE32-E72D297353CC}">
                <c16:uniqueId val="{0000023B-C169-4D0C-94B6-253FCA09A7E6}"/>
              </c:ext>
            </c:extLst>
          </c:dPt>
          <c:dPt>
            <c:idx val="285"/>
            <c:invertIfNegative val="1"/>
            <c:bubble3D val="0"/>
            <c:spPr>
              <a:solidFill>
                <a:srgbClr val="AEABAB"/>
              </a:solidFill>
            </c:spPr>
            <c:extLst>
              <c:ext xmlns:c16="http://schemas.microsoft.com/office/drawing/2014/chart" uri="{C3380CC4-5D6E-409C-BE32-E72D297353CC}">
                <c16:uniqueId val="{0000023D-C169-4D0C-94B6-253FCA09A7E6}"/>
              </c:ext>
            </c:extLst>
          </c:dPt>
          <c:dPt>
            <c:idx val="286"/>
            <c:invertIfNegative val="1"/>
            <c:bubble3D val="0"/>
            <c:spPr>
              <a:solidFill>
                <a:srgbClr val="AEABAB"/>
              </a:solidFill>
            </c:spPr>
            <c:extLst>
              <c:ext xmlns:c16="http://schemas.microsoft.com/office/drawing/2014/chart" uri="{C3380CC4-5D6E-409C-BE32-E72D297353CC}">
                <c16:uniqueId val="{0000023F-C169-4D0C-94B6-253FCA09A7E6}"/>
              </c:ext>
            </c:extLst>
          </c:dPt>
          <c:dPt>
            <c:idx val="287"/>
            <c:invertIfNegative val="1"/>
            <c:bubble3D val="0"/>
            <c:spPr>
              <a:solidFill>
                <a:srgbClr val="AEABAB"/>
              </a:solidFill>
            </c:spPr>
            <c:extLst>
              <c:ext xmlns:c16="http://schemas.microsoft.com/office/drawing/2014/chart" uri="{C3380CC4-5D6E-409C-BE32-E72D297353CC}">
                <c16:uniqueId val="{00000241-C169-4D0C-94B6-253FCA09A7E6}"/>
              </c:ext>
            </c:extLst>
          </c:dPt>
          <c:dPt>
            <c:idx val="288"/>
            <c:invertIfNegative val="1"/>
            <c:bubble3D val="0"/>
            <c:spPr>
              <a:solidFill>
                <a:srgbClr val="AEABAB"/>
              </a:solidFill>
            </c:spPr>
            <c:extLst>
              <c:ext xmlns:c16="http://schemas.microsoft.com/office/drawing/2014/chart" uri="{C3380CC4-5D6E-409C-BE32-E72D297353CC}">
                <c16:uniqueId val="{00000243-C169-4D0C-94B6-253FCA09A7E6}"/>
              </c:ext>
            </c:extLst>
          </c:dPt>
          <c:dPt>
            <c:idx val="289"/>
            <c:invertIfNegative val="1"/>
            <c:bubble3D val="0"/>
            <c:spPr>
              <a:solidFill>
                <a:srgbClr val="AEABAB"/>
              </a:solidFill>
            </c:spPr>
            <c:extLst>
              <c:ext xmlns:c16="http://schemas.microsoft.com/office/drawing/2014/chart" uri="{C3380CC4-5D6E-409C-BE32-E72D297353CC}">
                <c16:uniqueId val="{00000245-C169-4D0C-94B6-253FCA09A7E6}"/>
              </c:ext>
            </c:extLst>
          </c:dPt>
          <c:dPt>
            <c:idx val="290"/>
            <c:invertIfNegative val="1"/>
            <c:bubble3D val="0"/>
            <c:spPr>
              <a:solidFill>
                <a:srgbClr val="AEABAB"/>
              </a:solidFill>
            </c:spPr>
            <c:extLst>
              <c:ext xmlns:c16="http://schemas.microsoft.com/office/drawing/2014/chart" uri="{C3380CC4-5D6E-409C-BE32-E72D297353CC}">
                <c16:uniqueId val="{00000247-C169-4D0C-94B6-253FCA09A7E6}"/>
              </c:ext>
            </c:extLst>
          </c:dPt>
          <c:dPt>
            <c:idx val="291"/>
            <c:invertIfNegative val="1"/>
            <c:bubble3D val="0"/>
            <c:spPr>
              <a:solidFill>
                <a:srgbClr val="AEABAB"/>
              </a:solidFill>
            </c:spPr>
            <c:extLst>
              <c:ext xmlns:c16="http://schemas.microsoft.com/office/drawing/2014/chart" uri="{C3380CC4-5D6E-409C-BE32-E72D297353CC}">
                <c16:uniqueId val="{00000249-C169-4D0C-94B6-253FCA09A7E6}"/>
              </c:ext>
            </c:extLst>
          </c:dPt>
          <c:dPt>
            <c:idx val="292"/>
            <c:invertIfNegative val="1"/>
            <c:bubble3D val="0"/>
            <c:spPr>
              <a:solidFill>
                <a:srgbClr val="AEABAB"/>
              </a:solidFill>
            </c:spPr>
            <c:extLst>
              <c:ext xmlns:c16="http://schemas.microsoft.com/office/drawing/2014/chart" uri="{C3380CC4-5D6E-409C-BE32-E72D297353CC}">
                <c16:uniqueId val="{0000024B-C169-4D0C-94B6-253FCA09A7E6}"/>
              </c:ext>
            </c:extLst>
          </c:dPt>
          <c:dPt>
            <c:idx val="293"/>
            <c:invertIfNegative val="1"/>
            <c:bubble3D val="0"/>
            <c:spPr>
              <a:solidFill>
                <a:srgbClr val="AEABAB"/>
              </a:solidFill>
            </c:spPr>
            <c:extLst>
              <c:ext xmlns:c16="http://schemas.microsoft.com/office/drawing/2014/chart" uri="{C3380CC4-5D6E-409C-BE32-E72D297353CC}">
                <c16:uniqueId val="{0000024D-C169-4D0C-94B6-253FCA09A7E6}"/>
              </c:ext>
            </c:extLst>
          </c:dPt>
          <c:dPt>
            <c:idx val="294"/>
            <c:invertIfNegative val="1"/>
            <c:bubble3D val="0"/>
            <c:spPr>
              <a:solidFill>
                <a:srgbClr val="AEABAB"/>
              </a:solidFill>
            </c:spPr>
            <c:extLst>
              <c:ext xmlns:c16="http://schemas.microsoft.com/office/drawing/2014/chart" uri="{C3380CC4-5D6E-409C-BE32-E72D297353CC}">
                <c16:uniqueId val="{0000024F-C169-4D0C-94B6-253FCA09A7E6}"/>
              </c:ext>
            </c:extLst>
          </c:dPt>
          <c:dPt>
            <c:idx val="295"/>
            <c:invertIfNegative val="1"/>
            <c:bubble3D val="0"/>
            <c:spPr>
              <a:solidFill>
                <a:srgbClr val="AEABAB"/>
              </a:solidFill>
            </c:spPr>
            <c:extLst>
              <c:ext xmlns:c16="http://schemas.microsoft.com/office/drawing/2014/chart" uri="{C3380CC4-5D6E-409C-BE32-E72D297353CC}">
                <c16:uniqueId val="{00000251-C169-4D0C-94B6-253FCA09A7E6}"/>
              </c:ext>
            </c:extLst>
          </c:dPt>
          <c:dPt>
            <c:idx val="296"/>
            <c:invertIfNegative val="1"/>
            <c:bubble3D val="0"/>
            <c:spPr>
              <a:solidFill>
                <a:srgbClr val="AEABAB"/>
              </a:solidFill>
            </c:spPr>
            <c:extLst>
              <c:ext xmlns:c16="http://schemas.microsoft.com/office/drawing/2014/chart" uri="{C3380CC4-5D6E-409C-BE32-E72D297353CC}">
                <c16:uniqueId val="{00000253-C169-4D0C-94B6-253FCA09A7E6}"/>
              </c:ext>
            </c:extLst>
          </c:dPt>
          <c:dPt>
            <c:idx val="297"/>
            <c:invertIfNegative val="1"/>
            <c:bubble3D val="0"/>
            <c:spPr>
              <a:solidFill>
                <a:srgbClr val="AEABAB"/>
              </a:solidFill>
            </c:spPr>
            <c:extLst>
              <c:ext xmlns:c16="http://schemas.microsoft.com/office/drawing/2014/chart" uri="{C3380CC4-5D6E-409C-BE32-E72D297353CC}">
                <c16:uniqueId val="{00000255-C169-4D0C-94B6-253FCA09A7E6}"/>
              </c:ext>
            </c:extLst>
          </c:dPt>
          <c:dPt>
            <c:idx val="298"/>
            <c:invertIfNegative val="1"/>
            <c:bubble3D val="0"/>
            <c:spPr>
              <a:solidFill>
                <a:srgbClr val="AEABAB"/>
              </a:solidFill>
            </c:spPr>
            <c:extLst>
              <c:ext xmlns:c16="http://schemas.microsoft.com/office/drawing/2014/chart" uri="{C3380CC4-5D6E-409C-BE32-E72D297353CC}">
                <c16:uniqueId val="{00000257-C169-4D0C-94B6-253FCA09A7E6}"/>
              </c:ext>
            </c:extLst>
          </c:dPt>
          <c:cat>
            <c:strRef>
              <c:f>Sheet1!$A$2:$A$300</c:f>
              <c:strCache>
                <c:ptCount val="299"/>
                <c:pt idx="0">
                  <c:v>Ruinart</c:v>
                </c:pt>
                <c:pt idx="1">
                  <c:v>Nicolas</c:v>
                </c:pt>
                <c:pt idx="2">
                  <c:v>Deutz</c:v>
                </c:pt>
                <c:pt idx="3">
                  <c:v>Ruinart</c:v>
                </c:pt>
                <c:pt idx="4">
                  <c:v>Heidsieck &amp;</c:v>
                </c:pt>
                <c:pt idx="5">
                  <c:v>Malard</c:v>
                </c:pt>
                <c:pt idx="6">
                  <c:v>Ayala</c:v>
                </c:pt>
                <c:pt idx="7">
                  <c:v>Laurent Per</c:v>
                </c:pt>
                <c:pt idx="8">
                  <c:v>De Bligny</c:v>
                </c:pt>
                <c:pt idx="9">
                  <c:v>Nicolas Feu</c:v>
                </c:pt>
                <c:pt idx="10">
                  <c:v>Canard Duch</c:v>
                </c:pt>
                <c:pt idx="11">
                  <c:v>Ruinart</c:v>
                </c:pt>
                <c:pt idx="12">
                  <c:v>Ruinart</c:v>
                </c:pt>
                <c:pt idx="13">
                  <c:v>Taittinger</c:v>
                </c:pt>
                <c:pt idx="14">
                  <c:v>Bollinger</c:v>
                </c:pt>
                <c:pt idx="15">
                  <c:v>Besserat De</c:v>
                </c:pt>
                <c:pt idx="16">
                  <c:v>Demoiselle</c:v>
                </c:pt>
                <c:pt idx="17">
                  <c:v>Ruinart</c:v>
                </c:pt>
                <c:pt idx="18">
                  <c:v>Deutz</c:v>
                </c:pt>
                <c:pt idx="19">
                  <c:v>Perrier Jou</c:v>
                </c:pt>
                <c:pt idx="20">
                  <c:v>Ruinart</c:v>
                </c:pt>
                <c:pt idx="21">
                  <c:v>All Others</c:v>
                </c:pt>
                <c:pt idx="22">
                  <c:v>Campari: Al</c:v>
                </c:pt>
                <c:pt idx="23">
                  <c:v>Laurent Per</c:v>
                </c:pt>
                <c:pt idx="24">
                  <c:v>Deutz</c:v>
                </c:pt>
                <c:pt idx="25">
                  <c:v>Savian</c:v>
                </c:pt>
                <c:pt idx="26">
                  <c:v>Pommery</c:v>
                </c:pt>
                <c:pt idx="27">
                  <c:v>Vesselle</c:v>
                </c:pt>
                <c:pt idx="28">
                  <c:v>Dom Perigno</c:v>
                </c:pt>
                <c:pt idx="29">
                  <c:v>Malard</c:v>
                </c:pt>
                <c:pt idx="30">
                  <c:v>Demoiselle</c:v>
                </c:pt>
                <c:pt idx="31">
                  <c:v>Roederer</c:v>
                </c:pt>
                <c:pt idx="32">
                  <c:v>Veuve Clicq</c:v>
                </c:pt>
                <c:pt idx="33">
                  <c:v>Ruinart</c:v>
                </c:pt>
                <c:pt idx="34">
                  <c:v>Moët &amp; Chan</c:v>
                </c:pt>
                <c:pt idx="35">
                  <c:v>Dom Perigno</c:v>
                </c:pt>
                <c:pt idx="36">
                  <c:v>Taittinger</c:v>
                </c:pt>
                <c:pt idx="37">
                  <c:v>Nicolas</c:v>
                </c:pt>
                <c:pt idx="38">
                  <c:v>Laurent Per</c:v>
                </c:pt>
                <c:pt idx="39">
                  <c:v>All Others</c:v>
                </c:pt>
                <c:pt idx="40">
                  <c:v>Veuve Clicq</c:v>
                </c:pt>
                <c:pt idx="41">
                  <c:v>Henriot</c:v>
                </c:pt>
                <c:pt idx="42">
                  <c:v>Ruinart</c:v>
                </c:pt>
                <c:pt idx="43">
                  <c:v>Roederer</c:v>
                </c:pt>
                <c:pt idx="44">
                  <c:v>All Others</c:v>
                </c:pt>
                <c:pt idx="45">
                  <c:v>Veuve Clicq</c:v>
                </c:pt>
                <c:pt idx="46">
                  <c:v>Besserat De</c:v>
                </c:pt>
                <c:pt idx="47">
                  <c:v>Malard</c:v>
                </c:pt>
                <c:pt idx="48">
                  <c:v>De Venoge</c:v>
                </c:pt>
                <c:pt idx="49">
                  <c:v>Nicolas</c:v>
                </c:pt>
                <c:pt idx="50">
                  <c:v>Nicolas</c:v>
                </c:pt>
                <c:pt idx="51">
                  <c:v>Piper Heids</c:v>
                </c:pt>
                <c:pt idx="52">
                  <c:v>Ruinart</c:v>
                </c:pt>
                <c:pt idx="53">
                  <c:v>Deutz</c:v>
                </c:pt>
                <c:pt idx="54">
                  <c:v>Louis Marti</c:v>
                </c:pt>
                <c:pt idx="55">
                  <c:v>Nicolas Feu</c:v>
                </c:pt>
                <c:pt idx="56">
                  <c:v>Nicolas Feu</c:v>
                </c:pt>
                <c:pt idx="57">
                  <c:v>Moët &amp; Chan</c:v>
                </c:pt>
                <c:pt idx="58">
                  <c:v>Moët &amp; Chan</c:v>
                </c:pt>
                <c:pt idx="59">
                  <c:v>Lanson</c:v>
                </c:pt>
                <c:pt idx="60">
                  <c:v>Campari: Al</c:v>
                </c:pt>
                <c:pt idx="61">
                  <c:v>Nicolas Feu</c:v>
                </c:pt>
                <c:pt idx="62">
                  <c:v>Canard Duch</c:v>
                </c:pt>
                <c:pt idx="63">
                  <c:v>Malard</c:v>
                </c:pt>
                <c:pt idx="64">
                  <c:v>Roederer</c:v>
                </c:pt>
                <c:pt idx="65">
                  <c:v>De Bligny</c:v>
                </c:pt>
                <c:pt idx="66">
                  <c:v>Henriot</c:v>
                </c:pt>
                <c:pt idx="67">
                  <c:v>Malard</c:v>
                </c:pt>
                <c:pt idx="68">
                  <c:v>Henriot</c:v>
                </c:pt>
                <c:pt idx="69">
                  <c:v>Bollinger</c:v>
                </c:pt>
                <c:pt idx="70">
                  <c:v>Besserat De</c:v>
                </c:pt>
                <c:pt idx="71">
                  <c:v>Laurent Per</c:v>
                </c:pt>
                <c:pt idx="72">
                  <c:v>Ruinart</c:v>
                </c:pt>
                <c:pt idx="73">
                  <c:v>Pommery</c:v>
                </c:pt>
                <c:pt idx="74">
                  <c:v>Delamotte</c:v>
                </c:pt>
                <c:pt idx="75">
                  <c:v>Krug</c:v>
                </c:pt>
                <c:pt idx="76">
                  <c:v>Ayala</c:v>
                </c:pt>
                <c:pt idx="77">
                  <c:v>Roederer</c:v>
                </c:pt>
                <c:pt idx="78">
                  <c:v>Ruinart</c:v>
                </c:pt>
                <c:pt idx="79">
                  <c:v>Canard Duch</c:v>
                </c:pt>
                <c:pt idx="80">
                  <c:v>Roederer</c:v>
                </c:pt>
                <c:pt idx="81">
                  <c:v>De Venoge</c:v>
                </c:pt>
                <c:pt idx="82">
                  <c:v>Ruinart</c:v>
                </c:pt>
                <c:pt idx="83">
                  <c:v>Roederer</c:v>
                </c:pt>
                <c:pt idx="84">
                  <c:v>Henriot</c:v>
                </c:pt>
                <c:pt idx="85">
                  <c:v>Deutz</c:v>
                </c:pt>
                <c:pt idx="86">
                  <c:v>Vranken</c:v>
                </c:pt>
                <c:pt idx="87">
                  <c:v>Perrier Jou</c:v>
                </c:pt>
                <c:pt idx="88">
                  <c:v>Vranken</c:v>
                </c:pt>
                <c:pt idx="89">
                  <c:v>Malard</c:v>
                </c:pt>
                <c:pt idx="90">
                  <c:v>Nicolas</c:v>
                </c:pt>
                <c:pt idx="91">
                  <c:v>Ruinart</c:v>
                </c:pt>
                <c:pt idx="92">
                  <c:v>Nicolas</c:v>
                </c:pt>
                <c:pt idx="93">
                  <c:v>Bollinger</c:v>
                </c:pt>
                <c:pt idx="94">
                  <c:v>De Venoge</c:v>
                </c:pt>
                <c:pt idx="95">
                  <c:v>Ruinart</c:v>
                </c:pt>
                <c:pt idx="96">
                  <c:v>Roederer</c:v>
                </c:pt>
                <c:pt idx="97">
                  <c:v>Roederer</c:v>
                </c:pt>
                <c:pt idx="98">
                  <c:v>Deutz</c:v>
                </c:pt>
                <c:pt idx="99">
                  <c:v>Canard Duch</c:v>
                </c:pt>
                <c:pt idx="100">
                  <c:v>All Others</c:v>
                </c:pt>
                <c:pt idx="101">
                  <c:v>De Venoge</c:v>
                </c:pt>
                <c:pt idx="102">
                  <c:v>Dom Perigno</c:v>
                </c:pt>
                <c:pt idx="103">
                  <c:v>Nicolas</c:v>
                </c:pt>
                <c:pt idx="104">
                  <c:v>Nicolas</c:v>
                </c:pt>
                <c:pt idx="105">
                  <c:v>Moët &amp; Chan</c:v>
                </c:pt>
                <c:pt idx="106">
                  <c:v>Canard Duch</c:v>
                </c:pt>
                <c:pt idx="107">
                  <c:v>All Others</c:v>
                </c:pt>
                <c:pt idx="108">
                  <c:v>Nicolas</c:v>
                </c:pt>
                <c:pt idx="109">
                  <c:v>Roederer</c:v>
                </c:pt>
                <c:pt idx="110">
                  <c:v>Nicolas</c:v>
                </c:pt>
                <c:pt idx="111">
                  <c:v>All Others</c:v>
                </c:pt>
                <c:pt idx="112">
                  <c:v>Ruinart</c:v>
                </c:pt>
                <c:pt idx="113">
                  <c:v>Veuve Clicq</c:v>
                </c:pt>
                <c:pt idx="114">
                  <c:v>All Others</c:v>
                </c:pt>
                <c:pt idx="115">
                  <c:v>Nicolas</c:v>
                </c:pt>
                <c:pt idx="116">
                  <c:v>Nicolas Feu</c:v>
                </c:pt>
                <c:pt idx="117">
                  <c:v>Roederer</c:v>
                </c:pt>
                <c:pt idx="118">
                  <c:v>Demoiselle</c:v>
                </c:pt>
                <c:pt idx="119">
                  <c:v>All Others</c:v>
                </c:pt>
                <c:pt idx="120">
                  <c:v>Roederer</c:v>
                </c:pt>
                <c:pt idx="121">
                  <c:v>Nicolas</c:v>
                </c:pt>
                <c:pt idx="122">
                  <c:v>Laurent Per</c:v>
                </c:pt>
                <c:pt idx="123">
                  <c:v>Besserat De</c:v>
                </c:pt>
                <c:pt idx="124">
                  <c:v>Bollinger</c:v>
                </c:pt>
                <c:pt idx="125">
                  <c:v>Nicolas</c:v>
                </c:pt>
                <c:pt idx="126">
                  <c:v>Laurent Per</c:v>
                </c:pt>
                <c:pt idx="127">
                  <c:v>All Others</c:v>
                </c:pt>
                <c:pt idx="128">
                  <c:v>Ruinart</c:v>
                </c:pt>
                <c:pt idx="129">
                  <c:v>Roederer</c:v>
                </c:pt>
                <c:pt idx="130">
                  <c:v>Dom Perigno</c:v>
                </c:pt>
                <c:pt idx="131">
                  <c:v>Moët &amp; Chan</c:v>
                </c:pt>
                <c:pt idx="132">
                  <c:v>Nicolas</c:v>
                </c:pt>
                <c:pt idx="133">
                  <c:v>Ruinart</c:v>
                </c:pt>
                <c:pt idx="134">
                  <c:v>Canard Duch</c:v>
                </c:pt>
                <c:pt idx="135">
                  <c:v>Laurent Per</c:v>
                </c:pt>
                <c:pt idx="136">
                  <c:v>Pommery</c:v>
                </c:pt>
                <c:pt idx="137">
                  <c:v>Pommery</c:v>
                </c:pt>
                <c:pt idx="138">
                  <c:v>Ruinart</c:v>
                </c:pt>
                <c:pt idx="139">
                  <c:v>Ruinart</c:v>
                </c:pt>
                <c:pt idx="140">
                  <c:v>Vesselle</c:v>
                </c:pt>
                <c:pt idx="141">
                  <c:v>Lanson-Bcc:</c:v>
                </c:pt>
                <c:pt idx="142">
                  <c:v>Piper Heids</c:v>
                </c:pt>
                <c:pt idx="143">
                  <c:v>Lanson</c:v>
                </c:pt>
                <c:pt idx="144">
                  <c:v>Pommery</c:v>
                </c:pt>
                <c:pt idx="145">
                  <c:v>Laurent Per</c:v>
                </c:pt>
                <c:pt idx="146">
                  <c:v>Taittinger</c:v>
                </c:pt>
                <c:pt idx="147">
                  <c:v>Nicolas</c:v>
                </c:pt>
                <c:pt idx="148">
                  <c:v>Nicolas</c:v>
                </c:pt>
                <c:pt idx="149">
                  <c:v>Perrier Jou</c:v>
                </c:pt>
                <c:pt idx="150">
                  <c:v>All Others</c:v>
                </c:pt>
                <c:pt idx="151">
                  <c:v>Demoiselle</c:v>
                </c:pt>
                <c:pt idx="152">
                  <c:v>Laurent Per</c:v>
                </c:pt>
                <c:pt idx="153">
                  <c:v>Ayala</c:v>
                </c:pt>
                <c:pt idx="154">
                  <c:v>Vranken</c:v>
                </c:pt>
                <c:pt idx="155">
                  <c:v>Piper Heids</c:v>
                </c:pt>
                <c:pt idx="156">
                  <c:v>Deutz</c:v>
                </c:pt>
                <c:pt idx="157">
                  <c:v>Delamotte</c:v>
                </c:pt>
                <c:pt idx="158">
                  <c:v>Dom Perigno</c:v>
                </c:pt>
                <c:pt idx="159">
                  <c:v>Louis Marti</c:v>
                </c:pt>
                <c:pt idx="160">
                  <c:v>Canard Duch</c:v>
                </c:pt>
                <c:pt idx="161">
                  <c:v>Roederer</c:v>
                </c:pt>
                <c:pt idx="162">
                  <c:v>Deutz</c:v>
                </c:pt>
                <c:pt idx="163">
                  <c:v>Roederer</c:v>
                </c:pt>
                <c:pt idx="164">
                  <c:v>All Others</c:v>
                </c:pt>
                <c:pt idx="165">
                  <c:v>Vesselle</c:v>
                </c:pt>
                <c:pt idx="166">
                  <c:v>Nicolas</c:v>
                </c:pt>
                <c:pt idx="167">
                  <c:v>Pommery</c:v>
                </c:pt>
                <c:pt idx="168">
                  <c:v>Malard</c:v>
                </c:pt>
                <c:pt idx="169">
                  <c:v>Pommery</c:v>
                </c:pt>
                <c:pt idx="170">
                  <c:v>All Others</c:v>
                </c:pt>
                <c:pt idx="171">
                  <c:v>Deutz</c:v>
                </c:pt>
                <c:pt idx="172">
                  <c:v>Nicolas</c:v>
                </c:pt>
                <c:pt idx="173">
                  <c:v>Taittinger</c:v>
                </c:pt>
                <c:pt idx="174">
                  <c:v>Piper Heids</c:v>
                </c:pt>
                <c:pt idx="175">
                  <c:v>Nicolas</c:v>
                </c:pt>
                <c:pt idx="176">
                  <c:v>Bollinger</c:v>
                </c:pt>
                <c:pt idx="177">
                  <c:v>Krug</c:v>
                </c:pt>
                <c:pt idx="178">
                  <c:v>All Others</c:v>
                </c:pt>
                <c:pt idx="179">
                  <c:v>Besserat De</c:v>
                </c:pt>
                <c:pt idx="180">
                  <c:v>Ruinart</c:v>
                </c:pt>
                <c:pt idx="181">
                  <c:v>All Others</c:v>
                </c:pt>
                <c:pt idx="182">
                  <c:v>Taittinger</c:v>
                </c:pt>
                <c:pt idx="183">
                  <c:v>Henriot</c:v>
                </c:pt>
                <c:pt idx="184">
                  <c:v>Roederer</c:v>
                </c:pt>
                <c:pt idx="185">
                  <c:v>Ruinart</c:v>
                </c:pt>
                <c:pt idx="186">
                  <c:v>Roederer</c:v>
                </c:pt>
                <c:pt idx="187">
                  <c:v>Canard Duch</c:v>
                </c:pt>
                <c:pt idx="188">
                  <c:v>Ruinart</c:v>
                </c:pt>
                <c:pt idx="189">
                  <c:v>All Others</c:v>
                </c:pt>
                <c:pt idx="190">
                  <c:v>De Venoge</c:v>
                </c:pt>
                <c:pt idx="191">
                  <c:v>Veuve Clicq</c:v>
                </c:pt>
                <c:pt idx="192">
                  <c:v>All Others</c:v>
                </c:pt>
                <c:pt idx="193">
                  <c:v>Deutz</c:v>
                </c:pt>
                <c:pt idx="194">
                  <c:v>De Venoge</c:v>
                </c:pt>
                <c:pt idx="195">
                  <c:v>De Venoge</c:v>
                </c:pt>
                <c:pt idx="196">
                  <c:v>Nicolas</c:v>
                </c:pt>
                <c:pt idx="197">
                  <c:v>Bollinger</c:v>
                </c:pt>
                <c:pt idx="198">
                  <c:v>Moët &amp; Chan</c:v>
                </c:pt>
                <c:pt idx="199">
                  <c:v>All Others</c:v>
                </c:pt>
                <c:pt idx="200">
                  <c:v>Nicolas</c:v>
                </c:pt>
                <c:pt idx="201">
                  <c:v>Ruinart</c:v>
                </c:pt>
                <c:pt idx="202">
                  <c:v>All Others</c:v>
                </c:pt>
                <c:pt idx="203">
                  <c:v>Piper Heids</c:v>
                </c:pt>
                <c:pt idx="204">
                  <c:v>Henriot</c:v>
                </c:pt>
                <c:pt idx="205">
                  <c:v>De Venoge</c:v>
                </c:pt>
                <c:pt idx="206">
                  <c:v>Pommery</c:v>
                </c:pt>
                <c:pt idx="207">
                  <c:v>Moët &amp; Chan</c:v>
                </c:pt>
                <c:pt idx="208">
                  <c:v>Dom Perigno</c:v>
                </c:pt>
                <c:pt idx="209">
                  <c:v>All Others</c:v>
                </c:pt>
                <c:pt idx="210">
                  <c:v>Lanson</c:v>
                </c:pt>
                <c:pt idx="211">
                  <c:v>Bollinger</c:v>
                </c:pt>
                <c:pt idx="212">
                  <c:v>Roederer</c:v>
                </c:pt>
                <c:pt idx="213">
                  <c:v>Nicolas Feu</c:v>
                </c:pt>
                <c:pt idx="214">
                  <c:v>All Others</c:v>
                </c:pt>
                <c:pt idx="215">
                  <c:v>Taittinger</c:v>
                </c:pt>
                <c:pt idx="216">
                  <c:v>Bollinger</c:v>
                </c:pt>
                <c:pt idx="217">
                  <c:v>Dom Perigno</c:v>
                </c:pt>
                <c:pt idx="218">
                  <c:v>Laurent Per</c:v>
                </c:pt>
                <c:pt idx="219">
                  <c:v>All Others</c:v>
                </c:pt>
                <c:pt idx="220">
                  <c:v>All Others</c:v>
                </c:pt>
                <c:pt idx="221">
                  <c:v>Laurent Per</c:v>
                </c:pt>
                <c:pt idx="222">
                  <c:v>All Others</c:v>
                </c:pt>
                <c:pt idx="223">
                  <c:v>Dom Perigno</c:v>
                </c:pt>
                <c:pt idx="224">
                  <c:v>Ruinart</c:v>
                </c:pt>
                <c:pt idx="225">
                  <c:v>Roederer</c:v>
                </c:pt>
                <c:pt idx="226">
                  <c:v>Dom Perigno</c:v>
                </c:pt>
                <c:pt idx="227">
                  <c:v>Moët &amp; Chan</c:v>
                </c:pt>
                <c:pt idx="228">
                  <c:v>Laurent Per</c:v>
                </c:pt>
                <c:pt idx="229">
                  <c:v>Laurent Per</c:v>
                </c:pt>
                <c:pt idx="230">
                  <c:v>Bollinger</c:v>
                </c:pt>
                <c:pt idx="231">
                  <c:v>Ruinart</c:v>
                </c:pt>
                <c:pt idx="232">
                  <c:v>Bollinger</c:v>
                </c:pt>
                <c:pt idx="233">
                  <c:v>Besserat De</c:v>
                </c:pt>
                <c:pt idx="234">
                  <c:v>Laurent Per</c:v>
                </c:pt>
                <c:pt idx="235">
                  <c:v>Martel</c:v>
                </c:pt>
                <c:pt idx="236">
                  <c:v>Roederer</c:v>
                </c:pt>
                <c:pt idx="237">
                  <c:v>Lanson</c:v>
                </c:pt>
                <c:pt idx="238">
                  <c:v>Perrier Jou</c:v>
                </c:pt>
                <c:pt idx="239">
                  <c:v>All Others</c:v>
                </c:pt>
                <c:pt idx="240">
                  <c:v>Veuve Clicq</c:v>
                </c:pt>
                <c:pt idx="241">
                  <c:v>De Venoge</c:v>
                </c:pt>
                <c:pt idx="242">
                  <c:v>Demoiselle</c:v>
                </c:pt>
                <c:pt idx="243">
                  <c:v>All Others</c:v>
                </c:pt>
                <c:pt idx="244">
                  <c:v>Bollinger</c:v>
                </c:pt>
                <c:pt idx="245">
                  <c:v>Besserat De</c:v>
                </c:pt>
                <c:pt idx="246">
                  <c:v>De Bligny</c:v>
                </c:pt>
                <c:pt idx="247">
                  <c:v>Ayala</c:v>
                </c:pt>
                <c:pt idx="248">
                  <c:v>All Others</c:v>
                </c:pt>
                <c:pt idx="249">
                  <c:v>All Others</c:v>
                </c:pt>
                <c:pt idx="250">
                  <c:v>Perrier Jou</c:v>
                </c:pt>
                <c:pt idx="251">
                  <c:v>Lanson</c:v>
                </c:pt>
                <c:pt idx="252">
                  <c:v>Besserat De</c:v>
                </c:pt>
                <c:pt idx="253">
                  <c:v>All Others</c:v>
                </c:pt>
                <c:pt idx="254">
                  <c:v>Veuve Clicq</c:v>
                </c:pt>
                <c:pt idx="255">
                  <c:v>Canard Duch</c:v>
                </c:pt>
                <c:pt idx="256">
                  <c:v>Ruinart</c:v>
                </c:pt>
                <c:pt idx="257">
                  <c:v>Bollinger</c:v>
                </c:pt>
                <c:pt idx="258">
                  <c:v>All Others</c:v>
                </c:pt>
                <c:pt idx="259">
                  <c:v>Roederer</c:v>
                </c:pt>
                <c:pt idx="260">
                  <c:v>Lanson</c:v>
                </c:pt>
                <c:pt idx="261">
                  <c:v>All Others</c:v>
                </c:pt>
                <c:pt idx="262">
                  <c:v>Perrier Jou</c:v>
                </c:pt>
                <c:pt idx="263">
                  <c:v>Malard</c:v>
                </c:pt>
                <c:pt idx="264">
                  <c:v>Roederer</c:v>
                </c:pt>
                <c:pt idx="265">
                  <c:v>All Others</c:v>
                </c:pt>
                <c:pt idx="266">
                  <c:v>Veuve Clicq</c:v>
                </c:pt>
                <c:pt idx="267">
                  <c:v>All Others</c:v>
                </c:pt>
                <c:pt idx="268">
                  <c:v>Pommery</c:v>
                </c:pt>
                <c:pt idx="269">
                  <c:v>All Others</c:v>
                </c:pt>
                <c:pt idx="270">
                  <c:v>Taittinger</c:v>
                </c:pt>
                <c:pt idx="271">
                  <c:v>Pommery</c:v>
                </c:pt>
                <c:pt idx="272">
                  <c:v>All Others</c:v>
                </c:pt>
                <c:pt idx="273">
                  <c:v>Roederer</c:v>
                </c:pt>
                <c:pt idx="274">
                  <c:v>Laurent Per</c:v>
                </c:pt>
                <c:pt idx="275">
                  <c:v>Pommery</c:v>
                </c:pt>
                <c:pt idx="276">
                  <c:v>De Venoge</c:v>
                </c:pt>
                <c:pt idx="277">
                  <c:v>Nicolas Feu</c:v>
                </c:pt>
                <c:pt idx="278">
                  <c:v>Laurent Per</c:v>
                </c:pt>
                <c:pt idx="279">
                  <c:v>Laurent Per</c:v>
                </c:pt>
                <c:pt idx="280">
                  <c:v>Demoiselle</c:v>
                </c:pt>
                <c:pt idx="281">
                  <c:v>Roederer</c:v>
                </c:pt>
                <c:pt idx="282">
                  <c:v>Besserat De</c:v>
                </c:pt>
                <c:pt idx="283">
                  <c:v>Ayala</c:v>
                </c:pt>
                <c:pt idx="284">
                  <c:v>Roederer</c:v>
                </c:pt>
                <c:pt idx="285">
                  <c:v>Deutz</c:v>
                </c:pt>
                <c:pt idx="286">
                  <c:v>Moët &amp; Chan</c:v>
                </c:pt>
                <c:pt idx="287">
                  <c:v>De Venoge</c:v>
                </c:pt>
                <c:pt idx="288">
                  <c:v>Henriot</c:v>
                </c:pt>
                <c:pt idx="289">
                  <c:v>Ayala</c:v>
                </c:pt>
                <c:pt idx="290">
                  <c:v>Ayala</c:v>
                </c:pt>
                <c:pt idx="291">
                  <c:v>Pommery</c:v>
                </c:pt>
                <c:pt idx="292">
                  <c:v>Perrier Jou</c:v>
                </c:pt>
                <c:pt idx="293">
                  <c:v>Nicolas</c:v>
                </c:pt>
                <c:pt idx="294">
                  <c:v>Malard</c:v>
                </c:pt>
                <c:pt idx="295">
                  <c:v>Demoiselle</c:v>
                </c:pt>
                <c:pt idx="296">
                  <c:v>All Others</c:v>
                </c:pt>
                <c:pt idx="297">
                  <c:v>Vesselle</c:v>
                </c:pt>
                <c:pt idx="298">
                  <c:v>Nicolas</c:v>
                </c:pt>
              </c:strCache>
            </c:strRef>
          </c:cat>
          <c:val>
            <c:numRef>
              <c:f>Sheet1!$C$2:$C$300</c:f>
              <c:numCache>
                <c:formatCode>General</c:formatCode>
                <c:ptCount val="299"/>
                <c:pt idx="0">
                  <c:v>0.10690501042828246</c:v>
                </c:pt>
                <c:pt idx="1">
                  <c:v>0.17523526091626684</c:v>
                </c:pt>
                <c:pt idx="2">
                  <c:v>0.2260260396847712</c:v>
                </c:pt>
                <c:pt idx="3">
                  <c:v>0.27531549948816547</c:v>
                </c:pt>
                <c:pt idx="4">
                  <c:v>0.30900484400567685</c:v>
                </c:pt>
                <c:pt idx="5">
                  <c:v>0.34154233618113999</c:v>
                </c:pt>
                <c:pt idx="6">
                  <c:v>0.37254443262141879</c:v>
                </c:pt>
                <c:pt idx="7">
                  <c:v>0.40158373586218432</c:v>
                </c:pt>
                <c:pt idx="8">
                  <c:v>0.43050535202992946</c:v>
                </c:pt>
                <c:pt idx="9">
                  <c:v>0.45626609615156083</c:v>
                </c:pt>
                <c:pt idx="10">
                  <c:v>0.47813360523816034</c:v>
                </c:pt>
                <c:pt idx="11">
                  <c:v>0.49811970277867307</c:v>
                </c:pt>
                <c:pt idx="12">
                  <c:v>0.51749435953968759</c:v>
                </c:pt>
                <c:pt idx="13">
                  <c:v>0.53663457674962112</c:v>
                </c:pt>
                <c:pt idx="14">
                  <c:v>0.55462459513166618</c:v>
                </c:pt>
                <c:pt idx="15">
                  <c:v>0.57113780969331707</c:v>
                </c:pt>
                <c:pt idx="16">
                  <c:v>0.58570009322225269</c:v>
                </c:pt>
                <c:pt idx="17">
                  <c:v>0.59780043795119819</c:v>
                </c:pt>
                <c:pt idx="18">
                  <c:v>0.60981113345591864</c:v>
                </c:pt>
                <c:pt idx="19">
                  <c:v>0.62087055507535749</c:v>
                </c:pt>
                <c:pt idx="20">
                  <c:v>0.63165002955836291</c:v>
                </c:pt>
                <c:pt idx="21">
                  <c:v>0.64160655723326532</c:v>
                </c:pt>
                <c:pt idx="22">
                  <c:v>0.6512868042596538</c:v>
                </c:pt>
                <c:pt idx="23">
                  <c:v>0.66009313310666773</c:v>
                </c:pt>
                <c:pt idx="24">
                  <c:v>0.66880470840313744</c:v>
                </c:pt>
                <c:pt idx="25">
                  <c:v>0.67722102358421632</c:v>
                </c:pt>
                <c:pt idx="26">
                  <c:v>0.68554150683595116</c:v>
                </c:pt>
                <c:pt idx="27">
                  <c:v>0.69360044728276948</c:v>
                </c:pt>
                <c:pt idx="28">
                  <c:v>0.70145241089194232</c:v>
                </c:pt>
                <c:pt idx="29">
                  <c:v>0.70924829880352447</c:v>
                </c:pt>
                <c:pt idx="30">
                  <c:v>0.71695432181512153</c:v>
                </c:pt>
                <c:pt idx="31">
                  <c:v>0.72450491449570453</c:v>
                </c:pt>
                <c:pt idx="32">
                  <c:v>0.73171330163714443</c:v>
                </c:pt>
                <c:pt idx="33">
                  <c:v>0.73871047031765957</c:v>
                </c:pt>
                <c:pt idx="34">
                  <c:v>0.74546910160765445</c:v>
                </c:pt>
                <c:pt idx="35">
                  <c:v>0.7519274403478593</c:v>
                </c:pt>
                <c:pt idx="36">
                  <c:v>0.75809734870507217</c:v>
                </c:pt>
                <c:pt idx="37">
                  <c:v>0.76414496890638539</c:v>
                </c:pt>
                <c:pt idx="38">
                  <c:v>0.77000207551973032</c:v>
                </c:pt>
                <c:pt idx="39">
                  <c:v>0.77579958373140512</c:v>
                </c:pt>
                <c:pt idx="40">
                  <c:v>0.78145373945462382</c:v>
                </c:pt>
                <c:pt idx="41">
                  <c:v>0.787087046521046</c:v>
                </c:pt>
                <c:pt idx="42">
                  <c:v>0.79263142328244296</c:v>
                </c:pt>
                <c:pt idx="43">
                  <c:v>0.79810405190769185</c:v>
                </c:pt>
                <c:pt idx="44">
                  <c:v>0.8035611518782233</c:v>
                </c:pt>
                <c:pt idx="45">
                  <c:v>0.80877633553799511</c:v>
                </c:pt>
                <c:pt idx="46">
                  <c:v>0.81381293966851664</c:v>
                </c:pt>
                <c:pt idx="47">
                  <c:v>0.81863624047243366</c:v>
                </c:pt>
                <c:pt idx="48">
                  <c:v>0.82329030769669886</c:v>
                </c:pt>
                <c:pt idx="49">
                  <c:v>0.82760518884246048</c:v>
                </c:pt>
                <c:pt idx="50">
                  <c:v>0.83191841647406239</c:v>
                </c:pt>
                <c:pt idx="51">
                  <c:v>0.83613983812383963</c:v>
                </c:pt>
                <c:pt idx="52">
                  <c:v>0.84031417056602464</c:v>
                </c:pt>
                <c:pt idx="53">
                  <c:v>0.84444716515421658</c:v>
                </c:pt>
                <c:pt idx="54">
                  <c:v>0.84841797157091547</c:v>
                </c:pt>
                <c:pt idx="55">
                  <c:v>0.85223866765867939</c:v>
                </c:pt>
                <c:pt idx="56">
                  <c:v>0.85600415075189251</c:v>
                </c:pt>
                <c:pt idx="57">
                  <c:v>0.85961003378273215</c:v>
                </c:pt>
                <c:pt idx="58">
                  <c:v>0.86316602382110019</c:v>
                </c:pt>
                <c:pt idx="59">
                  <c:v>0.86663703761004229</c:v>
                </c:pt>
                <c:pt idx="60">
                  <c:v>0.87009252274426707</c:v>
                </c:pt>
                <c:pt idx="61">
                  <c:v>0.87337920565035987</c:v>
                </c:pt>
                <c:pt idx="62">
                  <c:v>0.87653087553071518</c:v>
                </c:pt>
                <c:pt idx="63">
                  <c:v>0.87950267182726038</c:v>
                </c:pt>
                <c:pt idx="64">
                  <c:v>0.88227331453167912</c:v>
                </c:pt>
                <c:pt idx="65">
                  <c:v>0.88501807614490213</c:v>
                </c:pt>
                <c:pt idx="66">
                  <c:v>0.88776032154092566</c:v>
                </c:pt>
                <c:pt idx="67">
                  <c:v>0.89045159556567766</c:v>
                </c:pt>
                <c:pt idx="68">
                  <c:v>0.8930894538938785</c:v>
                </c:pt>
                <c:pt idx="69">
                  <c:v>0.89572156086848032</c:v>
                </c:pt>
                <c:pt idx="70">
                  <c:v>0.89832217918212731</c:v>
                </c:pt>
                <c:pt idx="71">
                  <c:v>0.90086377422946418</c:v>
                </c:pt>
                <c:pt idx="72">
                  <c:v>0.9033444049286512</c:v>
                </c:pt>
                <c:pt idx="73">
                  <c:v>0.90579491291336323</c:v>
                </c:pt>
                <c:pt idx="74">
                  <c:v>0.90822119332103934</c:v>
                </c:pt>
                <c:pt idx="75">
                  <c:v>0.91055868720753019</c:v>
                </c:pt>
                <c:pt idx="76">
                  <c:v>0.91279294429691826</c:v>
                </c:pt>
                <c:pt idx="77">
                  <c:v>0.9149051289061666</c:v>
                </c:pt>
                <c:pt idx="78">
                  <c:v>0.91700243188797748</c:v>
                </c:pt>
                <c:pt idx="79">
                  <c:v>0.91909283324546942</c:v>
                </c:pt>
                <c:pt idx="80">
                  <c:v>0.92113003458217024</c:v>
                </c:pt>
                <c:pt idx="81">
                  <c:v>0.92303574559721302</c:v>
                </c:pt>
                <c:pt idx="82">
                  <c:v>0.92493211066265735</c:v>
                </c:pt>
                <c:pt idx="83">
                  <c:v>0.92680086923082627</c:v>
                </c:pt>
                <c:pt idx="84">
                  <c:v>0.92865690292915726</c:v>
                </c:pt>
                <c:pt idx="85">
                  <c:v>0.93047835661397404</c:v>
                </c:pt>
                <c:pt idx="86">
                  <c:v>0.9322014621522472</c:v>
                </c:pt>
                <c:pt idx="87">
                  <c:v>0.93387172712932909</c:v>
                </c:pt>
                <c:pt idx="88">
                  <c:v>0.93554105751145122</c:v>
                </c:pt>
                <c:pt idx="89">
                  <c:v>0.93720844681173365</c:v>
                </c:pt>
                <c:pt idx="90">
                  <c:v>0.93885620961785932</c:v>
                </c:pt>
                <c:pt idx="91">
                  <c:v>0.9404768691701495</c:v>
                </c:pt>
                <c:pt idx="92">
                  <c:v>0.94206258924932551</c:v>
                </c:pt>
                <c:pt idx="93">
                  <c:v>0.94362307526458578</c:v>
                </c:pt>
                <c:pt idx="94">
                  <c:v>0.94513719099145366</c:v>
                </c:pt>
                <c:pt idx="95">
                  <c:v>0.94664692131120232</c:v>
                </c:pt>
                <c:pt idx="96">
                  <c:v>0.94801279589905496</c:v>
                </c:pt>
                <c:pt idx="97">
                  <c:v>0.94937464453938825</c:v>
                </c:pt>
                <c:pt idx="98">
                  <c:v>0.9506877504579696</c:v>
                </c:pt>
                <c:pt idx="99">
                  <c:v>0.9519879158309531</c:v>
                </c:pt>
                <c:pt idx="100">
                  <c:v>0.95328434282409724</c:v>
                </c:pt>
                <c:pt idx="101">
                  <c:v>0.95458062603340144</c:v>
                </c:pt>
                <c:pt idx="102">
                  <c:v>0.95581134381167654</c:v>
                </c:pt>
                <c:pt idx="103">
                  <c:v>0.95700244914203825</c:v>
                </c:pt>
                <c:pt idx="104">
                  <c:v>0.95812504147265132</c:v>
                </c:pt>
                <c:pt idx="105">
                  <c:v>0.95922714460606784</c:v>
                </c:pt>
                <c:pt idx="106">
                  <c:v>0.96032335260204538</c:v>
                </c:pt>
                <c:pt idx="107">
                  <c:v>0.96136362868427216</c:v>
                </c:pt>
                <c:pt idx="108">
                  <c:v>0.96232288257267251</c:v>
                </c:pt>
                <c:pt idx="109">
                  <c:v>0.96326782996899518</c:v>
                </c:pt>
                <c:pt idx="110">
                  <c:v>0.96415274761212788</c:v>
                </c:pt>
                <c:pt idx="111">
                  <c:v>0.96503105119862165</c:v>
                </c:pt>
                <c:pt idx="112">
                  <c:v>0.96589425748191793</c:v>
                </c:pt>
                <c:pt idx="113">
                  <c:v>0.966728778889139</c:v>
                </c:pt>
                <c:pt idx="114">
                  <c:v>0.96755690191548116</c:v>
                </c:pt>
                <c:pt idx="115">
                  <c:v>0.96838416223878343</c:v>
                </c:pt>
                <c:pt idx="116">
                  <c:v>0.96914578523913664</c:v>
                </c:pt>
                <c:pt idx="117">
                  <c:v>0.96989468336965201</c:v>
                </c:pt>
                <c:pt idx="118">
                  <c:v>0.9706371112273684</c:v>
                </c:pt>
                <c:pt idx="119">
                  <c:v>0.97136580772836711</c:v>
                </c:pt>
                <c:pt idx="120">
                  <c:v>0.97208724314544703</c:v>
                </c:pt>
                <c:pt idx="121">
                  <c:v>0.97278703909461051</c:v>
                </c:pt>
                <c:pt idx="122">
                  <c:v>0.97346562692737748</c:v>
                </c:pt>
                <c:pt idx="123">
                  <c:v>0.97411962772350857</c:v>
                </c:pt>
                <c:pt idx="124">
                  <c:v>0.9747713279782001</c:v>
                </c:pt>
                <c:pt idx="125">
                  <c:v>0.97542015255609205</c:v>
                </c:pt>
                <c:pt idx="126">
                  <c:v>0.97605387983078651</c:v>
                </c:pt>
                <c:pt idx="127">
                  <c:v>0.97666057574356546</c:v>
                </c:pt>
                <c:pt idx="128">
                  <c:v>0.97724189380858872</c:v>
                </c:pt>
                <c:pt idx="129">
                  <c:v>0.97781940160185254</c:v>
                </c:pt>
                <c:pt idx="130">
                  <c:v>0.9783800866858392</c:v>
                </c:pt>
                <c:pt idx="131">
                  <c:v>0.9789322885232673</c:v>
                </c:pt>
                <c:pt idx="132">
                  <c:v>0.97947097467973765</c:v>
                </c:pt>
                <c:pt idx="133">
                  <c:v>0.98000570678060861</c:v>
                </c:pt>
                <c:pt idx="134">
                  <c:v>0.98053173995916099</c:v>
                </c:pt>
                <c:pt idx="135">
                  <c:v>0.98104871475579492</c:v>
                </c:pt>
                <c:pt idx="136">
                  <c:v>0.98155087981691136</c:v>
                </c:pt>
                <c:pt idx="137">
                  <c:v>0.98203816325059023</c:v>
                </c:pt>
                <c:pt idx="138">
                  <c:v>0.98251818560035031</c:v>
                </c:pt>
                <c:pt idx="139">
                  <c:v>0.9829967701117106</c:v>
                </c:pt>
                <c:pt idx="140">
                  <c:v>0.98347140056747162</c:v>
                </c:pt>
                <c:pt idx="141">
                  <c:v>0.98393294669379483</c:v>
                </c:pt>
                <c:pt idx="142">
                  <c:v>0.98439089822411863</c:v>
                </c:pt>
                <c:pt idx="143">
                  <c:v>0.98484381732004322</c:v>
                </c:pt>
                <c:pt idx="144">
                  <c:v>0.98528854073708916</c:v>
                </c:pt>
                <c:pt idx="145">
                  <c:v>0.98572355874493678</c:v>
                </c:pt>
                <c:pt idx="146">
                  <c:v>0.98615534161638485</c:v>
                </c:pt>
                <c:pt idx="147">
                  <c:v>0.98658101367463402</c:v>
                </c:pt>
                <c:pt idx="148">
                  <c:v>0.98698684356296651</c:v>
                </c:pt>
                <c:pt idx="149">
                  <c:v>0.98736427614290367</c:v>
                </c:pt>
                <c:pt idx="150">
                  <c:v>0.98773401628740209</c:v>
                </c:pt>
                <c:pt idx="151">
                  <c:v>0.98810116832278094</c:v>
                </c:pt>
                <c:pt idx="152">
                  <c:v>0.98846415062680049</c:v>
                </c:pt>
                <c:pt idx="153">
                  <c:v>0.98882483238938046</c:v>
                </c:pt>
                <c:pt idx="154">
                  <c:v>0.98917401144476236</c:v>
                </c:pt>
                <c:pt idx="155">
                  <c:v>0.98951549806470551</c:v>
                </c:pt>
                <c:pt idx="156">
                  <c:v>0.98985676900888875</c:v>
                </c:pt>
                <c:pt idx="157">
                  <c:v>0.99017460318715589</c:v>
                </c:pt>
                <c:pt idx="158">
                  <c:v>0.99048905844518353</c:v>
                </c:pt>
                <c:pt idx="159">
                  <c:v>0.99080193208097145</c:v>
                </c:pt>
                <c:pt idx="160">
                  <c:v>0.99109668895292236</c:v>
                </c:pt>
                <c:pt idx="161">
                  <c:v>0.99136477392255773</c:v>
                </c:pt>
                <c:pt idx="162">
                  <c:v>0.99163206808107318</c:v>
                </c:pt>
                <c:pt idx="163">
                  <c:v>0.99189814007694888</c:v>
                </c:pt>
                <c:pt idx="164">
                  <c:v>0.99216169585562497</c:v>
                </c:pt>
                <c:pt idx="165">
                  <c:v>0.99242453271510123</c:v>
                </c:pt>
                <c:pt idx="166">
                  <c:v>0.99267823930073895</c:v>
                </c:pt>
                <c:pt idx="167">
                  <c:v>0.99291684858317919</c:v>
                </c:pt>
                <c:pt idx="168">
                  <c:v>0.9931533011080198</c:v>
                </c:pt>
                <c:pt idx="169">
                  <c:v>0.99338845957830069</c:v>
                </c:pt>
                <c:pt idx="170">
                  <c:v>0.99361283426058333</c:v>
                </c:pt>
                <c:pt idx="171">
                  <c:v>0.99383318299534662</c:v>
                </c:pt>
                <c:pt idx="172">
                  <c:v>0.99403527118243296</c:v>
                </c:pt>
                <c:pt idx="173">
                  <c:v>0.9942345555846398</c:v>
                </c:pt>
                <c:pt idx="174">
                  <c:v>0.9944236313342083</c:v>
                </c:pt>
                <c:pt idx="175">
                  <c:v>0.99459257734618023</c:v>
                </c:pt>
                <c:pt idx="176">
                  <c:v>0.99476044497935223</c:v>
                </c:pt>
                <c:pt idx="177">
                  <c:v>0.99492651531452458</c:v>
                </c:pt>
                <c:pt idx="178">
                  <c:v>0.99509143537897715</c:v>
                </c:pt>
                <c:pt idx="179">
                  <c:v>0.99525628355150975</c:v>
                </c:pt>
                <c:pt idx="180">
                  <c:v>0.99541149820676389</c:v>
                </c:pt>
                <c:pt idx="181">
                  <c:v>0.99555211880226047</c:v>
                </c:pt>
                <c:pt idx="182">
                  <c:v>0.99568296209663865</c:v>
                </c:pt>
                <c:pt idx="183">
                  <c:v>0.99580977944349758</c:v>
                </c:pt>
                <c:pt idx="184">
                  <c:v>0.99593659679035651</c:v>
                </c:pt>
                <c:pt idx="185">
                  <c:v>0.99606176062305563</c:v>
                </c:pt>
                <c:pt idx="186">
                  <c:v>0.9961864931042349</c:v>
                </c:pt>
                <c:pt idx="187">
                  <c:v>0.99630806234093472</c:v>
                </c:pt>
                <c:pt idx="188">
                  <c:v>0.99642819373923475</c:v>
                </c:pt>
                <c:pt idx="189">
                  <c:v>0.99654537756881523</c:v>
                </c:pt>
                <c:pt idx="190">
                  <c:v>0.9966472484194383</c:v>
                </c:pt>
                <c:pt idx="191">
                  <c:v>0.99674732197206162</c:v>
                </c:pt>
                <c:pt idx="192">
                  <c:v>0.9968419317387659</c:v>
                </c:pt>
                <c:pt idx="193">
                  <c:v>0.99693035880035119</c:v>
                </c:pt>
                <c:pt idx="194">
                  <c:v>0.99701583829321694</c:v>
                </c:pt>
                <c:pt idx="195">
                  <c:v>0.99709240318800418</c:v>
                </c:pt>
                <c:pt idx="196">
                  <c:v>0.99716781781207164</c:v>
                </c:pt>
                <c:pt idx="197">
                  <c:v>0.99724229784117924</c:v>
                </c:pt>
                <c:pt idx="198">
                  <c:v>0.9973154838157271</c:v>
                </c:pt>
                <c:pt idx="199">
                  <c:v>0.99738852600643491</c:v>
                </c:pt>
                <c:pt idx="200">
                  <c:v>0.99745926765570314</c:v>
                </c:pt>
                <c:pt idx="201">
                  <c:v>0.9975274211958518</c:v>
                </c:pt>
                <c:pt idx="202">
                  <c:v>0.99759543095216052</c:v>
                </c:pt>
                <c:pt idx="203">
                  <c:v>0.9976612839508695</c:v>
                </c:pt>
                <c:pt idx="204">
                  <c:v>0.99772663370613868</c:v>
                </c:pt>
                <c:pt idx="205">
                  <c:v>0.99778975481188814</c:v>
                </c:pt>
                <c:pt idx="206">
                  <c:v>0.99785158186307787</c:v>
                </c:pt>
                <c:pt idx="207">
                  <c:v>0.99791254621122771</c:v>
                </c:pt>
                <c:pt idx="208">
                  <c:v>0.99797221650481782</c:v>
                </c:pt>
                <c:pt idx="209">
                  <c:v>0.99803088031152809</c:v>
                </c:pt>
                <c:pt idx="210">
                  <c:v>0.99808911276671841</c:v>
                </c:pt>
                <c:pt idx="211">
                  <c:v>0.9981471295461487</c:v>
                </c:pt>
                <c:pt idx="212">
                  <c:v>0.99820277389221945</c:v>
                </c:pt>
                <c:pt idx="213">
                  <c:v>0.99825324202005106</c:v>
                </c:pt>
                <c:pt idx="214">
                  <c:v>0.99830040311956325</c:v>
                </c:pt>
                <c:pt idx="215">
                  <c:v>0.9983471328675555</c:v>
                </c:pt>
                <c:pt idx="216">
                  <c:v>0.9983928561286679</c:v>
                </c:pt>
                <c:pt idx="217">
                  <c:v>0.99843850749786034</c:v>
                </c:pt>
                <c:pt idx="218">
                  <c:v>0.99848300859633288</c:v>
                </c:pt>
                <c:pt idx="219">
                  <c:v>0.99852707834328558</c:v>
                </c:pt>
                <c:pt idx="220">
                  <c:v>0.99857021349527841</c:v>
                </c:pt>
                <c:pt idx="221">
                  <c:v>0.99861183891695149</c:v>
                </c:pt>
                <c:pt idx="222">
                  <c:v>0.99865288920326467</c:v>
                </c:pt>
                <c:pt idx="223">
                  <c:v>0.99869314867845793</c:v>
                </c:pt>
                <c:pt idx="224">
                  <c:v>0.99873340815365119</c:v>
                </c:pt>
                <c:pt idx="225">
                  <c:v>0.99877330816924459</c:v>
                </c:pt>
                <c:pt idx="226">
                  <c:v>0.99881248926563804</c:v>
                </c:pt>
                <c:pt idx="227">
                  <c:v>0.99885131090243162</c:v>
                </c:pt>
                <c:pt idx="228">
                  <c:v>0.99888833524122544</c:v>
                </c:pt>
                <c:pt idx="229">
                  <c:v>0.99892528768809929</c:v>
                </c:pt>
                <c:pt idx="230">
                  <c:v>0.99896152121577331</c:v>
                </c:pt>
                <c:pt idx="231">
                  <c:v>0.9989972515000074</c:v>
                </c:pt>
                <c:pt idx="232">
                  <c:v>0.99903283800040144</c:v>
                </c:pt>
                <c:pt idx="233">
                  <c:v>0.99906806504119561</c:v>
                </c:pt>
                <c:pt idx="234">
                  <c:v>0.99910278883854986</c:v>
                </c:pt>
                <c:pt idx="235">
                  <c:v>0.99913679371670416</c:v>
                </c:pt>
                <c:pt idx="236">
                  <c:v>0.99917065481101852</c:v>
                </c:pt>
                <c:pt idx="237">
                  <c:v>0.99920394076997299</c:v>
                </c:pt>
                <c:pt idx="238">
                  <c:v>0.9992351418632478</c:v>
                </c:pt>
                <c:pt idx="239">
                  <c:v>0.9992649770100428</c:v>
                </c:pt>
                <c:pt idx="240">
                  <c:v>0.99929445269723793</c:v>
                </c:pt>
                <c:pt idx="241">
                  <c:v>0.99932249054603328</c:v>
                </c:pt>
                <c:pt idx="242">
                  <c:v>0.9993503127190686</c:v>
                </c:pt>
                <c:pt idx="243">
                  <c:v>0.99937799110826397</c:v>
                </c:pt>
                <c:pt idx="244">
                  <c:v>0.99940516625401943</c:v>
                </c:pt>
                <c:pt idx="245">
                  <c:v>0.99943083166945512</c:v>
                </c:pt>
                <c:pt idx="246">
                  <c:v>0.9994559938414509</c:v>
                </c:pt>
                <c:pt idx="247">
                  <c:v>0.99948101222960672</c:v>
                </c:pt>
                <c:pt idx="248">
                  <c:v>0.99950545548240266</c:v>
                </c:pt>
                <c:pt idx="249">
                  <c:v>0.99952874846447881</c:v>
                </c:pt>
                <c:pt idx="250">
                  <c:v>0.99955031604047517</c:v>
                </c:pt>
                <c:pt idx="251">
                  <c:v>0.99956972685887191</c:v>
                </c:pt>
                <c:pt idx="252">
                  <c:v>0.99958769983886897</c:v>
                </c:pt>
                <c:pt idx="253">
                  <c:v>0.99960538525118603</c:v>
                </c:pt>
                <c:pt idx="254">
                  <c:v>0.99962263931198314</c:v>
                </c:pt>
                <c:pt idx="255">
                  <c:v>0.99963953391318028</c:v>
                </c:pt>
                <c:pt idx="256">
                  <c:v>0.99965499067597774</c:v>
                </c:pt>
                <c:pt idx="257">
                  <c:v>0.99967008797917523</c:v>
                </c:pt>
                <c:pt idx="258">
                  <c:v>0.99968461014701282</c:v>
                </c:pt>
                <c:pt idx="259">
                  <c:v>0.99969877285525044</c:v>
                </c:pt>
                <c:pt idx="260">
                  <c:v>0.99971279177964811</c:v>
                </c:pt>
                <c:pt idx="261">
                  <c:v>0.99972652313636579</c:v>
                </c:pt>
                <c:pt idx="262">
                  <c:v>0.99974011070924351</c:v>
                </c:pt>
                <c:pt idx="263">
                  <c:v>0.99975319503868132</c:v>
                </c:pt>
                <c:pt idx="264">
                  <c:v>0.99976584801659918</c:v>
                </c:pt>
                <c:pt idx="265">
                  <c:v>0.99977842910259707</c:v>
                </c:pt>
                <c:pt idx="266">
                  <c:v>0.99979101018859495</c:v>
                </c:pt>
                <c:pt idx="267">
                  <c:v>0.99980337559883292</c:v>
                </c:pt>
                <c:pt idx="268">
                  <c:v>0.99981566911715092</c:v>
                </c:pt>
                <c:pt idx="269">
                  <c:v>0.99982796263546891</c:v>
                </c:pt>
                <c:pt idx="270">
                  <c:v>0.99984018426186683</c:v>
                </c:pt>
                <c:pt idx="271">
                  <c:v>0.99985233399634477</c:v>
                </c:pt>
                <c:pt idx="272">
                  <c:v>0.99986412427122284</c:v>
                </c:pt>
                <c:pt idx="273">
                  <c:v>0.99987433292386119</c:v>
                </c:pt>
                <c:pt idx="274">
                  <c:v>0.99988367887345964</c:v>
                </c:pt>
                <c:pt idx="275">
                  <c:v>0.99989302482305809</c:v>
                </c:pt>
                <c:pt idx="276">
                  <c:v>0.99990229888073656</c:v>
                </c:pt>
                <c:pt idx="277">
                  <c:v>0.99991092591113517</c:v>
                </c:pt>
                <c:pt idx="278">
                  <c:v>0.99991940915769373</c:v>
                </c:pt>
                <c:pt idx="279">
                  <c:v>0.99992551997089274</c:v>
                </c:pt>
                <c:pt idx="280">
                  <c:v>0.99993127132449178</c:v>
                </c:pt>
                <c:pt idx="281">
                  <c:v>0.99993637565081095</c:v>
                </c:pt>
                <c:pt idx="282">
                  <c:v>0.99994140808521015</c:v>
                </c:pt>
                <c:pt idx="283">
                  <c:v>0.99994593727616943</c:v>
                </c:pt>
                <c:pt idx="284">
                  <c:v>0.99995039457520873</c:v>
                </c:pt>
                <c:pt idx="285">
                  <c:v>0.99995477998232796</c:v>
                </c:pt>
                <c:pt idx="286">
                  <c:v>0.99995909349752721</c:v>
                </c:pt>
                <c:pt idx="287">
                  <c:v>0.99996340701272646</c:v>
                </c:pt>
                <c:pt idx="288">
                  <c:v>0.99996743296024582</c:v>
                </c:pt>
                <c:pt idx="289">
                  <c:v>0.9999713870158452</c:v>
                </c:pt>
                <c:pt idx="290">
                  <c:v>0.99997505350376459</c:v>
                </c:pt>
                <c:pt idx="291">
                  <c:v>0.999978648099764</c:v>
                </c:pt>
                <c:pt idx="292">
                  <c:v>0.99998217080384344</c:v>
                </c:pt>
                <c:pt idx="293">
                  <c:v>0.99998900053624229</c:v>
                </c:pt>
                <c:pt idx="294">
                  <c:v>0.99999173242920181</c:v>
                </c:pt>
                <c:pt idx="295">
                  <c:v>0.99999432053832138</c:v>
                </c:pt>
                <c:pt idx="296">
                  <c:v>0.99999683675552098</c:v>
                </c:pt>
                <c:pt idx="297">
                  <c:v>0.99999849026968068</c:v>
                </c:pt>
                <c:pt idx="298">
                  <c:v>1.000000000000000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312</c:f>
              <c:strCache>
                <c:ptCount val="311"/>
                <c:pt idx="0">
                  <c:v>Ruinart</c:v>
                </c:pt>
                <c:pt idx="1">
                  <c:v>Nicolas</c:v>
                </c:pt>
                <c:pt idx="2">
                  <c:v>Deutz</c:v>
                </c:pt>
                <c:pt idx="3">
                  <c:v>Ruinart</c:v>
                </c:pt>
                <c:pt idx="4">
                  <c:v>Heidsieck &amp;</c:v>
                </c:pt>
                <c:pt idx="5">
                  <c:v>Malard</c:v>
                </c:pt>
                <c:pt idx="6">
                  <c:v>De Bligny</c:v>
                </c:pt>
                <c:pt idx="7">
                  <c:v>Ayala</c:v>
                </c:pt>
                <c:pt idx="8">
                  <c:v>Laurent Per</c:v>
                </c:pt>
                <c:pt idx="9">
                  <c:v>Nicolas Feu</c:v>
                </c:pt>
                <c:pt idx="10">
                  <c:v>Ruinart</c:v>
                </c:pt>
                <c:pt idx="11">
                  <c:v>Besserat De</c:v>
                </c:pt>
                <c:pt idx="12">
                  <c:v>Canard Duch</c:v>
                </c:pt>
                <c:pt idx="13">
                  <c:v>Taittinger</c:v>
                </c:pt>
                <c:pt idx="14">
                  <c:v>Ruinart</c:v>
                </c:pt>
                <c:pt idx="15">
                  <c:v>Bollinger</c:v>
                </c:pt>
                <c:pt idx="16">
                  <c:v>Demoiselle</c:v>
                </c:pt>
                <c:pt idx="17">
                  <c:v>Deutz</c:v>
                </c:pt>
                <c:pt idx="18">
                  <c:v>Ruinart</c:v>
                </c:pt>
                <c:pt idx="19">
                  <c:v>All Others</c:v>
                </c:pt>
                <c:pt idx="20">
                  <c:v>Perrier Jou</c:v>
                </c:pt>
                <c:pt idx="21">
                  <c:v>Ruinart</c:v>
                </c:pt>
                <c:pt idx="22">
                  <c:v>Vesselle</c:v>
                </c:pt>
                <c:pt idx="23">
                  <c:v>Laurent Per</c:v>
                </c:pt>
                <c:pt idx="24">
                  <c:v>Savian</c:v>
                </c:pt>
                <c:pt idx="25">
                  <c:v>Pommery</c:v>
                </c:pt>
                <c:pt idx="26">
                  <c:v>Roederer</c:v>
                </c:pt>
                <c:pt idx="27">
                  <c:v>Ruinart</c:v>
                </c:pt>
                <c:pt idx="28">
                  <c:v>Moët &amp; Chan</c:v>
                </c:pt>
                <c:pt idx="29">
                  <c:v>Malard</c:v>
                </c:pt>
                <c:pt idx="30">
                  <c:v>Taittinger</c:v>
                </c:pt>
                <c:pt idx="31">
                  <c:v>Deutz</c:v>
                </c:pt>
                <c:pt idx="32">
                  <c:v>Dom Perigno</c:v>
                </c:pt>
                <c:pt idx="33">
                  <c:v>Henriot</c:v>
                </c:pt>
                <c:pt idx="34">
                  <c:v>All Others</c:v>
                </c:pt>
                <c:pt idx="35">
                  <c:v>Veuve Clicq</c:v>
                </c:pt>
                <c:pt idx="36">
                  <c:v>De Venoge</c:v>
                </c:pt>
                <c:pt idx="37">
                  <c:v>Dom Perigno</c:v>
                </c:pt>
                <c:pt idx="38">
                  <c:v>All Others</c:v>
                </c:pt>
                <c:pt idx="39">
                  <c:v>Nicolas</c:v>
                </c:pt>
                <c:pt idx="40">
                  <c:v>Veuve Clicq</c:v>
                </c:pt>
                <c:pt idx="41">
                  <c:v>Roederer</c:v>
                </c:pt>
                <c:pt idx="42">
                  <c:v>Malard</c:v>
                </c:pt>
                <c:pt idx="43">
                  <c:v>Demoiselle</c:v>
                </c:pt>
                <c:pt idx="44">
                  <c:v>Campari: Al</c:v>
                </c:pt>
                <c:pt idx="45">
                  <c:v>Besserat De</c:v>
                </c:pt>
                <c:pt idx="46">
                  <c:v>Veuve Clicq</c:v>
                </c:pt>
                <c:pt idx="47">
                  <c:v>Ruinart</c:v>
                </c:pt>
                <c:pt idx="48">
                  <c:v>Laurent Per</c:v>
                </c:pt>
                <c:pt idx="49">
                  <c:v>Nicolas</c:v>
                </c:pt>
                <c:pt idx="50">
                  <c:v>Moët &amp; Chan</c:v>
                </c:pt>
                <c:pt idx="51">
                  <c:v>Deutz</c:v>
                </c:pt>
                <c:pt idx="52">
                  <c:v>Piper Heids</c:v>
                </c:pt>
                <c:pt idx="53">
                  <c:v>Nicolas</c:v>
                </c:pt>
                <c:pt idx="54">
                  <c:v>Ruinart</c:v>
                </c:pt>
                <c:pt idx="55">
                  <c:v>Nicolas Feu</c:v>
                </c:pt>
                <c:pt idx="56">
                  <c:v>De Bligny</c:v>
                </c:pt>
                <c:pt idx="57">
                  <c:v>Nicolas Feu</c:v>
                </c:pt>
                <c:pt idx="58">
                  <c:v>Lanson</c:v>
                </c:pt>
                <c:pt idx="59">
                  <c:v>Nicolas Feu</c:v>
                </c:pt>
                <c:pt idx="60">
                  <c:v>Louis Marti</c:v>
                </c:pt>
                <c:pt idx="61">
                  <c:v>Moët &amp; Chan</c:v>
                </c:pt>
                <c:pt idx="62">
                  <c:v>Henriot</c:v>
                </c:pt>
                <c:pt idx="63">
                  <c:v>Canard Duch</c:v>
                </c:pt>
                <c:pt idx="64">
                  <c:v>Malard</c:v>
                </c:pt>
                <c:pt idx="65">
                  <c:v>Bollinger</c:v>
                </c:pt>
                <c:pt idx="66">
                  <c:v>Campari: Al</c:v>
                </c:pt>
                <c:pt idx="67">
                  <c:v>Henriot</c:v>
                </c:pt>
                <c:pt idx="68">
                  <c:v>Malard</c:v>
                </c:pt>
                <c:pt idx="69">
                  <c:v>Delamotte</c:v>
                </c:pt>
                <c:pt idx="70">
                  <c:v>Pommery</c:v>
                </c:pt>
                <c:pt idx="71">
                  <c:v>Besserat De</c:v>
                </c:pt>
                <c:pt idx="72">
                  <c:v>De Venoge</c:v>
                </c:pt>
                <c:pt idx="73">
                  <c:v>Roederer</c:v>
                </c:pt>
                <c:pt idx="74">
                  <c:v>Ayala</c:v>
                </c:pt>
                <c:pt idx="75">
                  <c:v>Krug</c:v>
                </c:pt>
                <c:pt idx="76">
                  <c:v>Canard Duch</c:v>
                </c:pt>
                <c:pt idx="77">
                  <c:v>De Venoge</c:v>
                </c:pt>
                <c:pt idx="78">
                  <c:v>Laurent Per</c:v>
                </c:pt>
                <c:pt idx="79">
                  <c:v>Ruinart</c:v>
                </c:pt>
                <c:pt idx="80">
                  <c:v>Roederer</c:v>
                </c:pt>
                <c:pt idx="81">
                  <c:v>Henriot</c:v>
                </c:pt>
                <c:pt idx="82">
                  <c:v>Vranken</c:v>
                </c:pt>
                <c:pt idx="83">
                  <c:v>Roederer</c:v>
                </c:pt>
                <c:pt idx="84">
                  <c:v>Malard</c:v>
                </c:pt>
                <c:pt idx="85">
                  <c:v>Nicolas</c:v>
                </c:pt>
                <c:pt idx="86">
                  <c:v>De Venoge</c:v>
                </c:pt>
                <c:pt idx="87">
                  <c:v>Ruinart</c:v>
                </c:pt>
                <c:pt idx="88">
                  <c:v>Vranken</c:v>
                </c:pt>
                <c:pt idx="89">
                  <c:v>Ruinart</c:v>
                </c:pt>
                <c:pt idx="90">
                  <c:v>Canard Duch</c:v>
                </c:pt>
                <c:pt idx="91">
                  <c:v>Nicolas</c:v>
                </c:pt>
                <c:pt idx="92">
                  <c:v>Veuve Clicq</c:v>
                </c:pt>
                <c:pt idx="93">
                  <c:v>Ruinart</c:v>
                </c:pt>
                <c:pt idx="94">
                  <c:v>Ruinart</c:v>
                </c:pt>
                <c:pt idx="95">
                  <c:v>Roederer</c:v>
                </c:pt>
                <c:pt idx="96">
                  <c:v>Roederer</c:v>
                </c:pt>
                <c:pt idx="97">
                  <c:v>Roederer</c:v>
                </c:pt>
                <c:pt idx="98">
                  <c:v>All Others</c:v>
                </c:pt>
                <c:pt idx="99">
                  <c:v>Nicolas</c:v>
                </c:pt>
                <c:pt idx="100">
                  <c:v>Deutz</c:v>
                </c:pt>
                <c:pt idx="101">
                  <c:v>Nicolas</c:v>
                </c:pt>
                <c:pt idx="102">
                  <c:v>Canard Duch</c:v>
                </c:pt>
                <c:pt idx="103">
                  <c:v>All Others</c:v>
                </c:pt>
                <c:pt idx="104">
                  <c:v>Roederer</c:v>
                </c:pt>
                <c:pt idx="105">
                  <c:v>Roederer</c:v>
                </c:pt>
                <c:pt idx="106">
                  <c:v>Bollinger</c:v>
                </c:pt>
                <c:pt idx="107">
                  <c:v>Moët &amp; Chan</c:v>
                </c:pt>
                <c:pt idx="108">
                  <c:v>Bollinger</c:v>
                </c:pt>
                <c:pt idx="109">
                  <c:v>Nicolas</c:v>
                </c:pt>
                <c:pt idx="110">
                  <c:v>Dom Perigno</c:v>
                </c:pt>
                <c:pt idx="111">
                  <c:v>Bollinger</c:v>
                </c:pt>
                <c:pt idx="112">
                  <c:v>All Others</c:v>
                </c:pt>
                <c:pt idx="113">
                  <c:v>Nicolas Feu</c:v>
                </c:pt>
                <c:pt idx="114">
                  <c:v>Perrier Jou</c:v>
                </c:pt>
                <c:pt idx="115">
                  <c:v>Laurent Per</c:v>
                </c:pt>
                <c:pt idx="116">
                  <c:v>All Others</c:v>
                </c:pt>
                <c:pt idx="117">
                  <c:v>Pommery</c:v>
                </c:pt>
                <c:pt idx="118">
                  <c:v>Nicolas</c:v>
                </c:pt>
                <c:pt idx="119">
                  <c:v>Roederer</c:v>
                </c:pt>
                <c:pt idx="120">
                  <c:v>Nicolas</c:v>
                </c:pt>
                <c:pt idx="121">
                  <c:v>Nicolas</c:v>
                </c:pt>
                <c:pt idx="122">
                  <c:v>Demoiselle</c:v>
                </c:pt>
                <c:pt idx="123">
                  <c:v>Deutz</c:v>
                </c:pt>
                <c:pt idx="124">
                  <c:v>Besserat De</c:v>
                </c:pt>
                <c:pt idx="125">
                  <c:v>Pommery</c:v>
                </c:pt>
                <c:pt idx="126">
                  <c:v>Ruinart</c:v>
                </c:pt>
                <c:pt idx="127">
                  <c:v>Canard Duch</c:v>
                </c:pt>
                <c:pt idx="128">
                  <c:v>Dom Perigno</c:v>
                </c:pt>
                <c:pt idx="129">
                  <c:v>Nicolas</c:v>
                </c:pt>
                <c:pt idx="130">
                  <c:v>Lanson</c:v>
                </c:pt>
                <c:pt idx="131">
                  <c:v>Roederer</c:v>
                </c:pt>
                <c:pt idx="132">
                  <c:v>Nicolas</c:v>
                </c:pt>
                <c:pt idx="133">
                  <c:v>Laurent Per</c:v>
                </c:pt>
                <c:pt idx="134">
                  <c:v>Laurent Per</c:v>
                </c:pt>
                <c:pt idx="135">
                  <c:v>Roederer</c:v>
                </c:pt>
                <c:pt idx="136">
                  <c:v>Taittinger</c:v>
                </c:pt>
                <c:pt idx="137">
                  <c:v>All Others</c:v>
                </c:pt>
                <c:pt idx="138">
                  <c:v>Nicolas</c:v>
                </c:pt>
                <c:pt idx="139">
                  <c:v>Laurent Per</c:v>
                </c:pt>
                <c:pt idx="140">
                  <c:v>Vesselle</c:v>
                </c:pt>
                <c:pt idx="141">
                  <c:v>Ruinart</c:v>
                </c:pt>
                <c:pt idx="142">
                  <c:v>Deutz</c:v>
                </c:pt>
                <c:pt idx="143">
                  <c:v>Pommery</c:v>
                </c:pt>
                <c:pt idx="144">
                  <c:v>Ruinart</c:v>
                </c:pt>
                <c:pt idx="145">
                  <c:v>Demoiselle</c:v>
                </c:pt>
                <c:pt idx="146">
                  <c:v>Roederer</c:v>
                </c:pt>
                <c:pt idx="147">
                  <c:v>Louis Marti</c:v>
                </c:pt>
                <c:pt idx="148">
                  <c:v>Ayala</c:v>
                </c:pt>
                <c:pt idx="149">
                  <c:v>Vranken</c:v>
                </c:pt>
                <c:pt idx="150">
                  <c:v>Piper Heids</c:v>
                </c:pt>
                <c:pt idx="151">
                  <c:v>Nicolas</c:v>
                </c:pt>
                <c:pt idx="152">
                  <c:v>Nicolas</c:v>
                </c:pt>
                <c:pt idx="153">
                  <c:v>Perrier Jou</c:v>
                </c:pt>
                <c:pt idx="154">
                  <c:v>Canard Duch</c:v>
                </c:pt>
                <c:pt idx="155">
                  <c:v>Besserat De</c:v>
                </c:pt>
                <c:pt idx="156">
                  <c:v>Roederer</c:v>
                </c:pt>
                <c:pt idx="157">
                  <c:v>Ruinart</c:v>
                </c:pt>
                <c:pt idx="158">
                  <c:v>Nicolas</c:v>
                </c:pt>
                <c:pt idx="159">
                  <c:v>Ruinart</c:v>
                </c:pt>
                <c:pt idx="160">
                  <c:v>Vesselle</c:v>
                </c:pt>
                <c:pt idx="161">
                  <c:v>Moët &amp; Chan</c:v>
                </c:pt>
                <c:pt idx="162">
                  <c:v>Piper Heids</c:v>
                </c:pt>
                <c:pt idx="163">
                  <c:v>Delamotte</c:v>
                </c:pt>
                <c:pt idx="164">
                  <c:v>Henriot</c:v>
                </c:pt>
                <c:pt idx="165">
                  <c:v>Pommery</c:v>
                </c:pt>
                <c:pt idx="166">
                  <c:v>Moët &amp; Chan</c:v>
                </c:pt>
                <c:pt idx="167">
                  <c:v>Ruinart</c:v>
                </c:pt>
                <c:pt idx="168">
                  <c:v>Malard</c:v>
                </c:pt>
                <c:pt idx="169">
                  <c:v>Bollinger</c:v>
                </c:pt>
                <c:pt idx="170">
                  <c:v>Taittinger</c:v>
                </c:pt>
                <c:pt idx="171">
                  <c:v>All Others</c:v>
                </c:pt>
                <c:pt idx="172">
                  <c:v>All Others</c:v>
                </c:pt>
                <c:pt idx="173">
                  <c:v>Nicolas</c:v>
                </c:pt>
                <c:pt idx="174">
                  <c:v>Roederer</c:v>
                </c:pt>
                <c:pt idx="175">
                  <c:v>Moët &amp; Chan</c:v>
                </c:pt>
                <c:pt idx="176">
                  <c:v>All Others</c:v>
                </c:pt>
                <c:pt idx="177">
                  <c:v>Nicolas</c:v>
                </c:pt>
                <c:pt idx="178">
                  <c:v>Taittinger</c:v>
                </c:pt>
                <c:pt idx="179">
                  <c:v>Henriot</c:v>
                </c:pt>
                <c:pt idx="180">
                  <c:v>Ruinart</c:v>
                </c:pt>
                <c:pt idx="181">
                  <c:v>Deutz</c:v>
                </c:pt>
                <c:pt idx="182">
                  <c:v>Veuve Clicq</c:v>
                </c:pt>
                <c:pt idx="183">
                  <c:v>De Venoge</c:v>
                </c:pt>
                <c:pt idx="184">
                  <c:v>Nicolas Feu</c:v>
                </c:pt>
                <c:pt idx="185">
                  <c:v>All Others</c:v>
                </c:pt>
                <c:pt idx="186">
                  <c:v>All Others</c:v>
                </c:pt>
                <c:pt idx="187">
                  <c:v>Canard Duch</c:v>
                </c:pt>
                <c:pt idx="188">
                  <c:v>All Others</c:v>
                </c:pt>
                <c:pt idx="189">
                  <c:v>Laurent Per</c:v>
                </c:pt>
                <c:pt idx="190">
                  <c:v>Piper Heids</c:v>
                </c:pt>
                <c:pt idx="191">
                  <c:v>Ruinart</c:v>
                </c:pt>
                <c:pt idx="192">
                  <c:v>Roederer</c:v>
                </c:pt>
                <c:pt idx="193">
                  <c:v>Veuve Clicq</c:v>
                </c:pt>
                <c:pt idx="194">
                  <c:v>Canard Duch</c:v>
                </c:pt>
                <c:pt idx="195">
                  <c:v>Nicolas</c:v>
                </c:pt>
                <c:pt idx="196">
                  <c:v>Ruinart</c:v>
                </c:pt>
                <c:pt idx="197">
                  <c:v>All Others</c:v>
                </c:pt>
                <c:pt idx="198">
                  <c:v>Piper Heids</c:v>
                </c:pt>
                <c:pt idx="199">
                  <c:v>All Others</c:v>
                </c:pt>
                <c:pt idx="200">
                  <c:v>Laurent Per</c:v>
                </c:pt>
                <c:pt idx="201">
                  <c:v>De Venoge</c:v>
                </c:pt>
                <c:pt idx="202">
                  <c:v>Roederer</c:v>
                </c:pt>
                <c:pt idx="203">
                  <c:v>Roederer</c:v>
                </c:pt>
                <c:pt idx="204">
                  <c:v>Deutz</c:v>
                </c:pt>
                <c:pt idx="205">
                  <c:v>All Others</c:v>
                </c:pt>
                <c:pt idx="206">
                  <c:v>Perrier Jou</c:v>
                </c:pt>
                <c:pt idx="207">
                  <c:v>Ruinart</c:v>
                </c:pt>
                <c:pt idx="208">
                  <c:v>All Others</c:v>
                </c:pt>
                <c:pt idx="209">
                  <c:v>Pommery</c:v>
                </c:pt>
                <c:pt idx="210">
                  <c:v>Laurent Per</c:v>
                </c:pt>
                <c:pt idx="211">
                  <c:v>Dom Perigno</c:v>
                </c:pt>
                <c:pt idx="212">
                  <c:v>Bollinger</c:v>
                </c:pt>
                <c:pt idx="213">
                  <c:v>De Venoge</c:v>
                </c:pt>
                <c:pt idx="214">
                  <c:v>De Venoge</c:v>
                </c:pt>
                <c:pt idx="215">
                  <c:v>Malard</c:v>
                </c:pt>
                <c:pt idx="216">
                  <c:v>All Others</c:v>
                </c:pt>
                <c:pt idx="217">
                  <c:v>All Others</c:v>
                </c:pt>
                <c:pt idx="218">
                  <c:v>All Others</c:v>
                </c:pt>
                <c:pt idx="219">
                  <c:v>Bollinger</c:v>
                </c:pt>
                <c:pt idx="220">
                  <c:v>All Others</c:v>
                </c:pt>
                <c:pt idx="221">
                  <c:v>De Bligny</c:v>
                </c:pt>
                <c:pt idx="222">
                  <c:v>Dom Perigno</c:v>
                </c:pt>
                <c:pt idx="223">
                  <c:v>Laurent Per</c:v>
                </c:pt>
                <c:pt idx="224">
                  <c:v>Martel</c:v>
                </c:pt>
                <c:pt idx="225">
                  <c:v>Bollinger</c:v>
                </c:pt>
                <c:pt idx="226">
                  <c:v>Roederer</c:v>
                </c:pt>
                <c:pt idx="227">
                  <c:v>Bollinger</c:v>
                </c:pt>
                <c:pt idx="228">
                  <c:v>Perrier Jou</c:v>
                </c:pt>
                <c:pt idx="229">
                  <c:v>De Venoge</c:v>
                </c:pt>
                <c:pt idx="230">
                  <c:v>De Venoge</c:v>
                </c:pt>
                <c:pt idx="231">
                  <c:v>All Others</c:v>
                </c:pt>
                <c:pt idx="232">
                  <c:v>Besserat De</c:v>
                </c:pt>
                <c:pt idx="233">
                  <c:v>Ayala</c:v>
                </c:pt>
                <c:pt idx="234">
                  <c:v>De Bligny</c:v>
                </c:pt>
                <c:pt idx="235">
                  <c:v>Bollinger</c:v>
                </c:pt>
                <c:pt idx="236">
                  <c:v>All Others</c:v>
                </c:pt>
                <c:pt idx="237">
                  <c:v>All Others</c:v>
                </c:pt>
                <c:pt idx="238">
                  <c:v>Moët &amp; Chan</c:v>
                </c:pt>
                <c:pt idx="239">
                  <c:v>All Others</c:v>
                </c:pt>
                <c:pt idx="240">
                  <c:v>Pommery</c:v>
                </c:pt>
                <c:pt idx="241">
                  <c:v>Deutz</c:v>
                </c:pt>
                <c:pt idx="242">
                  <c:v>Bollinger</c:v>
                </c:pt>
                <c:pt idx="243">
                  <c:v>Pommery</c:v>
                </c:pt>
                <c:pt idx="244">
                  <c:v>Bollinger</c:v>
                </c:pt>
                <c:pt idx="245">
                  <c:v>All Others</c:v>
                </c:pt>
                <c:pt idx="246">
                  <c:v>Roederer</c:v>
                </c:pt>
                <c:pt idx="247">
                  <c:v>Veuve Clicq</c:v>
                </c:pt>
                <c:pt idx="248">
                  <c:v>De Venoge</c:v>
                </c:pt>
                <c:pt idx="249">
                  <c:v>All Others</c:v>
                </c:pt>
                <c:pt idx="250">
                  <c:v>Dom Perigno</c:v>
                </c:pt>
                <c:pt idx="251">
                  <c:v>Taittinger</c:v>
                </c:pt>
                <c:pt idx="252">
                  <c:v>Roederer</c:v>
                </c:pt>
                <c:pt idx="253">
                  <c:v>Ruinart</c:v>
                </c:pt>
                <c:pt idx="254">
                  <c:v>Roederer</c:v>
                </c:pt>
                <c:pt idx="255">
                  <c:v>Besserat De</c:v>
                </c:pt>
                <c:pt idx="256">
                  <c:v>Roederer</c:v>
                </c:pt>
                <c:pt idx="257">
                  <c:v>Ruinart</c:v>
                </c:pt>
                <c:pt idx="258">
                  <c:v>Roederer</c:v>
                </c:pt>
                <c:pt idx="259">
                  <c:v>Besserat De</c:v>
                </c:pt>
                <c:pt idx="260">
                  <c:v>Ruinart</c:v>
                </c:pt>
                <c:pt idx="261">
                  <c:v>Veuve Clicq</c:v>
                </c:pt>
                <c:pt idx="262">
                  <c:v>Veuve Clicq</c:v>
                </c:pt>
                <c:pt idx="263">
                  <c:v>Malard</c:v>
                </c:pt>
                <c:pt idx="264">
                  <c:v>Ruinart</c:v>
                </c:pt>
                <c:pt idx="265">
                  <c:v>All Others</c:v>
                </c:pt>
                <c:pt idx="266">
                  <c:v>Demoiselle</c:v>
                </c:pt>
                <c:pt idx="267">
                  <c:v>Perrier Jou</c:v>
                </c:pt>
                <c:pt idx="268">
                  <c:v>Perrier Jou</c:v>
                </c:pt>
                <c:pt idx="269">
                  <c:v>Veuve Clicq</c:v>
                </c:pt>
                <c:pt idx="270">
                  <c:v>Pommery</c:v>
                </c:pt>
                <c:pt idx="271">
                  <c:v>All Others</c:v>
                </c:pt>
                <c:pt idx="272">
                  <c:v>All Others</c:v>
                </c:pt>
                <c:pt idx="273">
                  <c:v>Malard</c:v>
                </c:pt>
                <c:pt idx="274">
                  <c:v>Ruinart</c:v>
                </c:pt>
                <c:pt idx="275">
                  <c:v>Ruinart</c:v>
                </c:pt>
                <c:pt idx="276">
                  <c:v>Nicolas</c:v>
                </c:pt>
                <c:pt idx="277">
                  <c:v>Roederer</c:v>
                </c:pt>
                <c:pt idx="278">
                  <c:v>Laurent Per</c:v>
                </c:pt>
                <c:pt idx="279">
                  <c:v>Roederer</c:v>
                </c:pt>
                <c:pt idx="280">
                  <c:v>Lanson</c:v>
                </c:pt>
                <c:pt idx="281">
                  <c:v>Roederer</c:v>
                </c:pt>
                <c:pt idx="282">
                  <c:v>Veuve Clicq</c:v>
                </c:pt>
                <c:pt idx="283">
                  <c:v>Roederer</c:v>
                </c:pt>
                <c:pt idx="284">
                  <c:v>Moët &amp; Chan</c:v>
                </c:pt>
                <c:pt idx="285">
                  <c:v>Delamotte</c:v>
                </c:pt>
                <c:pt idx="286">
                  <c:v>Roederer</c:v>
                </c:pt>
                <c:pt idx="287">
                  <c:v>Laurent Per</c:v>
                </c:pt>
                <c:pt idx="288">
                  <c:v>All Others</c:v>
                </c:pt>
                <c:pt idx="289">
                  <c:v>Roederer</c:v>
                </c:pt>
                <c:pt idx="290">
                  <c:v>Veuve Clicq</c:v>
                </c:pt>
                <c:pt idx="291">
                  <c:v>Roederer</c:v>
                </c:pt>
                <c:pt idx="292">
                  <c:v>Demoiselle</c:v>
                </c:pt>
                <c:pt idx="293">
                  <c:v>Besserat De</c:v>
                </c:pt>
                <c:pt idx="294">
                  <c:v>Besserat De</c:v>
                </c:pt>
                <c:pt idx="295">
                  <c:v>Roederer</c:v>
                </c:pt>
                <c:pt idx="296">
                  <c:v>Laurent Per</c:v>
                </c:pt>
                <c:pt idx="297">
                  <c:v>Malard</c:v>
                </c:pt>
                <c:pt idx="298">
                  <c:v>Ayala</c:v>
                </c:pt>
                <c:pt idx="299">
                  <c:v>Vranken Pom</c:v>
                </c:pt>
                <c:pt idx="300">
                  <c:v>Laurent Per</c:v>
                </c:pt>
                <c:pt idx="301">
                  <c:v>Roederer</c:v>
                </c:pt>
                <c:pt idx="302">
                  <c:v>Delamotte</c:v>
                </c:pt>
                <c:pt idx="303">
                  <c:v>Demoiselle</c:v>
                </c:pt>
                <c:pt idx="304">
                  <c:v>Lanson</c:v>
                </c:pt>
                <c:pt idx="305">
                  <c:v>Pommery</c:v>
                </c:pt>
                <c:pt idx="306">
                  <c:v>Malard</c:v>
                </c:pt>
                <c:pt idx="307">
                  <c:v>Pommery</c:v>
                </c:pt>
                <c:pt idx="308">
                  <c:v>All Others</c:v>
                </c:pt>
                <c:pt idx="309">
                  <c:v>Lanson</c:v>
                </c:pt>
                <c:pt idx="310">
                  <c:v>Roederer</c:v>
                </c:pt>
              </c:strCache>
            </c:strRef>
          </c:cat>
          <c:val>
            <c:numRef>
              <c:f>Sheet1!$B$2:$B$312</c:f>
              <c:numCache>
                <c:formatCode>General</c:formatCode>
                <c:ptCount val="311"/>
                <c:pt idx="0">
                  <c:v>1</c:v>
                </c:pt>
                <c:pt idx="1">
                  <c:v>0.99</c:v>
                </c:pt>
                <c:pt idx="2">
                  <c:v>0.98</c:v>
                </c:pt>
                <c:pt idx="3">
                  <c:v>0.87</c:v>
                </c:pt>
                <c:pt idx="4">
                  <c:v>0.92</c:v>
                </c:pt>
                <c:pt idx="5">
                  <c:v>0.94</c:v>
                </c:pt>
                <c:pt idx="6">
                  <c:v>0.93</c:v>
                </c:pt>
                <c:pt idx="7">
                  <c:v>0.89</c:v>
                </c:pt>
                <c:pt idx="8">
                  <c:v>0.98</c:v>
                </c:pt>
                <c:pt idx="9">
                  <c:v>0.96</c:v>
                </c:pt>
                <c:pt idx="10">
                  <c:v>0.55000000000000004</c:v>
                </c:pt>
                <c:pt idx="11">
                  <c:v>0.86</c:v>
                </c:pt>
                <c:pt idx="12">
                  <c:v>0.93</c:v>
                </c:pt>
                <c:pt idx="13">
                  <c:v>0.88</c:v>
                </c:pt>
                <c:pt idx="14">
                  <c:v>0.61</c:v>
                </c:pt>
                <c:pt idx="15">
                  <c:v>0.8</c:v>
                </c:pt>
                <c:pt idx="16">
                  <c:v>0.88</c:v>
                </c:pt>
                <c:pt idx="17">
                  <c:v>0.59</c:v>
                </c:pt>
                <c:pt idx="18">
                  <c:v>0.62</c:v>
                </c:pt>
                <c:pt idx="19">
                  <c:v>0.71</c:v>
                </c:pt>
                <c:pt idx="20">
                  <c:v>0.69</c:v>
                </c:pt>
                <c:pt idx="21">
                  <c:v>0.43</c:v>
                </c:pt>
                <c:pt idx="22">
                  <c:v>0.6</c:v>
                </c:pt>
                <c:pt idx="23">
                  <c:v>0.61</c:v>
                </c:pt>
                <c:pt idx="24">
                  <c:v>0.71</c:v>
                </c:pt>
                <c:pt idx="25">
                  <c:v>0.59</c:v>
                </c:pt>
                <c:pt idx="26">
                  <c:v>0.59</c:v>
                </c:pt>
                <c:pt idx="27">
                  <c:v>0.31</c:v>
                </c:pt>
                <c:pt idx="28">
                  <c:v>0.56000000000000005</c:v>
                </c:pt>
                <c:pt idx="29">
                  <c:v>0.5</c:v>
                </c:pt>
                <c:pt idx="30">
                  <c:v>0.4</c:v>
                </c:pt>
                <c:pt idx="31">
                  <c:v>0.6</c:v>
                </c:pt>
                <c:pt idx="32">
                  <c:v>0.23</c:v>
                </c:pt>
                <c:pt idx="33">
                  <c:v>0.55000000000000004</c:v>
                </c:pt>
                <c:pt idx="34">
                  <c:v>0.37</c:v>
                </c:pt>
                <c:pt idx="35">
                  <c:v>0.45</c:v>
                </c:pt>
                <c:pt idx="36">
                  <c:v>0.46</c:v>
                </c:pt>
                <c:pt idx="37">
                  <c:v>0.23</c:v>
                </c:pt>
                <c:pt idx="38">
                  <c:v>0.54</c:v>
                </c:pt>
                <c:pt idx="39">
                  <c:v>0.51</c:v>
                </c:pt>
                <c:pt idx="40">
                  <c:v>0.38</c:v>
                </c:pt>
                <c:pt idx="41">
                  <c:v>0.4</c:v>
                </c:pt>
                <c:pt idx="42">
                  <c:v>0.52</c:v>
                </c:pt>
                <c:pt idx="43">
                  <c:v>0.66</c:v>
                </c:pt>
                <c:pt idx="44">
                  <c:v>0.39</c:v>
                </c:pt>
                <c:pt idx="45">
                  <c:v>0.37</c:v>
                </c:pt>
                <c:pt idx="46">
                  <c:v>0.48</c:v>
                </c:pt>
                <c:pt idx="47">
                  <c:v>0.42</c:v>
                </c:pt>
                <c:pt idx="48">
                  <c:v>0.46</c:v>
                </c:pt>
                <c:pt idx="49">
                  <c:v>0.53</c:v>
                </c:pt>
                <c:pt idx="50">
                  <c:v>0.42</c:v>
                </c:pt>
                <c:pt idx="51">
                  <c:v>0.66</c:v>
                </c:pt>
                <c:pt idx="52">
                  <c:v>0.49</c:v>
                </c:pt>
                <c:pt idx="53">
                  <c:v>0.62</c:v>
                </c:pt>
                <c:pt idx="54">
                  <c:v>0.49</c:v>
                </c:pt>
                <c:pt idx="55">
                  <c:v>0.44</c:v>
                </c:pt>
                <c:pt idx="56">
                  <c:v>0.51</c:v>
                </c:pt>
                <c:pt idx="57">
                  <c:v>0.35</c:v>
                </c:pt>
                <c:pt idx="58">
                  <c:v>0.45</c:v>
                </c:pt>
                <c:pt idx="59">
                  <c:v>0.36</c:v>
                </c:pt>
                <c:pt idx="60">
                  <c:v>0.38</c:v>
                </c:pt>
                <c:pt idx="61">
                  <c:v>0.37</c:v>
                </c:pt>
                <c:pt idx="62">
                  <c:v>0.33</c:v>
                </c:pt>
                <c:pt idx="63">
                  <c:v>0.67</c:v>
                </c:pt>
                <c:pt idx="64">
                  <c:v>0.33</c:v>
                </c:pt>
                <c:pt idx="65">
                  <c:v>0.15</c:v>
                </c:pt>
                <c:pt idx="66">
                  <c:v>0.28000000000000003</c:v>
                </c:pt>
                <c:pt idx="67">
                  <c:v>0.46</c:v>
                </c:pt>
                <c:pt idx="68">
                  <c:v>0.49</c:v>
                </c:pt>
                <c:pt idx="69">
                  <c:v>0.21</c:v>
                </c:pt>
                <c:pt idx="70">
                  <c:v>0.3</c:v>
                </c:pt>
                <c:pt idx="71">
                  <c:v>0.26</c:v>
                </c:pt>
                <c:pt idx="72">
                  <c:v>0.17</c:v>
                </c:pt>
                <c:pt idx="73">
                  <c:v>0.13</c:v>
                </c:pt>
                <c:pt idx="74">
                  <c:v>0.23</c:v>
                </c:pt>
                <c:pt idx="75">
                  <c:v>0.08</c:v>
                </c:pt>
                <c:pt idx="76">
                  <c:v>0.25</c:v>
                </c:pt>
                <c:pt idx="77">
                  <c:v>0.2</c:v>
                </c:pt>
                <c:pt idx="78">
                  <c:v>0.18</c:v>
                </c:pt>
                <c:pt idx="79">
                  <c:v>0.25</c:v>
                </c:pt>
                <c:pt idx="80">
                  <c:v>0.08</c:v>
                </c:pt>
                <c:pt idx="81">
                  <c:v>0.18</c:v>
                </c:pt>
                <c:pt idx="82">
                  <c:v>0.21</c:v>
                </c:pt>
                <c:pt idx="83">
                  <c:v>0.13</c:v>
                </c:pt>
                <c:pt idx="84">
                  <c:v>0.33</c:v>
                </c:pt>
                <c:pt idx="85">
                  <c:v>0.25</c:v>
                </c:pt>
                <c:pt idx="86">
                  <c:v>0.36</c:v>
                </c:pt>
                <c:pt idx="87">
                  <c:v>0.25</c:v>
                </c:pt>
                <c:pt idx="88">
                  <c:v>0.2</c:v>
                </c:pt>
                <c:pt idx="89">
                  <c:v>0.11</c:v>
                </c:pt>
                <c:pt idx="90">
                  <c:v>0.19</c:v>
                </c:pt>
                <c:pt idx="91">
                  <c:v>0.15</c:v>
                </c:pt>
                <c:pt idx="92">
                  <c:v>0.15</c:v>
                </c:pt>
                <c:pt idx="93">
                  <c:v>0.08</c:v>
                </c:pt>
                <c:pt idx="94">
                  <c:v>0.23</c:v>
                </c:pt>
                <c:pt idx="95">
                  <c:v>0.13</c:v>
                </c:pt>
                <c:pt idx="96">
                  <c:v>0.04</c:v>
                </c:pt>
                <c:pt idx="97">
                  <c:v>0.05</c:v>
                </c:pt>
                <c:pt idx="98">
                  <c:v>0.17</c:v>
                </c:pt>
                <c:pt idx="99">
                  <c:v>0.28000000000000003</c:v>
                </c:pt>
                <c:pt idx="100">
                  <c:v>0.24</c:v>
                </c:pt>
                <c:pt idx="101">
                  <c:v>0.18</c:v>
                </c:pt>
                <c:pt idx="102">
                  <c:v>0.15</c:v>
                </c:pt>
                <c:pt idx="103">
                  <c:v>0.02</c:v>
                </c:pt>
                <c:pt idx="104">
                  <c:v>0.13</c:v>
                </c:pt>
                <c:pt idx="105">
                  <c:v>0.25</c:v>
                </c:pt>
                <c:pt idx="106">
                  <c:v>0.11</c:v>
                </c:pt>
                <c:pt idx="107">
                  <c:v>0.14000000000000001</c:v>
                </c:pt>
                <c:pt idx="108">
                  <c:v>0.03</c:v>
                </c:pt>
                <c:pt idx="109">
                  <c:v>0.15</c:v>
                </c:pt>
                <c:pt idx="110">
                  <c:v>0.06</c:v>
                </c:pt>
                <c:pt idx="111">
                  <c:v>0.05</c:v>
                </c:pt>
                <c:pt idx="112">
                  <c:v>0.15</c:v>
                </c:pt>
                <c:pt idx="113">
                  <c:v>0.21</c:v>
                </c:pt>
                <c:pt idx="114">
                  <c:v>0.11</c:v>
                </c:pt>
                <c:pt idx="115">
                  <c:v>0.08</c:v>
                </c:pt>
                <c:pt idx="116">
                  <c:v>0.02</c:v>
                </c:pt>
                <c:pt idx="117">
                  <c:v>0.1</c:v>
                </c:pt>
                <c:pt idx="118">
                  <c:v>0.28000000000000003</c:v>
                </c:pt>
                <c:pt idx="119">
                  <c:v>0.14000000000000001</c:v>
                </c:pt>
                <c:pt idx="120">
                  <c:v>0.08</c:v>
                </c:pt>
                <c:pt idx="121">
                  <c:v>0.18</c:v>
                </c:pt>
                <c:pt idx="122">
                  <c:v>0.16</c:v>
                </c:pt>
                <c:pt idx="123">
                  <c:v>0.05</c:v>
                </c:pt>
                <c:pt idx="124">
                  <c:v>0.15</c:v>
                </c:pt>
                <c:pt idx="125">
                  <c:v>0.12</c:v>
                </c:pt>
                <c:pt idx="126">
                  <c:v>0.04</c:v>
                </c:pt>
                <c:pt idx="127">
                  <c:v>7.0000000000000007E-2</c:v>
                </c:pt>
                <c:pt idx="128">
                  <c:v>0.08</c:v>
                </c:pt>
                <c:pt idx="129">
                  <c:v>0.06</c:v>
                </c:pt>
                <c:pt idx="130">
                  <c:v>0.1</c:v>
                </c:pt>
                <c:pt idx="131">
                  <c:v>0.09</c:v>
                </c:pt>
                <c:pt idx="132">
                  <c:v>0.13</c:v>
                </c:pt>
                <c:pt idx="133">
                  <c:v>7.0000000000000007E-2</c:v>
                </c:pt>
                <c:pt idx="134">
                  <c:v>0.04</c:v>
                </c:pt>
                <c:pt idx="135">
                  <c:v>0.09</c:v>
                </c:pt>
                <c:pt idx="136">
                  <c:v>0.03</c:v>
                </c:pt>
                <c:pt idx="137">
                  <c:v>0.05</c:v>
                </c:pt>
                <c:pt idx="138">
                  <c:v>0.1</c:v>
                </c:pt>
                <c:pt idx="139">
                  <c:v>0.06</c:v>
                </c:pt>
                <c:pt idx="140">
                  <c:v>0.13</c:v>
                </c:pt>
                <c:pt idx="141">
                  <c:v>0.05</c:v>
                </c:pt>
                <c:pt idx="142">
                  <c:v>0.04</c:v>
                </c:pt>
                <c:pt idx="143">
                  <c:v>0.06</c:v>
                </c:pt>
                <c:pt idx="144">
                  <c:v>0.06</c:v>
                </c:pt>
                <c:pt idx="145">
                  <c:v>0.12</c:v>
                </c:pt>
                <c:pt idx="146">
                  <c:v>0.05</c:v>
                </c:pt>
                <c:pt idx="147">
                  <c:v>0.11</c:v>
                </c:pt>
                <c:pt idx="148">
                  <c:v>0.05</c:v>
                </c:pt>
                <c:pt idx="149">
                  <c:v>0.06</c:v>
                </c:pt>
                <c:pt idx="150">
                  <c:v>0.05</c:v>
                </c:pt>
                <c:pt idx="151">
                  <c:v>0.15</c:v>
                </c:pt>
                <c:pt idx="152">
                  <c:v>0.03</c:v>
                </c:pt>
                <c:pt idx="153">
                  <c:v>0.03</c:v>
                </c:pt>
                <c:pt idx="154">
                  <c:v>0.08</c:v>
                </c:pt>
                <c:pt idx="155">
                  <c:v>0.06</c:v>
                </c:pt>
                <c:pt idx="156">
                  <c:v>0.04</c:v>
                </c:pt>
                <c:pt idx="157">
                  <c:v>0.02</c:v>
                </c:pt>
                <c:pt idx="158">
                  <c:v>0.05</c:v>
                </c:pt>
                <c:pt idx="159">
                  <c:v>0.03</c:v>
                </c:pt>
                <c:pt idx="160">
                  <c:v>7.0000000000000007E-2</c:v>
                </c:pt>
                <c:pt idx="161">
                  <c:v>0.06</c:v>
                </c:pt>
                <c:pt idx="162">
                  <c:v>0.08</c:v>
                </c:pt>
                <c:pt idx="163">
                  <c:v>0.06</c:v>
                </c:pt>
                <c:pt idx="164">
                  <c:v>0.04</c:v>
                </c:pt>
                <c:pt idx="165">
                  <c:v>0.09</c:v>
                </c:pt>
                <c:pt idx="166">
                  <c:v>7.0000000000000007E-2</c:v>
                </c:pt>
                <c:pt idx="167">
                  <c:v>0.02</c:v>
                </c:pt>
                <c:pt idx="168">
                  <c:v>0.04</c:v>
                </c:pt>
                <c:pt idx="169">
                  <c:v>0.03</c:v>
                </c:pt>
                <c:pt idx="170">
                  <c:v>0.01</c:v>
                </c:pt>
                <c:pt idx="171">
                  <c:v>0.06</c:v>
                </c:pt>
                <c:pt idx="172">
                  <c:v>0.02</c:v>
                </c:pt>
                <c:pt idx="173">
                  <c:v>7.0000000000000007E-2</c:v>
                </c:pt>
                <c:pt idx="174">
                  <c:v>0.03</c:v>
                </c:pt>
                <c:pt idx="175">
                  <c:v>0.03</c:v>
                </c:pt>
                <c:pt idx="176">
                  <c:v>0.02</c:v>
                </c:pt>
                <c:pt idx="177">
                  <c:v>0.03</c:v>
                </c:pt>
                <c:pt idx="178">
                  <c:v>0.02</c:v>
                </c:pt>
                <c:pt idx="179">
                  <c:v>0.03</c:v>
                </c:pt>
                <c:pt idx="180">
                  <c:v>0.01</c:v>
                </c:pt>
                <c:pt idx="181">
                  <c:v>0.02</c:v>
                </c:pt>
                <c:pt idx="182">
                  <c:v>0.02</c:v>
                </c:pt>
                <c:pt idx="183">
                  <c:v>0.03</c:v>
                </c:pt>
                <c:pt idx="184">
                  <c:v>0.05</c:v>
                </c:pt>
                <c:pt idx="185">
                  <c:v>0.05</c:v>
                </c:pt>
                <c:pt idx="186">
                  <c:v>0.01</c:v>
                </c:pt>
                <c:pt idx="187">
                  <c:v>7.0000000000000007E-2</c:v>
                </c:pt>
                <c:pt idx="188">
                  <c:v>0.03</c:v>
                </c:pt>
                <c:pt idx="189">
                  <c:v>0.03</c:v>
                </c:pt>
                <c:pt idx="190">
                  <c:v>0.02</c:v>
                </c:pt>
                <c:pt idx="191">
                  <c:v>0.02</c:v>
                </c:pt>
                <c:pt idx="192">
                  <c:v>0.05</c:v>
                </c:pt>
                <c:pt idx="193">
                  <c:v>0.03</c:v>
                </c:pt>
                <c:pt idx="194">
                  <c:v>0.01</c:v>
                </c:pt>
                <c:pt idx="195">
                  <c:v>0.04</c:v>
                </c:pt>
                <c:pt idx="196">
                  <c:v>0.02</c:v>
                </c:pt>
                <c:pt idx="197">
                  <c:v>0.02</c:v>
                </c:pt>
                <c:pt idx="198">
                  <c:v>0.03</c:v>
                </c:pt>
                <c:pt idx="199">
                  <c:v>0.02</c:v>
                </c:pt>
                <c:pt idx="200">
                  <c:v>0.02</c:v>
                </c:pt>
                <c:pt idx="201">
                  <c:v>0.02</c:v>
                </c:pt>
                <c:pt idx="202">
                  <c:v>0.01</c:v>
                </c:pt>
                <c:pt idx="203">
                  <c:v>0.02</c:v>
                </c:pt>
                <c:pt idx="204">
                  <c:v>0.02</c:v>
                </c:pt>
                <c:pt idx="205">
                  <c:v>0.02</c:v>
                </c:pt>
                <c:pt idx="206">
                  <c:v>0.02</c:v>
                </c:pt>
                <c:pt idx="207">
                  <c:v>0.01</c:v>
                </c:pt>
                <c:pt idx="208">
                  <c:v>0.02</c:v>
                </c:pt>
                <c:pt idx="209">
                  <c:v>0.01</c:v>
                </c:pt>
                <c:pt idx="210">
                  <c:v>0.02</c:v>
                </c:pt>
                <c:pt idx="211">
                  <c:v>0.01</c:v>
                </c:pt>
                <c:pt idx="212">
                  <c:v>0.01</c:v>
                </c:pt>
                <c:pt idx="213">
                  <c:v>0.02</c:v>
                </c:pt>
                <c:pt idx="214">
                  <c:v>0.03</c:v>
                </c:pt>
                <c:pt idx="215">
                  <c:v>0.03</c:v>
                </c:pt>
                <c:pt idx="216">
                  <c:v>0.02</c:v>
                </c:pt>
                <c:pt idx="217">
                  <c:v>0.02</c:v>
                </c:pt>
                <c:pt idx="218">
                  <c:v>0.02</c:v>
                </c:pt>
                <c:pt idx="219">
                  <c:v>0.01</c:v>
                </c:pt>
                <c:pt idx="220">
                  <c:v>0.03</c:v>
                </c:pt>
                <c:pt idx="221">
                  <c:v>0.02</c:v>
                </c:pt>
                <c:pt idx="222">
                  <c:v>0.02</c:v>
                </c:pt>
                <c:pt idx="223">
                  <c:v>0.02</c:v>
                </c:pt>
                <c:pt idx="224">
                  <c:v>0.02</c:v>
                </c:pt>
                <c:pt idx="225">
                  <c:v>0.04</c:v>
                </c:pt>
                <c:pt idx="226">
                  <c:v>0.02</c:v>
                </c:pt>
                <c:pt idx="227">
                  <c:v>0.02</c:v>
                </c:pt>
                <c:pt idx="228">
                  <c:v>0.01</c:v>
                </c:pt>
                <c:pt idx="229">
                  <c:v>0.02</c:v>
                </c:pt>
                <c:pt idx="230">
                  <c:v>0.02</c:v>
                </c:pt>
                <c:pt idx="231">
                  <c:v>0.02</c:v>
                </c:pt>
                <c:pt idx="232">
                  <c:v>0.02</c:v>
                </c:pt>
                <c:pt idx="233">
                  <c:v>0.02</c:v>
                </c:pt>
                <c:pt idx="234">
                  <c:v>0.02</c:v>
                </c:pt>
                <c:pt idx="235">
                  <c:v>0.02</c:v>
                </c:pt>
                <c:pt idx="236">
                  <c:v>0.02</c:v>
                </c:pt>
                <c:pt idx="237">
                  <c:v>0.02</c:v>
                </c:pt>
                <c:pt idx="238">
                  <c:v>0.02</c:v>
                </c:pt>
                <c:pt idx="239">
                  <c:v>0.01</c:v>
                </c:pt>
                <c:pt idx="240">
                  <c:v>0.02</c:v>
                </c:pt>
                <c:pt idx="241">
                  <c:v>0.02</c:v>
                </c:pt>
                <c:pt idx="242">
                  <c:v>0.02</c:v>
                </c:pt>
                <c:pt idx="243">
                  <c:v>0.01</c:v>
                </c:pt>
                <c:pt idx="244">
                  <c:v>0.01</c:v>
                </c:pt>
                <c:pt idx="245">
                  <c:v>0.02</c:v>
                </c:pt>
                <c:pt idx="246">
                  <c:v>0.02</c:v>
                </c:pt>
                <c:pt idx="247">
                  <c:v>0.01</c:v>
                </c:pt>
                <c:pt idx="248">
                  <c:v>0.01</c:v>
                </c:pt>
                <c:pt idx="249">
                  <c:v>0.01</c:v>
                </c:pt>
                <c:pt idx="250">
                  <c:v>0.01</c:v>
                </c:pt>
                <c:pt idx="251">
                  <c:v>0.02</c:v>
                </c:pt>
                <c:pt idx="252">
                  <c:v>0.01</c:v>
                </c:pt>
                <c:pt idx="253">
                  <c:v>0.02</c:v>
                </c:pt>
                <c:pt idx="254">
                  <c:v>0.01</c:v>
                </c:pt>
                <c:pt idx="255">
                  <c:v>0.02</c:v>
                </c:pt>
                <c:pt idx="256">
                  <c:v>0.01</c:v>
                </c:pt>
                <c:pt idx="257">
                  <c:v>0.01</c:v>
                </c:pt>
                <c:pt idx="258">
                  <c:v>0.01</c:v>
                </c:pt>
                <c:pt idx="259">
                  <c:v>0.01</c:v>
                </c:pt>
                <c:pt idx="260">
                  <c:v>0.02</c:v>
                </c:pt>
                <c:pt idx="261">
                  <c:v>0.01</c:v>
                </c:pt>
                <c:pt idx="262">
                  <c:v>0.01</c:v>
                </c:pt>
                <c:pt idx="263">
                  <c:v>0.01</c:v>
                </c:pt>
                <c:pt idx="264">
                  <c:v>0.01</c:v>
                </c:pt>
                <c:pt idx="265">
                  <c:v>0.01</c:v>
                </c:pt>
                <c:pt idx="266">
                  <c:v>0.04</c:v>
                </c:pt>
                <c:pt idx="267">
                  <c:v>0.01</c:v>
                </c:pt>
                <c:pt idx="268">
                  <c:v>0.01</c:v>
                </c:pt>
                <c:pt idx="269">
                  <c:v>0.02</c:v>
                </c:pt>
                <c:pt idx="270">
                  <c:v>0.01</c:v>
                </c:pt>
                <c:pt idx="271">
                  <c:v>0.01</c:v>
                </c:pt>
                <c:pt idx="272">
                  <c:v>0.01</c:v>
                </c:pt>
                <c:pt idx="273">
                  <c:v>0.01</c:v>
                </c:pt>
                <c:pt idx="274">
                  <c:v>0.01</c:v>
                </c:pt>
                <c:pt idx="275">
                  <c:v>0.01</c:v>
                </c:pt>
                <c:pt idx="276">
                  <c:v>0.01</c:v>
                </c:pt>
                <c:pt idx="277">
                  <c:v>0.01</c:v>
                </c:pt>
                <c:pt idx="278">
                  <c:v>0.01</c:v>
                </c:pt>
                <c:pt idx="279">
                  <c:v>0.02</c:v>
                </c:pt>
                <c:pt idx="280">
                  <c:v>0.02</c:v>
                </c:pt>
                <c:pt idx="281">
                  <c:v>0.01</c:v>
                </c:pt>
                <c:pt idx="282">
                  <c:v>0.02</c:v>
                </c:pt>
                <c:pt idx="283">
                  <c:v>0.02</c:v>
                </c:pt>
                <c:pt idx="284">
                  <c:v>0.01</c:v>
                </c:pt>
                <c:pt idx="285">
                  <c:v>0.01</c:v>
                </c:pt>
                <c:pt idx="286">
                  <c:v>0.01</c:v>
                </c:pt>
                <c:pt idx="287">
                  <c:v>0.01</c:v>
                </c:pt>
                <c:pt idx="288">
                  <c:v>0.04</c:v>
                </c:pt>
                <c:pt idx="289">
                  <c:v>0.01</c:v>
                </c:pt>
                <c:pt idx="290">
                  <c:v>0.02</c:v>
                </c:pt>
                <c:pt idx="291">
                  <c:v>0.01</c:v>
                </c:pt>
                <c:pt idx="292">
                  <c:v>0.01</c:v>
                </c:pt>
                <c:pt idx="293">
                  <c:v>0.02</c:v>
                </c:pt>
                <c:pt idx="294">
                  <c:v>0.02</c:v>
                </c:pt>
                <c:pt idx="295">
                  <c:v>0.01</c:v>
                </c:pt>
                <c:pt idx="296">
                  <c:v>0.01</c:v>
                </c:pt>
                <c:pt idx="297">
                  <c:v>0.01</c:v>
                </c:pt>
                <c:pt idx="298">
                  <c:v>0.01</c:v>
                </c:pt>
                <c:pt idx="299">
                  <c:v>0.01</c:v>
                </c:pt>
                <c:pt idx="300">
                  <c:v>0.01</c:v>
                </c:pt>
                <c:pt idx="301">
                  <c:v>0.01</c:v>
                </c:pt>
                <c:pt idx="302">
                  <c:v>0.01</c:v>
                </c:pt>
                <c:pt idx="303">
                  <c:v>0.01</c:v>
                </c:pt>
                <c:pt idx="304">
                  <c:v>0.01</c:v>
                </c:pt>
                <c:pt idx="305">
                  <c:v>0.01</c:v>
                </c:pt>
                <c:pt idx="306">
                  <c:v>0.01</c:v>
                </c:pt>
                <c:pt idx="307">
                  <c:v>0.01</c:v>
                </c:pt>
                <c:pt idx="308">
                  <c:v>0.01</c:v>
                </c:pt>
                <c:pt idx="309">
                  <c:v>0.02</c:v>
                </c:pt>
                <c:pt idx="310">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7ECAC4"/>
              </a:solidFill>
            </c:spPr>
            <c:extLst>
              <c:ext xmlns:c16="http://schemas.microsoft.com/office/drawing/2014/chart" uri="{C3380CC4-5D6E-409C-BE32-E72D297353CC}">
                <c16:uniqueId val="{00000091-2993-41DE-A2CB-63102DE87051}"/>
              </c:ext>
            </c:extLst>
          </c:dPt>
          <c:dPt>
            <c:idx val="45"/>
            <c:invertIfNegative val="1"/>
            <c:bubble3D val="0"/>
            <c:spPr>
              <a:solidFill>
                <a:srgbClr val="7ECAC4"/>
              </a:solidFill>
            </c:spPr>
            <c:extLst>
              <c:ext xmlns:c16="http://schemas.microsoft.com/office/drawing/2014/chart" uri="{C3380CC4-5D6E-409C-BE32-E72D297353CC}">
                <c16:uniqueId val="{00000093-2993-41DE-A2CB-63102DE87051}"/>
              </c:ext>
            </c:extLst>
          </c:dPt>
          <c:dPt>
            <c:idx val="46"/>
            <c:invertIfNegative val="1"/>
            <c:bubble3D val="0"/>
            <c:spPr>
              <a:solidFill>
                <a:srgbClr val="7ECAC4"/>
              </a:solidFill>
            </c:spPr>
            <c:extLst>
              <c:ext xmlns:c16="http://schemas.microsoft.com/office/drawing/2014/chart" uri="{C3380CC4-5D6E-409C-BE32-E72D297353CC}">
                <c16:uniqueId val="{00000095-2993-41DE-A2CB-63102DE87051}"/>
              </c:ext>
            </c:extLst>
          </c:dPt>
          <c:dPt>
            <c:idx val="47"/>
            <c:invertIfNegative val="1"/>
            <c:bubble3D val="0"/>
            <c:spPr>
              <a:solidFill>
                <a:srgbClr val="7ECAC4"/>
              </a:solidFill>
            </c:spPr>
            <c:extLst>
              <c:ext xmlns:c16="http://schemas.microsoft.com/office/drawing/2014/chart" uri="{C3380CC4-5D6E-409C-BE32-E72D297353CC}">
                <c16:uniqueId val="{00000097-2993-41DE-A2CB-63102DE87051}"/>
              </c:ext>
            </c:extLst>
          </c:dPt>
          <c:dPt>
            <c:idx val="48"/>
            <c:invertIfNegative val="1"/>
            <c:bubble3D val="0"/>
            <c:spPr>
              <a:solidFill>
                <a:srgbClr val="7ECAC4"/>
              </a:solidFill>
            </c:spPr>
            <c:extLst>
              <c:ext xmlns:c16="http://schemas.microsoft.com/office/drawing/2014/chart" uri="{C3380CC4-5D6E-409C-BE32-E72D297353CC}">
                <c16:uniqueId val="{00000099-2993-41DE-A2CB-63102DE87051}"/>
              </c:ext>
            </c:extLst>
          </c:dPt>
          <c:dPt>
            <c:idx val="49"/>
            <c:invertIfNegative val="1"/>
            <c:bubble3D val="0"/>
            <c:spPr>
              <a:solidFill>
                <a:srgbClr val="7ECAC4"/>
              </a:solidFill>
            </c:spPr>
            <c:extLst>
              <c:ext xmlns:c16="http://schemas.microsoft.com/office/drawing/2014/chart" uri="{C3380CC4-5D6E-409C-BE32-E72D297353CC}">
                <c16:uniqueId val="{0000009B-2993-41DE-A2CB-63102DE87051}"/>
              </c:ext>
            </c:extLst>
          </c:dPt>
          <c:dPt>
            <c:idx val="50"/>
            <c:invertIfNegative val="1"/>
            <c:bubble3D val="0"/>
            <c:spPr>
              <a:solidFill>
                <a:srgbClr val="7ECAC4"/>
              </a:solidFill>
            </c:spPr>
            <c:extLst>
              <c:ext xmlns:c16="http://schemas.microsoft.com/office/drawing/2014/chart" uri="{C3380CC4-5D6E-409C-BE32-E72D297353CC}">
                <c16:uniqueId val="{0000009D-2993-41DE-A2CB-63102DE87051}"/>
              </c:ext>
            </c:extLst>
          </c:dPt>
          <c:dPt>
            <c:idx val="51"/>
            <c:invertIfNegative val="1"/>
            <c:bubble3D val="0"/>
            <c:spPr>
              <a:solidFill>
                <a:srgbClr val="7ECAC4"/>
              </a:solidFill>
            </c:spPr>
            <c:extLst>
              <c:ext xmlns:c16="http://schemas.microsoft.com/office/drawing/2014/chart" uri="{C3380CC4-5D6E-409C-BE32-E72D297353CC}">
                <c16:uniqueId val="{0000009F-2993-41DE-A2CB-63102DE87051}"/>
              </c:ext>
            </c:extLst>
          </c:dPt>
          <c:dPt>
            <c:idx val="52"/>
            <c:invertIfNegative val="1"/>
            <c:bubble3D val="0"/>
            <c:spPr>
              <a:solidFill>
                <a:srgbClr val="7ECAC4"/>
              </a:solidFill>
            </c:spPr>
            <c:extLst>
              <c:ext xmlns:c16="http://schemas.microsoft.com/office/drawing/2014/chart" uri="{C3380CC4-5D6E-409C-BE32-E72D297353CC}">
                <c16:uniqueId val="{000000A1-2993-41DE-A2CB-63102DE87051}"/>
              </c:ext>
            </c:extLst>
          </c:dPt>
          <c:dPt>
            <c:idx val="53"/>
            <c:invertIfNegative val="1"/>
            <c:bubble3D val="0"/>
            <c:spPr>
              <a:solidFill>
                <a:srgbClr val="7ECAC4"/>
              </a:solidFill>
            </c:spPr>
            <c:extLst>
              <c:ext xmlns:c16="http://schemas.microsoft.com/office/drawing/2014/chart" uri="{C3380CC4-5D6E-409C-BE32-E72D297353CC}">
                <c16:uniqueId val="{000000A3-2993-41DE-A2CB-63102DE87051}"/>
              </c:ext>
            </c:extLst>
          </c:dPt>
          <c:dPt>
            <c:idx val="54"/>
            <c:invertIfNegative val="0"/>
            <c:bubble3D val="0"/>
            <c:spPr>
              <a:solidFill>
                <a:srgbClr val="7ECAC4"/>
              </a:solidFill>
            </c:spPr>
            <c:extLst>
              <c:ext xmlns:c16="http://schemas.microsoft.com/office/drawing/2014/chart" uri="{C3380CC4-5D6E-409C-BE32-E72D297353CC}">
                <c16:uniqueId val="{00000072-C76F-4230-900D-40618C09729F}"/>
              </c:ext>
            </c:extLst>
          </c:dPt>
          <c:dPt>
            <c:idx val="55"/>
            <c:invertIfNegative val="0"/>
            <c:bubble3D val="0"/>
            <c:spPr>
              <a:solidFill>
                <a:srgbClr val="7ECAC4"/>
              </a:solidFill>
            </c:spPr>
            <c:extLst>
              <c:ext xmlns:c16="http://schemas.microsoft.com/office/drawing/2014/chart" uri="{C3380CC4-5D6E-409C-BE32-E72D297353CC}">
                <c16:uniqueId val="{00000074-C76F-4230-900D-40618C09729F}"/>
              </c:ext>
            </c:extLst>
          </c:dPt>
          <c:dPt>
            <c:idx val="56"/>
            <c:invertIfNegative val="0"/>
            <c:bubble3D val="0"/>
            <c:spPr>
              <a:solidFill>
                <a:srgbClr val="7ECAC4"/>
              </a:solidFill>
            </c:spPr>
            <c:extLst>
              <c:ext xmlns:c16="http://schemas.microsoft.com/office/drawing/2014/chart" uri="{C3380CC4-5D6E-409C-BE32-E72D297353CC}">
                <c16:uniqueId val="{00000076-C76F-4230-900D-40618C09729F}"/>
              </c:ext>
            </c:extLst>
          </c:dPt>
          <c:dPt>
            <c:idx val="57"/>
            <c:invertIfNegative val="0"/>
            <c:bubble3D val="0"/>
            <c:spPr>
              <a:solidFill>
                <a:srgbClr val="7ECAC4"/>
              </a:solidFill>
            </c:spPr>
            <c:extLst>
              <c:ext xmlns:c16="http://schemas.microsoft.com/office/drawing/2014/chart" uri="{C3380CC4-5D6E-409C-BE32-E72D297353CC}">
                <c16:uniqueId val="{00000078-C76F-4230-900D-40618C09729F}"/>
              </c:ext>
            </c:extLst>
          </c:dPt>
          <c:dPt>
            <c:idx val="58"/>
            <c:invertIfNegative val="0"/>
            <c:bubble3D val="0"/>
            <c:spPr>
              <a:solidFill>
                <a:srgbClr val="7ECAC4"/>
              </a:solidFill>
            </c:spPr>
            <c:extLst>
              <c:ext xmlns:c16="http://schemas.microsoft.com/office/drawing/2014/chart" uri="{C3380CC4-5D6E-409C-BE32-E72D297353CC}">
                <c16:uniqueId val="{0000007A-C76F-4230-900D-40618C09729F}"/>
              </c:ext>
            </c:extLst>
          </c:dPt>
          <c:dPt>
            <c:idx val="59"/>
            <c:invertIfNegative val="0"/>
            <c:bubble3D val="0"/>
            <c:spPr>
              <a:solidFill>
                <a:srgbClr val="7ECAC4"/>
              </a:solidFill>
            </c:spPr>
            <c:extLst>
              <c:ext xmlns:c16="http://schemas.microsoft.com/office/drawing/2014/chart" uri="{C3380CC4-5D6E-409C-BE32-E72D297353CC}">
                <c16:uniqueId val="{0000007C-C76F-4230-900D-40618C09729F}"/>
              </c:ext>
            </c:extLst>
          </c:dPt>
          <c:dPt>
            <c:idx val="60"/>
            <c:invertIfNegative val="0"/>
            <c:bubble3D val="0"/>
            <c:spPr>
              <a:solidFill>
                <a:srgbClr val="7ECAC4"/>
              </a:solidFill>
            </c:spPr>
            <c:extLst>
              <c:ext xmlns:c16="http://schemas.microsoft.com/office/drawing/2014/chart" uri="{C3380CC4-5D6E-409C-BE32-E72D297353CC}">
                <c16:uniqueId val="{0000007E-C76F-4230-900D-40618C09729F}"/>
              </c:ext>
            </c:extLst>
          </c:dPt>
          <c:dPt>
            <c:idx val="61"/>
            <c:invertIfNegative val="0"/>
            <c:bubble3D val="0"/>
            <c:spPr>
              <a:solidFill>
                <a:srgbClr val="7ECAC4"/>
              </a:solidFill>
            </c:spPr>
            <c:extLst>
              <c:ext xmlns:c16="http://schemas.microsoft.com/office/drawing/2014/chart" uri="{C3380CC4-5D6E-409C-BE32-E72D297353CC}">
                <c16:uniqueId val="{00000080-C76F-4230-900D-40618C09729F}"/>
              </c:ext>
            </c:extLst>
          </c:dPt>
          <c:dPt>
            <c:idx val="62"/>
            <c:invertIfNegative val="0"/>
            <c:bubble3D val="0"/>
            <c:spPr>
              <a:solidFill>
                <a:srgbClr val="7ECAC4"/>
              </a:solidFill>
            </c:spPr>
            <c:extLst>
              <c:ext xmlns:c16="http://schemas.microsoft.com/office/drawing/2014/chart" uri="{C3380CC4-5D6E-409C-BE32-E72D297353CC}">
                <c16:uniqueId val="{00000082-C76F-4230-900D-40618C09729F}"/>
              </c:ext>
            </c:extLst>
          </c:dPt>
          <c:dPt>
            <c:idx val="63"/>
            <c:invertIfNegative val="0"/>
            <c:bubble3D val="0"/>
            <c:spPr>
              <a:solidFill>
                <a:srgbClr val="7ECAC4"/>
              </a:solidFill>
            </c:spPr>
            <c:extLst>
              <c:ext xmlns:c16="http://schemas.microsoft.com/office/drawing/2014/chart" uri="{C3380CC4-5D6E-409C-BE32-E72D297353CC}">
                <c16:uniqueId val="{00000084-C76F-4230-900D-40618C09729F}"/>
              </c:ext>
            </c:extLst>
          </c:dPt>
          <c:dPt>
            <c:idx val="64"/>
            <c:invertIfNegative val="0"/>
            <c:bubble3D val="0"/>
            <c:spPr>
              <a:solidFill>
                <a:srgbClr val="7ECAC4"/>
              </a:solidFill>
            </c:spPr>
            <c:extLst>
              <c:ext xmlns:c16="http://schemas.microsoft.com/office/drawing/2014/chart" uri="{C3380CC4-5D6E-409C-BE32-E72D297353CC}">
                <c16:uniqueId val="{00000086-C76F-4230-900D-40618C09729F}"/>
              </c:ext>
            </c:extLst>
          </c:dPt>
          <c:dPt>
            <c:idx val="65"/>
            <c:invertIfNegative val="0"/>
            <c:bubble3D val="0"/>
            <c:spPr>
              <a:solidFill>
                <a:srgbClr val="7ECAC4"/>
              </a:solidFill>
            </c:spPr>
            <c:extLst>
              <c:ext xmlns:c16="http://schemas.microsoft.com/office/drawing/2014/chart" uri="{C3380CC4-5D6E-409C-BE32-E72D297353CC}">
                <c16:uniqueId val="{00000088-C76F-4230-900D-40618C09729F}"/>
              </c:ext>
            </c:extLst>
          </c:dPt>
          <c:dPt>
            <c:idx val="66"/>
            <c:invertIfNegative val="0"/>
            <c:bubble3D val="0"/>
            <c:spPr>
              <a:solidFill>
                <a:srgbClr val="7ECAC4"/>
              </a:solidFill>
            </c:spPr>
            <c:extLst>
              <c:ext xmlns:c16="http://schemas.microsoft.com/office/drawing/2014/chart" uri="{C3380CC4-5D6E-409C-BE32-E72D297353CC}">
                <c16:uniqueId val="{0000008A-C76F-4230-900D-40618C09729F}"/>
              </c:ext>
            </c:extLst>
          </c:dPt>
          <c:dPt>
            <c:idx val="67"/>
            <c:invertIfNegative val="0"/>
            <c:bubble3D val="0"/>
            <c:spPr>
              <a:solidFill>
                <a:srgbClr val="7ECAC4"/>
              </a:solidFill>
            </c:spPr>
            <c:extLst>
              <c:ext xmlns:c16="http://schemas.microsoft.com/office/drawing/2014/chart" uri="{C3380CC4-5D6E-409C-BE32-E72D297353CC}">
                <c16:uniqueId val="{0000008C-C76F-4230-900D-40618C09729F}"/>
              </c:ext>
            </c:extLst>
          </c:dPt>
          <c:dPt>
            <c:idx val="68"/>
            <c:invertIfNegative val="0"/>
            <c:bubble3D val="0"/>
            <c:spPr>
              <a:solidFill>
                <a:srgbClr val="7ECAC4"/>
              </a:solidFill>
            </c:spPr>
            <c:extLst>
              <c:ext xmlns:c16="http://schemas.microsoft.com/office/drawing/2014/chart" uri="{C3380CC4-5D6E-409C-BE32-E72D297353CC}">
                <c16:uniqueId val="{0000008E-C76F-4230-900D-40618C09729F}"/>
              </c:ext>
            </c:extLst>
          </c:dPt>
          <c:dPt>
            <c:idx val="69"/>
            <c:invertIfNegative val="0"/>
            <c:bubble3D val="0"/>
            <c:spPr>
              <a:solidFill>
                <a:srgbClr val="7ECAC4"/>
              </a:solidFill>
            </c:spPr>
            <c:extLst>
              <c:ext xmlns:c16="http://schemas.microsoft.com/office/drawing/2014/chart" uri="{C3380CC4-5D6E-409C-BE32-E72D297353CC}">
                <c16:uniqueId val="{00000090-C76F-4230-900D-40618C09729F}"/>
              </c:ext>
            </c:extLst>
          </c:dPt>
          <c:dPt>
            <c:idx val="70"/>
            <c:invertIfNegative val="0"/>
            <c:bubble3D val="0"/>
            <c:spPr>
              <a:solidFill>
                <a:srgbClr val="7ECAC4"/>
              </a:solidFill>
            </c:spPr>
            <c:extLst>
              <c:ext xmlns:c16="http://schemas.microsoft.com/office/drawing/2014/chart" uri="{C3380CC4-5D6E-409C-BE32-E72D297353CC}">
                <c16:uniqueId val="{00000092-C76F-4230-900D-40618C09729F}"/>
              </c:ext>
            </c:extLst>
          </c:dPt>
          <c:dPt>
            <c:idx val="71"/>
            <c:invertIfNegative val="0"/>
            <c:bubble3D val="0"/>
            <c:spPr>
              <a:solidFill>
                <a:srgbClr val="7ECAC4"/>
              </a:solidFill>
            </c:spPr>
            <c:extLst>
              <c:ext xmlns:c16="http://schemas.microsoft.com/office/drawing/2014/chart" uri="{C3380CC4-5D6E-409C-BE32-E72D297353CC}">
                <c16:uniqueId val="{00000094-C76F-4230-900D-40618C09729F}"/>
              </c:ext>
            </c:extLst>
          </c:dPt>
          <c:dPt>
            <c:idx val="72"/>
            <c:invertIfNegative val="0"/>
            <c:bubble3D val="0"/>
            <c:spPr>
              <a:solidFill>
                <a:srgbClr val="7ECAC4"/>
              </a:solidFill>
            </c:spPr>
            <c:extLst>
              <c:ext xmlns:c16="http://schemas.microsoft.com/office/drawing/2014/chart" uri="{C3380CC4-5D6E-409C-BE32-E72D297353CC}">
                <c16:uniqueId val="{00000096-C76F-4230-900D-40618C09729F}"/>
              </c:ext>
            </c:extLst>
          </c:dPt>
          <c:dPt>
            <c:idx val="73"/>
            <c:invertIfNegative val="0"/>
            <c:bubble3D val="0"/>
            <c:spPr>
              <a:solidFill>
                <a:srgbClr val="7ECAC4"/>
              </a:solidFill>
            </c:spPr>
            <c:extLst>
              <c:ext xmlns:c16="http://schemas.microsoft.com/office/drawing/2014/chart" uri="{C3380CC4-5D6E-409C-BE32-E72D297353CC}">
                <c16:uniqueId val="{00000098-C76F-4230-900D-40618C09729F}"/>
              </c:ext>
            </c:extLst>
          </c:dPt>
          <c:dPt>
            <c:idx val="74"/>
            <c:invertIfNegative val="0"/>
            <c:bubble3D val="0"/>
            <c:spPr>
              <a:solidFill>
                <a:srgbClr val="7ECAC4"/>
              </a:solidFill>
            </c:spPr>
            <c:extLst>
              <c:ext xmlns:c16="http://schemas.microsoft.com/office/drawing/2014/chart" uri="{C3380CC4-5D6E-409C-BE32-E72D297353CC}">
                <c16:uniqueId val="{0000009A-C76F-4230-900D-40618C09729F}"/>
              </c:ext>
            </c:extLst>
          </c:dPt>
          <c:dPt>
            <c:idx val="75"/>
            <c:invertIfNegative val="0"/>
            <c:bubble3D val="0"/>
            <c:spPr>
              <a:solidFill>
                <a:srgbClr val="7ECAC4"/>
              </a:solidFill>
            </c:spPr>
            <c:extLst>
              <c:ext xmlns:c16="http://schemas.microsoft.com/office/drawing/2014/chart" uri="{C3380CC4-5D6E-409C-BE32-E72D297353CC}">
                <c16:uniqueId val="{0000009C-C76F-4230-900D-40618C09729F}"/>
              </c:ext>
            </c:extLst>
          </c:dPt>
          <c:dPt>
            <c:idx val="76"/>
            <c:invertIfNegative val="0"/>
            <c:bubble3D val="0"/>
            <c:spPr>
              <a:solidFill>
                <a:srgbClr val="7ECAC4"/>
              </a:solidFill>
            </c:spPr>
            <c:extLst>
              <c:ext xmlns:c16="http://schemas.microsoft.com/office/drawing/2014/chart" uri="{C3380CC4-5D6E-409C-BE32-E72D297353CC}">
                <c16:uniqueId val="{0000009E-C76F-4230-900D-40618C09729F}"/>
              </c:ext>
            </c:extLst>
          </c:dPt>
          <c:dPt>
            <c:idx val="77"/>
            <c:invertIfNegative val="0"/>
            <c:bubble3D val="0"/>
            <c:spPr>
              <a:solidFill>
                <a:srgbClr val="7ECAC4"/>
              </a:solidFill>
            </c:spPr>
            <c:extLst>
              <c:ext xmlns:c16="http://schemas.microsoft.com/office/drawing/2014/chart" uri="{C3380CC4-5D6E-409C-BE32-E72D297353CC}">
                <c16:uniqueId val="{000000A0-C76F-4230-900D-40618C09729F}"/>
              </c:ext>
            </c:extLst>
          </c:dPt>
          <c:dPt>
            <c:idx val="78"/>
            <c:invertIfNegative val="0"/>
            <c:bubble3D val="0"/>
            <c:spPr>
              <a:solidFill>
                <a:srgbClr val="7ECAC4"/>
              </a:solidFill>
            </c:spPr>
            <c:extLst>
              <c:ext xmlns:c16="http://schemas.microsoft.com/office/drawing/2014/chart" uri="{C3380CC4-5D6E-409C-BE32-E72D297353CC}">
                <c16:uniqueId val="{000000A2-C76F-4230-900D-40618C09729F}"/>
              </c:ext>
            </c:extLst>
          </c:dPt>
          <c:dPt>
            <c:idx val="79"/>
            <c:invertIfNegative val="0"/>
            <c:bubble3D val="0"/>
            <c:spPr>
              <a:solidFill>
                <a:srgbClr val="7ECAC4"/>
              </a:solidFill>
            </c:spPr>
            <c:extLst>
              <c:ext xmlns:c16="http://schemas.microsoft.com/office/drawing/2014/chart" uri="{C3380CC4-5D6E-409C-BE32-E72D297353CC}">
                <c16:uniqueId val="{000000A4-C76F-4230-900D-40618C09729F}"/>
              </c:ext>
            </c:extLst>
          </c:dPt>
          <c:dPt>
            <c:idx val="80"/>
            <c:invertIfNegative val="0"/>
            <c:bubble3D val="0"/>
            <c:spPr>
              <a:solidFill>
                <a:srgbClr val="7ECAC4"/>
              </a:solidFill>
            </c:spPr>
            <c:extLst>
              <c:ext xmlns:c16="http://schemas.microsoft.com/office/drawing/2014/chart" uri="{C3380CC4-5D6E-409C-BE32-E72D297353CC}">
                <c16:uniqueId val="{000000A6-C76F-4230-900D-40618C09729F}"/>
              </c:ext>
            </c:extLst>
          </c:dPt>
          <c:dPt>
            <c:idx val="81"/>
            <c:invertIfNegative val="1"/>
            <c:bubble3D val="0"/>
            <c:spPr>
              <a:solidFill>
                <a:srgbClr val="7ECAC4"/>
              </a:solidFill>
            </c:spPr>
            <c:extLst>
              <c:ext xmlns:c16="http://schemas.microsoft.com/office/drawing/2014/chart" uri="{C3380CC4-5D6E-409C-BE32-E72D297353CC}">
                <c16:uniqueId val="{000000A5-2993-41DE-A2CB-63102DE87051}"/>
              </c:ext>
            </c:extLst>
          </c:dPt>
          <c:dPt>
            <c:idx val="82"/>
            <c:invertIfNegative val="1"/>
            <c:bubble3D val="0"/>
            <c:spPr>
              <a:solidFill>
                <a:srgbClr val="7ECAC4"/>
              </a:solidFill>
            </c:spPr>
            <c:extLst>
              <c:ext xmlns:c16="http://schemas.microsoft.com/office/drawing/2014/chart" uri="{C3380CC4-5D6E-409C-BE32-E72D297353CC}">
                <c16:uniqueId val="{000000A7-2993-41DE-A2CB-63102DE87051}"/>
              </c:ext>
            </c:extLst>
          </c:dPt>
          <c:dPt>
            <c:idx val="83"/>
            <c:invertIfNegative val="1"/>
            <c:bubble3D val="0"/>
            <c:spPr>
              <a:solidFill>
                <a:srgbClr val="7ECAC4"/>
              </a:solidFill>
            </c:spPr>
            <c:extLst>
              <c:ext xmlns:c16="http://schemas.microsoft.com/office/drawing/2014/chart" uri="{C3380CC4-5D6E-409C-BE32-E72D297353CC}">
                <c16:uniqueId val="{000000A9-2993-41DE-A2CB-63102DE87051}"/>
              </c:ext>
            </c:extLst>
          </c:dPt>
          <c:dPt>
            <c:idx val="84"/>
            <c:invertIfNegative val="1"/>
            <c:bubble3D val="0"/>
            <c:spPr>
              <a:solidFill>
                <a:srgbClr val="7ECAC4"/>
              </a:solidFill>
            </c:spPr>
            <c:extLst>
              <c:ext xmlns:c16="http://schemas.microsoft.com/office/drawing/2014/chart" uri="{C3380CC4-5D6E-409C-BE32-E72D297353CC}">
                <c16:uniqueId val="{000000AB-2993-41DE-A2CB-63102DE87051}"/>
              </c:ext>
            </c:extLst>
          </c:dPt>
          <c:dPt>
            <c:idx val="85"/>
            <c:invertIfNegative val="1"/>
            <c:bubble3D val="0"/>
            <c:spPr>
              <a:solidFill>
                <a:srgbClr val="7ECAC4"/>
              </a:solidFill>
            </c:spPr>
            <c:extLst>
              <c:ext xmlns:c16="http://schemas.microsoft.com/office/drawing/2014/chart" uri="{C3380CC4-5D6E-409C-BE32-E72D297353CC}">
                <c16:uniqueId val="{000000AD-2993-41DE-A2CB-63102DE87051}"/>
              </c:ext>
            </c:extLst>
          </c:dPt>
          <c:dPt>
            <c:idx val="86"/>
            <c:invertIfNegative val="1"/>
            <c:bubble3D val="0"/>
            <c:spPr>
              <a:solidFill>
                <a:srgbClr val="7ECAC4"/>
              </a:solidFill>
            </c:spPr>
            <c:extLst>
              <c:ext xmlns:c16="http://schemas.microsoft.com/office/drawing/2014/chart" uri="{C3380CC4-5D6E-409C-BE32-E72D297353CC}">
                <c16:uniqueId val="{000000AF-2993-41DE-A2CB-63102DE87051}"/>
              </c:ext>
            </c:extLst>
          </c:dPt>
          <c:dPt>
            <c:idx val="87"/>
            <c:invertIfNegative val="1"/>
            <c:bubble3D val="0"/>
            <c:spPr>
              <a:solidFill>
                <a:srgbClr val="7ECAC4"/>
              </a:solidFill>
            </c:spPr>
            <c:extLst>
              <c:ext xmlns:c16="http://schemas.microsoft.com/office/drawing/2014/chart" uri="{C3380CC4-5D6E-409C-BE32-E72D297353CC}">
                <c16:uniqueId val="{000000B1-2993-41DE-A2CB-63102DE87051}"/>
              </c:ext>
            </c:extLst>
          </c:dPt>
          <c:dPt>
            <c:idx val="88"/>
            <c:invertIfNegative val="1"/>
            <c:bubble3D val="0"/>
            <c:spPr>
              <a:solidFill>
                <a:srgbClr val="7ECAC4"/>
              </a:solidFill>
            </c:spPr>
            <c:extLst>
              <c:ext xmlns:c16="http://schemas.microsoft.com/office/drawing/2014/chart" uri="{C3380CC4-5D6E-409C-BE32-E72D297353CC}">
                <c16:uniqueId val="{000000B3-2993-41DE-A2CB-63102DE87051}"/>
              </c:ext>
            </c:extLst>
          </c:dPt>
          <c:dPt>
            <c:idx val="89"/>
            <c:invertIfNegative val="1"/>
            <c:bubble3D val="0"/>
            <c:spPr>
              <a:solidFill>
                <a:srgbClr val="7ECAC4"/>
              </a:solidFill>
            </c:spPr>
            <c:extLst>
              <c:ext xmlns:c16="http://schemas.microsoft.com/office/drawing/2014/chart" uri="{C3380CC4-5D6E-409C-BE32-E72D297353CC}">
                <c16:uniqueId val="{000000B5-2993-41DE-A2CB-63102DE87051}"/>
              </c:ext>
            </c:extLst>
          </c:dPt>
          <c:dPt>
            <c:idx val="90"/>
            <c:invertIfNegative val="1"/>
            <c:bubble3D val="0"/>
            <c:spPr>
              <a:solidFill>
                <a:srgbClr val="7ECAC4"/>
              </a:solidFill>
            </c:spPr>
            <c:extLst>
              <c:ext xmlns:c16="http://schemas.microsoft.com/office/drawing/2014/chart" uri="{C3380CC4-5D6E-409C-BE32-E72D297353CC}">
                <c16:uniqueId val="{000000B7-2993-41DE-A2CB-63102DE87051}"/>
              </c:ext>
            </c:extLst>
          </c:dPt>
          <c:dPt>
            <c:idx val="91"/>
            <c:invertIfNegative val="1"/>
            <c:bubble3D val="0"/>
            <c:spPr>
              <a:solidFill>
                <a:srgbClr val="7ECAC4"/>
              </a:solidFill>
            </c:spPr>
            <c:extLst>
              <c:ext xmlns:c16="http://schemas.microsoft.com/office/drawing/2014/chart" uri="{C3380CC4-5D6E-409C-BE32-E72D297353CC}">
                <c16:uniqueId val="{000000B9-2993-41DE-A2CB-63102DE87051}"/>
              </c:ext>
            </c:extLst>
          </c:dPt>
          <c:dPt>
            <c:idx val="92"/>
            <c:invertIfNegative val="1"/>
            <c:bubble3D val="0"/>
            <c:spPr>
              <a:solidFill>
                <a:srgbClr val="7ECAC4"/>
              </a:solidFill>
            </c:spPr>
            <c:extLst>
              <c:ext xmlns:c16="http://schemas.microsoft.com/office/drawing/2014/chart" uri="{C3380CC4-5D6E-409C-BE32-E72D297353CC}">
                <c16:uniqueId val="{000000BB-2993-41DE-A2CB-63102DE87051}"/>
              </c:ext>
            </c:extLst>
          </c:dPt>
          <c:dPt>
            <c:idx val="93"/>
            <c:invertIfNegative val="1"/>
            <c:bubble3D val="0"/>
            <c:spPr>
              <a:solidFill>
                <a:srgbClr val="7ECAC4"/>
              </a:solidFill>
            </c:spPr>
            <c:extLst>
              <c:ext xmlns:c16="http://schemas.microsoft.com/office/drawing/2014/chart" uri="{C3380CC4-5D6E-409C-BE32-E72D297353CC}">
                <c16:uniqueId val="{000000BD-2993-41DE-A2CB-63102DE87051}"/>
              </c:ext>
            </c:extLst>
          </c:dPt>
          <c:dPt>
            <c:idx val="94"/>
            <c:invertIfNegative val="1"/>
            <c:bubble3D val="0"/>
            <c:spPr>
              <a:solidFill>
                <a:srgbClr val="7ECAC4"/>
              </a:solidFill>
            </c:spPr>
            <c:extLst>
              <c:ext xmlns:c16="http://schemas.microsoft.com/office/drawing/2014/chart" uri="{C3380CC4-5D6E-409C-BE32-E72D297353CC}">
                <c16:uniqueId val="{000000BF-2993-41DE-A2CB-63102DE87051}"/>
              </c:ext>
            </c:extLst>
          </c:dPt>
          <c:dPt>
            <c:idx val="95"/>
            <c:invertIfNegative val="1"/>
            <c:bubble3D val="0"/>
            <c:spPr>
              <a:solidFill>
                <a:srgbClr val="7ECAC4"/>
              </a:solidFill>
            </c:spPr>
            <c:extLst>
              <c:ext xmlns:c16="http://schemas.microsoft.com/office/drawing/2014/chart" uri="{C3380CC4-5D6E-409C-BE32-E72D297353CC}">
                <c16:uniqueId val="{000000C1-2993-41DE-A2CB-63102DE87051}"/>
              </c:ext>
            </c:extLst>
          </c:dPt>
          <c:dPt>
            <c:idx val="96"/>
            <c:invertIfNegative val="1"/>
            <c:bubble3D val="0"/>
            <c:spPr>
              <a:solidFill>
                <a:srgbClr val="7ECAC4"/>
              </a:solidFill>
            </c:spPr>
            <c:extLst>
              <c:ext xmlns:c16="http://schemas.microsoft.com/office/drawing/2014/chart" uri="{C3380CC4-5D6E-409C-BE32-E72D297353CC}">
                <c16:uniqueId val="{000000C3-2993-41DE-A2CB-63102DE87051}"/>
              </c:ext>
            </c:extLst>
          </c:dPt>
          <c:dPt>
            <c:idx val="97"/>
            <c:invertIfNegative val="1"/>
            <c:bubble3D val="0"/>
            <c:spPr>
              <a:solidFill>
                <a:srgbClr val="7ECAC4"/>
              </a:solidFill>
            </c:spPr>
            <c:extLst>
              <c:ext xmlns:c16="http://schemas.microsoft.com/office/drawing/2014/chart" uri="{C3380CC4-5D6E-409C-BE32-E72D297353CC}">
                <c16:uniqueId val="{000000C5-2993-41DE-A2CB-63102DE87051}"/>
              </c:ext>
            </c:extLst>
          </c:dPt>
          <c:dPt>
            <c:idx val="98"/>
            <c:invertIfNegative val="1"/>
            <c:bubble3D val="0"/>
            <c:spPr>
              <a:solidFill>
                <a:srgbClr val="AEABAB"/>
              </a:solidFill>
            </c:spPr>
            <c:extLst>
              <c:ext xmlns:c16="http://schemas.microsoft.com/office/drawing/2014/chart" uri="{C3380CC4-5D6E-409C-BE32-E72D297353CC}">
                <c16:uniqueId val="{000000C7-2993-41DE-A2CB-63102DE87051}"/>
              </c:ext>
            </c:extLst>
          </c:dPt>
          <c:dPt>
            <c:idx val="99"/>
            <c:invertIfNegative val="1"/>
            <c:bubble3D val="0"/>
            <c:spPr>
              <a:solidFill>
                <a:srgbClr val="AEABAB"/>
              </a:solidFill>
            </c:spPr>
            <c:extLst>
              <c:ext xmlns:c16="http://schemas.microsoft.com/office/drawing/2014/chart" uri="{C3380CC4-5D6E-409C-BE32-E72D297353CC}">
                <c16:uniqueId val="{000000C9-2993-41DE-A2CB-63102DE87051}"/>
              </c:ext>
            </c:extLst>
          </c:dPt>
          <c:dPt>
            <c:idx val="100"/>
            <c:invertIfNegative val="1"/>
            <c:bubble3D val="0"/>
            <c:spPr>
              <a:solidFill>
                <a:srgbClr val="AEABAB"/>
              </a:solidFill>
            </c:spPr>
            <c:extLst>
              <c:ext xmlns:c16="http://schemas.microsoft.com/office/drawing/2014/chart" uri="{C3380CC4-5D6E-409C-BE32-E72D297353CC}">
                <c16:uniqueId val="{000000CB-2993-41DE-A2CB-63102DE87051}"/>
              </c:ext>
            </c:extLst>
          </c:dPt>
          <c:dPt>
            <c:idx val="101"/>
            <c:invertIfNegative val="1"/>
            <c:bubble3D val="0"/>
            <c:spPr>
              <a:solidFill>
                <a:srgbClr val="AEABAB"/>
              </a:solidFill>
            </c:spPr>
            <c:extLst>
              <c:ext xmlns:c16="http://schemas.microsoft.com/office/drawing/2014/chart" uri="{C3380CC4-5D6E-409C-BE32-E72D297353CC}">
                <c16:uniqueId val="{000000CD-2993-41DE-A2CB-63102DE87051}"/>
              </c:ext>
            </c:extLst>
          </c:dPt>
          <c:dPt>
            <c:idx val="102"/>
            <c:invertIfNegative val="1"/>
            <c:bubble3D val="0"/>
            <c:spPr>
              <a:solidFill>
                <a:srgbClr val="AEABAB"/>
              </a:solidFill>
            </c:spPr>
            <c:extLst>
              <c:ext xmlns:c16="http://schemas.microsoft.com/office/drawing/2014/chart" uri="{C3380CC4-5D6E-409C-BE32-E72D297353CC}">
                <c16:uniqueId val="{000000CF-2993-41DE-A2CB-63102DE87051}"/>
              </c:ext>
            </c:extLst>
          </c:dPt>
          <c:dPt>
            <c:idx val="103"/>
            <c:invertIfNegative val="1"/>
            <c:bubble3D val="0"/>
            <c:spPr>
              <a:solidFill>
                <a:srgbClr val="AEABAB"/>
              </a:solidFill>
            </c:spPr>
            <c:extLst>
              <c:ext xmlns:c16="http://schemas.microsoft.com/office/drawing/2014/chart" uri="{C3380CC4-5D6E-409C-BE32-E72D297353CC}">
                <c16:uniqueId val="{000000D1-2993-41DE-A2CB-63102DE87051}"/>
              </c:ext>
            </c:extLst>
          </c:dPt>
          <c:dPt>
            <c:idx val="104"/>
            <c:invertIfNegative val="1"/>
            <c:bubble3D val="0"/>
            <c:spPr>
              <a:solidFill>
                <a:srgbClr val="AEABAB"/>
              </a:solidFill>
            </c:spPr>
            <c:extLst>
              <c:ext xmlns:c16="http://schemas.microsoft.com/office/drawing/2014/chart" uri="{C3380CC4-5D6E-409C-BE32-E72D297353CC}">
                <c16:uniqueId val="{000000D3-2993-41DE-A2CB-63102DE87051}"/>
              </c:ext>
            </c:extLst>
          </c:dPt>
          <c:dPt>
            <c:idx val="105"/>
            <c:invertIfNegative val="1"/>
            <c:bubble3D val="0"/>
            <c:spPr>
              <a:solidFill>
                <a:srgbClr val="AEABAB"/>
              </a:solidFill>
            </c:spPr>
            <c:extLst>
              <c:ext xmlns:c16="http://schemas.microsoft.com/office/drawing/2014/chart" uri="{C3380CC4-5D6E-409C-BE32-E72D297353CC}">
                <c16:uniqueId val="{000000D5-2993-41DE-A2CB-63102DE87051}"/>
              </c:ext>
            </c:extLst>
          </c:dPt>
          <c:dPt>
            <c:idx val="106"/>
            <c:invertIfNegative val="1"/>
            <c:bubble3D val="0"/>
            <c:spPr>
              <a:solidFill>
                <a:srgbClr val="AEABAB"/>
              </a:solidFill>
            </c:spPr>
            <c:extLst>
              <c:ext xmlns:c16="http://schemas.microsoft.com/office/drawing/2014/chart" uri="{C3380CC4-5D6E-409C-BE32-E72D297353CC}">
                <c16:uniqueId val="{000000D7-2993-41DE-A2CB-63102DE87051}"/>
              </c:ext>
            </c:extLst>
          </c:dPt>
          <c:dPt>
            <c:idx val="107"/>
            <c:invertIfNegative val="1"/>
            <c:bubble3D val="0"/>
            <c:spPr>
              <a:solidFill>
                <a:srgbClr val="AEABAB"/>
              </a:solidFill>
            </c:spPr>
            <c:extLst>
              <c:ext xmlns:c16="http://schemas.microsoft.com/office/drawing/2014/chart" uri="{C3380CC4-5D6E-409C-BE32-E72D297353CC}">
                <c16:uniqueId val="{000000D9-2993-41DE-A2CB-63102DE87051}"/>
              </c:ext>
            </c:extLst>
          </c:dPt>
          <c:dPt>
            <c:idx val="108"/>
            <c:invertIfNegative val="1"/>
            <c:bubble3D val="0"/>
            <c:spPr>
              <a:solidFill>
                <a:srgbClr val="AEABAB"/>
              </a:solidFill>
            </c:spPr>
            <c:extLst>
              <c:ext xmlns:c16="http://schemas.microsoft.com/office/drawing/2014/chart" uri="{C3380CC4-5D6E-409C-BE32-E72D297353CC}">
                <c16:uniqueId val="{000000DB-2993-41DE-A2CB-63102DE87051}"/>
              </c:ext>
            </c:extLst>
          </c:dPt>
          <c:dPt>
            <c:idx val="109"/>
            <c:invertIfNegative val="1"/>
            <c:bubble3D val="0"/>
            <c:spPr>
              <a:solidFill>
                <a:srgbClr val="AEABAB"/>
              </a:solidFill>
            </c:spPr>
            <c:extLst>
              <c:ext xmlns:c16="http://schemas.microsoft.com/office/drawing/2014/chart" uri="{C3380CC4-5D6E-409C-BE32-E72D297353CC}">
                <c16:uniqueId val="{000000DD-2993-41DE-A2CB-63102DE87051}"/>
              </c:ext>
            </c:extLst>
          </c:dPt>
          <c:dPt>
            <c:idx val="110"/>
            <c:invertIfNegative val="1"/>
            <c:bubble3D val="0"/>
            <c:spPr>
              <a:solidFill>
                <a:srgbClr val="AEABAB"/>
              </a:solidFill>
            </c:spPr>
            <c:extLst>
              <c:ext xmlns:c16="http://schemas.microsoft.com/office/drawing/2014/chart" uri="{C3380CC4-5D6E-409C-BE32-E72D297353CC}">
                <c16:uniqueId val="{000000DF-2993-41DE-A2CB-63102DE87051}"/>
              </c:ext>
            </c:extLst>
          </c:dPt>
          <c:dPt>
            <c:idx val="111"/>
            <c:invertIfNegative val="1"/>
            <c:bubble3D val="0"/>
            <c:spPr>
              <a:solidFill>
                <a:srgbClr val="AEABAB"/>
              </a:solidFill>
            </c:spPr>
            <c:extLst>
              <c:ext xmlns:c16="http://schemas.microsoft.com/office/drawing/2014/chart" uri="{C3380CC4-5D6E-409C-BE32-E72D297353CC}">
                <c16:uniqueId val="{000000E1-2993-41DE-A2CB-63102DE87051}"/>
              </c:ext>
            </c:extLst>
          </c:dPt>
          <c:dPt>
            <c:idx val="112"/>
            <c:invertIfNegative val="1"/>
            <c:bubble3D val="0"/>
            <c:spPr>
              <a:solidFill>
                <a:srgbClr val="AEABAB"/>
              </a:solidFill>
            </c:spPr>
            <c:extLst>
              <c:ext xmlns:c16="http://schemas.microsoft.com/office/drawing/2014/chart" uri="{C3380CC4-5D6E-409C-BE32-E72D297353CC}">
                <c16:uniqueId val="{000000E3-2993-41DE-A2CB-63102DE87051}"/>
              </c:ext>
            </c:extLst>
          </c:dPt>
          <c:dPt>
            <c:idx val="113"/>
            <c:invertIfNegative val="1"/>
            <c:bubble3D val="0"/>
            <c:spPr>
              <a:solidFill>
                <a:srgbClr val="AEABAB"/>
              </a:solidFill>
            </c:spPr>
            <c:extLst>
              <c:ext xmlns:c16="http://schemas.microsoft.com/office/drawing/2014/chart" uri="{C3380CC4-5D6E-409C-BE32-E72D297353CC}">
                <c16:uniqueId val="{000000E5-2993-41DE-A2CB-63102DE87051}"/>
              </c:ext>
            </c:extLst>
          </c:dPt>
          <c:dPt>
            <c:idx val="114"/>
            <c:invertIfNegative val="1"/>
            <c:bubble3D val="0"/>
            <c:spPr>
              <a:solidFill>
                <a:srgbClr val="AEABAB"/>
              </a:solidFill>
            </c:spPr>
            <c:extLst>
              <c:ext xmlns:c16="http://schemas.microsoft.com/office/drawing/2014/chart" uri="{C3380CC4-5D6E-409C-BE32-E72D297353CC}">
                <c16:uniqueId val="{000000E7-2993-41DE-A2CB-63102DE87051}"/>
              </c:ext>
            </c:extLst>
          </c:dPt>
          <c:dPt>
            <c:idx val="115"/>
            <c:invertIfNegative val="1"/>
            <c:bubble3D val="0"/>
            <c:spPr>
              <a:solidFill>
                <a:srgbClr val="AEABAB"/>
              </a:solidFill>
            </c:spPr>
            <c:extLst>
              <c:ext xmlns:c16="http://schemas.microsoft.com/office/drawing/2014/chart" uri="{C3380CC4-5D6E-409C-BE32-E72D297353CC}">
                <c16:uniqueId val="{000000E9-2993-41DE-A2CB-63102DE87051}"/>
              </c:ext>
            </c:extLst>
          </c:dPt>
          <c:dPt>
            <c:idx val="116"/>
            <c:invertIfNegative val="1"/>
            <c:bubble3D val="0"/>
            <c:spPr>
              <a:solidFill>
                <a:srgbClr val="AEABAB"/>
              </a:solidFill>
            </c:spPr>
            <c:extLst>
              <c:ext xmlns:c16="http://schemas.microsoft.com/office/drawing/2014/chart" uri="{C3380CC4-5D6E-409C-BE32-E72D297353CC}">
                <c16:uniqueId val="{000000EB-2993-41DE-A2CB-63102DE87051}"/>
              </c:ext>
            </c:extLst>
          </c:dPt>
          <c:dPt>
            <c:idx val="117"/>
            <c:invertIfNegative val="1"/>
            <c:bubble3D val="0"/>
            <c:spPr>
              <a:solidFill>
                <a:srgbClr val="AEABAB"/>
              </a:solidFill>
            </c:spPr>
            <c:extLst>
              <c:ext xmlns:c16="http://schemas.microsoft.com/office/drawing/2014/chart" uri="{C3380CC4-5D6E-409C-BE32-E72D297353CC}">
                <c16:uniqueId val="{000000ED-2993-41DE-A2CB-63102DE87051}"/>
              </c:ext>
            </c:extLst>
          </c:dPt>
          <c:dPt>
            <c:idx val="118"/>
            <c:invertIfNegative val="1"/>
            <c:bubble3D val="0"/>
            <c:spPr>
              <a:solidFill>
                <a:srgbClr val="AEABAB"/>
              </a:solidFill>
            </c:spPr>
            <c:extLst>
              <c:ext xmlns:c16="http://schemas.microsoft.com/office/drawing/2014/chart" uri="{C3380CC4-5D6E-409C-BE32-E72D297353CC}">
                <c16:uniqueId val="{000000EF-2993-41DE-A2CB-63102DE87051}"/>
              </c:ext>
            </c:extLst>
          </c:dPt>
          <c:dPt>
            <c:idx val="119"/>
            <c:invertIfNegative val="1"/>
            <c:bubble3D val="0"/>
            <c:spPr>
              <a:solidFill>
                <a:srgbClr val="AEABAB"/>
              </a:solidFill>
            </c:spPr>
            <c:extLst>
              <c:ext xmlns:c16="http://schemas.microsoft.com/office/drawing/2014/chart" uri="{C3380CC4-5D6E-409C-BE32-E72D297353CC}">
                <c16:uniqueId val="{000000F1-2993-41DE-A2CB-63102DE87051}"/>
              </c:ext>
            </c:extLst>
          </c:dPt>
          <c:dPt>
            <c:idx val="120"/>
            <c:invertIfNegative val="1"/>
            <c:bubble3D val="0"/>
            <c:spPr>
              <a:solidFill>
                <a:srgbClr val="AEABAB"/>
              </a:solidFill>
            </c:spPr>
            <c:extLst>
              <c:ext xmlns:c16="http://schemas.microsoft.com/office/drawing/2014/chart" uri="{C3380CC4-5D6E-409C-BE32-E72D297353CC}">
                <c16:uniqueId val="{000000F3-2993-41DE-A2CB-63102DE87051}"/>
              </c:ext>
            </c:extLst>
          </c:dPt>
          <c:dPt>
            <c:idx val="121"/>
            <c:invertIfNegative val="1"/>
            <c:bubble3D val="0"/>
            <c:spPr>
              <a:solidFill>
                <a:srgbClr val="AEABAB"/>
              </a:solidFill>
            </c:spPr>
            <c:extLst>
              <c:ext xmlns:c16="http://schemas.microsoft.com/office/drawing/2014/chart" uri="{C3380CC4-5D6E-409C-BE32-E72D297353CC}">
                <c16:uniqueId val="{000000F5-2993-41DE-A2CB-63102DE87051}"/>
              </c:ext>
            </c:extLst>
          </c:dPt>
          <c:dPt>
            <c:idx val="122"/>
            <c:invertIfNegative val="1"/>
            <c:bubble3D val="0"/>
            <c:spPr>
              <a:solidFill>
                <a:srgbClr val="AEABAB"/>
              </a:solidFill>
            </c:spPr>
            <c:extLst>
              <c:ext xmlns:c16="http://schemas.microsoft.com/office/drawing/2014/chart" uri="{C3380CC4-5D6E-409C-BE32-E72D297353CC}">
                <c16:uniqueId val="{000000F7-2993-41DE-A2CB-63102DE87051}"/>
              </c:ext>
            </c:extLst>
          </c:dPt>
          <c:dPt>
            <c:idx val="123"/>
            <c:invertIfNegative val="1"/>
            <c:bubble3D val="0"/>
            <c:spPr>
              <a:solidFill>
                <a:srgbClr val="AEABAB"/>
              </a:solidFill>
            </c:spPr>
            <c:extLst>
              <c:ext xmlns:c16="http://schemas.microsoft.com/office/drawing/2014/chart" uri="{C3380CC4-5D6E-409C-BE32-E72D297353CC}">
                <c16:uniqueId val="{000000F9-2993-41DE-A2CB-63102DE87051}"/>
              </c:ext>
            </c:extLst>
          </c:dPt>
          <c:dPt>
            <c:idx val="124"/>
            <c:invertIfNegative val="1"/>
            <c:bubble3D val="0"/>
            <c:spPr>
              <a:solidFill>
                <a:srgbClr val="AEABAB"/>
              </a:solidFill>
            </c:spPr>
            <c:extLst>
              <c:ext xmlns:c16="http://schemas.microsoft.com/office/drawing/2014/chart" uri="{C3380CC4-5D6E-409C-BE32-E72D297353CC}">
                <c16:uniqueId val="{000000FB-2993-41DE-A2CB-63102DE87051}"/>
              </c:ext>
            </c:extLst>
          </c:dPt>
          <c:dPt>
            <c:idx val="125"/>
            <c:invertIfNegative val="1"/>
            <c:bubble3D val="0"/>
            <c:spPr>
              <a:solidFill>
                <a:srgbClr val="AEABAB"/>
              </a:solidFill>
            </c:spPr>
            <c:extLst>
              <c:ext xmlns:c16="http://schemas.microsoft.com/office/drawing/2014/chart" uri="{C3380CC4-5D6E-409C-BE32-E72D297353CC}">
                <c16:uniqueId val="{000000FD-2993-41DE-A2CB-63102DE87051}"/>
              </c:ext>
            </c:extLst>
          </c:dPt>
          <c:dPt>
            <c:idx val="126"/>
            <c:invertIfNegative val="1"/>
            <c:bubble3D val="0"/>
            <c:spPr>
              <a:solidFill>
                <a:srgbClr val="AEABAB"/>
              </a:solidFill>
            </c:spPr>
            <c:extLst>
              <c:ext xmlns:c16="http://schemas.microsoft.com/office/drawing/2014/chart" uri="{C3380CC4-5D6E-409C-BE32-E72D297353CC}">
                <c16:uniqueId val="{000000FF-2993-41DE-A2CB-63102DE87051}"/>
              </c:ext>
            </c:extLst>
          </c:dPt>
          <c:dPt>
            <c:idx val="127"/>
            <c:invertIfNegative val="1"/>
            <c:bubble3D val="0"/>
            <c:spPr>
              <a:solidFill>
                <a:srgbClr val="AEABAB"/>
              </a:solidFill>
            </c:spPr>
            <c:extLst>
              <c:ext xmlns:c16="http://schemas.microsoft.com/office/drawing/2014/chart" uri="{C3380CC4-5D6E-409C-BE32-E72D297353CC}">
                <c16:uniqueId val="{00000101-2993-41DE-A2CB-63102DE87051}"/>
              </c:ext>
            </c:extLst>
          </c:dPt>
          <c:dPt>
            <c:idx val="128"/>
            <c:invertIfNegative val="1"/>
            <c:bubble3D val="0"/>
            <c:spPr>
              <a:solidFill>
                <a:srgbClr val="AEABAB"/>
              </a:solidFill>
            </c:spPr>
            <c:extLst>
              <c:ext xmlns:c16="http://schemas.microsoft.com/office/drawing/2014/chart" uri="{C3380CC4-5D6E-409C-BE32-E72D297353CC}">
                <c16:uniqueId val="{00000103-2993-41DE-A2CB-63102DE87051}"/>
              </c:ext>
            </c:extLst>
          </c:dPt>
          <c:dPt>
            <c:idx val="129"/>
            <c:invertIfNegative val="1"/>
            <c:bubble3D val="0"/>
            <c:spPr>
              <a:solidFill>
                <a:srgbClr val="AEABAB"/>
              </a:solidFill>
            </c:spPr>
            <c:extLst>
              <c:ext xmlns:c16="http://schemas.microsoft.com/office/drawing/2014/chart" uri="{C3380CC4-5D6E-409C-BE32-E72D297353CC}">
                <c16:uniqueId val="{00000105-2993-41DE-A2CB-63102DE87051}"/>
              </c:ext>
            </c:extLst>
          </c:dPt>
          <c:dPt>
            <c:idx val="130"/>
            <c:invertIfNegative val="1"/>
            <c:bubble3D val="0"/>
            <c:spPr>
              <a:solidFill>
                <a:srgbClr val="AEABAB"/>
              </a:solidFill>
            </c:spPr>
            <c:extLst>
              <c:ext xmlns:c16="http://schemas.microsoft.com/office/drawing/2014/chart" uri="{C3380CC4-5D6E-409C-BE32-E72D297353CC}">
                <c16:uniqueId val="{00000107-2993-41DE-A2CB-63102DE87051}"/>
              </c:ext>
            </c:extLst>
          </c:dPt>
          <c:dPt>
            <c:idx val="131"/>
            <c:invertIfNegative val="1"/>
            <c:bubble3D val="0"/>
            <c:spPr>
              <a:solidFill>
                <a:srgbClr val="AEABAB"/>
              </a:solidFill>
            </c:spPr>
            <c:extLst>
              <c:ext xmlns:c16="http://schemas.microsoft.com/office/drawing/2014/chart" uri="{C3380CC4-5D6E-409C-BE32-E72D297353CC}">
                <c16:uniqueId val="{00000109-2993-41DE-A2CB-63102DE87051}"/>
              </c:ext>
            </c:extLst>
          </c:dPt>
          <c:dPt>
            <c:idx val="132"/>
            <c:invertIfNegative val="1"/>
            <c:bubble3D val="0"/>
            <c:spPr>
              <a:solidFill>
                <a:srgbClr val="AEABAB"/>
              </a:solidFill>
            </c:spPr>
            <c:extLst>
              <c:ext xmlns:c16="http://schemas.microsoft.com/office/drawing/2014/chart" uri="{C3380CC4-5D6E-409C-BE32-E72D297353CC}">
                <c16:uniqueId val="{0000010B-2993-41DE-A2CB-63102DE87051}"/>
              </c:ext>
            </c:extLst>
          </c:dPt>
          <c:dPt>
            <c:idx val="133"/>
            <c:invertIfNegative val="1"/>
            <c:bubble3D val="0"/>
            <c:spPr>
              <a:solidFill>
                <a:srgbClr val="AEABAB"/>
              </a:solidFill>
            </c:spPr>
            <c:extLst>
              <c:ext xmlns:c16="http://schemas.microsoft.com/office/drawing/2014/chart" uri="{C3380CC4-5D6E-409C-BE32-E72D297353CC}">
                <c16:uniqueId val="{0000010D-2993-41DE-A2CB-63102DE87051}"/>
              </c:ext>
            </c:extLst>
          </c:dPt>
          <c:dPt>
            <c:idx val="134"/>
            <c:invertIfNegative val="1"/>
            <c:bubble3D val="0"/>
            <c:spPr>
              <a:solidFill>
                <a:srgbClr val="AEABAB"/>
              </a:solidFill>
            </c:spPr>
            <c:extLst>
              <c:ext xmlns:c16="http://schemas.microsoft.com/office/drawing/2014/chart" uri="{C3380CC4-5D6E-409C-BE32-E72D297353CC}">
                <c16:uniqueId val="{0000010F-2993-41DE-A2CB-63102DE87051}"/>
              </c:ext>
            </c:extLst>
          </c:dPt>
          <c:dPt>
            <c:idx val="135"/>
            <c:invertIfNegative val="1"/>
            <c:bubble3D val="0"/>
            <c:spPr>
              <a:solidFill>
                <a:srgbClr val="AEABAB"/>
              </a:solidFill>
            </c:spPr>
            <c:extLst>
              <c:ext xmlns:c16="http://schemas.microsoft.com/office/drawing/2014/chart" uri="{C3380CC4-5D6E-409C-BE32-E72D297353CC}">
                <c16:uniqueId val="{00000111-2993-41DE-A2CB-63102DE87051}"/>
              </c:ext>
            </c:extLst>
          </c:dPt>
          <c:dPt>
            <c:idx val="136"/>
            <c:invertIfNegative val="1"/>
            <c:bubble3D val="0"/>
            <c:spPr>
              <a:solidFill>
                <a:srgbClr val="AEABAB"/>
              </a:solidFill>
            </c:spPr>
            <c:extLst>
              <c:ext xmlns:c16="http://schemas.microsoft.com/office/drawing/2014/chart" uri="{C3380CC4-5D6E-409C-BE32-E72D297353CC}">
                <c16:uniqueId val="{00000113-2993-41DE-A2CB-63102DE87051}"/>
              </c:ext>
            </c:extLst>
          </c:dPt>
          <c:dPt>
            <c:idx val="137"/>
            <c:invertIfNegative val="1"/>
            <c:bubble3D val="0"/>
            <c:spPr>
              <a:solidFill>
                <a:srgbClr val="AEABAB"/>
              </a:solidFill>
            </c:spPr>
            <c:extLst>
              <c:ext xmlns:c16="http://schemas.microsoft.com/office/drawing/2014/chart" uri="{C3380CC4-5D6E-409C-BE32-E72D297353CC}">
                <c16:uniqueId val="{00000115-2993-41DE-A2CB-63102DE87051}"/>
              </c:ext>
            </c:extLst>
          </c:dPt>
          <c:dPt>
            <c:idx val="138"/>
            <c:invertIfNegative val="1"/>
            <c:bubble3D val="0"/>
            <c:spPr>
              <a:solidFill>
                <a:srgbClr val="AEABAB"/>
              </a:solidFill>
            </c:spPr>
            <c:extLst>
              <c:ext xmlns:c16="http://schemas.microsoft.com/office/drawing/2014/chart" uri="{C3380CC4-5D6E-409C-BE32-E72D297353CC}">
                <c16:uniqueId val="{00000117-2993-41DE-A2CB-63102DE87051}"/>
              </c:ext>
            </c:extLst>
          </c:dPt>
          <c:dPt>
            <c:idx val="139"/>
            <c:invertIfNegative val="1"/>
            <c:bubble3D val="0"/>
            <c:spPr>
              <a:solidFill>
                <a:srgbClr val="AEABAB"/>
              </a:solidFill>
            </c:spPr>
            <c:extLst>
              <c:ext xmlns:c16="http://schemas.microsoft.com/office/drawing/2014/chart" uri="{C3380CC4-5D6E-409C-BE32-E72D297353CC}">
                <c16:uniqueId val="{00000119-2993-41DE-A2CB-63102DE87051}"/>
              </c:ext>
            </c:extLst>
          </c:dPt>
          <c:dPt>
            <c:idx val="140"/>
            <c:invertIfNegative val="1"/>
            <c:bubble3D val="0"/>
            <c:spPr>
              <a:solidFill>
                <a:srgbClr val="AEABAB"/>
              </a:solidFill>
            </c:spPr>
            <c:extLst>
              <c:ext xmlns:c16="http://schemas.microsoft.com/office/drawing/2014/chart" uri="{C3380CC4-5D6E-409C-BE32-E72D297353CC}">
                <c16:uniqueId val="{0000011B-2993-41DE-A2CB-63102DE87051}"/>
              </c:ext>
            </c:extLst>
          </c:dPt>
          <c:dPt>
            <c:idx val="141"/>
            <c:invertIfNegative val="1"/>
            <c:bubble3D val="0"/>
            <c:spPr>
              <a:solidFill>
                <a:srgbClr val="AEABAB"/>
              </a:solidFill>
            </c:spPr>
            <c:extLst>
              <c:ext xmlns:c16="http://schemas.microsoft.com/office/drawing/2014/chart" uri="{C3380CC4-5D6E-409C-BE32-E72D297353CC}">
                <c16:uniqueId val="{0000011D-2993-41DE-A2CB-63102DE87051}"/>
              </c:ext>
            </c:extLst>
          </c:dPt>
          <c:dPt>
            <c:idx val="142"/>
            <c:invertIfNegative val="1"/>
            <c:bubble3D val="0"/>
            <c:spPr>
              <a:solidFill>
                <a:srgbClr val="AEABAB"/>
              </a:solidFill>
            </c:spPr>
            <c:extLst>
              <c:ext xmlns:c16="http://schemas.microsoft.com/office/drawing/2014/chart" uri="{C3380CC4-5D6E-409C-BE32-E72D297353CC}">
                <c16:uniqueId val="{0000011F-2993-41DE-A2CB-63102DE87051}"/>
              </c:ext>
            </c:extLst>
          </c:dPt>
          <c:dPt>
            <c:idx val="143"/>
            <c:invertIfNegative val="1"/>
            <c:bubble3D val="0"/>
            <c:spPr>
              <a:solidFill>
                <a:srgbClr val="AEABAB"/>
              </a:solidFill>
            </c:spPr>
            <c:extLst>
              <c:ext xmlns:c16="http://schemas.microsoft.com/office/drawing/2014/chart" uri="{C3380CC4-5D6E-409C-BE32-E72D297353CC}">
                <c16:uniqueId val="{00000121-2993-41DE-A2CB-63102DE87051}"/>
              </c:ext>
            </c:extLst>
          </c:dPt>
          <c:dPt>
            <c:idx val="144"/>
            <c:invertIfNegative val="1"/>
            <c:bubble3D val="0"/>
            <c:spPr>
              <a:solidFill>
                <a:srgbClr val="AEABAB"/>
              </a:solidFill>
            </c:spPr>
            <c:extLst>
              <c:ext xmlns:c16="http://schemas.microsoft.com/office/drawing/2014/chart" uri="{C3380CC4-5D6E-409C-BE32-E72D297353CC}">
                <c16:uniqueId val="{00000123-2993-41DE-A2CB-63102DE87051}"/>
              </c:ext>
            </c:extLst>
          </c:dPt>
          <c:dPt>
            <c:idx val="145"/>
            <c:invertIfNegative val="1"/>
            <c:bubble3D val="0"/>
            <c:spPr>
              <a:solidFill>
                <a:srgbClr val="AEABAB"/>
              </a:solidFill>
            </c:spPr>
            <c:extLst>
              <c:ext xmlns:c16="http://schemas.microsoft.com/office/drawing/2014/chart" uri="{C3380CC4-5D6E-409C-BE32-E72D297353CC}">
                <c16:uniqueId val="{00000125-2993-41DE-A2CB-63102DE87051}"/>
              </c:ext>
            </c:extLst>
          </c:dPt>
          <c:dPt>
            <c:idx val="146"/>
            <c:invertIfNegative val="1"/>
            <c:bubble3D val="0"/>
            <c:spPr>
              <a:solidFill>
                <a:srgbClr val="AEABAB"/>
              </a:solidFill>
            </c:spPr>
            <c:extLst>
              <c:ext xmlns:c16="http://schemas.microsoft.com/office/drawing/2014/chart" uri="{C3380CC4-5D6E-409C-BE32-E72D297353CC}">
                <c16:uniqueId val="{00000127-2993-41DE-A2CB-63102DE87051}"/>
              </c:ext>
            </c:extLst>
          </c:dPt>
          <c:dPt>
            <c:idx val="147"/>
            <c:invertIfNegative val="1"/>
            <c:bubble3D val="0"/>
            <c:spPr>
              <a:solidFill>
                <a:srgbClr val="AEABAB"/>
              </a:solidFill>
            </c:spPr>
            <c:extLst>
              <c:ext xmlns:c16="http://schemas.microsoft.com/office/drawing/2014/chart" uri="{C3380CC4-5D6E-409C-BE32-E72D297353CC}">
                <c16:uniqueId val="{00000129-2993-41DE-A2CB-63102DE87051}"/>
              </c:ext>
            </c:extLst>
          </c:dPt>
          <c:dPt>
            <c:idx val="148"/>
            <c:invertIfNegative val="1"/>
            <c:bubble3D val="0"/>
            <c:spPr>
              <a:solidFill>
                <a:srgbClr val="AEABAB"/>
              </a:solidFill>
            </c:spPr>
            <c:extLst>
              <c:ext xmlns:c16="http://schemas.microsoft.com/office/drawing/2014/chart" uri="{C3380CC4-5D6E-409C-BE32-E72D297353CC}">
                <c16:uniqueId val="{0000012B-2993-41DE-A2CB-63102DE87051}"/>
              </c:ext>
            </c:extLst>
          </c:dPt>
          <c:dPt>
            <c:idx val="149"/>
            <c:invertIfNegative val="1"/>
            <c:bubble3D val="0"/>
            <c:spPr>
              <a:solidFill>
                <a:srgbClr val="AEABAB"/>
              </a:solidFill>
            </c:spPr>
            <c:extLst>
              <c:ext xmlns:c16="http://schemas.microsoft.com/office/drawing/2014/chart" uri="{C3380CC4-5D6E-409C-BE32-E72D297353CC}">
                <c16:uniqueId val="{0000012D-2993-41DE-A2CB-63102DE87051}"/>
              </c:ext>
            </c:extLst>
          </c:dPt>
          <c:dPt>
            <c:idx val="150"/>
            <c:invertIfNegative val="1"/>
            <c:bubble3D val="0"/>
            <c:spPr>
              <a:solidFill>
                <a:srgbClr val="AEABAB"/>
              </a:solidFill>
            </c:spPr>
            <c:extLst>
              <c:ext xmlns:c16="http://schemas.microsoft.com/office/drawing/2014/chart" uri="{C3380CC4-5D6E-409C-BE32-E72D297353CC}">
                <c16:uniqueId val="{0000012F-2993-41DE-A2CB-63102DE87051}"/>
              </c:ext>
            </c:extLst>
          </c:dPt>
          <c:dPt>
            <c:idx val="151"/>
            <c:invertIfNegative val="1"/>
            <c:bubble3D val="0"/>
            <c:spPr>
              <a:solidFill>
                <a:srgbClr val="AEABAB"/>
              </a:solidFill>
            </c:spPr>
            <c:extLst>
              <c:ext xmlns:c16="http://schemas.microsoft.com/office/drawing/2014/chart" uri="{C3380CC4-5D6E-409C-BE32-E72D297353CC}">
                <c16:uniqueId val="{00000131-2993-41DE-A2CB-63102DE87051}"/>
              </c:ext>
            </c:extLst>
          </c:dPt>
          <c:dPt>
            <c:idx val="152"/>
            <c:invertIfNegative val="1"/>
            <c:bubble3D val="0"/>
            <c:spPr>
              <a:solidFill>
                <a:srgbClr val="AEABAB"/>
              </a:solidFill>
            </c:spPr>
            <c:extLst>
              <c:ext xmlns:c16="http://schemas.microsoft.com/office/drawing/2014/chart" uri="{C3380CC4-5D6E-409C-BE32-E72D297353CC}">
                <c16:uniqueId val="{00000133-2993-41DE-A2CB-63102DE87051}"/>
              </c:ext>
            </c:extLst>
          </c:dPt>
          <c:dPt>
            <c:idx val="153"/>
            <c:invertIfNegative val="1"/>
            <c:bubble3D val="0"/>
            <c:spPr>
              <a:solidFill>
                <a:srgbClr val="AEABAB"/>
              </a:solidFill>
            </c:spPr>
            <c:extLst>
              <c:ext xmlns:c16="http://schemas.microsoft.com/office/drawing/2014/chart" uri="{C3380CC4-5D6E-409C-BE32-E72D297353CC}">
                <c16:uniqueId val="{00000135-2993-41DE-A2CB-63102DE87051}"/>
              </c:ext>
            </c:extLst>
          </c:dPt>
          <c:dPt>
            <c:idx val="154"/>
            <c:invertIfNegative val="1"/>
            <c:bubble3D val="0"/>
            <c:spPr>
              <a:solidFill>
                <a:srgbClr val="AEABAB"/>
              </a:solidFill>
            </c:spPr>
            <c:extLst>
              <c:ext xmlns:c16="http://schemas.microsoft.com/office/drawing/2014/chart" uri="{C3380CC4-5D6E-409C-BE32-E72D297353CC}">
                <c16:uniqueId val="{00000137-2993-41DE-A2CB-63102DE87051}"/>
              </c:ext>
            </c:extLst>
          </c:dPt>
          <c:dPt>
            <c:idx val="155"/>
            <c:invertIfNegative val="1"/>
            <c:bubble3D val="0"/>
            <c:spPr>
              <a:solidFill>
                <a:srgbClr val="AEABAB"/>
              </a:solidFill>
            </c:spPr>
            <c:extLst>
              <c:ext xmlns:c16="http://schemas.microsoft.com/office/drawing/2014/chart" uri="{C3380CC4-5D6E-409C-BE32-E72D297353CC}">
                <c16:uniqueId val="{00000139-2993-41DE-A2CB-63102DE87051}"/>
              </c:ext>
            </c:extLst>
          </c:dPt>
          <c:dPt>
            <c:idx val="156"/>
            <c:invertIfNegative val="1"/>
            <c:bubble3D val="0"/>
            <c:spPr>
              <a:solidFill>
                <a:srgbClr val="AEABAB"/>
              </a:solidFill>
            </c:spPr>
            <c:extLst>
              <c:ext xmlns:c16="http://schemas.microsoft.com/office/drawing/2014/chart" uri="{C3380CC4-5D6E-409C-BE32-E72D297353CC}">
                <c16:uniqueId val="{0000013B-2993-41DE-A2CB-63102DE87051}"/>
              </c:ext>
            </c:extLst>
          </c:dPt>
          <c:dPt>
            <c:idx val="157"/>
            <c:invertIfNegative val="1"/>
            <c:bubble3D val="0"/>
            <c:spPr>
              <a:solidFill>
                <a:srgbClr val="AEABAB"/>
              </a:solidFill>
            </c:spPr>
            <c:extLst>
              <c:ext xmlns:c16="http://schemas.microsoft.com/office/drawing/2014/chart" uri="{C3380CC4-5D6E-409C-BE32-E72D297353CC}">
                <c16:uniqueId val="{0000013D-2993-41DE-A2CB-63102DE87051}"/>
              </c:ext>
            </c:extLst>
          </c:dPt>
          <c:dPt>
            <c:idx val="158"/>
            <c:invertIfNegative val="1"/>
            <c:bubble3D val="0"/>
            <c:spPr>
              <a:solidFill>
                <a:srgbClr val="AEABAB"/>
              </a:solidFill>
            </c:spPr>
            <c:extLst>
              <c:ext xmlns:c16="http://schemas.microsoft.com/office/drawing/2014/chart" uri="{C3380CC4-5D6E-409C-BE32-E72D297353CC}">
                <c16:uniqueId val="{0000013F-2993-41DE-A2CB-63102DE87051}"/>
              </c:ext>
            </c:extLst>
          </c:dPt>
          <c:dPt>
            <c:idx val="159"/>
            <c:invertIfNegative val="1"/>
            <c:bubble3D val="0"/>
            <c:spPr>
              <a:solidFill>
                <a:srgbClr val="AEABAB"/>
              </a:solidFill>
            </c:spPr>
            <c:extLst>
              <c:ext xmlns:c16="http://schemas.microsoft.com/office/drawing/2014/chart" uri="{C3380CC4-5D6E-409C-BE32-E72D297353CC}">
                <c16:uniqueId val="{00000141-2993-41DE-A2CB-63102DE87051}"/>
              </c:ext>
            </c:extLst>
          </c:dPt>
          <c:dPt>
            <c:idx val="160"/>
            <c:invertIfNegative val="1"/>
            <c:bubble3D val="0"/>
            <c:spPr>
              <a:solidFill>
                <a:srgbClr val="AEABAB"/>
              </a:solidFill>
            </c:spPr>
            <c:extLst>
              <c:ext xmlns:c16="http://schemas.microsoft.com/office/drawing/2014/chart" uri="{C3380CC4-5D6E-409C-BE32-E72D297353CC}">
                <c16:uniqueId val="{00000143-2993-41DE-A2CB-63102DE87051}"/>
              </c:ext>
            </c:extLst>
          </c:dPt>
          <c:dPt>
            <c:idx val="161"/>
            <c:invertIfNegative val="1"/>
            <c:bubble3D val="0"/>
            <c:spPr>
              <a:solidFill>
                <a:srgbClr val="AEABAB"/>
              </a:solidFill>
            </c:spPr>
            <c:extLst>
              <c:ext xmlns:c16="http://schemas.microsoft.com/office/drawing/2014/chart" uri="{C3380CC4-5D6E-409C-BE32-E72D297353CC}">
                <c16:uniqueId val="{00000145-2993-41DE-A2CB-63102DE87051}"/>
              </c:ext>
            </c:extLst>
          </c:dPt>
          <c:dPt>
            <c:idx val="162"/>
            <c:invertIfNegative val="1"/>
            <c:bubble3D val="0"/>
            <c:spPr>
              <a:solidFill>
                <a:srgbClr val="AEABAB"/>
              </a:solidFill>
            </c:spPr>
            <c:extLst>
              <c:ext xmlns:c16="http://schemas.microsoft.com/office/drawing/2014/chart" uri="{C3380CC4-5D6E-409C-BE32-E72D297353CC}">
                <c16:uniqueId val="{00000147-2993-41DE-A2CB-63102DE87051}"/>
              </c:ext>
            </c:extLst>
          </c:dPt>
          <c:dPt>
            <c:idx val="163"/>
            <c:invertIfNegative val="1"/>
            <c:bubble3D val="0"/>
            <c:spPr>
              <a:solidFill>
                <a:srgbClr val="AEABAB"/>
              </a:solidFill>
            </c:spPr>
            <c:extLst>
              <c:ext xmlns:c16="http://schemas.microsoft.com/office/drawing/2014/chart" uri="{C3380CC4-5D6E-409C-BE32-E72D297353CC}">
                <c16:uniqueId val="{00000149-2993-41DE-A2CB-63102DE87051}"/>
              </c:ext>
            </c:extLst>
          </c:dPt>
          <c:dPt>
            <c:idx val="164"/>
            <c:invertIfNegative val="1"/>
            <c:bubble3D val="0"/>
            <c:spPr>
              <a:solidFill>
                <a:srgbClr val="AEABAB"/>
              </a:solidFill>
            </c:spPr>
            <c:extLst>
              <c:ext xmlns:c16="http://schemas.microsoft.com/office/drawing/2014/chart" uri="{C3380CC4-5D6E-409C-BE32-E72D297353CC}">
                <c16:uniqueId val="{0000014B-2993-41DE-A2CB-63102DE87051}"/>
              </c:ext>
            </c:extLst>
          </c:dPt>
          <c:dPt>
            <c:idx val="165"/>
            <c:invertIfNegative val="1"/>
            <c:bubble3D val="0"/>
            <c:spPr>
              <a:solidFill>
                <a:srgbClr val="AEABAB"/>
              </a:solidFill>
            </c:spPr>
            <c:extLst>
              <c:ext xmlns:c16="http://schemas.microsoft.com/office/drawing/2014/chart" uri="{C3380CC4-5D6E-409C-BE32-E72D297353CC}">
                <c16:uniqueId val="{0000014D-2993-41DE-A2CB-63102DE87051}"/>
              </c:ext>
            </c:extLst>
          </c:dPt>
          <c:dPt>
            <c:idx val="166"/>
            <c:invertIfNegative val="1"/>
            <c:bubble3D val="0"/>
            <c:spPr>
              <a:solidFill>
                <a:srgbClr val="AEABAB"/>
              </a:solidFill>
            </c:spPr>
            <c:extLst>
              <c:ext xmlns:c16="http://schemas.microsoft.com/office/drawing/2014/chart" uri="{C3380CC4-5D6E-409C-BE32-E72D297353CC}">
                <c16:uniqueId val="{0000014F-2993-41DE-A2CB-63102DE87051}"/>
              </c:ext>
            </c:extLst>
          </c:dPt>
          <c:dPt>
            <c:idx val="167"/>
            <c:invertIfNegative val="1"/>
            <c:bubble3D val="0"/>
            <c:spPr>
              <a:solidFill>
                <a:srgbClr val="AEABAB"/>
              </a:solidFill>
            </c:spPr>
            <c:extLst>
              <c:ext xmlns:c16="http://schemas.microsoft.com/office/drawing/2014/chart" uri="{C3380CC4-5D6E-409C-BE32-E72D297353CC}">
                <c16:uniqueId val="{00000151-2993-41DE-A2CB-63102DE87051}"/>
              </c:ext>
            </c:extLst>
          </c:dPt>
          <c:dPt>
            <c:idx val="168"/>
            <c:invertIfNegative val="1"/>
            <c:bubble3D val="0"/>
            <c:spPr>
              <a:solidFill>
                <a:srgbClr val="AEABAB"/>
              </a:solidFill>
            </c:spPr>
            <c:extLst>
              <c:ext xmlns:c16="http://schemas.microsoft.com/office/drawing/2014/chart" uri="{C3380CC4-5D6E-409C-BE32-E72D297353CC}">
                <c16:uniqueId val="{00000153-2993-41DE-A2CB-63102DE87051}"/>
              </c:ext>
            </c:extLst>
          </c:dPt>
          <c:dPt>
            <c:idx val="169"/>
            <c:invertIfNegative val="1"/>
            <c:bubble3D val="0"/>
            <c:spPr>
              <a:solidFill>
                <a:srgbClr val="AEABAB"/>
              </a:solidFill>
            </c:spPr>
            <c:extLst>
              <c:ext xmlns:c16="http://schemas.microsoft.com/office/drawing/2014/chart" uri="{C3380CC4-5D6E-409C-BE32-E72D297353CC}">
                <c16:uniqueId val="{00000155-2993-41DE-A2CB-63102DE87051}"/>
              </c:ext>
            </c:extLst>
          </c:dPt>
          <c:dPt>
            <c:idx val="170"/>
            <c:invertIfNegative val="1"/>
            <c:bubble3D val="0"/>
            <c:spPr>
              <a:solidFill>
                <a:srgbClr val="AEABAB"/>
              </a:solidFill>
            </c:spPr>
            <c:extLst>
              <c:ext xmlns:c16="http://schemas.microsoft.com/office/drawing/2014/chart" uri="{C3380CC4-5D6E-409C-BE32-E72D297353CC}">
                <c16:uniqueId val="{00000157-2993-41DE-A2CB-63102DE87051}"/>
              </c:ext>
            </c:extLst>
          </c:dPt>
          <c:dPt>
            <c:idx val="171"/>
            <c:invertIfNegative val="1"/>
            <c:bubble3D val="0"/>
            <c:spPr>
              <a:solidFill>
                <a:srgbClr val="AEABAB"/>
              </a:solidFill>
            </c:spPr>
            <c:extLst>
              <c:ext xmlns:c16="http://schemas.microsoft.com/office/drawing/2014/chart" uri="{C3380CC4-5D6E-409C-BE32-E72D297353CC}">
                <c16:uniqueId val="{00000159-2993-41DE-A2CB-63102DE87051}"/>
              </c:ext>
            </c:extLst>
          </c:dPt>
          <c:dPt>
            <c:idx val="172"/>
            <c:invertIfNegative val="1"/>
            <c:bubble3D val="0"/>
            <c:spPr>
              <a:solidFill>
                <a:srgbClr val="AEABAB"/>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dPt>
            <c:idx val="210"/>
            <c:invertIfNegative val="1"/>
            <c:bubble3D val="0"/>
            <c:spPr>
              <a:solidFill>
                <a:srgbClr val="AEABAB"/>
              </a:solidFill>
            </c:spPr>
            <c:extLst>
              <c:ext xmlns:c16="http://schemas.microsoft.com/office/drawing/2014/chart" uri="{C3380CC4-5D6E-409C-BE32-E72D297353CC}">
                <c16:uniqueId val="{000001A7-14BC-409D-B5DB-FA86C07758D3}"/>
              </c:ext>
            </c:extLst>
          </c:dPt>
          <c:dPt>
            <c:idx val="211"/>
            <c:invertIfNegative val="1"/>
            <c:bubble3D val="0"/>
            <c:spPr>
              <a:solidFill>
                <a:srgbClr val="AEABAB"/>
              </a:solidFill>
            </c:spPr>
            <c:extLst>
              <c:ext xmlns:c16="http://schemas.microsoft.com/office/drawing/2014/chart" uri="{C3380CC4-5D6E-409C-BE32-E72D297353CC}">
                <c16:uniqueId val="{000001A9-14BC-409D-B5DB-FA86C07758D3}"/>
              </c:ext>
            </c:extLst>
          </c:dPt>
          <c:dPt>
            <c:idx val="212"/>
            <c:invertIfNegative val="1"/>
            <c:bubble3D val="0"/>
            <c:spPr>
              <a:solidFill>
                <a:srgbClr val="AEABAB"/>
              </a:solidFill>
            </c:spPr>
            <c:extLst>
              <c:ext xmlns:c16="http://schemas.microsoft.com/office/drawing/2014/chart" uri="{C3380CC4-5D6E-409C-BE32-E72D297353CC}">
                <c16:uniqueId val="{000001AB-14BC-409D-B5DB-FA86C07758D3}"/>
              </c:ext>
            </c:extLst>
          </c:dPt>
          <c:dPt>
            <c:idx val="213"/>
            <c:invertIfNegative val="1"/>
            <c:bubble3D val="0"/>
            <c:spPr>
              <a:solidFill>
                <a:srgbClr val="AEABAB"/>
              </a:solidFill>
            </c:spPr>
            <c:extLst>
              <c:ext xmlns:c16="http://schemas.microsoft.com/office/drawing/2014/chart" uri="{C3380CC4-5D6E-409C-BE32-E72D297353CC}">
                <c16:uniqueId val="{000001AD-14BC-409D-B5DB-FA86C07758D3}"/>
              </c:ext>
            </c:extLst>
          </c:dPt>
          <c:dPt>
            <c:idx val="214"/>
            <c:invertIfNegative val="1"/>
            <c:bubble3D val="0"/>
            <c:spPr>
              <a:solidFill>
                <a:srgbClr val="AEABAB"/>
              </a:solidFill>
            </c:spPr>
            <c:extLst>
              <c:ext xmlns:c16="http://schemas.microsoft.com/office/drawing/2014/chart" uri="{C3380CC4-5D6E-409C-BE32-E72D297353CC}">
                <c16:uniqueId val="{000001AF-14BC-409D-B5DB-FA86C07758D3}"/>
              </c:ext>
            </c:extLst>
          </c:dPt>
          <c:dPt>
            <c:idx val="215"/>
            <c:invertIfNegative val="1"/>
            <c:bubble3D val="0"/>
            <c:spPr>
              <a:solidFill>
                <a:srgbClr val="AEABAB"/>
              </a:solidFill>
            </c:spPr>
            <c:extLst>
              <c:ext xmlns:c16="http://schemas.microsoft.com/office/drawing/2014/chart" uri="{C3380CC4-5D6E-409C-BE32-E72D297353CC}">
                <c16:uniqueId val="{000001B1-14BC-409D-B5DB-FA86C07758D3}"/>
              </c:ext>
            </c:extLst>
          </c:dPt>
          <c:dPt>
            <c:idx val="216"/>
            <c:invertIfNegative val="1"/>
            <c:bubble3D val="0"/>
            <c:spPr>
              <a:solidFill>
                <a:srgbClr val="AEABAB"/>
              </a:solidFill>
            </c:spPr>
            <c:extLst>
              <c:ext xmlns:c16="http://schemas.microsoft.com/office/drawing/2014/chart" uri="{C3380CC4-5D6E-409C-BE32-E72D297353CC}">
                <c16:uniqueId val="{000001B3-14BC-409D-B5DB-FA86C07758D3}"/>
              </c:ext>
            </c:extLst>
          </c:dPt>
          <c:dPt>
            <c:idx val="217"/>
            <c:invertIfNegative val="1"/>
            <c:bubble3D val="0"/>
            <c:spPr>
              <a:solidFill>
                <a:srgbClr val="AEABAB"/>
              </a:solidFill>
            </c:spPr>
            <c:extLst>
              <c:ext xmlns:c16="http://schemas.microsoft.com/office/drawing/2014/chart" uri="{C3380CC4-5D6E-409C-BE32-E72D297353CC}">
                <c16:uniqueId val="{000001B5-14BC-409D-B5DB-FA86C07758D3}"/>
              </c:ext>
            </c:extLst>
          </c:dPt>
          <c:dPt>
            <c:idx val="218"/>
            <c:invertIfNegative val="1"/>
            <c:bubble3D val="0"/>
            <c:spPr>
              <a:solidFill>
                <a:srgbClr val="AEABAB"/>
              </a:solidFill>
            </c:spPr>
            <c:extLst>
              <c:ext xmlns:c16="http://schemas.microsoft.com/office/drawing/2014/chart" uri="{C3380CC4-5D6E-409C-BE32-E72D297353CC}">
                <c16:uniqueId val="{000001B7-14BC-409D-B5DB-FA86C07758D3}"/>
              </c:ext>
            </c:extLst>
          </c:dPt>
          <c:dPt>
            <c:idx val="219"/>
            <c:invertIfNegative val="1"/>
            <c:bubble3D val="0"/>
            <c:spPr>
              <a:solidFill>
                <a:srgbClr val="AEABAB"/>
              </a:solidFill>
            </c:spPr>
            <c:extLst>
              <c:ext xmlns:c16="http://schemas.microsoft.com/office/drawing/2014/chart" uri="{C3380CC4-5D6E-409C-BE32-E72D297353CC}">
                <c16:uniqueId val="{000001B9-14BC-409D-B5DB-FA86C07758D3}"/>
              </c:ext>
            </c:extLst>
          </c:dPt>
          <c:dPt>
            <c:idx val="220"/>
            <c:invertIfNegative val="1"/>
            <c:bubble3D val="0"/>
            <c:spPr>
              <a:solidFill>
                <a:srgbClr val="AEABAB"/>
              </a:solidFill>
            </c:spPr>
            <c:extLst>
              <c:ext xmlns:c16="http://schemas.microsoft.com/office/drawing/2014/chart" uri="{C3380CC4-5D6E-409C-BE32-E72D297353CC}">
                <c16:uniqueId val="{000001BB-14BC-409D-B5DB-FA86C07758D3}"/>
              </c:ext>
            </c:extLst>
          </c:dPt>
          <c:dPt>
            <c:idx val="221"/>
            <c:invertIfNegative val="1"/>
            <c:bubble3D val="0"/>
            <c:spPr>
              <a:solidFill>
                <a:srgbClr val="AEABAB"/>
              </a:solidFill>
            </c:spPr>
            <c:extLst>
              <c:ext xmlns:c16="http://schemas.microsoft.com/office/drawing/2014/chart" uri="{C3380CC4-5D6E-409C-BE32-E72D297353CC}">
                <c16:uniqueId val="{000001BD-14BC-409D-B5DB-FA86C07758D3}"/>
              </c:ext>
            </c:extLst>
          </c:dPt>
          <c:dPt>
            <c:idx val="222"/>
            <c:invertIfNegative val="1"/>
            <c:bubble3D val="0"/>
            <c:spPr>
              <a:solidFill>
                <a:srgbClr val="AEABAB"/>
              </a:solidFill>
            </c:spPr>
            <c:extLst>
              <c:ext xmlns:c16="http://schemas.microsoft.com/office/drawing/2014/chart" uri="{C3380CC4-5D6E-409C-BE32-E72D297353CC}">
                <c16:uniqueId val="{000001BF-14BC-409D-B5DB-FA86C07758D3}"/>
              </c:ext>
            </c:extLst>
          </c:dPt>
          <c:dPt>
            <c:idx val="223"/>
            <c:invertIfNegative val="1"/>
            <c:bubble3D val="0"/>
            <c:spPr>
              <a:solidFill>
                <a:srgbClr val="AEABAB"/>
              </a:solidFill>
            </c:spPr>
            <c:extLst>
              <c:ext xmlns:c16="http://schemas.microsoft.com/office/drawing/2014/chart" uri="{C3380CC4-5D6E-409C-BE32-E72D297353CC}">
                <c16:uniqueId val="{000001C1-14BC-409D-B5DB-FA86C07758D3}"/>
              </c:ext>
            </c:extLst>
          </c:dPt>
          <c:dPt>
            <c:idx val="224"/>
            <c:invertIfNegative val="1"/>
            <c:bubble3D val="0"/>
            <c:spPr>
              <a:solidFill>
                <a:srgbClr val="AEABAB"/>
              </a:solidFill>
            </c:spPr>
            <c:extLst>
              <c:ext xmlns:c16="http://schemas.microsoft.com/office/drawing/2014/chart" uri="{C3380CC4-5D6E-409C-BE32-E72D297353CC}">
                <c16:uniqueId val="{000001C3-14BC-409D-B5DB-FA86C07758D3}"/>
              </c:ext>
            </c:extLst>
          </c:dPt>
          <c:dPt>
            <c:idx val="225"/>
            <c:invertIfNegative val="1"/>
            <c:bubble3D val="0"/>
            <c:spPr>
              <a:solidFill>
                <a:srgbClr val="AEABAB"/>
              </a:solidFill>
            </c:spPr>
            <c:extLst>
              <c:ext xmlns:c16="http://schemas.microsoft.com/office/drawing/2014/chart" uri="{C3380CC4-5D6E-409C-BE32-E72D297353CC}">
                <c16:uniqueId val="{000001C5-14BC-409D-B5DB-FA86C07758D3}"/>
              </c:ext>
            </c:extLst>
          </c:dPt>
          <c:dPt>
            <c:idx val="226"/>
            <c:invertIfNegative val="1"/>
            <c:bubble3D val="0"/>
            <c:spPr>
              <a:solidFill>
                <a:srgbClr val="AEABAB"/>
              </a:solidFill>
            </c:spPr>
            <c:extLst>
              <c:ext xmlns:c16="http://schemas.microsoft.com/office/drawing/2014/chart" uri="{C3380CC4-5D6E-409C-BE32-E72D297353CC}">
                <c16:uniqueId val="{000001C7-14BC-409D-B5DB-FA86C07758D3}"/>
              </c:ext>
            </c:extLst>
          </c:dPt>
          <c:dPt>
            <c:idx val="227"/>
            <c:invertIfNegative val="1"/>
            <c:bubble3D val="0"/>
            <c:spPr>
              <a:solidFill>
                <a:srgbClr val="AEABAB"/>
              </a:solidFill>
            </c:spPr>
            <c:extLst>
              <c:ext xmlns:c16="http://schemas.microsoft.com/office/drawing/2014/chart" uri="{C3380CC4-5D6E-409C-BE32-E72D297353CC}">
                <c16:uniqueId val="{000001C9-14BC-409D-B5DB-FA86C07758D3}"/>
              </c:ext>
            </c:extLst>
          </c:dPt>
          <c:dPt>
            <c:idx val="228"/>
            <c:invertIfNegative val="1"/>
            <c:bubble3D val="0"/>
            <c:spPr>
              <a:solidFill>
                <a:srgbClr val="AEABAB"/>
              </a:solidFill>
            </c:spPr>
            <c:extLst>
              <c:ext xmlns:c16="http://schemas.microsoft.com/office/drawing/2014/chart" uri="{C3380CC4-5D6E-409C-BE32-E72D297353CC}">
                <c16:uniqueId val="{000001CB-14BC-409D-B5DB-FA86C07758D3}"/>
              </c:ext>
            </c:extLst>
          </c:dPt>
          <c:dPt>
            <c:idx val="229"/>
            <c:invertIfNegative val="1"/>
            <c:bubble3D val="0"/>
            <c:spPr>
              <a:solidFill>
                <a:srgbClr val="AEABAB"/>
              </a:solidFill>
            </c:spPr>
            <c:extLst>
              <c:ext xmlns:c16="http://schemas.microsoft.com/office/drawing/2014/chart" uri="{C3380CC4-5D6E-409C-BE32-E72D297353CC}">
                <c16:uniqueId val="{000001CD-14BC-409D-B5DB-FA86C07758D3}"/>
              </c:ext>
            </c:extLst>
          </c:dPt>
          <c:dPt>
            <c:idx val="230"/>
            <c:invertIfNegative val="1"/>
            <c:bubble3D val="0"/>
            <c:spPr>
              <a:solidFill>
                <a:srgbClr val="AEABAB"/>
              </a:solidFill>
            </c:spPr>
            <c:extLst>
              <c:ext xmlns:c16="http://schemas.microsoft.com/office/drawing/2014/chart" uri="{C3380CC4-5D6E-409C-BE32-E72D297353CC}">
                <c16:uniqueId val="{000001CF-14BC-409D-B5DB-FA86C07758D3}"/>
              </c:ext>
            </c:extLst>
          </c:dPt>
          <c:dPt>
            <c:idx val="231"/>
            <c:invertIfNegative val="1"/>
            <c:bubble3D val="0"/>
            <c:spPr>
              <a:solidFill>
                <a:srgbClr val="AEABAB"/>
              </a:solidFill>
            </c:spPr>
            <c:extLst>
              <c:ext xmlns:c16="http://schemas.microsoft.com/office/drawing/2014/chart" uri="{C3380CC4-5D6E-409C-BE32-E72D297353CC}">
                <c16:uniqueId val="{000001D1-14BC-409D-B5DB-FA86C07758D3}"/>
              </c:ext>
            </c:extLst>
          </c:dPt>
          <c:dPt>
            <c:idx val="232"/>
            <c:invertIfNegative val="1"/>
            <c:bubble3D val="0"/>
            <c:spPr>
              <a:solidFill>
                <a:srgbClr val="AEABAB"/>
              </a:solidFill>
            </c:spPr>
            <c:extLst>
              <c:ext xmlns:c16="http://schemas.microsoft.com/office/drawing/2014/chart" uri="{C3380CC4-5D6E-409C-BE32-E72D297353CC}">
                <c16:uniqueId val="{000001D3-14BC-409D-B5DB-FA86C07758D3}"/>
              </c:ext>
            </c:extLst>
          </c:dPt>
          <c:dPt>
            <c:idx val="233"/>
            <c:invertIfNegative val="1"/>
            <c:bubble3D val="0"/>
            <c:spPr>
              <a:solidFill>
                <a:srgbClr val="AEABAB"/>
              </a:solidFill>
            </c:spPr>
            <c:extLst>
              <c:ext xmlns:c16="http://schemas.microsoft.com/office/drawing/2014/chart" uri="{C3380CC4-5D6E-409C-BE32-E72D297353CC}">
                <c16:uniqueId val="{000001D5-14BC-409D-B5DB-FA86C07758D3}"/>
              </c:ext>
            </c:extLst>
          </c:dPt>
          <c:dPt>
            <c:idx val="234"/>
            <c:invertIfNegative val="1"/>
            <c:bubble3D val="0"/>
            <c:spPr>
              <a:solidFill>
                <a:srgbClr val="AEABAB"/>
              </a:solidFill>
            </c:spPr>
            <c:extLst>
              <c:ext xmlns:c16="http://schemas.microsoft.com/office/drawing/2014/chart" uri="{C3380CC4-5D6E-409C-BE32-E72D297353CC}">
                <c16:uniqueId val="{000001D7-14BC-409D-B5DB-FA86C07758D3}"/>
              </c:ext>
            </c:extLst>
          </c:dPt>
          <c:dPt>
            <c:idx val="235"/>
            <c:invertIfNegative val="1"/>
            <c:bubble3D val="0"/>
            <c:spPr>
              <a:solidFill>
                <a:srgbClr val="AEABAB"/>
              </a:solidFill>
            </c:spPr>
            <c:extLst>
              <c:ext xmlns:c16="http://schemas.microsoft.com/office/drawing/2014/chart" uri="{C3380CC4-5D6E-409C-BE32-E72D297353CC}">
                <c16:uniqueId val="{000001D9-14BC-409D-B5DB-FA86C07758D3}"/>
              </c:ext>
            </c:extLst>
          </c:dPt>
          <c:dPt>
            <c:idx val="236"/>
            <c:invertIfNegative val="1"/>
            <c:bubble3D val="0"/>
            <c:spPr>
              <a:solidFill>
                <a:srgbClr val="AEABAB"/>
              </a:solidFill>
            </c:spPr>
            <c:extLst>
              <c:ext xmlns:c16="http://schemas.microsoft.com/office/drawing/2014/chart" uri="{C3380CC4-5D6E-409C-BE32-E72D297353CC}">
                <c16:uniqueId val="{000001DB-14BC-409D-B5DB-FA86C07758D3}"/>
              </c:ext>
            </c:extLst>
          </c:dPt>
          <c:dPt>
            <c:idx val="237"/>
            <c:invertIfNegative val="1"/>
            <c:bubble3D val="0"/>
            <c:spPr>
              <a:solidFill>
                <a:srgbClr val="AEABAB"/>
              </a:solidFill>
            </c:spPr>
            <c:extLst>
              <c:ext xmlns:c16="http://schemas.microsoft.com/office/drawing/2014/chart" uri="{C3380CC4-5D6E-409C-BE32-E72D297353CC}">
                <c16:uniqueId val="{000001DD-14BC-409D-B5DB-FA86C07758D3}"/>
              </c:ext>
            </c:extLst>
          </c:dPt>
          <c:dPt>
            <c:idx val="238"/>
            <c:invertIfNegative val="1"/>
            <c:bubble3D val="0"/>
            <c:spPr>
              <a:solidFill>
                <a:srgbClr val="AEABAB"/>
              </a:solidFill>
            </c:spPr>
            <c:extLst>
              <c:ext xmlns:c16="http://schemas.microsoft.com/office/drawing/2014/chart" uri="{C3380CC4-5D6E-409C-BE32-E72D297353CC}">
                <c16:uniqueId val="{000001DF-14BC-409D-B5DB-FA86C07758D3}"/>
              </c:ext>
            </c:extLst>
          </c:dPt>
          <c:dPt>
            <c:idx val="239"/>
            <c:invertIfNegative val="1"/>
            <c:bubble3D val="0"/>
            <c:spPr>
              <a:solidFill>
                <a:srgbClr val="AEABAB"/>
              </a:solidFill>
            </c:spPr>
            <c:extLst>
              <c:ext xmlns:c16="http://schemas.microsoft.com/office/drawing/2014/chart" uri="{C3380CC4-5D6E-409C-BE32-E72D297353CC}">
                <c16:uniqueId val="{000001E1-14BC-409D-B5DB-FA86C07758D3}"/>
              </c:ext>
            </c:extLst>
          </c:dPt>
          <c:dPt>
            <c:idx val="240"/>
            <c:invertIfNegative val="1"/>
            <c:bubble3D val="0"/>
            <c:spPr>
              <a:solidFill>
                <a:srgbClr val="AEABAB"/>
              </a:solidFill>
            </c:spPr>
            <c:extLst>
              <c:ext xmlns:c16="http://schemas.microsoft.com/office/drawing/2014/chart" uri="{C3380CC4-5D6E-409C-BE32-E72D297353CC}">
                <c16:uniqueId val="{000001E3-14BC-409D-B5DB-FA86C07758D3}"/>
              </c:ext>
            </c:extLst>
          </c:dPt>
          <c:dPt>
            <c:idx val="241"/>
            <c:invertIfNegative val="1"/>
            <c:bubble3D val="0"/>
            <c:spPr>
              <a:solidFill>
                <a:srgbClr val="AEABAB"/>
              </a:solidFill>
            </c:spPr>
            <c:extLst>
              <c:ext xmlns:c16="http://schemas.microsoft.com/office/drawing/2014/chart" uri="{C3380CC4-5D6E-409C-BE32-E72D297353CC}">
                <c16:uniqueId val="{000001E5-14BC-409D-B5DB-FA86C07758D3}"/>
              </c:ext>
            </c:extLst>
          </c:dPt>
          <c:dPt>
            <c:idx val="242"/>
            <c:invertIfNegative val="1"/>
            <c:bubble3D val="0"/>
            <c:spPr>
              <a:solidFill>
                <a:srgbClr val="AEABAB"/>
              </a:solidFill>
            </c:spPr>
            <c:extLst>
              <c:ext xmlns:c16="http://schemas.microsoft.com/office/drawing/2014/chart" uri="{C3380CC4-5D6E-409C-BE32-E72D297353CC}">
                <c16:uniqueId val="{000001E7-14BC-409D-B5DB-FA86C07758D3}"/>
              </c:ext>
            </c:extLst>
          </c:dPt>
          <c:dPt>
            <c:idx val="243"/>
            <c:invertIfNegative val="1"/>
            <c:bubble3D val="0"/>
            <c:spPr>
              <a:solidFill>
                <a:srgbClr val="AEABAB"/>
              </a:solidFill>
            </c:spPr>
            <c:extLst>
              <c:ext xmlns:c16="http://schemas.microsoft.com/office/drawing/2014/chart" uri="{C3380CC4-5D6E-409C-BE32-E72D297353CC}">
                <c16:uniqueId val="{000001E9-14BC-409D-B5DB-FA86C07758D3}"/>
              </c:ext>
            </c:extLst>
          </c:dPt>
          <c:dPt>
            <c:idx val="244"/>
            <c:invertIfNegative val="1"/>
            <c:bubble3D val="0"/>
            <c:spPr>
              <a:solidFill>
                <a:srgbClr val="AEABAB"/>
              </a:solidFill>
            </c:spPr>
            <c:extLst>
              <c:ext xmlns:c16="http://schemas.microsoft.com/office/drawing/2014/chart" uri="{C3380CC4-5D6E-409C-BE32-E72D297353CC}">
                <c16:uniqueId val="{000001EB-14BC-409D-B5DB-FA86C07758D3}"/>
              </c:ext>
            </c:extLst>
          </c:dPt>
          <c:dPt>
            <c:idx val="245"/>
            <c:invertIfNegative val="1"/>
            <c:bubble3D val="0"/>
            <c:spPr>
              <a:solidFill>
                <a:srgbClr val="AEABAB"/>
              </a:solidFill>
            </c:spPr>
            <c:extLst>
              <c:ext xmlns:c16="http://schemas.microsoft.com/office/drawing/2014/chart" uri="{C3380CC4-5D6E-409C-BE32-E72D297353CC}">
                <c16:uniqueId val="{000001ED-14BC-409D-B5DB-FA86C07758D3}"/>
              </c:ext>
            </c:extLst>
          </c:dPt>
          <c:dPt>
            <c:idx val="246"/>
            <c:invertIfNegative val="1"/>
            <c:bubble3D val="0"/>
            <c:spPr>
              <a:solidFill>
                <a:srgbClr val="AEABAB"/>
              </a:solidFill>
            </c:spPr>
            <c:extLst>
              <c:ext xmlns:c16="http://schemas.microsoft.com/office/drawing/2014/chart" uri="{C3380CC4-5D6E-409C-BE32-E72D297353CC}">
                <c16:uniqueId val="{000001EF-14BC-409D-B5DB-FA86C07758D3}"/>
              </c:ext>
            </c:extLst>
          </c:dPt>
          <c:dPt>
            <c:idx val="247"/>
            <c:invertIfNegative val="1"/>
            <c:bubble3D val="0"/>
            <c:spPr>
              <a:solidFill>
                <a:srgbClr val="AEABAB"/>
              </a:solidFill>
            </c:spPr>
            <c:extLst>
              <c:ext xmlns:c16="http://schemas.microsoft.com/office/drawing/2014/chart" uri="{C3380CC4-5D6E-409C-BE32-E72D297353CC}">
                <c16:uniqueId val="{000001F1-14BC-409D-B5DB-FA86C07758D3}"/>
              </c:ext>
            </c:extLst>
          </c:dPt>
          <c:dPt>
            <c:idx val="248"/>
            <c:invertIfNegative val="1"/>
            <c:bubble3D val="0"/>
            <c:spPr>
              <a:solidFill>
                <a:srgbClr val="AEABAB"/>
              </a:solidFill>
            </c:spPr>
            <c:extLst>
              <c:ext xmlns:c16="http://schemas.microsoft.com/office/drawing/2014/chart" uri="{C3380CC4-5D6E-409C-BE32-E72D297353CC}">
                <c16:uniqueId val="{000001F3-14BC-409D-B5DB-FA86C07758D3}"/>
              </c:ext>
            </c:extLst>
          </c:dPt>
          <c:dPt>
            <c:idx val="249"/>
            <c:invertIfNegative val="1"/>
            <c:bubble3D val="0"/>
            <c:spPr>
              <a:solidFill>
                <a:srgbClr val="AEABAB"/>
              </a:solidFill>
            </c:spPr>
            <c:extLst>
              <c:ext xmlns:c16="http://schemas.microsoft.com/office/drawing/2014/chart" uri="{C3380CC4-5D6E-409C-BE32-E72D297353CC}">
                <c16:uniqueId val="{000001F5-14BC-409D-B5DB-FA86C07758D3}"/>
              </c:ext>
            </c:extLst>
          </c:dPt>
          <c:dPt>
            <c:idx val="250"/>
            <c:invertIfNegative val="1"/>
            <c:bubble3D val="0"/>
            <c:spPr>
              <a:solidFill>
                <a:srgbClr val="AEABAB"/>
              </a:solidFill>
            </c:spPr>
            <c:extLst>
              <c:ext xmlns:c16="http://schemas.microsoft.com/office/drawing/2014/chart" uri="{C3380CC4-5D6E-409C-BE32-E72D297353CC}">
                <c16:uniqueId val="{000001F7-14BC-409D-B5DB-FA86C07758D3}"/>
              </c:ext>
            </c:extLst>
          </c:dPt>
          <c:dPt>
            <c:idx val="251"/>
            <c:invertIfNegative val="1"/>
            <c:bubble3D val="0"/>
            <c:spPr>
              <a:solidFill>
                <a:srgbClr val="AEABAB"/>
              </a:solidFill>
            </c:spPr>
            <c:extLst>
              <c:ext xmlns:c16="http://schemas.microsoft.com/office/drawing/2014/chart" uri="{C3380CC4-5D6E-409C-BE32-E72D297353CC}">
                <c16:uniqueId val="{000001F9-14BC-409D-B5DB-FA86C07758D3}"/>
              </c:ext>
            </c:extLst>
          </c:dPt>
          <c:dPt>
            <c:idx val="252"/>
            <c:invertIfNegative val="1"/>
            <c:bubble3D val="0"/>
            <c:spPr>
              <a:solidFill>
                <a:srgbClr val="AEABAB"/>
              </a:solidFill>
            </c:spPr>
            <c:extLst>
              <c:ext xmlns:c16="http://schemas.microsoft.com/office/drawing/2014/chart" uri="{C3380CC4-5D6E-409C-BE32-E72D297353CC}">
                <c16:uniqueId val="{000001FB-14BC-409D-B5DB-FA86C07758D3}"/>
              </c:ext>
            </c:extLst>
          </c:dPt>
          <c:dPt>
            <c:idx val="253"/>
            <c:invertIfNegative val="1"/>
            <c:bubble3D val="0"/>
            <c:spPr>
              <a:solidFill>
                <a:srgbClr val="AEABAB"/>
              </a:solidFill>
            </c:spPr>
            <c:extLst>
              <c:ext xmlns:c16="http://schemas.microsoft.com/office/drawing/2014/chart" uri="{C3380CC4-5D6E-409C-BE32-E72D297353CC}">
                <c16:uniqueId val="{000001FD-14BC-409D-B5DB-FA86C07758D3}"/>
              </c:ext>
            </c:extLst>
          </c:dPt>
          <c:dPt>
            <c:idx val="254"/>
            <c:invertIfNegative val="1"/>
            <c:bubble3D val="0"/>
            <c:spPr>
              <a:solidFill>
                <a:srgbClr val="AEABAB"/>
              </a:solidFill>
            </c:spPr>
            <c:extLst>
              <c:ext xmlns:c16="http://schemas.microsoft.com/office/drawing/2014/chart" uri="{C3380CC4-5D6E-409C-BE32-E72D297353CC}">
                <c16:uniqueId val="{000001FF-14BC-409D-B5DB-FA86C07758D3}"/>
              </c:ext>
            </c:extLst>
          </c:dPt>
          <c:dPt>
            <c:idx val="255"/>
            <c:invertIfNegative val="1"/>
            <c:bubble3D val="0"/>
            <c:spPr>
              <a:solidFill>
                <a:srgbClr val="AEABAB"/>
              </a:solidFill>
            </c:spPr>
            <c:extLst>
              <c:ext xmlns:c16="http://schemas.microsoft.com/office/drawing/2014/chart" uri="{C3380CC4-5D6E-409C-BE32-E72D297353CC}">
                <c16:uniqueId val="{00000201-14BC-409D-B5DB-FA86C07758D3}"/>
              </c:ext>
            </c:extLst>
          </c:dPt>
          <c:dPt>
            <c:idx val="256"/>
            <c:invertIfNegative val="1"/>
            <c:bubble3D val="0"/>
            <c:spPr>
              <a:solidFill>
                <a:srgbClr val="AEABAB"/>
              </a:solidFill>
            </c:spPr>
            <c:extLst>
              <c:ext xmlns:c16="http://schemas.microsoft.com/office/drawing/2014/chart" uri="{C3380CC4-5D6E-409C-BE32-E72D297353CC}">
                <c16:uniqueId val="{00000203-14BC-409D-B5DB-FA86C07758D3}"/>
              </c:ext>
            </c:extLst>
          </c:dPt>
          <c:dPt>
            <c:idx val="257"/>
            <c:invertIfNegative val="1"/>
            <c:bubble3D val="0"/>
            <c:spPr>
              <a:solidFill>
                <a:srgbClr val="AEABAB"/>
              </a:solidFill>
            </c:spPr>
            <c:extLst>
              <c:ext xmlns:c16="http://schemas.microsoft.com/office/drawing/2014/chart" uri="{C3380CC4-5D6E-409C-BE32-E72D297353CC}">
                <c16:uniqueId val="{00000205-14BC-409D-B5DB-FA86C07758D3}"/>
              </c:ext>
            </c:extLst>
          </c:dPt>
          <c:dPt>
            <c:idx val="258"/>
            <c:invertIfNegative val="1"/>
            <c:bubble3D val="0"/>
            <c:spPr>
              <a:solidFill>
                <a:srgbClr val="AEABAB"/>
              </a:solidFill>
            </c:spPr>
            <c:extLst>
              <c:ext xmlns:c16="http://schemas.microsoft.com/office/drawing/2014/chart" uri="{C3380CC4-5D6E-409C-BE32-E72D297353CC}">
                <c16:uniqueId val="{00000207-14BC-409D-B5DB-FA86C07758D3}"/>
              </c:ext>
            </c:extLst>
          </c:dPt>
          <c:dPt>
            <c:idx val="259"/>
            <c:invertIfNegative val="1"/>
            <c:bubble3D val="0"/>
            <c:spPr>
              <a:solidFill>
                <a:srgbClr val="AEABAB"/>
              </a:solidFill>
            </c:spPr>
            <c:extLst>
              <c:ext xmlns:c16="http://schemas.microsoft.com/office/drawing/2014/chart" uri="{C3380CC4-5D6E-409C-BE32-E72D297353CC}">
                <c16:uniqueId val="{00000209-14BC-409D-B5DB-FA86C07758D3}"/>
              </c:ext>
            </c:extLst>
          </c:dPt>
          <c:dPt>
            <c:idx val="260"/>
            <c:invertIfNegative val="1"/>
            <c:bubble3D val="0"/>
            <c:spPr>
              <a:solidFill>
                <a:srgbClr val="AEABAB"/>
              </a:solidFill>
            </c:spPr>
            <c:extLst>
              <c:ext xmlns:c16="http://schemas.microsoft.com/office/drawing/2014/chart" uri="{C3380CC4-5D6E-409C-BE32-E72D297353CC}">
                <c16:uniqueId val="{0000020B-14BC-409D-B5DB-FA86C07758D3}"/>
              </c:ext>
            </c:extLst>
          </c:dPt>
          <c:dPt>
            <c:idx val="261"/>
            <c:invertIfNegative val="1"/>
            <c:bubble3D val="0"/>
            <c:spPr>
              <a:solidFill>
                <a:srgbClr val="AEABAB"/>
              </a:solidFill>
            </c:spPr>
            <c:extLst>
              <c:ext xmlns:c16="http://schemas.microsoft.com/office/drawing/2014/chart" uri="{C3380CC4-5D6E-409C-BE32-E72D297353CC}">
                <c16:uniqueId val="{0000020D-14BC-409D-B5DB-FA86C07758D3}"/>
              </c:ext>
            </c:extLst>
          </c:dPt>
          <c:dPt>
            <c:idx val="262"/>
            <c:invertIfNegative val="1"/>
            <c:bubble3D val="0"/>
            <c:spPr>
              <a:solidFill>
                <a:srgbClr val="AEABAB"/>
              </a:solidFill>
            </c:spPr>
            <c:extLst>
              <c:ext xmlns:c16="http://schemas.microsoft.com/office/drawing/2014/chart" uri="{C3380CC4-5D6E-409C-BE32-E72D297353CC}">
                <c16:uniqueId val="{0000020F-14BC-409D-B5DB-FA86C07758D3}"/>
              </c:ext>
            </c:extLst>
          </c:dPt>
          <c:dPt>
            <c:idx val="263"/>
            <c:invertIfNegative val="1"/>
            <c:bubble3D val="0"/>
            <c:spPr>
              <a:solidFill>
                <a:srgbClr val="AEABAB"/>
              </a:solidFill>
            </c:spPr>
            <c:extLst>
              <c:ext xmlns:c16="http://schemas.microsoft.com/office/drawing/2014/chart" uri="{C3380CC4-5D6E-409C-BE32-E72D297353CC}">
                <c16:uniqueId val="{00000211-14BC-409D-B5DB-FA86C07758D3}"/>
              </c:ext>
            </c:extLst>
          </c:dPt>
          <c:dPt>
            <c:idx val="264"/>
            <c:invertIfNegative val="1"/>
            <c:bubble3D val="0"/>
            <c:spPr>
              <a:solidFill>
                <a:srgbClr val="AEABAB"/>
              </a:solidFill>
            </c:spPr>
            <c:extLst>
              <c:ext xmlns:c16="http://schemas.microsoft.com/office/drawing/2014/chart" uri="{C3380CC4-5D6E-409C-BE32-E72D297353CC}">
                <c16:uniqueId val="{00000213-14BC-409D-B5DB-FA86C07758D3}"/>
              </c:ext>
            </c:extLst>
          </c:dPt>
          <c:dPt>
            <c:idx val="265"/>
            <c:invertIfNegative val="1"/>
            <c:bubble3D val="0"/>
            <c:spPr>
              <a:solidFill>
                <a:srgbClr val="AEABAB"/>
              </a:solidFill>
            </c:spPr>
            <c:extLst>
              <c:ext xmlns:c16="http://schemas.microsoft.com/office/drawing/2014/chart" uri="{C3380CC4-5D6E-409C-BE32-E72D297353CC}">
                <c16:uniqueId val="{00000215-14BC-409D-B5DB-FA86C07758D3}"/>
              </c:ext>
            </c:extLst>
          </c:dPt>
          <c:dPt>
            <c:idx val="266"/>
            <c:invertIfNegative val="1"/>
            <c:bubble3D val="0"/>
            <c:spPr>
              <a:solidFill>
                <a:srgbClr val="AEABAB"/>
              </a:solidFill>
            </c:spPr>
            <c:extLst>
              <c:ext xmlns:c16="http://schemas.microsoft.com/office/drawing/2014/chart" uri="{C3380CC4-5D6E-409C-BE32-E72D297353CC}">
                <c16:uniqueId val="{00000217-14BC-409D-B5DB-FA86C07758D3}"/>
              </c:ext>
            </c:extLst>
          </c:dPt>
          <c:dPt>
            <c:idx val="267"/>
            <c:invertIfNegative val="1"/>
            <c:bubble3D val="0"/>
            <c:spPr>
              <a:solidFill>
                <a:srgbClr val="AEABAB"/>
              </a:solidFill>
            </c:spPr>
            <c:extLst>
              <c:ext xmlns:c16="http://schemas.microsoft.com/office/drawing/2014/chart" uri="{C3380CC4-5D6E-409C-BE32-E72D297353CC}">
                <c16:uniqueId val="{00000219-14BC-409D-B5DB-FA86C07758D3}"/>
              </c:ext>
            </c:extLst>
          </c:dPt>
          <c:dPt>
            <c:idx val="268"/>
            <c:invertIfNegative val="1"/>
            <c:bubble3D val="0"/>
            <c:spPr>
              <a:solidFill>
                <a:srgbClr val="AEABAB"/>
              </a:solidFill>
            </c:spPr>
            <c:extLst>
              <c:ext xmlns:c16="http://schemas.microsoft.com/office/drawing/2014/chart" uri="{C3380CC4-5D6E-409C-BE32-E72D297353CC}">
                <c16:uniqueId val="{0000021B-14BC-409D-B5DB-FA86C07758D3}"/>
              </c:ext>
            </c:extLst>
          </c:dPt>
          <c:dPt>
            <c:idx val="269"/>
            <c:invertIfNegative val="1"/>
            <c:bubble3D val="0"/>
            <c:spPr>
              <a:solidFill>
                <a:srgbClr val="AEABAB"/>
              </a:solidFill>
            </c:spPr>
            <c:extLst>
              <c:ext xmlns:c16="http://schemas.microsoft.com/office/drawing/2014/chart" uri="{C3380CC4-5D6E-409C-BE32-E72D297353CC}">
                <c16:uniqueId val="{0000021D-14BC-409D-B5DB-FA86C07758D3}"/>
              </c:ext>
            </c:extLst>
          </c:dPt>
          <c:dPt>
            <c:idx val="270"/>
            <c:invertIfNegative val="1"/>
            <c:bubble3D val="0"/>
            <c:spPr>
              <a:solidFill>
                <a:srgbClr val="AEABAB"/>
              </a:solidFill>
            </c:spPr>
            <c:extLst>
              <c:ext xmlns:c16="http://schemas.microsoft.com/office/drawing/2014/chart" uri="{C3380CC4-5D6E-409C-BE32-E72D297353CC}">
                <c16:uniqueId val="{0000021F-14BC-409D-B5DB-FA86C07758D3}"/>
              </c:ext>
            </c:extLst>
          </c:dPt>
          <c:dPt>
            <c:idx val="271"/>
            <c:invertIfNegative val="1"/>
            <c:bubble3D val="0"/>
            <c:spPr>
              <a:solidFill>
                <a:srgbClr val="AEABAB"/>
              </a:solidFill>
            </c:spPr>
            <c:extLst>
              <c:ext xmlns:c16="http://schemas.microsoft.com/office/drawing/2014/chart" uri="{C3380CC4-5D6E-409C-BE32-E72D297353CC}">
                <c16:uniqueId val="{00000221-14BC-409D-B5DB-FA86C07758D3}"/>
              </c:ext>
            </c:extLst>
          </c:dPt>
          <c:dPt>
            <c:idx val="272"/>
            <c:invertIfNegative val="1"/>
            <c:bubble3D val="0"/>
            <c:spPr>
              <a:solidFill>
                <a:srgbClr val="AEABAB"/>
              </a:solidFill>
            </c:spPr>
            <c:extLst>
              <c:ext xmlns:c16="http://schemas.microsoft.com/office/drawing/2014/chart" uri="{C3380CC4-5D6E-409C-BE32-E72D297353CC}">
                <c16:uniqueId val="{00000223-14BC-409D-B5DB-FA86C07758D3}"/>
              </c:ext>
            </c:extLst>
          </c:dPt>
          <c:dPt>
            <c:idx val="273"/>
            <c:invertIfNegative val="1"/>
            <c:bubble3D val="0"/>
            <c:spPr>
              <a:solidFill>
                <a:srgbClr val="AEABAB"/>
              </a:solidFill>
            </c:spPr>
            <c:extLst>
              <c:ext xmlns:c16="http://schemas.microsoft.com/office/drawing/2014/chart" uri="{C3380CC4-5D6E-409C-BE32-E72D297353CC}">
                <c16:uniqueId val="{00000225-14BC-409D-B5DB-FA86C07758D3}"/>
              </c:ext>
            </c:extLst>
          </c:dPt>
          <c:dPt>
            <c:idx val="274"/>
            <c:invertIfNegative val="1"/>
            <c:bubble3D val="0"/>
            <c:spPr>
              <a:solidFill>
                <a:srgbClr val="AEABAB"/>
              </a:solidFill>
            </c:spPr>
            <c:extLst>
              <c:ext xmlns:c16="http://schemas.microsoft.com/office/drawing/2014/chart" uri="{C3380CC4-5D6E-409C-BE32-E72D297353CC}">
                <c16:uniqueId val="{00000227-14BC-409D-B5DB-FA86C07758D3}"/>
              </c:ext>
            </c:extLst>
          </c:dPt>
          <c:dPt>
            <c:idx val="275"/>
            <c:invertIfNegative val="1"/>
            <c:bubble3D val="0"/>
            <c:spPr>
              <a:solidFill>
                <a:srgbClr val="AEABAB"/>
              </a:solidFill>
            </c:spPr>
            <c:extLst>
              <c:ext xmlns:c16="http://schemas.microsoft.com/office/drawing/2014/chart" uri="{C3380CC4-5D6E-409C-BE32-E72D297353CC}">
                <c16:uniqueId val="{00000229-14BC-409D-B5DB-FA86C07758D3}"/>
              </c:ext>
            </c:extLst>
          </c:dPt>
          <c:dPt>
            <c:idx val="276"/>
            <c:invertIfNegative val="1"/>
            <c:bubble3D val="0"/>
            <c:spPr>
              <a:solidFill>
                <a:srgbClr val="AEABAB"/>
              </a:solidFill>
            </c:spPr>
            <c:extLst>
              <c:ext xmlns:c16="http://schemas.microsoft.com/office/drawing/2014/chart" uri="{C3380CC4-5D6E-409C-BE32-E72D297353CC}">
                <c16:uniqueId val="{0000022B-14BC-409D-B5DB-FA86C07758D3}"/>
              </c:ext>
            </c:extLst>
          </c:dPt>
          <c:dPt>
            <c:idx val="277"/>
            <c:invertIfNegative val="1"/>
            <c:bubble3D val="0"/>
            <c:spPr>
              <a:solidFill>
                <a:srgbClr val="AEABAB"/>
              </a:solidFill>
            </c:spPr>
            <c:extLst>
              <c:ext xmlns:c16="http://schemas.microsoft.com/office/drawing/2014/chart" uri="{C3380CC4-5D6E-409C-BE32-E72D297353CC}">
                <c16:uniqueId val="{0000022D-14BC-409D-B5DB-FA86C07758D3}"/>
              </c:ext>
            </c:extLst>
          </c:dPt>
          <c:dPt>
            <c:idx val="278"/>
            <c:invertIfNegative val="1"/>
            <c:bubble3D val="0"/>
            <c:spPr>
              <a:solidFill>
                <a:srgbClr val="AEABAB"/>
              </a:solidFill>
            </c:spPr>
            <c:extLst>
              <c:ext xmlns:c16="http://schemas.microsoft.com/office/drawing/2014/chart" uri="{C3380CC4-5D6E-409C-BE32-E72D297353CC}">
                <c16:uniqueId val="{0000022F-14BC-409D-B5DB-FA86C07758D3}"/>
              </c:ext>
            </c:extLst>
          </c:dPt>
          <c:dPt>
            <c:idx val="279"/>
            <c:invertIfNegative val="1"/>
            <c:bubble3D val="0"/>
            <c:spPr>
              <a:solidFill>
                <a:srgbClr val="AEABAB"/>
              </a:solidFill>
            </c:spPr>
            <c:extLst>
              <c:ext xmlns:c16="http://schemas.microsoft.com/office/drawing/2014/chart" uri="{C3380CC4-5D6E-409C-BE32-E72D297353CC}">
                <c16:uniqueId val="{00000231-14BC-409D-B5DB-FA86C07758D3}"/>
              </c:ext>
            </c:extLst>
          </c:dPt>
          <c:dPt>
            <c:idx val="280"/>
            <c:invertIfNegative val="1"/>
            <c:bubble3D val="0"/>
            <c:spPr>
              <a:solidFill>
                <a:srgbClr val="AEABAB"/>
              </a:solidFill>
            </c:spPr>
            <c:extLst>
              <c:ext xmlns:c16="http://schemas.microsoft.com/office/drawing/2014/chart" uri="{C3380CC4-5D6E-409C-BE32-E72D297353CC}">
                <c16:uniqueId val="{00000233-14BC-409D-B5DB-FA86C07758D3}"/>
              </c:ext>
            </c:extLst>
          </c:dPt>
          <c:dPt>
            <c:idx val="281"/>
            <c:invertIfNegative val="1"/>
            <c:bubble3D val="0"/>
            <c:spPr>
              <a:solidFill>
                <a:srgbClr val="AEABAB"/>
              </a:solidFill>
            </c:spPr>
            <c:extLst>
              <c:ext xmlns:c16="http://schemas.microsoft.com/office/drawing/2014/chart" uri="{C3380CC4-5D6E-409C-BE32-E72D297353CC}">
                <c16:uniqueId val="{00000235-14BC-409D-B5DB-FA86C07758D3}"/>
              </c:ext>
            </c:extLst>
          </c:dPt>
          <c:dPt>
            <c:idx val="282"/>
            <c:invertIfNegative val="1"/>
            <c:bubble3D val="0"/>
            <c:spPr>
              <a:solidFill>
                <a:srgbClr val="AEABAB"/>
              </a:solidFill>
            </c:spPr>
            <c:extLst>
              <c:ext xmlns:c16="http://schemas.microsoft.com/office/drawing/2014/chart" uri="{C3380CC4-5D6E-409C-BE32-E72D297353CC}">
                <c16:uniqueId val="{00000237-14BC-409D-B5DB-FA86C07758D3}"/>
              </c:ext>
            </c:extLst>
          </c:dPt>
          <c:dPt>
            <c:idx val="283"/>
            <c:invertIfNegative val="1"/>
            <c:bubble3D val="0"/>
            <c:spPr>
              <a:solidFill>
                <a:srgbClr val="AEABAB"/>
              </a:solidFill>
            </c:spPr>
            <c:extLst>
              <c:ext xmlns:c16="http://schemas.microsoft.com/office/drawing/2014/chart" uri="{C3380CC4-5D6E-409C-BE32-E72D297353CC}">
                <c16:uniqueId val="{00000239-14BC-409D-B5DB-FA86C07758D3}"/>
              </c:ext>
            </c:extLst>
          </c:dPt>
          <c:dPt>
            <c:idx val="284"/>
            <c:invertIfNegative val="1"/>
            <c:bubble3D val="0"/>
            <c:spPr>
              <a:solidFill>
                <a:srgbClr val="AEABAB"/>
              </a:solidFill>
            </c:spPr>
            <c:extLst>
              <c:ext xmlns:c16="http://schemas.microsoft.com/office/drawing/2014/chart" uri="{C3380CC4-5D6E-409C-BE32-E72D297353CC}">
                <c16:uniqueId val="{0000023B-14BC-409D-B5DB-FA86C07758D3}"/>
              </c:ext>
            </c:extLst>
          </c:dPt>
          <c:dPt>
            <c:idx val="285"/>
            <c:invertIfNegative val="1"/>
            <c:bubble3D val="0"/>
            <c:spPr>
              <a:solidFill>
                <a:srgbClr val="AEABAB"/>
              </a:solidFill>
            </c:spPr>
            <c:extLst>
              <c:ext xmlns:c16="http://schemas.microsoft.com/office/drawing/2014/chart" uri="{C3380CC4-5D6E-409C-BE32-E72D297353CC}">
                <c16:uniqueId val="{0000023D-14BC-409D-B5DB-FA86C07758D3}"/>
              </c:ext>
            </c:extLst>
          </c:dPt>
          <c:dPt>
            <c:idx val="286"/>
            <c:invertIfNegative val="1"/>
            <c:bubble3D val="0"/>
            <c:spPr>
              <a:solidFill>
                <a:srgbClr val="AEABAB"/>
              </a:solidFill>
            </c:spPr>
            <c:extLst>
              <c:ext xmlns:c16="http://schemas.microsoft.com/office/drawing/2014/chart" uri="{C3380CC4-5D6E-409C-BE32-E72D297353CC}">
                <c16:uniqueId val="{0000023F-14BC-409D-B5DB-FA86C07758D3}"/>
              </c:ext>
            </c:extLst>
          </c:dPt>
          <c:dPt>
            <c:idx val="287"/>
            <c:invertIfNegative val="1"/>
            <c:bubble3D val="0"/>
            <c:spPr>
              <a:solidFill>
                <a:srgbClr val="AEABAB"/>
              </a:solidFill>
            </c:spPr>
            <c:extLst>
              <c:ext xmlns:c16="http://schemas.microsoft.com/office/drawing/2014/chart" uri="{C3380CC4-5D6E-409C-BE32-E72D297353CC}">
                <c16:uniqueId val="{00000241-14BC-409D-B5DB-FA86C07758D3}"/>
              </c:ext>
            </c:extLst>
          </c:dPt>
          <c:dPt>
            <c:idx val="288"/>
            <c:invertIfNegative val="1"/>
            <c:bubble3D val="0"/>
            <c:spPr>
              <a:solidFill>
                <a:srgbClr val="AEABAB"/>
              </a:solidFill>
            </c:spPr>
            <c:extLst>
              <c:ext xmlns:c16="http://schemas.microsoft.com/office/drawing/2014/chart" uri="{C3380CC4-5D6E-409C-BE32-E72D297353CC}">
                <c16:uniqueId val="{00000243-14BC-409D-B5DB-FA86C07758D3}"/>
              </c:ext>
            </c:extLst>
          </c:dPt>
          <c:dPt>
            <c:idx val="289"/>
            <c:invertIfNegative val="1"/>
            <c:bubble3D val="0"/>
            <c:spPr>
              <a:solidFill>
                <a:srgbClr val="AEABAB"/>
              </a:solidFill>
            </c:spPr>
            <c:extLst>
              <c:ext xmlns:c16="http://schemas.microsoft.com/office/drawing/2014/chart" uri="{C3380CC4-5D6E-409C-BE32-E72D297353CC}">
                <c16:uniqueId val="{00000245-14BC-409D-B5DB-FA86C07758D3}"/>
              </c:ext>
            </c:extLst>
          </c:dPt>
          <c:dPt>
            <c:idx val="290"/>
            <c:invertIfNegative val="1"/>
            <c:bubble3D val="0"/>
            <c:spPr>
              <a:solidFill>
                <a:srgbClr val="AEABAB"/>
              </a:solidFill>
            </c:spPr>
            <c:extLst>
              <c:ext xmlns:c16="http://schemas.microsoft.com/office/drawing/2014/chart" uri="{C3380CC4-5D6E-409C-BE32-E72D297353CC}">
                <c16:uniqueId val="{00000247-14BC-409D-B5DB-FA86C07758D3}"/>
              </c:ext>
            </c:extLst>
          </c:dPt>
          <c:dPt>
            <c:idx val="291"/>
            <c:invertIfNegative val="1"/>
            <c:bubble3D val="0"/>
            <c:spPr>
              <a:solidFill>
                <a:srgbClr val="AEABAB"/>
              </a:solidFill>
            </c:spPr>
            <c:extLst>
              <c:ext xmlns:c16="http://schemas.microsoft.com/office/drawing/2014/chart" uri="{C3380CC4-5D6E-409C-BE32-E72D297353CC}">
                <c16:uniqueId val="{00000249-14BC-409D-B5DB-FA86C07758D3}"/>
              </c:ext>
            </c:extLst>
          </c:dPt>
          <c:dPt>
            <c:idx val="292"/>
            <c:invertIfNegative val="1"/>
            <c:bubble3D val="0"/>
            <c:spPr>
              <a:solidFill>
                <a:srgbClr val="AEABAB"/>
              </a:solidFill>
            </c:spPr>
            <c:extLst>
              <c:ext xmlns:c16="http://schemas.microsoft.com/office/drawing/2014/chart" uri="{C3380CC4-5D6E-409C-BE32-E72D297353CC}">
                <c16:uniqueId val="{0000024B-14BC-409D-B5DB-FA86C07758D3}"/>
              </c:ext>
            </c:extLst>
          </c:dPt>
          <c:dPt>
            <c:idx val="293"/>
            <c:invertIfNegative val="1"/>
            <c:bubble3D val="0"/>
            <c:spPr>
              <a:solidFill>
                <a:srgbClr val="AEABAB"/>
              </a:solidFill>
            </c:spPr>
            <c:extLst>
              <c:ext xmlns:c16="http://schemas.microsoft.com/office/drawing/2014/chart" uri="{C3380CC4-5D6E-409C-BE32-E72D297353CC}">
                <c16:uniqueId val="{0000024D-14BC-409D-B5DB-FA86C07758D3}"/>
              </c:ext>
            </c:extLst>
          </c:dPt>
          <c:dPt>
            <c:idx val="294"/>
            <c:invertIfNegative val="1"/>
            <c:bubble3D val="0"/>
            <c:spPr>
              <a:solidFill>
                <a:srgbClr val="AEABAB"/>
              </a:solidFill>
            </c:spPr>
            <c:extLst>
              <c:ext xmlns:c16="http://schemas.microsoft.com/office/drawing/2014/chart" uri="{C3380CC4-5D6E-409C-BE32-E72D297353CC}">
                <c16:uniqueId val="{0000024F-14BC-409D-B5DB-FA86C07758D3}"/>
              </c:ext>
            </c:extLst>
          </c:dPt>
          <c:dPt>
            <c:idx val="295"/>
            <c:invertIfNegative val="1"/>
            <c:bubble3D val="0"/>
            <c:spPr>
              <a:solidFill>
                <a:srgbClr val="AEABAB"/>
              </a:solidFill>
            </c:spPr>
            <c:extLst>
              <c:ext xmlns:c16="http://schemas.microsoft.com/office/drawing/2014/chart" uri="{C3380CC4-5D6E-409C-BE32-E72D297353CC}">
                <c16:uniqueId val="{00000251-14BC-409D-B5DB-FA86C07758D3}"/>
              </c:ext>
            </c:extLst>
          </c:dPt>
          <c:dPt>
            <c:idx val="296"/>
            <c:invertIfNegative val="1"/>
            <c:bubble3D val="0"/>
            <c:spPr>
              <a:solidFill>
                <a:srgbClr val="AEABAB"/>
              </a:solidFill>
            </c:spPr>
            <c:extLst>
              <c:ext xmlns:c16="http://schemas.microsoft.com/office/drawing/2014/chart" uri="{C3380CC4-5D6E-409C-BE32-E72D297353CC}">
                <c16:uniqueId val="{00000253-14BC-409D-B5DB-FA86C07758D3}"/>
              </c:ext>
            </c:extLst>
          </c:dPt>
          <c:dPt>
            <c:idx val="297"/>
            <c:invertIfNegative val="1"/>
            <c:bubble3D val="0"/>
            <c:spPr>
              <a:solidFill>
                <a:srgbClr val="AEABAB"/>
              </a:solidFill>
            </c:spPr>
            <c:extLst>
              <c:ext xmlns:c16="http://schemas.microsoft.com/office/drawing/2014/chart" uri="{C3380CC4-5D6E-409C-BE32-E72D297353CC}">
                <c16:uniqueId val="{00000255-14BC-409D-B5DB-FA86C07758D3}"/>
              </c:ext>
            </c:extLst>
          </c:dPt>
          <c:dPt>
            <c:idx val="298"/>
            <c:invertIfNegative val="1"/>
            <c:bubble3D val="0"/>
            <c:spPr>
              <a:solidFill>
                <a:srgbClr val="AEABAB"/>
              </a:solidFill>
            </c:spPr>
            <c:extLst>
              <c:ext xmlns:c16="http://schemas.microsoft.com/office/drawing/2014/chart" uri="{C3380CC4-5D6E-409C-BE32-E72D297353CC}">
                <c16:uniqueId val="{00000257-14BC-409D-B5DB-FA86C07758D3}"/>
              </c:ext>
            </c:extLst>
          </c:dPt>
          <c:dPt>
            <c:idx val="299"/>
            <c:invertIfNegative val="1"/>
            <c:bubble3D val="0"/>
            <c:spPr>
              <a:solidFill>
                <a:srgbClr val="AEABAB"/>
              </a:solidFill>
            </c:spPr>
            <c:extLst>
              <c:ext xmlns:c16="http://schemas.microsoft.com/office/drawing/2014/chart" uri="{C3380CC4-5D6E-409C-BE32-E72D297353CC}">
                <c16:uniqueId val="{00000259-14BC-409D-B5DB-FA86C07758D3}"/>
              </c:ext>
            </c:extLst>
          </c:dPt>
          <c:dPt>
            <c:idx val="300"/>
            <c:invertIfNegative val="1"/>
            <c:bubble3D val="0"/>
            <c:spPr>
              <a:solidFill>
                <a:srgbClr val="AEABAB"/>
              </a:solidFill>
            </c:spPr>
            <c:extLst>
              <c:ext xmlns:c16="http://schemas.microsoft.com/office/drawing/2014/chart" uri="{C3380CC4-5D6E-409C-BE32-E72D297353CC}">
                <c16:uniqueId val="{0000025B-14BC-409D-B5DB-FA86C07758D3}"/>
              </c:ext>
            </c:extLst>
          </c:dPt>
          <c:dPt>
            <c:idx val="301"/>
            <c:invertIfNegative val="1"/>
            <c:bubble3D val="0"/>
            <c:spPr>
              <a:solidFill>
                <a:srgbClr val="AEABAB"/>
              </a:solidFill>
            </c:spPr>
            <c:extLst>
              <c:ext xmlns:c16="http://schemas.microsoft.com/office/drawing/2014/chart" uri="{C3380CC4-5D6E-409C-BE32-E72D297353CC}">
                <c16:uniqueId val="{0000025D-14BC-409D-B5DB-FA86C07758D3}"/>
              </c:ext>
            </c:extLst>
          </c:dPt>
          <c:dPt>
            <c:idx val="302"/>
            <c:invertIfNegative val="1"/>
            <c:bubble3D val="0"/>
            <c:spPr>
              <a:solidFill>
                <a:srgbClr val="AEABAB"/>
              </a:solidFill>
            </c:spPr>
            <c:extLst>
              <c:ext xmlns:c16="http://schemas.microsoft.com/office/drawing/2014/chart" uri="{C3380CC4-5D6E-409C-BE32-E72D297353CC}">
                <c16:uniqueId val="{0000025F-14BC-409D-B5DB-FA86C07758D3}"/>
              </c:ext>
            </c:extLst>
          </c:dPt>
          <c:dPt>
            <c:idx val="303"/>
            <c:invertIfNegative val="1"/>
            <c:bubble3D val="0"/>
            <c:spPr>
              <a:solidFill>
                <a:srgbClr val="AEABAB"/>
              </a:solidFill>
            </c:spPr>
            <c:extLst>
              <c:ext xmlns:c16="http://schemas.microsoft.com/office/drawing/2014/chart" uri="{C3380CC4-5D6E-409C-BE32-E72D297353CC}">
                <c16:uniqueId val="{00000261-14BC-409D-B5DB-FA86C07758D3}"/>
              </c:ext>
            </c:extLst>
          </c:dPt>
          <c:dPt>
            <c:idx val="304"/>
            <c:invertIfNegative val="1"/>
            <c:bubble3D val="0"/>
            <c:spPr>
              <a:solidFill>
                <a:srgbClr val="AEABAB"/>
              </a:solidFill>
            </c:spPr>
            <c:extLst>
              <c:ext xmlns:c16="http://schemas.microsoft.com/office/drawing/2014/chart" uri="{C3380CC4-5D6E-409C-BE32-E72D297353CC}">
                <c16:uniqueId val="{00000263-14BC-409D-B5DB-FA86C07758D3}"/>
              </c:ext>
            </c:extLst>
          </c:dPt>
          <c:dPt>
            <c:idx val="305"/>
            <c:invertIfNegative val="1"/>
            <c:bubble3D val="0"/>
            <c:spPr>
              <a:solidFill>
                <a:srgbClr val="AEABAB"/>
              </a:solidFill>
            </c:spPr>
            <c:extLst>
              <c:ext xmlns:c16="http://schemas.microsoft.com/office/drawing/2014/chart" uri="{C3380CC4-5D6E-409C-BE32-E72D297353CC}">
                <c16:uniqueId val="{00000265-14BC-409D-B5DB-FA86C07758D3}"/>
              </c:ext>
            </c:extLst>
          </c:dPt>
          <c:dPt>
            <c:idx val="306"/>
            <c:invertIfNegative val="1"/>
            <c:bubble3D val="0"/>
            <c:spPr>
              <a:solidFill>
                <a:srgbClr val="AEABAB"/>
              </a:solidFill>
            </c:spPr>
            <c:extLst>
              <c:ext xmlns:c16="http://schemas.microsoft.com/office/drawing/2014/chart" uri="{C3380CC4-5D6E-409C-BE32-E72D297353CC}">
                <c16:uniqueId val="{00000267-14BC-409D-B5DB-FA86C07758D3}"/>
              </c:ext>
            </c:extLst>
          </c:dPt>
          <c:dPt>
            <c:idx val="307"/>
            <c:invertIfNegative val="1"/>
            <c:bubble3D val="0"/>
            <c:spPr>
              <a:solidFill>
                <a:srgbClr val="AEABAB"/>
              </a:solidFill>
            </c:spPr>
            <c:extLst>
              <c:ext xmlns:c16="http://schemas.microsoft.com/office/drawing/2014/chart" uri="{C3380CC4-5D6E-409C-BE32-E72D297353CC}">
                <c16:uniqueId val="{00000269-14BC-409D-B5DB-FA86C07758D3}"/>
              </c:ext>
            </c:extLst>
          </c:dPt>
          <c:dPt>
            <c:idx val="308"/>
            <c:invertIfNegative val="1"/>
            <c:bubble3D val="0"/>
            <c:spPr>
              <a:solidFill>
                <a:srgbClr val="AEABAB"/>
              </a:solidFill>
            </c:spPr>
            <c:extLst>
              <c:ext xmlns:c16="http://schemas.microsoft.com/office/drawing/2014/chart" uri="{C3380CC4-5D6E-409C-BE32-E72D297353CC}">
                <c16:uniqueId val="{0000026B-14BC-409D-B5DB-FA86C07758D3}"/>
              </c:ext>
            </c:extLst>
          </c:dPt>
          <c:dPt>
            <c:idx val="309"/>
            <c:invertIfNegative val="1"/>
            <c:bubble3D val="0"/>
            <c:spPr>
              <a:solidFill>
                <a:srgbClr val="AEABAB"/>
              </a:solidFill>
            </c:spPr>
            <c:extLst>
              <c:ext xmlns:c16="http://schemas.microsoft.com/office/drawing/2014/chart" uri="{C3380CC4-5D6E-409C-BE32-E72D297353CC}">
                <c16:uniqueId val="{0000026D-14BC-409D-B5DB-FA86C07758D3}"/>
              </c:ext>
            </c:extLst>
          </c:dPt>
          <c:dPt>
            <c:idx val="310"/>
            <c:invertIfNegative val="1"/>
            <c:bubble3D val="0"/>
            <c:spPr>
              <a:solidFill>
                <a:srgbClr val="AEABAB"/>
              </a:solidFill>
            </c:spPr>
            <c:extLst>
              <c:ext xmlns:c16="http://schemas.microsoft.com/office/drawing/2014/chart" uri="{C3380CC4-5D6E-409C-BE32-E72D297353CC}">
                <c16:uniqueId val="{0000026F-14BC-409D-B5DB-FA86C07758D3}"/>
              </c:ext>
            </c:extLst>
          </c:dPt>
          <c:cat>
            <c:strRef>
              <c:f>Sheet1!$A$2:$A$312</c:f>
              <c:strCache>
                <c:ptCount val="311"/>
                <c:pt idx="0">
                  <c:v>Ruinart</c:v>
                </c:pt>
                <c:pt idx="1">
                  <c:v>Nicolas</c:v>
                </c:pt>
                <c:pt idx="2">
                  <c:v>Deutz</c:v>
                </c:pt>
                <c:pt idx="3">
                  <c:v>Ruinart</c:v>
                </c:pt>
                <c:pt idx="4">
                  <c:v>Heidsieck &amp;</c:v>
                </c:pt>
                <c:pt idx="5">
                  <c:v>Malard</c:v>
                </c:pt>
                <c:pt idx="6">
                  <c:v>De Bligny</c:v>
                </c:pt>
                <c:pt idx="7">
                  <c:v>Ayala</c:v>
                </c:pt>
                <c:pt idx="8">
                  <c:v>Laurent Per</c:v>
                </c:pt>
                <c:pt idx="9">
                  <c:v>Nicolas Feu</c:v>
                </c:pt>
                <c:pt idx="10">
                  <c:v>Ruinart</c:v>
                </c:pt>
                <c:pt idx="11">
                  <c:v>Besserat De</c:v>
                </c:pt>
                <c:pt idx="12">
                  <c:v>Canard Duch</c:v>
                </c:pt>
                <c:pt idx="13">
                  <c:v>Taittinger</c:v>
                </c:pt>
                <c:pt idx="14">
                  <c:v>Ruinart</c:v>
                </c:pt>
                <c:pt idx="15">
                  <c:v>Bollinger</c:v>
                </c:pt>
                <c:pt idx="16">
                  <c:v>Demoiselle</c:v>
                </c:pt>
                <c:pt idx="17">
                  <c:v>Deutz</c:v>
                </c:pt>
                <c:pt idx="18">
                  <c:v>Ruinart</c:v>
                </c:pt>
                <c:pt idx="19">
                  <c:v>All Others</c:v>
                </c:pt>
                <c:pt idx="20">
                  <c:v>Perrier Jou</c:v>
                </c:pt>
                <c:pt idx="21">
                  <c:v>Ruinart</c:v>
                </c:pt>
                <c:pt idx="22">
                  <c:v>Vesselle</c:v>
                </c:pt>
                <c:pt idx="23">
                  <c:v>Laurent Per</c:v>
                </c:pt>
                <c:pt idx="24">
                  <c:v>Savian</c:v>
                </c:pt>
                <c:pt idx="25">
                  <c:v>Pommery</c:v>
                </c:pt>
                <c:pt idx="26">
                  <c:v>Roederer</c:v>
                </c:pt>
                <c:pt idx="27">
                  <c:v>Ruinart</c:v>
                </c:pt>
                <c:pt idx="28">
                  <c:v>Moët &amp; Chan</c:v>
                </c:pt>
                <c:pt idx="29">
                  <c:v>Malard</c:v>
                </c:pt>
                <c:pt idx="30">
                  <c:v>Taittinger</c:v>
                </c:pt>
                <c:pt idx="31">
                  <c:v>Deutz</c:v>
                </c:pt>
                <c:pt idx="32">
                  <c:v>Dom Perigno</c:v>
                </c:pt>
                <c:pt idx="33">
                  <c:v>Henriot</c:v>
                </c:pt>
                <c:pt idx="34">
                  <c:v>All Others</c:v>
                </c:pt>
                <c:pt idx="35">
                  <c:v>Veuve Clicq</c:v>
                </c:pt>
                <c:pt idx="36">
                  <c:v>De Venoge</c:v>
                </c:pt>
                <c:pt idx="37">
                  <c:v>Dom Perigno</c:v>
                </c:pt>
                <c:pt idx="38">
                  <c:v>All Others</c:v>
                </c:pt>
                <c:pt idx="39">
                  <c:v>Nicolas</c:v>
                </c:pt>
                <c:pt idx="40">
                  <c:v>Veuve Clicq</c:v>
                </c:pt>
                <c:pt idx="41">
                  <c:v>Roederer</c:v>
                </c:pt>
                <c:pt idx="42">
                  <c:v>Malard</c:v>
                </c:pt>
                <c:pt idx="43">
                  <c:v>Demoiselle</c:v>
                </c:pt>
                <c:pt idx="44">
                  <c:v>Campari: Al</c:v>
                </c:pt>
                <c:pt idx="45">
                  <c:v>Besserat De</c:v>
                </c:pt>
                <c:pt idx="46">
                  <c:v>Veuve Clicq</c:v>
                </c:pt>
                <c:pt idx="47">
                  <c:v>Ruinart</c:v>
                </c:pt>
                <c:pt idx="48">
                  <c:v>Laurent Per</c:v>
                </c:pt>
                <c:pt idx="49">
                  <c:v>Nicolas</c:v>
                </c:pt>
                <c:pt idx="50">
                  <c:v>Moët &amp; Chan</c:v>
                </c:pt>
                <c:pt idx="51">
                  <c:v>Deutz</c:v>
                </c:pt>
                <c:pt idx="52">
                  <c:v>Piper Heids</c:v>
                </c:pt>
                <c:pt idx="53">
                  <c:v>Nicolas</c:v>
                </c:pt>
                <c:pt idx="54">
                  <c:v>Ruinart</c:v>
                </c:pt>
                <c:pt idx="55">
                  <c:v>Nicolas Feu</c:v>
                </c:pt>
                <c:pt idx="56">
                  <c:v>De Bligny</c:v>
                </c:pt>
                <c:pt idx="57">
                  <c:v>Nicolas Feu</c:v>
                </c:pt>
                <c:pt idx="58">
                  <c:v>Lanson</c:v>
                </c:pt>
                <c:pt idx="59">
                  <c:v>Nicolas Feu</c:v>
                </c:pt>
                <c:pt idx="60">
                  <c:v>Louis Marti</c:v>
                </c:pt>
                <c:pt idx="61">
                  <c:v>Moët &amp; Chan</c:v>
                </c:pt>
                <c:pt idx="62">
                  <c:v>Henriot</c:v>
                </c:pt>
                <c:pt idx="63">
                  <c:v>Canard Duch</c:v>
                </c:pt>
                <c:pt idx="64">
                  <c:v>Malard</c:v>
                </c:pt>
                <c:pt idx="65">
                  <c:v>Bollinger</c:v>
                </c:pt>
                <c:pt idx="66">
                  <c:v>Campari: Al</c:v>
                </c:pt>
                <c:pt idx="67">
                  <c:v>Henriot</c:v>
                </c:pt>
                <c:pt idx="68">
                  <c:v>Malard</c:v>
                </c:pt>
                <c:pt idx="69">
                  <c:v>Delamotte</c:v>
                </c:pt>
                <c:pt idx="70">
                  <c:v>Pommery</c:v>
                </c:pt>
                <c:pt idx="71">
                  <c:v>Besserat De</c:v>
                </c:pt>
                <c:pt idx="72">
                  <c:v>De Venoge</c:v>
                </c:pt>
                <c:pt idx="73">
                  <c:v>Roederer</c:v>
                </c:pt>
                <c:pt idx="74">
                  <c:v>Ayala</c:v>
                </c:pt>
                <c:pt idx="75">
                  <c:v>Krug</c:v>
                </c:pt>
                <c:pt idx="76">
                  <c:v>Canard Duch</c:v>
                </c:pt>
                <c:pt idx="77">
                  <c:v>De Venoge</c:v>
                </c:pt>
                <c:pt idx="78">
                  <c:v>Laurent Per</c:v>
                </c:pt>
                <c:pt idx="79">
                  <c:v>Ruinart</c:v>
                </c:pt>
                <c:pt idx="80">
                  <c:v>Roederer</c:v>
                </c:pt>
                <c:pt idx="81">
                  <c:v>Henriot</c:v>
                </c:pt>
                <c:pt idx="82">
                  <c:v>Vranken</c:v>
                </c:pt>
                <c:pt idx="83">
                  <c:v>Roederer</c:v>
                </c:pt>
                <c:pt idx="84">
                  <c:v>Malard</c:v>
                </c:pt>
                <c:pt idx="85">
                  <c:v>Nicolas</c:v>
                </c:pt>
                <c:pt idx="86">
                  <c:v>De Venoge</c:v>
                </c:pt>
                <c:pt idx="87">
                  <c:v>Ruinart</c:v>
                </c:pt>
                <c:pt idx="88">
                  <c:v>Vranken</c:v>
                </c:pt>
                <c:pt idx="89">
                  <c:v>Ruinart</c:v>
                </c:pt>
                <c:pt idx="90">
                  <c:v>Canard Duch</c:v>
                </c:pt>
                <c:pt idx="91">
                  <c:v>Nicolas</c:v>
                </c:pt>
                <c:pt idx="92">
                  <c:v>Veuve Clicq</c:v>
                </c:pt>
                <c:pt idx="93">
                  <c:v>Ruinart</c:v>
                </c:pt>
                <c:pt idx="94">
                  <c:v>Ruinart</c:v>
                </c:pt>
                <c:pt idx="95">
                  <c:v>Roederer</c:v>
                </c:pt>
                <c:pt idx="96">
                  <c:v>Roederer</c:v>
                </c:pt>
                <c:pt idx="97">
                  <c:v>Roederer</c:v>
                </c:pt>
                <c:pt idx="98">
                  <c:v>All Others</c:v>
                </c:pt>
                <c:pt idx="99">
                  <c:v>Nicolas</c:v>
                </c:pt>
                <c:pt idx="100">
                  <c:v>Deutz</c:v>
                </c:pt>
                <c:pt idx="101">
                  <c:v>Nicolas</c:v>
                </c:pt>
                <c:pt idx="102">
                  <c:v>Canard Duch</c:v>
                </c:pt>
                <c:pt idx="103">
                  <c:v>All Others</c:v>
                </c:pt>
                <c:pt idx="104">
                  <c:v>Roederer</c:v>
                </c:pt>
                <c:pt idx="105">
                  <c:v>Roederer</c:v>
                </c:pt>
                <c:pt idx="106">
                  <c:v>Bollinger</c:v>
                </c:pt>
                <c:pt idx="107">
                  <c:v>Moët &amp; Chan</c:v>
                </c:pt>
                <c:pt idx="108">
                  <c:v>Bollinger</c:v>
                </c:pt>
                <c:pt idx="109">
                  <c:v>Nicolas</c:v>
                </c:pt>
                <c:pt idx="110">
                  <c:v>Dom Perigno</c:v>
                </c:pt>
                <c:pt idx="111">
                  <c:v>Bollinger</c:v>
                </c:pt>
                <c:pt idx="112">
                  <c:v>All Others</c:v>
                </c:pt>
                <c:pt idx="113">
                  <c:v>Nicolas Feu</c:v>
                </c:pt>
                <c:pt idx="114">
                  <c:v>Perrier Jou</c:v>
                </c:pt>
                <c:pt idx="115">
                  <c:v>Laurent Per</c:v>
                </c:pt>
                <c:pt idx="116">
                  <c:v>All Others</c:v>
                </c:pt>
                <c:pt idx="117">
                  <c:v>Pommery</c:v>
                </c:pt>
                <c:pt idx="118">
                  <c:v>Nicolas</c:v>
                </c:pt>
                <c:pt idx="119">
                  <c:v>Roederer</c:v>
                </c:pt>
                <c:pt idx="120">
                  <c:v>Nicolas</c:v>
                </c:pt>
                <c:pt idx="121">
                  <c:v>Nicolas</c:v>
                </c:pt>
                <c:pt idx="122">
                  <c:v>Demoiselle</c:v>
                </c:pt>
                <c:pt idx="123">
                  <c:v>Deutz</c:v>
                </c:pt>
                <c:pt idx="124">
                  <c:v>Besserat De</c:v>
                </c:pt>
                <c:pt idx="125">
                  <c:v>Pommery</c:v>
                </c:pt>
                <c:pt idx="126">
                  <c:v>Ruinart</c:v>
                </c:pt>
                <c:pt idx="127">
                  <c:v>Canard Duch</c:v>
                </c:pt>
                <c:pt idx="128">
                  <c:v>Dom Perigno</c:v>
                </c:pt>
                <c:pt idx="129">
                  <c:v>Nicolas</c:v>
                </c:pt>
                <c:pt idx="130">
                  <c:v>Lanson</c:v>
                </c:pt>
                <c:pt idx="131">
                  <c:v>Roederer</c:v>
                </c:pt>
                <c:pt idx="132">
                  <c:v>Nicolas</c:v>
                </c:pt>
                <c:pt idx="133">
                  <c:v>Laurent Per</c:v>
                </c:pt>
                <c:pt idx="134">
                  <c:v>Laurent Per</c:v>
                </c:pt>
                <c:pt idx="135">
                  <c:v>Roederer</c:v>
                </c:pt>
                <c:pt idx="136">
                  <c:v>Taittinger</c:v>
                </c:pt>
                <c:pt idx="137">
                  <c:v>All Others</c:v>
                </c:pt>
                <c:pt idx="138">
                  <c:v>Nicolas</c:v>
                </c:pt>
                <c:pt idx="139">
                  <c:v>Laurent Per</c:v>
                </c:pt>
                <c:pt idx="140">
                  <c:v>Vesselle</c:v>
                </c:pt>
                <c:pt idx="141">
                  <c:v>Ruinart</c:v>
                </c:pt>
                <c:pt idx="142">
                  <c:v>Deutz</c:v>
                </c:pt>
                <c:pt idx="143">
                  <c:v>Pommery</c:v>
                </c:pt>
                <c:pt idx="144">
                  <c:v>Ruinart</c:v>
                </c:pt>
                <c:pt idx="145">
                  <c:v>Demoiselle</c:v>
                </c:pt>
                <c:pt idx="146">
                  <c:v>Roederer</c:v>
                </c:pt>
                <c:pt idx="147">
                  <c:v>Louis Marti</c:v>
                </c:pt>
                <c:pt idx="148">
                  <c:v>Ayala</c:v>
                </c:pt>
                <c:pt idx="149">
                  <c:v>Vranken</c:v>
                </c:pt>
                <c:pt idx="150">
                  <c:v>Piper Heids</c:v>
                </c:pt>
                <c:pt idx="151">
                  <c:v>Nicolas</c:v>
                </c:pt>
                <c:pt idx="152">
                  <c:v>Nicolas</c:v>
                </c:pt>
                <c:pt idx="153">
                  <c:v>Perrier Jou</c:v>
                </c:pt>
                <c:pt idx="154">
                  <c:v>Canard Duch</c:v>
                </c:pt>
                <c:pt idx="155">
                  <c:v>Besserat De</c:v>
                </c:pt>
                <c:pt idx="156">
                  <c:v>Roederer</c:v>
                </c:pt>
                <c:pt idx="157">
                  <c:v>Ruinart</c:v>
                </c:pt>
                <c:pt idx="158">
                  <c:v>Nicolas</c:v>
                </c:pt>
                <c:pt idx="159">
                  <c:v>Ruinart</c:v>
                </c:pt>
                <c:pt idx="160">
                  <c:v>Vesselle</c:v>
                </c:pt>
                <c:pt idx="161">
                  <c:v>Moët &amp; Chan</c:v>
                </c:pt>
                <c:pt idx="162">
                  <c:v>Piper Heids</c:v>
                </c:pt>
                <c:pt idx="163">
                  <c:v>Delamotte</c:v>
                </c:pt>
                <c:pt idx="164">
                  <c:v>Henriot</c:v>
                </c:pt>
                <c:pt idx="165">
                  <c:v>Pommery</c:v>
                </c:pt>
                <c:pt idx="166">
                  <c:v>Moët &amp; Chan</c:v>
                </c:pt>
                <c:pt idx="167">
                  <c:v>Ruinart</c:v>
                </c:pt>
                <c:pt idx="168">
                  <c:v>Malard</c:v>
                </c:pt>
                <c:pt idx="169">
                  <c:v>Bollinger</c:v>
                </c:pt>
                <c:pt idx="170">
                  <c:v>Taittinger</c:v>
                </c:pt>
                <c:pt idx="171">
                  <c:v>All Others</c:v>
                </c:pt>
                <c:pt idx="172">
                  <c:v>All Others</c:v>
                </c:pt>
                <c:pt idx="173">
                  <c:v>Nicolas</c:v>
                </c:pt>
                <c:pt idx="174">
                  <c:v>Roederer</c:v>
                </c:pt>
                <c:pt idx="175">
                  <c:v>Moët &amp; Chan</c:v>
                </c:pt>
                <c:pt idx="176">
                  <c:v>All Others</c:v>
                </c:pt>
                <c:pt idx="177">
                  <c:v>Nicolas</c:v>
                </c:pt>
                <c:pt idx="178">
                  <c:v>Taittinger</c:v>
                </c:pt>
                <c:pt idx="179">
                  <c:v>Henriot</c:v>
                </c:pt>
                <c:pt idx="180">
                  <c:v>Ruinart</c:v>
                </c:pt>
                <c:pt idx="181">
                  <c:v>Deutz</c:v>
                </c:pt>
                <c:pt idx="182">
                  <c:v>Veuve Clicq</c:v>
                </c:pt>
                <c:pt idx="183">
                  <c:v>De Venoge</c:v>
                </c:pt>
                <c:pt idx="184">
                  <c:v>Nicolas Feu</c:v>
                </c:pt>
                <c:pt idx="185">
                  <c:v>All Others</c:v>
                </c:pt>
                <c:pt idx="186">
                  <c:v>All Others</c:v>
                </c:pt>
                <c:pt idx="187">
                  <c:v>Canard Duch</c:v>
                </c:pt>
                <c:pt idx="188">
                  <c:v>All Others</c:v>
                </c:pt>
                <c:pt idx="189">
                  <c:v>Laurent Per</c:v>
                </c:pt>
                <c:pt idx="190">
                  <c:v>Piper Heids</c:v>
                </c:pt>
                <c:pt idx="191">
                  <c:v>Ruinart</c:v>
                </c:pt>
                <c:pt idx="192">
                  <c:v>Roederer</c:v>
                </c:pt>
                <c:pt idx="193">
                  <c:v>Veuve Clicq</c:v>
                </c:pt>
                <c:pt idx="194">
                  <c:v>Canard Duch</c:v>
                </c:pt>
                <c:pt idx="195">
                  <c:v>Nicolas</c:v>
                </c:pt>
                <c:pt idx="196">
                  <c:v>Ruinart</c:v>
                </c:pt>
                <c:pt idx="197">
                  <c:v>All Others</c:v>
                </c:pt>
                <c:pt idx="198">
                  <c:v>Piper Heids</c:v>
                </c:pt>
                <c:pt idx="199">
                  <c:v>All Others</c:v>
                </c:pt>
                <c:pt idx="200">
                  <c:v>Laurent Per</c:v>
                </c:pt>
                <c:pt idx="201">
                  <c:v>De Venoge</c:v>
                </c:pt>
                <c:pt idx="202">
                  <c:v>Roederer</c:v>
                </c:pt>
                <c:pt idx="203">
                  <c:v>Roederer</c:v>
                </c:pt>
                <c:pt idx="204">
                  <c:v>Deutz</c:v>
                </c:pt>
                <c:pt idx="205">
                  <c:v>All Others</c:v>
                </c:pt>
                <c:pt idx="206">
                  <c:v>Perrier Jou</c:v>
                </c:pt>
                <c:pt idx="207">
                  <c:v>Ruinart</c:v>
                </c:pt>
                <c:pt idx="208">
                  <c:v>All Others</c:v>
                </c:pt>
                <c:pt idx="209">
                  <c:v>Pommery</c:v>
                </c:pt>
                <c:pt idx="210">
                  <c:v>Laurent Per</c:v>
                </c:pt>
                <c:pt idx="211">
                  <c:v>Dom Perigno</c:v>
                </c:pt>
                <c:pt idx="212">
                  <c:v>Bollinger</c:v>
                </c:pt>
                <c:pt idx="213">
                  <c:v>De Venoge</c:v>
                </c:pt>
                <c:pt idx="214">
                  <c:v>De Venoge</c:v>
                </c:pt>
                <c:pt idx="215">
                  <c:v>Malard</c:v>
                </c:pt>
                <c:pt idx="216">
                  <c:v>All Others</c:v>
                </c:pt>
                <c:pt idx="217">
                  <c:v>All Others</c:v>
                </c:pt>
                <c:pt idx="218">
                  <c:v>All Others</c:v>
                </c:pt>
                <c:pt idx="219">
                  <c:v>Bollinger</c:v>
                </c:pt>
                <c:pt idx="220">
                  <c:v>All Others</c:v>
                </c:pt>
                <c:pt idx="221">
                  <c:v>De Bligny</c:v>
                </c:pt>
                <c:pt idx="222">
                  <c:v>Dom Perigno</c:v>
                </c:pt>
                <c:pt idx="223">
                  <c:v>Laurent Per</c:v>
                </c:pt>
                <c:pt idx="224">
                  <c:v>Martel</c:v>
                </c:pt>
                <c:pt idx="225">
                  <c:v>Bollinger</c:v>
                </c:pt>
                <c:pt idx="226">
                  <c:v>Roederer</c:v>
                </c:pt>
                <c:pt idx="227">
                  <c:v>Bollinger</c:v>
                </c:pt>
                <c:pt idx="228">
                  <c:v>Perrier Jou</c:v>
                </c:pt>
                <c:pt idx="229">
                  <c:v>De Venoge</c:v>
                </c:pt>
                <c:pt idx="230">
                  <c:v>De Venoge</c:v>
                </c:pt>
                <c:pt idx="231">
                  <c:v>All Others</c:v>
                </c:pt>
                <c:pt idx="232">
                  <c:v>Besserat De</c:v>
                </c:pt>
                <c:pt idx="233">
                  <c:v>Ayala</c:v>
                </c:pt>
                <c:pt idx="234">
                  <c:v>De Bligny</c:v>
                </c:pt>
                <c:pt idx="235">
                  <c:v>Bollinger</c:v>
                </c:pt>
                <c:pt idx="236">
                  <c:v>All Others</c:v>
                </c:pt>
                <c:pt idx="237">
                  <c:v>All Others</c:v>
                </c:pt>
                <c:pt idx="238">
                  <c:v>Moët &amp; Chan</c:v>
                </c:pt>
                <c:pt idx="239">
                  <c:v>All Others</c:v>
                </c:pt>
                <c:pt idx="240">
                  <c:v>Pommery</c:v>
                </c:pt>
                <c:pt idx="241">
                  <c:v>Deutz</c:v>
                </c:pt>
                <c:pt idx="242">
                  <c:v>Bollinger</c:v>
                </c:pt>
                <c:pt idx="243">
                  <c:v>Pommery</c:v>
                </c:pt>
                <c:pt idx="244">
                  <c:v>Bollinger</c:v>
                </c:pt>
                <c:pt idx="245">
                  <c:v>All Others</c:v>
                </c:pt>
                <c:pt idx="246">
                  <c:v>Roederer</c:v>
                </c:pt>
                <c:pt idx="247">
                  <c:v>Veuve Clicq</c:v>
                </c:pt>
                <c:pt idx="248">
                  <c:v>De Venoge</c:v>
                </c:pt>
                <c:pt idx="249">
                  <c:v>All Others</c:v>
                </c:pt>
                <c:pt idx="250">
                  <c:v>Dom Perigno</c:v>
                </c:pt>
                <c:pt idx="251">
                  <c:v>Taittinger</c:v>
                </c:pt>
                <c:pt idx="252">
                  <c:v>Roederer</c:v>
                </c:pt>
                <c:pt idx="253">
                  <c:v>Ruinart</c:v>
                </c:pt>
                <c:pt idx="254">
                  <c:v>Roederer</c:v>
                </c:pt>
                <c:pt idx="255">
                  <c:v>Besserat De</c:v>
                </c:pt>
                <c:pt idx="256">
                  <c:v>Roederer</c:v>
                </c:pt>
                <c:pt idx="257">
                  <c:v>Ruinart</c:v>
                </c:pt>
                <c:pt idx="258">
                  <c:v>Roederer</c:v>
                </c:pt>
                <c:pt idx="259">
                  <c:v>Besserat De</c:v>
                </c:pt>
                <c:pt idx="260">
                  <c:v>Ruinart</c:v>
                </c:pt>
                <c:pt idx="261">
                  <c:v>Veuve Clicq</c:v>
                </c:pt>
                <c:pt idx="262">
                  <c:v>Veuve Clicq</c:v>
                </c:pt>
                <c:pt idx="263">
                  <c:v>Malard</c:v>
                </c:pt>
                <c:pt idx="264">
                  <c:v>Ruinart</c:v>
                </c:pt>
                <c:pt idx="265">
                  <c:v>All Others</c:v>
                </c:pt>
                <c:pt idx="266">
                  <c:v>Demoiselle</c:v>
                </c:pt>
                <c:pt idx="267">
                  <c:v>Perrier Jou</c:v>
                </c:pt>
                <c:pt idx="268">
                  <c:v>Perrier Jou</c:v>
                </c:pt>
                <c:pt idx="269">
                  <c:v>Veuve Clicq</c:v>
                </c:pt>
                <c:pt idx="270">
                  <c:v>Pommery</c:v>
                </c:pt>
                <c:pt idx="271">
                  <c:v>All Others</c:v>
                </c:pt>
                <c:pt idx="272">
                  <c:v>All Others</c:v>
                </c:pt>
                <c:pt idx="273">
                  <c:v>Malard</c:v>
                </c:pt>
                <c:pt idx="274">
                  <c:v>Ruinart</c:v>
                </c:pt>
                <c:pt idx="275">
                  <c:v>Ruinart</c:v>
                </c:pt>
                <c:pt idx="276">
                  <c:v>Nicolas</c:v>
                </c:pt>
                <c:pt idx="277">
                  <c:v>Roederer</c:v>
                </c:pt>
                <c:pt idx="278">
                  <c:v>Laurent Per</c:v>
                </c:pt>
                <c:pt idx="279">
                  <c:v>Roederer</c:v>
                </c:pt>
                <c:pt idx="280">
                  <c:v>Lanson</c:v>
                </c:pt>
                <c:pt idx="281">
                  <c:v>Roederer</c:v>
                </c:pt>
                <c:pt idx="282">
                  <c:v>Veuve Clicq</c:v>
                </c:pt>
                <c:pt idx="283">
                  <c:v>Roederer</c:v>
                </c:pt>
                <c:pt idx="284">
                  <c:v>Moët &amp; Chan</c:v>
                </c:pt>
                <c:pt idx="285">
                  <c:v>Delamotte</c:v>
                </c:pt>
                <c:pt idx="286">
                  <c:v>Roederer</c:v>
                </c:pt>
                <c:pt idx="287">
                  <c:v>Laurent Per</c:v>
                </c:pt>
                <c:pt idx="288">
                  <c:v>All Others</c:v>
                </c:pt>
                <c:pt idx="289">
                  <c:v>Roederer</c:v>
                </c:pt>
                <c:pt idx="290">
                  <c:v>Veuve Clicq</c:v>
                </c:pt>
                <c:pt idx="291">
                  <c:v>Roederer</c:v>
                </c:pt>
                <c:pt idx="292">
                  <c:v>Demoiselle</c:v>
                </c:pt>
                <c:pt idx="293">
                  <c:v>Besserat De</c:v>
                </c:pt>
                <c:pt idx="294">
                  <c:v>Besserat De</c:v>
                </c:pt>
                <c:pt idx="295">
                  <c:v>Roederer</c:v>
                </c:pt>
                <c:pt idx="296">
                  <c:v>Laurent Per</c:v>
                </c:pt>
                <c:pt idx="297">
                  <c:v>Malard</c:v>
                </c:pt>
                <c:pt idx="298">
                  <c:v>Ayala</c:v>
                </c:pt>
                <c:pt idx="299">
                  <c:v>Vranken Pom</c:v>
                </c:pt>
                <c:pt idx="300">
                  <c:v>Laurent Per</c:v>
                </c:pt>
                <c:pt idx="301">
                  <c:v>Roederer</c:v>
                </c:pt>
                <c:pt idx="302">
                  <c:v>Delamotte</c:v>
                </c:pt>
                <c:pt idx="303">
                  <c:v>Demoiselle</c:v>
                </c:pt>
                <c:pt idx="304">
                  <c:v>Lanson</c:v>
                </c:pt>
                <c:pt idx="305">
                  <c:v>Pommery</c:v>
                </c:pt>
                <c:pt idx="306">
                  <c:v>Malard</c:v>
                </c:pt>
                <c:pt idx="307">
                  <c:v>Pommery</c:v>
                </c:pt>
                <c:pt idx="308">
                  <c:v>All Others</c:v>
                </c:pt>
                <c:pt idx="309">
                  <c:v>Lanson</c:v>
                </c:pt>
                <c:pt idx="310">
                  <c:v>Roederer</c:v>
                </c:pt>
              </c:strCache>
            </c:strRef>
          </c:cat>
          <c:val>
            <c:numRef>
              <c:f>Sheet1!$C$2:$C$312</c:f>
              <c:numCache>
                <c:formatCode>General</c:formatCode>
                <c:ptCount val="311"/>
                <c:pt idx="0">
                  <c:v>0.10687419183750597</c:v>
                </c:pt>
                <c:pt idx="1">
                  <c:v>0.17253190535811791</c:v>
                </c:pt>
                <c:pt idx="2">
                  <c:v>0.22729398978485307</c:v>
                </c:pt>
                <c:pt idx="3">
                  <c:v>0.27699643848629329</c:v>
                </c:pt>
                <c:pt idx="4">
                  <c:v>0.31344621398384526</c:v>
                </c:pt>
                <c:pt idx="5">
                  <c:v>0.34921092041641622</c:v>
                </c:pt>
                <c:pt idx="6">
                  <c:v>0.37924081540217297</c:v>
                </c:pt>
                <c:pt idx="7">
                  <c:v>0.40676202830449593</c:v>
                </c:pt>
                <c:pt idx="8">
                  <c:v>0.43405011805906635</c:v>
                </c:pt>
                <c:pt idx="9">
                  <c:v>0.46128199563487704</c:v>
                </c:pt>
                <c:pt idx="10">
                  <c:v>0.48276269277741862</c:v>
                </c:pt>
                <c:pt idx="11">
                  <c:v>0.50403652910212426</c:v>
                </c:pt>
                <c:pt idx="12">
                  <c:v>0.52409096587543003</c:v>
                </c:pt>
                <c:pt idx="13">
                  <c:v>0.54320661429370476</c:v>
                </c:pt>
                <c:pt idx="14">
                  <c:v>0.55997718055360812</c:v>
                </c:pt>
                <c:pt idx="15">
                  <c:v>0.57615990233291337</c:v>
                </c:pt>
                <c:pt idx="16">
                  <c:v>0.59142020474364232</c:v>
                </c:pt>
                <c:pt idx="17">
                  <c:v>0.60412847423867799</c:v>
                </c:pt>
                <c:pt idx="18">
                  <c:v>0.61646241559291659</c:v>
                </c:pt>
                <c:pt idx="19">
                  <c:v>0.6279394135243983</c:v>
                </c:pt>
                <c:pt idx="20">
                  <c:v>0.63933483634206389</c:v>
                </c:pt>
                <c:pt idx="21">
                  <c:v>0.65030601460419379</c:v>
                </c:pt>
                <c:pt idx="22">
                  <c:v>0.6601301946011664</c:v>
                </c:pt>
                <c:pt idx="23">
                  <c:v>0.66931481491308198</c:v>
                </c:pt>
                <c:pt idx="24">
                  <c:v>0.67766947364804531</c:v>
                </c:pt>
                <c:pt idx="25">
                  <c:v>0.68599840969000825</c:v>
                </c:pt>
                <c:pt idx="26">
                  <c:v>0.69393107235658624</c:v>
                </c:pt>
                <c:pt idx="27">
                  <c:v>0.70174933199695244</c:v>
                </c:pt>
                <c:pt idx="28">
                  <c:v>0.70901230525065817</c:v>
                </c:pt>
                <c:pt idx="29">
                  <c:v>0.71627168092492322</c:v>
                </c:pt>
                <c:pt idx="30">
                  <c:v>0.72338571438978705</c:v>
                </c:pt>
                <c:pt idx="31">
                  <c:v>0.73016670193793498</c:v>
                </c:pt>
                <c:pt idx="32">
                  <c:v>0.73625614477810886</c:v>
                </c:pt>
                <c:pt idx="33">
                  <c:v>0.74226239359371826</c:v>
                </c:pt>
                <c:pt idx="34">
                  <c:v>0.74823050806725699</c:v>
                </c:pt>
                <c:pt idx="35">
                  <c:v>0.75419088774499843</c:v>
                </c:pt>
                <c:pt idx="36">
                  <c:v>0.7600982930654766</c:v>
                </c:pt>
                <c:pt idx="37">
                  <c:v>0.76598132478524461</c:v>
                </c:pt>
                <c:pt idx="38">
                  <c:v>0.77184807745804374</c:v>
                </c:pt>
                <c:pt idx="39">
                  <c:v>0.77765187249063195</c:v>
                </c:pt>
                <c:pt idx="40">
                  <c:v>0.78342868567741553</c:v>
                </c:pt>
                <c:pt idx="41">
                  <c:v>0.78902148267581107</c:v>
                </c:pt>
                <c:pt idx="42">
                  <c:v>0.79460699457583939</c:v>
                </c:pt>
                <c:pt idx="43">
                  <c:v>0.80018684028824871</c:v>
                </c:pt>
                <c:pt idx="44">
                  <c:v>0.80534792775376929</c:v>
                </c:pt>
                <c:pt idx="45">
                  <c:v>0.81047375894077178</c:v>
                </c:pt>
                <c:pt idx="46">
                  <c:v>0.81553573309270311</c:v>
                </c:pt>
                <c:pt idx="47">
                  <c:v>0.8203724987716513</c:v>
                </c:pt>
                <c:pt idx="48">
                  <c:v>0.8251976622569035</c:v>
                </c:pt>
                <c:pt idx="49">
                  <c:v>0.829960857436291</c:v>
                </c:pt>
                <c:pt idx="50">
                  <c:v>0.83439631312863749</c:v>
                </c:pt>
                <c:pt idx="51">
                  <c:v>0.83867203629382026</c:v>
                </c:pt>
                <c:pt idx="52">
                  <c:v>0.84274044894373701</c:v>
                </c:pt>
                <c:pt idx="53">
                  <c:v>0.84672260962656476</c:v>
                </c:pt>
                <c:pt idx="54">
                  <c:v>0.85064235230609764</c:v>
                </c:pt>
                <c:pt idx="55">
                  <c:v>0.85426421540794684</c:v>
                </c:pt>
                <c:pt idx="56">
                  <c:v>0.85777032639129391</c:v>
                </c:pt>
                <c:pt idx="57">
                  <c:v>0.86120538518068868</c:v>
                </c:pt>
                <c:pt idx="58">
                  <c:v>0.8646176892801215</c:v>
                </c:pt>
                <c:pt idx="59">
                  <c:v>0.86802468694987933</c:v>
                </c:pt>
                <c:pt idx="60">
                  <c:v>0.87133643870394661</c:v>
                </c:pt>
                <c:pt idx="61">
                  <c:v>0.87451499007922484</c:v>
                </c:pt>
                <c:pt idx="62">
                  <c:v>0.87765657632575056</c:v>
                </c:pt>
                <c:pt idx="63">
                  <c:v>0.88077288957670596</c:v>
                </c:pt>
                <c:pt idx="64">
                  <c:v>0.88379224806173651</c:v>
                </c:pt>
                <c:pt idx="65">
                  <c:v>0.886799824474099</c:v>
                </c:pt>
                <c:pt idx="66">
                  <c:v>0.88977529248995391</c:v>
                </c:pt>
                <c:pt idx="67">
                  <c:v>0.8927363701880463</c:v>
                </c:pt>
                <c:pt idx="68">
                  <c:v>0.89567298434594245</c:v>
                </c:pt>
                <c:pt idx="69">
                  <c:v>0.89860564116645392</c:v>
                </c:pt>
                <c:pt idx="70">
                  <c:v>0.90127261674527526</c:v>
                </c:pt>
                <c:pt idx="71">
                  <c:v>0.90385585866261597</c:v>
                </c:pt>
                <c:pt idx="72">
                  <c:v>0.90612278340763974</c:v>
                </c:pt>
                <c:pt idx="73">
                  <c:v>0.90832881912063101</c:v>
                </c:pt>
                <c:pt idx="74">
                  <c:v>0.91053044779880743</c:v>
                </c:pt>
                <c:pt idx="75">
                  <c:v>0.91271399864029479</c:v>
                </c:pt>
                <c:pt idx="76">
                  <c:v>0.91482721680371792</c:v>
                </c:pt>
                <c:pt idx="77">
                  <c:v>0.9169378267220466</c:v>
                </c:pt>
                <c:pt idx="78">
                  <c:v>0.91902685116373151</c:v>
                </c:pt>
                <c:pt idx="79">
                  <c:v>0.92110913014396523</c:v>
                </c:pt>
                <c:pt idx="80">
                  <c:v>0.92294929202784493</c:v>
                </c:pt>
                <c:pt idx="81">
                  <c:v>0.92475887448647931</c:v>
                </c:pt>
                <c:pt idx="82">
                  <c:v>0.92653724794346626</c:v>
                </c:pt>
                <c:pt idx="83">
                  <c:v>0.92830707714928173</c:v>
                </c:pt>
                <c:pt idx="84">
                  <c:v>0.93002698994035848</c:v>
                </c:pt>
                <c:pt idx="85">
                  <c:v>0.93173646975105751</c:v>
                </c:pt>
                <c:pt idx="86">
                  <c:v>0.93342517354048682</c:v>
                </c:pt>
                <c:pt idx="87">
                  <c:v>0.93511162884276577</c:v>
                </c:pt>
                <c:pt idx="88">
                  <c:v>0.93678576243546063</c:v>
                </c:pt>
                <c:pt idx="89">
                  <c:v>0.93842850714753601</c:v>
                </c:pt>
                <c:pt idx="90">
                  <c:v>0.94003149860679247</c:v>
                </c:pt>
                <c:pt idx="91">
                  <c:v>0.94158574286462848</c:v>
                </c:pt>
                <c:pt idx="92">
                  <c:v>0.94309025058669782</c:v>
                </c:pt>
                <c:pt idx="93">
                  <c:v>0.94457560119824591</c:v>
                </c:pt>
                <c:pt idx="94">
                  <c:v>0.9460221878913212</c:v>
                </c:pt>
                <c:pt idx="95">
                  <c:v>0.94740842518928003</c:v>
                </c:pt>
                <c:pt idx="96">
                  <c:v>0.94871209803907652</c:v>
                </c:pt>
                <c:pt idx="97">
                  <c:v>0.94998788964820813</c:v>
                </c:pt>
                <c:pt idx="98">
                  <c:v>0.95125999373841308</c:v>
                </c:pt>
                <c:pt idx="99">
                  <c:v>0.95250538580127142</c:v>
                </c:pt>
                <c:pt idx="100">
                  <c:v>0.95373018172183222</c:v>
                </c:pt>
                <c:pt idx="101">
                  <c:v>0.95493770926107802</c:v>
                </c:pt>
                <c:pt idx="102">
                  <c:v>0.95611960404680929</c:v>
                </c:pt>
                <c:pt idx="103">
                  <c:v>0.9572499635070536</c:v>
                </c:pt>
                <c:pt idx="104">
                  <c:v>0.95833337455559786</c:v>
                </c:pt>
                <c:pt idx="105">
                  <c:v>0.95941453711699165</c:v>
                </c:pt>
                <c:pt idx="106">
                  <c:v>0.96046925746949685</c:v>
                </c:pt>
                <c:pt idx="107">
                  <c:v>0.96149582676287915</c:v>
                </c:pt>
                <c:pt idx="108">
                  <c:v>0.962484891290593</c:v>
                </c:pt>
                <c:pt idx="109">
                  <c:v>0.96336656807200416</c:v>
                </c:pt>
                <c:pt idx="110">
                  <c:v>0.96422782859008982</c:v>
                </c:pt>
                <c:pt idx="111">
                  <c:v>0.96508531164976274</c:v>
                </c:pt>
                <c:pt idx="112">
                  <c:v>0.9659145537108268</c:v>
                </c:pt>
                <c:pt idx="113">
                  <c:v>0.96671249683075744</c:v>
                </c:pt>
                <c:pt idx="114">
                  <c:v>0.96747806173572248</c:v>
                </c:pt>
                <c:pt idx="115">
                  <c:v>0.96824155803250911</c:v>
                </c:pt>
                <c:pt idx="116">
                  <c:v>0.96899651007812426</c:v>
                </c:pt>
                <c:pt idx="117">
                  <c:v>0.96974642551252255</c:v>
                </c:pt>
                <c:pt idx="118">
                  <c:v>0.97049562143103274</c:v>
                </c:pt>
                <c:pt idx="119">
                  <c:v>0.97123132642664056</c:v>
                </c:pt>
                <c:pt idx="120">
                  <c:v>0.97195785759467479</c:v>
                </c:pt>
                <c:pt idx="121">
                  <c:v>0.97267485517719132</c:v>
                </c:pt>
                <c:pt idx="122">
                  <c:v>0.97337098679895229</c:v>
                </c:pt>
                <c:pt idx="123">
                  <c:v>0.97405893392748577</c:v>
                </c:pt>
                <c:pt idx="124">
                  <c:v>0.97474346335555073</c:v>
                </c:pt>
                <c:pt idx="125">
                  <c:v>0.97541342258688113</c:v>
                </c:pt>
                <c:pt idx="126">
                  <c:v>0.9760676424081588</c:v>
                </c:pt>
                <c:pt idx="127">
                  <c:v>0.9767203332581742</c:v>
                </c:pt>
                <c:pt idx="128">
                  <c:v>0.97735989294323133</c:v>
                </c:pt>
                <c:pt idx="129">
                  <c:v>0.97798065527571121</c:v>
                </c:pt>
                <c:pt idx="130">
                  <c:v>0.97856796011939329</c:v>
                </c:pt>
                <c:pt idx="131">
                  <c:v>0.97913817646073231</c:v>
                </c:pt>
                <c:pt idx="132">
                  <c:v>0.97969310308944868</c:v>
                </c:pt>
                <c:pt idx="133">
                  <c:v>0.98021996859852822</c:v>
                </c:pt>
                <c:pt idx="134">
                  <c:v>0.9807417974963909</c:v>
                </c:pt>
                <c:pt idx="135">
                  <c:v>0.9812631766968235</c:v>
                </c:pt>
                <c:pt idx="136">
                  <c:v>0.98178257722856377</c:v>
                </c:pt>
                <c:pt idx="137">
                  <c:v>0.98229091520352407</c:v>
                </c:pt>
                <c:pt idx="138">
                  <c:v>0.9827720914537077</c:v>
                </c:pt>
                <c:pt idx="139">
                  <c:v>0.98322637579757266</c:v>
                </c:pt>
                <c:pt idx="140">
                  <c:v>0.98363955779632839</c:v>
                </c:pt>
                <c:pt idx="141">
                  <c:v>0.98405202027919603</c:v>
                </c:pt>
                <c:pt idx="142">
                  <c:v>0.98446160469851118</c:v>
                </c:pt>
                <c:pt idx="143">
                  <c:v>0.98486903057016195</c:v>
                </c:pt>
                <c:pt idx="144">
                  <c:v>0.9852758268654106</c:v>
                </c:pt>
                <c:pt idx="145">
                  <c:v>0.98567668715458223</c:v>
                </c:pt>
                <c:pt idx="146">
                  <c:v>0.9860556022091661</c:v>
                </c:pt>
                <c:pt idx="147">
                  <c:v>0.98643244865557156</c:v>
                </c:pt>
                <c:pt idx="148">
                  <c:v>0.98680434843024611</c:v>
                </c:pt>
                <c:pt idx="149">
                  <c:v>0.98716581522454294</c:v>
                </c:pt>
                <c:pt idx="150">
                  <c:v>0.9875183780097242</c:v>
                </c:pt>
                <c:pt idx="151">
                  <c:v>0.98786185690681783</c:v>
                </c:pt>
                <c:pt idx="152">
                  <c:v>0.98820065895063869</c:v>
                </c:pt>
                <c:pt idx="153">
                  <c:v>0.98852920789305376</c:v>
                </c:pt>
                <c:pt idx="154">
                  <c:v>0.98885703731958075</c:v>
                </c:pt>
                <c:pt idx="155">
                  <c:v>0.9891800100138628</c:v>
                </c:pt>
                <c:pt idx="156">
                  <c:v>0.98947492158850803</c:v>
                </c:pt>
                <c:pt idx="157">
                  <c:v>0.98976605570474063</c:v>
                </c:pt>
                <c:pt idx="158">
                  <c:v>0.99004846569082972</c:v>
                </c:pt>
                <c:pt idx="159">
                  <c:v>0.99032718815799214</c:v>
                </c:pt>
                <c:pt idx="160">
                  <c:v>0.99058090744804217</c:v>
                </c:pt>
                <c:pt idx="161">
                  <c:v>0.99081897726752555</c:v>
                </c:pt>
                <c:pt idx="162">
                  <c:v>0.99105389920499831</c:v>
                </c:pt>
                <c:pt idx="163">
                  <c:v>0.99128612295789065</c:v>
                </c:pt>
                <c:pt idx="164">
                  <c:v>0.99151187106778982</c:v>
                </c:pt>
                <c:pt idx="165">
                  <c:v>0.99173393165876245</c:v>
                </c:pt>
                <c:pt idx="166">
                  <c:v>0.9919513153964622</c:v>
                </c:pt>
                <c:pt idx="167">
                  <c:v>0.99215952530658835</c:v>
                </c:pt>
                <c:pt idx="168">
                  <c:v>0.99235847144965494</c:v>
                </c:pt>
                <c:pt idx="169">
                  <c:v>0.99255705783477743</c:v>
                </c:pt>
                <c:pt idx="170">
                  <c:v>0.99274404202620392</c:v>
                </c:pt>
                <c:pt idx="171">
                  <c:v>0.99292527009052545</c:v>
                </c:pt>
                <c:pt idx="172">
                  <c:v>0.99308221449362266</c:v>
                </c:pt>
                <c:pt idx="173">
                  <c:v>0.99323897901774794</c:v>
                </c:pt>
                <c:pt idx="174">
                  <c:v>0.99339484414701307</c:v>
                </c:pt>
                <c:pt idx="175">
                  <c:v>0.99354989982090403</c:v>
                </c:pt>
                <c:pt idx="176">
                  <c:v>0.99370477561582293</c:v>
                </c:pt>
                <c:pt idx="177">
                  <c:v>0.99385488461798299</c:v>
                </c:pt>
                <c:pt idx="178">
                  <c:v>0.99400373446733881</c:v>
                </c:pt>
                <c:pt idx="179">
                  <c:v>0.99415204467977858</c:v>
                </c:pt>
                <c:pt idx="180">
                  <c:v>0.99429738688917979</c:v>
                </c:pt>
                <c:pt idx="181">
                  <c:v>0.99443679309250399</c:v>
                </c:pt>
                <c:pt idx="182">
                  <c:v>0.99456774498414269</c:v>
                </c:pt>
                <c:pt idx="183">
                  <c:v>0.99469123189844211</c:v>
                </c:pt>
                <c:pt idx="184">
                  <c:v>0.99481184074918905</c:v>
                </c:pt>
                <c:pt idx="185">
                  <c:v>0.99493128038661782</c:v>
                </c:pt>
                <c:pt idx="186">
                  <c:v>0.99504586329180178</c:v>
                </c:pt>
                <c:pt idx="187">
                  <c:v>0.99515963674161156</c:v>
                </c:pt>
                <c:pt idx="188">
                  <c:v>0.99527224097810307</c:v>
                </c:pt>
                <c:pt idx="189">
                  <c:v>0.99538457539613656</c:v>
                </c:pt>
                <c:pt idx="190">
                  <c:v>0.99549681987468408</c:v>
                </c:pt>
                <c:pt idx="191">
                  <c:v>0.99560879453477358</c:v>
                </c:pt>
                <c:pt idx="192">
                  <c:v>0.99571843076822664</c:v>
                </c:pt>
                <c:pt idx="193">
                  <c:v>0.99582545875658524</c:v>
                </c:pt>
                <c:pt idx="194">
                  <c:v>0.99593068795522355</c:v>
                </c:pt>
                <c:pt idx="195">
                  <c:v>0.99603222963493521</c:v>
                </c:pt>
                <c:pt idx="196">
                  <c:v>0.99613296185927269</c:v>
                </c:pt>
                <c:pt idx="197">
                  <c:v>0.99623261480977798</c:v>
                </c:pt>
                <c:pt idx="198">
                  <c:v>0.99633226776028327</c:v>
                </c:pt>
                <c:pt idx="199">
                  <c:v>0.99642940240518019</c:v>
                </c:pt>
                <c:pt idx="200">
                  <c:v>0.9965258175341889</c:v>
                </c:pt>
                <c:pt idx="201">
                  <c:v>0.99662034393399135</c:v>
                </c:pt>
                <c:pt idx="202">
                  <c:v>0.996710283420007</c:v>
                </c:pt>
                <c:pt idx="203">
                  <c:v>0.99679572593172183</c:v>
                </c:pt>
                <c:pt idx="204">
                  <c:v>0.99688116844343666</c:v>
                </c:pt>
                <c:pt idx="205">
                  <c:v>0.99696418258902908</c:v>
                </c:pt>
                <c:pt idx="206">
                  <c:v>0.9970422500628906</c:v>
                </c:pt>
                <c:pt idx="207">
                  <c:v>0.99711959802086403</c:v>
                </c:pt>
                <c:pt idx="208">
                  <c:v>0.99719586670500526</c:v>
                </c:pt>
                <c:pt idx="209">
                  <c:v>0.99727204544966053</c:v>
                </c:pt>
                <c:pt idx="210">
                  <c:v>0.99734786443637169</c:v>
                </c:pt>
                <c:pt idx="211">
                  <c:v>0.99742251420976469</c:v>
                </c:pt>
                <c:pt idx="212">
                  <c:v>0.99749518531446535</c:v>
                </c:pt>
                <c:pt idx="213">
                  <c:v>0.99756704696379184</c:v>
                </c:pt>
                <c:pt idx="214">
                  <c:v>0.99763719976288401</c:v>
                </c:pt>
                <c:pt idx="215">
                  <c:v>0.99770663304608809</c:v>
                </c:pt>
                <c:pt idx="216">
                  <c:v>0.99777471723700195</c:v>
                </c:pt>
                <c:pt idx="217">
                  <c:v>0.99783866421155909</c:v>
                </c:pt>
                <c:pt idx="218">
                  <c:v>0.99790081239639583</c:v>
                </c:pt>
                <c:pt idx="219">
                  <c:v>0.99796152154945639</c:v>
                </c:pt>
                <c:pt idx="220">
                  <c:v>0.99802034197331058</c:v>
                </c:pt>
                <c:pt idx="221">
                  <c:v>0.99807790324436052</c:v>
                </c:pt>
                <c:pt idx="222">
                  <c:v>0.99813501481798039</c:v>
                </c:pt>
                <c:pt idx="223">
                  <c:v>0.99818879863061771</c:v>
                </c:pt>
                <c:pt idx="224">
                  <c:v>0.99824240256428298</c:v>
                </c:pt>
                <c:pt idx="225">
                  <c:v>0.99829393788976994</c:v>
                </c:pt>
                <c:pt idx="226">
                  <c:v>0.99834466375988273</c:v>
                </c:pt>
                <c:pt idx="227">
                  <c:v>0.99839359084027524</c:v>
                </c:pt>
                <c:pt idx="228">
                  <c:v>0.99844035937300335</c:v>
                </c:pt>
                <c:pt idx="229">
                  <c:v>0.99848694802675941</c:v>
                </c:pt>
                <c:pt idx="230">
                  <c:v>0.99853335680154343</c:v>
                </c:pt>
                <c:pt idx="231">
                  <c:v>0.99857868630249536</c:v>
                </c:pt>
                <c:pt idx="232">
                  <c:v>0.9986235661060171</c:v>
                </c:pt>
                <c:pt idx="233">
                  <c:v>0.99866808615159486</c:v>
                </c:pt>
                <c:pt idx="234">
                  <c:v>0.99871215649974254</c:v>
                </c:pt>
                <c:pt idx="235">
                  <c:v>0.99875622684789023</c:v>
                </c:pt>
                <c:pt idx="236">
                  <c:v>0.99879849840631763</c:v>
                </c:pt>
                <c:pt idx="237">
                  <c:v>0.9988394208724547</c:v>
                </c:pt>
                <c:pt idx="238">
                  <c:v>0.99887971376218965</c:v>
                </c:pt>
                <c:pt idx="239">
                  <c:v>0.99891829780169039</c:v>
                </c:pt>
                <c:pt idx="240">
                  <c:v>0.99895553274890081</c:v>
                </c:pt>
                <c:pt idx="241">
                  <c:v>0.99899240793816724</c:v>
                </c:pt>
                <c:pt idx="242">
                  <c:v>0.99902910324846161</c:v>
                </c:pt>
                <c:pt idx="243">
                  <c:v>0.99906408970852167</c:v>
                </c:pt>
                <c:pt idx="244">
                  <c:v>0.99909808683423562</c:v>
                </c:pt>
                <c:pt idx="245">
                  <c:v>0.99913208395994957</c:v>
                </c:pt>
                <c:pt idx="246">
                  <c:v>0.99916365271954111</c:v>
                </c:pt>
                <c:pt idx="247">
                  <c:v>0.99919513153964656</c:v>
                </c:pt>
                <c:pt idx="248">
                  <c:v>0.99922427193311558</c:v>
                </c:pt>
                <c:pt idx="249">
                  <c:v>0.99925125377892032</c:v>
                </c:pt>
                <c:pt idx="250">
                  <c:v>0.99927778592729488</c:v>
                </c:pt>
                <c:pt idx="251">
                  <c:v>0.99930422813618347</c:v>
                </c:pt>
                <c:pt idx="252">
                  <c:v>0.99933040052661404</c:v>
                </c:pt>
                <c:pt idx="253">
                  <c:v>0.99935468418783824</c:v>
                </c:pt>
                <c:pt idx="254">
                  <c:v>0.99937878797009039</c:v>
                </c:pt>
                <c:pt idx="255">
                  <c:v>0.99940280181285657</c:v>
                </c:pt>
                <c:pt idx="256">
                  <c:v>0.99942654583716473</c:v>
                </c:pt>
                <c:pt idx="257">
                  <c:v>0.99944894076918267</c:v>
                </c:pt>
                <c:pt idx="258">
                  <c:v>0.99947097594325651</c:v>
                </c:pt>
                <c:pt idx="259">
                  <c:v>0.99949292117784427</c:v>
                </c:pt>
                <c:pt idx="260">
                  <c:v>0.99951450665448804</c:v>
                </c:pt>
                <c:pt idx="261">
                  <c:v>0.99953609213113181</c:v>
                </c:pt>
                <c:pt idx="262">
                  <c:v>0.99955767760777559</c:v>
                </c:pt>
                <c:pt idx="263">
                  <c:v>0.99957746429469907</c:v>
                </c:pt>
                <c:pt idx="264">
                  <c:v>0.99959716104213647</c:v>
                </c:pt>
                <c:pt idx="265">
                  <c:v>0.99961631815265783</c:v>
                </c:pt>
                <c:pt idx="266">
                  <c:v>0.99963466580780502</c:v>
                </c:pt>
                <c:pt idx="267">
                  <c:v>0.99965229394706412</c:v>
                </c:pt>
                <c:pt idx="268">
                  <c:v>0.99966938244940706</c:v>
                </c:pt>
                <c:pt idx="269">
                  <c:v>0.99968539167791781</c:v>
                </c:pt>
                <c:pt idx="270">
                  <c:v>0.99970086126951252</c:v>
                </c:pt>
                <c:pt idx="271">
                  <c:v>0.99971615098213518</c:v>
                </c:pt>
                <c:pt idx="272">
                  <c:v>0.99973135075527186</c:v>
                </c:pt>
                <c:pt idx="273">
                  <c:v>0.99974628070995042</c:v>
                </c:pt>
                <c:pt idx="274">
                  <c:v>0.99976103078565703</c:v>
                </c:pt>
                <c:pt idx="275">
                  <c:v>0.9997741619506153</c:v>
                </c:pt>
                <c:pt idx="276">
                  <c:v>0.99978603396276933</c:v>
                </c:pt>
                <c:pt idx="277">
                  <c:v>0.99979772609595141</c:v>
                </c:pt>
                <c:pt idx="278">
                  <c:v>0.99980851883427324</c:v>
                </c:pt>
                <c:pt idx="279">
                  <c:v>0.99981913169362313</c:v>
                </c:pt>
                <c:pt idx="280">
                  <c:v>0.9998287552186268</c:v>
                </c:pt>
                <c:pt idx="281">
                  <c:v>0.99983756928825629</c:v>
                </c:pt>
                <c:pt idx="282">
                  <c:v>0.99984602359994179</c:v>
                </c:pt>
                <c:pt idx="283">
                  <c:v>0.99985429803265524</c:v>
                </c:pt>
                <c:pt idx="284">
                  <c:v>0.99986239258639664</c:v>
                </c:pt>
                <c:pt idx="285">
                  <c:v>0.99987030726116599</c:v>
                </c:pt>
                <c:pt idx="286">
                  <c:v>0.99987813199644937</c:v>
                </c:pt>
                <c:pt idx="287">
                  <c:v>0.9998857768527607</c:v>
                </c:pt>
                <c:pt idx="288">
                  <c:v>0.99989279213266991</c:v>
                </c:pt>
                <c:pt idx="289">
                  <c:v>0.99989971747309314</c:v>
                </c:pt>
                <c:pt idx="290">
                  <c:v>0.99990610317660022</c:v>
                </c:pt>
                <c:pt idx="291">
                  <c:v>0.99991230900113526</c:v>
                </c:pt>
                <c:pt idx="292">
                  <c:v>0.99991824500721227</c:v>
                </c:pt>
                <c:pt idx="293">
                  <c:v>0.99992400113431723</c:v>
                </c:pt>
                <c:pt idx="294">
                  <c:v>0.9999293975034782</c:v>
                </c:pt>
                <c:pt idx="295">
                  <c:v>0.99993470393315309</c:v>
                </c:pt>
                <c:pt idx="296">
                  <c:v>0.99994001036282798</c:v>
                </c:pt>
                <c:pt idx="297">
                  <c:v>0.9999452268530169</c:v>
                </c:pt>
                <c:pt idx="298">
                  <c:v>0.99995044334320582</c:v>
                </c:pt>
                <c:pt idx="299">
                  <c:v>0.99995539001493672</c:v>
                </c:pt>
                <c:pt idx="300">
                  <c:v>0.99996006686820949</c:v>
                </c:pt>
                <c:pt idx="301">
                  <c:v>0.99996420408456621</c:v>
                </c:pt>
                <c:pt idx="302">
                  <c:v>0.99996825136143697</c:v>
                </c:pt>
                <c:pt idx="303">
                  <c:v>0.99997175900139157</c:v>
                </c:pt>
                <c:pt idx="304">
                  <c:v>0.99997526664134617</c:v>
                </c:pt>
                <c:pt idx="305">
                  <c:v>0.99997877428130078</c:v>
                </c:pt>
                <c:pt idx="306">
                  <c:v>0.99998569962172401</c:v>
                </c:pt>
                <c:pt idx="307">
                  <c:v>0.99998902738270656</c:v>
                </c:pt>
                <c:pt idx="308">
                  <c:v>0.99999208532523109</c:v>
                </c:pt>
                <c:pt idx="309">
                  <c:v>0.99999748169439207</c:v>
                </c:pt>
                <c:pt idx="310">
                  <c:v>1.000000000000000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306</c:f>
              <c:strCache>
                <c:ptCount val="305"/>
                <c:pt idx="0">
                  <c:v>Ruinart</c:v>
                </c:pt>
                <c:pt idx="1">
                  <c:v>Nicolas</c:v>
                </c:pt>
                <c:pt idx="2">
                  <c:v>Deutz</c:v>
                </c:pt>
                <c:pt idx="3">
                  <c:v>Ruinart</c:v>
                </c:pt>
                <c:pt idx="4">
                  <c:v>Heidsieck &amp;</c:v>
                </c:pt>
                <c:pt idx="5">
                  <c:v>Malard</c:v>
                </c:pt>
                <c:pt idx="6">
                  <c:v>Ayala</c:v>
                </c:pt>
                <c:pt idx="7">
                  <c:v>De Bligny</c:v>
                </c:pt>
                <c:pt idx="8">
                  <c:v>Laurent Per</c:v>
                </c:pt>
                <c:pt idx="9">
                  <c:v>Nicolas Feu</c:v>
                </c:pt>
                <c:pt idx="10">
                  <c:v>Canard Duch</c:v>
                </c:pt>
                <c:pt idx="11">
                  <c:v>Taittinger</c:v>
                </c:pt>
                <c:pt idx="12">
                  <c:v>Bollinger</c:v>
                </c:pt>
                <c:pt idx="13">
                  <c:v>Ruinart</c:v>
                </c:pt>
                <c:pt idx="14">
                  <c:v>Ruinart</c:v>
                </c:pt>
                <c:pt idx="15">
                  <c:v>Besserat De</c:v>
                </c:pt>
                <c:pt idx="16">
                  <c:v>Demoiselle</c:v>
                </c:pt>
                <c:pt idx="17">
                  <c:v>Deutz</c:v>
                </c:pt>
                <c:pt idx="18">
                  <c:v>Ruinart</c:v>
                </c:pt>
                <c:pt idx="19">
                  <c:v>Perrier Jou</c:v>
                </c:pt>
                <c:pt idx="20">
                  <c:v>Ruinart</c:v>
                </c:pt>
                <c:pt idx="21">
                  <c:v>All Others</c:v>
                </c:pt>
                <c:pt idx="22">
                  <c:v>Vesselle</c:v>
                </c:pt>
                <c:pt idx="23">
                  <c:v>Savian</c:v>
                </c:pt>
                <c:pt idx="24">
                  <c:v>Pommery</c:v>
                </c:pt>
                <c:pt idx="25">
                  <c:v>Malard</c:v>
                </c:pt>
                <c:pt idx="26">
                  <c:v>Laurent Per</c:v>
                </c:pt>
                <c:pt idx="27">
                  <c:v>Moët &amp; Chan</c:v>
                </c:pt>
                <c:pt idx="28">
                  <c:v>Nicolas</c:v>
                </c:pt>
                <c:pt idx="29">
                  <c:v>Deutz</c:v>
                </c:pt>
                <c:pt idx="30">
                  <c:v>Taittinger</c:v>
                </c:pt>
                <c:pt idx="31">
                  <c:v>Ruinart</c:v>
                </c:pt>
                <c:pt idx="32">
                  <c:v>Roederer</c:v>
                </c:pt>
                <c:pt idx="33">
                  <c:v>Demoiselle</c:v>
                </c:pt>
                <c:pt idx="34">
                  <c:v>Dom Perigno</c:v>
                </c:pt>
                <c:pt idx="35">
                  <c:v>All Others</c:v>
                </c:pt>
                <c:pt idx="36">
                  <c:v>Roederer</c:v>
                </c:pt>
                <c:pt idx="37">
                  <c:v>Ruinart</c:v>
                </c:pt>
                <c:pt idx="38">
                  <c:v>Henriot</c:v>
                </c:pt>
                <c:pt idx="39">
                  <c:v>Veuve Clicq</c:v>
                </c:pt>
                <c:pt idx="40">
                  <c:v>Nicolas</c:v>
                </c:pt>
                <c:pt idx="41">
                  <c:v>Besserat De</c:v>
                </c:pt>
                <c:pt idx="42">
                  <c:v>Campari: Al</c:v>
                </c:pt>
                <c:pt idx="43">
                  <c:v>De Venoge</c:v>
                </c:pt>
                <c:pt idx="44">
                  <c:v>Malard</c:v>
                </c:pt>
                <c:pt idx="45">
                  <c:v>Laurent Per</c:v>
                </c:pt>
                <c:pt idx="46">
                  <c:v>De Bligny</c:v>
                </c:pt>
                <c:pt idx="47">
                  <c:v>Veuve Clicq</c:v>
                </c:pt>
                <c:pt idx="48">
                  <c:v>Veuve Clicq</c:v>
                </c:pt>
                <c:pt idx="49">
                  <c:v>Malard</c:v>
                </c:pt>
                <c:pt idx="50">
                  <c:v>Nicolas Feu</c:v>
                </c:pt>
                <c:pt idx="51">
                  <c:v>Lanson</c:v>
                </c:pt>
                <c:pt idx="52">
                  <c:v>Nicolas Feu</c:v>
                </c:pt>
                <c:pt idx="53">
                  <c:v>Deutz</c:v>
                </c:pt>
                <c:pt idx="54">
                  <c:v>Ruinart</c:v>
                </c:pt>
                <c:pt idx="55">
                  <c:v>Piper Heids</c:v>
                </c:pt>
                <c:pt idx="56">
                  <c:v>Dom Perigno</c:v>
                </c:pt>
                <c:pt idx="57">
                  <c:v>Nicolas Feu</c:v>
                </c:pt>
                <c:pt idx="58">
                  <c:v>All Others</c:v>
                </c:pt>
                <c:pt idx="59">
                  <c:v>Nicolas</c:v>
                </c:pt>
                <c:pt idx="60">
                  <c:v>Moët &amp; Chan</c:v>
                </c:pt>
                <c:pt idx="61">
                  <c:v>Canard Duch</c:v>
                </c:pt>
                <c:pt idx="62">
                  <c:v>Malard</c:v>
                </c:pt>
                <c:pt idx="63">
                  <c:v>Louis Marti</c:v>
                </c:pt>
                <c:pt idx="64">
                  <c:v>Henriot</c:v>
                </c:pt>
                <c:pt idx="65">
                  <c:v>Campari: Al</c:v>
                </c:pt>
                <c:pt idx="66">
                  <c:v>Pommery</c:v>
                </c:pt>
                <c:pt idx="67">
                  <c:v>Bollinger</c:v>
                </c:pt>
                <c:pt idx="68">
                  <c:v>Canard Duch</c:v>
                </c:pt>
                <c:pt idx="69">
                  <c:v>Moët &amp; Chan</c:v>
                </c:pt>
                <c:pt idx="70">
                  <c:v>Henriot</c:v>
                </c:pt>
                <c:pt idx="71">
                  <c:v>Delamotte</c:v>
                </c:pt>
                <c:pt idx="72">
                  <c:v>De Venoge</c:v>
                </c:pt>
                <c:pt idx="73">
                  <c:v>Besserat De</c:v>
                </c:pt>
                <c:pt idx="74">
                  <c:v>Vranken</c:v>
                </c:pt>
                <c:pt idx="75">
                  <c:v>Ayala</c:v>
                </c:pt>
                <c:pt idx="76">
                  <c:v>Ruinart</c:v>
                </c:pt>
                <c:pt idx="77">
                  <c:v>Canard Duch</c:v>
                </c:pt>
                <c:pt idx="78">
                  <c:v>Veuve Clicq</c:v>
                </c:pt>
                <c:pt idx="79">
                  <c:v>Krug</c:v>
                </c:pt>
                <c:pt idx="80">
                  <c:v>Ruinart</c:v>
                </c:pt>
                <c:pt idx="81">
                  <c:v>Roederer</c:v>
                </c:pt>
                <c:pt idx="82">
                  <c:v>Roederer</c:v>
                </c:pt>
                <c:pt idx="83">
                  <c:v>Nicolas</c:v>
                </c:pt>
                <c:pt idx="84">
                  <c:v>Laurent Per</c:v>
                </c:pt>
                <c:pt idx="85">
                  <c:v>Nicolas</c:v>
                </c:pt>
                <c:pt idx="86">
                  <c:v>Ruinart</c:v>
                </c:pt>
                <c:pt idx="87">
                  <c:v>Malard</c:v>
                </c:pt>
                <c:pt idx="88">
                  <c:v>De Venoge</c:v>
                </c:pt>
                <c:pt idx="89">
                  <c:v>De Venoge</c:v>
                </c:pt>
                <c:pt idx="90">
                  <c:v>Nicolas</c:v>
                </c:pt>
                <c:pt idx="91">
                  <c:v>Vranken</c:v>
                </c:pt>
                <c:pt idx="92">
                  <c:v>Henriot</c:v>
                </c:pt>
                <c:pt idx="93">
                  <c:v>Roederer</c:v>
                </c:pt>
                <c:pt idx="94">
                  <c:v>All Others</c:v>
                </c:pt>
                <c:pt idx="95">
                  <c:v>Ruinart</c:v>
                </c:pt>
                <c:pt idx="96">
                  <c:v>Nicolas</c:v>
                </c:pt>
                <c:pt idx="97">
                  <c:v>Dom Perigno</c:v>
                </c:pt>
                <c:pt idx="98">
                  <c:v>Nicolas</c:v>
                </c:pt>
                <c:pt idx="99">
                  <c:v>Roederer</c:v>
                </c:pt>
                <c:pt idx="100">
                  <c:v>Deutz</c:v>
                </c:pt>
                <c:pt idx="101">
                  <c:v>Roederer</c:v>
                </c:pt>
                <c:pt idx="102">
                  <c:v>Canard Duch</c:v>
                </c:pt>
                <c:pt idx="103">
                  <c:v>Nicolas</c:v>
                </c:pt>
                <c:pt idx="104">
                  <c:v>Ruinart</c:v>
                </c:pt>
                <c:pt idx="105">
                  <c:v>Bollinger</c:v>
                </c:pt>
                <c:pt idx="106">
                  <c:v>Nicolas</c:v>
                </c:pt>
                <c:pt idx="107">
                  <c:v>Roederer</c:v>
                </c:pt>
                <c:pt idx="108">
                  <c:v>Moët &amp; Chan</c:v>
                </c:pt>
                <c:pt idx="109">
                  <c:v>Louis Marti</c:v>
                </c:pt>
                <c:pt idx="110">
                  <c:v>All Others</c:v>
                </c:pt>
                <c:pt idx="111">
                  <c:v>Nicolas</c:v>
                </c:pt>
                <c:pt idx="112">
                  <c:v>Laurent Per</c:v>
                </c:pt>
                <c:pt idx="113">
                  <c:v>Roederer</c:v>
                </c:pt>
                <c:pt idx="114">
                  <c:v>Pommery</c:v>
                </c:pt>
                <c:pt idx="115">
                  <c:v>Deutz</c:v>
                </c:pt>
                <c:pt idx="116">
                  <c:v>Nicolas</c:v>
                </c:pt>
                <c:pt idx="117">
                  <c:v>Nicolas Feu</c:v>
                </c:pt>
                <c:pt idx="118">
                  <c:v>Taittinger</c:v>
                </c:pt>
                <c:pt idx="119">
                  <c:v>Laurent Per</c:v>
                </c:pt>
                <c:pt idx="120">
                  <c:v>Dom Perigno</c:v>
                </c:pt>
                <c:pt idx="121">
                  <c:v>Besserat De</c:v>
                </c:pt>
                <c:pt idx="122">
                  <c:v>Roederer</c:v>
                </c:pt>
                <c:pt idx="123">
                  <c:v>Roederer</c:v>
                </c:pt>
                <c:pt idx="124">
                  <c:v>Bollinger</c:v>
                </c:pt>
                <c:pt idx="125">
                  <c:v>Ruinart</c:v>
                </c:pt>
                <c:pt idx="126">
                  <c:v>Roederer</c:v>
                </c:pt>
                <c:pt idx="127">
                  <c:v>Demoiselle</c:v>
                </c:pt>
                <c:pt idx="128">
                  <c:v>Ayala</c:v>
                </c:pt>
                <c:pt idx="129">
                  <c:v>All Others</c:v>
                </c:pt>
                <c:pt idx="130">
                  <c:v>All Others</c:v>
                </c:pt>
                <c:pt idx="131">
                  <c:v>Vranken</c:v>
                </c:pt>
                <c:pt idx="132">
                  <c:v>Canard Duch</c:v>
                </c:pt>
                <c:pt idx="133">
                  <c:v>Nicolas</c:v>
                </c:pt>
                <c:pt idx="134">
                  <c:v>Pommery</c:v>
                </c:pt>
                <c:pt idx="135">
                  <c:v>All Others</c:v>
                </c:pt>
                <c:pt idx="136">
                  <c:v>Vesselle</c:v>
                </c:pt>
                <c:pt idx="137">
                  <c:v>Perrier Jou</c:v>
                </c:pt>
                <c:pt idx="138">
                  <c:v>Nicolas</c:v>
                </c:pt>
                <c:pt idx="139">
                  <c:v>Delamotte</c:v>
                </c:pt>
                <c:pt idx="140">
                  <c:v>Deutz</c:v>
                </c:pt>
                <c:pt idx="141">
                  <c:v>Nicolas</c:v>
                </c:pt>
                <c:pt idx="142">
                  <c:v>Laurent Per</c:v>
                </c:pt>
                <c:pt idx="143">
                  <c:v>Demoiselle</c:v>
                </c:pt>
                <c:pt idx="144">
                  <c:v>Roederer</c:v>
                </c:pt>
                <c:pt idx="145">
                  <c:v>Malard</c:v>
                </c:pt>
                <c:pt idx="146">
                  <c:v>Lanson</c:v>
                </c:pt>
                <c:pt idx="147">
                  <c:v>Moët &amp; Chan</c:v>
                </c:pt>
                <c:pt idx="148">
                  <c:v>Ruinart</c:v>
                </c:pt>
                <c:pt idx="149">
                  <c:v>Roederer</c:v>
                </c:pt>
                <c:pt idx="150">
                  <c:v>Deutz</c:v>
                </c:pt>
                <c:pt idx="151">
                  <c:v>All Others</c:v>
                </c:pt>
                <c:pt idx="152">
                  <c:v>Besserat De</c:v>
                </c:pt>
                <c:pt idx="153">
                  <c:v>Ruinart</c:v>
                </c:pt>
                <c:pt idx="154">
                  <c:v>Moët &amp; Chan</c:v>
                </c:pt>
                <c:pt idx="155">
                  <c:v>Nicolas</c:v>
                </c:pt>
                <c:pt idx="156">
                  <c:v>Canard Duch</c:v>
                </c:pt>
                <c:pt idx="157">
                  <c:v>Nicolas</c:v>
                </c:pt>
                <c:pt idx="158">
                  <c:v>Dom Perigno</c:v>
                </c:pt>
                <c:pt idx="159">
                  <c:v>Taittinger</c:v>
                </c:pt>
                <c:pt idx="160">
                  <c:v>Bollinger</c:v>
                </c:pt>
                <c:pt idx="161">
                  <c:v>All Others</c:v>
                </c:pt>
                <c:pt idx="162">
                  <c:v>Henriot</c:v>
                </c:pt>
                <c:pt idx="163">
                  <c:v>Piper Heids</c:v>
                </c:pt>
                <c:pt idx="164">
                  <c:v>Roederer</c:v>
                </c:pt>
                <c:pt idx="165">
                  <c:v>Laurent Per</c:v>
                </c:pt>
                <c:pt idx="166">
                  <c:v>Piper Heids</c:v>
                </c:pt>
                <c:pt idx="167">
                  <c:v>Ruinart</c:v>
                </c:pt>
                <c:pt idx="168">
                  <c:v>Pommery</c:v>
                </c:pt>
                <c:pt idx="169">
                  <c:v>Ruinart</c:v>
                </c:pt>
                <c:pt idx="170">
                  <c:v>Nicolas</c:v>
                </c:pt>
                <c:pt idx="171">
                  <c:v>Piper Heids</c:v>
                </c:pt>
                <c:pt idx="172">
                  <c:v>Laurent Per</c:v>
                </c:pt>
                <c:pt idx="173">
                  <c:v>Roederer</c:v>
                </c:pt>
                <c:pt idx="174">
                  <c:v>Vesselle</c:v>
                </c:pt>
                <c:pt idx="175">
                  <c:v>Pommery</c:v>
                </c:pt>
                <c:pt idx="176">
                  <c:v>All Others</c:v>
                </c:pt>
                <c:pt idx="177">
                  <c:v>De Venoge</c:v>
                </c:pt>
                <c:pt idx="178">
                  <c:v>De Venoge</c:v>
                </c:pt>
                <c:pt idx="179">
                  <c:v>Taittinger</c:v>
                </c:pt>
                <c:pt idx="180">
                  <c:v>Roederer</c:v>
                </c:pt>
                <c:pt idx="181">
                  <c:v>Laurent Per</c:v>
                </c:pt>
                <c:pt idx="182">
                  <c:v>Henriot</c:v>
                </c:pt>
                <c:pt idx="183">
                  <c:v>Bollinger</c:v>
                </c:pt>
                <c:pt idx="184">
                  <c:v>Ruinart</c:v>
                </c:pt>
                <c:pt idx="185">
                  <c:v>All Others</c:v>
                </c:pt>
                <c:pt idx="186">
                  <c:v>Roederer</c:v>
                </c:pt>
                <c:pt idx="187">
                  <c:v>Nicolas Feu</c:v>
                </c:pt>
                <c:pt idx="188">
                  <c:v>Nicolas</c:v>
                </c:pt>
                <c:pt idx="189">
                  <c:v>Ruinart</c:v>
                </c:pt>
                <c:pt idx="190">
                  <c:v>Piper Heids</c:v>
                </c:pt>
                <c:pt idx="191">
                  <c:v>Malard</c:v>
                </c:pt>
                <c:pt idx="192">
                  <c:v>Perrier Jou</c:v>
                </c:pt>
                <c:pt idx="193">
                  <c:v>Deutz</c:v>
                </c:pt>
                <c:pt idx="194">
                  <c:v>Veuve Clicq</c:v>
                </c:pt>
                <c:pt idx="195">
                  <c:v>Ruinart</c:v>
                </c:pt>
                <c:pt idx="196">
                  <c:v>Pommery</c:v>
                </c:pt>
                <c:pt idx="197">
                  <c:v>Lanson</c:v>
                </c:pt>
                <c:pt idx="198">
                  <c:v>Moët &amp; Chan</c:v>
                </c:pt>
                <c:pt idx="199">
                  <c:v>Lanson</c:v>
                </c:pt>
                <c:pt idx="200">
                  <c:v>Deutz</c:v>
                </c:pt>
                <c:pt idx="201">
                  <c:v>Roederer</c:v>
                </c:pt>
                <c:pt idx="202">
                  <c:v>All Others</c:v>
                </c:pt>
                <c:pt idx="203">
                  <c:v>Martel</c:v>
                </c:pt>
                <c:pt idx="204">
                  <c:v>Ruinart</c:v>
                </c:pt>
                <c:pt idx="205">
                  <c:v>Roederer</c:v>
                </c:pt>
                <c:pt idx="206">
                  <c:v>Lanson-Bcc:</c:v>
                </c:pt>
                <c:pt idx="207">
                  <c:v>Laurent Per</c:v>
                </c:pt>
                <c:pt idx="208">
                  <c:v>Laurent Per</c:v>
                </c:pt>
                <c:pt idx="209">
                  <c:v>Nicolas</c:v>
                </c:pt>
                <c:pt idx="210">
                  <c:v>De Venoge</c:v>
                </c:pt>
                <c:pt idx="211">
                  <c:v>Bollinger</c:v>
                </c:pt>
                <c:pt idx="212">
                  <c:v>Roederer</c:v>
                </c:pt>
                <c:pt idx="213">
                  <c:v>Laurent Per</c:v>
                </c:pt>
                <c:pt idx="214">
                  <c:v>Ruinart</c:v>
                </c:pt>
                <c:pt idx="215">
                  <c:v>Roederer</c:v>
                </c:pt>
                <c:pt idx="216">
                  <c:v>Ruinart</c:v>
                </c:pt>
                <c:pt idx="217">
                  <c:v>All Others</c:v>
                </c:pt>
                <c:pt idx="218">
                  <c:v>Bollinger</c:v>
                </c:pt>
                <c:pt idx="219">
                  <c:v>Laurent Per</c:v>
                </c:pt>
                <c:pt idx="220">
                  <c:v>Nicolas Feu</c:v>
                </c:pt>
                <c:pt idx="221">
                  <c:v>All Others</c:v>
                </c:pt>
                <c:pt idx="222">
                  <c:v>Roederer</c:v>
                </c:pt>
                <c:pt idx="223">
                  <c:v>Roederer</c:v>
                </c:pt>
                <c:pt idx="224">
                  <c:v>All Others</c:v>
                </c:pt>
                <c:pt idx="225">
                  <c:v>Besserat De</c:v>
                </c:pt>
                <c:pt idx="226">
                  <c:v>Ruinart</c:v>
                </c:pt>
                <c:pt idx="227">
                  <c:v>All Others</c:v>
                </c:pt>
                <c:pt idx="228">
                  <c:v>Bollinger</c:v>
                </c:pt>
                <c:pt idx="229">
                  <c:v>De Bligny</c:v>
                </c:pt>
                <c:pt idx="230">
                  <c:v>Deutz</c:v>
                </c:pt>
                <c:pt idx="231">
                  <c:v>Veuve Clicq</c:v>
                </c:pt>
                <c:pt idx="232">
                  <c:v>All Others</c:v>
                </c:pt>
                <c:pt idx="233">
                  <c:v>Roederer</c:v>
                </c:pt>
                <c:pt idx="234">
                  <c:v>Roederer</c:v>
                </c:pt>
                <c:pt idx="235">
                  <c:v>Besserat De</c:v>
                </c:pt>
                <c:pt idx="236">
                  <c:v>All Others</c:v>
                </c:pt>
                <c:pt idx="237">
                  <c:v>All Others</c:v>
                </c:pt>
                <c:pt idx="238">
                  <c:v>All Others</c:v>
                </c:pt>
                <c:pt idx="239">
                  <c:v>Taittinger</c:v>
                </c:pt>
                <c:pt idx="240">
                  <c:v>All Others</c:v>
                </c:pt>
                <c:pt idx="241">
                  <c:v>Laurent Per</c:v>
                </c:pt>
                <c:pt idx="242">
                  <c:v>Vesselle</c:v>
                </c:pt>
                <c:pt idx="243">
                  <c:v>Roederer</c:v>
                </c:pt>
                <c:pt idx="244">
                  <c:v>Ayala</c:v>
                </c:pt>
                <c:pt idx="245">
                  <c:v>Malard</c:v>
                </c:pt>
                <c:pt idx="246">
                  <c:v>Laurent Per</c:v>
                </c:pt>
                <c:pt idx="247">
                  <c:v>Roederer</c:v>
                </c:pt>
                <c:pt idx="248">
                  <c:v>De Bligny</c:v>
                </c:pt>
                <c:pt idx="249">
                  <c:v>Roederer</c:v>
                </c:pt>
                <c:pt idx="250">
                  <c:v>Laurent Per</c:v>
                </c:pt>
                <c:pt idx="251">
                  <c:v>De Venoge</c:v>
                </c:pt>
                <c:pt idx="252">
                  <c:v>De Venoge</c:v>
                </c:pt>
                <c:pt idx="253">
                  <c:v>Canard Duch</c:v>
                </c:pt>
                <c:pt idx="254">
                  <c:v>Henriot</c:v>
                </c:pt>
                <c:pt idx="255">
                  <c:v>Ayala</c:v>
                </c:pt>
                <c:pt idx="256">
                  <c:v>All Others</c:v>
                </c:pt>
                <c:pt idx="257">
                  <c:v>Roederer</c:v>
                </c:pt>
                <c:pt idx="258">
                  <c:v>Bollinger</c:v>
                </c:pt>
                <c:pt idx="259">
                  <c:v>All Others</c:v>
                </c:pt>
                <c:pt idx="260">
                  <c:v>All Others</c:v>
                </c:pt>
                <c:pt idx="261">
                  <c:v>Vranken</c:v>
                </c:pt>
                <c:pt idx="262">
                  <c:v>Roederer</c:v>
                </c:pt>
                <c:pt idx="263">
                  <c:v>Nicolas</c:v>
                </c:pt>
                <c:pt idx="264">
                  <c:v>Lanson</c:v>
                </c:pt>
                <c:pt idx="265">
                  <c:v>De Venoge</c:v>
                </c:pt>
                <c:pt idx="266">
                  <c:v>Deutz</c:v>
                </c:pt>
                <c:pt idx="267">
                  <c:v>Laurent Per</c:v>
                </c:pt>
                <c:pt idx="268">
                  <c:v>Roederer</c:v>
                </c:pt>
                <c:pt idx="269">
                  <c:v>Ruinart</c:v>
                </c:pt>
                <c:pt idx="270">
                  <c:v>Vranken</c:v>
                </c:pt>
                <c:pt idx="271">
                  <c:v>Demoiselle</c:v>
                </c:pt>
                <c:pt idx="272">
                  <c:v>Piper Heids</c:v>
                </c:pt>
                <c:pt idx="273">
                  <c:v>Taittinger</c:v>
                </c:pt>
                <c:pt idx="274">
                  <c:v>Roederer</c:v>
                </c:pt>
                <c:pt idx="275">
                  <c:v>Bollinger</c:v>
                </c:pt>
                <c:pt idx="276">
                  <c:v>Bollinger</c:v>
                </c:pt>
                <c:pt idx="277">
                  <c:v>Roederer</c:v>
                </c:pt>
                <c:pt idx="278">
                  <c:v>Demoiselle</c:v>
                </c:pt>
                <c:pt idx="279">
                  <c:v>De Venoge</c:v>
                </c:pt>
                <c:pt idx="280">
                  <c:v>Deutz</c:v>
                </c:pt>
                <c:pt idx="281">
                  <c:v>Laurent Per</c:v>
                </c:pt>
                <c:pt idx="282">
                  <c:v>Ruinart</c:v>
                </c:pt>
                <c:pt idx="283">
                  <c:v>All Others</c:v>
                </c:pt>
                <c:pt idx="284">
                  <c:v>Roederer</c:v>
                </c:pt>
                <c:pt idx="285">
                  <c:v>Perrier Jou</c:v>
                </c:pt>
                <c:pt idx="286">
                  <c:v>All Others</c:v>
                </c:pt>
                <c:pt idx="287">
                  <c:v>All Others</c:v>
                </c:pt>
                <c:pt idx="288">
                  <c:v>All Others</c:v>
                </c:pt>
                <c:pt idx="289">
                  <c:v>Ruinart</c:v>
                </c:pt>
                <c:pt idx="290">
                  <c:v>Roederer</c:v>
                </c:pt>
                <c:pt idx="291">
                  <c:v>Nicolas Feu</c:v>
                </c:pt>
                <c:pt idx="292">
                  <c:v>De Venoge</c:v>
                </c:pt>
                <c:pt idx="293">
                  <c:v>Ayala</c:v>
                </c:pt>
                <c:pt idx="294">
                  <c:v>Delamotte</c:v>
                </c:pt>
                <c:pt idx="295">
                  <c:v>Lanson</c:v>
                </c:pt>
                <c:pt idx="296">
                  <c:v>All Others</c:v>
                </c:pt>
                <c:pt idx="297">
                  <c:v>All Others</c:v>
                </c:pt>
                <c:pt idx="298">
                  <c:v>Laurent Per</c:v>
                </c:pt>
                <c:pt idx="299">
                  <c:v>Pommery</c:v>
                </c:pt>
                <c:pt idx="300">
                  <c:v>Lanson</c:v>
                </c:pt>
                <c:pt idx="301">
                  <c:v>Vranken</c:v>
                </c:pt>
                <c:pt idx="302">
                  <c:v>Vesselle</c:v>
                </c:pt>
                <c:pt idx="303">
                  <c:v>Besserat De</c:v>
                </c:pt>
                <c:pt idx="304">
                  <c:v>All Others</c:v>
                </c:pt>
              </c:strCache>
            </c:strRef>
          </c:cat>
          <c:val>
            <c:numRef>
              <c:f>Sheet1!$B$2:$B$306</c:f>
              <c:numCache>
                <c:formatCode>General</c:formatCode>
                <c:ptCount val="305"/>
                <c:pt idx="0">
                  <c:v>0.99</c:v>
                </c:pt>
                <c:pt idx="1">
                  <c:v>0.97</c:v>
                </c:pt>
                <c:pt idx="2">
                  <c:v>0.97</c:v>
                </c:pt>
                <c:pt idx="3">
                  <c:v>0.73</c:v>
                </c:pt>
                <c:pt idx="4">
                  <c:v>0.85</c:v>
                </c:pt>
                <c:pt idx="5">
                  <c:v>0.88</c:v>
                </c:pt>
                <c:pt idx="6">
                  <c:v>0.85</c:v>
                </c:pt>
                <c:pt idx="7">
                  <c:v>0.88</c:v>
                </c:pt>
                <c:pt idx="8">
                  <c:v>0.86</c:v>
                </c:pt>
                <c:pt idx="9">
                  <c:v>0.85</c:v>
                </c:pt>
                <c:pt idx="10">
                  <c:v>0.9</c:v>
                </c:pt>
                <c:pt idx="11">
                  <c:v>0.79</c:v>
                </c:pt>
                <c:pt idx="12">
                  <c:v>0.74</c:v>
                </c:pt>
                <c:pt idx="13">
                  <c:v>0.49</c:v>
                </c:pt>
                <c:pt idx="14">
                  <c:v>0.52</c:v>
                </c:pt>
                <c:pt idx="15">
                  <c:v>0.68</c:v>
                </c:pt>
                <c:pt idx="16">
                  <c:v>0.77</c:v>
                </c:pt>
                <c:pt idx="17">
                  <c:v>0.47</c:v>
                </c:pt>
                <c:pt idx="18">
                  <c:v>0.47</c:v>
                </c:pt>
                <c:pt idx="19">
                  <c:v>0.59</c:v>
                </c:pt>
                <c:pt idx="20">
                  <c:v>0.33</c:v>
                </c:pt>
                <c:pt idx="21">
                  <c:v>0.61</c:v>
                </c:pt>
                <c:pt idx="22">
                  <c:v>0.47</c:v>
                </c:pt>
                <c:pt idx="23">
                  <c:v>0.47</c:v>
                </c:pt>
                <c:pt idx="24">
                  <c:v>0.51</c:v>
                </c:pt>
                <c:pt idx="25">
                  <c:v>0.43</c:v>
                </c:pt>
                <c:pt idx="26">
                  <c:v>0.46</c:v>
                </c:pt>
                <c:pt idx="27">
                  <c:v>0.39</c:v>
                </c:pt>
                <c:pt idx="28">
                  <c:v>0.34</c:v>
                </c:pt>
                <c:pt idx="29">
                  <c:v>0.5</c:v>
                </c:pt>
                <c:pt idx="30">
                  <c:v>0.36</c:v>
                </c:pt>
                <c:pt idx="31">
                  <c:v>0.12</c:v>
                </c:pt>
                <c:pt idx="32">
                  <c:v>0.34</c:v>
                </c:pt>
                <c:pt idx="33">
                  <c:v>0.51</c:v>
                </c:pt>
                <c:pt idx="34">
                  <c:v>0.1</c:v>
                </c:pt>
                <c:pt idx="35">
                  <c:v>0.39</c:v>
                </c:pt>
                <c:pt idx="36">
                  <c:v>0.32</c:v>
                </c:pt>
                <c:pt idx="37">
                  <c:v>0.24</c:v>
                </c:pt>
                <c:pt idx="38">
                  <c:v>0.39</c:v>
                </c:pt>
                <c:pt idx="39">
                  <c:v>0.31</c:v>
                </c:pt>
                <c:pt idx="40">
                  <c:v>0.45</c:v>
                </c:pt>
                <c:pt idx="41">
                  <c:v>0.25</c:v>
                </c:pt>
                <c:pt idx="42">
                  <c:v>0.36</c:v>
                </c:pt>
                <c:pt idx="43">
                  <c:v>0.35</c:v>
                </c:pt>
                <c:pt idx="44">
                  <c:v>0.46</c:v>
                </c:pt>
                <c:pt idx="45">
                  <c:v>0.37</c:v>
                </c:pt>
                <c:pt idx="46">
                  <c:v>0.42</c:v>
                </c:pt>
                <c:pt idx="47">
                  <c:v>0.26</c:v>
                </c:pt>
                <c:pt idx="48">
                  <c:v>0.33</c:v>
                </c:pt>
                <c:pt idx="49">
                  <c:v>0.33</c:v>
                </c:pt>
                <c:pt idx="50">
                  <c:v>0.4</c:v>
                </c:pt>
                <c:pt idx="51">
                  <c:v>0.37</c:v>
                </c:pt>
                <c:pt idx="52">
                  <c:v>0.32</c:v>
                </c:pt>
                <c:pt idx="53">
                  <c:v>0.54</c:v>
                </c:pt>
                <c:pt idx="54">
                  <c:v>0.31</c:v>
                </c:pt>
                <c:pt idx="55">
                  <c:v>0.42</c:v>
                </c:pt>
                <c:pt idx="56">
                  <c:v>0.11</c:v>
                </c:pt>
                <c:pt idx="57">
                  <c:v>0.28000000000000003</c:v>
                </c:pt>
                <c:pt idx="58">
                  <c:v>0.23</c:v>
                </c:pt>
                <c:pt idx="59">
                  <c:v>0.55000000000000004</c:v>
                </c:pt>
                <c:pt idx="60">
                  <c:v>0.24</c:v>
                </c:pt>
                <c:pt idx="61">
                  <c:v>0.56999999999999995</c:v>
                </c:pt>
                <c:pt idx="62">
                  <c:v>0.28000000000000003</c:v>
                </c:pt>
                <c:pt idx="63">
                  <c:v>0.26</c:v>
                </c:pt>
                <c:pt idx="64">
                  <c:v>0.25</c:v>
                </c:pt>
                <c:pt idx="65">
                  <c:v>0.22</c:v>
                </c:pt>
                <c:pt idx="66">
                  <c:v>0.31</c:v>
                </c:pt>
                <c:pt idx="67">
                  <c:v>0.13</c:v>
                </c:pt>
                <c:pt idx="68">
                  <c:v>0.24</c:v>
                </c:pt>
                <c:pt idx="69">
                  <c:v>0.34</c:v>
                </c:pt>
                <c:pt idx="70">
                  <c:v>0.35</c:v>
                </c:pt>
                <c:pt idx="71">
                  <c:v>0.15</c:v>
                </c:pt>
                <c:pt idx="72">
                  <c:v>0.14000000000000001</c:v>
                </c:pt>
                <c:pt idx="73">
                  <c:v>0.15</c:v>
                </c:pt>
                <c:pt idx="74">
                  <c:v>0.14000000000000001</c:v>
                </c:pt>
                <c:pt idx="75">
                  <c:v>0.19</c:v>
                </c:pt>
                <c:pt idx="76">
                  <c:v>0.16</c:v>
                </c:pt>
                <c:pt idx="77">
                  <c:v>0.11</c:v>
                </c:pt>
                <c:pt idx="78">
                  <c:v>0.13</c:v>
                </c:pt>
                <c:pt idx="79">
                  <c:v>7.0000000000000007E-2</c:v>
                </c:pt>
                <c:pt idx="80">
                  <c:v>0.13</c:v>
                </c:pt>
                <c:pt idx="81">
                  <c:v>0.13</c:v>
                </c:pt>
                <c:pt idx="82">
                  <c:v>0.04</c:v>
                </c:pt>
                <c:pt idx="83">
                  <c:v>0.15</c:v>
                </c:pt>
                <c:pt idx="84">
                  <c:v>0.13</c:v>
                </c:pt>
                <c:pt idx="85">
                  <c:v>0.22</c:v>
                </c:pt>
                <c:pt idx="86">
                  <c:v>0.06</c:v>
                </c:pt>
                <c:pt idx="87">
                  <c:v>0.18</c:v>
                </c:pt>
                <c:pt idx="88">
                  <c:v>0.11</c:v>
                </c:pt>
                <c:pt idx="89">
                  <c:v>0.21</c:v>
                </c:pt>
                <c:pt idx="90">
                  <c:v>0.43</c:v>
                </c:pt>
                <c:pt idx="91">
                  <c:v>0.13</c:v>
                </c:pt>
                <c:pt idx="92">
                  <c:v>0.13</c:v>
                </c:pt>
                <c:pt idx="93">
                  <c:v>0.11</c:v>
                </c:pt>
                <c:pt idx="94">
                  <c:v>0.12</c:v>
                </c:pt>
                <c:pt idx="95">
                  <c:v>0.11</c:v>
                </c:pt>
                <c:pt idx="96">
                  <c:v>0.1</c:v>
                </c:pt>
                <c:pt idx="97">
                  <c:v>0.06</c:v>
                </c:pt>
                <c:pt idx="98">
                  <c:v>0.1</c:v>
                </c:pt>
                <c:pt idx="99">
                  <c:v>0.1</c:v>
                </c:pt>
                <c:pt idx="100">
                  <c:v>0.24</c:v>
                </c:pt>
                <c:pt idx="101">
                  <c:v>0.1</c:v>
                </c:pt>
                <c:pt idx="102">
                  <c:v>0.13</c:v>
                </c:pt>
                <c:pt idx="103">
                  <c:v>0.17</c:v>
                </c:pt>
                <c:pt idx="104">
                  <c:v>0.05</c:v>
                </c:pt>
                <c:pt idx="105">
                  <c:v>0.06</c:v>
                </c:pt>
                <c:pt idx="106">
                  <c:v>0.2</c:v>
                </c:pt>
                <c:pt idx="107">
                  <c:v>7.0000000000000007E-2</c:v>
                </c:pt>
                <c:pt idx="108">
                  <c:v>0.09</c:v>
                </c:pt>
                <c:pt idx="109">
                  <c:v>0.11</c:v>
                </c:pt>
                <c:pt idx="110">
                  <c:v>0.12</c:v>
                </c:pt>
                <c:pt idx="111">
                  <c:v>0.17</c:v>
                </c:pt>
                <c:pt idx="112">
                  <c:v>0.08</c:v>
                </c:pt>
                <c:pt idx="113">
                  <c:v>0.02</c:v>
                </c:pt>
                <c:pt idx="114">
                  <c:v>0.06</c:v>
                </c:pt>
                <c:pt idx="115">
                  <c:v>0.04</c:v>
                </c:pt>
                <c:pt idx="116">
                  <c:v>0.06</c:v>
                </c:pt>
                <c:pt idx="117">
                  <c:v>0.11</c:v>
                </c:pt>
                <c:pt idx="118">
                  <c:v>0.03</c:v>
                </c:pt>
                <c:pt idx="119">
                  <c:v>0.05</c:v>
                </c:pt>
                <c:pt idx="120">
                  <c:v>0.04</c:v>
                </c:pt>
                <c:pt idx="121">
                  <c:v>0.09</c:v>
                </c:pt>
                <c:pt idx="122">
                  <c:v>0.05</c:v>
                </c:pt>
                <c:pt idx="123">
                  <c:v>0.1</c:v>
                </c:pt>
                <c:pt idx="124">
                  <c:v>0.03</c:v>
                </c:pt>
                <c:pt idx="125">
                  <c:v>0.02</c:v>
                </c:pt>
                <c:pt idx="126">
                  <c:v>0.1</c:v>
                </c:pt>
                <c:pt idx="127">
                  <c:v>0.08</c:v>
                </c:pt>
                <c:pt idx="128">
                  <c:v>0.06</c:v>
                </c:pt>
                <c:pt idx="129">
                  <c:v>0.06</c:v>
                </c:pt>
                <c:pt idx="130">
                  <c:v>0.06</c:v>
                </c:pt>
                <c:pt idx="131">
                  <c:v>0.04</c:v>
                </c:pt>
                <c:pt idx="132">
                  <c:v>0.05</c:v>
                </c:pt>
                <c:pt idx="133">
                  <c:v>7.0000000000000007E-2</c:v>
                </c:pt>
                <c:pt idx="134">
                  <c:v>7.0000000000000007E-2</c:v>
                </c:pt>
                <c:pt idx="135">
                  <c:v>0.04</c:v>
                </c:pt>
                <c:pt idx="136">
                  <c:v>0.06</c:v>
                </c:pt>
                <c:pt idx="137">
                  <c:v>0.06</c:v>
                </c:pt>
                <c:pt idx="138">
                  <c:v>0.13</c:v>
                </c:pt>
                <c:pt idx="139">
                  <c:v>0.04</c:v>
                </c:pt>
                <c:pt idx="140">
                  <c:v>0.02</c:v>
                </c:pt>
                <c:pt idx="141">
                  <c:v>0.06</c:v>
                </c:pt>
                <c:pt idx="142">
                  <c:v>0.02</c:v>
                </c:pt>
                <c:pt idx="143">
                  <c:v>0.12</c:v>
                </c:pt>
                <c:pt idx="144">
                  <c:v>0.03</c:v>
                </c:pt>
                <c:pt idx="145">
                  <c:v>0.06</c:v>
                </c:pt>
                <c:pt idx="146">
                  <c:v>7.0000000000000007E-2</c:v>
                </c:pt>
                <c:pt idx="147">
                  <c:v>0.05</c:v>
                </c:pt>
                <c:pt idx="148">
                  <c:v>0.04</c:v>
                </c:pt>
                <c:pt idx="149">
                  <c:v>0.04</c:v>
                </c:pt>
                <c:pt idx="150">
                  <c:v>0.02</c:v>
                </c:pt>
                <c:pt idx="151">
                  <c:v>0.02</c:v>
                </c:pt>
                <c:pt idx="152">
                  <c:v>0.05</c:v>
                </c:pt>
                <c:pt idx="153">
                  <c:v>0.03</c:v>
                </c:pt>
                <c:pt idx="154">
                  <c:v>0.04</c:v>
                </c:pt>
                <c:pt idx="155">
                  <c:v>0.04</c:v>
                </c:pt>
                <c:pt idx="156">
                  <c:v>0.06</c:v>
                </c:pt>
                <c:pt idx="157">
                  <c:v>0.04</c:v>
                </c:pt>
                <c:pt idx="158">
                  <c:v>0.02</c:v>
                </c:pt>
                <c:pt idx="159">
                  <c:v>0.02</c:v>
                </c:pt>
                <c:pt idx="160">
                  <c:v>0.02</c:v>
                </c:pt>
                <c:pt idx="161">
                  <c:v>0.04</c:v>
                </c:pt>
                <c:pt idx="162">
                  <c:v>0.06</c:v>
                </c:pt>
                <c:pt idx="163">
                  <c:v>0.01</c:v>
                </c:pt>
                <c:pt idx="164">
                  <c:v>0.05</c:v>
                </c:pt>
                <c:pt idx="165">
                  <c:v>0.02</c:v>
                </c:pt>
                <c:pt idx="166">
                  <c:v>0.06</c:v>
                </c:pt>
                <c:pt idx="167">
                  <c:v>0.02</c:v>
                </c:pt>
                <c:pt idx="168">
                  <c:v>7.0000000000000007E-2</c:v>
                </c:pt>
                <c:pt idx="169">
                  <c:v>0.03</c:v>
                </c:pt>
                <c:pt idx="170">
                  <c:v>0.04</c:v>
                </c:pt>
                <c:pt idx="171">
                  <c:v>0.05</c:v>
                </c:pt>
                <c:pt idx="172">
                  <c:v>0.03</c:v>
                </c:pt>
                <c:pt idx="173">
                  <c:v>0.02</c:v>
                </c:pt>
                <c:pt idx="174">
                  <c:v>0.04</c:v>
                </c:pt>
                <c:pt idx="175">
                  <c:v>0.02</c:v>
                </c:pt>
                <c:pt idx="176">
                  <c:v>0.03</c:v>
                </c:pt>
                <c:pt idx="177">
                  <c:v>0.03</c:v>
                </c:pt>
                <c:pt idx="178">
                  <c:v>0.02</c:v>
                </c:pt>
                <c:pt idx="179">
                  <c:v>0.02</c:v>
                </c:pt>
                <c:pt idx="180">
                  <c:v>0.03</c:v>
                </c:pt>
                <c:pt idx="181">
                  <c:v>0.02</c:v>
                </c:pt>
                <c:pt idx="182">
                  <c:v>0.04</c:v>
                </c:pt>
                <c:pt idx="183">
                  <c:v>0.05</c:v>
                </c:pt>
                <c:pt idx="184">
                  <c:v>0.02</c:v>
                </c:pt>
                <c:pt idx="185">
                  <c:v>0.01</c:v>
                </c:pt>
                <c:pt idx="186">
                  <c:v>0.03</c:v>
                </c:pt>
                <c:pt idx="187">
                  <c:v>0.02</c:v>
                </c:pt>
                <c:pt idx="188">
                  <c:v>0.02</c:v>
                </c:pt>
                <c:pt idx="189">
                  <c:v>0.02</c:v>
                </c:pt>
                <c:pt idx="190">
                  <c:v>0.02</c:v>
                </c:pt>
                <c:pt idx="191">
                  <c:v>0.02</c:v>
                </c:pt>
                <c:pt idx="192">
                  <c:v>0.01</c:v>
                </c:pt>
                <c:pt idx="193">
                  <c:v>0.01</c:v>
                </c:pt>
                <c:pt idx="194">
                  <c:v>0.02</c:v>
                </c:pt>
                <c:pt idx="195">
                  <c:v>0.02</c:v>
                </c:pt>
                <c:pt idx="196">
                  <c:v>0.02</c:v>
                </c:pt>
                <c:pt idx="197">
                  <c:v>0.03</c:v>
                </c:pt>
                <c:pt idx="198">
                  <c:v>0.02</c:v>
                </c:pt>
                <c:pt idx="199">
                  <c:v>0.01</c:v>
                </c:pt>
                <c:pt idx="200">
                  <c:v>0.02</c:v>
                </c:pt>
                <c:pt idx="201">
                  <c:v>0.02</c:v>
                </c:pt>
                <c:pt idx="202">
                  <c:v>0.01</c:v>
                </c:pt>
                <c:pt idx="203">
                  <c:v>0.02</c:v>
                </c:pt>
                <c:pt idx="204">
                  <c:v>0.03</c:v>
                </c:pt>
                <c:pt idx="205">
                  <c:v>0.01</c:v>
                </c:pt>
                <c:pt idx="206">
                  <c:v>0.01</c:v>
                </c:pt>
                <c:pt idx="207">
                  <c:v>0.02</c:v>
                </c:pt>
                <c:pt idx="208">
                  <c:v>0.01</c:v>
                </c:pt>
                <c:pt idx="209">
                  <c:v>0.03</c:v>
                </c:pt>
                <c:pt idx="210">
                  <c:v>0.01</c:v>
                </c:pt>
                <c:pt idx="211">
                  <c:v>0.02</c:v>
                </c:pt>
                <c:pt idx="212">
                  <c:v>0.01</c:v>
                </c:pt>
                <c:pt idx="213">
                  <c:v>0.02</c:v>
                </c:pt>
                <c:pt idx="214">
                  <c:v>0.01</c:v>
                </c:pt>
                <c:pt idx="215">
                  <c:v>0.02</c:v>
                </c:pt>
                <c:pt idx="216">
                  <c:v>0.01</c:v>
                </c:pt>
                <c:pt idx="217">
                  <c:v>0.01</c:v>
                </c:pt>
                <c:pt idx="218">
                  <c:v>0.01</c:v>
                </c:pt>
                <c:pt idx="219">
                  <c:v>0.01</c:v>
                </c:pt>
                <c:pt idx="220">
                  <c:v>0.01</c:v>
                </c:pt>
                <c:pt idx="221">
                  <c:v>0.03</c:v>
                </c:pt>
                <c:pt idx="222">
                  <c:v>0.01</c:v>
                </c:pt>
                <c:pt idx="223">
                  <c:v>0.02</c:v>
                </c:pt>
                <c:pt idx="224">
                  <c:v>0.01</c:v>
                </c:pt>
                <c:pt idx="225">
                  <c:v>0.02</c:v>
                </c:pt>
                <c:pt idx="226">
                  <c:v>0.01</c:v>
                </c:pt>
                <c:pt idx="227">
                  <c:v>0.01</c:v>
                </c:pt>
                <c:pt idx="228">
                  <c:v>0.03</c:v>
                </c:pt>
                <c:pt idx="229">
                  <c:v>0.02</c:v>
                </c:pt>
                <c:pt idx="230">
                  <c:v>0.01</c:v>
                </c:pt>
                <c:pt idx="231">
                  <c:v>0.01</c:v>
                </c:pt>
                <c:pt idx="232">
                  <c:v>0.01</c:v>
                </c:pt>
                <c:pt idx="233">
                  <c:v>0.01</c:v>
                </c:pt>
                <c:pt idx="234">
                  <c:v>0.01</c:v>
                </c:pt>
                <c:pt idx="235">
                  <c:v>0.02</c:v>
                </c:pt>
                <c:pt idx="236">
                  <c:v>0.01</c:v>
                </c:pt>
                <c:pt idx="237">
                  <c:v>0.01</c:v>
                </c:pt>
                <c:pt idx="238">
                  <c:v>0.02</c:v>
                </c:pt>
                <c:pt idx="239">
                  <c:v>0.01</c:v>
                </c:pt>
                <c:pt idx="240">
                  <c:v>0.01</c:v>
                </c:pt>
                <c:pt idx="241">
                  <c:v>0.01</c:v>
                </c:pt>
                <c:pt idx="242">
                  <c:v>0.01</c:v>
                </c:pt>
                <c:pt idx="243">
                  <c:v>0.02</c:v>
                </c:pt>
                <c:pt idx="244">
                  <c:v>0.01</c:v>
                </c:pt>
                <c:pt idx="245">
                  <c:v>0.01</c:v>
                </c:pt>
                <c:pt idx="246">
                  <c:v>0.01</c:v>
                </c:pt>
                <c:pt idx="247">
                  <c:v>0.01</c:v>
                </c:pt>
                <c:pt idx="248">
                  <c:v>0.01</c:v>
                </c:pt>
                <c:pt idx="249">
                  <c:v>0.02</c:v>
                </c:pt>
                <c:pt idx="250">
                  <c:v>0.01</c:v>
                </c:pt>
                <c:pt idx="251">
                  <c:v>0.02</c:v>
                </c:pt>
                <c:pt idx="252">
                  <c:v>0.01</c:v>
                </c:pt>
                <c:pt idx="253">
                  <c:v>0.02</c:v>
                </c:pt>
                <c:pt idx="254">
                  <c:v>0.01</c:v>
                </c:pt>
                <c:pt idx="255">
                  <c:v>0.01</c:v>
                </c:pt>
                <c:pt idx="256">
                  <c:v>0.01</c:v>
                </c:pt>
                <c:pt idx="257">
                  <c:v>0.01</c:v>
                </c:pt>
                <c:pt idx="258">
                  <c:v>0.01</c:v>
                </c:pt>
                <c:pt idx="259">
                  <c:v>0.01</c:v>
                </c:pt>
                <c:pt idx="260">
                  <c:v>0.01</c:v>
                </c:pt>
                <c:pt idx="261">
                  <c:v>0.01</c:v>
                </c:pt>
                <c:pt idx="262">
                  <c:v>0.01</c:v>
                </c:pt>
                <c:pt idx="263">
                  <c:v>0.01</c:v>
                </c:pt>
                <c:pt idx="264">
                  <c:v>0.01</c:v>
                </c:pt>
                <c:pt idx="265">
                  <c:v>0.02</c:v>
                </c:pt>
                <c:pt idx="266">
                  <c:v>0.01</c:v>
                </c:pt>
                <c:pt idx="267">
                  <c:v>0.01</c:v>
                </c:pt>
                <c:pt idx="268">
                  <c:v>0.01</c:v>
                </c:pt>
                <c:pt idx="269">
                  <c:v>0.01</c:v>
                </c:pt>
                <c:pt idx="270">
                  <c:v>0.01</c:v>
                </c:pt>
                <c:pt idx="271">
                  <c:v>0.01</c:v>
                </c:pt>
                <c:pt idx="272">
                  <c:v>0.01</c:v>
                </c:pt>
                <c:pt idx="273">
                  <c:v>0.01</c:v>
                </c:pt>
                <c:pt idx="274">
                  <c:v>0.02</c:v>
                </c:pt>
                <c:pt idx="275">
                  <c:v>0.01</c:v>
                </c:pt>
                <c:pt idx="276">
                  <c:v>0.01</c:v>
                </c:pt>
                <c:pt idx="277">
                  <c:v>0.01</c:v>
                </c:pt>
                <c:pt idx="278">
                  <c:v>0.02</c:v>
                </c:pt>
                <c:pt idx="279">
                  <c:v>0.01</c:v>
                </c:pt>
                <c:pt idx="280">
                  <c:v>0.01</c:v>
                </c:pt>
                <c:pt idx="281">
                  <c:v>0.01</c:v>
                </c:pt>
                <c:pt idx="282">
                  <c:v>0.01</c:v>
                </c:pt>
                <c:pt idx="283">
                  <c:v>0.01</c:v>
                </c:pt>
                <c:pt idx="284">
                  <c:v>0.01</c:v>
                </c:pt>
                <c:pt idx="285">
                  <c:v>0.02</c:v>
                </c:pt>
                <c:pt idx="286">
                  <c:v>0.01</c:v>
                </c:pt>
                <c:pt idx="287">
                  <c:v>0.01</c:v>
                </c:pt>
                <c:pt idx="288">
                  <c:v>0.01</c:v>
                </c:pt>
                <c:pt idx="289">
                  <c:v>0.01</c:v>
                </c:pt>
                <c:pt idx="290">
                  <c:v>0.01</c:v>
                </c:pt>
                <c:pt idx="291">
                  <c:v>0.01</c:v>
                </c:pt>
                <c:pt idx="292">
                  <c:v>0.01</c:v>
                </c:pt>
                <c:pt idx="293">
                  <c:v>0.01</c:v>
                </c:pt>
                <c:pt idx="294">
                  <c:v>0.02</c:v>
                </c:pt>
                <c:pt idx="295">
                  <c:v>0.01</c:v>
                </c:pt>
                <c:pt idx="296">
                  <c:v>0.01</c:v>
                </c:pt>
                <c:pt idx="297">
                  <c:v>0.01</c:v>
                </c:pt>
                <c:pt idx="298">
                  <c:v>0.01</c:v>
                </c:pt>
                <c:pt idx="299">
                  <c:v>0.01</c:v>
                </c:pt>
                <c:pt idx="300">
                  <c:v>0.01</c:v>
                </c:pt>
                <c:pt idx="301">
                  <c:v>0.02</c:v>
                </c:pt>
                <c:pt idx="302">
                  <c:v>0.01</c:v>
                </c:pt>
                <c:pt idx="303">
                  <c:v>0.01</c:v>
                </c:pt>
                <c:pt idx="304">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7ECAC4"/>
              </a:solidFill>
            </c:spPr>
            <c:extLst>
              <c:ext xmlns:c16="http://schemas.microsoft.com/office/drawing/2014/chart" uri="{C3380CC4-5D6E-409C-BE32-E72D297353CC}">
                <c16:uniqueId val="{00000093-2993-41DE-A2CB-63102DE87051}"/>
              </c:ext>
            </c:extLst>
          </c:dPt>
          <c:dPt>
            <c:idx val="46"/>
            <c:invertIfNegative val="1"/>
            <c:bubble3D val="0"/>
            <c:spPr>
              <a:solidFill>
                <a:srgbClr val="7ECAC4"/>
              </a:solidFill>
            </c:spPr>
            <c:extLst>
              <c:ext xmlns:c16="http://schemas.microsoft.com/office/drawing/2014/chart" uri="{C3380CC4-5D6E-409C-BE32-E72D297353CC}">
                <c16:uniqueId val="{00000095-2993-41DE-A2CB-63102DE87051}"/>
              </c:ext>
            </c:extLst>
          </c:dPt>
          <c:dPt>
            <c:idx val="47"/>
            <c:invertIfNegative val="1"/>
            <c:bubble3D val="0"/>
            <c:spPr>
              <a:solidFill>
                <a:srgbClr val="7ECAC4"/>
              </a:solidFill>
            </c:spPr>
            <c:extLst>
              <c:ext xmlns:c16="http://schemas.microsoft.com/office/drawing/2014/chart" uri="{C3380CC4-5D6E-409C-BE32-E72D297353CC}">
                <c16:uniqueId val="{00000097-2993-41DE-A2CB-63102DE87051}"/>
              </c:ext>
            </c:extLst>
          </c:dPt>
          <c:dPt>
            <c:idx val="48"/>
            <c:invertIfNegative val="1"/>
            <c:bubble3D val="0"/>
            <c:spPr>
              <a:solidFill>
                <a:srgbClr val="7ECAC4"/>
              </a:solidFill>
            </c:spPr>
            <c:extLst>
              <c:ext xmlns:c16="http://schemas.microsoft.com/office/drawing/2014/chart" uri="{C3380CC4-5D6E-409C-BE32-E72D297353CC}">
                <c16:uniqueId val="{00000099-2993-41DE-A2CB-63102DE87051}"/>
              </c:ext>
            </c:extLst>
          </c:dPt>
          <c:dPt>
            <c:idx val="49"/>
            <c:invertIfNegative val="1"/>
            <c:bubble3D val="0"/>
            <c:spPr>
              <a:solidFill>
                <a:srgbClr val="7ECAC4"/>
              </a:solidFill>
            </c:spPr>
            <c:extLst>
              <c:ext xmlns:c16="http://schemas.microsoft.com/office/drawing/2014/chart" uri="{C3380CC4-5D6E-409C-BE32-E72D297353CC}">
                <c16:uniqueId val="{0000009B-2993-41DE-A2CB-63102DE87051}"/>
              </c:ext>
            </c:extLst>
          </c:dPt>
          <c:dPt>
            <c:idx val="50"/>
            <c:invertIfNegative val="1"/>
            <c:bubble3D val="0"/>
            <c:spPr>
              <a:solidFill>
                <a:srgbClr val="7ECAC4"/>
              </a:solidFill>
            </c:spPr>
            <c:extLst>
              <c:ext xmlns:c16="http://schemas.microsoft.com/office/drawing/2014/chart" uri="{C3380CC4-5D6E-409C-BE32-E72D297353CC}">
                <c16:uniqueId val="{0000009D-2993-41DE-A2CB-63102DE87051}"/>
              </c:ext>
            </c:extLst>
          </c:dPt>
          <c:dPt>
            <c:idx val="51"/>
            <c:invertIfNegative val="1"/>
            <c:bubble3D val="0"/>
            <c:spPr>
              <a:solidFill>
                <a:srgbClr val="7ECAC4"/>
              </a:solidFill>
            </c:spPr>
            <c:extLst>
              <c:ext xmlns:c16="http://schemas.microsoft.com/office/drawing/2014/chart" uri="{C3380CC4-5D6E-409C-BE32-E72D297353CC}">
                <c16:uniqueId val="{0000009F-2993-41DE-A2CB-63102DE87051}"/>
              </c:ext>
            </c:extLst>
          </c:dPt>
          <c:dPt>
            <c:idx val="52"/>
            <c:invertIfNegative val="1"/>
            <c:bubble3D val="0"/>
            <c:spPr>
              <a:solidFill>
                <a:srgbClr val="7ECAC4"/>
              </a:solidFill>
            </c:spPr>
            <c:extLst>
              <c:ext xmlns:c16="http://schemas.microsoft.com/office/drawing/2014/chart" uri="{C3380CC4-5D6E-409C-BE32-E72D297353CC}">
                <c16:uniqueId val="{000000A1-2993-41DE-A2CB-63102DE87051}"/>
              </c:ext>
            </c:extLst>
          </c:dPt>
          <c:dPt>
            <c:idx val="53"/>
            <c:invertIfNegative val="1"/>
            <c:bubble3D val="0"/>
            <c:spPr>
              <a:solidFill>
                <a:srgbClr val="7ECAC4"/>
              </a:solidFill>
            </c:spPr>
            <c:extLst>
              <c:ext xmlns:c16="http://schemas.microsoft.com/office/drawing/2014/chart" uri="{C3380CC4-5D6E-409C-BE32-E72D297353CC}">
                <c16:uniqueId val="{000000A3-2993-41DE-A2CB-63102DE87051}"/>
              </c:ext>
            </c:extLst>
          </c:dPt>
          <c:dPt>
            <c:idx val="54"/>
            <c:invertIfNegative val="0"/>
            <c:bubble3D val="0"/>
            <c:spPr>
              <a:solidFill>
                <a:srgbClr val="7ECAC4"/>
              </a:solidFill>
            </c:spPr>
            <c:extLst>
              <c:ext xmlns:c16="http://schemas.microsoft.com/office/drawing/2014/chart" uri="{C3380CC4-5D6E-409C-BE32-E72D297353CC}">
                <c16:uniqueId val="{00000072-C76F-4230-900D-40618C09729F}"/>
              </c:ext>
            </c:extLst>
          </c:dPt>
          <c:dPt>
            <c:idx val="55"/>
            <c:invertIfNegative val="0"/>
            <c:bubble3D val="0"/>
            <c:spPr>
              <a:solidFill>
                <a:srgbClr val="7ECAC4"/>
              </a:solidFill>
            </c:spPr>
            <c:extLst>
              <c:ext xmlns:c16="http://schemas.microsoft.com/office/drawing/2014/chart" uri="{C3380CC4-5D6E-409C-BE32-E72D297353CC}">
                <c16:uniqueId val="{00000074-C76F-4230-900D-40618C09729F}"/>
              </c:ext>
            </c:extLst>
          </c:dPt>
          <c:dPt>
            <c:idx val="56"/>
            <c:invertIfNegative val="0"/>
            <c:bubble3D val="0"/>
            <c:spPr>
              <a:solidFill>
                <a:srgbClr val="7ECAC4"/>
              </a:solidFill>
            </c:spPr>
            <c:extLst>
              <c:ext xmlns:c16="http://schemas.microsoft.com/office/drawing/2014/chart" uri="{C3380CC4-5D6E-409C-BE32-E72D297353CC}">
                <c16:uniqueId val="{00000076-C76F-4230-900D-40618C09729F}"/>
              </c:ext>
            </c:extLst>
          </c:dPt>
          <c:dPt>
            <c:idx val="57"/>
            <c:invertIfNegative val="0"/>
            <c:bubble3D val="0"/>
            <c:spPr>
              <a:solidFill>
                <a:srgbClr val="7ECAC4"/>
              </a:solidFill>
            </c:spPr>
            <c:extLst>
              <c:ext xmlns:c16="http://schemas.microsoft.com/office/drawing/2014/chart" uri="{C3380CC4-5D6E-409C-BE32-E72D297353CC}">
                <c16:uniqueId val="{00000078-C76F-4230-900D-40618C09729F}"/>
              </c:ext>
            </c:extLst>
          </c:dPt>
          <c:dPt>
            <c:idx val="58"/>
            <c:invertIfNegative val="0"/>
            <c:bubble3D val="0"/>
            <c:spPr>
              <a:solidFill>
                <a:srgbClr val="7ECAC4"/>
              </a:solidFill>
            </c:spPr>
            <c:extLst>
              <c:ext xmlns:c16="http://schemas.microsoft.com/office/drawing/2014/chart" uri="{C3380CC4-5D6E-409C-BE32-E72D297353CC}">
                <c16:uniqueId val="{0000007A-C76F-4230-900D-40618C09729F}"/>
              </c:ext>
            </c:extLst>
          </c:dPt>
          <c:dPt>
            <c:idx val="59"/>
            <c:invertIfNegative val="0"/>
            <c:bubble3D val="0"/>
            <c:spPr>
              <a:solidFill>
                <a:srgbClr val="7ECAC4"/>
              </a:solidFill>
            </c:spPr>
            <c:extLst>
              <c:ext xmlns:c16="http://schemas.microsoft.com/office/drawing/2014/chart" uri="{C3380CC4-5D6E-409C-BE32-E72D297353CC}">
                <c16:uniqueId val="{0000007C-C76F-4230-900D-40618C09729F}"/>
              </c:ext>
            </c:extLst>
          </c:dPt>
          <c:dPt>
            <c:idx val="60"/>
            <c:invertIfNegative val="0"/>
            <c:bubble3D val="0"/>
            <c:spPr>
              <a:solidFill>
                <a:srgbClr val="7ECAC4"/>
              </a:solidFill>
            </c:spPr>
            <c:extLst>
              <c:ext xmlns:c16="http://schemas.microsoft.com/office/drawing/2014/chart" uri="{C3380CC4-5D6E-409C-BE32-E72D297353CC}">
                <c16:uniqueId val="{0000007E-C76F-4230-900D-40618C09729F}"/>
              </c:ext>
            </c:extLst>
          </c:dPt>
          <c:dPt>
            <c:idx val="61"/>
            <c:invertIfNegative val="0"/>
            <c:bubble3D val="0"/>
            <c:spPr>
              <a:solidFill>
                <a:srgbClr val="7ECAC4"/>
              </a:solidFill>
            </c:spPr>
            <c:extLst>
              <c:ext xmlns:c16="http://schemas.microsoft.com/office/drawing/2014/chart" uri="{C3380CC4-5D6E-409C-BE32-E72D297353CC}">
                <c16:uniqueId val="{00000080-C76F-4230-900D-40618C09729F}"/>
              </c:ext>
            </c:extLst>
          </c:dPt>
          <c:dPt>
            <c:idx val="62"/>
            <c:invertIfNegative val="0"/>
            <c:bubble3D val="0"/>
            <c:spPr>
              <a:solidFill>
                <a:srgbClr val="7ECAC4"/>
              </a:solidFill>
            </c:spPr>
            <c:extLst>
              <c:ext xmlns:c16="http://schemas.microsoft.com/office/drawing/2014/chart" uri="{C3380CC4-5D6E-409C-BE32-E72D297353CC}">
                <c16:uniqueId val="{00000082-C76F-4230-900D-40618C09729F}"/>
              </c:ext>
            </c:extLst>
          </c:dPt>
          <c:dPt>
            <c:idx val="63"/>
            <c:invertIfNegative val="0"/>
            <c:bubble3D val="0"/>
            <c:spPr>
              <a:solidFill>
                <a:srgbClr val="7ECAC4"/>
              </a:solidFill>
            </c:spPr>
            <c:extLst>
              <c:ext xmlns:c16="http://schemas.microsoft.com/office/drawing/2014/chart" uri="{C3380CC4-5D6E-409C-BE32-E72D297353CC}">
                <c16:uniqueId val="{00000084-C76F-4230-900D-40618C09729F}"/>
              </c:ext>
            </c:extLst>
          </c:dPt>
          <c:dPt>
            <c:idx val="64"/>
            <c:invertIfNegative val="0"/>
            <c:bubble3D val="0"/>
            <c:spPr>
              <a:solidFill>
                <a:srgbClr val="7ECAC4"/>
              </a:solidFill>
            </c:spPr>
            <c:extLst>
              <c:ext xmlns:c16="http://schemas.microsoft.com/office/drawing/2014/chart" uri="{C3380CC4-5D6E-409C-BE32-E72D297353CC}">
                <c16:uniqueId val="{00000086-C76F-4230-900D-40618C09729F}"/>
              </c:ext>
            </c:extLst>
          </c:dPt>
          <c:dPt>
            <c:idx val="65"/>
            <c:invertIfNegative val="0"/>
            <c:bubble3D val="0"/>
            <c:spPr>
              <a:solidFill>
                <a:srgbClr val="7ECAC4"/>
              </a:solidFill>
            </c:spPr>
            <c:extLst>
              <c:ext xmlns:c16="http://schemas.microsoft.com/office/drawing/2014/chart" uri="{C3380CC4-5D6E-409C-BE32-E72D297353CC}">
                <c16:uniqueId val="{00000088-C76F-4230-900D-40618C09729F}"/>
              </c:ext>
            </c:extLst>
          </c:dPt>
          <c:dPt>
            <c:idx val="66"/>
            <c:invertIfNegative val="0"/>
            <c:bubble3D val="0"/>
            <c:spPr>
              <a:solidFill>
                <a:srgbClr val="7ECAC4"/>
              </a:solidFill>
            </c:spPr>
            <c:extLst>
              <c:ext xmlns:c16="http://schemas.microsoft.com/office/drawing/2014/chart" uri="{C3380CC4-5D6E-409C-BE32-E72D297353CC}">
                <c16:uniqueId val="{0000008A-C76F-4230-900D-40618C09729F}"/>
              </c:ext>
            </c:extLst>
          </c:dPt>
          <c:dPt>
            <c:idx val="67"/>
            <c:invertIfNegative val="0"/>
            <c:bubble3D val="0"/>
            <c:spPr>
              <a:solidFill>
                <a:srgbClr val="7ECAC4"/>
              </a:solidFill>
            </c:spPr>
            <c:extLst>
              <c:ext xmlns:c16="http://schemas.microsoft.com/office/drawing/2014/chart" uri="{C3380CC4-5D6E-409C-BE32-E72D297353CC}">
                <c16:uniqueId val="{0000008C-C76F-4230-900D-40618C09729F}"/>
              </c:ext>
            </c:extLst>
          </c:dPt>
          <c:dPt>
            <c:idx val="68"/>
            <c:invertIfNegative val="0"/>
            <c:bubble3D val="0"/>
            <c:spPr>
              <a:solidFill>
                <a:srgbClr val="7ECAC4"/>
              </a:solidFill>
            </c:spPr>
            <c:extLst>
              <c:ext xmlns:c16="http://schemas.microsoft.com/office/drawing/2014/chart" uri="{C3380CC4-5D6E-409C-BE32-E72D297353CC}">
                <c16:uniqueId val="{0000008E-C76F-4230-900D-40618C09729F}"/>
              </c:ext>
            </c:extLst>
          </c:dPt>
          <c:dPt>
            <c:idx val="69"/>
            <c:invertIfNegative val="0"/>
            <c:bubble3D val="0"/>
            <c:spPr>
              <a:solidFill>
                <a:srgbClr val="7ECAC4"/>
              </a:solidFill>
            </c:spPr>
            <c:extLst>
              <c:ext xmlns:c16="http://schemas.microsoft.com/office/drawing/2014/chart" uri="{C3380CC4-5D6E-409C-BE32-E72D297353CC}">
                <c16:uniqueId val="{00000090-C76F-4230-900D-40618C09729F}"/>
              </c:ext>
            </c:extLst>
          </c:dPt>
          <c:dPt>
            <c:idx val="70"/>
            <c:invertIfNegative val="0"/>
            <c:bubble3D val="0"/>
            <c:spPr>
              <a:solidFill>
                <a:srgbClr val="7ECAC4"/>
              </a:solidFill>
            </c:spPr>
            <c:extLst>
              <c:ext xmlns:c16="http://schemas.microsoft.com/office/drawing/2014/chart" uri="{C3380CC4-5D6E-409C-BE32-E72D297353CC}">
                <c16:uniqueId val="{00000092-C76F-4230-900D-40618C09729F}"/>
              </c:ext>
            </c:extLst>
          </c:dPt>
          <c:dPt>
            <c:idx val="71"/>
            <c:invertIfNegative val="0"/>
            <c:bubble3D val="0"/>
            <c:spPr>
              <a:solidFill>
                <a:srgbClr val="7ECAC4"/>
              </a:solidFill>
            </c:spPr>
            <c:extLst>
              <c:ext xmlns:c16="http://schemas.microsoft.com/office/drawing/2014/chart" uri="{C3380CC4-5D6E-409C-BE32-E72D297353CC}">
                <c16:uniqueId val="{00000094-C76F-4230-900D-40618C09729F}"/>
              </c:ext>
            </c:extLst>
          </c:dPt>
          <c:dPt>
            <c:idx val="72"/>
            <c:invertIfNegative val="0"/>
            <c:bubble3D val="0"/>
            <c:spPr>
              <a:solidFill>
                <a:srgbClr val="7ECAC4"/>
              </a:solidFill>
            </c:spPr>
            <c:extLst>
              <c:ext xmlns:c16="http://schemas.microsoft.com/office/drawing/2014/chart" uri="{C3380CC4-5D6E-409C-BE32-E72D297353CC}">
                <c16:uniqueId val="{00000096-C76F-4230-900D-40618C09729F}"/>
              </c:ext>
            </c:extLst>
          </c:dPt>
          <c:dPt>
            <c:idx val="73"/>
            <c:invertIfNegative val="0"/>
            <c:bubble3D val="0"/>
            <c:spPr>
              <a:solidFill>
                <a:srgbClr val="7ECAC4"/>
              </a:solidFill>
            </c:spPr>
            <c:extLst>
              <c:ext xmlns:c16="http://schemas.microsoft.com/office/drawing/2014/chart" uri="{C3380CC4-5D6E-409C-BE32-E72D297353CC}">
                <c16:uniqueId val="{00000098-C76F-4230-900D-40618C09729F}"/>
              </c:ext>
            </c:extLst>
          </c:dPt>
          <c:dPt>
            <c:idx val="74"/>
            <c:invertIfNegative val="0"/>
            <c:bubble3D val="0"/>
            <c:spPr>
              <a:solidFill>
                <a:srgbClr val="7ECAC4"/>
              </a:solidFill>
            </c:spPr>
            <c:extLst>
              <c:ext xmlns:c16="http://schemas.microsoft.com/office/drawing/2014/chart" uri="{C3380CC4-5D6E-409C-BE32-E72D297353CC}">
                <c16:uniqueId val="{0000009A-C76F-4230-900D-40618C09729F}"/>
              </c:ext>
            </c:extLst>
          </c:dPt>
          <c:dPt>
            <c:idx val="75"/>
            <c:invertIfNegative val="0"/>
            <c:bubble3D val="0"/>
            <c:spPr>
              <a:solidFill>
                <a:srgbClr val="7ECAC4"/>
              </a:solidFill>
            </c:spPr>
            <c:extLst>
              <c:ext xmlns:c16="http://schemas.microsoft.com/office/drawing/2014/chart" uri="{C3380CC4-5D6E-409C-BE32-E72D297353CC}">
                <c16:uniqueId val="{0000009C-C76F-4230-900D-40618C09729F}"/>
              </c:ext>
            </c:extLst>
          </c:dPt>
          <c:dPt>
            <c:idx val="76"/>
            <c:invertIfNegative val="0"/>
            <c:bubble3D val="0"/>
            <c:spPr>
              <a:solidFill>
                <a:srgbClr val="7ECAC4"/>
              </a:solidFill>
            </c:spPr>
            <c:extLst>
              <c:ext xmlns:c16="http://schemas.microsoft.com/office/drawing/2014/chart" uri="{C3380CC4-5D6E-409C-BE32-E72D297353CC}">
                <c16:uniqueId val="{0000009E-C76F-4230-900D-40618C09729F}"/>
              </c:ext>
            </c:extLst>
          </c:dPt>
          <c:dPt>
            <c:idx val="77"/>
            <c:invertIfNegative val="0"/>
            <c:bubble3D val="0"/>
            <c:spPr>
              <a:solidFill>
                <a:srgbClr val="7ECAC4"/>
              </a:solidFill>
            </c:spPr>
            <c:extLst>
              <c:ext xmlns:c16="http://schemas.microsoft.com/office/drawing/2014/chart" uri="{C3380CC4-5D6E-409C-BE32-E72D297353CC}">
                <c16:uniqueId val="{000000A0-C76F-4230-900D-40618C09729F}"/>
              </c:ext>
            </c:extLst>
          </c:dPt>
          <c:dPt>
            <c:idx val="78"/>
            <c:invertIfNegative val="0"/>
            <c:bubble3D val="0"/>
            <c:spPr>
              <a:solidFill>
                <a:srgbClr val="7ECAC4"/>
              </a:solidFill>
            </c:spPr>
            <c:extLst>
              <c:ext xmlns:c16="http://schemas.microsoft.com/office/drawing/2014/chart" uri="{C3380CC4-5D6E-409C-BE32-E72D297353CC}">
                <c16:uniqueId val="{000000A2-C76F-4230-900D-40618C09729F}"/>
              </c:ext>
            </c:extLst>
          </c:dPt>
          <c:dPt>
            <c:idx val="79"/>
            <c:invertIfNegative val="0"/>
            <c:bubble3D val="0"/>
            <c:spPr>
              <a:solidFill>
                <a:srgbClr val="7ECAC4"/>
              </a:solidFill>
            </c:spPr>
            <c:extLst>
              <c:ext xmlns:c16="http://schemas.microsoft.com/office/drawing/2014/chart" uri="{C3380CC4-5D6E-409C-BE32-E72D297353CC}">
                <c16:uniqueId val="{000000A4-C76F-4230-900D-40618C09729F}"/>
              </c:ext>
            </c:extLst>
          </c:dPt>
          <c:dPt>
            <c:idx val="80"/>
            <c:invertIfNegative val="0"/>
            <c:bubble3D val="0"/>
            <c:spPr>
              <a:solidFill>
                <a:srgbClr val="7ECAC4"/>
              </a:solidFill>
            </c:spPr>
            <c:extLst>
              <c:ext xmlns:c16="http://schemas.microsoft.com/office/drawing/2014/chart" uri="{C3380CC4-5D6E-409C-BE32-E72D297353CC}">
                <c16:uniqueId val="{000000A6-C76F-4230-900D-40618C09729F}"/>
              </c:ext>
            </c:extLst>
          </c:dPt>
          <c:dPt>
            <c:idx val="81"/>
            <c:invertIfNegative val="1"/>
            <c:bubble3D val="0"/>
            <c:spPr>
              <a:solidFill>
                <a:srgbClr val="7ECAC4"/>
              </a:solidFill>
            </c:spPr>
            <c:extLst>
              <c:ext xmlns:c16="http://schemas.microsoft.com/office/drawing/2014/chart" uri="{C3380CC4-5D6E-409C-BE32-E72D297353CC}">
                <c16:uniqueId val="{000000A5-2993-41DE-A2CB-63102DE87051}"/>
              </c:ext>
            </c:extLst>
          </c:dPt>
          <c:dPt>
            <c:idx val="82"/>
            <c:invertIfNegative val="1"/>
            <c:bubble3D val="0"/>
            <c:spPr>
              <a:solidFill>
                <a:srgbClr val="7ECAC4"/>
              </a:solidFill>
            </c:spPr>
            <c:extLst>
              <c:ext xmlns:c16="http://schemas.microsoft.com/office/drawing/2014/chart" uri="{C3380CC4-5D6E-409C-BE32-E72D297353CC}">
                <c16:uniqueId val="{000000A7-2993-41DE-A2CB-63102DE87051}"/>
              </c:ext>
            </c:extLst>
          </c:dPt>
          <c:dPt>
            <c:idx val="83"/>
            <c:invertIfNegative val="1"/>
            <c:bubble3D val="0"/>
            <c:spPr>
              <a:solidFill>
                <a:srgbClr val="7ECAC4"/>
              </a:solidFill>
            </c:spPr>
            <c:extLst>
              <c:ext xmlns:c16="http://schemas.microsoft.com/office/drawing/2014/chart" uri="{C3380CC4-5D6E-409C-BE32-E72D297353CC}">
                <c16:uniqueId val="{000000A9-2993-41DE-A2CB-63102DE87051}"/>
              </c:ext>
            </c:extLst>
          </c:dPt>
          <c:dPt>
            <c:idx val="84"/>
            <c:invertIfNegative val="1"/>
            <c:bubble3D val="0"/>
            <c:spPr>
              <a:solidFill>
                <a:srgbClr val="7ECAC4"/>
              </a:solidFill>
            </c:spPr>
            <c:extLst>
              <c:ext xmlns:c16="http://schemas.microsoft.com/office/drawing/2014/chart" uri="{C3380CC4-5D6E-409C-BE32-E72D297353CC}">
                <c16:uniqueId val="{000000AB-2993-41DE-A2CB-63102DE87051}"/>
              </c:ext>
            </c:extLst>
          </c:dPt>
          <c:dPt>
            <c:idx val="85"/>
            <c:invertIfNegative val="1"/>
            <c:bubble3D val="0"/>
            <c:spPr>
              <a:solidFill>
                <a:srgbClr val="7ECAC4"/>
              </a:solidFill>
            </c:spPr>
            <c:extLst>
              <c:ext xmlns:c16="http://schemas.microsoft.com/office/drawing/2014/chart" uri="{C3380CC4-5D6E-409C-BE32-E72D297353CC}">
                <c16:uniqueId val="{000000AD-2993-41DE-A2CB-63102DE87051}"/>
              </c:ext>
            </c:extLst>
          </c:dPt>
          <c:dPt>
            <c:idx val="86"/>
            <c:invertIfNegative val="1"/>
            <c:bubble3D val="0"/>
            <c:spPr>
              <a:solidFill>
                <a:srgbClr val="7ECAC4"/>
              </a:solidFill>
            </c:spPr>
            <c:extLst>
              <c:ext xmlns:c16="http://schemas.microsoft.com/office/drawing/2014/chart" uri="{C3380CC4-5D6E-409C-BE32-E72D297353CC}">
                <c16:uniqueId val="{000000AF-2993-41DE-A2CB-63102DE87051}"/>
              </c:ext>
            </c:extLst>
          </c:dPt>
          <c:dPt>
            <c:idx val="87"/>
            <c:invertIfNegative val="1"/>
            <c:bubble3D val="0"/>
            <c:spPr>
              <a:solidFill>
                <a:srgbClr val="7ECAC4"/>
              </a:solidFill>
            </c:spPr>
            <c:extLst>
              <c:ext xmlns:c16="http://schemas.microsoft.com/office/drawing/2014/chart" uri="{C3380CC4-5D6E-409C-BE32-E72D297353CC}">
                <c16:uniqueId val="{000000B1-2993-41DE-A2CB-63102DE87051}"/>
              </c:ext>
            </c:extLst>
          </c:dPt>
          <c:dPt>
            <c:idx val="88"/>
            <c:invertIfNegative val="1"/>
            <c:bubble3D val="0"/>
            <c:spPr>
              <a:solidFill>
                <a:srgbClr val="7ECAC4"/>
              </a:solidFill>
            </c:spPr>
            <c:extLst>
              <c:ext xmlns:c16="http://schemas.microsoft.com/office/drawing/2014/chart" uri="{C3380CC4-5D6E-409C-BE32-E72D297353CC}">
                <c16:uniqueId val="{000000B3-2993-41DE-A2CB-63102DE87051}"/>
              </c:ext>
            </c:extLst>
          </c:dPt>
          <c:dPt>
            <c:idx val="89"/>
            <c:invertIfNegative val="1"/>
            <c:bubble3D val="0"/>
            <c:spPr>
              <a:solidFill>
                <a:srgbClr val="7ECAC4"/>
              </a:solidFill>
            </c:spPr>
            <c:extLst>
              <c:ext xmlns:c16="http://schemas.microsoft.com/office/drawing/2014/chart" uri="{C3380CC4-5D6E-409C-BE32-E72D297353CC}">
                <c16:uniqueId val="{000000B5-2993-41DE-A2CB-63102DE87051}"/>
              </c:ext>
            </c:extLst>
          </c:dPt>
          <c:dPt>
            <c:idx val="90"/>
            <c:invertIfNegative val="1"/>
            <c:bubble3D val="0"/>
            <c:spPr>
              <a:solidFill>
                <a:srgbClr val="7ECAC4"/>
              </a:solidFill>
            </c:spPr>
            <c:extLst>
              <c:ext xmlns:c16="http://schemas.microsoft.com/office/drawing/2014/chart" uri="{C3380CC4-5D6E-409C-BE32-E72D297353CC}">
                <c16:uniqueId val="{000000B7-2993-41DE-A2CB-63102DE87051}"/>
              </c:ext>
            </c:extLst>
          </c:dPt>
          <c:dPt>
            <c:idx val="91"/>
            <c:invertIfNegative val="1"/>
            <c:bubble3D val="0"/>
            <c:spPr>
              <a:solidFill>
                <a:srgbClr val="7ECAC4"/>
              </a:solidFill>
            </c:spPr>
            <c:extLst>
              <c:ext xmlns:c16="http://schemas.microsoft.com/office/drawing/2014/chart" uri="{C3380CC4-5D6E-409C-BE32-E72D297353CC}">
                <c16:uniqueId val="{000000B9-2993-41DE-A2CB-63102DE87051}"/>
              </c:ext>
            </c:extLst>
          </c:dPt>
          <c:dPt>
            <c:idx val="92"/>
            <c:invertIfNegative val="1"/>
            <c:bubble3D val="0"/>
            <c:spPr>
              <a:solidFill>
                <a:srgbClr val="7ECAC4"/>
              </a:solidFill>
            </c:spPr>
            <c:extLst>
              <c:ext xmlns:c16="http://schemas.microsoft.com/office/drawing/2014/chart" uri="{C3380CC4-5D6E-409C-BE32-E72D297353CC}">
                <c16:uniqueId val="{000000BB-2993-41DE-A2CB-63102DE87051}"/>
              </c:ext>
            </c:extLst>
          </c:dPt>
          <c:dPt>
            <c:idx val="93"/>
            <c:invertIfNegative val="1"/>
            <c:bubble3D val="0"/>
            <c:spPr>
              <a:solidFill>
                <a:srgbClr val="7ECAC4"/>
              </a:solidFill>
            </c:spPr>
            <c:extLst>
              <c:ext xmlns:c16="http://schemas.microsoft.com/office/drawing/2014/chart" uri="{C3380CC4-5D6E-409C-BE32-E72D297353CC}">
                <c16:uniqueId val="{000000BD-2993-41DE-A2CB-63102DE87051}"/>
              </c:ext>
            </c:extLst>
          </c:dPt>
          <c:dPt>
            <c:idx val="94"/>
            <c:invertIfNegative val="1"/>
            <c:bubble3D val="0"/>
            <c:spPr>
              <a:solidFill>
                <a:srgbClr val="7ECAC4"/>
              </a:solidFill>
            </c:spPr>
            <c:extLst>
              <c:ext xmlns:c16="http://schemas.microsoft.com/office/drawing/2014/chart" uri="{C3380CC4-5D6E-409C-BE32-E72D297353CC}">
                <c16:uniqueId val="{000000BF-2993-41DE-A2CB-63102DE87051}"/>
              </c:ext>
            </c:extLst>
          </c:dPt>
          <c:dPt>
            <c:idx val="95"/>
            <c:invertIfNegative val="1"/>
            <c:bubble3D val="0"/>
            <c:spPr>
              <a:solidFill>
                <a:srgbClr val="7ECAC4"/>
              </a:solidFill>
            </c:spPr>
            <c:extLst>
              <c:ext xmlns:c16="http://schemas.microsoft.com/office/drawing/2014/chart" uri="{C3380CC4-5D6E-409C-BE32-E72D297353CC}">
                <c16:uniqueId val="{000000C1-2993-41DE-A2CB-63102DE87051}"/>
              </c:ext>
            </c:extLst>
          </c:dPt>
          <c:dPt>
            <c:idx val="96"/>
            <c:invertIfNegative val="1"/>
            <c:bubble3D val="0"/>
            <c:spPr>
              <a:solidFill>
                <a:srgbClr val="7ECAC4"/>
              </a:solidFill>
            </c:spPr>
            <c:extLst>
              <c:ext xmlns:c16="http://schemas.microsoft.com/office/drawing/2014/chart" uri="{C3380CC4-5D6E-409C-BE32-E72D297353CC}">
                <c16:uniqueId val="{000000C3-2993-41DE-A2CB-63102DE87051}"/>
              </c:ext>
            </c:extLst>
          </c:dPt>
          <c:dPt>
            <c:idx val="97"/>
            <c:invertIfNegative val="1"/>
            <c:bubble3D val="0"/>
            <c:spPr>
              <a:solidFill>
                <a:srgbClr val="7ECAC4"/>
              </a:solidFill>
            </c:spPr>
            <c:extLst>
              <c:ext xmlns:c16="http://schemas.microsoft.com/office/drawing/2014/chart" uri="{C3380CC4-5D6E-409C-BE32-E72D297353CC}">
                <c16:uniqueId val="{000000C5-2993-41DE-A2CB-63102DE87051}"/>
              </c:ext>
            </c:extLst>
          </c:dPt>
          <c:dPt>
            <c:idx val="98"/>
            <c:invertIfNegative val="1"/>
            <c:bubble3D val="0"/>
            <c:spPr>
              <a:solidFill>
                <a:srgbClr val="AEABAB"/>
              </a:solidFill>
            </c:spPr>
            <c:extLst>
              <c:ext xmlns:c16="http://schemas.microsoft.com/office/drawing/2014/chart" uri="{C3380CC4-5D6E-409C-BE32-E72D297353CC}">
                <c16:uniqueId val="{000000C7-2993-41DE-A2CB-63102DE87051}"/>
              </c:ext>
            </c:extLst>
          </c:dPt>
          <c:dPt>
            <c:idx val="99"/>
            <c:invertIfNegative val="1"/>
            <c:bubble3D val="0"/>
            <c:spPr>
              <a:solidFill>
                <a:srgbClr val="AEABAB"/>
              </a:solidFill>
            </c:spPr>
            <c:extLst>
              <c:ext xmlns:c16="http://schemas.microsoft.com/office/drawing/2014/chart" uri="{C3380CC4-5D6E-409C-BE32-E72D297353CC}">
                <c16:uniqueId val="{000000C9-2993-41DE-A2CB-63102DE87051}"/>
              </c:ext>
            </c:extLst>
          </c:dPt>
          <c:dPt>
            <c:idx val="100"/>
            <c:invertIfNegative val="1"/>
            <c:bubble3D val="0"/>
            <c:spPr>
              <a:solidFill>
                <a:srgbClr val="AEABAB"/>
              </a:solidFill>
            </c:spPr>
            <c:extLst>
              <c:ext xmlns:c16="http://schemas.microsoft.com/office/drawing/2014/chart" uri="{C3380CC4-5D6E-409C-BE32-E72D297353CC}">
                <c16:uniqueId val="{000000CB-2993-41DE-A2CB-63102DE87051}"/>
              </c:ext>
            </c:extLst>
          </c:dPt>
          <c:dPt>
            <c:idx val="101"/>
            <c:invertIfNegative val="1"/>
            <c:bubble3D val="0"/>
            <c:spPr>
              <a:solidFill>
                <a:srgbClr val="AEABAB"/>
              </a:solidFill>
            </c:spPr>
            <c:extLst>
              <c:ext xmlns:c16="http://schemas.microsoft.com/office/drawing/2014/chart" uri="{C3380CC4-5D6E-409C-BE32-E72D297353CC}">
                <c16:uniqueId val="{000000CD-2993-41DE-A2CB-63102DE87051}"/>
              </c:ext>
            </c:extLst>
          </c:dPt>
          <c:dPt>
            <c:idx val="102"/>
            <c:invertIfNegative val="1"/>
            <c:bubble3D val="0"/>
            <c:spPr>
              <a:solidFill>
                <a:srgbClr val="AEABAB"/>
              </a:solidFill>
            </c:spPr>
            <c:extLst>
              <c:ext xmlns:c16="http://schemas.microsoft.com/office/drawing/2014/chart" uri="{C3380CC4-5D6E-409C-BE32-E72D297353CC}">
                <c16:uniqueId val="{000000CF-2993-41DE-A2CB-63102DE87051}"/>
              </c:ext>
            </c:extLst>
          </c:dPt>
          <c:dPt>
            <c:idx val="103"/>
            <c:invertIfNegative val="1"/>
            <c:bubble3D val="0"/>
            <c:spPr>
              <a:solidFill>
                <a:srgbClr val="AEABAB"/>
              </a:solidFill>
            </c:spPr>
            <c:extLst>
              <c:ext xmlns:c16="http://schemas.microsoft.com/office/drawing/2014/chart" uri="{C3380CC4-5D6E-409C-BE32-E72D297353CC}">
                <c16:uniqueId val="{000000D1-2993-41DE-A2CB-63102DE87051}"/>
              </c:ext>
            </c:extLst>
          </c:dPt>
          <c:dPt>
            <c:idx val="104"/>
            <c:invertIfNegative val="1"/>
            <c:bubble3D val="0"/>
            <c:spPr>
              <a:solidFill>
                <a:srgbClr val="AEABAB"/>
              </a:solidFill>
            </c:spPr>
            <c:extLst>
              <c:ext xmlns:c16="http://schemas.microsoft.com/office/drawing/2014/chart" uri="{C3380CC4-5D6E-409C-BE32-E72D297353CC}">
                <c16:uniqueId val="{000000D3-2993-41DE-A2CB-63102DE87051}"/>
              </c:ext>
            </c:extLst>
          </c:dPt>
          <c:dPt>
            <c:idx val="105"/>
            <c:invertIfNegative val="1"/>
            <c:bubble3D val="0"/>
            <c:spPr>
              <a:solidFill>
                <a:srgbClr val="AEABAB"/>
              </a:solidFill>
            </c:spPr>
            <c:extLst>
              <c:ext xmlns:c16="http://schemas.microsoft.com/office/drawing/2014/chart" uri="{C3380CC4-5D6E-409C-BE32-E72D297353CC}">
                <c16:uniqueId val="{000000D5-2993-41DE-A2CB-63102DE87051}"/>
              </c:ext>
            </c:extLst>
          </c:dPt>
          <c:dPt>
            <c:idx val="106"/>
            <c:invertIfNegative val="1"/>
            <c:bubble3D val="0"/>
            <c:spPr>
              <a:solidFill>
                <a:srgbClr val="AEABAB"/>
              </a:solidFill>
            </c:spPr>
            <c:extLst>
              <c:ext xmlns:c16="http://schemas.microsoft.com/office/drawing/2014/chart" uri="{C3380CC4-5D6E-409C-BE32-E72D297353CC}">
                <c16:uniqueId val="{000000D7-2993-41DE-A2CB-63102DE87051}"/>
              </c:ext>
            </c:extLst>
          </c:dPt>
          <c:dPt>
            <c:idx val="107"/>
            <c:invertIfNegative val="1"/>
            <c:bubble3D val="0"/>
            <c:spPr>
              <a:solidFill>
                <a:srgbClr val="AEABAB"/>
              </a:solidFill>
            </c:spPr>
            <c:extLst>
              <c:ext xmlns:c16="http://schemas.microsoft.com/office/drawing/2014/chart" uri="{C3380CC4-5D6E-409C-BE32-E72D297353CC}">
                <c16:uniqueId val="{000000D9-2993-41DE-A2CB-63102DE87051}"/>
              </c:ext>
            </c:extLst>
          </c:dPt>
          <c:dPt>
            <c:idx val="108"/>
            <c:invertIfNegative val="1"/>
            <c:bubble3D val="0"/>
            <c:spPr>
              <a:solidFill>
                <a:srgbClr val="AEABAB"/>
              </a:solidFill>
            </c:spPr>
            <c:extLst>
              <c:ext xmlns:c16="http://schemas.microsoft.com/office/drawing/2014/chart" uri="{C3380CC4-5D6E-409C-BE32-E72D297353CC}">
                <c16:uniqueId val="{000000DB-2993-41DE-A2CB-63102DE87051}"/>
              </c:ext>
            </c:extLst>
          </c:dPt>
          <c:dPt>
            <c:idx val="109"/>
            <c:invertIfNegative val="1"/>
            <c:bubble3D val="0"/>
            <c:spPr>
              <a:solidFill>
                <a:srgbClr val="AEABAB"/>
              </a:solidFill>
            </c:spPr>
            <c:extLst>
              <c:ext xmlns:c16="http://schemas.microsoft.com/office/drawing/2014/chart" uri="{C3380CC4-5D6E-409C-BE32-E72D297353CC}">
                <c16:uniqueId val="{000000DD-2993-41DE-A2CB-63102DE87051}"/>
              </c:ext>
            </c:extLst>
          </c:dPt>
          <c:dPt>
            <c:idx val="110"/>
            <c:invertIfNegative val="1"/>
            <c:bubble3D val="0"/>
            <c:spPr>
              <a:solidFill>
                <a:srgbClr val="AEABAB"/>
              </a:solidFill>
            </c:spPr>
            <c:extLst>
              <c:ext xmlns:c16="http://schemas.microsoft.com/office/drawing/2014/chart" uri="{C3380CC4-5D6E-409C-BE32-E72D297353CC}">
                <c16:uniqueId val="{000000DF-2993-41DE-A2CB-63102DE87051}"/>
              </c:ext>
            </c:extLst>
          </c:dPt>
          <c:dPt>
            <c:idx val="111"/>
            <c:invertIfNegative val="1"/>
            <c:bubble3D val="0"/>
            <c:spPr>
              <a:solidFill>
                <a:srgbClr val="AEABAB"/>
              </a:solidFill>
            </c:spPr>
            <c:extLst>
              <c:ext xmlns:c16="http://schemas.microsoft.com/office/drawing/2014/chart" uri="{C3380CC4-5D6E-409C-BE32-E72D297353CC}">
                <c16:uniqueId val="{000000E1-2993-41DE-A2CB-63102DE87051}"/>
              </c:ext>
            </c:extLst>
          </c:dPt>
          <c:dPt>
            <c:idx val="112"/>
            <c:invertIfNegative val="1"/>
            <c:bubble3D val="0"/>
            <c:spPr>
              <a:solidFill>
                <a:srgbClr val="AEABAB"/>
              </a:solidFill>
            </c:spPr>
            <c:extLst>
              <c:ext xmlns:c16="http://schemas.microsoft.com/office/drawing/2014/chart" uri="{C3380CC4-5D6E-409C-BE32-E72D297353CC}">
                <c16:uniqueId val="{000000E3-2993-41DE-A2CB-63102DE87051}"/>
              </c:ext>
            </c:extLst>
          </c:dPt>
          <c:dPt>
            <c:idx val="113"/>
            <c:invertIfNegative val="1"/>
            <c:bubble3D val="0"/>
            <c:spPr>
              <a:solidFill>
                <a:srgbClr val="AEABAB"/>
              </a:solidFill>
            </c:spPr>
            <c:extLst>
              <c:ext xmlns:c16="http://schemas.microsoft.com/office/drawing/2014/chart" uri="{C3380CC4-5D6E-409C-BE32-E72D297353CC}">
                <c16:uniqueId val="{000000E5-2993-41DE-A2CB-63102DE87051}"/>
              </c:ext>
            </c:extLst>
          </c:dPt>
          <c:dPt>
            <c:idx val="114"/>
            <c:invertIfNegative val="1"/>
            <c:bubble3D val="0"/>
            <c:spPr>
              <a:solidFill>
                <a:srgbClr val="AEABAB"/>
              </a:solidFill>
            </c:spPr>
            <c:extLst>
              <c:ext xmlns:c16="http://schemas.microsoft.com/office/drawing/2014/chart" uri="{C3380CC4-5D6E-409C-BE32-E72D297353CC}">
                <c16:uniqueId val="{000000E7-2993-41DE-A2CB-63102DE87051}"/>
              </c:ext>
            </c:extLst>
          </c:dPt>
          <c:dPt>
            <c:idx val="115"/>
            <c:invertIfNegative val="1"/>
            <c:bubble3D val="0"/>
            <c:spPr>
              <a:solidFill>
                <a:srgbClr val="AEABAB"/>
              </a:solidFill>
            </c:spPr>
            <c:extLst>
              <c:ext xmlns:c16="http://schemas.microsoft.com/office/drawing/2014/chart" uri="{C3380CC4-5D6E-409C-BE32-E72D297353CC}">
                <c16:uniqueId val="{000000E9-2993-41DE-A2CB-63102DE87051}"/>
              </c:ext>
            </c:extLst>
          </c:dPt>
          <c:dPt>
            <c:idx val="116"/>
            <c:invertIfNegative val="1"/>
            <c:bubble3D val="0"/>
            <c:spPr>
              <a:solidFill>
                <a:srgbClr val="AEABAB"/>
              </a:solidFill>
            </c:spPr>
            <c:extLst>
              <c:ext xmlns:c16="http://schemas.microsoft.com/office/drawing/2014/chart" uri="{C3380CC4-5D6E-409C-BE32-E72D297353CC}">
                <c16:uniqueId val="{000000EB-2993-41DE-A2CB-63102DE87051}"/>
              </c:ext>
            </c:extLst>
          </c:dPt>
          <c:dPt>
            <c:idx val="117"/>
            <c:invertIfNegative val="1"/>
            <c:bubble3D val="0"/>
            <c:spPr>
              <a:solidFill>
                <a:srgbClr val="AEABAB"/>
              </a:solidFill>
            </c:spPr>
            <c:extLst>
              <c:ext xmlns:c16="http://schemas.microsoft.com/office/drawing/2014/chart" uri="{C3380CC4-5D6E-409C-BE32-E72D297353CC}">
                <c16:uniqueId val="{000000ED-2993-41DE-A2CB-63102DE87051}"/>
              </c:ext>
            </c:extLst>
          </c:dPt>
          <c:dPt>
            <c:idx val="118"/>
            <c:invertIfNegative val="1"/>
            <c:bubble3D val="0"/>
            <c:spPr>
              <a:solidFill>
                <a:srgbClr val="AEABAB"/>
              </a:solidFill>
            </c:spPr>
            <c:extLst>
              <c:ext xmlns:c16="http://schemas.microsoft.com/office/drawing/2014/chart" uri="{C3380CC4-5D6E-409C-BE32-E72D297353CC}">
                <c16:uniqueId val="{000000EF-2993-41DE-A2CB-63102DE87051}"/>
              </c:ext>
            </c:extLst>
          </c:dPt>
          <c:dPt>
            <c:idx val="119"/>
            <c:invertIfNegative val="1"/>
            <c:bubble3D val="0"/>
            <c:spPr>
              <a:solidFill>
                <a:srgbClr val="AEABAB"/>
              </a:solidFill>
            </c:spPr>
            <c:extLst>
              <c:ext xmlns:c16="http://schemas.microsoft.com/office/drawing/2014/chart" uri="{C3380CC4-5D6E-409C-BE32-E72D297353CC}">
                <c16:uniqueId val="{000000F1-2993-41DE-A2CB-63102DE87051}"/>
              </c:ext>
            </c:extLst>
          </c:dPt>
          <c:dPt>
            <c:idx val="120"/>
            <c:invertIfNegative val="1"/>
            <c:bubble3D val="0"/>
            <c:spPr>
              <a:solidFill>
                <a:srgbClr val="AEABAB"/>
              </a:solidFill>
            </c:spPr>
            <c:extLst>
              <c:ext xmlns:c16="http://schemas.microsoft.com/office/drawing/2014/chart" uri="{C3380CC4-5D6E-409C-BE32-E72D297353CC}">
                <c16:uniqueId val="{000000F3-2993-41DE-A2CB-63102DE87051}"/>
              </c:ext>
            </c:extLst>
          </c:dPt>
          <c:dPt>
            <c:idx val="121"/>
            <c:invertIfNegative val="1"/>
            <c:bubble3D val="0"/>
            <c:spPr>
              <a:solidFill>
                <a:srgbClr val="AEABAB"/>
              </a:solidFill>
            </c:spPr>
            <c:extLst>
              <c:ext xmlns:c16="http://schemas.microsoft.com/office/drawing/2014/chart" uri="{C3380CC4-5D6E-409C-BE32-E72D297353CC}">
                <c16:uniqueId val="{000000F5-2993-41DE-A2CB-63102DE87051}"/>
              </c:ext>
            </c:extLst>
          </c:dPt>
          <c:dPt>
            <c:idx val="122"/>
            <c:invertIfNegative val="1"/>
            <c:bubble3D val="0"/>
            <c:spPr>
              <a:solidFill>
                <a:srgbClr val="AEABAB"/>
              </a:solidFill>
            </c:spPr>
            <c:extLst>
              <c:ext xmlns:c16="http://schemas.microsoft.com/office/drawing/2014/chart" uri="{C3380CC4-5D6E-409C-BE32-E72D297353CC}">
                <c16:uniqueId val="{000000F7-2993-41DE-A2CB-63102DE87051}"/>
              </c:ext>
            </c:extLst>
          </c:dPt>
          <c:dPt>
            <c:idx val="123"/>
            <c:invertIfNegative val="1"/>
            <c:bubble3D val="0"/>
            <c:spPr>
              <a:solidFill>
                <a:srgbClr val="AEABAB"/>
              </a:solidFill>
            </c:spPr>
            <c:extLst>
              <c:ext xmlns:c16="http://schemas.microsoft.com/office/drawing/2014/chart" uri="{C3380CC4-5D6E-409C-BE32-E72D297353CC}">
                <c16:uniqueId val="{000000F9-2993-41DE-A2CB-63102DE87051}"/>
              </c:ext>
            </c:extLst>
          </c:dPt>
          <c:dPt>
            <c:idx val="124"/>
            <c:invertIfNegative val="1"/>
            <c:bubble3D val="0"/>
            <c:spPr>
              <a:solidFill>
                <a:srgbClr val="AEABAB"/>
              </a:solidFill>
            </c:spPr>
            <c:extLst>
              <c:ext xmlns:c16="http://schemas.microsoft.com/office/drawing/2014/chart" uri="{C3380CC4-5D6E-409C-BE32-E72D297353CC}">
                <c16:uniqueId val="{000000FB-2993-41DE-A2CB-63102DE87051}"/>
              </c:ext>
            </c:extLst>
          </c:dPt>
          <c:dPt>
            <c:idx val="125"/>
            <c:invertIfNegative val="1"/>
            <c:bubble3D val="0"/>
            <c:spPr>
              <a:solidFill>
                <a:srgbClr val="AEABAB"/>
              </a:solidFill>
            </c:spPr>
            <c:extLst>
              <c:ext xmlns:c16="http://schemas.microsoft.com/office/drawing/2014/chart" uri="{C3380CC4-5D6E-409C-BE32-E72D297353CC}">
                <c16:uniqueId val="{000000FD-2993-41DE-A2CB-63102DE87051}"/>
              </c:ext>
            </c:extLst>
          </c:dPt>
          <c:dPt>
            <c:idx val="126"/>
            <c:invertIfNegative val="1"/>
            <c:bubble3D val="0"/>
            <c:spPr>
              <a:solidFill>
                <a:srgbClr val="AEABAB"/>
              </a:solidFill>
            </c:spPr>
            <c:extLst>
              <c:ext xmlns:c16="http://schemas.microsoft.com/office/drawing/2014/chart" uri="{C3380CC4-5D6E-409C-BE32-E72D297353CC}">
                <c16:uniqueId val="{000000FF-2993-41DE-A2CB-63102DE87051}"/>
              </c:ext>
            </c:extLst>
          </c:dPt>
          <c:dPt>
            <c:idx val="127"/>
            <c:invertIfNegative val="1"/>
            <c:bubble3D val="0"/>
            <c:spPr>
              <a:solidFill>
                <a:srgbClr val="AEABAB"/>
              </a:solidFill>
            </c:spPr>
            <c:extLst>
              <c:ext xmlns:c16="http://schemas.microsoft.com/office/drawing/2014/chart" uri="{C3380CC4-5D6E-409C-BE32-E72D297353CC}">
                <c16:uniqueId val="{00000101-2993-41DE-A2CB-63102DE87051}"/>
              </c:ext>
            </c:extLst>
          </c:dPt>
          <c:dPt>
            <c:idx val="128"/>
            <c:invertIfNegative val="1"/>
            <c:bubble3D val="0"/>
            <c:spPr>
              <a:solidFill>
                <a:srgbClr val="AEABAB"/>
              </a:solidFill>
            </c:spPr>
            <c:extLst>
              <c:ext xmlns:c16="http://schemas.microsoft.com/office/drawing/2014/chart" uri="{C3380CC4-5D6E-409C-BE32-E72D297353CC}">
                <c16:uniqueId val="{00000103-2993-41DE-A2CB-63102DE87051}"/>
              </c:ext>
            </c:extLst>
          </c:dPt>
          <c:dPt>
            <c:idx val="129"/>
            <c:invertIfNegative val="1"/>
            <c:bubble3D val="0"/>
            <c:spPr>
              <a:solidFill>
                <a:srgbClr val="AEABAB"/>
              </a:solidFill>
            </c:spPr>
            <c:extLst>
              <c:ext xmlns:c16="http://schemas.microsoft.com/office/drawing/2014/chart" uri="{C3380CC4-5D6E-409C-BE32-E72D297353CC}">
                <c16:uniqueId val="{00000105-2993-41DE-A2CB-63102DE87051}"/>
              </c:ext>
            </c:extLst>
          </c:dPt>
          <c:dPt>
            <c:idx val="130"/>
            <c:invertIfNegative val="1"/>
            <c:bubble3D val="0"/>
            <c:spPr>
              <a:solidFill>
                <a:srgbClr val="AEABAB"/>
              </a:solidFill>
            </c:spPr>
            <c:extLst>
              <c:ext xmlns:c16="http://schemas.microsoft.com/office/drawing/2014/chart" uri="{C3380CC4-5D6E-409C-BE32-E72D297353CC}">
                <c16:uniqueId val="{00000107-2993-41DE-A2CB-63102DE87051}"/>
              </c:ext>
            </c:extLst>
          </c:dPt>
          <c:dPt>
            <c:idx val="131"/>
            <c:invertIfNegative val="1"/>
            <c:bubble3D val="0"/>
            <c:spPr>
              <a:solidFill>
                <a:srgbClr val="AEABAB"/>
              </a:solidFill>
            </c:spPr>
            <c:extLst>
              <c:ext xmlns:c16="http://schemas.microsoft.com/office/drawing/2014/chart" uri="{C3380CC4-5D6E-409C-BE32-E72D297353CC}">
                <c16:uniqueId val="{00000109-2993-41DE-A2CB-63102DE87051}"/>
              </c:ext>
            </c:extLst>
          </c:dPt>
          <c:dPt>
            <c:idx val="132"/>
            <c:invertIfNegative val="1"/>
            <c:bubble3D val="0"/>
            <c:spPr>
              <a:solidFill>
                <a:srgbClr val="AEABAB"/>
              </a:solidFill>
            </c:spPr>
            <c:extLst>
              <c:ext xmlns:c16="http://schemas.microsoft.com/office/drawing/2014/chart" uri="{C3380CC4-5D6E-409C-BE32-E72D297353CC}">
                <c16:uniqueId val="{0000010B-2993-41DE-A2CB-63102DE87051}"/>
              </c:ext>
            </c:extLst>
          </c:dPt>
          <c:dPt>
            <c:idx val="133"/>
            <c:invertIfNegative val="1"/>
            <c:bubble3D val="0"/>
            <c:spPr>
              <a:solidFill>
                <a:srgbClr val="AEABAB"/>
              </a:solidFill>
            </c:spPr>
            <c:extLst>
              <c:ext xmlns:c16="http://schemas.microsoft.com/office/drawing/2014/chart" uri="{C3380CC4-5D6E-409C-BE32-E72D297353CC}">
                <c16:uniqueId val="{0000010D-2993-41DE-A2CB-63102DE87051}"/>
              </c:ext>
            </c:extLst>
          </c:dPt>
          <c:dPt>
            <c:idx val="134"/>
            <c:invertIfNegative val="1"/>
            <c:bubble3D val="0"/>
            <c:spPr>
              <a:solidFill>
                <a:srgbClr val="AEABAB"/>
              </a:solidFill>
            </c:spPr>
            <c:extLst>
              <c:ext xmlns:c16="http://schemas.microsoft.com/office/drawing/2014/chart" uri="{C3380CC4-5D6E-409C-BE32-E72D297353CC}">
                <c16:uniqueId val="{0000010F-2993-41DE-A2CB-63102DE87051}"/>
              </c:ext>
            </c:extLst>
          </c:dPt>
          <c:dPt>
            <c:idx val="135"/>
            <c:invertIfNegative val="1"/>
            <c:bubble3D val="0"/>
            <c:spPr>
              <a:solidFill>
                <a:srgbClr val="AEABAB"/>
              </a:solidFill>
            </c:spPr>
            <c:extLst>
              <c:ext xmlns:c16="http://schemas.microsoft.com/office/drawing/2014/chart" uri="{C3380CC4-5D6E-409C-BE32-E72D297353CC}">
                <c16:uniqueId val="{00000111-2993-41DE-A2CB-63102DE87051}"/>
              </c:ext>
            </c:extLst>
          </c:dPt>
          <c:dPt>
            <c:idx val="136"/>
            <c:invertIfNegative val="1"/>
            <c:bubble3D val="0"/>
            <c:spPr>
              <a:solidFill>
                <a:srgbClr val="AEABAB"/>
              </a:solidFill>
            </c:spPr>
            <c:extLst>
              <c:ext xmlns:c16="http://schemas.microsoft.com/office/drawing/2014/chart" uri="{C3380CC4-5D6E-409C-BE32-E72D297353CC}">
                <c16:uniqueId val="{00000113-2993-41DE-A2CB-63102DE87051}"/>
              </c:ext>
            </c:extLst>
          </c:dPt>
          <c:dPt>
            <c:idx val="137"/>
            <c:invertIfNegative val="1"/>
            <c:bubble3D val="0"/>
            <c:spPr>
              <a:solidFill>
                <a:srgbClr val="AEABAB"/>
              </a:solidFill>
            </c:spPr>
            <c:extLst>
              <c:ext xmlns:c16="http://schemas.microsoft.com/office/drawing/2014/chart" uri="{C3380CC4-5D6E-409C-BE32-E72D297353CC}">
                <c16:uniqueId val="{00000115-2993-41DE-A2CB-63102DE87051}"/>
              </c:ext>
            </c:extLst>
          </c:dPt>
          <c:dPt>
            <c:idx val="138"/>
            <c:invertIfNegative val="1"/>
            <c:bubble3D val="0"/>
            <c:spPr>
              <a:solidFill>
                <a:srgbClr val="AEABAB"/>
              </a:solidFill>
            </c:spPr>
            <c:extLst>
              <c:ext xmlns:c16="http://schemas.microsoft.com/office/drawing/2014/chart" uri="{C3380CC4-5D6E-409C-BE32-E72D297353CC}">
                <c16:uniqueId val="{00000117-2993-41DE-A2CB-63102DE87051}"/>
              </c:ext>
            </c:extLst>
          </c:dPt>
          <c:dPt>
            <c:idx val="139"/>
            <c:invertIfNegative val="1"/>
            <c:bubble3D val="0"/>
            <c:spPr>
              <a:solidFill>
                <a:srgbClr val="AEABAB"/>
              </a:solidFill>
            </c:spPr>
            <c:extLst>
              <c:ext xmlns:c16="http://schemas.microsoft.com/office/drawing/2014/chart" uri="{C3380CC4-5D6E-409C-BE32-E72D297353CC}">
                <c16:uniqueId val="{00000119-2993-41DE-A2CB-63102DE87051}"/>
              </c:ext>
            </c:extLst>
          </c:dPt>
          <c:dPt>
            <c:idx val="140"/>
            <c:invertIfNegative val="1"/>
            <c:bubble3D val="0"/>
            <c:spPr>
              <a:solidFill>
                <a:srgbClr val="AEABAB"/>
              </a:solidFill>
            </c:spPr>
            <c:extLst>
              <c:ext xmlns:c16="http://schemas.microsoft.com/office/drawing/2014/chart" uri="{C3380CC4-5D6E-409C-BE32-E72D297353CC}">
                <c16:uniqueId val="{0000011B-2993-41DE-A2CB-63102DE87051}"/>
              </c:ext>
            </c:extLst>
          </c:dPt>
          <c:dPt>
            <c:idx val="141"/>
            <c:invertIfNegative val="1"/>
            <c:bubble3D val="0"/>
            <c:spPr>
              <a:solidFill>
                <a:srgbClr val="AEABAB"/>
              </a:solidFill>
            </c:spPr>
            <c:extLst>
              <c:ext xmlns:c16="http://schemas.microsoft.com/office/drawing/2014/chart" uri="{C3380CC4-5D6E-409C-BE32-E72D297353CC}">
                <c16:uniqueId val="{0000011D-2993-41DE-A2CB-63102DE87051}"/>
              </c:ext>
            </c:extLst>
          </c:dPt>
          <c:dPt>
            <c:idx val="142"/>
            <c:invertIfNegative val="1"/>
            <c:bubble3D val="0"/>
            <c:spPr>
              <a:solidFill>
                <a:srgbClr val="AEABAB"/>
              </a:solidFill>
            </c:spPr>
            <c:extLst>
              <c:ext xmlns:c16="http://schemas.microsoft.com/office/drawing/2014/chart" uri="{C3380CC4-5D6E-409C-BE32-E72D297353CC}">
                <c16:uniqueId val="{0000011F-2993-41DE-A2CB-63102DE87051}"/>
              </c:ext>
            </c:extLst>
          </c:dPt>
          <c:dPt>
            <c:idx val="143"/>
            <c:invertIfNegative val="1"/>
            <c:bubble3D val="0"/>
            <c:spPr>
              <a:solidFill>
                <a:srgbClr val="AEABAB"/>
              </a:solidFill>
            </c:spPr>
            <c:extLst>
              <c:ext xmlns:c16="http://schemas.microsoft.com/office/drawing/2014/chart" uri="{C3380CC4-5D6E-409C-BE32-E72D297353CC}">
                <c16:uniqueId val="{00000121-2993-41DE-A2CB-63102DE87051}"/>
              </c:ext>
            </c:extLst>
          </c:dPt>
          <c:dPt>
            <c:idx val="144"/>
            <c:invertIfNegative val="1"/>
            <c:bubble3D val="0"/>
            <c:spPr>
              <a:solidFill>
                <a:srgbClr val="AEABAB"/>
              </a:solidFill>
            </c:spPr>
            <c:extLst>
              <c:ext xmlns:c16="http://schemas.microsoft.com/office/drawing/2014/chart" uri="{C3380CC4-5D6E-409C-BE32-E72D297353CC}">
                <c16:uniqueId val="{00000123-2993-41DE-A2CB-63102DE87051}"/>
              </c:ext>
            </c:extLst>
          </c:dPt>
          <c:dPt>
            <c:idx val="145"/>
            <c:invertIfNegative val="1"/>
            <c:bubble3D val="0"/>
            <c:spPr>
              <a:solidFill>
                <a:srgbClr val="AEABAB"/>
              </a:solidFill>
            </c:spPr>
            <c:extLst>
              <c:ext xmlns:c16="http://schemas.microsoft.com/office/drawing/2014/chart" uri="{C3380CC4-5D6E-409C-BE32-E72D297353CC}">
                <c16:uniqueId val="{00000125-2993-41DE-A2CB-63102DE87051}"/>
              </c:ext>
            </c:extLst>
          </c:dPt>
          <c:dPt>
            <c:idx val="146"/>
            <c:invertIfNegative val="1"/>
            <c:bubble3D val="0"/>
            <c:spPr>
              <a:solidFill>
                <a:srgbClr val="AEABAB"/>
              </a:solidFill>
            </c:spPr>
            <c:extLst>
              <c:ext xmlns:c16="http://schemas.microsoft.com/office/drawing/2014/chart" uri="{C3380CC4-5D6E-409C-BE32-E72D297353CC}">
                <c16:uniqueId val="{00000127-2993-41DE-A2CB-63102DE87051}"/>
              </c:ext>
            </c:extLst>
          </c:dPt>
          <c:dPt>
            <c:idx val="147"/>
            <c:invertIfNegative val="1"/>
            <c:bubble3D val="0"/>
            <c:spPr>
              <a:solidFill>
                <a:srgbClr val="AEABAB"/>
              </a:solidFill>
            </c:spPr>
            <c:extLst>
              <c:ext xmlns:c16="http://schemas.microsoft.com/office/drawing/2014/chart" uri="{C3380CC4-5D6E-409C-BE32-E72D297353CC}">
                <c16:uniqueId val="{00000129-2993-41DE-A2CB-63102DE87051}"/>
              </c:ext>
            </c:extLst>
          </c:dPt>
          <c:dPt>
            <c:idx val="148"/>
            <c:invertIfNegative val="1"/>
            <c:bubble3D val="0"/>
            <c:spPr>
              <a:solidFill>
                <a:srgbClr val="AEABAB"/>
              </a:solidFill>
            </c:spPr>
            <c:extLst>
              <c:ext xmlns:c16="http://schemas.microsoft.com/office/drawing/2014/chart" uri="{C3380CC4-5D6E-409C-BE32-E72D297353CC}">
                <c16:uniqueId val="{0000012B-2993-41DE-A2CB-63102DE87051}"/>
              </c:ext>
            </c:extLst>
          </c:dPt>
          <c:dPt>
            <c:idx val="149"/>
            <c:invertIfNegative val="1"/>
            <c:bubble3D val="0"/>
            <c:spPr>
              <a:solidFill>
                <a:srgbClr val="AEABAB"/>
              </a:solidFill>
            </c:spPr>
            <c:extLst>
              <c:ext xmlns:c16="http://schemas.microsoft.com/office/drawing/2014/chart" uri="{C3380CC4-5D6E-409C-BE32-E72D297353CC}">
                <c16:uniqueId val="{0000012D-2993-41DE-A2CB-63102DE87051}"/>
              </c:ext>
            </c:extLst>
          </c:dPt>
          <c:dPt>
            <c:idx val="150"/>
            <c:invertIfNegative val="1"/>
            <c:bubble3D val="0"/>
            <c:spPr>
              <a:solidFill>
                <a:srgbClr val="AEABAB"/>
              </a:solidFill>
            </c:spPr>
            <c:extLst>
              <c:ext xmlns:c16="http://schemas.microsoft.com/office/drawing/2014/chart" uri="{C3380CC4-5D6E-409C-BE32-E72D297353CC}">
                <c16:uniqueId val="{0000012F-2993-41DE-A2CB-63102DE87051}"/>
              </c:ext>
            </c:extLst>
          </c:dPt>
          <c:dPt>
            <c:idx val="151"/>
            <c:invertIfNegative val="1"/>
            <c:bubble3D val="0"/>
            <c:spPr>
              <a:solidFill>
                <a:srgbClr val="AEABAB"/>
              </a:solidFill>
            </c:spPr>
            <c:extLst>
              <c:ext xmlns:c16="http://schemas.microsoft.com/office/drawing/2014/chart" uri="{C3380CC4-5D6E-409C-BE32-E72D297353CC}">
                <c16:uniqueId val="{00000131-2993-41DE-A2CB-63102DE87051}"/>
              </c:ext>
            </c:extLst>
          </c:dPt>
          <c:dPt>
            <c:idx val="152"/>
            <c:invertIfNegative val="1"/>
            <c:bubble3D val="0"/>
            <c:spPr>
              <a:solidFill>
                <a:srgbClr val="AEABAB"/>
              </a:solidFill>
            </c:spPr>
            <c:extLst>
              <c:ext xmlns:c16="http://schemas.microsoft.com/office/drawing/2014/chart" uri="{C3380CC4-5D6E-409C-BE32-E72D297353CC}">
                <c16:uniqueId val="{00000133-2993-41DE-A2CB-63102DE87051}"/>
              </c:ext>
            </c:extLst>
          </c:dPt>
          <c:dPt>
            <c:idx val="153"/>
            <c:invertIfNegative val="1"/>
            <c:bubble3D val="0"/>
            <c:spPr>
              <a:solidFill>
                <a:srgbClr val="AEABAB"/>
              </a:solidFill>
            </c:spPr>
            <c:extLst>
              <c:ext xmlns:c16="http://schemas.microsoft.com/office/drawing/2014/chart" uri="{C3380CC4-5D6E-409C-BE32-E72D297353CC}">
                <c16:uniqueId val="{00000135-2993-41DE-A2CB-63102DE87051}"/>
              </c:ext>
            </c:extLst>
          </c:dPt>
          <c:dPt>
            <c:idx val="154"/>
            <c:invertIfNegative val="1"/>
            <c:bubble3D val="0"/>
            <c:spPr>
              <a:solidFill>
                <a:srgbClr val="AEABAB"/>
              </a:solidFill>
            </c:spPr>
            <c:extLst>
              <c:ext xmlns:c16="http://schemas.microsoft.com/office/drawing/2014/chart" uri="{C3380CC4-5D6E-409C-BE32-E72D297353CC}">
                <c16:uniqueId val="{00000137-2993-41DE-A2CB-63102DE87051}"/>
              </c:ext>
            </c:extLst>
          </c:dPt>
          <c:dPt>
            <c:idx val="155"/>
            <c:invertIfNegative val="1"/>
            <c:bubble3D val="0"/>
            <c:spPr>
              <a:solidFill>
                <a:srgbClr val="AEABAB"/>
              </a:solidFill>
            </c:spPr>
            <c:extLst>
              <c:ext xmlns:c16="http://schemas.microsoft.com/office/drawing/2014/chart" uri="{C3380CC4-5D6E-409C-BE32-E72D297353CC}">
                <c16:uniqueId val="{00000139-2993-41DE-A2CB-63102DE87051}"/>
              </c:ext>
            </c:extLst>
          </c:dPt>
          <c:dPt>
            <c:idx val="156"/>
            <c:invertIfNegative val="1"/>
            <c:bubble3D val="0"/>
            <c:spPr>
              <a:solidFill>
                <a:srgbClr val="AEABAB"/>
              </a:solidFill>
            </c:spPr>
            <c:extLst>
              <c:ext xmlns:c16="http://schemas.microsoft.com/office/drawing/2014/chart" uri="{C3380CC4-5D6E-409C-BE32-E72D297353CC}">
                <c16:uniqueId val="{0000013B-2993-41DE-A2CB-63102DE87051}"/>
              </c:ext>
            </c:extLst>
          </c:dPt>
          <c:dPt>
            <c:idx val="157"/>
            <c:invertIfNegative val="1"/>
            <c:bubble3D val="0"/>
            <c:spPr>
              <a:solidFill>
                <a:srgbClr val="AEABAB"/>
              </a:solidFill>
            </c:spPr>
            <c:extLst>
              <c:ext xmlns:c16="http://schemas.microsoft.com/office/drawing/2014/chart" uri="{C3380CC4-5D6E-409C-BE32-E72D297353CC}">
                <c16:uniqueId val="{0000013D-2993-41DE-A2CB-63102DE87051}"/>
              </c:ext>
            </c:extLst>
          </c:dPt>
          <c:dPt>
            <c:idx val="158"/>
            <c:invertIfNegative val="1"/>
            <c:bubble3D val="0"/>
            <c:spPr>
              <a:solidFill>
                <a:srgbClr val="AEABAB"/>
              </a:solidFill>
            </c:spPr>
            <c:extLst>
              <c:ext xmlns:c16="http://schemas.microsoft.com/office/drawing/2014/chart" uri="{C3380CC4-5D6E-409C-BE32-E72D297353CC}">
                <c16:uniqueId val="{0000013F-2993-41DE-A2CB-63102DE87051}"/>
              </c:ext>
            </c:extLst>
          </c:dPt>
          <c:dPt>
            <c:idx val="159"/>
            <c:invertIfNegative val="1"/>
            <c:bubble3D val="0"/>
            <c:spPr>
              <a:solidFill>
                <a:srgbClr val="AEABAB"/>
              </a:solidFill>
            </c:spPr>
            <c:extLst>
              <c:ext xmlns:c16="http://schemas.microsoft.com/office/drawing/2014/chart" uri="{C3380CC4-5D6E-409C-BE32-E72D297353CC}">
                <c16:uniqueId val="{00000141-2993-41DE-A2CB-63102DE87051}"/>
              </c:ext>
            </c:extLst>
          </c:dPt>
          <c:dPt>
            <c:idx val="160"/>
            <c:invertIfNegative val="1"/>
            <c:bubble3D val="0"/>
            <c:spPr>
              <a:solidFill>
                <a:srgbClr val="AEABAB"/>
              </a:solidFill>
            </c:spPr>
            <c:extLst>
              <c:ext xmlns:c16="http://schemas.microsoft.com/office/drawing/2014/chart" uri="{C3380CC4-5D6E-409C-BE32-E72D297353CC}">
                <c16:uniqueId val="{00000143-2993-41DE-A2CB-63102DE87051}"/>
              </c:ext>
            </c:extLst>
          </c:dPt>
          <c:dPt>
            <c:idx val="161"/>
            <c:invertIfNegative val="1"/>
            <c:bubble3D val="0"/>
            <c:spPr>
              <a:solidFill>
                <a:srgbClr val="AEABAB"/>
              </a:solidFill>
            </c:spPr>
            <c:extLst>
              <c:ext xmlns:c16="http://schemas.microsoft.com/office/drawing/2014/chart" uri="{C3380CC4-5D6E-409C-BE32-E72D297353CC}">
                <c16:uniqueId val="{00000145-2993-41DE-A2CB-63102DE87051}"/>
              </c:ext>
            </c:extLst>
          </c:dPt>
          <c:dPt>
            <c:idx val="162"/>
            <c:invertIfNegative val="1"/>
            <c:bubble3D val="0"/>
            <c:spPr>
              <a:solidFill>
                <a:srgbClr val="AEABAB"/>
              </a:solidFill>
            </c:spPr>
            <c:extLst>
              <c:ext xmlns:c16="http://schemas.microsoft.com/office/drawing/2014/chart" uri="{C3380CC4-5D6E-409C-BE32-E72D297353CC}">
                <c16:uniqueId val="{00000147-2993-41DE-A2CB-63102DE87051}"/>
              </c:ext>
            </c:extLst>
          </c:dPt>
          <c:dPt>
            <c:idx val="163"/>
            <c:invertIfNegative val="1"/>
            <c:bubble3D val="0"/>
            <c:spPr>
              <a:solidFill>
                <a:srgbClr val="AEABAB"/>
              </a:solidFill>
            </c:spPr>
            <c:extLst>
              <c:ext xmlns:c16="http://schemas.microsoft.com/office/drawing/2014/chart" uri="{C3380CC4-5D6E-409C-BE32-E72D297353CC}">
                <c16:uniqueId val="{00000149-2993-41DE-A2CB-63102DE87051}"/>
              </c:ext>
            </c:extLst>
          </c:dPt>
          <c:dPt>
            <c:idx val="164"/>
            <c:invertIfNegative val="1"/>
            <c:bubble3D val="0"/>
            <c:spPr>
              <a:solidFill>
                <a:srgbClr val="AEABAB"/>
              </a:solidFill>
            </c:spPr>
            <c:extLst>
              <c:ext xmlns:c16="http://schemas.microsoft.com/office/drawing/2014/chart" uri="{C3380CC4-5D6E-409C-BE32-E72D297353CC}">
                <c16:uniqueId val="{0000014B-2993-41DE-A2CB-63102DE87051}"/>
              </c:ext>
            </c:extLst>
          </c:dPt>
          <c:dPt>
            <c:idx val="165"/>
            <c:invertIfNegative val="1"/>
            <c:bubble3D val="0"/>
            <c:spPr>
              <a:solidFill>
                <a:srgbClr val="AEABAB"/>
              </a:solidFill>
            </c:spPr>
            <c:extLst>
              <c:ext xmlns:c16="http://schemas.microsoft.com/office/drawing/2014/chart" uri="{C3380CC4-5D6E-409C-BE32-E72D297353CC}">
                <c16:uniqueId val="{0000014D-2993-41DE-A2CB-63102DE87051}"/>
              </c:ext>
            </c:extLst>
          </c:dPt>
          <c:dPt>
            <c:idx val="166"/>
            <c:invertIfNegative val="1"/>
            <c:bubble3D val="0"/>
            <c:spPr>
              <a:solidFill>
                <a:srgbClr val="AEABAB"/>
              </a:solidFill>
            </c:spPr>
            <c:extLst>
              <c:ext xmlns:c16="http://schemas.microsoft.com/office/drawing/2014/chart" uri="{C3380CC4-5D6E-409C-BE32-E72D297353CC}">
                <c16:uniqueId val="{0000014F-2993-41DE-A2CB-63102DE87051}"/>
              </c:ext>
            </c:extLst>
          </c:dPt>
          <c:dPt>
            <c:idx val="167"/>
            <c:invertIfNegative val="1"/>
            <c:bubble3D val="0"/>
            <c:spPr>
              <a:solidFill>
                <a:srgbClr val="AEABAB"/>
              </a:solidFill>
            </c:spPr>
            <c:extLst>
              <c:ext xmlns:c16="http://schemas.microsoft.com/office/drawing/2014/chart" uri="{C3380CC4-5D6E-409C-BE32-E72D297353CC}">
                <c16:uniqueId val="{00000151-2993-41DE-A2CB-63102DE87051}"/>
              </c:ext>
            </c:extLst>
          </c:dPt>
          <c:dPt>
            <c:idx val="168"/>
            <c:invertIfNegative val="1"/>
            <c:bubble3D val="0"/>
            <c:spPr>
              <a:solidFill>
                <a:srgbClr val="AEABAB"/>
              </a:solidFill>
            </c:spPr>
            <c:extLst>
              <c:ext xmlns:c16="http://schemas.microsoft.com/office/drawing/2014/chart" uri="{C3380CC4-5D6E-409C-BE32-E72D297353CC}">
                <c16:uniqueId val="{00000153-2993-41DE-A2CB-63102DE87051}"/>
              </c:ext>
            </c:extLst>
          </c:dPt>
          <c:dPt>
            <c:idx val="169"/>
            <c:invertIfNegative val="1"/>
            <c:bubble3D val="0"/>
            <c:spPr>
              <a:solidFill>
                <a:srgbClr val="AEABAB"/>
              </a:solidFill>
            </c:spPr>
            <c:extLst>
              <c:ext xmlns:c16="http://schemas.microsoft.com/office/drawing/2014/chart" uri="{C3380CC4-5D6E-409C-BE32-E72D297353CC}">
                <c16:uniqueId val="{00000155-2993-41DE-A2CB-63102DE87051}"/>
              </c:ext>
            </c:extLst>
          </c:dPt>
          <c:dPt>
            <c:idx val="170"/>
            <c:invertIfNegative val="1"/>
            <c:bubble3D val="0"/>
            <c:spPr>
              <a:solidFill>
                <a:srgbClr val="AEABAB"/>
              </a:solidFill>
            </c:spPr>
            <c:extLst>
              <c:ext xmlns:c16="http://schemas.microsoft.com/office/drawing/2014/chart" uri="{C3380CC4-5D6E-409C-BE32-E72D297353CC}">
                <c16:uniqueId val="{00000157-2993-41DE-A2CB-63102DE87051}"/>
              </c:ext>
            </c:extLst>
          </c:dPt>
          <c:dPt>
            <c:idx val="171"/>
            <c:invertIfNegative val="1"/>
            <c:bubble3D val="0"/>
            <c:spPr>
              <a:solidFill>
                <a:srgbClr val="AEABAB"/>
              </a:solidFill>
            </c:spPr>
            <c:extLst>
              <c:ext xmlns:c16="http://schemas.microsoft.com/office/drawing/2014/chart" uri="{C3380CC4-5D6E-409C-BE32-E72D297353CC}">
                <c16:uniqueId val="{00000159-2993-41DE-A2CB-63102DE87051}"/>
              </c:ext>
            </c:extLst>
          </c:dPt>
          <c:dPt>
            <c:idx val="172"/>
            <c:invertIfNegative val="1"/>
            <c:bubble3D val="0"/>
            <c:spPr>
              <a:solidFill>
                <a:srgbClr val="AEABAB"/>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dPt>
            <c:idx val="210"/>
            <c:invertIfNegative val="1"/>
            <c:bubble3D val="0"/>
            <c:spPr>
              <a:solidFill>
                <a:srgbClr val="AEABAB"/>
              </a:solidFill>
            </c:spPr>
            <c:extLst>
              <c:ext xmlns:c16="http://schemas.microsoft.com/office/drawing/2014/chart" uri="{C3380CC4-5D6E-409C-BE32-E72D297353CC}">
                <c16:uniqueId val="{000001A7-C207-4A44-A969-52DE2A9F8CA4}"/>
              </c:ext>
            </c:extLst>
          </c:dPt>
          <c:dPt>
            <c:idx val="211"/>
            <c:invertIfNegative val="1"/>
            <c:bubble3D val="0"/>
            <c:spPr>
              <a:solidFill>
                <a:srgbClr val="AEABAB"/>
              </a:solidFill>
            </c:spPr>
            <c:extLst>
              <c:ext xmlns:c16="http://schemas.microsoft.com/office/drawing/2014/chart" uri="{C3380CC4-5D6E-409C-BE32-E72D297353CC}">
                <c16:uniqueId val="{000001A9-C207-4A44-A969-52DE2A9F8CA4}"/>
              </c:ext>
            </c:extLst>
          </c:dPt>
          <c:dPt>
            <c:idx val="212"/>
            <c:invertIfNegative val="1"/>
            <c:bubble3D val="0"/>
            <c:spPr>
              <a:solidFill>
                <a:srgbClr val="AEABAB"/>
              </a:solidFill>
            </c:spPr>
            <c:extLst>
              <c:ext xmlns:c16="http://schemas.microsoft.com/office/drawing/2014/chart" uri="{C3380CC4-5D6E-409C-BE32-E72D297353CC}">
                <c16:uniqueId val="{000001AB-C207-4A44-A969-52DE2A9F8CA4}"/>
              </c:ext>
            </c:extLst>
          </c:dPt>
          <c:dPt>
            <c:idx val="213"/>
            <c:invertIfNegative val="1"/>
            <c:bubble3D val="0"/>
            <c:spPr>
              <a:solidFill>
                <a:srgbClr val="AEABAB"/>
              </a:solidFill>
            </c:spPr>
            <c:extLst>
              <c:ext xmlns:c16="http://schemas.microsoft.com/office/drawing/2014/chart" uri="{C3380CC4-5D6E-409C-BE32-E72D297353CC}">
                <c16:uniqueId val="{000001AD-C207-4A44-A969-52DE2A9F8CA4}"/>
              </c:ext>
            </c:extLst>
          </c:dPt>
          <c:dPt>
            <c:idx val="214"/>
            <c:invertIfNegative val="1"/>
            <c:bubble3D val="0"/>
            <c:spPr>
              <a:solidFill>
                <a:srgbClr val="AEABAB"/>
              </a:solidFill>
            </c:spPr>
            <c:extLst>
              <c:ext xmlns:c16="http://schemas.microsoft.com/office/drawing/2014/chart" uri="{C3380CC4-5D6E-409C-BE32-E72D297353CC}">
                <c16:uniqueId val="{000001AF-C207-4A44-A969-52DE2A9F8CA4}"/>
              </c:ext>
            </c:extLst>
          </c:dPt>
          <c:dPt>
            <c:idx val="215"/>
            <c:invertIfNegative val="1"/>
            <c:bubble3D val="0"/>
            <c:spPr>
              <a:solidFill>
                <a:srgbClr val="AEABAB"/>
              </a:solidFill>
            </c:spPr>
            <c:extLst>
              <c:ext xmlns:c16="http://schemas.microsoft.com/office/drawing/2014/chart" uri="{C3380CC4-5D6E-409C-BE32-E72D297353CC}">
                <c16:uniqueId val="{000001B1-C207-4A44-A969-52DE2A9F8CA4}"/>
              </c:ext>
            </c:extLst>
          </c:dPt>
          <c:dPt>
            <c:idx val="216"/>
            <c:invertIfNegative val="1"/>
            <c:bubble3D val="0"/>
            <c:spPr>
              <a:solidFill>
                <a:srgbClr val="AEABAB"/>
              </a:solidFill>
            </c:spPr>
            <c:extLst>
              <c:ext xmlns:c16="http://schemas.microsoft.com/office/drawing/2014/chart" uri="{C3380CC4-5D6E-409C-BE32-E72D297353CC}">
                <c16:uniqueId val="{000001B3-C207-4A44-A969-52DE2A9F8CA4}"/>
              </c:ext>
            </c:extLst>
          </c:dPt>
          <c:dPt>
            <c:idx val="217"/>
            <c:invertIfNegative val="1"/>
            <c:bubble3D val="0"/>
            <c:spPr>
              <a:solidFill>
                <a:srgbClr val="AEABAB"/>
              </a:solidFill>
            </c:spPr>
            <c:extLst>
              <c:ext xmlns:c16="http://schemas.microsoft.com/office/drawing/2014/chart" uri="{C3380CC4-5D6E-409C-BE32-E72D297353CC}">
                <c16:uniqueId val="{000001B5-C207-4A44-A969-52DE2A9F8CA4}"/>
              </c:ext>
            </c:extLst>
          </c:dPt>
          <c:dPt>
            <c:idx val="218"/>
            <c:invertIfNegative val="1"/>
            <c:bubble3D val="0"/>
            <c:spPr>
              <a:solidFill>
                <a:srgbClr val="AEABAB"/>
              </a:solidFill>
            </c:spPr>
            <c:extLst>
              <c:ext xmlns:c16="http://schemas.microsoft.com/office/drawing/2014/chart" uri="{C3380CC4-5D6E-409C-BE32-E72D297353CC}">
                <c16:uniqueId val="{000001B7-C207-4A44-A969-52DE2A9F8CA4}"/>
              </c:ext>
            </c:extLst>
          </c:dPt>
          <c:dPt>
            <c:idx val="219"/>
            <c:invertIfNegative val="1"/>
            <c:bubble3D val="0"/>
            <c:spPr>
              <a:solidFill>
                <a:srgbClr val="AEABAB"/>
              </a:solidFill>
            </c:spPr>
            <c:extLst>
              <c:ext xmlns:c16="http://schemas.microsoft.com/office/drawing/2014/chart" uri="{C3380CC4-5D6E-409C-BE32-E72D297353CC}">
                <c16:uniqueId val="{000001B9-C207-4A44-A969-52DE2A9F8CA4}"/>
              </c:ext>
            </c:extLst>
          </c:dPt>
          <c:dPt>
            <c:idx val="220"/>
            <c:invertIfNegative val="1"/>
            <c:bubble3D val="0"/>
            <c:spPr>
              <a:solidFill>
                <a:srgbClr val="AEABAB"/>
              </a:solidFill>
            </c:spPr>
            <c:extLst>
              <c:ext xmlns:c16="http://schemas.microsoft.com/office/drawing/2014/chart" uri="{C3380CC4-5D6E-409C-BE32-E72D297353CC}">
                <c16:uniqueId val="{000001BB-C207-4A44-A969-52DE2A9F8CA4}"/>
              </c:ext>
            </c:extLst>
          </c:dPt>
          <c:dPt>
            <c:idx val="221"/>
            <c:invertIfNegative val="1"/>
            <c:bubble3D val="0"/>
            <c:spPr>
              <a:solidFill>
                <a:srgbClr val="AEABAB"/>
              </a:solidFill>
            </c:spPr>
            <c:extLst>
              <c:ext xmlns:c16="http://schemas.microsoft.com/office/drawing/2014/chart" uri="{C3380CC4-5D6E-409C-BE32-E72D297353CC}">
                <c16:uniqueId val="{000001BD-C207-4A44-A969-52DE2A9F8CA4}"/>
              </c:ext>
            </c:extLst>
          </c:dPt>
          <c:dPt>
            <c:idx val="222"/>
            <c:invertIfNegative val="1"/>
            <c:bubble3D val="0"/>
            <c:spPr>
              <a:solidFill>
                <a:srgbClr val="AEABAB"/>
              </a:solidFill>
            </c:spPr>
            <c:extLst>
              <c:ext xmlns:c16="http://schemas.microsoft.com/office/drawing/2014/chart" uri="{C3380CC4-5D6E-409C-BE32-E72D297353CC}">
                <c16:uniqueId val="{000001BF-C207-4A44-A969-52DE2A9F8CA4}"/>
              </c:ext>
            </c:extLst>
          </c:dPt>
          <c:dPt>
            <c:idx val="223"/>
            <c:invertIfNegative val="1"/>
            <c:bubble3D val="0"/>
            <c:spPr>
              <a:solidFill>
                <a:srgbClr val="AEABAB"/>
              </a:solidFill>
            </c:spPr>
            <c:extLst>
              <c:ext xmlns:c16="http://schemas.microsoft.com/office/drawing/2014/chart" uri="{C3380CC4-5D6E-409C-BE32-E72D297353CC}">
                <c16:uniqueId val="{000001C1-C207-4A44-A969-52DE2A9F8CA4}"/>
              </c:ext>
            </c:extLst>
          </c:dPt>
          <c:dPt>
            <c:idx val="224"/>
            <c:invertIfNegative val="1"/>
            <c:bubble3D val="0"/>
            <c:spPr>
              <a:solidFill>
                <a:srgbClr val="AEABAB"/>
              </a:solidFill>
            </c:spPr>
            <c:extLst>
              <c:ext xmlns:c16="http://schemas.microsoft.com/office/drawing/2014/chart" uri="{C3380CC4-5D6E-409C-BE32-E72D297353CC}">
                <c16:uniqueId val="{000001C3-C207-4A44-A969-52DE2A9F8CA4}"/>
              </c:ext>
            </c:extLst>
          </c:dPt>
          <c:dPt>
            <c:idx val="225"/>
            <c:invertIfNegative val="1"/>
            <c:bubble3D val="0"/>
            <c:spPr>
              <a:solidFill>
                <a:srgbClr val="AEABAB"/>
              </a:solidFill>
            </c:spPr>
            <c:extLst>
              <c:ext xmlns:c16="http://schemas.microsoft.com/office/drawing/2014/chart" uri="{C3380CC4-5D6E-409C-BE32-E72D297353CC}">
                <c16:uniqueId val="{000001C5-C207-4A44-A969-52DE2A9F8CA4}"/>
              </c:ext>
            </c:extLst>
          </c:dPt>
          <c:dPt>
            <c:idx val="226"/>
            <c:invertIfNegative val="1"/>
            <c:bubble3D val="0"/>
            <c:spPr>
              <a:solidFill>
                <a:srgbClr val="AEABAB"/>
              </a:solidFill>
            </c:spPr>
            <c:extLst>
              <c:ext xmlns:c16="http://schemas.microsoft.com/office/drawing/2014/chart" uri="{C3380CC4-5D6E-409C-BE32-E72D297353CC}">
                <c16:uniqueId val="{000001C7-C207-4A44-A969-52DE2A9F8CA4}"/>
              </c:ext>
            </c:extLst>
          </c:dPt>
          <c:dPt>
            <c:idx val="227"/>
            <c:invertIfNegative val="1"/>
            <c:bubble3D val="0"/>
            <c:spPr>
              <a:solidFill>
                <a:srgbClr val="AEABAB"/>
              </a:solidFill>
            </c:spPr>
            <c:extLst>
              <c:ext xmlns:c16="http://schemas.microsoft.com/office/drawing/2014/chart" uri="{C3380CC4-5D6E-409C-BE32-E72D297353CC}">
                <c16:uniqueId val="{000001C9-C207-4A44-A969-52DE2A9F8CA4}"/>
              </c:ext>
            </c:extLst>
          </c:dPt>
          <c:dPt>
            <c:idx val="228"/>
            <c:invertIfNegative val="1"/>
            <c:bubble3D val="0"/>
            <c:spPr>
              <a:solidFill>
                <a:srgbClr val="AEABAB"/>
              </a:solidFill>
            </c:spPr>
            <c:extLst>
              <c:ext xmlns:c16="http://schemas.microsoft.com/office/drawing/2014/chart" uri="{C3380CC4-5D6E-409C-BE32-E72D297353CC}">
                <c16:uniqueId val="{000001CB-C207-4A44-A969-52DE2A9F8CA4}"/>
              </c:ext>
            </c:extLst>
          </c:dPt>
          <c:dPt>
            <c:idx val="229"/>
            <c:invertIfNegative val="1"/>
            <c:bubble3D val="0"/>
            <c:spPr>
              <a:solidFill>
                <a:srgbClr val="AEABAB"/>
              </a:solidFill>
            </c:spPr>
            <c:extLst>
              <c:ext xmlns:c16="http://schemas.microsoft.com/office/drawing/2014/chart" uri="{C3380CC4-5D6E-409C-BE32-E72D297353CC}">
                <c16:uniqueId val="{000001CD-C207-4A44-A969-52DE2A9F8CA4}"/>
              </c:ext>
            </c:extLst>
          </c:dPt>
          <c:dPt>
            <c:idx val="230"/>
            <c:invertIfNegative val="1"/>
            <c:bubble3D val="0"/>
            <c:spPr>
              <a:solidFill>
                <a:srgbClr val="AEABAB"/>
              </a:solidFill>
            </c:spPr>
            <c:extLst>
              <c:ext xmlns:c16="http://schemas.microsoft.com/office/drawing/2014/chart" uri="{C3380CC4-5D6E-409C-BE32-E72D297353CC}">
                <c16:uniqueId val="{000001CF-C207-4A44-A969-52DE2A9F8CA4}"/>
              </c:ext>
            </c:extLst>
          </c:dPt>
          <c:dPt>
            <c:idx val="231"/>
            <c:invertIfNegative val="1"/>
            <c:bubble3D val="0"/>
            <c:spPr>
              <a:solidFill>
                <a:srgbClr val="AEABAB"/>
              </a:solidFill>
            </c:spPr>
            <c:extLst>
              <c:ext xmlns:c16="http://schemas.microsoft.com/office/drawing/2014/chart" uri="{C3380CC4-5D6E-409C-BE32-E72D297353CC}">
                <c16:uniqueId val="{000001D1-C207-4A44-A969-52DE2A9F8CA4}"/>
              </c:ext>
            </c:extLst>
          </c:dPt>
          <c:dPt>
            <c:idx val="232"/>
            <c:invertIfNegative val="1"/>
            <c:bubble3D val="0"/>
            <c:spPr>
              <a:solidFill>
                <a:srgbClr val="AEABAB"/>
              </a:solidFill>
            </c:spPr>
            <c:extLst>
              <c:ext xmlns:c16="http://schemas.microsoft.com/office/drawing/2014/chart" uri="{C3380CC4-5D6E-409C-BE32-E72D297353CC}">
                <c16:uniqueId val="{000001D3-C207-4A44-A969-52DE2A9F8CA4}"/>
              </c:ext>
            </c:extLst>
          </c:dPt>
          <c:dPt>
            <c:idx val="233"/>
            <c:invertIfNegative val="1"/>
            <c:bubble3D val="0"/>
            <c:spPr>
              <a:solidFill>
                <a:srgbClr val="AEABAB"/>
              </a:solidFill>
            </c:spPr>
            <c:extLst>
              <c:ext xmlns:c16="http://schemas.microsoft.com/office/drawing/2014/chart" uri="{C3380CC4-5D6E-409C-BE32-E72D297353CC}">
                <c16:uniqueId val="{000001D5-C207-4A44-A969-52DE2A9F8CA4}"/>
              </c:ext>
            </c:extLst>
          </c:dPt>
          <c:dPt>
            <c:idx val="234"/>
            <c:invertIfNegative val="1"/>
            <c:bubble3D val="0"/>
            <c:spPr>
              <a:solidFill>
                <a:srgbClr val="AEABAB"/>
              </a:solidFill>
            </c:spPr>
            <c:extLst>
              <c:ext xmlns:c16="http://schemas.microsoft.com/office/drawing/2014/chart" uri="{C3380CC4-5D6E-409C-BE32-E72D297353CC}">
                <c16:uniqueId val="{000001D7-C207-4A44-A969-52DE2A9F8CA4}"/>
              </c:ext>
            </c:extLst>
          </c:dPt>
          <c:dPt>
            <c:idx val="235"/>
            <c:invertIfNegative val="1"/>
            <c:bubble3D val="0"/>
            <c:spPr>
              <a:solidFill>
                <a:srgbClr val="AEABAB"/>
              </a:solidFill>
            </c:spPr>
            <c:extLst>
              <c:ext xmlns:c16="http://schemas.microsoft.com/office/drawing/2014/chart" uri="{C3380CC4-5D6E-409C-BE32-E72D297353CC}">
                <c16:uniqueId val="{000001D9-C207-4A44-A969-52DE2A9F8CA4}"/>
              </c:ext>
            </c:extLst>
          </c:dPt>
          <c:dPt>
            <c:idx val="236"/>
            <c:invertIfNegative val="1"/>
            <c:bubble3D val="0"/>
            <c:spPr>
              <a:solidFill>
                <a:srgbClr val="AEABAB"/>
              </a:solidFill>
            </c:spPr>
            <c:extLst>
              <c:ext xmlns:c16="http://schemas.microsoft.com/office/drawing/2014/chart" uri="{C3380CC4-5D6E-409C-BE32-E72D297353CC}">
                <c16:uniqueId val="{000001DB-C207-4A44-A969-52DE2A9F8CA4}"/>
              </c:ext>
            </c:extLst>
          </c:dPt>
          <c:dPt>
            <c:idx val="237"/>
            <c:invertIfNegative val="1"/>
            <c:bubble3D val="0"/>
            <c:spPr>
              <a:solidFill>
                <a:srgbClr val="AEABAB"/>
              </a:solidFill>
            </c:spPr>
            <c:extLst>
              <c:ext xmlns:c16="http://schemas.microsoft.com/office/drawing/2014/chart" uri="{C3380CC4-5D6E-409C-BE32-E72D297353CC}">
                <c16:uniqueId val="{000001DD-C207-4A44-A969-52DE2A9F8CA4}"/>
              </c:ext>
            </c:extLst>
          </c:dPt>
          <c:dPt>
            <c:idx val="238"/>
            <c:invertIfNegative val="1"/>
            <c:bubble3D val="0"/>
            <c:spPr>
              <a:solidFill>
                <a:srgbClr val="AEABAB"/>
              </a:solidFill>
            </c:spPr>
            <c:extLst>
              <c:ext xmlns:c16="http://schemas.microsoft.com/office/drawing/2014/chart" uri="{C3380CC4-5D6E-409C-BE32-E72D297353CC}">
                <c16:uniqueId val="{000001DF-C207-4A44-A969-52DE2A9F8CA4}"/>
              </c:ext>
            </c:extLst>
          </c:dPt>
          <c:dPt>
            <c:idx val="239"/>
            <c:invertIfNegative val="1"/>
            <c:bubble3D val="0"/>
            <c:spPr>
              <a:solidFill>
                <a:srgbClr val="AEABAB"/>
              </a:solidFill>
            </c:spPr>
            <c:extLst>
              <c:ext xmlns:c16="http://schemas.microsoft.com/office/drawing/2014/chart" uri="{C3380CC4-5D6E-409C-BE32-E72D297353CC}">
                <c16:uniqueId val="{000001E1-C207-4A44-A969-52DE2A9F8CA4}"/>
              </c:ext>
            </c:extLst>
          </c:dPt>
          <c:dPt>
            <c:idx val="240"/>
            <c:invertIfNegative val="1"/>
            <c:bubble3D val="0"/>
            <c:spPr>
              <a:solidFill>
                <a:srgbClr val="AEABAB"/>
              </a:solidFill>
            </c:spPr>
            <c:extLst>
              <c:ext xmlns:c16="http://schemas.microsoft.com/office/drawing/2014/chart" uri="{C3380CC4-5D6E-409C-BE32-E72D297353CC}">
                <c16:uniqueId val="{000001E3-C207-4A44-A969-52DE2A9F8CA4}"/>
              </c:ext>
            </c:extLst>
          </c:dPt>
          <c:dPt>
            <c:idx val="241"/>
            <c:invertIfNegative val="1"/>
            <c:bubble3D val="0"/>
            <c:spPr>
              <a:solidFill>
                <a:srgbClr val="AEABAB"/>
              </a:solidFill>
            </c:spPr>
            <c:extLst>
              <c:ext xmlns:c16="http://schemas.microsoft.com/office/drawing/2014/chart" uri="{C3380CC4-5D6E-409C-BE32-E72D297353CC}">
                <c16:uniqueId val="{000001E5-C207-4A44-A969-52DE2A9F8CA4}"/>
              </c:ext>
            </c:extLst>
          </c:dPt>
          <c:dPt>
            <c:idx val="242"/>
            <c:invertIfNegative val="1"/>
            <c:bubble3D val="0"/>
            <c:spPr>
              <a:solidFill>
                <a:srgbClr val="AEABAB"/>
              </a:solidFill>
            </c:spPr>
            <c:extLst>
              <c:ext xmlns:c16="http://schemas.microsoft.com/office/drawing/2014/chart" uri="{C3380CC4-5D6E-409C-BE32-E72D297353CC}">
                <c16:uniqueId val="{000001E7-C207-4A44-A969-52DE2A9F8CA4}"/>
              </c:ext>
            </c:extLst>
          </c:dPt>
          <c:dPt>
            <c:idx val="243"/>
            <c:invertIfNegative val="1"/>
            <c:bubble3D val="0"/>
            <c:spPr>
              <a:solidFill>
                <a:srgbClr val="AEABAB"/>
              </a:solidFill>
            </c:spPr>
            <c:extLst>
              <c:ext xmlns:c16="http://schemas.microsoft.com/office/drawing/2014/chart" uri="{C3380CC4-5D6E-409C-BE32-E72D297353CC}">
                <c16:uniqueId val="{000001E9-C207-4A44-A969-52DE2A9F8CA4}"/>
              </c:ext>
            </c:extLst>
          </c:dPt>
          <c:dPt>
            <c:idx val="244"/>
            <c:invertIfNegative val="1"/>
            <c:bubble3D val="0"/>
            <c:spPr>
              <a:solidFill>
                <a:srgbClr val="AEABAB"/>
              </a:solidFill>
            </c:spPr>
            <c:extLst>
              <c:ext xmlns:c16="http://schemas.microsoft.com/office/drawing/2014/chart" uri="{C3380CC4-5D6E-409C-BE32-E72D297353CC}">
                <c16:uniqueId val="{000001EB-C207-4A44-A969-52DE2A9F8CA4}"/>
              </c:ext>
            </c:extLst>
          </c:dPt>
          <c:dPt>
            <c:idx val="245"/>
            <c:invertIfNegative val="1"/>
            <c:bubble3D val="0"/>
            <c:spPr>
              <a:solidFill>
                <a:srgbClr val="AEABAB"/>
              </a:solidFill>
            </c:spPr>
            <c:extLst>
              <c:ext xmlns:c16="http://schemas.microsoft.com/office/drawing/2014/chart" uri="{C3380CC4-5D6E-409C-BE32-E72D297353CC}">
                <c16:uniqueId val="{000001ED-C207-4A44-A969-52DE2A9F8CA4}"/>
              </c:ext>
            </c:extLst>
          </c:dPt>
          <c:dPt>
            <c:idx val="246"/>
            <c:invertIfNegative val="1"/>
            <c:bubble3D val="0"/>
            <c:spPr>
              <a:solidFill>
                <a:srgbClr val="AEABAB"/>
              </a:solidFill>
            </c:spPr>
            <c:extLst>
              <c:ext xmlns:c16="http://schemas.microsoft.com/office/drawing/2014/chart" uri="{C3380CC4-5D6E-409C-BE32-E72D297353CC}">
                <c16:uniqueId val="{000001EF-C207-4A44-A969-52DE2A9F8CA4}"/>
              </c:ext>
            </c:extLst>
          </c:dPt>
          <c:dPt>
            <c:idx val="247"/>
            <c:invertIfNegative val="1"/>
            <c:bubble3D val="0"/>
            <c:spPr>
              <a:solidFill>
                <a:srgbClr val="AEABAB"/>
              </a:solidFill>
            </c:spPr>
            <c:extLst>
              <c:ext xmlns:c16="http://schemas.microsoft.com/office/drawing/2014/chart" uri="{C3380CC4-5D6E-409C-BE32-E72D297353CC}">
                <c16:uniqueId val="{000001F1-C207-4A44-A969-52DE2A9F8CA4}"/>
              </c:ext>
            </c:extLst>
          </c:dPt>
          <c:dPt>
            <c:idx val="248"/>
            <c:invertIfNegative val="1"/>
            <c:bubble3D val="0"/>
            <c:spPr>
              <a:solidFill>
                <a:srgbClr val="AEABAB"/>
              </a:solidFill>
            </c:spPr>
            <c:extLst>
              <c:ext xmlns:c16="http://schemas.microsoft.com/office/drawing/2014/chart" uri="{C3380CC4-5D6E-409C-BE32-E72D297353CC}">
                <c16:uniqueId val="{000001F3-C207-4A44-A969-52DE2A9F8CA4}"/>
              </c:ext>
            </c:extLst>
          </c:dPt>
          <c:dPt>
            <c:idx val="249"/>
            <c:invertIfNegative val="1"/>
            <c:bubble3D val="0"/>
            <c:spPr>
              <a:solidFill>
                <a:srgbClr val="AEABAB"/>
              </a:solidFill>
            </c:spPr>
            <c:extLst>
              <c:ext xmlns:c16="http://schemas.microsoft.com/office/drawing/2014/chart" uri="{C3380CC4-5D6E-409C-BE32-E72D297353CC}">
                <c16:uniqueId val="{000001F5-C207-4A44-A969-52DE2A9F8CA4}"/>
              </c:ext>
            </c:extLst>
          </c:dPt>
          <c:dPt>
            <c:idx val="250"/>
            <c:invertIfNegative val="1"/>
            <c:bubble3D val="0"/>
            <c:spPr>
              <a:solidFill>
                <a:srgbClr val="AEABAB"/>
              </a:solidFill>
            </c:spPr>
            <c:extLst>
              <c:ext xmlns:c16="http://schemas.microsoft.com/office/drawing/2014/chart" uri="{C3380CC4-5D6E-409C-BE32-E72D297353CC}">
                <c16:uniqueId val="{000001F7-C207-4A44-A969-52DE2A9F8CA4}"/>
              </c:ext>
            </c:extLst>
          </c:dPt>
          <c:dPt>
            <c:idx val="251"/>
            <c:invertIfNegative val="1"/>
            <c:bubble3D val="0"/>
            <c:spPr>
              <a:solidFill>
                <a:srgbClr val="AEABAB"/>
              </a:solidFill>
            </c:spPr>
            <c:extLst>
              <c:ext xmlns:c16="http://schemas.microsoft.com/office/drawing/2014/chart" uri="{C3380CC4-5D6E-409C-BE32-E72D297353CC}">
                <c16:uniqueId val="{000001F9-C207-4A44-A969-52DE2A9F8CA4}"/>
              </c:ext>
            </c:extLst>
          </c:dPt>
          <c:dPt>
            <c:idx val="252"/>
            <c:invertIfNegative val="1"/>
            <c:bubble3D val="0"/>
            <c:spPr>
              <a:solidFill>
                <a:srgbClr val="AEABAB"/>
              </a:solidFill>
            </c:spPr>
            <c:extLst>
              <c:ext xmlns:c16="http://schemas.microsoft.com/office/drawing/2014/chart" uri="{C3380CC4-5D6E-409C-BE32-E72D297353CC}">
                <c16:uniqueId val="{000001FB-C207-4A44-A969-52DE2A9F8CA4}"/>
              </c:ext>
            </c:extLst>
          </c:dPt>
          <c:dPt>
            <c:idx val="253"/>
            <c:invertIfNegative val="1"/>
            <c:bubble3D val="0"/>
            <c:spPr>
              <a:solidFill>
                <a:srgbClr val="AEABAB"/>
              </a:solidFill>
            </c:spPr>
            <c:extLst>
              <c:ext xmlns:c16="http://schemas.microsoft.com/office/drawing/2014/chart" uri="{C3380CC4-5D6E-409C-BE32-E72D297353CC}">
                <c16:uniqueId val="{000001FD-C207-4A44-A969-52DE2A9F8CA4}"/>
              </c:ext>
            </c:extLst>
          </c:dPt>
          <c:dPt>
            <c:idx val="254"/>
            <c:invertIfNegative val="1"/>
            <c:bubble3D val="0"/>
            <c:spPr>
              <a:solidFill>
                <a:srgbClr val="AEABAB"/>
              </a:solidFill>
            </c:spPr>
            <c:extLst>
              <c:ext xmlns:c16="http://schemas.microsoft.com/office/drawing/2014/chart" uri="{C3380CC4-5D6E-409C-BE32-E72D297353CC}">
                <c16:uniqueId val="{000001FF-C207-4A44-A969-52DE2A9F8CA4}"/>
              </c:ext>
            </c:extLst>
          </c:dPt>
          <c:dPt>
            <c:idx val="255"/>
            <c:invertIfNegative val="1"/>
            <c:bubble3D val="0"/>
            <c:spPr>
              <a:solidFill>
                <a:srgbClr val="AEABAB"/>
              </a:solidFill>
            </c:spPr>
            <c:extLst>
              <c:ext xmlns:c16="http://schemas.microsoft.com/office/drawing/2014/chart" uri="{C3380CC4-5D6E-409C-BE32-E72D297353CC}">
                <c16:uniqueId val="{00000201-C207-4A44-A969-52DE2A9F8CA4}"/>
              </c:ext>
            </c:extLst>
          </c:dPt>
          <c:dPt>
            <c:idx val="256"/>
            <c:invertIfNegative val="1"/>
            <c:bubble3D val="0"/>
            <c:spPr>
              <a:solidFill>
                <a:srgbClr val="AEABAB"/>
              </a:solidFill>
            </c:spPr>
            <c:extLst>
              <c:ext xmlns:c16="http://schemas.microsoft.com/office/drawing/2014/chart" uri="{C3380CC4-5D6E-409C-BE32-E72D297353CC}">
                <c16:uniqueId val="{00000203-C207-4A44-A969-52DE2A9F8CA4}"/>
              </c:ext>
            </c:extLst>
          </c:dPt>
          <c:dPt>
            <c:idx val="257"/>
            <c:invertIfNegative val="1"/>
            <c:bubble3D val="0"/>
            <c:spPr>
              <a:solidFill>
                <a:srgbClr val="AEABAB"/>
              </a:solidFill>
            </c:spPr>
            <c:extLst>
              <c:ext xmlns:c16="http://schemas.microsoft.com/office/drawing/2014/chart" uri="{C3380CC4-5D6E-409C-BE32-E72D297353CC}">
                <c16:uniqueId val="{00000205-C207-4A44-A969-52DE2A9F8CA4}"/>
              </c:ext>
            </c:extLst>
          </c:dPt>
          <c:dPt>
            <c:idx val="258"/>
            <c:invertIfNegative val="1"/>
            <c:bubble3D val="0"/>
            <c:spPr>
              <a:solidFill>
                <a:srgbClr val="AEABAB"/>
              </a:solidFill>
            </c:spPr>
            <c:extLst>
              <c:ext xmlns:c16="http://schemas.microsoft.com/office/drawing/2014/chart" uri="{C3380CC4-5D6E-409C-BE32-E72D297353CC}">
                <c16:uniqueId val="{00000207-C207-4A44-A969-52DE2A9F8CA4}"/>
              </c:ext>
            </c:extLst>
          </c:dPt>
          <c:dPt>
            <c:idx val="259"/>
            <c:invertIfNegative val="1"/>
            <c:bubble3D val="0"/>
            <c:spPr>
              <a:solidFill>
                <a:srgbClr val="AEABAB"/>
              </a:solidFill>
            </c:spPr>
            <c:extLst>
              <c:ext xmlns:c16="http://schemas.microsoft.com/office/drawing/2014/chart" uri="{C3380CC4-5D6E-409C-BE32-E72D297353CC}">
                <c16:uniqueId val="{00000209-C207-4A44-A969-52DE2A9F8CA4}"/>
              </c:ext>
            </c:extLst>
          </c:dPt>
          <c:dPt>
            <c:idx val="260"/>
            <c:invertIfNegative val="1"/>
            <c:bubble3D val="0"/>
            <c:spPr>
              <a:solidFill>
                <a:srgbClr val="AEABAB"/>
              </a:solidFill>
            </c:spPr>
            <c:extLst>
              <c:ext xmlns:c16="http://schemas.microsoft.com/office/drawing/2014/chart" uri="{C3380CC4-5D6E-409C-BE32-E72D297353CC}">
                <c16:uniqueId val="{0000020B-C207-4A44-A969-52DE2A9F8CA4}"/>
              </c:ext>
            </c:extLst>
          </c:dPt>
          <c:dPt>
            <c:idx val="261"/>
            <c:invertIfNegative val="1"/>
            <c:bubble3D val="0"/>
            <c:spPr>
              <a:solidFill>
                <a:srgbClr val="AEABAB"/>
              </a:solidFill>
            </c:spPr>
            <c:extLst>
              <c:ext xmlns:c16="http://schemas.microsoft.com/office/drawing/2014/chart" uri="{C3380CC4-5D6E-409C-BE32-E72D297353CC}">
                <c16:uniqueId val="{0000020D-C207-4A44-A969-52DE2A9F8CA4}"/>
              </c:ext>
            </c:extLst>
          </c:dPt>
          <c:dPt>
            <c:idx val="262"/>
            <c:invertIfNegative val="1"/>
            <c:bubble3D val="0"/>
            <c:spPr>
              <a:solidFill>
                <a:srgbClr val="AEABAB"/>
              </a:solidFill>
            </c:spPr>
            <c:extLst>
              <c:ext xmlns:c16="http://schemas.microsoft.com/office/drawing/2014/chart" uri="{C3380CC4-5D6E-409C-BE32-E72D297353CC}">
                <c16:uniqueId val="{0000020F-C207-4A44-A969-52DE2A9F8CA4}"/>
              </c:ext>
            </c:extLst>
          </c:dPt>
          <c:dPt>
            <c:idx val="263"/>
            <c:invertIfNegative val="1"/>
            <c:bubble3D val="0"/>
            <c:spPr>
              <a:solidFill>
                <a:srgbClr val="AEABAB"/>
              </a:solidFill>
            </c:spPr>
            <c:extLst>
              <c:ext xmlns:c16="http://schemas.microsoft.com/office/drawing/2014/chart" uri="{C3380CC4-5D6E-409C-BE32-E72D297353CC}">
                <c16:uniqueId val="{00000211-C207-4A44-A969-52DE2A9F8CA4}"/>
              </c:ext>
            </c:extLst>
          </c:dPt>
          <c:dPt>
            <c:idx val="264"/>
            <c:invertIfNegative val="1"/>
            <c:bubble3D val="0"/>
            <c:spPr>
              <a:solidFill>
                <a:srgbClr val="AEABAB"/>
              </a:solidFill>
            </c:spPr>
            <c:extLst>
              <c:ext xmlns:c16="http://schemas.microsoft.com/office/drawing/2014/chart" uri="{C3380CC4-5D6E-409C-BE32-E72D297353CC}">
                <c16:uniqueId val="{00000213-C207-4A44-A969-52DE2A9F8CA4}"/>
              </c:ext>
            </c:extLst>
          </c:dPt>
          <c:dPt>
            <c:idx val="265"/>
            <c:invertIfNegative val="1"/>
            <c:bubble3D val="0"/>
            <c:spPr>
              <a:solidFill>
                <a:srgbClr val="AEABAB"/>
              </a:solidFill>
            </c:spPr>
            <c:extLst>
              <c:ext xmlns:c16="http://schemas.microsoft.com/office/drawing/2014/chart" uri="{C3380CC4-5D6E-409C-BE32-E72D297353CC}">
                <c16:uniqueId val="{00000215-C207-4A44-A969-52DE2A9F8CA4}"/>
              </c:ext>
            </c:extLst>
          </c:dPt>
          <c:dPt>
            <c:idx val="266"/>
            <c:invertIfNegative val="1"/>
            <c:bubble3D val="0"/>
            <c:spPr>
              <a:solidFill>
                <a:srgbClr val="AEABAB"/>
              </a:solidFill>
            </c:spPr>
            <c:extLst>
              <c:ext xmlns:c16="http://schemas.microsoft.com/office/drawing/2014/chart" uri="{C3380CC4-5D6E-409C-BE32-E72D297353CC}">
                <c16:uniqueId val="{00000217-C207-4A44-A969-52DE2A9F8CA4}"/>
              </c:ext>
            </c:extLst>
          </c:dPt>
          <c:dPt>
            <c:idx val="267"/>
            <c:invertIfNegative val="1"/>
            <c:bubble3D val="0"/>
            <c:spPr>
              <a:solidFill>
                <a:srgbClr val="AEABAB"/>
              </a:solidFill>
            </c:spPr>
            <c:extLst>
              <c:ext xmlns:c16="http://schemas.microsoft.com/office/drawing/2014/chart" uri="{C3380CC4-5D6E-409C-BE32-E72D297353CC}">
                <c16:uniqueId val="{00000219-C207-4A44-A969-52DE2A9F8CA4}"/>
              </c:ext>
            </c:extLst>
          </c:dPt>
          <c:dPt>
            <c:idx val="268"/>
            <c:invertIfNegative val="1"/>
            <c:bubble3D val="0"/>
            <c:spPr>
              <a:solidFill>
                <a:srgbClr val="AEABAB"/>
              </a:solidFill>
            </c:spPr>
            <c:extLst>
              <c:ext xmlns:c16="http://schemas.microsoft.com/office/drawing/2014/chart" uri="{C3380CC4-5D6E-409C-BE32-E72D297353CC}">
                <c16:uniqueId val="{0000021B-C207-4A44-A969-52DE2A9F8CA4}"/>
              </c:ext>
            </c:extLst>
          </c:dPt>
          <c:dPt>
            <c:idx val="269"/>
            <c:invertIfNegative val="1"/>
            <c:bubble3D val="0"/>
            <c:spPr>
              <a:solidFill>
                <a:srgbClr val="AEABAB"/>
              </a:solidFill>
            </c:spPr>
            <c:extLst>
              <c:ext xmlns:c16="http://schemas.microsoft.com/office/drawing/2014/chart" uri="{C3380CC4-5D6E-409C-BE32-E72D297353CC}">
                <c16:uniqueId val="{0000021D-C207-4A44-A969-52DE2A9F8CA4}"/>
              </c:ext>
            </c:extLst>
          </c:dPt>
          <c:dPt>
            <c:idx val="270"/>
            <c:invertIfNegative val="1"/>
            <c:bubble3D val="0"/>
            <c:spPr>
              <a:solidFill>
                <a:srgbClr val="AEABAB"/>
              </a:solidFill>
            </c:spPr>
            <c:extLst>
              <c:ext xmlns:c16="http://schemas.microsoft.com/office/drawing/2014/chart" uri="{C3380CC4-5D6E-409C-BE32-E72D297353CC}">
                <c16:uniqueId val="{0000021F-C207-4A44-A969-52DE2A9F8CA4}"/>
              </c:ext>
            </c:extLst>
          </c:dPt>
          <c:dPt>
            <c:idx val="271"/>
            <c:invertIfNegative val="1"/>
            <c:bubble3D val="0"/>
            <c:spPr>
              <a:solidFill>
                <a:srgbClr val="AEABAB"/>
              </a:solidFill>
            </c:spPr>
            <c:extLst>
              <c:ext xmlns:c16="http://schemas.microsoft.com/office/drawing/2014/chart" uri="{C3380CC4-5D6E-409C-BE32-E72D297353CC}">
                <c16:uniqueId val="{00000221-C207-4A44-A969-52DE2A9F8CA4}"/>
              </c:ext>
            </c:extLst>
          </c:dPt>
          <c:dPt>
            <c:idx val="272"/>
            <c:invertIfNegative val="1"/>
            <c:bubble3D val="0"/>
            <c:spPr>
              <a:solidFill>
                <a:srgbClr val="AEABAB"/>
              </a:solidFill>
            </c:spPr>
            <c:extLst>
              <c:ext xmlns:c16="http://schemas.microsoft.com/office/drawing/2014/chart" uri="{C3380CC4-5D6E-409C-BE32-E72D297353CC}">
                <c16:uniqueId val="{00000223-C207-4A44-A969-52DE2A9F8CA4}"/>
              </c:ext>
            </c:extLst>
          </c:dPt>
          <c:dPt>
            <c:idx val="273"/>
            <c:invertIfNegative val="1"/>
            <c:bubble3D val="0"/>
            <c:spPr>
              <a:solidFill>
                <a:srgbClr val="AEABAB"/>
              </a:solidFill>
            </c:spPr>
            <c:extLst>
              <c:ext xmlns:c16="http://schemas.microsoft.com/office/drawing/2014/chart" uri="{C3380CC4-5D6E-409C-BE32-E72D297353CC}">
                <c16:uniqueId val="{00000225-C207-4A44-A969-52DE2A9F8CA4}"/>
              </c:ext>
            </c:extLst>
          </c:dPt>
          <c:dPt>
            <c:idx val="274"/>
            <c:invertIfNegative val="1"/>
            <c:bubble3D val="0"/>
            <c:spPr>
              <a:solidFill>
                <a:srgbClr val="AEABAB"/>
              </a:solidFill>
            </c:spPr>
            <c:extLst>
              <c:ext xmlns:c16="http://schemas.microsoft.com/office/drawing/2014/chart" uri="{C3380CC4-5D6E-409C-BE32-E72D297353CC}">
                <c16:uniqueId val="{00000227-C207-4A44-A969-52DE2A9F8CA4}"/>
              </c:ext>
            </c:extLst>
          </c:dPt>
          <c:dPt>
            <c:idx val="275"/>
            <c:invertIfNegative val="1"/>
            <c:bubble3D val="0"/>
            <c:spPr>
              <a:solidFill>
                <a:srgbClr val="AEABAB"/>
              </a:solidFill>
            </c:spPr>
            <c:extLst>
              <c:ext xmlns:c16="http://schemas.microsoft.com/office/drawing/2014/chart" uri="{C3380CC4-5D6E-409C-BE32-E72D297353CC}">
                <c16:uniqueId val="{00000229-C207-4A44-A969-52DE2A9F8CA4}"/>
              </c:ext>
            </c:extLst>
          </c:dPt>
          <c:dPt>
            <c:idx val="276"/>
            <c:invertIfNegative val="1"/>
            <c:bubble3D val="0"/>
            <c:spPr>
              <a:solidFill>
                <a:srgbClr val="AEABAB"/>
              </a:solidFill>
            </c:spPr>
            <c:extLst>
              <c:ext xmlns:c16="http://schemas.microsoft.com/office/drawing/2014/chart" uri="{C3380CC4-5D6E-409C-BE32-E72D297353CC}">
                <c16:uniqueId val="{0000022B-C207-4A44-A969-52DE2A9F8CA4}"/>
              </c:ext>
            </c:extLst>
          </c:dPt>
          <c:dPt>
            <c:idx val="277"/>
            <c:invertIfNegative val="1"/>
            <c:bubble3D val="0"/>
            <c:spPr>
              <a:solidFill>
                <a:srgbClr val="AEABAB"/>
              </a:solidFill>
            </c:spPr>
            <c:extLst>
              <c:ext xmlns:c16="http://schemas.microsoft.com/office/drawing/2014/chart" uri="{C3380CC4-5D6E-409C-BE32-E72D297353CC}">
                <c16:uniqueId val="{0000022D-C207-4A44-A969-52DE2A9F8CA4}"/>
              </c:ext>
            </c:extLst>
          </c:dPt>
          <c:dPt>
            <c:idx val="278"/>
            <c:invertIfNegative val="1"/>
            <c:bubble3D val="0"/>
            <c:spPr>
              <a:solidFill>
                <a:srgbClr val="AEABAB"/>
              </a:solidFill>
            </c:spPr>
            <c:extLst>
              <c:ext xmlns:c16="http://schemas.microsoft.com/office/drawing/2014/chart" uri="{C3380CC4-5D6E-409C-BE32-E72D297353CC}">
                <c16:uniqueId val="{0000022F-C207-4A44-A969-52DE2A9F8CA4}"/>
              </c:ext>
            </c:extLst>
          </c:dPt>
          <c:dPt>
            <c:idx val="279"/>
            <c:invertIfNegative val="1"/>
            <c:bubble3D val="0"/>
            <c:spPr>
              <a:solidFill>
                <a:srgbClr val="AEABAB"/>
              </a:solidFill>
            </c:spPr>
            <c:extLst>
              <c:ext xmlns:c16="http://schemas.microsoft.com/office/drawing/2014/chart" uri="{C3380CC4-5D6E-409C-BE32-E72D297353CC}">
                <c16:uniqueId val="{00000231-C207-4A44-A969-52DE2A9F8CA4}"/>
              </c:ext>
            </c:extLst>
          </c:dPt>
          <c:dPt>
            <c:idx val="280"/>
            <c:invertIfNegative val="1"/>
            <c:bubble3D val="0"/>
            <c:spPr>
              <a:solidFill>
                <a:srgbClr val="AEABAB"/>
              </a:solidFill>
            </c:spPr>
            <c:extLst>
              <c:ext xmlns:c16="http://schemas.microsoft.com/office/drawing/2014/chart" uri="{C3380CC4-5D6E-409C-BE32-E72D297353CC}">
                <c16:uniqueId val="{00000233-C207-4A44-A969-52DE2A9F8CA4}"/>
              </c:ext>
            </c:extLst>
          </c:dPt>
          <c:dPt>
            <c:idx val="281"/>
            <c:invertIfNegative val="1"/>
            <c:bubble3D val="0"/>
            <c:spPr>
              <a:solidFill>
                <a:srgbClr val="AEABAB"/>
              </a:solidFill>
            </c:spPr>
            <c:extLst>
              <c:ext xmlns:c16="http://schemas.microsoft.com/office/drawing/2014/chart" uri="{C3380CC4-5D6E-409C-BE32-E72D297353CC}">
                <c16:uniqueId val="{00000235-C207-4A44-A969-52DE2A9F8CA4}"/>
              </c:ext>
            </c:extLst>
          </c:dPt>
          <c:dPt>
            <c:idx val="282"/>
            <c:invertIfNegative val="1"/>
            <c:bubble3D val="0"/>
            <c:spPr>
              <a:solidFill>
                <a:srgbClr val="AEABAB"/>
              </a:solidFill>
            </c:spPr>
            <c:extLst>
              <c:ext xmlns:c16="http://schemas.microsoft.com/office/drawing/2014/chart" uri="{C3380CC4-5D6E-409C-BE32-E72D297353CC}">
                <c16:uniqueId val="{00000237-C207-4A44-A969-52DE2A9F8CA4}"/>
              </c:ext>
            </c:extLst>
          </c:dPt>
          <c:dPt>
            <c:idx val="283"/>
            <c:invertIfNegative val="1"/>
            <c:bubble3D val="0"/>
            <c:spPr>
              <a:solidFill>
                <a:srgbClr val="AEABAB"/>
              </a:solidFill>
            </c:spPr>
            <c:extLst>
              <c:ext xmlns:c16="http://schemas.microsoft.com/office/drawing/2014/chart" uri="{C3380CC4-5D6E-409C-BE32-E72D297353CC}">
                <c16:uniqueId val="{00000239-C207-4A44-A969-52DE2A9F8CA4}"/>
              </c:ext>
            </c:extLst>
          </c:dPt>
          <c:dPt>
            <c:idx val="284"/>
            <c:invertIfNegative val="1"/>
            <c:bubble3D val="0"/>
            <c:spPr>
              <a:solidFill>
                <a:srgbClr val="AEABAB"/>
              </a:solidFill>
            </c:spPr>
            <c:extLst>
              <c:ext xmlns:c16="http://schemas.microsoft.com/office/drawing/2014/chart" uri="{C3380CC4-5D6E-409C-BE32-E72D297353CC}">
                <c16:uniqueId val="{0000023B-C207-4A44-A969-52DE2A9F8CA4}"/>
              </c:ext>
            </c:extLst>
          </c:dPt>
          <c:dPt>
            <c:idx val="285"/>
            <c:invertIfNegative val="1"/>
            <c:bubble3D val="0"/>
            <c:spPr>
              <a:solidFill>
                <a:srgbClr val="AEABAB"/>
              </a:solidFill>
            </c:spPr>
            <c:extLst>
              <c:ext xmlns:c16="http://schemas.microsoft.com/office/drawing/2014/chart" uri="{C3380CC4-5D6E-409C-BE32-E72D297353CC}">
                <c16:uniqueId val="{0000023D-C207-4A44-A969-52DE2A9F8CA4}"/>
              </c:ext>
            </c:extLst>
          </c:dPt>
          <c:dPt>
            <c:idx val="286"/>
            <c:invertIfNegative val="1"/>
            <c:bubble3D val="0"/>
            <c:spPr>
              <a:solidFill>
                <a:srgbClr val="AEABAB"/>
              </a:solidFill>
            </c:spPr>
            <c:extLst>
              <c:ext xmlns:c16="http://schemas.microsoft.com/office/drawing/2014/chart" uri="{C3380CC4-5D6E-409C-BE32-E72D297353CC}">
                <c16:uniqueId val="{0000023F-C207-4A44-A969-52DE2A9F8CA4}"/>
              </c:ext>
            </c:extLst>
          </c:dPt>
          <c:dPt>
            <c:idx val="287"/>
            <c:invertIfNegative val="1"/>
            <c:bubble3D val="0"/>
            <c:spPr>
              <a:solidFill>
                <a:srgbClr val="AEABAB"/>
              </a:solidFill>
            </c:spPr>
            <c:extLst>
              <c:ext xmlns:c16="http://schemas.microsoft.com/office/drawing/2014/chart" uri="{C3380CC4-5D6E-409C-BE32-E72D297353CC}">
                <c16:uniqueId val="{00000241-C207-4A44-A969-52DE2A9F8CA4}"/>
              </c:ext>
            </c:extLst>
          </c:dPt>
          <c:dPt>
            <c:idx val="288"/>
            <c:invertIfNegative val="1"/>
            <c:bubble3D val="0"/>
            <c:spPr>
              <a:solidFill>
                <a:srgbClr val="AEABAB"/>
              </a:solidFill>
            </c:spPr>
            <c:extLst>
              <c:ext xmlns:c16="http://schemas.microsoft.com/office/drawing/2014/chart" uri="{C3380CC4-5D6E-409C-BE32-E72D297353CC}">
                <c16:uniqueId val="{00000243-C207-4A44-A969-52DE2A9F8CA4}"/>
              </c:ext>
            </c:extLst>
          </c:dPt>
          <c:dPt>
            <c:idx val="289"/>
            <c:invertIfNegative val="1"/>
            <c:bubble3D val="0"/>
            <c:spPr>
              <a:solidFill>
                <a:srgbClr val="AEABAB"/>
              </a:solidFill>
            </c:spPr>
            <c:extLst>
              <c:ext xmlns:c16="http://schemas.microsoft.com/office/drawing/2014/chart" uri="{C3380CC4-5D6E-409C-BE32-E72D297353CC}">
                <c16:uniqueId val="{00000245-C207-4A44-A969-52DE2A9F8CA4}"/>
              </c:ext>
            </c:extLst>
          </c:dPt>
          <c:dPt>
            <c:idx val="290"/>
            <c:invertIfNegative val="1"/>
            <c:bubble3D val="0"/>
            <c:spPr>
              <a:solidFill>
                <a:srgbClr val="AEABAB"/>
              </a:solidFill>
            </c:spPr>
            <c:extLst>
              <c:ext xmlns:c16="http://schemas.microsoft.com/office/drawing/2014/chart" uri="{C3380CC4-5D6E-409C-BE32-E72D297353CC}">
                <c16:uniqueId val="{00000247-C207-4A44-A969-52DE2A9F8CA4}"/>
              </c:ext>
            </c:extLst>
          </c:dPt>
          <c:dPt>
            <c:idx val="291"/>
            <c:invertIfNegative val="1"/>
            <c:bubble3D val="0"/>
            <c:spPr>
              <a:solidFill>
                <a:srgbClr val="AEABAB"/>
              </a:solidFill>
            </c:spPr>
            <c:extLst>
              <c:ext xmlns:c16="http://schemas.microsoft.com/office/drawing/2014/chart" uri="{C3380CC4-5D6E-409C-BE32-E72D297353CC}">
                <c16:uniqueId val="{00000249-C207-4A44-A969-52DE2A9F8CA4}"/>
              </c:ext>
            </c:extLst>
          </c:dPt>
          <c:dPt>
            <c:idx val="292"/>
            <c:invertIfNegative val="1"/>
            <c:bubble3D val="0"/>
            <c:spPr>
              <a:solidFill>
                <a:srgbClr val="AEABAB"/>
              </a:solidFill>
            </c:spPr>
            <c:extLst>
              <c:ext xmlns:c16="http://schemas.microsoft.com/office/drawing/2014/chart" uri="{C3380CC4-5D6E-409C-BE32-E72D297353CC}">
                <c16:uniqueId val="{0000024B-C207-4A44-A969-52DE2A9F8CA4}"/>
              </c:ext>
            </c:extLst>
          </c:dPt>
          <c:dPt>
            <c:idx val="293"/>
            <c:invertIfNegative val="1"/>
            <c:bubble3D val="0"/>
            <c:spPr>
              <a:solidFill>
                <a:srgbClr val="AEABAB"/>
              </a:solidFill>
            </c:spPr>
            <c:extLst>
              <c:ext xmlns:c16="http://schemas.microsoft.com/office/drawing/2014/chart" uri="{C3380CC4-5D6E-409C-BE32-E72D297353CC}">
                <c16:uniqueId val="{0000024D-C207-4A44-A969-52DE2A9F8CA4}"/>
              </c:ext>
            </c:extLst>
          </c:dPt>
          <c:dPt>
            <c:idx val="294"/>
            <c:invertIfNegative val="1"/>
            <c:bubble3D val="0"/>
            <c:spPr>
              <a:solidFill>
                <a:srgbClr val="AEABAB"/>
              </a:solidFill>
            </c:spPr>
            <c:extLst>
              <c:ext xmlns:c16="http://schemas.microsoft.com/office/drawing/2014/chart" uri="{C3380CC4-5D6E-409C-BE32-E72D297353CC}">
                <c16:uniqueId val="{0000024F-C207-4A44-A969-52DE2A9F8CA4}"/>
              </c:ext>
            </c:extLst>
          </c:dPt>
          <c:dPt>
            <c:idx val="295"/>
            <c:invertIfNegative val="1"/>
            <c:bubble3D val="0"/>
            <c:spPr>
              <a:solidFill>
                <a:srgbClr val="AEABAB"/>
              </a:solidFill>
            </c:spPr>
            <c:extLst>
              <c:ext xmlns:c16="http://schemas.microsoft.com/office/drawing/2014/chart" uri="{C3380CC4-5D6E-409C-BE32-E72D297353CC}">
                <c16:uniqueId val="{00000251-C207-4A44-A969-52DE2A9F8CA4}"/>
              </c:ext>
            </c:extLst>
          </c:dPt>
          <c:dPt>
            <c:idx val="296"/>
            <c:invertIfNegative val="1"/>
            <c:bubble3D val="0"/>
            <c:spPr>
              <a:solidFill>
                <a:srgbClr val="AEABAB"/>
              </a:solidFill>
            </c:spPr>
            <c:extLst>
              <c:ext xmlns:c16="http://schemas.microsoft.com/office/drawing/2014/chart" uri="{C3380CC4-5D6E-409C-BE32-E72D297353CC}">
                <c16:uniqueId val="{00000253-C207-4A44-A969-52DE2A9F8CA4}"/>
              </c:ext>
            </c:extLst>
          </c:dPt>
          <c:dPt>
            <c:idx val="297"/>
            <c:invertIfNegative val="1"/>
            <c:bubble3D val="0"/>
            <c:spPr>
              <a:solidFill>
                <a:srgbClr val="AEABAB"/>
              </a:solidFill>
            </c:spPr>
            <c:extLst>
              <c:ext xmlns:c16="http://schemas.microsoft.com/office/drawing/2014/chart" uri="{C3380CC4-5D6E-409C-BE32-E72D297353CC}">
                <c16:uniqueId val="{00000255-C207-4A44-A969-52DE2A9F8CA4}"/>
              </c:ext>
            </c:extLst>
          </c:dPt>
          <c:dPt>
            <c:idx val="298"/>
            <c:invertIfNegative val="1"/>
            <c:bubble3D val="0"/>
            <c:spPr>
              <a:solidFill>
                <a:srgbClr val="AEABAB"/>
              </a:solidFill>
            </c:spPr>
            <c:extLst>
              <c:ext xmlns:c16="http://schemas.microsoft.com/office/drawing/2014/chart" uri="{C3380CC4-5D6E-409C-BE32-E72D297353CC}">
                <c16:uniqueId val="{00000257-C207-4A44-A969-52DE2A9F8CA4}"/>
              </c:ext>
            </c:extLst>
          </c:dPt>
          <c:dPt>
            <c:idx val="299"/>
            <c:invertIfNegative val="1"/>
            <c:bubble3D val="0"/>
            <c:spPr>
              <a:solidFill>
                <a:srgbClr val="AEABAB"/>
              </a:solidFill>
            </c:spPr>
            <c:extLst>
              <c:ext xmlns:c16="http://schemas.microsoft.com/office/drawing/2014/chart" uri="{C3380CC4-5D6E-409C-BE32-E72D297353CC}">
                <c16:uniqueId val="{00000259-C207-4A44-A969-52DE2A9F8CA4}"/>
              </c:ext>
            </c:extLst>
          </c:dPt>
          <c:dPt>
            <c:idx val="300"/>
            <c:invertIfNegative val="1"/>
            <c:bubble3D val="0"/>
            <c:spPr>
              <a:solidFill>
                <a:srgbClr val="AEABAB"/>
              </a:solidFill>
            </c:spPr>
            <c:extLst>
              <c:ext xmlns:c16="http://schemas.microsoft.com/office/drawing/2014/chart" uri="{C3380CC4-5D6E-409C-BE32-E72D297353CC}">
                <c16:uniqueId val="{0000025B-C207-4A44-A969-52DE2A9F8CA4}"/>
              </c:ext>
            </c:extLst>
          </c:dPt>
          <c:dPt>
            <c:idx val="301"/>
            <c:invertIfNegative val="1"/>
            <c:bubble3D val="0"/>
            <c:spPr>
              <a:solidFill>
                <a:srgbClr val="AEABAB"/>
              </a:solidFill>
            </c:spPr>
            <c:extLst>
              <c:ext xmlns:c16="http://schemas.microsoft.com/office/drawing/2014/chart" uri="{C3380CC4-5D6E-409C-BE32-E72D297353CC}">
                <c16:uniqueId val="{0000025D-C207-4A44-A969-52DE2A9F8CA4}"/>
              </c:ext>
            </c:extLst>
          </c:dPt>
          <c:dPt>
            <c:idx val="302"/>
            <c:invertIfNegative val="1"/>
            <c:bubble3D val="0"/>
            <c:spPr>
              <a:solidFill>
                <a:srgbClr val="AEABAB"/>
              </a:solidFill>
            </c:spPr>
            <c:extLst>
              <c:ext xmlns:c16="http://schemas.microsoft.com/office/drawing/2014/chart" uri="{C3380CC4-5D6E-409C-BE32-E72D297353CC}">
                <c16:uniqueId val="{0000025F-C207-4A44-A969-52DE2A9F8CA4}"/>
              </c:ext>
            </c:extLst>
          </c:dPt>
          <c:dPt>
            <c:idx val="303"/>
            <c:invertIfNegative val="1"/>
            <c:bubble3D val="0"/>
            <c:spPr>
              <a:solidFill>
                <a:srgbClr val="AEABAB"/>
              </a:solidFill>
            </c:spPr>
            <c:extLst>
              <c:ext xmlns:c16="http://schemas.microsoft.com/office/drawing/2014/chart" uri="{C3380CC4-5D6E-409C-BE32-E72D297353CC}">
                <c16:uniqueId val="{00000261-C207-4A44-A969-52DE2A9F8CA4}"/>
              </c:ext>
            </c:extLst>
          </c:dPt>
          <c:dPt>
            <c:idx val="304"/>
            <c:invertIfNegative val="1"/>
            <c:bubble3D val="0"/>
            <c:spPr>
              <a:solidFill>
                <a:srgbClr val="AEABAB"/>
              </a:solidFill>
            </c:spPr>
            <c:extLst>
              <c:ext xmlns:c16="http://schemas.microsoft.com/office/drawing/2014/chart" uri="{C3380CC4-5D6E-409C-BE32-E72D297353CC}">
                <c16:uniqueId val="{00000263-C207-4A44-A969-52DE2A9F8CA4}"/>
              </c:ext>
            </c:extLst>
          </c:dPt>
          <c:cat>
            <c:strRef>
              <c:f>Sheet1!$A$2:$A$306</c:f>
              <c:strCache>
                <c:ptCount val="305"/>
                <c:pt idx="0">
                  <c:v>Ruinart</c:v>
                </c:pt>
                <c:pt idx="1">
                  <c:v>Nicolas</c:v>
                </c:pt>
                <c:pt idx="2">
                  <c:v>Deutz</c:v>
                </c:pt>
                <c:pt idx="3">
                  <c:v>Ruinart</c:v>
                </c:pt>
                <c:pt idx="4">
                  <c:v>Heidsieck &amp;</c:v>
                </c:pt>
                <c:pt idx="5">
                  <c:v>Malard</c:v>
                </c:pt>
                <c:pt idx="6">
                  <c:v>Ayala</c:v>
                </c:pt>
                <c:pt idx="7">
                  <c:v>De Bligny</c:v>
                </c:pt>
                <c:pt idx="8">
                  <c:v>Laurent Per</c:v>
                </c:pt>
                <c:pt idx="9">
                  <c:v>Nicolas Feu</c:v>
                </c:pt>
                <c:pt idx="10">
                  <c:v>Canard Duch</c:v>
                </c:pt>
                <c:pt idx="11">
                  <c:v>Taittinger</c:v>
                </c:pt>
                <c:pt idx="12">
                  <c:v>Bollinger</c:v>
                </c:pt>
                <c:pt idx="13">
                  <c:v>Ruinart</c:v>
                </c:pt>
                <c:pt idx="14">
                  <c:v>Ruinart</c:v>
                </c:pt>
                <c:pt idx="15">
                  <c:v>Besserat De</c:v>
                </c:pt>
                <c:pt idx="16">
                  <c:v>Demoiselle</c:v>
                </c:pt>
                <c:pt idx="17">
                  <c:v>Deutz</c:v>
                </c:pt>
                <c:pt idx="18">
                  <c:v>Ruinart</c:v>
                </c:pt>
                <c:pt idx="19">
                  <c:v>Perrier Jou</c:v>
                </c:pt>
                <c:pt idx="20">
                  <c:v>Ruinart</c:v>
                </c:pt>
                <c:pt idx="21">
                  <c:v>All Others</c:v>
                </c:pt>
                <c:pt idx="22">
                  <c:v>Vesselle</c:v>
                </c:pt>
                <c:pt idx="23">
                  <c:v>Savian</c:v>
                </c:pt>
                <c:pt idx="24">
                  <c:v>Pommery</c:v>
                </c:pt>
                <c:pt idx="25">
                  <c:v>Malard</c:v>
                </c:pt>
                <c:pt idx="26">
                  <c:v>Laurent Per</c:v>
                </c:pt>
                <c:pt idx="27">
                  <c:v>Moët &amp; Chan</c:v>
                </c:pt>
                <c:pt idx="28">
                  <c:v>Nicolas</c:v>
                </c:pt>
                <c:pt idx="29">
                  <c:v>Deutz</c:v>
                </c:pt>
                <c:pt idx="30">
                  <c:v>Taittinger</c:v>
                </c:pt>
                <c:pt idx="31">
                  <c:v>Ruinart</c:v>
                </c:pt>
                <c:pt idx="32">
                  <c:v>Roederer</c:v>
                </c:pt>
                <c:pt idx="33">
                  <c:v>Demoiselle</c:v>
                </c:pt>
                <c:pt idx="34">
                  <c:v>Dom Perigno</c:v>
                </c:pt>
                <c:pt idx="35">
                  <c:v>All Others</c:v>
                </c:pt>
                <c:pt idx="36">
                  <c:v>Roederer</c:v>
                </c:pt>
                <c:pt idx="37">
                  <c:v>Ruinart</c:v>
                </c:pt>
                <c:pt idx="38">
                  <c:v>Henriot</c:v>
                </c:pt>
                <c:pt idx="39">
                  <c:v>Veuve Clicq</c:v>
                </c:pt>
                <c:pt idx="40">
                  <c:v>Nicolas</c:v>
                </c:pt>
                <c:pt idx="41">
                  <c:v>Besserat De</c:v>
                </c:pt>
                <c:pt idx="42">
                  <c:v>Campari: Al</c:v>
                </c:pt>
                <c:pt idx="43">
                  <c:v>De Venoge</c:v>
                </c:pt>
                <c:pt idx="44">
                  <c:v>Malard</c:v>
                </c:pt>
                <c:pt idx="45">
                  <c:v>Laurent Per</c:v>
                </c:pt>
                <c:pt idx="46">
                  <c:v>De Bligny</c:v>
                </c:pt>
                <c:pt idx="47">
                  <c:v>Veuve Clicq</c:v>
                </c:pt>
                <c:pt idx="48">
                  <c:v>Veuve Clicq</c:v>
                </c:pt>
                <c:pt idx="49">
                  <c:v>Malard</c:v>
                </c:pt>
                <c:pt idx="50">
                  <c:v>Nicolas Feu</c:v>
                </c:pt>
                <c:pt idx="51">
                  <c:v>Lanson</c:v>
                </c:pt>
                <c:pt idx="52">
                  <c:v>Nicolas Feu</c:v>
                </c:pt>
                <c:pt idx="53">
                  <c:v>Deutz</c:v>
                </c:pt>
                <c:pt idx="54">
                  <c:v>Ruinart</c:v>
                </c:pt>
                <c:pt idx="55">
                  <c:v>Piper Heids</c:v>
                </c:pt>
                <c:pt idx="56">
                  <c:v>Dom Perigno</c:v>
                </c:pt>
                <c:pt idx="57">
                  <c:v>Nicolas Feu</c:v>
                </c:pt>
                <c:pt idx="58">
                  <c:v>All Others</c:v>
                </c:pt>
                <c:pt idx="59">
                  <c:v>Nicolas</c:v>
                </c:pt>
                <c:pt idx="60">
                  <c:v>Moët &amp; Chan</c:v>
                </c:pt>
                <c:pt idx="61">
                  <c:v>Canard Duch</c:v>
                </c:pt>
                <c:pt idx="62">
                  <c:v>Malard</c:v>
                </c:pt>
                <c:pt idx="63">
                  <c:v>Louis Marti</c:v>
                </c:pt>
                <c:pt idx="64">
                  <c:v>Henriot</c:v>
                </c:pt>
                <c:pt idx="65">
                  <c:v>Campari: Al</c:v>
                </c:pt>
                <c:pt idx="66">
                  <c:v>Pommery</c:v>
                </c:pt>
                <c:pt idx="67">
                  <c:v>Bollinger</c:v>
                </c:pt>
                <c:pt idx="68">
                  <c:v>Canard Duch</c:v>
                </c:pt>
                <c:pt idx="69">
                  <c:v>Moët &amp; Chan</c:v>
                </c:pt>
                <c:pt idx="70">
                  <c:v>Henriot</c:v>
                </c:pt>
                <c:pt idx="71">
                  <c:v>Delamotte</c:v>
                </c:pt>
                <c:pt idx="72">
                  <c:v>De Venoge</c:v>
                </c:pt>
                <c:pt idx="73">
                  <c:v>Besserat De</c:v>
                </c:pt>
                <c:pt idx="74">
                  <c:v>Vranken</c:v>
                </c:pt>
                <c:pt idx="75">
                  <c:v>Ayala</c:v>
                </c:pt>
                <c:pt idx="76">
                  <c:v>Ruinart</c:v>
                </c:pt>
                <c:pt idx="77">
                  <c:v>Canard Duch</c:v>
                </c:pt>
                <c:pt idx="78">
                  <c:v>Veuve Clicq</c:v>
                </c:pt>
                <c:pt idx="79">
                  <c:v>Krug</c:v>
                </c:pt>
                <c:pt idx="80">
                  <c:v>Ruinart</c:v>
                </c:pt>
                <c:pt idx="81">
                  <c:v>Roederer</c:v>
                </c:pt>
                <c:pt idx="82">
                  <c:v>Roederer</c:v>
                </c:pt>
                <c:pt idx="83">
                  <c:v>Nicolas</c:v>
                </c:pt>
                <c:pt idx="84">
                  <c:v>Laurent Per</c:v>
                </c:pt>
                <c:pt idx="85">
                  <c:v>Nicolas</c:v>
                </c:pt>
                <c:pt idx="86">
                  <c:v>Ruinart</c:v>
                </c:pt>
                <c:pt idx="87">
                  <c:v>Malard</c:v>
                </c:pt>
                <c:pt idx="88">
                  <c:v>De Venoge</c:v>
                </c:pt>
                <c:pt idx="89">
                  <c:v>De Venoge</c:v>
                </c:pt>
                <c:pt idx="90">
                  <c:v>Nicolas</c:v>
                </c:pt>
                <c:pt idx="91">
                  <c:v>Vranken</c:v>
                </c:pt>
                <c:pt idx="92">
                  <c:v>Henriot</c:v>
                </c:pt>
                <c:pt idx="93">
                  <c:v>Roederer</c:v>
                </c:pt>
                <c:pt idx="94">
                  <c:v>All Others</c:v>
                </c:pt>
                <c:pt idx="95">
                  <c:v>Ruinart</c:v>
                </c:pt>
                <c:pt idx="96">
                  <c:v>Nicolas</c:v>
                </c:pt>
                <c:pt idx="97">
                  <c:v>Dom Perigno</c:v>
                </c:pt>
                <c:pt idx="98">
                  <c:v>Nicolas</c:v>
                </c:pt>
                <c:pt idx="99">
                  <c:v>Roederer</c:v>
                </c:pt>
                <c:pt idx="100">
                  <c:v>Deutz</c:v>
                </c:pt>
                <c:pt idx="101">
                  <c:v>Roederer</c:v>
                </c:pt>
                <c:pt idx="102">
                  <c:v>Canard Duch</c:v>
                </c:pt>
                <c:pt idx="103">
                  <c:v>Nicolas</c:v>
                </c:pt>
                <c:pt idx="104">
                  <c:v>Ruinart</c:v>
                </c:pt>
                <c:pt idx="105">
                  <c:v>Bollinger</c:v>
                </c:pt>
                <c:pt idx="106">
                  <c:v>Nicolas</c:v>
                </c:pt>
                <c:pt idx="107">
                  <c:v>Roederer</c:v>
                </c:pt>
                <c:pt idx="108">
                  <c:v>Moët &amp; Chan</c:v>
                </c:pt>
                <c:pt idx="109">
                  <c:v>Louis Marti</c:v>
                </c:pt>
                <c:pt idx="110">
                  <c:v>All Others</c:v>
                </c:pt>
                <c:pt idx="111">
                  <c:v>Nicolas</c:v>
                </c:pt>
                <c:pt idx="112">
                  <c:v>Laurent Per</c:v>
                </c:pt>
                <c:pt idx="113">
                  <c:v>Roederer</c:v>
                </c:pt>
                <c:pt idx="114">
                  <c:v>Pommery</c:v>
                </c:pt>
                <c:pt idx="115">
                  <c:v>Deutz</c:v>
                </c:pt>
                <c:pt idx="116">
                  <c:v>Nicolas</c:v>
                </c:pt>
                <c:pt idx="117">
                  <c:v>Nicolas Feu</c:v>
                </c:pt>
                <c:pt idx="118">
                  <c:v>Taittinger</c:v>
                </c:pt>
                <c:pt idx="119">
                  <c:v>Laurent Per</c:v>
                </c:pt>
                <c:pt idx="120">
                  <c:v>Dom Perigno</c:v>
                </c:pt>
                <c:pt idx="121">
                  <c:v>Besserat De</c:v>
                </c:pt>
                <c:pt idx="122">
                  <c:v>Roederer</c:v>
                </c:pt>
                <c:pt idx="123">
                  <c:v>Roederer</c:v>
                </c:pt>
                <c:pt idx="124">
                  <c:v>Bollinger</c:v>
                </c:pt>
                <c:pt idx="125">
                  <c:v>Ruinart</c:v>
                </c:pt>
                <c:pt idx="126">
                  <c:v>Roederer</c:v>
                </c:pt>
                <c:pt idx="127">
                  <c:v>Demoiselle</c:v>
                </c:pt>
                <c:pt idx="128">
                  <c:v>Ayala</c:v>
                </c:pt>
                <c:pt idx="129">
                  <c:v>All Others</c:v>
                </c:pt>
                <c:pt idx="130">
                  <c:v>All Others</c:v>
                </c:pt>
                <c:pt idx="131">
                  <c:v>Vranken</c:v>
                </c:pt>
                <c:pt idx="132">
                  <c:v>Canard Duch</c:v>
                </c:pt>
                <c:pt idx="133">
                  <c:v>Nicolas</c:v>
                </c:pt>
                <c:pt idx="134">
                  <c:v>Pommery</c:v>
                </c:pt>
                <c:pt idx="135">
                  <c:v>All Others</c:v>
                </c:pt>
                <c:pt idx="136">
                  <c:v>Vesselle</c:v>
                </c:pt>
                <c:pt idx="137">
                  <c:v>Perrier Jou</c:v>
                </c:pt>
                <c:pt idx="138">
                  <c:v>Nicolas</c:v>
                </c:pt>
                <c:pt idx="139">
                  <c:v>Delamotte</c:v>
                </c:pt>
                <c:pt idx="140">
                  <c:v>Deutz</c:v>
                </c:pt>
                <c:pt idx="141">
                  <c:v>Nicolas</c:v>
                </c:pt>
                <c:pt idx="142">
                  <c:v>Laurent Per</c:v>
                </c:pt>
                <c:pt idx="143">
                  <c:v>Demoiselle</c:v>
                </c:pt>
                <c:pt idx="144">
                  <c:v>Roederer</c:v>
                </c:pt>
                <c:pt idx="145">
                  <c:v>Malard</c:v>
                </c:pt>
                <c:pt idx="146">
                  <c:v>Lanson</c:v>
                </c:pt>
                <c:pt idx="147">
                  <c:v>Moët &amp; Chan</c:v>
                </c:pt>
                <c:pt idx="148">
                  <c:v>Ruinart</c:v>
                </c:pt>
                <c:pt idx="149">
                  <c:v>Roederer</c:v>
                </c:pt>
                <c:pt idx="150">
                  <c:v>Deutz</c:v>
                </c:pt>
                <c:pt idx="151">
                  <c:v>All Others</c:v>
                </c:pt>
                <c:pt idx="152">
                  <c:v>Besserat De</c:v>
                </c:pt>
                <c:pt idx="153">
                  <c:v>Ruinart</c:v>
                </c:pt>
                <c:pt idx="154">
                  <c:v>Moët &amp; Chan</c:v>
                </c:pt>
                <c:pt idx="155">
                  <c:v>Nicolas</c:v>
                </c:pt>
                <c:pt idx="156">
                  <c:v>Canard Duch</c:v>
                </c:pt>
                <c:pt idx="157">
                  <c:v>Nicolas</c:v>
                </c:pt>
                <c:pt idx="158">
                  <c:v>Dom Perigno</c:v>
                </c:pt>
                <c:pt idx="159">
                  <c:v>Taittinger</c:v>
                </c:pt>
                <c:pt idx="160">
                  <c:v>Bollinger</c:v>
                </c:pt>
                <c:pt idx="161">
                  <c:v>All Others</c:v>
                </c:pt>
                <c:pt idx="162">
                  <c:v>Henriot</c:v>
                </c:pt>
                <c:pt idx="163">
                  <c:v>Piper Heids</c:v>
                </c:pt>
                <c:pt idx="164">
                  <c:v>Roederer</c:v>
                </c:pt>
                <c:pt idx="165">
                  <c:v>Laurent Per</c:v>
                </c:pt>
                <c:pt idx="166">
                  <c:v>Piper Heids</c:v>
                </c:pt>
                <c:pt idx="167">
                  <c:v>Ruinart</c:v>
                </c:pt>
                <c:pt idx="168">
                  <c:v>Pommery</c:v>
                </c:pt>
                <c:pt idx="169">
                  <c:v>Ruinart</c:v>
                </c:pt>
                <c:pt idx="170">
                  <c:v>Nicolas</c:v>
                </c:pt>
                <c:pt idx="171">
                  <c:v>Piper Heids</c:v>
                </c:pt>
                <c:pt idx="172">
                  <c:v>Laurent Per</c:v>
                </c:pt>
                <c:pt idx="173">
                  <c:v>Roederer</c:v>
                </c:pt>
                <c:pt idx="174">
                  <c:v>Vesselle</c:v>
                </c:pt>
                <c:pt idx="175">
                  <c:v>Pommery</c:v>
                </c:pt>
                <c:pt idx="176">
                  <c:v>All Others</c:v>
                </c:pt>
                <c:pt idx="177">
                  <c:v>De Venoge</c:v>
                </c:pt>
                <c:pt idx="178">
                  <c:v>De Venoge</c:v>
                </c:pt>
                <c:pt idx="179">
                  <c:v>Taittinger</c:v>
                </c:pt>
                <c:pt idx="180">
                  <c:v>Roederer</c:v>
                </c:pt>
                <c:pt idx="181">
                  <c:v>Laurent Per</c:v>
                </c:pt>
                <c:pt idx="182">
                  <c:v>Henriot</c:v>
                </c:pt>
                <c:pt idx="183">
                  <c:v>Bollinger</c:v>
                </c:pt>
                <c:pt idx="184">
                  <c:v>Ruinart</c:v>
                </c:pt>
                <c:pt idx="185">
                  <c:v>All Others</c:v>
                </c:pt>
                <c:pt idx="186">
                  <c:v>Roederer</c:v>
                </c:pt>
                <c:pt idx="187">
                  <c:v>Nicolas Feu</c:v>
                </c:pt>
                <c:pt idx="188">
                  <c:v>Nicolas</c:v>
                </c:pt>
                <c:pt idx="189">
                  <c:v>Ruinart</c:v>
                </c:pt>
                <c:pt idx="190">
                  <c:v>Piper Heids</c:v>
                </c:pt>
                <c:pt idx="191">
                  <c:v>Malard</c:v>
                </c:pt>
                <c:pt idx="192">
                  <c:v>Perrier Jou</c:v>
                </c:pt>
                <c:pt idx="193">
                  <c:v>Deutz</c:v>
                </c:pt>
                <c:pt idx="194">
                  <c:v>Veuve Clicq</c:v>
                </c:pt>
                <c:pt idx="195">
                  <c:v>Ruinart</c:v>
                </c:pt>
                <c:pt idx="196">
                  <c:v>Pommery</c:v>
                </c:pt>
                <c:pt idx="197">
                  <c:v>Lanson</c:v>
                </c:pt>
                <c:pt idx="198">
                  <c:v>Moët &amp; Chan</c:v>
                </c:pt>
                <c:pt idx="199">
                  <c:v>Lanson</c:v>
                </c:pt>
                <c:pt idx="200">
                  <c:v>Deutz</c:v>
                </c:pt>
                <c:pt idx="201">
                  <c:v>Roederer</c:v>
                </c:pt>
                <c:pt idx="202">
                  <c:v>All Others</c:v>
                </c:pt>
                <c:pt idx="203">
                  <c:v>Martel</c:v>
                </c:pt>
                <c:pt idx="204">
                  <c:v>Ruinart</c:v>
                </c:pt>
                <c:pt idx="205">
                  <c:v>Roederer</c:v>
                </c:pt>
                <c:pt idx="206">
                  <c:v>Lanson-Bcc:</c:v>
                </c:pt>
                <c:pt idx="207">
                  <c:v>Laurent Per</c:v>
                </c:pt>
                <c:pt idx="208">
                  <c:v>Laurent Per</c:v>
                </c:pt>
                <c:pt idx="209">
                  <c:v>Nicolas</c:v>
                </c:pt>
                <c:pt idx="210">
                  <c:v>De Venoge</c:v>
                </c:pt>
                <c:pt idx="211">
                  <c:v>Bollinger</c:v>
                </c:pt>
                <c:pt idx="212">
                  <c:v>Roederer</c:v>
                </c:pt>
                <c:pt idx="213">
                  <c:v>Laurent Per</c:v>
                </c:pt>
                <c:pt idx="214">
                  <c:v>Ruinart</c:v>
                </c:pt>
                <c:pt idx="215">
                  <c:v>Roederer</c:v>
                </c:pt>
                <c:pt idx="216">
                  <c:v>Ruinart</c:v>
                </c:pt>
                <c:pt idx="217">
                  <c:v>All Others</c:v>
                </c:pt>
                <c:pt idx="218">
                  <c:v>Bollinger</c:v>
                </c:pt>
                <c:pt idx="219">
                  <c:v>Laurent Per</c:v>
                </c:pt>
                <c:pt idx="220">
                  <c:v>Nicolas Feu</c:v>
                </c:pt>
                <c:pt idx="221">
                  <c:v>All Others</c:v>
                </c:pt>
                <c:pt idx="222">
                  <c:v>Roederer</c:v>
                </c:pt>
                <c:pt idx="223">
                  <c:v>Roederer</c:v>
                </c:pt>
                <c:pt idx="224">
                  <c:v>All Others</c:v>
                </c:pt>
                <c:pt idx="225">
                  <c:v>Besserat De</c:v>
                </c:pt>
                <c:pt idx="226">
                  <c:v>Ruinart</c:v>
                </c:pt>
                <c:pt idx="227">
                  <c:v>All Others</c:v>
                </c:pt>
                <c:pt idx="228">
                  <c:v>Bollinger</c:v>
                </c:pt>
                <c:pt idx="229">
                  <c:v>De Bligny</c:v>
                </c:pt>
                <c:pt idx="230">
                  <c:v>Deutz</c:v>
                </c:pt>
                <c:pt idx="231">
                  <c:v>Veuve Clicq</c:v>
                </c:pt>
                <c:pt idx="232">
                  <c:v>All Others</c:v>
                </c:pt>
                <c:pt idx="233">
                  <c:v>Roederer</c:v>
                </c:pt>
                <c:pt idx="234">
                  <c:v>Roederer</c:v>
                </c:pt>
                <c:pt idx="235">
                  <c:v>Besserat De</c:v>
                </c:pt>
                <c:pt idx="236">
                  <c:v>All Others</c:v>
                </c:pt>
                <c:pt idx="237">
                  <c:v>All Others</c:v>
                </c:pt>
                <c:pt idx="238">
                  <c:v>All Others</c:v>
                </c:pt>
                <c:pt idx="239">
                  <c:v>Taittinger</c:v>
                </c:pt>
                <c:pt idx="240">
                  <c:v>All Others</c:v>
                </c:pt>
                <c:pt idx="241">
                  <c:v>Laurent Per</c:v>
                </c:pt>
                <c:pt idx="242">
                  <c:v>Vesselle</c:v>
                </c:pt>
                <c:pt idx="243">
                  <c:v>Roederer</c:v>
                </c:pt>
                <c:pt idx="244">
                  <c:v>Ayala</c:v>
                </c:pt>
                <c:pt idx="245">
                  <c:v>Malard</c:v>
                </c:pt>
                <c:pt idx="246">
                  <c:v>Laurent Per</c:v>
                </c:pt>
                <c:pt idx="247">
                  <c:v>Roederer</c:v>
                </c:pt>
                <c:pt idx="248">
                  <c:v>De Bligny</c:v>
                </c:pt>
                <c:pt idx="249">
                  <c:v>Roederer</c:v>
                </c:pt>
                <c:pt idx="250">
                  <c:v>Laurent Per</c:v>
                </c:pt>
                <c:pt idx="251">
                  <c:v>De Venoge</c:v>
                </c:pt>
                <c:pt idx="252">
                  <c:v>De Venoge</c:v>
                </c:pt>
                <c:pt idx="253">
                  <c:v>Canard Duch</c:v>
                </c:pt>
                <c:pt idx="254">
                  <c:v>Henriot</c:v>
                </c:pt>
                <c:pt idx="255">
                  <c:v>Ayala</c:v>
                </c:pt>
                <c:pt idx="256">
                  <c:v>All Others</c:v>
                </c:pt>
                <c:pt idx="257">
                  <c:v>Roederer</c:v>
                </c:pt>
                <c:pt idx="258">
                  <c:v>Bollinger</c:v>
                </c:pt>
                <c:pt idx="259">
                  <c:v>All Others</c:v>
                </c:pt>
                <c:pt idx="260">
                  <c:v>All Others</c:v>
                </c:pt>
                <c:pt idx="261">
                  <c:v>Vranken</c:v>
                </c:pt>
                <c:pt idx="262">
                  <c:v>Roederer</c:v>
                </c:pt>
                <c:pt idx="263">
                  <c:v>Nicolas</c:v>
                </c:pt>
                <c:pt idx="264">
                  <c:v>Lanson</c:v>
                </c:pt>
                <c:pt idx="265">
                  <c:v>De Venoge</c:v>
                </c:pt>
                <c:pt idx="266">
                  <c:v>Deutz</c:v>
                </c:pt>
                <c:pt idx="267">
                  <c:v>Laurent Per</c:v>
                </c:pt>
                <c:pt idx="268">
                  <c:v>Roederer</c:v>
                </c:pt>
                <c:pt idx="269">
                  <c:v>Ruinart</c:v>
                </c:pt>
                <c:pt idx="270">
                  <c:v>Vranken</c:v>
                </c:pt>
                <c:pt idx="271">
                  <c:v>Demoiselle</c:v>
                </c:pt>
                <c:pt idx="272">
                  <c:v>Piper Heids</c:v>
                </c:pt>
                <c:pt idx="273">
                  <c:v>Taittinger</c:v>
                </c:pt>
                <c:pt idx="274">
                  <c:v>Roederer</c:v>
                </c:pt>
                <c:pt idx="275">
                  <c:v>Bollinger</c:v>
                </c:pt>
                <c:pt idx="276">
                  <c:v>Bollinger</c:v>
                </c:pt>
                <c:pt idx="277">
                  <c:v>Roederer</c:v>
                </c:pt>
                <c:pt idx="278">
                  <c:v>Demoiselle</c:v>
                </c:pt>
                <c:pt idx="279">
                  <c:v>De Venoge</c:v>
                </c:pt>
                <c:pt idx="280">
                  <c:v>Deutz</c:v>
                </c:pt>
                <c:pt idx="281">
                  <c:v>Laurent Per</c:v>
                </c:pt>
                <c:pt idx="282">
                  <c:v>Ruinart</c:v>
                </c:pt>
                <c:pt idx="283">
                  <c:v>All Others</c:v>
                </c:pt>
                <c:pt idx="284">
                  <c:v>Roederer</c:v>
                </c:pt>
                <c:pt idx="285">
                  <c:v>Perrier Jou</c:v>
                </c:pt>
                <c:pt idx="286">
                  <c:v>All Others</c:v>
                </c:pt>
                <c:pt idx="287">
                  <c:v>All Others</c:v>
                </c:pt>
                <c:pt idx="288">
                  <c:v>All Others</c:v>
                </c:pt>
                <c:pt idx="289">
                  <c:v>Ruinart</c:v>
                </c:pt>
                <c:pt idx="290">
                  <c:v>Roederer</c:v>
                </c:pt>
                <c:pt idx="291">
                  <c:v>Nicolas Feu</c:v>
                </c:pt>
                <c:pt idx="292">
                  <c:v>De Venoge</c:v>
                </c:pt>
                <c:pt idx="293">
                  <c:v>Ayala</c:v>
                </c:pt>
                <c:pt idx="294">
                  <c:v>Delamotte</c:v>
                </c:pt>
                <c:pt idx="295">
                  <c:v>Lanson</c:v>
                </c:pt>
                <c:pt idx="296">
                  <c:v>All Others</c:v>
                </c:pt>
                <c:pt idx="297">
                  <c:v>All Others</c:v>
                </c:pt>
                <c:pt idx="298">
                  <c:v>Laurent Per</c:v>
                </c:pt>
                <c:pt idx="299">
                  <c:v>Pommery</c:v>
                </c:pt>
                <c:pt idx="300">
                  <c:v>Lanson</c:v>
                </c:pt>
                <c:pt idx="301">
                  <c:v>Vranken</c:v>
                </c:pt>
                <c:pt idx="302">
                  <c:v>Vesselle</c:v>
                </c:pt>
                <c:pt idx="303">
                  <c:v>Besserat De</c:v>
                </c:pt>
                <c:pt idx="304">
                  <c:v>All Others</c:v>
                </c:pt>
              </c:strCache>
            </c:strRef>
          </c:cat>
          <c:val>
            <c:numRef>
              <c:f>Sheet1!$C$2:$C$306</c:f>
              <c:numCache>
                <c:formatCode>General</c:formatCode>
                <c:ptCount val="305"/>
                <c:pt idx="0">
                  <c:v>0.10994334904523116</c:v>
                </c:pt>
                <c:pt idx="1">
                  <c:v>0.18396822041345345</c:v>
                </c:pt>
                <c:pt idx="2">
                  <c:v>0.23548727098642369</c:v>
                </c:pt>
                <c:pt idx="3">
                  <c:v>0.28339963156829034</c:v>
                </c:pt>
                <c:pt idx="4">
                  <c:v>0.3197941693528385</c:v>
                </c:pt>
                <c:pt idx="5">
                  <c:v>0.35494251485088718</c:v>
                </c:pt>
                <c:pt idx="6">
                  <c:v>0.38531184263876717</c:v>
                </c:pt>
                <c:pt idx="7">
                  <c:v>0.41525580557182418</c:v>
                </c:pt>
                <c:pt idx="8">
                  <c:v>0.44179279008551364</c:v>
                </c:pt>
                <c:pt idx="9">
                  <c:v>0.46477160154917568</c:v>
                </c:pt>
                <c:pt idx="10">
                  <c:v>0.48662343378155404</c:v>
                </c:pt>
                <c:pt idx="11">
                  <c:v>0.50748155984935994</c:v>
                </c:pt>
                <c:pt idx="12">
                  <c:v>0.52552956488720071</c:v>
                </c:pt>
                <c:pt idx="13">
                  <c:v>0.54348855619029146</c:v>
                </c:pt>
                <c:pt idx="14">
                  <c:v>0.56054245900689792</c:v>
                </c:pt>
                <c:pt idx="15">
                  <c:v>0.57727535789907791</c:v>
                </c:pt>
                <c:pt idx="16">
                  <c:v>0.5937984457746448</c:v>
                </c:pt>
                <c:pt idx="17">
                  <c:v>0.60721427110969639</c:v>
                </c:pt>
                <c:pt idx="18">
                  <c:v>0.61875763956170393</c:v>
                </c:pt>
                <c:pt idx="19">
                  <c:v>0.62965434649908192</c:v>
                </c:pt>
                <c:pt idx="20">
                  <c:v>0.64049520944713956</c:v>
                </c:pt>
                <c:pt idx="21">
                  <c:v>0.65072545203679566</c:v>
                </c:pt>
                <c:pt idx="22">
                  <c:v>0.65968306555777401</c:v>
                </c:pt>
                <c:pt idx="23">
                  <c:v>0.66858701340107218</c:v>
                </c:pt>
                <c:pt idx="24">
                  <c:v>0.67742016611606537</c:v>
                </c:pt>
                <c:pt idx="25">
                  <c:v>0.6857759715393682</c:v>
                </c:pt>
                <c:pt idx="26">
                  <c:v>0.69408514129073873</c:v>
                </c:pt>
                <c:pt idx="27">
                  <c:v>0.70196597576232245</c:v>
                </c:pt>
                <c:pt idx="28">
                  <c:v>0.70957600649136865</c:v>
                </c:pt>
                <c:pt idx="29">
                  <c:v>0.71693840279259546</c:v>
                </c:pt>
                <c:pt idx="30">
                  <c:v>0.72401118265984721</c:v>
                </c:pt>
                <c:pt idx="31">
                  <c:v>0.73101742500790878</c:v>
                </c:pt>
                <c:pt idx="32">
                  <c:v>0.73786118511044785</c:v>
                </c:pt>
                <c:pt idx="33">
                  <c:v>0.74409452288291622</c:v>
                </c:pt>
                <c:pt idx="34">
                  <c:v>0.75027072948191331</c:v>
                </c:pt>
                <c:pt idx="35">
                  <c:v>0.75627682974464738</c:v>
                </c:pt>
                <c:pt idx="36">
                  <c:v>0.76205519742681982</c:v>
                </c:pt>
                <c:pt idx="37">
                  <c:v>0.76766395384355657</c:v>
                </c:pt>
                <c:pt idx="38">
                  <c:v>0.77324033262818737</c:v>
                </c:pt>
                <c:pt idx="39">
                  <c:v>0.77859224629971679</c:v>
                </c:pt>
                <c:pt idx="40">
                  <c:v>0.78388593964195485</c:v>
                </c:pt>
                <c:pt idx="41">
                  <c:v>0.78914190858715205</c:v>
                </c:pt>
                <c:pt idx="42">
                  <c:v>0.79429312054529089</c:v>
                </c:pt>
                <c:pt idx="43">
                  <c:v>0.7994317577044161</c:v>
                </c:pt>
                <c:pt idx="44">
                  <c:v>0.80448375746876244</c:v>
                </c:pt>
                <c:pt idx="45">
                  <c:v>0.8095146672158654</c:v>
                </c:pt>
                <c:pt idx="46">
                  <c:v>0.81426091123726629</c:v>
                </c:pt>
                <c:pt idx="47">
                  <c:v>0.81893131040792366</c:v>
                </c:pt>
                <c:pt idx="48">
                  <c:v>0.82356685659233853</c:v>
                </c:pt>
                <c:pt idx="49">
                  <c:v>0.82787852744152857</c:v>
                </c:pt>
                <c:pt idx="50">
                  <c:v>0.83204999423242498</c:v>
                </c:pt>
                <c:pt idx="51">
                  <c:v>0.83603630453390831</c:v>
                </c:pt>
                <c:pt idx="52">
                  <c:v>0.84000350510145749</c:v>
                </c:pt>
                <c:pt idx="53">
                  <c:v>0.84396011115330227</c:v>
                </c:pt>
                <c:pt idx="54">
                  <c:v>0.84791453889350688</c:v>
                </c:pt>
                <c:pt idx="55">
                  <c:v>0.85185154014059028</c:v>
                </c:pt>
                <c:pt idx="56">
                  <c:v>0.85573626190830998</c:v>
                </c:pt>
                <c:pt idx="57">
                  <c:v>0.85939443926545356</c:v>
                </c:pt>
                <c:pt idx="58">
                  <c:v>0.8629892475567017</c:v>
                </c:pt>
                <c:pt idx="59">
                  <c:v>0.8665732633039146</c:v>
                </c:pt>
                <c:pt idx="60">
                  <c:v>0.87005529446070207</c:v>
                </c:pt>
                <c:pt idx="61">
                  <c:v>0.87353524632001478</c:v>
                </c:pt>
                <c:pt idx="62">
                  <c:v>0.87679607983116103</c:v>
                </c:pt>
                <c:pt idx="63">
                  <c:v>0.87994096775455177</c:v>
                </c:pt>
                <c:pt idx="64">
                  <c:v>0.88297911840757493</c:v>
                </c:pt>
                <c:pt idx="65">
                  <c:v>0.8859476621022786</c:v>
                </c:pt>
                <c:pt idx="66">
                  <c:v>0.88891373044284572</c:v>
                </c:pt>
                <c:pt idx="67">
                  <c:v>0.8917902899778356</c:v>
                </c:pt>
                <c:pt idx="68">
                  <c:v>0.89451159530138169</c:v>
                </c:pt>
                <c:pt idx="69">
                  <c:v>0.89716467986492476</c:v>
                </c:pt>
                <c:pt idx="70">
                  <c:v>0.89979895173703017</c:v>
                </c:pt>
                <c:pt idx="71">
                  <c:v>0.90236371566498152</c:v>
                </c:pt>
                <c:pt idx="72">
                  <c:v>0.90483025754079494</c:v>
                </c:pt>
                <c:pt idx="73">
                  <c:v>0.90729303687832086</c:v>
                </c:pt>
                <c:pt idx="74">
                  <c:v>0.90974393451599134</c:v>
                </c:pt>
                <c:pt idx="75">
                  <c:v>0.91209878841316416</c:v>
                </c:pt>
                <c:pt idx="76">
                  <c:v>0.91438660972031949</c:v>
                </c:pt>
                <c:pt idx="77">
                  <c:v>0.91663086479467171</c:v>
                </c:pt>
                <c:pt idx="78">
                  <c:v>0.91866392265409436</c:v>
                </c:pt>
                <c:pt idx="79">
                  <c:v>0.9206764845812665</c:v>
                </c:pt>
                <c:pt idx="80">
                  <c:v>0.92262389518756494</c:v>
                </c:pt>
                <c:pt idx="81">
                  <c:v>0.92453427449598069</c:v>
                </c:pt>
                <c:pt idx="82">
                  <c:v>0.92629732072618964</c:v>
                </c:pt>
                <c:pt idx="83">
                  <c:v>0.92805581230478729</c:v>
                </c:pt>
                <c:pt idx="84">
                  <c:v>0.92981331374173037</c:v>
                </c:pt>
                <c:pt idx="85">
                  <c:v>0.93155635911051604</c:v>
                </c:pt>
                <c:pt idx="86">
                  <c:v>0.93319276622309966</c:v>
                </c:pt>
                <c:pt idx="87">
                  <c:v>0.93478263667791628</c:v>
                </c:pt>
                <c:pt idx="88">
                  <c:v>0.93631903948338369</c:v>
                </c:pt>
                <c:pt idx="89">
                  <c:v>0.93784276847567194</c:v>
                </c:pt>
                <c:pt idx="90">
                  <c:v>0.93936402211382364</c:v>
                </c:pt>
                <c:pt idx="91">
                  <c:v>0.9408821072986806</c:v>
                </c:pt>
                <c:pt idx="92">
                  <c:v>0.94237058724806455</c:v>
                </c:pt>
                <c:pt idx="93">
                  <c:v>0.94380886701555944</c:v>
                </c:pt>
                <c:pt idx="94">
                  <c:v>0.94521476915094849</c:v>
                </c:pt>
                <c:pt idx="95">
                  <c:v>0.94659096703669898</c:v>
                </c:pt>
                <c:pt idx="96">
                  <c:v>0.94784171397480965</c:v>
                </c:pt>
                <c:pt idx="97">
                  <c:v>0.94908503485051077</c:v>
                </c:pt>
                <c:pt idx="98">
                  <c:v>0.9502757792043518</c:v>
                </c:pt>
                <c:pt idx="99">
                  <c:v>0.95146087975076143</c:v>
                </c:pt>
                <c:pt idx="100">
                  <c:v>0.95263201929984098</c:v>
                </c:pt>
                <c:pt idx="101">
                  <c:v>0.95375107739788778</c:v>
                </c:pt>
                <c:pt idx="102">
                  <c:v>0.9548410253312889</c:v>
                </c:pt>
                <c:pt idx="103">
                  <c:v>0.95592166593313654</c:v>
                </c:pt>
                <c:pt idx="104">
                  <c:v>0.95698369187187748</c:v>
                </c:pt>
                <c:pt idx="105">
                  <c:v>0.95796858577572386</c:v>
                </c:pt>
                <c:pt idx="106">
                  <c:v>0.95888872441535833</c:v>
                </c:pt>
                <c:pt idx="107">
                  <c:v>0.95980490248837436</c:v>
                </c:pt>
                <c:pt idx="108">
                  <c:v>0.96068870292928443</c:v>
                </c:pt>
                <c:pt idx="109">
                  <c:v>0.96156359209530295</c:v>
                </c:pt>
                <c:pt idx="110">
                  <c:v>0.96242857984477537</c:v>
                </c:pt>
                <c:pt idx="111">
                  <c:v>0.96323703050576914</c:v>
                </c:pt>
                <c:pt idx="112">
                  <c:v>0.96403825313268421</c:v>
                </c:pt>
                <c:pt idx="113">
                  <c:v>0.96481016756662275</c:v>
                </c:pt>
                <c:pt idx="114">
                  <c:v>0.96555089253844084</c:v>
                </c:pt>
                <c:pt idx="115">
                  <c:v>0.96627240876215936</c:v>
                </c:pt>
                <c:pt idx="116">
                  <c:v>0.96697808271940411</c:v>
                </c:pt>
                <c:pt idx="117">
                  <c:v>0.96768256850666323</c:v>
                </c:pt>
                <c:pt idx="118">
                  <c:v>0.96835626088846383</c:v>
                </c:pt>
                <c:pt idx="119">
                  <c:v>0.96902361636367484</c:v>
                </c:pt>
                <c:pt idx="120">
                  <c:v>0.96967691182739035</c:v>
                </c:pt>
                <c:pt idx="121">
                  <c:v>0.97032337531368906</c:v>
                </c:pt>
                <c:pt idx="122">
                  <c:v>0.97096528414837646</c:v>
                </c:pt>
                <c:pt idx="123">
                  <c:v>0.97158828127746077</c:v>
                </c:pt>
                <c:pt idx="124">
                  <c:v>0.97220860502407758</c:v>
                </c:pt>
                <c:pt idx="125">
                  <c:v>0.97281813622665902</c:v>
                </c:pt>
                <c:pt idx="126">
                  <c:v>0.97342172657931281</c:v>
                </c:pt>
                <c:pt idx="127">
                  <c:v>0.97401294016128392</c:v>
                </c:pt>
                <c:pt idx="128">
                  <c:v>0.97460217345994582</c:v>
                </c:pt>
                <c:pt idx="129">
                  <c:v>0.97517823787460134</c:v>
                </c:pt>
                <c:pt idx="130">
                  <c:v>0.97574519298603435</c:v>
                </c:pt>
                <c:pt idx="131">
                  <c:v>0.97629769202930994</c:v>
                </c:pt>
                <c:pt idx="132">
                  <c:v>0.97684811177511088</c:v>
                </c:pt>
                <c:pt idx="133">
                  <c:v>0.97739110545850216</c:v>
                </c:pt>
                <c:pt idx="134">
                  <c:v>0.97791409828047027</c:v>
                </c:pt>
                <c:pt idx="135">
                  <c:v>0.97842679362923035</c:v>
                </c:pt>
                <c:pt idx="136">
                  <c:v>0.97892859741978966</c:v>
                </c:pt>
                <c:pt idx="137">
                  <c:v>0.97942416331792492</c:v>
                </c:pt>
                <c:pt idx="138">
                  <c:v>0.97991745189025448</c:v>
                </c:pt>
                <c:pt idx="139">
                  <c:v>0.98040707693846196</c:v>
                </c:pt>
                <c:pt idx="140">
                  <c:v>0.98087729521023903</c:v>
                </c:pt>
                <c:pt idx="141">
                  <c:v>0.98134682038285781</c:v>
                </c:pt>
                <c:pt idx="142">
                  <c:v>0.98181198893219634</c:v>
                </c:pt>
                <c:pt idx="143">
                  <c:v>0.98225676056344979</c:v>
                </c:pt>
                <c:pt idx="144">
                  <c:v>0.98269331401896987</c:v>
                </c:pt>
                <c:pt idx="145">
                  <c:v>0.98310333167814623</c:v>
                </c:pt>
                <c:pt idx="146">
                  <c:v>0.98350760651572589</c:v>
                </c:pt>
                <c:pt idx="147">
                  <c:v>0.98390168289426294</c:v>
                </c:pt>
                <c:pt idx="148">
                  <c:v>0.98429447208864906</c:v>
                </c:pt>
                <c:pt idx="149">
                  <c:v>0.98467270620071234</c:v>
                </c:pt>
                <c:pt idx="150">
                  <c:v>0.98504084086789856</c:v>
                </c:pt>
                <c:pt idx="151">
                  <c:v>0.98539006382948158</c:v>
                </c:pt>
                <c:pt idx="152">
                  <c:v>0.98573809862107908</c:v>
                </c:pt>
                <c:pt idx="153">
                  <c:v>0.98607553889697219</c:v>
                </c:pt>
                <c:pt idx="154">
                  <c:v>0.98641179100287968</c:v>
                </c:pt>
                <c:pt idx="155">
                  <c:v>0.9867443795846651</c:v>
                </c:pt>
                <c:pt idx="156">
                  <c:v>0.9870704332315301</c:v>
                </c:pt>
                <c:pt idx="157">
                  <c:v>0.98739450659508587</c:v>
                </c:pt>
                <c:pt idx="158">
                  <c:v>0.98771828291614527</c:v>
                </c:pt>
                <c:pt idx="159">
                  <c:v>0.98803849472724803</c:v>
                </c:pt>
                <c:pt idx="160">
                  <c:v>0.98835821146752345</c:v>
                </c:pt>
                <c:pt idx="161">
                  <c:v>0.98867584891032423</c:v>
                </c:pt>
                <c:pt idx="162">
                  <c:v>0.98898368395074432</c:v>
                </c:pt>
                <c:pt idx="163">
                  <c:v>0.98927468658303586</c:v>
                </c:pt>
                <c:pt idx="164">
                  <c:v>0.98955826315291784</c:v>
                </c:pt>
                <c:pt idx="165">
                  <c:v>0.98983847324117413</c:v>
                </c:pt>
                <c:pt idx="166">
                  <c:v>0.99011254445117181</c:v>
                </c:pt>
                <c:pt idx="167">
                  <c:v>0.9903798826979181</c:v>
                </c:pt>
                <c:pt idx="168">
                  <c:v>0.99064583474634793</c:v>
                </c:pt>
                <c:pt idx="169">
                  <c:v>0.99091079665312309</c:v>
                </c:pt>
                <c:pt idx="170">
                  <c:v>0.99117367926242361</c:v>
                </c:pt>
                <c:pt idx="171">
                  <c:v>0.99142933383764542</c:v>
                </c:pt>
                <c:pt idx="172">
                  <c:v>0.99166647276392594</c:v>
                </c:pt>
                <c:pt idx="173">
                  <c:v>0.99190311661937913</c:v>
                </c:pt>
                <c:pt idx="174">
                  <c:v>0.99213857230484681</c:v>
                </c:pt>
                <c:pt idx="175">
                  <c:v>0.99236719601289758</c:v>
                </c:pt>
                <c:pt idx="176">
                  <c:v>0.99259294831014999</c:v>
                </c:pt>
                <c:pt idx="177">
                  <c:v>0.99281107651666189</c:v>
                </c:pt>
                <c:pt idx="178">
                  <c:v>0.99302643232654086</c:v>
                </c:pt>
                <c:pt idx="179">
                  <c:v>0.99324010489560699</c:v>
                </c:pt>
                <c:pt idx="180">
                  <c:v>0.99344704450142174</c:v>
                </c:pt>
                <c:pt idx="181">
                  <c:v>0.99365339002224362</c:v>
                </c:pt>
                <c:pt idx="182">
                  <c:v>0.99385052722567768</c:v>
                </c:pt>
                <c:pt idx="183">
                  <c:v>0.99403657484258001</c:v>
                </c:pt>
                <c:pt idx="184">
                  <c:v>0.99421529541123821</c:v>
                </c:pt>
                <c:pt idx="185">
                  <c:v>0.99438857020079596</c:v>
                </c:pt>
                <c:pt idx="186">
                  <c:v>0.99456154794785734</c:v>
                </c:pt>
                <c:pt idx="187">
                  <c:v>0.99472660456168183</c:v>
                </c:pt>
                <c:pt idx="188">
                  <c:v>0.99489146314717536</c:v>
                </c:pt>
                <c:pt idx="189">
                  <c:v>0.99504731144361191</c:v>
                </c:pt>
                <c:pt idx="190">
                  <c:v>0.99519583269180434</c:v>
                </c:pt>
                <c:pt idx="191">
                  <c:v>0.99534405689750027</c:v>
                </c:pt>
                <c:pt idx="192">
                  <c:v>0.9954865382815995</c:v>
                </c:pt>
                <c:pt idx="193">
                  <c:v>0.99562852459487139</c:v>
                </c:pt>
                <c:pt idx="194">
                  <c:v>0.99576714442651759</c:v>
                </c:pt>
                <c:pt idx="195">
                  <c:v>0.99590477411650924</c:v>
                </c:pt>
                <c:pt idx="196">
                  <c:v>0.99603913633904062</c:v>
                </c:pt>
                <c:pt idx="197">
                  <c:v>0.9961633001025294</c:v>
                </c:pt>
                <c:pt idx="198">
                  <c:v>0.99628122597359414</c:v>
                </c:pt>
                <c:pt idx="199">
                  <c:v>0.99639509226387502</c:v>
                </c:pt>
                <c:pt idx="200">
                  <c:v>0.99650796841250122</c:v>
                </c:pt>
                <c:pt idx="201">
                  <c:v>0.99661312145622138</c:v>
                </c:pt>
                <c:pt idx="202">
                  <c:v>0.99671233365001388</c:v>
                </c:pt>
                <c:pt idx="203">
                  <c:v>0.99681114978714458</c:v>
                </c:pt>
                <c:pt idx="204">
                  <c:v>0.99690976789594432</c:v>
                </c:pt>
                <c:pt idx="205">
                  <c:v>0.99700591065060751</c:v>
                </c:pt>
                <c:pt idx="206">
                  <c:v>0.99709888495197596</c:v>
                </c:pt>
                <c:pt idx="207">
                  <c:v>0.9971914631966825</c:v>
                </c:pt>
                <c:pt idx="208">
                  <c:v>0.99727443706733931</c:v>
                </c:pt>
                <c:pt idx="209">
                  <c:v>0.99735711389549975</c:v>
                </c:pt>
                <c:pt idx="210">
                  <c:v>0.99743929565283285</c:v>
                </c:pt>
                <c:pt idx="211">
                  <c:v>0.99751820994270568</c:v>
                </c:pt>
                <c:pt idx="212">
                  <c:v>0.99759653014758576</c:v>
                </c:pt>
                <c:pt idx="213">
                  <c:v>0.99767019668668921</c:v>
                </c:pt>
                <c:pt idx="214">
                  <c:v>0.99774346716913076</c:v>
                </c:pt>
                <c:pt idx="215">
                  <c:v>0.99781495539659404</c:v>
                </c:pt>
                <c:pt idx="216">
                  <c:v>0.99787881953331681</c:v>
                </c:pt>
                <c:pt idx="217">
                  <c:v>0.99794169352838491</c:v>
                </c:pt>
                <c:pt idx="218">
                  <c:v>0.99800407245262568</c:v>
                </c:pt>
                <c:pt idx="219">
                  <c:v>0.99806536222104636</c:v>
                </c:pt>
                <c:pt idx="220">
                  <c:v>0.99812467170615782</c:v>
                </c:pt>
                <c:pt idx="221">
                  <c:v>0.99817477287388134</c:v>
                </c:pt>
                <c:pt idx="222">
                  <c:v>0.99822170558831014</c:v>
                </c:pt>
                <c:pt idx="223">
                  <c:v>0.99826754914691884</c:v>
                </c:pt>
                <c:pt idx="224">
                  <c:v>0.99831240256387299</c:v>
                </c:pt>
                <c:pt idx="225">
                  <c:v>0.99835685992416523</c:v>
                </c:pt>
                <c:pt idx="226">
                  <c:v>0.99840012911447196</c:v>
                </c:pt>
                <c:pt idx="227">
                  <c:v>0.99844260619145497</c:v>
                </c:pt>
                <c:pt idx="228">
                  <c:v>0.99848003354599946</c:v>
                </c:pt>
                <c:pt idx="229">
                  <c:v>0.99851696582971661</c:v>
                </c:pt>
                <c:pt idx="230">
                  <c:v>0.99855300698594462</c:v>
                </c:pt>
                <c:pt idx="231">
                  <c:v>0.99858825602884893</c:v>
                </c:pt>
                <c:pt idx="232">
                  <c:v>0.99862340605758781</c:v>
                </c:pt>
                <c:pt idx="233">
                  <c:v>0.99865825904383032</c:v>
                </c:pt>
                <c:pt idx="234">
                  <c:v>0.99869261695924549</c:v>
                </c:pt>
                <c:pt idx="235">
                  <c:v>0.99872687586049524</c:v>
                </c:pt>
                <c:pt idx="236">
                  <c:v>0.99876103574757946</c:v>
                </c:pt>
                <c:pt idx="237">
                  <c:v>0.99879430450717455</c:v>
                </c:pt>
                <c:pt idx="238">
                  <c:v>0.99882717721010783</c:v>
                </c:pt>
                <c:pt idx="239">
                  <c:v>0.99885935681388283</c:v>
                </c:pt>
                <c:pt idx="240">
                  <c:v>0.99889123937516144</c:v>
                </c:pt>
                <c:pt idx="241">
                  <c:v>0.99892312193644006</c:v>
                </c:pt>
                <c:pt idx="242">
                  <c:v>0.99895391534189859</c:v>
                </c:pt>
                <c:pt idx="243">
                  <c:v>0.99898441170486074</c:v>
                </c:pt>
                <c:pt idx="244">
                  <c:v>0.99901480905365747</c:v>
                </c:pt>
                <c:pt idx="245">
                  <c:v>0.99904461231746144</c:v>
                </c:pt>
                <c:pt idx="246">
                  <c:v>0.99907382149627266</c:v>
                </c:pt>
                <c:pt idx="247">
                  <c:v>0.99910273363258739</c:v>
                </c:pt>
                <c:pt idx="248">
                  <c:v>0.99913045759891661</c:v>
                </c:pt>
                <c:pt idx="249">
                  <c:v>0.99915699339526032</c:v>
                </c:pt>
                <c:pt idx="250">
                  <c:v>0.99918303412077669</c:v>
                </c:pt>
                <c:pt idx="251">
                  <c:v>0.99920857977546573</c:v>
                </c:pt>
                <c:pt idx="252">
                  <c:v>0.99923313528850022</c:v>
                </c:pt>
                <c:pt idx="253">
                  <c:v>0.99925709671654195</c:v>
                </c:pt>
                <c:pt idx="254">
                  <c:v>0.99928056307375634</c:v>
                </c:pt>
                <c:pt idx="255">
                  <c:v>0.99930363337430894</c:v>
                </c:pt>
                <c:pt idx="256">
                  <c:v>0.99932660466069601</c:v>
                </c:pt>
                <c:pt idx="257">
                  <c:v>0.99934947693291765</c:v>
                </c:pt>
                <c:pt idx="258">
                  <c:v>0.99937225019097387</c:v>
                </c:pt>
                <c:pt idx="259">
                  <c:v>0.99939462739236817</c:v>
                </c:pt>
                <c:pt idx="260">
                  <c:v>0.99941581642377697</c:v>
                </c:pt>
                <c:pt idx="261">
                  <c:v>0.99943631235602748</c:v>
                </c:pt>
                <c:pt idx="262">
                  <c:v>0.99945661025994714</c:v>
                </c:pt>
                <c:pt idx="263">
                  <c:v>0.9994761160505431</c:v>
                </c:pt>
                <c:pt idx="264">
                  <c:v>0.99951473157507309</c:v>
                </c:pt>
                <c:pt idx="265">
                  <c:v>0.99953384130900713</c:v>
                </c:pt>
                <c:pt idx="266">
                  <c:v>0.99955166385879024</c:v>
                </c:pt>
                <c:pt idx="267">
                  <c:v>0.99958532867504724</c:v>
                </c:pt>
                <c:pt idx="268">
                  <c:v>0.99960136896985197</c:v>
                </c:pt>
                <c:pt idx="269">
                  <c:v>0.99961721123632585</c:v>
                </c:pt>
                <c:pt idx="270">
                  <c:v>0.99963285547446878</c:v>
                </c:pt>
                <c:pt idx="271">
                  <c:v>0.99966275775243818</c:v>
                </c:pt>
                <c:pt idx="272">
                  <c:v>0.99967731283476102</c:v>
                </c:pt>
                <c:pt idx="273">
                  <c:v>0.99969186791708387</c:v>
                </c:pt>
                <c:pt idx="274">
                  <c:v>0.99972038399673679</c:v>
                </c:pt>
                <c:pt idx="275">
                  <c:v>0.99973375090907413</c:v>
                </c:pt>
                <c:pt idx="276">
                  <c:v>0.99974711782141146</c:v>
                </c:pt>
                <c:pt idx="277">
                  <c:v>0.99976028670541783</c:v>
                </c:pt>
                <c:pt idx="278">
                  <c:v>0.99977325756109325</c:v>
                </c:pt>
                <c:pt idx="279">
                  <c:v>0.99978603038843783</c:v>
                </c:pt>
                <c:pt idx="280">
                  <c:v>0.99981088294396869</c:v>
                </c:pt>
                <c:pt idx="281">
                  <c:v>0.99982276464382414</c:v>
                </c:pt>
                <c:pt idx="282">
                  <c:v>0.99983365620202491</c:v>
                </c:pt>
                <c:pt idx="283">
                  <c:v>0.99984444874606027</c:v>
                </c:pt>
                <c:pt idx="284">
                  <c:v>0.99985514227593009</c:v>
                </c:pt>
                <c:pt idx="285">
                  <c:v>0.99986534073497257</c:v>
                </c:pt>
                <c:pt idx="286">
                  <c:v>0.99988514356806479</c:v>
                </c:pt>
                <c:pt idx="287">
                  <c:v>0.99989494597044548</c:v>
                </c:pt>
                <c:pt idx="288">
                  <c:v>0.99991148133607755</c:v>
                </c:pt>
                <c:pt idx="289">
                  <c:v>0.99992573937590401</c:v>
                </c:pt>
                <c:pt idx="290">
                  <c:v>0.99993267036748634</c:v>
                </c:pt>
                <c:pt idx="291">
                  <c:v>0.99994534418066539</c:v>
                </c:pt>
                <c:pt idx="292">
                  <c:v>0.99995128503059305</c:v>
                </c:pt>
                <c:pt idx="293">
                  <c:v>0.99995623573886616</c:v>
                </c:pt>
                <c:pt idx="294">
                  <c:v>0.99996494898542676</c:v>
                </c:pt>
                <c:pt idx="295">
                  <c:v>0.99996881053787978</c:v>
                </c:pt>
                <c:pt idx="296">
                  <c:v>0.99997603857195838</c:v>
                </c:pt>
                <c:pt idx="297">
                  <c:v>0.99997950406774949</c:v>
                </c:pt>
                <c:pt idx="298">
                  <c:v>0.9999829695635406</c:v>
                </c:pt>
                <c:pt idx="299">
                  <c:v>0.99998593998850449</c:v>
                </c:pt>
                <c:pt idx="300">
                  <c:v>0.99999178182426673</c:v>
                </c:pt>
                <c:pt idx="301">
                  <c:v>0.99999415816423787</c:v>
                </c:pt>
                <c:pt idx="302">
                  <c:v>0.99999643549004347</c:v>
                </c:pt>
                <c:pt idx="303">
                  <c:v>0.99999841577335269</c:v>
                </c:pt>
                <c:pt idx="304">
                  <c:v>1</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107</c:f>
              <c:strCache>
                <c:ptCount val="106"/>
                <c:pt idx="0">
                  <c:v>All Others</c:v>
                </c:pt>
                <c:pt idx="1">
                  <c:v>Bottega</c:v>
                </c:pt>
                <c:pt idx="2">
                  <c:v>Patriarche</c:v>
                </c:pt>
                <c:pt idx="3">
                  <c:v>Mure</c:v>
                </c:pt>
                <c:pt idx="4">
                  <c:v>Savian</c:v>
                </c:pt>
                <c:pt idx="5">
                  <c:v>French Bloo</c:v>
                </c:pt>
                <c:pt idx="6">
                  <c:v>Bouvet-Ladu</c:v>
                </c:pt>
                <c:pt idx="7">
                  <c:v>De Chanceny</c:v>
                </c:pt>
                <c:pt idx="8">
                  <c:v>All Others</c:v>
                </c:pt>
                <c:pt idx="9">
                  <c:v>Patriarche</c:v>
                </c:pt>
                <c:pt idx="10">
                  <c:v>Kriter</c:v>
                </c:pt>
                <c:pt idx="11">
                  <c:v>Bottega</c:v>
                </c:pt>
                <c:pt idx="12">
                  <c:v>All Others</c:v>
                </c:pt>
                <c:pt idx="13">
                  <c:v>Contarini</c:v>
                </c:pt>
                <c:pt idx="14">
                  <c:v>All Others</c:v>
                </c:pt>
                <c:pt idx="15">
                  <c:v>All Others</c:v>
                </c:pt>
                <c:pt idx="16">
                  <c:v>Cru La Maqu</c:v>
                </c:pt>
                <c:pt idx="17">
                  <c:v>All Others</c:v>
                </c:pt>
                <c:pt idx="18">
                  <c:v>All Others</c:v>
                </c:pt>
                <c:pt idx="19">
                  <c:v>All Others</c:v>
                </c:pt>
                <c:pt idx="20">
                  <c:v>All Others</c:v>
                </c:pt>
                <c:pt idx="21">
                  <c:v>All Others</c:v>
                </c:pt>
                <c:pt idx="22">
                  <c:v>Contarini</c:v>
                </c:pt>
                <c:pt idx="23">
                  <c:v>All Others</c:v>
                </c:pt>
                <c:pt idx="24">
                  <c:v>All Others</c:v>
                </c:pt>
                <c:pt idx="25">
                  <c:v>All Others</c:v>
                </c:pt>
                <c:pt idx="26">
                  <c:v>All Others</c:v>
                </c:pt>
                <c:pt idx="27">
                  <c:v>All Others</c:v>
                </c:pt>
                <c:pt idx="28">
                  <c:v>All Others</c:v>
                </c:pt>
                <c:pt idx="29">
                  <c:v>All Others</c:v>
                </c:pt>
                <c:pt idx="30">
                  <c:v>All Others</c:v>
                </c:pt>
                <c:pt idx="31">
                  <c:v>All Others</c:v>
                </c:pt>
                <c:pt idx="32">
                  <c:v>Mure</c:v>
                </c:pt>
                <c:pt idx="33">
                  <c:v>All Others</c:v>
                </c:pt>
                <c:pt idx="34">
                  <c:v>Bouvet-Ladu</c:v>
                </c:pt>
                <c:pt idx="35">
                  <c:v>All Others</c:v>
                </c:pt>
                <c:pt idx="36">
                  <c:v>All Others</c:v>
                </c:pt>
                <c:pt idx="37">
                  <c:v>All Others</c:v>
                </c:pt>
                <c:pt idx="38">
                  <c:v>All Others</c:v>
                </c:pt>
                <c:pt idx="39">
                  <c:v>All Others</c:v>
                </c:pt>
                <c:pt idx="40">
                  <c:v>All Others</c:v>
                </c:pt>
                <c:pt idx="41">
                  <c:v>Bouvet-Ladu</c:v>
                </c:pt>
                <c:pt idx="42">
                  <c:v>All Others</c:v>
                </c:pt>
                <c:pt idx="43">
                  <c:v>All Others</c:v>
                </c:pt>
                <c:pt idx="44">
                  <c:v>Bouvet-Ladu</c:v>
                </c:pt>
                <c:pt idx="45">
                  <c:v>All Others</c:v>
                </c:pt>
                <c:pt idx="46">
                  <c:v>All Others</c:v>
                </c:pt>
                <c:pt idx="47">
                  <c:v>Vilaveroni</c:v>
                </c:pt>
                <c:pt idx="48">
                  <c:v>Celene</c:v>
                </c:pt>
                <c:pt idx="49">
                  <c:v>Mure</c:v>
                </c:pt>
                <c:pt idx="50">
                  <c:v>All Others</c:v>
                </c:pt>
                <c:pt idx="51">
                  <c:v>All Others</c:v>
                </c:pt>
                <c:pt idx="52">
                  <c:v>All Others</c:v>
                </c:pt>
                <c:pt idx="53">
                  <c:v>Celene</c:v>
                </c:pt>
                <c:pt idx="54">
                  <c:v>All Others</c:v>
                </c:pt>
                <c:pt idx="55">
                  <c:v>All Others</c:v>
                </c:pt>
                <c:pt idx="56">
                  <c:v>Bottega</c:v>
                </c:pt>
                <c:pt idx="57">
                  <c:v>All Others</c:v>
                </c:pt>
                <c:pt idx="58">
                  <c:v>All Others</c:v>
                </c:pt>
                <c:pt idx="59">
                  <c:v>All Others</c:v>
                </c:pt>
                <c:pt idx="60">
                  <c:v>All Others</c:v>
                </c:pt>
                <c:pt idx="61">
                  <c:v>All Others</c:v>
                </c:pt>
                <c:pt idx="62">
                  <c:v>All Others</c:v>
                </c:pt>
                <c:pt idx="63">
                  <c:v>All Others</c:v>
                </c:pt>
                <c:pt idx="64">
                  <c:v>All Others</c:v>
                </c:pt>
                <c:pt idx="65">
                  <c:v>All Others</c:v>
                </c:pt>
                <c:pt idx="66">
                  <c:v>Jaillance</c:v>
                </c:pt>
                <c:pt idx="67">
                  <c:v>All Others</c:v>
                </c:pt>
                <c:pt idx="68">
                  <c:v>All Others</c:v>
                </c:pt>
                <c:pt idx="69">
                  <c:v>All Others</c:v>
                </c:pt>
                <c:pt idx="70">
                  <c:v>All Others</c:v>
                </c:pt>
                <c:pt idx="71">
                  <c:v>All Others</c:v>
                </c:pt>
                <c:pt idx="72">
                  <c:v>Vilaveroni</c:v>
                </c:pt>
                <c:pt idx="73">
                  <c:v>Bouvet-Ladu</c:v>
                </c:pt>
                <c:pt idx="74">
                  <c:v>All Others</c:v>
                </c:pt>
                <c:pt idx="75">
                  <c:v>All Others</c:v>
                </c:pt>
                <c:pt idx="76">
                  <c:v>All Others</c:v>
                </c:pt>
                <c:pt idx="77">
                  <c:v>Vilaveroni</c:v>
                </c:pt>
                <c:pt idx="78">
                  <c:v>Bouvet-Ladu</c:v>
                </c:pt>
                <c:pt idx="79">
                  <c:v>All Others</c:v>
                </c:pt>
                <c:pt idx="80">
                  <c:v>All Others</c:v>
                </c:pt>
                <c:pt idx="81">
                  <c:v>All Others</c:v>
                </c:pt>
                <c:pt idx="82">
                  <c:v>All Others</c:v>
                </c:pt>
                <c:pt idx="83">
                  <c:v>All Others</c:v>
                </c:pt>
                <c:pt idx="84">
                  <c:v>Bouvet-Ladu</c:v>
                </c:pt>
                <c:pt idx="85">
                  <c:v>All Others</c:v>
                </c:pt>
                <c:pt idx="86">
                  <c:v>All Others</c:v>
                </c:pt>
                <c:pt idx="87">
                  <c:v>Vilaveroni</c:v>
                </c:pt>
                <c:pt idx="88">
                  <c:v>Bouvet-Ladu</c:v>
                </c:pt>
                <c:pt idx="89">
                  <c:v>Bottega</c:v>
                </c:pt>
                <c:pt idx="90">
                  <c:v>All Others</c:v>
                </c:pt>
                <c:pt idx="91">
                  <c:v>All Others</c:v>
                </c:pt>
                <c:pt idx="92">
                  <c:v>Bottega</c:v>
                </c:pt>
                <c:pt idx="93">
                  <c:v>All Others</c:v>
                </c:pt>
                <c:pt idx="94">
                  <c:v>All Others</c:v>
                </c:pt>
                <c:pt idx="95">
                  <c:v>All Others</c:v>
                </c:pt>
                <c:pt idx="96">
                  <c:v>Mure</c:v>
                </c:pt>
                <c:pt idx="97">
                  <c:v>All Others</c:v>
                </c:pt>
                <c:pt idx="98">
                  <c:v>All Others</c:v>
                </c:pt>
                <c:pt idx="99">
                  <c:v>All Others</c:v>
                </c:pt>
                <c:pt idx="100">
                  <c:v>Bottega</c:v>
                </c:pt>
                <c:pt idx="101">
                  <c:v>All Others</c:v>
                </c:pt>
                <c:pt idx="102">
                  <c:v>French Bloo</c:v>
                </c:pt>
                <c:pt idx="103">
                  <c:v>All Others</c:v>
                </c:pt>
                <c:pt idx="104">
                  <c:v>All Others</c:v>
                </c:pt>
                <c:pt idx="105">
                  <c:v>All Others</c:v>
                </c:pt>
              </c:strCache>
            </c:strRef>
          </c:cat>
          <c:val>
            <c:numRef>
              <c:f>Sheet1!$B$2:$B$107</c:f>
              <c:numCache>
                <c:formatCode>General</c:formatCode>
                <c:ptCount val="106"/>
                <c:pt idx="0">
                  <c:v>0.90900000000000003</c:v>
                </c:pt>
                <c:pt idx="1">
                  <c:v>0.81</c:v>
                </c:pt>
                <c:pt idx="2">
                  <c:v>0.877</c:v>
                </c:pt>
                <c:pt idx="3">
                  <c:v>0.751</c:v>
                </c:pt>
                <c:pt idx="4">
                  <c:v>0.8</c:v>
                </c:pt>
                <c:pt idx="5">
                  <c:v>0.72199999999999998</c:v>
                </c:pt>
                <c:pt idx="6">
                  <c:v>0.68100000000000005</c:v>
                </c:pt>
                <c:pt idx="7">
                  <c:v>0.55400000000000005</c:v>
                </c:pt>
                <c:pt idx="8">
                  <c:v>0.45900000000000002</c:v>
                </c:pt>
                <c:pt idx="9">
                  <c:v>0.6</c:v>
                </c:pt>
                <c:pt idx="10">
                  <c:v>0.47599999999999998</c:v>
                </c:pt>
                <c:pt idx="11">
                  <c:v>0.46500000000000002</c:v>
                </c:pt>
                <c:pt idx="12">
                  <c:v>6.6000000000000003E-2</c:v>
                </c:pt>
                <c:pt idx="13">
                  <c:v>0.85</c:v>
                </c:pt>
                <c:pt idx="14">
                  <c:v>0.48199999999999998</c:v>
                </c:pt>
                <c:pt idx="15">
                  <c:v>0.35399999999999998</c:v>
                </c:pt>
                <c:pt idx="16">
                  <c:v>0.40600000000000003</c:v>
                </c:pt>
                <c:pt idx="17">
                  <c:v>3.9E-2</c:v>
                </c:pt>
                <c:pt idx="18">
                  <c:v>0.307</c:v>
                </c:pt>
                <c:pt idx="19">
                  <c:v>7.1999999999999995E-2</c:v>
                </c:pt>
                <c:pt idx="20">
                  <c:v>0.25700000000000001</c:v>
                </c:pt>
                <c:pt idx="21">
                  <c:v>0.24199999999999999</c:v>
                </c:pt>
                <c:pt idx="22">
                  <c:v>0.15</c:v>
                </c:pt>
                <c:pt idx="23">
                  <c:v>0.20100000000000001</c:v>
                </c:pt>
                <c:pt idx="24">
                  <c:v>2.5000000000000001E-2</c:v>
                </c:pt>
                <c:pt idx="25">
                  <c:v>3.7999999999999999E-2</c:v>
                </c:pt>
                <c:pt idx="26">
                  <c:v>0.1</c:v>
                </c:pt>
                <c:pt idx="27">
                  <c:v>4.0000000000000001E-3</c:v>
                </c:pt>
                <c:pt idx="28">
                  <c:v>3.1E-2</c:v>
                </c:pt>
                <c:pt idx="29">
                  <c:v>3.1E-2</c:v>
                </c:pt>
                <c:pt idx="30">
                  <c:v>1.7000000000000001E-2</c:v>
                </c:pt>
                <c:pt idx="31">
                  <c:v>4.5999999999999999E-2</c:v>
                </c:pt>
                <c:pt idx="32">
                  <c:v>2.1000000000000001E-2</c:v>
                </c:pt>
                <c:pt idx="33">
                  <c:v>0.21299999999999999</c:v>
                </c:pt>
                <c:pt idx="34">
                  <c:v>0.104</c:v>
                </c:pt>
                <c:pt idx="35">
                  <c:v>1.7999999999999999E-2</c:v>
                </c:pt>
                <c:pt idx="36">
                  <c:v>5.6000000000000001E-2</c:v>
                </c:pt>
                <c:pt idx="37">
                  <c:v>3.7999999999999999E-2</c:v>
                </c:pt>
                <c:pt idx="38">
                  <c:v>2.1999999999999999E-2</c:v>
                </c:pt>
                <c:pt idx="39">
                  <c:v>1.4E-2</c:v>
                </c:pt>
                <c:pt idx="40">
                  <c:v>2.5000000000000001E-2</c:v>
                </c:pt>
                <c:pt idx="41">
                  <c:v>0.10299999999999999</c:v>
                </c:pt>
                <c:pt idx="42">
                  <c:v>0.112</c:v>
                </c:pt>
                <c:pt idx="43">
                  <c:v>3.7999999999999999E-2</c:v>
                </c:pt>
                <c:pt idx="44">
                  <c:v>8.5000000000000006E-2</c:v>
                </c:pt>
                <c:pt idx="45">
                  <c:v>2.5000000000000001E-2</c:v>
                </c:pt>
                <c:pt idx="46">
                  <c:v>3.5999999999999997E-2</c:v>
                </c:pt>
                <c:pt idx="47">
                  <c:v>1.7000000000000001E-2</c:v>
                </c:pt>
                <c:pt idx="48">
                  <c:v>9.0999999999999998E-2</c:v>
                </c:pt>
                <c:pt idx="49">
                  <c:v>1.7999999999999999E-2</c:v>
                </c:pt>
                <c:pt idx="50">
                  <c:v>1.7999999999999999E-2</c:v>
                </c:pt>
                <c:pt idx="51">
                  <c:v>4.0000000000000001E-3</c:v>
                </c:pt>
                <c:pt idx="52">
                  <c:v>1.2E-2</c:v>
                </c:pt>
                <c:pt idx="53">
                  <c:v>7.2999999999999995E-2</c:v>
                </c:pt>
                <c:pt idx="54">
                  <c:v>2.3E-2</c:v>
                </c:pt>
                <c:pt idx="55">
                  <c:v>2.5000000000000001E-2</c:v>
                </c:pt>
                <c:pt idx="56">
                  <c:v>7.0999999999999994E-2</c:v>
                </c:pt>
                <c:pt idx="57">
                  <c:v>8.6999999999999994E-2</c:v>
                </c:pt>
                <c:pt idx="58">
                  <c:v>2.4E-2</c:v>
                </c:pt>
                <c:pt idx="59">
                  <c:v>1.7000000000000001E-2</c:v>
                </c:pt>
                <c:pt idx="60">
                  <c:v>4.0000000000000001E-3</c:v>
                </c:pt>
                <c:pt idx="61">
                  <c:v>1.0999999999999999E-2</c:v>
                </c:pt>
                <c:pt idx="62">
                  <c:v>1.9E-2</c:v>
                </c:pt>
                <c:pt idx="63">
                  <c:v>0.02</c:v>
                </c:pt>
                <c:pt idx="64">
                  <c:v>1.2E-2</c:v>
                </c:pt>
                <c:pt idx="65">
                  <c:v>4.0000000000000001E-3</c:v>
                </c:pt>
                <c:pt idx="66">
                  <c:v>3.7999999999999999E-2</c:v>
                </c:pt>
                <c:pt idx="67">
                  <c:v>1.9E-2</c:v>
                </c:pt>
                <c:pt idx="68">
                  <c:v>2.4E-2</c:v>
                </c:pt>
                <c:pt idx="69">
                  <c:v>4.0000000000000001E-3</c:v>
                </c:pt>
                <c:pt idx="70">
                  <c:v>5.6000000000000001E-2</c:v>
                </c:pt>
                <c:pt idx="71">
                  <c:v>4.0000000000000001E-3</c:v>
                </c:pt>
                <c:pt idx="72">
                  <c:v>1.4999999999999999E-2</c:v>
                </c:pt>
                <c:pt idx="73">
                  <c:v>2.5999999999999999E-2</c:v>
                </c:pt>
                <c:pt idx="74">
                  <c:v>8.9999999999999993E-3</c:v>
                </c:pt>
                <c:pt idx="75">
                  <c:v>2E-3</c:v>
                </c:pt>
                <c:pt idx="76">
                  <c:v>5.0000000000000001E-3</c:v>
                </c:pt>
                <c:pt idx="77">
                  <c:v>1.4999999999999999E-2</c:v>
                </c:pt>
                <c:pt idx="78">
                  <c:v>1.0999999999999999E-2</c:v>
                </c:pt>
                <c:pt idx="79">
                  <c:v>8.0000000000000002E-3</c:v>
                </c:pt>
                <c:pt idx="80">
                  <c:v>2.1999999999999999E-2</c:v>
                </c:pt>
                <c:pt idx="81">
                  <c:v>2.8000000000000001E-2</c:v>
                </c:pt>
                <c:pt idx="82">
                  <c:v>5.0000000000000001E-3</c:v>
                </c:pt>
                <c:pt idx="83">
                  <c:v>5.0999999999999997E-2</c:v>
                </c:pt>
                <c:pt idx="84">
                  <c:v>1.0999999999999999E-2</c:v>
                </c:pt>
                <c:pt idx="85">
                  <c:v>1.7999999999999999E-2</c:v>
                </c:pt>
                <c:pt idx="86">
                  <c:v>1.7000000000000001E-2</c:v>
                </c:pt>
                <c:pt idx="87">
                  <c:v>1.2999999999999999E-2</c:v>
                </c:pt>
                <c:pt idx="88">
                  <c:v>2E-3</c:v>
                </c:pt>
                <c:pt idx="89">
                  <c:v>0.01</c:v>
                </c:pt>
                <c:pt idx="90">
                  <c:v>4.0000000000000001E-3</c:v>
                </c:pt>
                <c:pt idx="91">
                  <c:v>5.0000000000000001E-3</c:v>
                </c:pt>
                <c:pt idx="92">
                  <c:v>1E-3</c:v>
                </c:pt>
                <c:pt idx="93">
                  <c:v>2E-3</c:v>
                </c:pt>
                <c:pt idx="94">
                  <c:v>7.0000000000000001E-3</c:v>
                </c:pt>
                <c:pt idx="95">
                  <c:v>7.0000000000000001E-3</c:v>
                </c:pt>
                <c:pt idx="96">
                  <c:v>3.0000000000000001E-3</c:v>
                </c:pt>
                <c:pt idx="97">
                  <c:v>7.0000000000000001E-3</c:v>
                </c:pt>
                <c:pt idx="98">
                  <c:v>4.0000000000000001E-3</c:v>
                </c:pt>
                <c:pt idx="99">
                  <c:v>2E-3</c:v>
                </c:pt>
                <c:pt idx="100">
                  <c:v>0.01</c:v>
                </c:pt>
                <c:pt idx="101">
                  <c:v>5.0000000000000001E-3</c:v>
                </c:pt>
                <c:pt idx="102">
                  <c:v>2E-3</c:v>
                </c:pt>
                <c:pt idx="103">
                  <c:v>2E-3</c:v>
                </c:pt>
                <c:pt idx="104">
                  <c:v>5.0000000000000001E-3</c:v>
                </c:pt>
                <c:pt idx="105">
                  <c:v>2E-3</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7ECAC4"/>
              </a:solidFill>
            </c:spPr>
            <c:extLst>
              <c:ext xmlns:c16="http://schemas.microsoft.com/office/drawing/2014/chart" uri="{C3380CC4-5D6E-409C-BE32-E72D297353CC}">
                <c16:uniqueId val="{00000053-2993-41DE-A2CB-63102DE87051}"/>
              </c:ext>
            </c:extLst>
          </c:dPt>
          <c:dPt>
            <c:idx val="14"/>
            <c:invertIfNegative val="1"/>
            <c:bubble3D val="0"/>
            <c:spPr>
              <a:solidFill>
                <a:srgbClr val="7ECAC4"/>
              </a:solidFill>
            </c:spPr>
            <c:extLst>
              <c:ext xmlns:c16="http://schemas.microsoft.com/office/drawing/2014/chart" uri="{C3380CC4-5D6E-409C-BE32-E72D297353CC}">
                <c16:uniqueId val="{00000055-2993-41DE-A2CB-63102DE87051}"/>
              </c:ext>
            </c:extLst>
          </c:dPt>
          <c:dPt>
            <c:idx val="15"/>
            <c:invertIfNegative val="1"/>
            <c:bubble3D val="0"/>
            <c:spPr>
              <a:solidFill>
                <a:srgbClr val="7ECAC4"/>
              </a:solidFill>
            </c:spPr>
            <c:extLst>
              <c:ext xmlns:c16="http://schemas.microsoft.com/office/drawing/2014/chart" uri="{C3380CC4-5D6E-409C-BE32-E72D297353CC}">
                <c16:uniqueId val="{00000057-2993-41DE-A2CB-63102DE87051}"/>
              </c:ext>
            </c:extLst>
          </c:dPt>
          <c:dPt>
            <c:idx val="16"/>
            <c:invertIfNegative val="1"/>
            <c:bubble3D val="0"/>
            <c:spPr>
              <a:solidFill>
                <a:srgbClr val="7ECAC4"/>
              </a:solidFill>
            </c:spPr>
            <c:extLst>
              <c:ext xmlns:c16="http://schemas.microsoft.com/office/drawing/2014/chart" uri="{C3380CC4-5D6E-409C-BE32-E72D297353CC}">
                <c16:uniqueId val="{00000059-2993-41DE-A2CB-63102DE87051}"/>
              </c:ext>
            </c:extLst>
          </c:dPt>
          <c:dPt>
            <c:idx val="17"/>
            <c:invertIfNegative val="1"/>
            <c:bubble3D val="0"/>
            <c:spPr>
              <a:solidFill>
                <a:srgbClr val="7ECAC4"/>
              </a:solidFill>
            </c:spPr>
            <c:extLst>
              <c:ext xmlns:c16="http://schemas.microsoft.com/office/drawing/2014/chart" uri="{C3380CC4-5D6E-409C-BE32-E72D297353CC}">
                <c16:uniqueId val="{0000005B-2993-41DE-A2CB-63102DE87051}"/>
              </c:ext>
            </c:extLst>
          </c:dPt>
          <c:dPt>
            <c:idx val="18"/>
            <c:invertIfNegative val="1"/>
            <c:bubble3D val="0"/>
            <c:spPr>
              <a:solidFill>
                <a:srgbClr val="7ECAC4"/>
              </a:solidFill>
            </c:spPr>
            <c:extLst>
              <c:ext xmlns:c16="http://schemas.microsoft.com/office/drawing/2014/chart" uri="{C3380CC4-5D6E-409C-BE32-E72D297353CC}">
                <c16:uniqueId val="{0000005D-2993-41DE-A2CB-63102DE87051}"/>
              </c:ext>
            </c:extLst>
          </c:dPt>
          <c:dPt>
            <c:idx val="19"/>
            <c:invertIfNegative val="1"/>
            <c:bubble3D val="0"/>
            <c:spPr>
              <a:solidFill>
                <a:srgbClr val="7ECAC4"/>
              </a:solidFill>
            </c:spPr>
            <c:extLst>
              <c:ext xmlns:c16="http://schemas.microsoft.com/office/drawing/2014/chart" uri="{C3380CC4-5D6E-409C-BE32-E72D297353CC}">
                <c16:uniqueId val="{0000005F-2993-41DE-A2CB-63102DE87051}"/>
              </c:ext>
            </c:extLst>
          </c:dPt>
          <c:dPt>
            <c:idx val="20"/>
            <c:invertIfNegative val="1"/>
            <c:bubble3D val="0"/>
            <c:spPr>
              <a:solidFill>
                <a:srgbClr val="7ECAC4"/>
              </a:solidFill>
            </c:spPr>
            <c:extLst>
              <c:ext xmlns:c16="http://schemas.microsoft.com/office/drawing/2014/chart" uri="{C3380CC4-5D6E-409C-BE32-E72D297353CC}">
                <c16:uniqueId val="{00000061-2993-41DE-A2CB-63102DE87051}"/>
              </c:ext>
            </c:extLst>
          </c:dPt>
          <c:dPt>
            <c:idx val="21"/>
            <c:invertIfNegative val="1"/>
            <c:bubble3D val="0"/>
            <c:spPr>
              <a:solidFill>
                <a:srgbClr val="7ECAC4"/>
              </a:solidFill>
            </c:spPr>
            <c:extLst>
              <c:ext xmlns:c16="http://schemas.microsoft.com/office/drawing/2014/chart" uri="{C3380CC4-5D6E-409C-BE32-E72D297353CC}">
                <c16:uniqueId val="{00000063-2993-41DE-A2CB-63102DE87051}"/>
              </c:ext>
            </c:extLst>
          </c:dPt>
          <c:dPt>
            <c:idx val="22"/>
            <c:invertIfNegative val="1"/>
            <c:bubble3D val="0"/>
            <c:spPr>
              <a:solidFill>
                <a:srgbClr val="7ECAC4"/>
              </a:solidFill>
            </c:spPr>
            <c:extLst>
              <c:ext xmlns:c16="http://schemas.microsoft.com/office/drawing/2014/chart" uri="{C3380CC4-5D6E-409C-BE32-E72D297353CC}">
                <c16:uniqueId val="{00000065-2993-41DE-A2CB-63102DE87051}"/>
              </c:ext>
            </c:extLst>
          </c:dPt>
          <c:dPt>
            <c:idx val="23"/>
            <c:invertIfNegative val="1"/>
            <c:bubble3D val="0"/>
            <c:spPr>
              <a:solidFill>
                <a:srgbClr val="7ECAC4"/>
              </a:solidFill>
            </c:spPr>
            <c:extLst>
              <c:ext xmlns:c16="http://schemas.microsoft.com/office/drawing/2014/chart" uri="{C3380CC4-5D6E-409C-BE32-E72D297353CC}">
                <c16:uniqueId val="{00000067-2993-41DE-A2CB-63102DE87051}"/>
              </c:ext>
            </c:extLst>
          </c:dPt>
          <c:dPt>
            <c:idx val="24"/>
            <c:invertIfNegative val="1"/>
            <c:bubble3D val="0"/>
            <c:spPr>
              <a:solidFill>
                <a:srgbClr val="7ECAC4"/>
              </a:solidFill>
            </c:spPr>
            <c:extLst>
              <c:ext xmlns:c16="http://schemas.microsoft.com/office/drawing/2014/chart" uri="{C3380CC4-5D6E-409C-BE32-E72D297353CC}">
                <c16:uniqueId val="{00000069-2993-41DE-A2CB-63102DE87051}"/>
              </c:ext>
            </c:extLst>
          </c:dPt>
          <c:dPt>
            <c:idx val="25"/>
            <c:invertIfNegative val="1"/>
            <c:bubble3D val="0"/>
            <c:spPr>
              <a:solidFill>
                <a:srgbClr val="7ECAC4"/>
              </a:solidFill>
            </c:spPr>
            <c:extLst>
              <c:ext xmlns:c16="http://schemas.microsoft.com/office/drawing/2014/chart" uri="{C3380CC4-5D6E-409C-BE32-E72D297353CC}">
                <c16:uniqueId val="{0000006B-2993-41DE-A2CB-63102DE87051}"/>
              </c:ext>
            </c:extLst>
          </c:dPt>
          <c:dPt>
            <c:idx val="26"/>
            <c:invertIfNegative val="1"/>
            <c:bubble3D val="0"/>
            <c:spPr>
              <a:solidFill>
                <a:srgbClr val="7ECAC4"/>
              </a:solidFill>
            </c:spPr>
            <c:extLst>
              <c:ext xmlns:c16="http://schemas.microsoft.com/office/drawing/2014/chart" uri="{C3380CC4-5D6E-409C-BE32-E72D297353CC}">
                <c16:uniqueId val="{0000006D-2993-41DE-A2CB-63102DE87051}"/>
              </c:ext>
            </c:extLst>
          </c:dPt>
          <c:dPt>
            <c:idx val="27"/>
            <c:invertIfNegative val="1"/>
            <c:bubble3D val="0"/>
            <c:spPr>
              <a:solidFill>
                <a:srgbClr val="7ECAC4"/>
              </a:solidFill>
            </c:spPr>
            <c:extLst>
              <c:ext xmlns:c16="http://schemas.microsoft.com/office/drawing/2014/chart" uri="{C3380CC4-5D6E-409C-BE32-E72D297353CC}">
                <c16:uniqueId val="{0000006F-2993-41DE-A2CB-63102DE87051}"/>
              </c:ext>
            </c:extLst>
          </c:dPt>
          <c:dPt>
            <c:idx val="28"/>
            <c:invertIfNegative val="1"/>
            <c:bubble3D val="0"/>
            <c:spPr>
              <a:solidFill>
                <a:srgbClr val="7ECAC4"/>
              </a:solidFill>
            </c:spPr>
            <c:extLst>
              <c:ext xmlns:c16="http://schemas.microsoft.com/office/drawing/2014/chart" uri="{C3380CC4-5D6E-409C-BE32-E72D297353CC}">
                <c16:uniqueId val="{00000071-2993-41DE-A2CB-63102DE87051}"/>
              </c:ext>
            </c:extLst>
          </c:dPt>
          <c:dPt>
            <c:idx val="29"/>
            <c:invertIfNegative val="1"/>
            <c:bubble3D val="0"/>
            <c:spPr>
              <a:solidFill>
                <a:srgbClr val="7ECAC4"/>
              </a:solidFill>
            </c:spPr>
            <c:extLst>
              <c:ext xmlns:c16="http://schemas.microsoft.com/office/drawing/2014/chart" uri="{C3380CC4-5D6E-409C-BE32-E72D297353CC}">
                <c16:uniqueId val="{00000073-2993-41DE-A2CB-63102DE87051}"/>
              </c:ext>
            </c:extLst>
          </c:dPt>
          <c:dPt>
            <c:idx val="30"/>
            <c:invertIfNegative val="1"/>
            <c:bubble3D val="0"/>
            <c:spPr>
              <a:solidFill>
                <a:srgbClr val="7ECAC4"/>
              </a:solidFill>
            </c:spPr>
            <c:extLst>
              <c:ext xmlns:c16="http://schemas.microsoft.com/office/drawing/2014/chart" uri="{C3380CC4-5D6E-409C-BE32-E72D297353CC}">
                <c16:uniqueId val="{00000075-2993-41DE-A2CB-63102DE87051}"/>
              </c:ext>
            </c:extLst>
          </c:dPt>
          <c:dPt>
            <c:idx val="31"/>
            <c:invertIfNegative val="1"/>
            <c:bubble3D val="0"/>
            <c:spPr>
              <a:solidFill>
                <a:srgbClr val="7ECAC4"/>
              </a:solidFill>
            </c:spPr>
            <c:extLst>
              <c:ext xmlns:c16="http://schemas.microsoft.com/office/drawing/2014/chart" uri="{C3380CC4-5D6E-409C-BE32-E72D297353CC}">
                <c16:uniqueId val="{00000077-2993-41DE-A2CB-63102DE87051}"/>
              </c:ext>
            </c:extLst>
          </c:dPt>
          <c:dPt>
            <c:idx val="32"/>
            <c:invertIfNegative val="1"/>
            <c:bubble3D val="0"/>
            <c:spPr>
              <a:solidFill>
                <a:srgbClr val="AEABAB"/>
              </a:solidFill>
            </c:spPr>
            <c:extLst>
              <c:ext xmlns:c16="http://schemas.microsoft.com/office/drawing/2014/chart" uri="{C3380CC4-5D6E-409C-BE32-E72D297353CC}">
                <c16:uniqueId val="{00000079-2993-41DE-A2CB-63102DE87051}"/>
              </c:ext>
            </c:extLst>
          </c:dPt>
          <c:dPt>
            <c:idx val="33"/>
            <c:invertIfNegative val="1"/>
            <c:bubble3D val="0"/>
            <c:spPr>
              <a:solidFill>
                <a:srgbClr val="AEABAB"/>
              </a:solidFill>
            </c:spPr>
            <c:extLst>
              <c:ext xmlns:c16="http://schemas.microsoft.com/office/drawing/2014/chart" uri="{C3380CC4-5D6E-409C-BE32-E72D297353CC}">
                <c16:uniqueId val="{0000007B-2993-41DE-A2CB-63102DE87051}"/>
              </c:ext>
            </c:extLst>
          </c:dPt>
          <c:dPt>
            <c:idx val="34"/>
            <c:invertIfNegative val="1"/>
            <c:bubble3D val="0"/>
            <c:spPr>
              <a:solidFill>
                <a:srgbClr val="AEABAB"/>
              </a:solidFill>
            </c:spPr>
            <c:extLst>
              <c:ext xmlns:c16="http://schemas.microsoft.com/office/drawing/2014/chart" uri="{C3380CC4-5D6E-409C-BE32-E72D297353CC}">
                <c16:uniqueId val="{0000007D-2993-41DE-A2CB-63102DE87051}"/>
              </c:ext>
            </c:extLst>
          </c:dPt>
          <c:dPt>
            <c:idx val="35"/>
            <c:invertIfNegative val="1"/>
            <c:bubble3D val="0"/>
            <c:spPr>
              <a:solidFill>
                <a:srgbClr val="AEABAB"/>
              </a:solidFill>
            </c:spPr>
            <c:extLst>
              <c:ext xmlns:c16="http://schemas.microsoft.com/office/drawing/2014/chart" uri="{C3380CC4-5D6E-409C-BE32-E72D297353CC}">
                <c16:uniqueId val="{0000007F-2993-41DE-A2CB-63102DE87051}"/>
              </c:ext>
            </c:extLst>
          </c:dPt>
          <c:dPt>
            <c:idx val="36"/>
            <c:invertIfNegative val="1"/>
            <c:bubble3D val="0"/>
            <c:spPr>
              <a:solidFill>
                <a:srgbClr val="AEABAB"/>
              </a:solidFill>
            </c:spPr>
            <c:extLst>
              <c:ext xmlns:c16="http://schemas.microsoft.com/office/drawing/2014/chart" uri="{C3380CC4-5D6E-409C-BE32-E72D297353CC}">
                <c16:uniqueId val="{00000081-2993-41DE-A2CB-63102DE87051}"/>
              </c:ext>
            </c:extLst>
          </c:dPt>
          <c:dPt>
            <c:idx val="37"/>
            <c:invertIfNegative val="1"/>
            <c:bubble3D val="0"/>
            <c:spPr>
              <a:solidFill>
                <a:srgbClr val="AEABAB"/>
              </a:solidFill>
            </c:spPr>
            <c:extLst>
              <c:ext xmlns:c16="http://schemas.microsoft.com/office/drawing/2014/chart" uri="{C3380CC4-5D6E-409C-BE32-E72D297353CC}">
                <c16:uniqueId val="{00000083-2993-41DE-A2CB-63102DE87051}"/>
              </c:ext>
            </c:extLst>
          </c:dPt>
          <c:dPt>
            <c:idx val="38"/>
            <c:invertIfNegative val="1"/>
            <c:bubble3D val="0"/>
            <c:spPr>
              <a:solidFill>
                <a:srgbClr val="AEABAB"/>
              </a:solidFill>
            </c:spPr>
            <c:extLst>
              <c:ext xmlns:c16="http://schemas.microsoft.com/office/drawing/2014/chart" uri="{C3380CC4-5D6E-409C-BE32-E72D297353CC}">
                <c16:uniqueId val="{00000085-2993-41DE-A2CB-63102DE87051}"/>
              </c:ext>
            </c:extLst>
          </c:dPt>
          <c:dPt>
            <c:idx val="39"/>
            <c:invertIfNegative val="1"/>
            <c:bubble3D val="0"/>
            <c:spPr>
              <a:solidFill>
                <a:srgbClr val="AEABAB"/>
              </a:solidFill>
            </c:spPr>
            <c:extLst>
              <c:ext xmlns:c16="http://schemas.microsoft.com/office/drawing/2014/chart" uri="{C3380CC4-5D6E-409C-BE32-E72D297353CC}">
                <c16:uniqueId val="{00000087-2993-41DE-A2CB-63102DE87051}"/>
              </c:ext>
            </c:extLst>
          </c:dPt>
          <c:dPt>
            <c:idx val="40"/>
            <c:invertIfNegative val="1"/>
            <c:bubble3D val="0"/>
            <c:spPr>
              <a:solidFill>
                <a:srgbClr val="AEABAB"/>
              </a:solidFill>
            </c:spPr>
            <c:extLst>
              <c:ext xmlns:c16="http://schemas.microsoft.com/office/drawing/2014/chart" uri="{C3380CC4-5D6E-409C-BE32-E72D297353CC}">
                <c16:uniqueId val="{00000089-2993-41DE-A2CB-63102DE87051}"/>
              </c:ext>
            </c:extLst>
          </c:dPt>
          <c:dPt>
            <c:idx val="41"/>
            <c:invertIfNegative val="1"/>
            <c:bubble3D val="0"/>
            <c:spPr>
              <a:solidFill>
                <a:srgbClr val="AEABAB"/>
              </a:solidFill>
            </c:spPr>
            <c:extLst>
              <c:ext xmlns:c16="http://schemas.microsoft.com/office/drawing/2014/chart" uri="{C3380CC4-5D6E-409C-BE32-E72D297353CC}">
                <c16:uniqueId val="{0000008B-2993-41DE-A2CB-63102DE87051}"/>
              </c:ext>
            </c:extLst>
          </c:dPt>
          <c:dPt>
            <c:idx val="42"/>
            <c:invertIfNegative val="1"/>
            <c:bubble3D val="0"/>
            <c:spPr>
              <a:solidFill>
                <a:srgbClr val="AEABAB"/>
              </a:solidFill>
            </c:spPr>
            <c:extLst>
              <c:ext xmlns:c16="http://schemas.microsoft.com/office/drawing/2014/chart" uri="{C3380CC4-5D6E-409C-BE32-E72D297353CC}">
                <c16:uniqueId val="{0000008D-2993-41DE-A2CB-63102DE87051}"/>
              </c:ext>
            </c:extLst>
          </c:dPt>
          <c:dPt>
            <c:idx val="43"/>
            <c:invertIfNegative val="1"/>
            <c:bubble3D val="0"/>
            <c:spPr>
              <a:solidFill>
                <a:srgbClr val="AEABAB"/>
              </a:solidFill>
            </c:spPr>
            <c:extLst>
              <c:ext xmlns:c16="http://schemas.microsoft.com/office/drawing/2014/chart" uri="{C3380CC4-5D6E-409C-BE32-E72D297353CC}">
                <c16:uniqueId val="{0000008F-2993-41DE-A2CB-63102DE87051}"/>
              </c:ext>
            </c:extLst>
          </c:dPt>
          <c:dPt>
            <c:idx val="44"/>
            <c:invertIfNegative val="1"/>
            <c:bubble3D val="0"/>
            <c:spPr>
              <a:solidFill>
                <a:srgbClr val="AEABAB"/>
              </a:solidFill>
            </c:spPr>
            <c:extLst>
              <c:ext xmlns:c16="http://schemas.microsoft.com/office/drawing/2014/chart" uri="{C3380CC4-5D6E-409C-BE32-E72D297353CC}">
                <c16:uniqueId val="{00000091-2993-41DE-A2CB-63102DE87051}"/>
              </c:ext>
            </c:extLst>
          </c:dPt>
          <c:dPt>
            <c:idx val="45"/>
            <c:invertIfNegative val="1"/>
            <c:bubble3D val="0"/>
            <c:spPr>
              <a:solidFill>
                <a:srgbClr val="AEABAB"/>
              </a:solidFill>
            </c:spPr>
            <c:extLst>
              <c:ext xmlns:c16="http://schemas.microsoft.com/office/drawing/2014/chart" uri="{C3380CC4-5D6E-409C-BE32-E72D297353CC}">
                <c16:uniqueId val="{00000093-2993-41DE-A2CB-63102DE87051}"/>
              </c:ext>
            </c:extLst>
          </c:dPt>
          <c:dPt>
            <c:idx val="46"/>
            <c:invertIfNegative val="1"/>
            <c:bubble3D val="0"/>
            <c:spPr>
              <a:solidFill>
                <a:srgbClr val="AEABAB"/>
              </a:solidFill>
            </c:spPr>
            <c:extLst>
              <c:ext xmlns:c16="http://schemas.microsoft.com/office/drawing/2014/chart" uri="{C3380CC4-5D6E-409C-BE32-E72D297353CC}">
                <c16:uniqueId val="{00000095-2993-41DE-A2CB-63102DE87051}"/>
              </c:ext>
            </c:extLst>
          </c:dPt>
          <c:dPt>
            <c:idx val="47"/>
            <c:invertIfNegative val="1"/>
            <c:bubble3D val="0"/>
            <c:spPr>
              <a:solidFill>
                <a:srgbClr val="AEABAB"/>
              </a:solidFill>
            </c:spPr>
            <c:extLst>
              <c:ext xmlns:c16="http://schemas.microsoft.com/office/drawing/2014/chart" uri="{C3380CC4-5D6E-409C-BE32-E72D297353CC}">
                <c16:uniqueId val="{00000097-2993-41DE-A2CB-63102DE87051}"/>
              </c:ext>
            </c:extLst>
          </c:dPt>
          <c:dPt>
            <c:idx val="48"/>
            <c:invertIfNegative val="1"/>
            <c:bubble3D val="0"/>
            <c:spPr>
              <a:solidFill>
                <a:srgbClr val="AEABAB"/>
              </a:solidFill>
            </c:spPr>
            <c:extLst>
              <c:ext xmlns:c16="http://schemas.microsoft.com/office/drawing/2014/chart" uri="{C3380CC4-5D6E-409C-BE32-E72D297353CC}">
                <c16:uniqueId val="{00000099-2993-41DE-A2CB-63102DE87051}"/>
              </c:ext>
            </c:extLst>
          </c:dPt>
          <c:dPt>
            <c:idx val="49"/>
            <c:invertIfNegative val="1"/>
            <c:bubble3D val="0"/>
            <c:spPr>
              <a:solidFill>
                <a:srgbClr val="AEABAB"/>
              </a:solidFill>
            </c:spPr>
            <c:extLst>
              <c:ext xmlns:c16="http://schemas.microsoft.com/office/drawing/2014/chart" uri="{C3380CC4-5D6E-409C-BE32-E72D297353CC}">
                <c16:uniqueId val="{0000009B-2993-41DE-A2CB-63102DE87051}"/>
              </c:ext>
            </c:extLst>
          </c:dPt>
          <c:dPt>
            <c:idx val="50"/>
            <c:invertIfNegative val="1"/>
            <c:bubble3D val="0"/>
            <c:spPr>
              <a:solidFill>
                <a:srgbClr val="AEABAB"/>
              </a:solidFill>
            </c:spPr>
            <c:extLst>
              <c:ext xmlns:c16="http://schemas.microsoft.com/office/drawing/2014/chart" uri="{C3380CC4-5D6E-409C-BE32-E72D297353CC}">
                <c16:uniqueId val="{0000009D-2993-41DE-A2CB-63102DE87051}"/>
              </c:ext>
            </c:extLst>
          </c:dPt>
          <c:dPt>
            <c:idx val="51"/>
            <c:invertIfNegative val="1"/>
            <c:bubble3D val="0"/>
            <c:spPr>
              <a:solidFill>
                <a:srgbClr val="AEABAB"/>
              </a:solidFill>
            </c:spPr>
            <c:extLst>
              <c:ext xmlns:c16="http://schemas.microsoft.com/office/drawing/2014/chart" uri="{C3380CC4-5D6E-409C-BE32-E72D297353CC}">
                <c16:uniqueId val="{0000009F-2993-41DE-A2CB-63102DE87051}"/>
              </c:ext>
            </c:extLst>
          </c:dPt>
          <c:dPt>
            <c:idx val="52"/>
            <c:invertIfNegative val="1"/>
            <c:bubble3D val="0"/>
            <c:spPr>
              <a:solidFill>
                <a:srgbClr val="AEABAB"/>
              </a:solidFill>
            </c:spPr>
            <c:extLst>
              <c:ext xmlns:c16="http://schemas.microsoft.com/office/drawing/2014/chart" uri="{C3380CC4-5D6E-409C-BE32-E72D297353CC}">
                <c16:uniqueId val="{000000A1-2993-41DE-A2CB-63102DE87051}"/>
              </c:ext>
            </c:extLst>
          </c:dPt>
          <c:dPt>
            <c:idx val="53"/>
            <c:invertIfNegative val="1"/>
            <c:bubble3D val="0"/>
            <c:spPr>
              <a:solidFill>
                <a:srgbClr val="AEABAB"/>
              </a:solidFill>
            </c:spPr>
            <c:extLst>
              <c:ext xmlns:c16="http://schemas.microsoft.com/office/drawing/2014/chart" uri="{C3380CC4-5D6E-409C-BE32-E72D297353CC}">
                <c16:uniqueId val="{000000A3-2993-41DE-A2CB-63102DE87051}"/>
              </c:ext>
            </c:extLst>
          </c:dPt>
          <c:dPt>
            <c:idx val="54"/>
            <c:invertIfNegative val="0"/>
            <c:bubble3D val="0"/>
            <c:spPr>
              <a:solidFill>
                <a:srgbClr val="AEABAB"/>
              </a:solidFill>
            </c:spPr>
            <c:extLst>
              <c:ext xmlns:c16="http://schemas.microsoft.com/office/drawing/2014/chart" uri="{C3380CC4-5D6E-409C-BE32-E72D297353CC}">
                <c16:uniqueId val="{00000072-C76F-4230-900D-40618C09729F}"/>
              </c:ext>
            </c:extLst>
          </c:dPt>
          <c:dPt>
            <c:idx val="55"/>
            <c:invertIfNegative val="0"/>
            <c:bubble3D val="0"/>
            <c:spPr>
              <a:solidFill>
                <a:srgbClr val="AEABAB"/>
              </a:solidFill>
            </c:spPr>
            <c:extLst>
              <c:ext xmlns:c16="http://schemas.microsoft.com/office/drawing/2014/chart" uri="{C3380CC4-5D6E-409C-BE32-E72D297353CC}">
                <c16:uniqueId val="{00000074-C76F-4230-900D-40618C09729F}"/>
              </c:ext>
            </c:extLst>
          </c:dPt>
          <c:dPt>
            <c:idx val="56"/>
            <c:invertIfNegative val="0"/>
            <c:bubble3D val="0"/>
            <c:spPr>
              <a:solidFill>
                <a:srgbClr val="AEABAB"/>
              </a:solidFill>
            </c:spPr>
            <c:extLst>
              <c:ext xmlns:c16="http://schemas.microsoft.com/office/drawing/2014/chart" uri="{C3380CC4-5D6E-409C-BE32-E72D297353CC}">
                <c16:uniqueId val="{00000076-C76F-4230-900D-40618C09729F}"/>
              </c:ext>
            </c:extLst>
          </c:dPt>
          <c:dPt>
            <c:idx val="57"/>
            <c:invertIfNegative val="0"/>
            <c:bubble3D val="0"/>
            <c:spPr>
              <a:solidFill>
                <a:srgbClr val="AEABAB"/>
              </a:solidFill>
            </c:spPr>
            <c:extLst>
              <c:ext xmlns:c16="http://schemas.microsoft.com/office/drawing/2014/chart" uri="{C3380CC4-5D6E-409C-BE32-E72D297353CC}">
                <c16:uniqueId val="{00000078-C76F-4230-900D-40618C09729F}"/>
              </c:ext>
            </c:extLst>
          </c:dPt>
          <c:dPt>
            <c:idx val="58"/>
            <c:invertIfNegative val="0"/>
            <c:bubble3D val="0"/>
            <c:spPr>
              <a:solidFill>
                <a:srgbClr val="AEABAB"/>
              </a:solidFill>
            </c:spPr>
            <c:extLst>
              <c:ext xmlns:c16="http://schemas.microsoft.com/office/drawing/2014/chart" uri="{C3380CC4-5D6E-409C-BE32-E72D297353CC}">
                <c16:uniqueId val="{0000007A-C76F-4230-900D-40618C09729F}"/>
              </c:ext>
            </c:extLst>
          </c:dPt>
          <c:dPt>
            <c:idx val="59"/>
            <c:invertIfNegative val="0"/>
            <c:bubble3D val="0"/>
            <c:spPr>
              <a:solidFill>
                <a:srgbClr val="AEABAB"/>
              </a:solidFill>
            </c:spPr>
            <c:extLst>
              <c:ext xmlns:c16="http://schemas.microsoft.com/office/drawing/2014/chart" uri="{C3380CC4-5D6E-409C-BE32-E72D297353CC}">
                <c16:uniqueId val="{0000007C-C76F-4230-900D-40618C09729F}"/>
              </c:ext>
            </c:extLst>
          </c:dPt>
          <c:dPt>
            <c:idx val="60"/>
            <c:invertIfNegative val="0"/>
            <c:bubble3D val="0"/>
            <c:spPr>
              <a:solidFill>
                <a:srgbClr val="AEABAB"/>
              </a:solidFill>
            </c:spPr>
            <c:extLst>
              <c:ext xmlns:c16="http://schemas.microsoft.com/office/drawing/2014/chart" uri="{C3380CC4-5D6E-409C-BE32-E72D297353CC}">
                <c16:uniqueId val="{0000007E-C76F-4230-900D-40618C09729F}"/>
              </c:ext>
            </c:extLst>
          </c:dPt>
          <c:dPt>
            <c:idx val="61"/>
            <c:invertIfNegative val="0"/>
            <c:bubble3D val="0"/>
            <c:spPr>
              <a:solidFill>
                <a:srgbClr val="AEABAB"/>
              </a:solidFill>
            </c:spPr>
            <c:extLst>
              <c:ext xmlns:c16="http://schemas.microsoft.com/office/drawing/2014/chart" uri="{C3380CC4-5D6E-409C-BE32-E72D297353CC}">
                <c16:uniqueId val="{00000080-C76F-4230-900D-40618C09729F}"/>
              </c:ext>
            </c:extLst>
          </c:dPt>
          <c:dPt>
            <c:idx val="62"/>
            <c:invertIfNegative val="0"/>
            <c:bubble3D val="0"/>
            <c:spPr>
              <a:solidFill>
                <a:srgbClr val="AEABAB"/>
              </a:solidFill>
            </c:spPr>
            <c:extLst>
              <c:ext xmlns:c16="http://schemas.microsoft.com/office/drawing/2014/chart" uri="{C3380CC4-5D6E-409C-BE32-E72D297353CC}">
                <c16:uniqueId val="{00000082-C76F-4230-900D-40618C09729F}"/>
              </c:ext>
            </c:extLst>
          </c:dPt>
          <c:dPt>
            <c:idx val="63"/>
            <c:invertIfNegative val="0"/>
            <c:bubble3D val="0"/>
            <c:spPr>
              <a:solidFill>
                <a:srgbClr val="AEABAB"/>
              </a:solidFill>
            </c:spPr>
            <c:extLst>
              <c:ext xmlns:c16="http://schemas.microsoft.com/office/drawing/2014/chart" uri="{C3380CC4-5D6E-409C-BE32-E72D297353CC}">
                <c16:uniqueId val="{00000084-C76F-4230-900D-40618C09729F}"/>
              </c:ext>
            </c:extLst>
          </c:dPt>
          <c:dPt>
            <c:idx val="64"/>
            <c:invertIfNegative val="0"/>
            <c:bubble3D val="0"/>
            <c:spPr>
              <a:solidFill>
                <a:srgbClr val="AEABAB"/>
              </a:solidFill>
            </c:spPr>
            <c:extLst>
              <c:ext xmlns:c16="http://schemas.microsoft.com/office/drawing/2014/chart" uri="{C3380CC4-5D6E-409C-BE32-E72D297353CC}">
                <c16:uniqueId val="{00000086-C76F-4230-900D-40618C09729F}"/>
              </c:ext>
            </c:extLst>
          </c:dPt>
          <c:dPt>
            <c:idx val="65"/>
            <c:invertIfNegative val="0"/>
            <c:bubble3D val="0"/>
            <c:spPr>
              <a:solidFill>
                <a:srgbClr val="AEABAB"/>
              </a:solidFill>
            </c:spPr>
            <c:extLst>
              <c:ext xmlns:c16="http://schemas.microsoft.com/office/drawing/2014/chart" uri="{C3380CC4-5D6E-409C-BE32-E72D297353CC}">
                <c16:uniqueId val="{00000088-C76F-4230-900D-40618C09729F}"/>
              </c:ext>
            </c:extLst>
          </c:dPt>
          <c:dPt>
            <c:idx val="66"/>
            <c:invertIfNegative val="0"/>
            <c:bubble3D val="0"/>
            <c:spPr>
              <a:solidFill>
                <a:srgbClr val="AEABAB"/>
              </a:solidFill>
            </c:spPr>
            <c:extLst>
              <c:ext xmlns:c16="http://schemas.microsoft.com/office/drawing/2014/chart" uri="{C3380CC4-5D6E-409C-BE32-E72D297353CC}">
                <c16:uniqueId val="{0000008A-C76F-4230-900D-40618C09729F}"/>
              </c:ext>
            </c:extLst>
          </c:dPt>
          <c:dPt>
            <c:idx val="67"/>
            <c:invertIfNegative val="0"/>
            <c:bubble3D val="0"/>
            <c:spPr>
              <a:solidFill>
                <a:srgbClr val="AEABAB"/>
              </a:solidFill>
            </c:spPr>
            <c:extLst>
              <c:ext xmlns:c16="http://schemas.microsoft.com/office/drawing/2014/chart" uri="{C3380CC4-5D6E-409C-BE32-E72D297353CC}">
                <c16:uniqueId val="{0000008C-C76F-4230-900D-40618C09729F}"/>
              </c:ext>
            </c:extLst>
          </c:dPt>
          <c:dPt>
            <c:idx val="68"/>
            <c:invertIfNegative val="0"/>
            <c:bubble3D val="0"/>
            <c:spPr>
              <a:solidFill>
                <a:srgbClr val="AEABAB"/>
              </a:solidFill>
            </c:spPr>
            <c:extLst>
              <c:ext xmlns:c16="http://schemas.microsoft.com/office/drawing/2014/chart" uri="{C3380CC4-5D6E-409C-BE32-E72D297353CC}">
                <c16:uniqueId val="{0000008E-C76F-4230-900D-40618C09729F}"/>
              </c:ext>
            </c:extLst>
          </c:dPt>
          <c:dPt>
            <c:idx val="69"/>
            <c:invertIfNegative val="0"/>
            <c:bubble3D val="0"/>
            <c:spPr>
              <a:solidFill>
                <a:srgbClr val="AEABAB"/>
              </a:solidFill>
            </c:spPr>
            <c:extLst>
              <c:ext xmlns:c16="http://schemas.microsoft.com/office/drawing/2014/chart" uri="{C3380CC4-5D6E-409C-BE32-E72D297353CC}">
                <c16:uniqueId val="{00000090-C76F-4230-900D-40618C09729F}"/>
              </c:ext>
            </c:extLst>
          </c:dPt>
          <c:dPt>
            <c:idx val="70"/>
            <c:invertIfNegative val="0"/>
            <c:bubble3D val="0"/>
            <c:spPr>
              <a:solidFill>
                <a:srgbClr val="AEABAB"/>
              </a:solidFill>
            </c:spPr>
            <c:extLst>
              <c:ext xmlns:c16="http://schemas.microsoft.com/office/drawing/2014/chart" uri="{C3380CC4-5D6E-409C-BE32-E72D297353CC}">
                <c16:uniqueId val="{00000092-C76F-4230-900D-40618C09729F}"/>
              </c:ext>
            </c:extLst>
          </c:dPt>
          <c:dPt>
            <c:idx val="71"/>
            <c:invertIfNegative val="0"/>
            <c:bubble3D val="0"/>
            <c:spPr>
              <a:solidFill>
                <a:srgbClr val="AEABAB"/>
              </a:solidFill>
            </c:spPr>
            <c:extLst>
              <c:ext xmlns:c16="http://schemas.microsoft.com/office/drawing/2014/chart" uri="{C3380CC4-5D6E-409C-BE32-E72D297353CC}">
                <c16:uniqueId val="{00000094-C76F-4230-900D-40618C09729F}"/>
              </c:ext>
            </c:extLst>
          </c:dPt>
          <c:dPt>
            <c:idx val="72"/>
            <c:invertIfNegative val="0"/>
            <c:bubble3D val="0"/>
            <c:spPr>
              <a:solidFill>
                <a:srgbClr val="AEABAB"/>
              </a:solidFill>
            </c:spPr>
            <c:extLst>
              <c:ext xmlns:c16="http://schemas.microsoft.com/office/drawing/2014/chart" uri="{C3380CC4-5D6E-409C-BE32-E72D297353CC}">
                <c16:uniqueId val="{00000096-C76F-4230-900D-40618C09729F}"/>
              </c:ext>
            </c:extLst>
          </c:dPt>
          <c:dPt>
            <c:idx val="73"/>
            <c:invertIfNegative val="0"/>
            <c:bubble3D val="0"/>
            <c:spPr>
              <a:solidFill>
                <a:srgbClr val="AEABAB"/>
              </a:solidFill>
            </c:spPr>
            <c:extLst>
              <c:ext xmlns:c16="http://schemas.microsoft.com/office/drawing/2014/chart" uri="{C3380CC4-5D6E-409C-BE32-E72D297353CC}">
                <c16:uniqueId val="{00000098-C76F-4230-900D-40618C09729F}"/>
              </c:ext>
            </c:extLst>
          </c:dPt>
          <c:dPt>
            <c:idx val="74"/>
            <c:invertIfNegative val="0"/>
            <c:bubble3D val="0"/>
            <c:spPr>
              <a:solidFill>
                <a:srgbClr val="AEABAB"/>
              </a:solidFill>
            </c:spPr>
            <c:extLst>
              <c:ext xmlns:c16="http://schemas.microsoft.com/office/drawing/2014/chart" uri="{C3380CC4-5D6E-409C-BE32-E72D297353CC}">
                <c16:uniqueId val="{0000009A-C76F-4230-900D-40618C09729F}"/>
              </c:ext>
            </c:extLst>
          </c:dPt>
          <c:dPt>
            <c:idx val="75"/>
            <c:invertIfNegative val="0"/>
            <c:bubble3D val="0"/>
            <c:spPr>
              <a:solidFill>
                <a:srgbClr val="AEABAB"/>
              </a:solidFill>
            </c:spPr>
            <c:extLst>
              <c:ext xmlns:c16="http://schemas.microsoft.com/office/drawing/2014/chart" uri="{C3380CC4-5D6E-409C-BE32-E72D297353CC}">
                <c16:uniqueId val="{0000009C-C76F-4230-900D-40618C09729F}"/>
              </c:ext>
            </c:extLst>
          </c:dPt>
          <c:dPt>
            <c:idx val="76"/>
            <c:invertIfNegative val="0"/>
            <c:bubble3D val="0"/>
            <c:spPr>
              <a:solidFill>
                <a:srgbClr val="AEABAB"/>
              </a:solidFill>
            </c:spPr>
            <c:extLst>
              <c:ext xmlns:c16="http://schemas.microsoft.com/office/drawing/2014/chart" uri="{C3380CC4-5D6E-409C-BE32-E72D297353CC}">
                <c16:uniqueId val="{0000009E-C76F-4230-900D-40618C09729F}"/>
              </c:ext>
            </c:extLst>
          </c:dPt>
          <c:dPt>
            <c:idx val="77"/>
            <c:invertIfNegative val="0"/>
            <c:bubble3D val="0"/>
            <c:spPr>
              <a:solidFill>
                <a:srgbClr val="AEABAB"/>
              </a:solidFill>
            </c:spPr>
            <c:extLst>
              <c:ext xmlns:c16="http://schemas.microsoft.com/office/drawing/2014/chart" uri="{C3380CC4-5D6E-409C-BE32-E72D297353CC}">
                <c16:uniqueId val="{000000A0-C76F-4230-900D-40618C09729F}"/>
              </c:ext>
            </c:extLst>
          </c:dPt>
          <c:dPt>
            <c:idx val="78"/>
            <c:invertIfNegative val="0"/>
            <c:bubble3D val="0"/>
            <c:spPr>
              <a:solidFill>
                <a:srgbClr val="AEABAB"/>
              </a:solidFill>
            </c:spPr>
            <c:extLst>
              <c:ext xmlns:c16="http://schemas.microsoft.com/office/drawing/2014/chart" uri="{C3380CC4-5D6E-409C-BE32-E72D297353CC}">
                <c16:uniqueId val="{000000A2-C76F-4230-900D-40618C09729F}"/>
              </c:ext>
            </c:extLst>
          </c:dPt>
          <c:dPt>
            <c:idx val="79"/>
            <c:invertIfNegative val="0"/>
            <c:bubble3D val="0"/>
            <c:spPr>
              <a:solidFill>
                <a:srgbClr val="AEABAB"/>
              </a:solidFill>
            </c:spPr>
            <c:extLst>
              <c:ext xmlns:c16="http://schemas.microsoft.com/office/drawing/2014/chart" uri="{C3380CC4-5D6E-409C-BE32-E72D297353CC}">
                <c16:uniqueId val="{000000A4-C76F-4230-900D-40618C09729F}"/>
              </c:ext>
            </c:extLst>
          </c:dPt>
          <c:dPt>
            <c:idx val="80"/>
            <c:invertIfNegative val="0"/>
            <c:bubble3D val="0"/>
            <c:spPr>
              <a:solidFill>
                <a:srgbClr val="AEABAB"/>
              </a:solidFill>
            </c:spPr>
            <c:extLst>
              <c:ext xmlns:c16="http://schemas.microsoft.com/office/drawing/2014/chart" uri="{C3380CC4-5D6E-409C-BE32-E72D297353CC}">
                <c16:uniqueId val="{000000A6-C76F-4230-900D-40618C09729F}"/>
              </c:ext>
            </c:extLst>
          </c:dPt>
          <c:dPt>
            <c:idx val="81"/>
            <c:invertIfNegative val="1"/>
            <c:bubble3D val="0"/>
            <c:spPr>
              <a:solidFill>
                <a:srgbClr val="AEABAB"/>
              </a:solidFill>
            </c:spPr>
            <c:extLst>
              <c:ext xmlns:c16="http://schemas.microsoft.com/office/drawing/2014/chart" uri="{C3380CC4-5D6E-409C-BE32-E72D297353CC}">
                <c16:uniqueId val="{000000A5-2993-41DE-A2CB-63102DE87051}"/>
              </c:ext>
            </c:extLst>
          </c:dPt>
          <c:dPt>
            <c:idx val="82"/>
            <c:invertIfNegative val="1"/>
            <c:bubble3D val="0"/>
            <c:spPr>
              <a:solidFill>
                <a:srgbClr val="AEABAB"/>
              </a:solidFill>
            </c:spPr>
            <c:extLst>
              <c:ext xmlns:c16="http://schemas.microsoft.com/office/drawing/2014/chart" uri="{C3380CC4-5D6E-409C-BE32-E72D297353CC}">
                <c16:uniqueId val="{000000A7-2993-41DE-A2CB-63102DE87051}"/>
              </c:ext>
            </c:extLst>
          </c:dPt>
          <c:dPt>
            <c:idx val="83"/>
            <c:invertIfNegative val="1"/>
            <c:bubble3D val="0"/>
            <c:spPr>
              <a:solidFill>
                <a:srgbClr val="AEABAB"/>
              </a:solidFill>
            </c:spPr>
            <c:extLst>
              <c:ext xmlns:c16="http://schemas.microsoft.com/office/drawing/2014/chart" uri="{C3380CC4-5D6E-409C-BE32-E72D297353CC}">
                <c16:uniqueId val="{000000A9-2993-41DE-A2CB-63102DE87051}"/>
              </c:ext>
            </c:extLst>
          </c:dPt>
          <c:dPt>
            <c:idx val="84"/>
            <c:invertIfNegative val="1"/>
            <c:bubble3D val="0"/>
            <c:spPr>
              <a:solidFill>
                <a:srgbClr val="AEABAB"/>
              </a:solidFill>
            </c:spPr>
            <c:extLst>
              <c:ext xmlns:c16="http://schemas.microsoft.com/office/drawing/2014/chart" uri="{C3380CC4-5D6E-409C-BE32-E72D297353CC}">
                <c16:uniqueId val="{000000AB-2993-41DE-A2CB-63102DE87051}"/>
              </c:ext>
            </c:extLst>
          </c:dPt>
          <c:dPt>
            <c:idx val="85"/>
            <c:invertIfNegative val="1"/>
            <c:bubble3D val="0"/>
            <c:spPr>
              <a:solidFill>
                <a:srgbClr val="AEABAB"/>
              </a:solidFill>
            </c:spPr>
            <c:extLst>
              <c:ext xmlns:c16="http://schemas.microsoft.com/office/drawing/2014/chart" uri="{C3380CC4-5D6E-409C-BE32-E72D297353CC}">
                <c16:uniqueId val="{000000AD-2993-41DE-A2CB-63102DE87051}"/>
              </c:ext>
            </c:extLst>
          </c:dPt>
          <c:dPt>
            <c:idx val="86"/>
            <c:invertIfNegative val="1"/>
            <c:bubble3D val="0"/>
            <c:spPr>
              <a:solidFill>
                <a:srgbClr val="AEABAB"/>
              </a:solidFill>
            </c:spPr>
            <c:extLst>
              <c:ext xmlns:c16="http://schemas.microsoft.com/office/drawing/2014/chart" uri="{C3380CC4-5D6E-409C-BE32-E72D297353CC}">
                <c16:uniqueId val="{000000AF-2993-41DE-A2CB-63102DE87051}"/>
              </c:ext>
            </c:extLst>
          </c:dPt>
          <c:dPt>
            <c:idx val="87"/>
            <c:invertIfNegative val="1"/>
            <c:bubble3D val="0"/>
            <c:spPr>
              <a:solidFill>
                <a:srgbClr val="AEABAB"/>
              </a:solidFill>
            </c:spPr>
            <c:extLst>
              <c:ext xmlns:c16="http://schemas.microsoft.com/office/drawing/2014/chart" uri="{C3380CC4-5D6E-409C-BE32-E72D297353CC}">
                <c16:uniqueId val="{000000B1-2993-41DE-A2CB-63102DE87051}"/>
              </c:ext>
            </c:extLst>
          </c:dPt>
          <c:dPt>
            <c:idx val="88"/>
            <c:invertIfNegative val="1"/>
            <c:bubble3D val="0"/>
            <c:spPr>
              <a:solidFill>
                <a:srgbClr val="AEABAB"/>
              </a:solidFill>
            </c:spPr>
            <c:extLst>
              <c:ext xmlns:c16="http://schemas.microsoft.com/office/drawing/2014/chart" uri="{C3380CC4-5D6E-409C-BE32-E72D297353CC}">
                <c16:uniqueId val="{000000B3-2993-41DE-A2CB-63102DE87051}"/>
              </c:ext>
            </c:extLst>
          </c:dPt>
          <c:dPt>
            <c:idx val="89"/>
            <c:invertIfNegative val="1"/>
            <c:bubble3D val="0"/>
            <c:spPr>
              <a:solidFill>
                <a:srgbClr val="AEABAB"/>
              </a:solidFill>
            </c:spPr>
            <c:extLst>
              <c:ext xmlns:c16="http://schemas.microsoft.com/office/drawing/2014/chart" uri="{C3380CC4-5D6E-409C-BE32-E72D297353CC}">
                <c16:uniqueId val="{000000B5-2993-41DE-A2CB-63102DE87051}"/>
              </c:ext>
            </c:extLst>
          </c:dPt>
          <c:dPt>
            <c:idx val="90"/>
            <c:invertIfNegative val="1"/>
            <c:bubble3D val="0"/>
            <c:spPr>
              <a:solidFill>
                <a:srgbClr val="AEABAB"/>
              </a:solidFill>
            </c:spPr>
            <c:extLst>
              <c:ext xmlns:c16="http://schemas.microsoft.com/office/drawing/2014/chart" uri="{C3380CC4-5D6E-409C-BE32-E72D297353CC}">
                <c16:uniqueId val="{000000B7-2993-41DE-A2CB-63102DE87051}"/>
              </c:ext>
            </c:extLst>
          </c:dPt>
          <c:dPt>
            <c:idx val="91"/>
            <c:invertIfNegative val="1"/>
            <c:bubble3D val="0"/>
            <c:spPr>
              <a:solidFill>
                <a:srgbClr val="AEABAB"/>
              </a:solidFill>
            </c:spPr>
            <c:extLst>
              <c:ext xmlns:c16="http://schemas.microsoft.com/office/drawing/2014/chart" uri="{C3380CC4-5D6E-409C-BE32-E72D297353CC}">
                <c16:uniqueId val="{000000B9-2993-41DE-A2CB-63102DE87051}"/>
              </c:ext>
            </c:extLst>
          </c:dPt>
          <c:dPt>
            <c:idx val="92"/>
            <c:invertIfNegative val="1"/>
            <c:bubble3D val="0"/>
            <c:spPr>
              <a:solidFill>
                <a:srgbClr val="AEABAB"/>
              </a:solidFill>
            </c:spPr>
            <c:extLst>
              <c:ext xmlns:c16="http://schemas.microsoft.com/office/drawing/2014/chart" uri="{C3380CC4-5D6E-409C-BE32-E72D297353CC}">
                <c16:uniqueId val="{000000BB-2993-41DE-A2CB-63102DE87051}"/>
              </c:ext>
            </c:extLst>
          </c:dPt>
          <c:dPt>
            <c:idx val="93"/>
            <c:invertIfNegative val="1"/>
            <c:bubble3D val="0"/>
            <c:spPr>
              <a:solidFill>
                <a:srgbClr val="AEABAB"/>
              </a:solidFill>
            </c:spPr>
            <c:extLst>
              <c:ext xmlns:c16="http://schemas.microsoft.com/office/drawing/2014/chart" uri="{C3380CC4-5D6E-409C-BE32-E72D297353CC}">
                <c16:uniqueId val="{000000BD-2993-41DE-A2CB-63102DE87051}"/>
              </c:ext>
            </c:extLst>
          </c:dPt>
          <c:dPt>
            <c:idx val="94"/>
            <c:invertIfNegative val="1"/>
            <c:bubble3D val="0"/>
            <c:spPr>
              <a:solidFill>
                <a:srgbClr val="AEABAB"/>
              </a:solidFill>
            </c:spPr>
            <c:extLst>
              <c:ext xmlns:c16="http://schemas.microsoft.com/office/drawing/2014/chart" uri="{C3380CC4-5D6E-409C-BE32-E72D297353CC}">
                <c16:uniqueId val="{000000BF-2993-41DE-A2CB-63102DE87051}"/>
              </c:ext>
            </c:extLst>
          </c:dPt>
          <c:dPt>
            <c:idx val="95"/>
            <c:invertIfNegative val="1"/>
            <c:bubble3D val="0"/>
            <c:spPr>
              <a:solidFill>
                <a:srgbClr val="AEABAB"/>
              </a:solidFill>
            </c:spPr>
            <c:extLst>
              <c:ext xmlns:c16="http://schemas.microsoft.com/office/drawing/2014/chart" uri="{C3380CC4-5D6E-409C-BE32-E72D297353CC}">
                <c16:uniqueId val="{000000C1-2993-41DE-A2CB-63102DE87051}"/>
              </c:ext>
            </c:extLst>
          </c:dPt>
          <c:dPt>
            <c:idx val="96"/>
            <c:invertIfNegative val="1"/>
            <c:bubble3D val="0"/>
            <c:spPr>
              <a:solidFill>
                <a:srgbClr val="AEABAB"/>
              </a:solidFill>
            </c:spPr>
            <c:extLst>
              <c:ext xmlns:c16="http://schemas.microsoft.com/office/drawing/2014/chart" uri="{C3380CC4-5D6E-409C-BE32-E72D297353CC}">
                <c16:uniqueId val="{000000C3-2993-41DE-A2CB-63102DE87051}"/>
              </c:ext>
            </c:extLst>
          </c:dPt>
          <c:dPt>
            <c:idx val="97"/>
            <c:invertIfNegative val="1"/>
            <c:bubble3D val="0"/>
            <c:spPr>
              <a:solidFill>
                <a:srgbClr val="AEABAB"/>
              </a:solidFill>
            </c:spPr>
            <c:extLst>
              <c:ext xmlns:c16="http://schemas.microsoft.com/office/drawing/2014/chart" uri="{C3380CC4-5D6E-409C-BE32-E72D297353CC}">
                <c16:uniqueId val="{000000C5-2993-41DE-A2CB-63102DE87051}"/>
              </c:ext>
            </c:extLst>
          </c:dPt>
          <c:dPt>
            <c:idx val="98"/>
            <c:invertIfNegative val="1"/>
            <c:bubble3D val="0"/>
            <c:spPr>
              <a:solidFill>
                <a:srgbClr val="AEABAB"/>
              </a:solidFill>
            </c:spPr>
            <c:extLst>
              <c:ext xmlns:c16="http://schemas.microsoft.com/office/drawing/2014/chart" uri="{C3380CC4-5D6E-409C-BE32-E72D297353CC}">
                <c16:uniqueId val="{000000C7-2993-41DE-A2CB-63102DE87051}"/>
              </c:ext>
            </c:extLst>
          </c:dPt>
          <c:dPt>
            <c:idx val="99"/>
            <c:invertIfNegative val="1"/>
            <c:bubble3D val="0"/>
            <c:spPr>
              <a:solidFill>
                <a:srgbClr val="AEABAB"/>
              </a:solidFill>
            </c:spPr>
            <c:extLst>
              <c:ext xmlns:c16="http://schemas.microsoft.com/office/drawing/2014/chart" uri="{C3380CC4-5D6E-409C-BE32-E72D297353CC}">
                <c16:uniqueId val="{000000C9-2993-41DE-A2CB-63102DE87051}"/>
              </c:ext>
            </c:extLst>
          </c:dPt>
          <c:dPt>
            <c:idx val="100"/>
            <c:invertIfNegative val="1"/>
            <c:bubble3D val="0"/>
            <c:spPr>
              <a:solidFill>
                <a:srgbClr val="AEABAB"/>
              </a:solidFill>
            </c:spPr>
            <c:extLst>
              <c:ext xmlns:c16="http://schemas.microsoft.com/office/drawing/2014/chart" uri="{C3380CC4-5D6E-409C-BE32-E72D297353CC}">
                <c16:uniqueId val="{000000CB-2993-41DE-A2CB-63102DE87051}"/>
              </c:ext>
            </c:extLst>
          </c:dPt>
          <c:dPt>
            <c:idx val="101"/>
            <c:invertIfNegative val="1"/>
            <c:bubble3D val="0"/>
            <c:spPr>
              <a:solidFill>
                <a:srgbClr val="AEABAB"/>
              </a:solidFill>
            </c:spPr>
            <c:extLst>
              <c:ext xmlns:c16="http://schemas.microsoft.com/office/drawing/2014/chart" uri="{C3380CC4-5D6E-409C-BE32-E72D297353CC}">
                <c16:uniqueId val="{000000CD-2993-41DE-A2CB-63102DE87051}"/>
              </c:ext>
            </c:extLst>
          </c:dPt>
          <c:dPt>
            <c:idx val="102"/>
            <c:invertIfNegative val="1"/>
            <c:bubble3D val="0"/>
            <c:spPr>
              <a:solidFill>
                <a:srgbClr val="AEABAB"/>
              </a:solidFill>
            </c:spPr>
            <c:extLst>
              <c:ext xmlns:c16="http://schemas.microsoft.com/office/drawing/2014/chart" uri="{C3380CC4-5D6E-409C-BE32-E72D297353CC}">
                <c16:uniqueId val="{000000CF-2993-41DE-A2CB-63102DE87051}"/>
              </c:ext>
            </c:extLst>
          </c:dPt>
          <c:dPt>
            <c:idx val="103"/>
            <c:invertIfNegative val="1"/>
            <c:bubble3D val="0"/>
            <c:spPr>
              <a:solidFill>
                <a:srgbClr val="AEABAB"/>
              </a:solidFill>
            </c:spPr>
            <c:extLst>
              <c:ext xmlns:c16="http://schemas.microsoft.com/office/drawing/2014/chart" uri="{C3380CC4-5D6E-409C-BE32-E72D297353CC}">
                <c16:uniqueId val="{000000D1-2993-41DE-A2CB-63102DE87051}"/>
              </c:ext>
            </c:extLst>
          </c:dPt>
          <c:dPt>
            <c:idx val="104"/>
            <c:invertIfNegative val="1"/>
            <c:bubble3D val="0"/>
            <c:spPr>
              <a:solidFill>
                <a:srgbClr val="AEABAB"/>
              </a:solidFill>
            </c:spPr>
            <c:extLst>
              <c:ext xmlns:c16="http://schemas.microsoft.com/office/drawing/2014/chart" uri="{C3380CC4-5D6E-409C-BE32-E72D297353CC}">
                <c16:uniqueId val="{000000D3-2993-41DE-A2CB-63102DE87051}"/>
              </c:ext>
            </c:extLst>
          </c:dPt>
          <c:dPt>
            <c:idx val="105"/>
            <c:invertIfNegative val="1"/>
            <c:bubble3D val="0"/>
            <c:spPr>
              <a:solidFill>
                <a:srgbClr val="AEABAB"/>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107</c:f>
              <c:strCache>
                <c:ptCount val="106"/>
                <c:pt idx="0">
                  <c:v>All Others</c:v>
                </c:pt>
                <c:pt idx="1">
                  <c:v>Bottega</c:v>
                </c:pt>
                <c:pt idx="2">
                  <c:v>Patriarche</c:v>
                </c:pt>
                <c:pt idx="3">
                  <c:v>Mure</c:v>
                </c:pt>
                <c:pt idx="4">
                  <c:v>Savian</c:v>
                </c:pt>
                <c:pt idx="5">
                  <c:v>French Bloo</c:v>
                </c:pt>
                <c:pt idx="6">
                  <c:v>Bouvet-Ladu</c:v>
                </c:pt>
                <c:pt idx="7">
                  <c:v>De Chanceny</c:v>
                </c:pt>
                <c:pt idx="8">
                  <c:v>All Others</c:v>
                </c:pt>
                <c:pt idx="9">
                  <c:v>Patriarche</c:v>
                </c:pt>
                <c:pt idx="10">
                  <c:v>Kriter</c:v>
                </c:pt>
                <c:pt idx="11">
                  <c:v>Bottega</c:v>
                </c:pt>
                <c:pt idx="12">
                  <c:v>All Others</c:v>
                </c:pt>
                <c:pt idx="13">
                  <c:v>Contarini</c:v>
                </c:pt>
                <c:pt idx="14">
                  <c:v>All Others</c:v>
                </c:pt>
                <c:pt idx="15">
                  <c:v>All Others</c:v>
                </c:pt>
                <c:pt idx="16">
                  <c:v>Cru La Maqu</c:v>
                </c:pt>
                <c:pt idx="17">
                  <c:v>All Others</c:v>
                </c:pt>
                <c:pt idx="18">
                  <c:v>All Others</c:v>
                </c:pt>
                <c:pt idx="19">
                  <c:v>All Others</c:v>
                </c:pt>
                <c:pt idx="20">
                  <c:v>All Others</c:v>
                </c:pt>
                <c:pt idx="21">
                  <c:v>All Others</c:v>
                </c:pt>
                <c:pt idx="22">
                  <c:v>Contarini</c:v>
                </c:pt>
                <c:pt idx="23">
                  <c:v>All Others</c:v>
                </c:pt>
                <c:pt idx="24">
                  <c:v>All Others</c:v>
                </c:pt>
                <c:pt idx="25">
                  <c:v>All Others</c:v>
                </c:pt>
                <c:pt idx="26">
                  <c:v>All Others</c:v>
                </c:pt>
                <c:pt idx="27">
                  <c:v>All Others</c:v>
                </c:pt>
                <c:pt idx="28">
                  <c:v>All Others</c:v>
                </c:pt>
                <c:pt idx="29">
                  <c:v>All Others</c:v>
                </c:pt>
                <c:pt idx="30">
                  <c:v>All Others</c:v>
                </c:pt>
                <c:pt idx="31">
                  <c:v>All Others</c:v>
                </c:pt>
                <c:pt idx="32">
                  <c:v>Mure</c:v>
                </c:pt>
                <c:pt idx="33">
                  <c:v>All Others</c:v>
                </c:pt>
                <c:pt idx="34">
                  <c:v>Bouvet-Ladu</c:v>
                </c:pt>
                <c:pt idx="35">
                  <c:v>All Others</c:v>
                </c:pt>
                <c:pt idx="36">
                  <c:v>All Others</c:v>
                </c:pt>
                <c:pt idx="37">
                  <c:v>All Others</c:v>
                </c:pt>
                <c:pt idx="38">
                  <c:v>All Others</c:v>
                </c:pt>
                <c:pt idx="39">
                  <c:v>All Others</c:v>
                </c:pt>
                <c:pt idx="40">
                  <c:v>All Others</c:v>
                </c:pt>
                <c:pt idx="41">
                  <c:v>Bouvet-Ladu</c:v>
                </c:pt>
                <c:pt idx="42">
                  <c:v>All Others</c:v>
                </c:pt>
                <c:pt idx="43">
                  <c:v>All Others</c:v>
                </c:pt>
                <c:pt idx="44">
                  <c:v>Bouvet-Ladu</c:v>
                </c:pt>
                <c:pt idx="45">
                  <c:v>All Others</c:v>
                </c:pt>
                <c:pt idx="46">
                  <c:v>All Others</c:v>
                </c:pt>
                <c:pt idx="47">
                  <c:v>Vilaveroni</c:v>
                </c:pt>
                <c:pt idx="48">
                  <c:v>Celene</c:v>
                </c:pt>
                <c:pt idx="49">
                  <c:v>Mure</c:v>
                </c:pt>
                <c:pt idx="50">
                  <c:v>All Others</c:v>
                </c:pt>
                <c:pt idx="51">
                  <c:v>All Others</c:v>
                </c:pt>
                <c:pt idx="52">
                  <c:v>All Others</c:v>
                </c:pt>
                <c:pt idx="53">
                  <c:v>Celene</c:v>
                </c:pt>
                <c:pt idx="54">
                  <c:v>All Others</c:v>
                </c:pt>
                <c:pt idx="55">
                  <c:v>All Others</c:v>
                </c:pt>
                <c:pt idx="56">
                  <c:v>Bottega</c:v>
                </c:pt>
                <c:pt idx="57">
                  <c:v>All Others</c:v>
                </c:pt>
                <c:pt idx="58">
                  <c:v>All Others</c:v>
                </c:pt>
                <c:pt idx="59">
                  <c:v>All Others</c:v>
                </c:pt>
                <c:pt idx="60">
                  <c:v>All Others</c:v>
                </c:pt>
                <c:pt idx="61">
                  <c:v>All Others</c:v>
                </c:pt>
                <c:pt idx="62">
                  <c:v>All Others</c:v>
                </c:pt>
                <c:pt idx="63">
                  <c:v>All Others</c:v>
                </c:pt>
                <c:pt idx="64">
                  <c:v>All Others</c:v>
                </c:pt>
                <c:pt idx="65">
                  <c:v>All Others</c:v>
                </c:pt>
                <c:pt idx="66">
                  <c:v>Jaillance</c:v>
                </c:pt>
                <c:pt idx="67">
                  <c:v>All Others</c:v>
                </c:pt>
                <c:pt idx="68">
                  <c:v>All Others</c:v>
                </c:pt>
                <c:pt idx="69">
                  <c:v>All Others</c:v>
                </c:pt>
                <c:pt idx="70">
                  <c:v>All Others</c:v>
                </c:pt>
                <c:pt idx="71">
                  <c:v>All Others</c:v>
                </c:pt>
                <c:pt idx="72">
                  <c:v>Vilaveroni</c:v>
                </c:pt>
                <c:pt idx="73">
                  <c:v>Bouvet-Ladu</c:v>
                </c:pt>
                <c:pt idx="74">
                  <c:v>All Others</c:v>
                </c:pt>
                <c:pt idx="75">
                  <c:v>All Others</c:v>
                </c:pt>
                <c:pt idx="76">
                  <c:v>All Others</c:v>
                </c:pt>
                <c:pt idx="77">
                  <c:v>Vilaveroni</c:v>
                </c:pt>
                <c:pt idx="78">
                  <c:v>Bouvet-Ladu</c:v>
                </c:pt>
                <c:pt idx="79">
                  <c:v>All Others</c:v>
                </c:pt>
                <c:pt idx="80">
                  <c:v>All Others</c:v>
                </c:pt>
                <c:pt idx="81">
                  <c:v>All Others</c:v>
                </c:pt>
                <c:pt idx="82">
                  <c:v>All Others</c:v>
                </c:pt>
                <c:pt idx="83">
                  <c:v>All Others</c:v>
                </c:pt>
                <c:pt idx="84">
                  <c:v>Bouvet-Ladu</c:v>
                </c:pt>
                <c:pt idx="85">
                  <c:v>All Others</c:v>
                </c:pt>
                <c:pt idx="86">
                  <c:v>All Others</c:v>
                </c:pt>
                <c:pt idx="87">
                  <c:v>Vilaveroni</c:v>
                </c:pt>
                <c:pt idx="88">
                  <c:v>Bouvet-Ladu</c:v>
                </c:pt>
                <c:pt idx="89">
                  <c:v>Bottega</c:v>
                </c:pt>
                <c:pt idx="90">
                  <c:v>All Others</c:v>
                </c:pt>
                <c:pt idx="91">
                  <c:v>All Others</c:v>
                </c:pt>
                <c:pt idx="92">
                  <c:v>Bottega</c:v>
                </c:pt>
                <c:pt idx="93">
                  <c:v>All Others</c:v>
                </c:pt>
                <c:pt idx="94">
                  <c:v>All Others</c:v>
                </c:pt>
                <c:pt idx="95">
                  <c:v>All Others</c:v>
                </c:pt>
                <c:pt idx="96">
                  <c:v>Mure</c:v>
                </c:pt>
                <c:pt idx="97">
                  <c:v>All Others</c:v>
                </c:pt>
                <c:pt idx="98">
                  <c:v>All Others</c:v>
                </c:pt>
                <c:pt idx="99">
                  <c:v>All Others</c:v>
                </c:pt>
                <c:pt idx="100">
                  <c:v>Bottega</c:v>
                </c:pt>
                <c:pt idx="101">
                  <c:v>All Others</c:v>
                </c:pt>
                <c:pt idx="102">
                  <c:v>French Bloo</c:v>
                </c:pt>
                <c:pt idx="103">
                  <c:v>All Others</c:v>
                </c:pt>
                <c:pt idx="104">
                  <c:v>All Others</c:v>
                </c:pt>
                <c:pt idx="105">
                  <c:v>All Others</c:v>
                </c:pt>
              </c:strCache>
            </c:strRef>
          </c:cat>
          <c:val>
            <c:numRef>
              <c:f>Sheet1!$C$2:$C$107</c:f>
              <c:numCache>
                <c:formatCode>General</c:formatCode>
                <c:ptCount val="106"/>
                <c:pt idx="0">
                  <c:v>0.15413214889409704</c:v>
                </c:pt>
                <c:pt idx="1">
                  <c:v>0.27146750107429524</c:v>
                </c:pt>
                <c:pt idx="2">
                  <c:v>0.3600890353795092</c:v>
                </c:pt>
                <c:pt idx="3">
                  <c:v>0.44538416521050206</c:v>
                </c:pt>
                <c:pt idx="4">
                  <c:v>0.51986571999863818</c:v>
                </c:pt>
                <c:pt idx="5">
                  <c:v>0.58483665651722228</c:v>
                </c:pt>
                <c:pt idx="6">
                  <c:v>0.64834912800354072</c:v>
                </c:pt>
                <c:pt idx="7">
                  <c:v>0.68470516462251507</c:v>
                </c:pt>
                <c:pt idx="8">
                  <c:v>0.71454733754217803</c:v>
                </c:pt>
                <c:pt idx="9">
                  <c:v>0.74263015075099437</c:v>
                </c:pt>
                <c:pt idx="10">
                  <c:v>0.7658029517123851</c:v>
                </c:pt>
                <c:pt idx="11">
                  <c:v>0.78740295686532147</c:v>
                </c:pt>
                <c:pt idx="12">
                  <c:v>0.80470946180339886</c:v>
                </c:pt>
                <c:pt idx="13">
                  <c:v>0.81953358564318302</c:v>
                </c:pt>
                <c:pt idx="14">
                  <c:v>0.83379042639628465</c:v>
                </c:pt>
                <c:pt idx="15">
                  <c:v>0.84770220444459154</c:v>
                </c:pt>
                <c:pt idx="16">
                  <c:v>0.86148262862327329</c:v>
                </c:pt>
                <c:pt idx="17">
                  <c:v>0.87429066609984352</c:v>
                </c:pt>
                <c:pt idx="18">
                  <c:v>0.8854092765737388</c:v>
                </c:pt>
                <c:pt idx="19">
                  <c:v>0.89368963127979595</c:v>
                </c:pt>
                <c:pt idx="20">
                  <c:v>0.90075697555759815</c:v>
                </c:pt>
                <c:pt idx="21">
                  <c:v>0.90773000269608972</c:v>
                </c:pt>
                <c:pt idx="22">
                  <c:v>0.9138056367603119</c:v>
                </c:pt>
                <c:pt idx="23">
                  <c:v>0.91967561345247639</c:v>
                </c:pt>
                <c:pt idx="24">
                  <c:v>0.92505836160547072</c:v>
                </c:pt>
                <c:pt idx="25">
                  <c:v>0.92974776376363089</c:v>
                </c:pt>
                <c:pt idx="26">
                  <c:v>0.93315353265995471</c:v>
                </c:pt>
                <c:pt idx="27">
                  <c:v>0.9362947534826026</c:v>
                </c:pt>
                <c:pt idx="28">
                  <c:v>0.9394053787454254</c:v>
                </c:pt>
                <c:pt idx="29">
                  <c:v>0.9424400902131933</c:v>
                </c:pt>
                <c:pt idx="30">
                  <c:v>0.94536185115559179</c:v>
                </c:pt>
                <c:pt idx="31">
                  <c:v>0.94826727912996334</c:v>
                </c:pt>
                <c:pt idx="32">
                  <c:v>0.951161205014175</c:v>
                </c:pt>
                <c:pt idx="33">
                  <c:v>0.95381841788289756</c:v>
                </c:pt>
                <c:pt idx="34">
                  <c:v>0.95639281570246937</c:v>
                </c:pt>
                <c:pt idx="35">
                  <c:v>0.95883885019585746</c:v>
                </c:pt>
                <c:pt idx="36">
                  <c:v>0.96128051389498492</c:v>
                </c:pt>
                <c:pt idx="37">
                  <c:v>0.9635397544441775</c:v>
                </c:pt>
                <c:pt idx="38">
                  <c:v>0.96565452874096269</c:v>
                </c:pt>
                <c:pt idx="39">
                  <c:v>0.96771110246153924</c:v>
                </c:pt>
                <c:pt idx="40">
                  <c:v>0.96965311536412391</c:v>
                </c:pt>
                <c:pt idx="41">
                  <c:v>0.97157511462983048</c:v>
                </c:pt>
                <c:pt idx="42">
                  <c:v>0.97348975255783476</c:v>
                </c:pt>
                <c:pt idx="43">
                  <c:v>0.97518217010395125</c:v>
                </c:pt>
                <c:pt idx="44">
                  <c:v>0.97682581878779007</c:v>
                </c:pt>
                <c:pt idx="45">
                  <c:v>0.97839631417821238</c:v>
                </c:pt>
                <c:pt idx="46">
                  <c:v>0.97966292434661217</c:v>
                </c:pt>
                <c:pt idx="47">
                  <c:v>0.98091688221583617</c:v>
                </c:pt>
                <c:pt idx="48">
                  <c:v>0.98207031181706328</c:v>
                </c:pt>
                <c:pt idx="49">
                  <c:v>0.9831896952314173</c:v>
                </c:pt>
                <c:pt idx="50">
                  <c:v>0.98423753564497729</c:v>
                </c:pt>
                <c:pt idx="51">
                  <c:v>0.98527617438640935</c:v>
                </c:pt>
                <c:pt idx="52">
                  <c:v>0.98628536777703235</c:v>
                </c:pt>
                <c:pt idx="53">
                  <c:v>0.98728604962093702</c:v>
                </c:pt>
                <c:pt idx="54">
                  <c:v>0.98828144050336819</c:v>
                </c:pt>
                <c:pt idx="55">
                  <c:v>0.98903781795227819</c:v>
                </c:pt>
                <c:pt idx="56">
                  <c:v>0.98976705046841107</c:v>
                </c:pt>
                <c:pt idx="57">
                  <c:v>0.99049122206487361</c:v>
                </c:pt>
                <c:pt idx="58">
                  <c:v>0.99117536638757997</c:v>
                </c:pt>
                <c:pt idx="59">
                  <c:v>0.99183052544308359</c:v>
                </c:pt>
                <c:pt idx="60">
                  <c:v>0.99244611730843735</c:v>
                </c:pt>
                <c:pt idx="61">
                  <c:v>0.99300212834676327</c:v>
                </c:pt>
                <c:pt idx="62">
                  <c:v>0.99353766566460466</c:v>
                </c:pt>
                <c:pt idx="63">
                  <c:v>0.99406538156113733</c:v>
                </c:pt>
                <c:pt idx="64">
                  <c:v>0.99458734641259017</c:v>
                </c:pt>
                <c:pt idx="65">
                  <c:v>0.99501798466817393</c:v>
                </c:pt>
                <c:pt idx="66">
                  <c:v>0.99542331832540609</c:v>
                </c:pt>
                <c:pt idx="67">
                  <c:v>0.99579759633920673</c:v>
                </c:pt>
                <c:pt idx="68">
                  <c:v>0.99615876197022524</c:v>
                </c:pt>
                <c:pt idx="69">
                  <c:v>0.99650704526026468</c:v>
                </c:pt>
                <c:pt idx="70">
                  <c:v>0.99683117416096856</c:v>
                </c:pt>
                <c:pt idx="71">
                  <c:v>0.99712263712561855</c:v>
                </c:pt>
                <c:pt idx="72">
                  <c:v>0.99740995933781096</c:v>
                </c:pt>
                <c:pt idx="73">
                  <c:v>0.99762780892543801</c:v>
                </c:pt>
                <c:pt idx="74">
                  <c:v>0.99783254613028283</c:v>
                </c:pt>
                <c:pt idx="75">
                  <c:v>0.99801404911300484</c:v>
                </c:pt>
                <c:pt idx="76">
                  <c:v>0.99817484833343917</c:v>
                </c:pt>
                <c:pt idx="77">
                  <c:v>0.9983296664669904</c:v>
                </c:pt>
                <c:pt idx="78">
                  <c:v>0.99848172409890323</c:v>
                </c:pt>
                <c:pt idx="79">
                  <c:v>0.99862711051852338</c:v>
                </c:pt>
                <c:pt idx="80">
                  <c:v>0.99875685409552617</c:v>
                </c:pt>
                <c:pt idx="81">
                  <c:v>0.99888153675285862</c:v>
                </c:pt>
                <c:pt idx="82">
                  <c:v>0.99900253874133993</c:v>
                </c:pt>
                <c:pt idx="83">
                  <c:v>0.99910789788720389</c:v>
                </c:pt>
                <c:pt idx="84">
                  <c:v>0.99921256690765825</c:v>
                </c:pt>
                <c:pt idx="85">
                  <c:v>0.99930228321090486</c:v>
                </c:pt>
                <c:pt idx="86">
                  <c:v>0.99938739867808757</c:v>
                </c:pt>
                <c:pt idx="87">
                  <c:v>0.99946653305838717</c:v>
                </c:pt>
                <c:pt idx="88">
                  <c:v>0.9995408365608196</c:v>
                </c:pt>
                <c:pt idx="89">
                  <c:v>0.99959995730424112</c:v>
                </c:pt>
                <c:pt idx="90">
                  <c:v>0.9996565475878274</c:v>
                </c:pt>
                <c:pt idx="91">
                  <c:v>0.99973062104845667</c:v>
                </c:pt>
                <c:pt idx="92">
                  <c:v>0.99975960631565941</c:v>
                </c:pt>
                <c:pt idx="93">
                  <c:v>0.9997856010394206</c:v>
                </c:pt>
                <c:pt idx="94">
                  <c:v>0.99981136572137863</c:v>
                </c:pt>
                <c:pt idx="95">
                  <c:v>0.99983598019432063</c:v>
                </c:pt>
                <c:pt idx="96">
                  <c:v>0.9998601345836563</c:v>
                </c:pt>
                <c:pt idx="97">
                  <c:v>0.9998833688057791</c:v>
                </c:pt>
                <c:pt idx="98">
                  <c:v>0.99990568286068915</c:v>
                </c:pt>
                <c:pt idx="99">
                  <c:v>0.99995399163936027</c:v>
                </c:pt>
                <c:pt idx="100">
                  <c:v>0.99998251682295658</c:v>
                </c:pt>
                <c:pt idx="101">
                  <c:v>0.99998826786803652</c:v>
                </c:pt>
                <c:pt idx="102">
                  <c:v>0.99999355882951002</c:v>
                </c:pt>
                <c:pt idx="103">
                  <c:v>0.99999562920573881</c:v>
                </c:pt>
                <c:pt idx="104">
                  <c:v>0.99999861974918036</c:v>
                </c:pt>
                <c:pt idx="105">
                  <c:v>0.99999999999999956</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73</c:f>
              <c:strCache>
                <c:ptCount val="72"/>
                <c:pt idx="0">
                  <c:v>All Others</c:v>
                </c:pt>
                <c:pt idx="1">
                  <c:v>Bottega</c:v>
                </c:pt>
                <c:pt idx="2">
                  <c:v>Patriarche</c:v>
                </c:pt>
                <c:pt idx="3">
                  <c:v>Mure</c:v>
                </c:pt>
                <c:pt idx="4">
                  <c:v>Savian</c:v>
                </c:pt>
                <c:pt idx="5">
                  <c:v>French Bloo</c:v>
                </c:pt>
                <c:pt idx="6">
                  <c:v>Bouvet-Ladu</c:v>
                </c:pt>
                <c:pt idx="7">
                  <c:v>De Chanceny</c:v>
                </c:pt>
                <c:pt idx="8">
                  <c:v>All Others</c:v>
                </c:pt>
                <c:pt idx="9">
                  <c:v>Patriarche</c:v>
                </c:pt>
                <c:pt idx="10">
                  <c:v>Kriter</c:v>
                </c:pt>
                <c:pt idx="11">
                  <c:v>Bottega</c:v>
                </c:pt>
                <c:pt idx="12">
                  <c:v>All Others</c:v>
                </c:pt>
                <c:pt idx="13">
                  <c:v>Contarini</c:v>
                </c:pt>
                <c:pt idx="14">
                  <c:v>Cru La Maqu</c:v>
                </c:pt>
                <c:pt idx="15">
                  <c:v>All Others</c:v>
                </c:pt>
                <c:pt idx="16">
                  <c:v>All Others</c:v>
                </c:pt>
                <c:pt idx="17">
                  <c:v>All Others</c:v>
                </c:pt>
                <c:pt idx="18">
                  <c:v>All Others</c:v>
                </c:pt>
                <c:pt idx="19">
                  <c:v>All Others</c:v>
                </c:pt>
                <c:pt idx="20">
                  <c:v>All Others</c:v>
                </c:pt>
                <c:pt idx="21">
                  <c:v>Contarini</c:v>
                </c:pt>
                <c:pt idx="22">
                  <c:v>All Others</c:v>
                </c:pt>
                <c:pt idx="23">
                  <c:v>All Others</c:v>
                </c:pt>
                <c:pt idx="24">
                  <c:v>All Others</c:v>
                </c:pt>
                <c:pt idx="25">
                  <c:v>All Others</c:v>
                </c:pt>
                <c:pt idx="26">
                  <c:v>All Others</c:v>
                </c:pt>
                <c:pt idx="27">
                  <c:v>All Others</c:v>
                </c:pt>
                <c:pt idx="28">
                  <c:v>All Others</c:v>
                </c:pt>
                <c:pt idx="29">
                  <c:v>Bouvet-Ladu</c:v>
                </c:pt>
                <c:pt idx="30">
                  <c:v>All Others</c:v>
                </c:pt>
                <c:pt idx="31">
                  <c:v>All Others</c:v>
                </c:pt>
                <c:pt idx="32">
                  <c:v>All Others</c:v>
                </c:pt>
                <c:pt idx="33">
                  <c:v>Bouvet-Ladu</c:v>
                </c:pt>
                <c:pt idx="34">
                  <c:v>All Others</c:v>
                </c:pt>
                <c:pt idx="35">
                  <c:v>All Others</c:v>
                </c:pt>
                <c:pt idx="36">
                  <c:v>All Others</c:v>
                </c:pt>
                <c:pt idx="37">
                  <c:v>All Others</c:v>
                </c:pt>
                <c:pt idx="38">
                  <c:v>Mure</c:v>
                </c:pt>
                <c:pt idx="39">
                  <c:v>Bouvet-Ladu</c:v>
                </c:pt>
                <c:pt idx="40">
                  <c:v>All Others</c:v>
                </c:pt>
                <c:pt idx="41">
                  <c:v>All Others</c:v>
                </c:pt>
                <c:pt idx="42">
                  <c:v>Celene</c:v>
                </c:pt>
                <c:pt idx="43">
                  <c:v>All Others</c:v>
                </c:pt>
                <c:pt idx="44">
                  <c:v>Mure</c:v>
                </c:pt>
                <c:pt idx="45">
                  <c:v>Celene</c:v>
                </c:pt>
                <c:pt idx="46">
                  <c:v>All Others</c:v>
                </c:pt>
                <c:pt idx="47">
                  <c:v>All Others</c:v>
                </c:pt>
                <c:pt idx="48">
                  <c:v>All Others</c:v>
                </c:pt>
                <c:pt idx="49">
                  <c:v>All Others</c:v>
                </c:pt>
                <c:pt idx="50">
                  <c:v>All Others</c:v>
                </c:pt>
                <c:pt idx="51">
                  <c:v>All Others</c:v>
                </c:pt>
                <c:pt idx="52">
                  <c:v>Jaillance</c:v>
                </c:pt>
                <c:pt idx="53">
                  <c:v>Bottega</c:v>
                </c:pt>
                <c:pt idx="54">
                  <c:v>All Others</c:v>
                </c:pt>
                <c:pt idx="55">
                  <c:v>All Others</c:v>
                </c:pt>
                <c:pt idx="56">
                  <c:v>All Others</c:v>
                </c:pt>
                <c:pt idx="57">
                  <c:v>Bouvet-Ladu</c:v>
                </c:pt>
                <c:pt idx="58">
                  <c:v>Bouvet-Ladu</c:v>
                </c:pt>
                <c:pt idx="59">
                  <c:v>All Others</c:v>
                </c:pt>
                <c:pt idx="60">
                  <c:v>All Others</c:v>
                </c:pt>
                <c:pt idx="61">
                  <c:v>All Others</c:v>
                </c:pt>
                <c:pt idx="62">
                  <c:v>Bouvet-Ladu</c:v>
                </c:pt>
                <c:pt idx="63">
                  <c:v>Bottega</c:v>
                </c:pt>
                <c:pt idx="64">
                  <c:v>All Others</c:v>
                </c:pt>
                <c:pt idx="65">
                  <c:v>All Others</c:v>
                </c:pt>
                <c:pt idx="66">
                  <c:v>All Others</c:v>
                </c:pt>
                <c:pt idx="67">
                  <c:v>All Others</c:v>
                </c:pt>
                <c:pt idx="68">
                  <c:v>All Others</c:v>
                </c:pt>
                <c:pt idx="69">
                  <c:v>All Others</c:v>
                </c:pt>
                <c:pt idx="70">
                  <c:v>All Others</c:v>
                </c:pt>
                <c:pt idx="71">
                  <c:v>Bottega</c:v>
                </c:pt>
              </c:strCache>
            </c:strRef>
          </c:cat>
          <c:val>
            <c:numRef>
              <c:f>Sheet1!$B$2:$B$73</c:f>
              <c:numCache>
                <c:formatCode>General</c:formatCode>
                <c:ptCount val="72"/>
                <c:pt idx="0">
                  <c:v>0.92</c:v>
                </c:pt>
                <c:pt idx="1">
                  <c:v>0.82</c:v>
                </c:pt>
                <c:pt idx="2">
                  <c:v>0.88</c:v>
                </c:pt>
                <c:pt idx="3">
                  <c:v>0.74</c:v>
                </c:pt>
                <c:pt idx="4">
                  <c:v>0.82</c:v>
                </c:pt>
                <c:pt idx="5">
                  <c:v>0.73</c:v>
                </c:pt>
                <c:pt idx="6">
                  <c:v>0.71</c:v>
                </c:pt>
                <c:pt idx="7">
                  <c:v>0.61</c:v>
                </c:pt>
                <c:pt idx="8">
                  <c:v>0.48</c:v>
                </c:pt>
                <c:pt idx="9">
                  <c:v>0.59</c:v>
                </c:pt>
                <c:pt idx="10">
                  <c:v>0.47</c:v>
                </c:pt>
                <c:pt idx="11">
                  <c:v>0.46</c:v>
                </c:pt>
                <c:pt idx="12">
                  <c:v>7.0000000000000007E-2</c:v>
                </c:pt>
                <c:pt idx="13">
                  <c:v>0.91</c:v>
                </c:pt>
                <c:pt idx="14">
                  <c:v>0.41</c:v>
                </c:pt>
                <c:pt idx="15">
                  <c:v>0.5</c:v>
                </c:pt>
                <c:pt idx="16">
                  <c:v>0.28000000000000003</c:v>
                </c:pt>
                <c:pt idx="17">
                  <c:v>0.34</c:v>
                </c:pt>
                <c:pt idx="18">
                  <c:v>0.03</c:v>
                </c:pt>
                <c:pt idx="19">
                  <c:v>0.23</c:v>
                </c:pt>
                <c:pt idx="20">
                  <c:v>0.23</c:v>
                </c:pt>
                <c:pt idx="21">
                  <c:v>0.11</c:v>
                </c:pt>
                <c:pt idx="22">
                  <c:v>0.05</c:v>
                </c:pt>
                <c:pt idx="23">
                  <c:v>0.18</c:v>
                </c:pt>
                <c:pt idx="24">
                  <c:v>0.03</c:v>
                </c:pt>
                <c:pt idx="25">
                  <c:v>0.24</c:v>
                </c:pt>
                <c:pt idx="26">
                  <c:v>0.03</c:v>
                </c:pt>
                <c:pt idx="27">
                  <c:v>0.02</c:v>
                </c:pt>
                <c:pt idx="28">
                  <c:v>0.04</c:v>
                </c:pt>
                <c:pt idx="29">
                  <c:v>0.06</c:v>
                </c:pt>
                <c:pt idx="30">
                  <c:v>0.04</c:v>
                </c:pt>
                <c:pt idx="31">
                  <c:v>0.02</c:v>
                </c:pt>
                <c:pt idx="32">
                  <c:v>0.04</c:v>
                </c:pt>
                <c:pt idx="33">
                  <c:v>0.1</c:v>
                </c:pt>
                <c:pt idx="34">
                  <c:v>0.03</c:v>
                </c:pt>
                <c:pt idx="35">
                  <c:v>0.02</c:v>
                </c:pt>
                <c:pt idx="36">
                  <c:v>7.0000000000000007E-2</c:v>
                </c:pt>
                <c:pt idx="37">
                  <c:v>0.02</c:v>
                </c:pt>
                <c:pt idx="38">
                  <c:v>0.01</c:v>
                </c:pt>
                <c:pt idx="39">
                  <c:v>0.06</c:v>
                </c:pt>
                <c:pt idx="40">
                  <c:v>0.04</c:v>
                </c:pt>
                <c:pt idx="41">
                  <c:v>0.02</c:v>
                </c:pt>
                <c:pt idx="42">
                  <c:v>0.06</c:v>
                </c:pt>
                <c:pt idx="43">
                  <c:v>0.03</c:v>
                </c:pt>
                <c:pt idx="44">
                  <c:v>0.02</c:v>
                </c:pt>
                <c:pt idx="45">
                  <c:v>0.05</c:v>
                </c:pt>
                <c:pt idx="46">
                  <c:v>0.01</c:v>
                </c:pt>
                <c:pt idx="47">
                  <c:v>0.02</c:v>
                </c:pt>
                <c:pt idx="48">
                  <c:v>0.02</c:v>
                </c:pt>
                <c:pt idx="49">
                  <c:v>0.01</c:v>
                </c:pt>
                <c:pt idx="50">
                  <c:v>0.02</c:v>
                </c:pt>
                <c:pt idx="51">
                  <c:v>0.04</c:v>
                </c:pt>
                <c:pt idx="52">
                  <c:v>0.01</c:v>
                </c:pt>
                <c:pt idx="53">
                  <c:v>0.03</c:v>
                </c:pt>
                <c:pt idx="54">
                  <c:v>0.03</c:v>
                </c:pt>
                <c:pt idx="55">
                  <c:v>0.01</c:v>
                </c:pt>
                <c:pt idx="56">
                  <c:v>0.01</c:v>
                </c:pt>
                <c:pt idx="57">
                  <c:v>0.02</c:v>
                </c:pt>
                <c:pt idx="58">
                  <c:v>0.01</c:v>
                </c:pt>
                <c:pt idx="59">
                  <c:v>0.04</c:v>
                </c:pt>
                <c:pt idx="60">
                  <c:v>0.01</c:v>
                </c:pt>
                <c:pt idx="61">
                  <c:v>0.01</c:v>
                </c:pt>
                <c:pt idx="62">
                  <c:v>0.01</c:v>
                </c:pt>
                <c:pt idx="63">
                  <c:v>0.01</c:v>
                </c:pt>
                <c:pt idx="64">
                  <c:v>0.01</c:v>
                </c:pt>
                <c:pt idx="65">
                  <c:v>0.01</c:v>
                </c:pt>
                <c:pt idx="66">
                  <c:v>0.01</c:v>
                </c:pt>
                <c:pt idx="67">
                  <c:v>0.01</c:v>
                </c:pt>
                <c:pt idx="68">
                  <c:v>0.01</c:v>
                </c:pt>
                <c:pt idx="69">
                  <c:v>0.01</c:v>
                </c:pt>
                <c:pt idx="70">
                  <c:v>0.01</c:v>
                </c:pt>
                <c:pt idx="71">
                  <c:v>0.02</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7ECAC4"/>
              </a:solidFill>
            </c:spPr>
            <c:extLst>
              <c:ext xmlns:c16="http://schemas.microsoft.com/office/drawing/2014/chart" uri="{C3380CC4-5D6E-409C-BE32-E72D297353CC}">
                <c16:uniqueId val="{0000004F-2993-41DE-A2CB-63102DE87051}"/>
              </c:ext>
            </c:extLst>
          </c:dPt>
          <c:dPt>
            <c:idx val="12"/>
            <c:invertIfNegative val="1"/>
            <c:bubble3D val="0"/>
            <c:spPr>
              <a:solidFill>
                <a:srgbClr val="7ECAC4"/>
              </a:solidFill>
            </c:spPr>
            <c:extLst>
              <c:ext xmlns:c16="http://schemas.microsoft.com/office/drawing/2014/chart" uri="{C3380CC4-5D6E-409C-BE32-E72D297353CC}">
                <c16:uniqueId val="{00000051-2993-41DE-A2CB-63102DE87051}"/>
              </c:ext>
            </c:extLst>
          </c:dPt>
          <c:dPt>
            <c:idx val="13"/>
            <c:invertIfNegative val="1"/>
            <c:bubble3D val="0"/>
            <c:spPr>
              <a:solidFill>
                <a:srgbClr val="7ECAC4"/>
              </a:solidFill>
            </c:spPr>
            <c:extLst>
              <c:ext xmlns:c16="http://schemas.microsoft.com/office/drawing/2014/chart" uri="{C3380CC4-5D6E-409C-BE32-E72D297353CC}">
                <c16:uniqueId val="{00000053-2993-41DE-A2CB-63102DE87051}"/>
              </c:ext>
            </c:extLst>
          </c:dPt>
          <c:dPt>
            <c:idx val="14"/>
            <c:invertIfNegative val="1"/>
            <c:bubble3D val="0"/>
            <c:spPr>
              <a:solidFill>
                <a:srgbClr val="7ECAC4"/>
              </a:solidFill>
            </c:spPr>
            <c:extLst>
              <c:ext xmlns:c16="http://schemas.microsoft.com/office/drawing/2014/chart" uri="{C3380CC4-5D6E-409C-BE32-E72D297353CC}">
                <c16:uniqueId val="{00000055-2993-41DE-A2CB-63102DE87051}"/>
              </c:ext>
            </c:extLst>
          </c:dPt>
          <c:dPt>
            <c:idx val="15"/>
            <c:invertIfNegative val="1"/>
            <c:bubble3D val="0"/>
            <c:spPr>
              <a:solidFill>
                <a:srgbClr val="7ECAC4"/>
              </a:solidFill>
            </c:spPr>
            <c:extLst>
              <c:ext xmlns:c16="http://schemas.microsoft.com/office/drawing/2014/chart" uri="{C3380CC4-5D6E-409C-BE32-E72D297353CC}">
                <c16:uniqueId val="{00000057-2993-41DE-A2CB-63102DE87051}"/>
              </c:ext>
            </c:extLst>
          </c:dPt>
          <c:dPt>
            <c:idx val="16"/>
            <c:invertIfNegative val="1"/>
            <c:bubble3D val="0"/>
            <c:spPr>
              <a:solidFill>
                <a:srgbClr val="7ECAC4"/>
              </a:solidFill>
            </c:spPr>
            <c:extLst>
              <c:ext xmlns:c16="http://schemas.microsoft.com/office/drawing/2014/chart" uri="{C3380CC4-5D6E-409C-BE32-E72D297353CC}">
                <c16:uniqueId val="{00000059-2993-41DE-A2CB-63102DE87051}"/>
              </c:ext>
            </c:extLst>
          </c:dPt>
          <c:dPt>
            <c:idx val="17"/>
            <c:invertIfNegative val="1"/>
            <c:bubble3D val="0"/>
            <c:spPr>
              <a:solidFill>
                <a:srgbClr val="7ECAC4"/>
              </a:solidFill>
            </c:spPr>
            <c:extLst>
              <c:ext xmlns:c16="http://schemas.microsoft.com/office/drawing/2014/chart" uri="{C3380CC4-5D6E-409C-BE32-E72D297353CC}">
                <c16:uniqueId val="{0000005B-2993-41DE-A2CB-63102DE87051}"/>
              </c:ext>
            </c:extLst>
          </c:dPt>
          <c:dPt>
            <c:idx val="18"/>
            <c:invertIfNegative val="1"/>
            <c:bubble3D val="0"/>
            <c:spPr>
              <a:solidFill>
                <a:srgbClr val="7ECAC4"/>
              </a:solidFill>
            </c:spPr>
            <c:extLst>
              <c:ext xmlns:c16="http://schemas.microsoft.com/office/drawing/2014/chart" uri="{C3380CC4-5D6E-409C-BE32-E72D297353CC}">
                <c16:uniqueId val="{0000005D-2993-41DE-A2CB-63102DE87051}"/>
              </c:ext>
            </c:extLst>
          </c:dPt>
          <c:dPt>
            <c:idx val="19"/>
            <c:invertIfNegative val="1"/>
            <c:bubble3D val="0"/>
            <c:spPr>
              <a:solidFill>
                <a:srgbClr val="7ECAC4"/>
              </a:solidFill>
            </c:spPr>
            <c:extLst>
              <c:ext xmlns:c16="http://schemas.microsoft.com/office/drawing/2014/chart" uri="{C3380CC4-5D6E-409C-BE32-E72D297353CC}">
                <c16:uniqueId val="{0000005F-2993-41DE-A2CB-63102DE87051}"/>
              </c:ext>
            </c:extLst>
          </c:dPt>
          <c:dPt>
            <c:idx val="20"/>
            <c:invertIfNegative val="1"/>
            <c:bubble3D val="0"/>
            <c:spPr>
              <a:solidFill>
                <a:srgbClr val="7ECAC4"/>
              </a:solidFill>
            </c:spPr>
            <c:extLst>
              <c:ext xmlns:c16="http://schemas.microsoft.com/office/drawing/2014/chart" uri="{C3380CC4-5D6E-409C-BE32-E72D297353CC}">
                <c16:uniqueId val="{00000061-2993-41DE-A2CB-63102DE87051}"/>
              </c:ext>
            </c:extLst>
          </c:dPt>
          <c:dPt>
            <c:idx val="21"/>
            <c:invertIfNegative val="1"/>
            <c:bubble3D val="0"/>
            <c:spPr>
              <a:solidFill>
                <a:srgbClr val="7ECAC4"/>
              </a:solidFill>
            </c:spPr>
            <c:extLst>
              <c:ext xmlns:c16="http://schemas.microsoft.com/office/drawing/2014/chart" uri="{C3380CC4-5D6E-409C-BE32-E72D297353CC}">
                <c16:uniqueId val="{00000063-2993-41DE-A2CB-63102DE87051}"/>
              </c:ext>
            </c:extLst>
          </c:dPt>
          <c:dPt>
            <c:idx val="22"/>
            <c:invertIfNegative val="1"/>
            <c:bubble3D val="0"/>
            <c:spPr>
              <a:solidFill>
                <a:srgbClr val="7ECAC4"/>
              </a:solidFill>
            </c:spPr>
            <c:extLst>
              <c:ext xmlns:c16="http://schemas.microsoft.com/office/drawing/2014/chart" uri="{C3380CC4-5D6E-409C-BE32-E72D297353CC}">
                <c16:uniqueId val="{00000065-2993-41DE-A2CB-63102DE87051}"/>
              </c:ext>
            </c:extLst>
          </c:dPt>
          <c:dPt>
            <c:idx val="23"/>
            <c:invertIfNegative val="1"/>
            <c:bubble3D val="0"/>
            <c:spPr>
              <a:solidFill>
                <a:srgbClr val="7ECAC4"/>
              </a:solidFill>
            </c:spPr>
            <c:extLst>
              <c:ext xmlns:c16="http://schemas.microsoft.com/office/drawing/2014/chart" uri="{C3380CC4-5D6E-409C-BE32-E72D297353CC}">
                <c16:uniqueId val="{00000067-2993-41DE-A2CB-63102DE87051}"/>
              </c:ext>
            </c:extLst>
          </c:dPt>
          <c:dPt>
            <c:idx val="24"/>
            <c:invertIfNegative val="1"/>
            <c:bubble3D val="0"/>
            <c:spPr>
              <a:solidFill>
                <a:srgbClr val="AEABAB"/>
              </a:solidFill>
            </c:spPr>
            <c:extLst>
              <c:ext xmlns:c16="http://schemas.microsoft.com/office/drawing/2014/chart" uri="{C3380CC4-5D6E-409C-BE32-E72D297353CC}">
                <c16:uniqueId val="{00000069-2993-41DE-A2CB-63102DE87051}"/>
              </c:ext>
            </c:extLst>
          </c:dPt>
          <c:dPt>
            <c:idx val="25"/>
            <c:invertIfNegative val="1"/>
            <c:bubble3D val="0"/>
            <c:spPr>
              <a:solidFill>
                <a:srgbClr val="AEABAB"/>
              </a:solidFill>
            </c:spPr>
            <c:extLst>
              <c:ext xmlns:c16="http://schemas.microsoft.com/office/drawing/2014/chart" uri="{C3380CC4-5D6E-409C-BE32-E72D297353CC}">
                <c16:uniqueId val="{0000006B-2993-41DE-A2CB-63102DE87051}"/>
              </c:ext>
            </c:extLst>
          </c:dPt>
          <c:dPt>
            <c:idx val="26"/>
            <c:invertIfNegative val="1"/>
            <c:bubble3D val="0"/>
            <c:spPr>
              <a:solidFill>
                <a:srgbClr val="AEABAB"/>
              </a:solidFill>
            </c:spPr>
            <c:extLst>
              <c:ext xmlns:c16="http://schemas.microsoft.com/office/drawing/2014/chart" uri="{C3380CC4-5D6E-409C-BE32-E72D297353CC}">
                <c16:uniqueId val="{0000006D-2993-41DE-A2CB-63102DE87051}"/>
              </c:ext>
            </c:extLst>
          </c:dPt>
          <c:dPt>
            <c:idx val="27"/>
            <c:invertIfNegative val="1"/>
            <c:bubble3D val="0"/>
            <c:spPr>
              <a:solidFill>
                <a:srgbClr val="AEABAB"/>
              </a:solidFill>
            </c:spPr>
            <c:extLst>
              <c:ext xmlns:c16="http://schemas.microsoft.com/office/drawing/2014/chart" uri="{C3380CC4-5D6E-409C-BE32-E72D297353CC}">
                <c16:uniqueId val="{0000006F-2993-41DE-A2CB-63102DE87051}"/>
              </c:ext>
            </c:extLst>
          </c:dPt>
          <c:dPt>
            <c:idx val="28"/>
            <c:invertIfNegative val="1"/>
            <c:bubble3D val="0"/>
            <c:spPr>
              <a:solidFill>
                <a:srgbClr val="AEABAB"/>
              </a:solidFill>
            </c:spPr>
            <c:extLst>
              <c:ext xmlns:c16="http://schemas.microsoft.com/office/drawing/2014/chart" uri="{C3380CC4-5D6E-409C-BE32-E72D297353CC}">
                <c16:uniqueId val="{00000071-2993-41DE-A2CB-63102DE87051}"/>
              </c:ext>
            </c:extLst>
          </c:dPt>
          <c:dPt>
            <c:idx val="29"/>
            <c:invertIfNegative val="1"/>
            <c:bubble3D val="0"/>
            <c:spPr>
              <a:solidFill>
                <a:srgbClr val="AEABAB"/>
              </a:solidFill>
            </c:spPr>
            <c:extLst>
              <c:ext xmlns:c16="http://schemas.microsoft.com/office/drawing/2014/chart" uri="{C3380CC4-5D6E-409C-BE32-E72D297353CC}">
                <c16:uniqueId val="{00000073-2993-41DE-A2CB-63102DE87051}"/>
              </c:ext>
            </c:extLst>
          </c:dPt>
          <c:dPt>
            <c:idx val="30"/>
            <c:invertIfNegative val="1"/>
            <c:bubble3D val="0"/>
            <c:spPr>
              <a:solidFill>
                <a:srgbClr val="AEABAB"/>
              </a:solidFill>
            </c:spPr>
            <c:extLst>
              <c:ext xmlns:c16="http://schemas.microsoft.com/office/drawing/2014/chart" uri="{C3380CC4-5D6E-409C-BE32-E72D297353CC}">
                <c16:uniqueId val="{00000075-2993-41DE-A2CB-63102DE87051}"/>
              </c:ext>
            </c:extLst>
          </c:dPt>
          <c:dPt>
            <c:idx val="31"/>
            <c:invertIfNegative val="1"/>
            <c:bubble3D val="0"/>
            <c:spPr>
              <a:solidFill>
                <a:srgbClr val="AEABAB"/>
              </a:solidFill>
            </c:spPr>
            <c:extLst>
              <c:ext xmlns:c16="http://schemas.microsoft.com/office/drawing/2014/chart" uri="{C3380CC4-5D6E-409C-BE32-E72D297353CC}">
                <c16:uniqueId val="{00000077-2993-41DE-A2CB-63102DE87051}"/>
              </c:ext>
            </c:extLst>
          </c:dPt>
          <c:dPt>
            <c:idx val="32"/>
            <c:invertIfNegative val="1"/>
            <c:bubble3D val="0"/>
            <c:spPr>
              <a:solidFill>
                <a:srgbClr val="AEABAB"/>
              </a:solidFill>
            </c:spPr>
            <c:extLst>
              <c:ext xmlns:c16="http://schemas.microsoft.com/office/drawing/2014/chart" uri="{C3380CC4-5D6E-409C-BE32-E72D297353CC}">
                <c16:uniqueId val="{00000079-2993-41DE-A2CB-63102DE87051}"/>
              </c:ext>
            </c:extLst>
          </c:dPt>
          <c:dPt>
            <c:idx val="33"/>
            <c:invertIfNegative val="1"/>
            <c:bubble3D val="0"/>
            <c:spPr>
              <a:solidFill>
                <a:srgbClr val="AEABAB"/>
              </a:solidFill>
            </c:spPr>
            <c:extLst>
              <c:ext xmlns:c16="http://schemas.microsoft.com/office/drawing/2014/chart" uri="{C3380CC4-5D6E-409C-BE32-E72D297353CC}">
                <c16:uniqueId val="{0000007B-2993-41DE-A2CB-63102DE87051}"/>
              </c:ext>
            </c:extLst>
          </c:dPt>
          <c:dPt>
            <c:idx val="34"/>
            <c:invertIfNegative val="1"/>
            <c:bubble3D val="0"/>
            <c:spPr>
              <a:solidFill>
                <a:srgbClr val="AEABAB"/>
              </a:solidFill>
            </c:spPr>
            <c:extLst>
              <c:ext xmlns:c16="http://schemas.microsoft.com/office/drawing/2014/chart" uri="{C3380CC4-5D6E-409C-BE32-E72D297353CC}">
                <c16:uniqueId val="{0000007D-2993-41DE-A2CB-63102DE87051}"/>
              </c:ext>
            </c:extLst>
          </c:dPt>
          <c:dPt>
            <c:idx val="35"/>
            <c:invertIfNegative val="1"/>
            <c:bubble3D val="0"/>
            <c:spPr>
              <a:solidFill>
                <a:srgbClr val="AEABAB"/>
              </a:solidFill>
            </c:spPr>
            <c:extLst>
              <c:ext xmlns:c16="http://schemas.microsoft.com/office/drawing/2014/chart" uri="{C3380CC4-5D6E-409C-BE32-E72D297353CC}">
                <c16:uniqueId val="{0000007F-2993-41DE-A2CB-63102DE87051}"/>
              </c:ext>
            </c:extLst>
          </c:dPt>
          <c:dPt>
            <c:idx val="36"/>
            <c:invertIfNegative val="1"/>
            <c:bubble3D val="0"/>
            <c:spPr>
              <a:solidFill>
                <a:srgbClr val="AEABAB"/>
              </a:solidFill>
            </c:spPr>
            <c:extLst>
              <c:ext xmlns:c16="http://schemas.microsoft.com/office/drawing/2014/chart" uri="{C3380CC4-5D6E-409C-BE32-E72D297353CC}">
                <c16:uniqueId val="{00000081-2993-41DE-A2CB-63102DE87051}"/>
              </c:ext>
            </c:extLst>
          </c:dPt>
          <c:dPt>
            <c:idx val="37"/>
            <c:invertIfNegative val="1"/>
            <c:bubble3D val="0"/>
            <c:spPr>
              <a:solidFill>
                <a:srgbClr val="AEABAB"/>
              </a:solidFill>
            </c:spPr>
            <c:extLst>
              <c:ext xmlns:c16="http://schemas.microsoft.com/office/drawing/2014/chart" uri="{C3380CC4-5D6E-409C-BE32-E72D297353CC}">
                <c16:uniqueId val="{00000083-2993-41DE-A2CB-63102DE87051}"/>
              </c:ext>
            </c:extLst>
          </c:dPt>
          <c:dPt>
            <c:idx val="38"/>
            <c:invertIfNegative val="1"/>
            <c:bubble3D val="0"/>
            <c:spPr>
              <a:solidFill>
                <a:srgbClr val="AEABAB"/>
              </a:solidFill>
            </c:spPr>
            <c:extLst>
              <c:ext xmlns:c16="http://schemas.microsoft.com/office/drawing/2014/chart" uri="{C3380CC4-5D6E-409C-BE32-E72D297353CC}">
                <c16:uniqueId val="{00000085-2993-41DE-A2CB-63102DE87051}"/>
              </c:ext>
            </c:extLst>
          </c:dPt>
          <c:dPt>
            <c:idx val="39"/>
            <c:invertIfNegative val="1"/>
            <c:bubble3D val="0"/>
            <c:spPr>
              <a:solidFill>
                <a:srgbClr val="AEABAB"/>
              </a:solidFill>
            </c:spPr>
            <c:extLst>
              <c:ext xmlns:c16="http://schemas.microsoft.com/office/drawing/2014/chart" uri="{C3380CC4-5D6E-409C-BE32-E72D297353CC}">
                <c16:uniqueId val="{00000087-2993-41DE-A2CB-63102DE87051}"/>
              </c:ext>
            </c:extLst>
          </c:dPt>
          <c:dPt>
            <c:idx val="40"/>
            <c:invertIfNegative val="1"/>
            <c:bubble3D val="0"/>
            <c:spPr>
              <a:solidFill>
                <a:srgbClr val="AEABAB"/>
              </a:solidFill>
            </c:spPr>
            <c:extLst>
              <c:ext xmlns:c16="http://schemas.microsoft.com/office/drawing/2014/chart" uri="{C3380CC4-5D6E-409C-BE32-E72D297353CC}">
                <c16:uniqueId val="{00000089-2993-41DE-A2CB-63102DE87051}"/>
              </c:ext>
            </c:extLst>
          </c:dPt>
          <c:dPt>
            <c:idx val="41"/>
            <c:invertIfNegative val="1"/>
            <c:bubble3D val="0"/>
            <c:spPr>
              <a:solidFill>
                <a:srgbClr val="AEABAB"/>
              </a:solidFill>
            </c:spPr>
            <c:extLst>
              <c:ext xmlns:c16="http://schemas.microsoft.com/office/drawing/2014/chart" uri="{C3380CC4-5D6E-409C-BE32-E72D297353CC}">
                <c16:uniqueId val="{0000008B-2993-41DE-A2CB-63102DE87051}"/>
              </c:ext>
            </c:extLst>
          </c:dPt>
          <c:dPt>
            <c:idx val="42"/>
            <c:invertIfNegative val="1"/>
            <c:bubble3D val="0"/>
            <c:spPr>
              <a:solidFill>
                <a:srgbClr val="AEABAB"/>
              </a:solidFill>
            </c:spPr>
            <c:extLst>
              <c:ext xmlns:c16="http://schemas.microsoft.com/office/drawing/2014/chart" uri="{C3380CC4-5D6E-409C-BE32-E72D297353CC}">
                <c16:uniqueId val="{0000008D-2993-41DE-A2CB-63102DE87051}"/>
              </c:ext>
            </c:extLst>
          </c:dPt>
          <c:dPt>
            <c:idx val="43"/>
            <c:invertIfNegative val="1"/>
            <c:bubble3D val="0"/>
            <c:spPr>
              <a:solidFill>
                <a:srgbClr val="AEABAB"/>
              </a:solidFill>
            </c:spPr>
            <c:extLst>
              <c:ext xmlns:c16="http://schemas.microsoft.com/office/drawing/2014/chart" uri="{C3380CC4-5D6E-409C-BE32-E72D297353CC}">
                <c16:uniqueId val="{0000008F-2993-41DE-A2CB-63102DE87051}"/>
              </c:ext>
            </c:extLst>
          </c:dPt>
          <c:dPt>
            <c:idx val="44"/>
            <c:invertIfNegative val="1"/>
            <c:bubble3D val="0"/>
            <c:spPr>
              <a:solidFill>
                <a:srgbClr val="AEABAB"/>
              </a:solidFill>
            </c:spPr>
            <c:extLst>
              <c:ext xmlns:c16="http://schemas.microsoft.com/office/drawing/2014/chart" uri="{C3380CC4-5D6E-409C-BE32-E72D297353CC}">
                <c16:uniqueId val="{00000091-2993-41DE-A2CB-63102DE87051}"/>
              </c:ext>
            </c:extLst>
          </c:dPt>
          <c:dPt>
            <c:idx val="45"/>
            <c:invertIfNegative val="1"/>
            <c:bubble3D val="0"/>
            <c:spPr>
              <a:solidFill>
                <a:srgbClr val="AEABAB"/>
              </a:solidFill>
            </c:spPr>
            <c:extLst>
              <c:ext xmlns:c16="http://schemas.microsoft.com/office/drawing/2014/chart" uri="{C3380CC4-5D6E-409C-BE32-E72D297353CC}">
                <c16:uniqueId val="{00000093-2993-41DE-A2CB-63102DE87051}"/>
              </c:ext>
            </c:extLst>
          </c:dPt>
          <c:dPt>
            <c:idx val="46"/>
            <c:invertIfNegative val="1"/>
            <c:bubble3D val="0"/>
            <c:spPr>
              <a:solidFill>
                <a:srgbClr val="AEABAB"/>
              </a:solidFill>
            </c:spPr>
            <c:extLst>
              <c:ext xmlns:c16="http://schemas.microsoft.com/office/drawing/2014/chart" uri="{C3380CC4-5D6E-409C-BE32-E72D297353CC}">
                <c16:uniqueId val="{00000095-2993-41DE-A2CB-63102DE87051}"/>
              </c:ext>
            </c:extLst>
          </c:dPt>
          <c:dPt>
            <c:idx val="47"/>
            <c:invertIfNegative val="1"/>
            <c:bubble3D val="0"/>
            <c:spPr>
              <a:solidFill>
                <a:srgbClr val="AEABAB"/>
              </a:solidFill>
            </c:spPr>
            <c:extLst>
              <c:ext xmlns:c16="http://schemas.microsoft.com/office/drawing/2014/chart" uri="{C3380CC4-5D6E-409C-BE32-E72D297353CC}">
                <c16:uniqueId val="{00000097-2993-41DE-A2CB-63102DE87051}"/>
              </c:ext>
            </c:extLst>
          </c:dPt>
          <c:dPt>
            <c:idx val="48"/>
            <c:invertIfNegative val="1"/>
            <c:bubble3D val="0"/>
            <c:spPr>
              <a:solidFill>
                <a:srgbClr val="AEABAB"/>
              </a:solidFill>
            </c:spPr>
            <c:extLst>
              <c:ext xmlns:c16="http://schemas.microsoft.com/office/drawing/2014/chart" uri="{C3380CC4-5D6E-409C-BE32-E72D297353CC}">
                <c16:uniqueId val="{00000099-2993-41DE-A2CB-63102DE87051}"/>
              </c:ext>
            </c:extLst>
          </c:dPt>
          <c:dPt>
            <c:idx val="49"/>
            <c:invertIfNegative val="1"/>
            <c:bubble3D val="0"/>
            <c:spPr>
              <a:solidFill>
                <a:srgbClr val="AEABAB"/>
              </a:solidFill>
            </c:spPr>
            <c:extLst>
              <c:ext xmlns:c16="http://schemas.microsoft.com/office/drawing/2014/chart" uri="{C3380CC4-5D6E-409C-BE32-E72D297353CC}">
                <c16:uniqueId val="{0000009B-2993-41DE-A2CB-63102DE87051}"/>
              </c:ext>
            </c:extLst>
          </c:dPt>
          <c:dPt>
            <c:idx val="50"/>
            <c:invertIfNegative val="1"/>
            <c:bubble3D val="0"/>
            <c:spPr>
              <a:solidFill>
                <a:srgbClr val="AEABAB"/>
              </a:solidFill>
            </c:spPr>
            <c:extLst>
              <c:ext xmlns:c16="http://schemas.microsoft.com/office/drawing/2014/chart" uri="{C3380CC4-5D6E-409C-BE32-E72D297353CC}">
                <c16:uniqueId val="{0000009D-2993-41DE-A2CB-63102DE87051}"/>
              </c:ext>
            </c:extLst>
          </c:dPt>
          <c:dPt>
            <c:idx val="51"/>
            <c:invertIfNegative val="1"/>
            <c:bubble3D val="0"/>
            <c:spPr>
              <a:solidFill>
                <a:srgbClr val="AEABAB"/>
              </a:solidFill>
            </c:spPr>
            <c:extLst>
              <c:ext xmlns:c16="http://schemas.microsoft.com/office/drawing/2014/chart" uri="{C3380CC4-5D6E-409C-BE32-E72D297353CC}">
                <c16:uniqueId val="{0000009F-2993-41DE-A2CB-63102DE87051}"/>
              </c:ext>
            </c:extLst>
          </c:dPt>
          <c:dPt>
            <c:idx val="52"/>
            <c:invertIfNegative val="1"/>
            <c:bubble3D val="0"/>
            <c:spPr>
              <a:solidFill>
                <a:srgbClr val="AEABAB"/>
              </a:solidFill>
            </c:spPr>
            <c:extLst>
              <c:ext xmlns:c16="http://schemas.microsoft.com/office/drawing/2014/chart" uri="{C3380CC4-5D6E-409C-BE32-E72D297353CC}">
                <c16:uniqueId val="{000000A1-2993-41DE-A2CB-63102DE87051}"/>
              </c:ext>
            </c:extLst>
          </c:dPt>
          <c:dPt>
            <c:idx val="53"/>
            <c:invertIfNegative val="1"/>
            <c:bubble3D val="0"/>
            <c:spPr>
              <a:solidFill>
                <a:srgbClr val="AEABAB"/>
              </a:solidFill>
            </c:spPr>
            <c:extLst>
              <c:ext xmlns:c16="http://schemas.microsoft.com/office/drawing/2014/chart" uri="{C3380CC4-5D6E-409C-BE32-E72D297353CC}">
                <c16:uniqueId val="{000000A3-2993-41DE-A2CB-63102DE87051}"/>
              </c:ext>
            </c:extLst>
          </c:dPt>
          <c:dPt>
            <c:idx val="54"/>
            <c:invertIfNegative val="0"/>
            <c:bubble3D val="0"/>
            <c:spPr>
              <a:solidFill>
                <a:srgbClr val="AEABAB"/>
              </a:solidFill>
            </c:spPr>
            <c:extLst>
              <c:ext xmlns:c16="http://schemas.microsoft.com/office/drawing/2014/chart" uri="{C3380CC4-5D6E-409C-BE32-E72D297353CC}">
                <c16:uniqueId val="{00000072-C76F-4230-900D-40618C09729F}"/>
              </c:ext>
            </c:extLst>
          </c:dPt>
          <c:dPt>
            <c:idx val="55"/>
            <c:invertIfNegative val="0"/>
            <c:bubble3D val="0"/>
            <c:spPr>
              <a:solidFill>
                <a:srgbClr val="AEABAB"/>
              </a:solidFill>
            </c:spPr>
            <c:extLst>
              <c:ext xmlns:c16="http://schemas.microsoft.com/office/drawing/2014/chart" uri="{C3380CC4-5D6E-409C-BE32-E72D297353CC}">
                <c16:uniqueId val="{00000074-C76F-4230-900D-40618C09729F}"/>
              </c:ext>
            </c:extLst>
          </c:dPt>
          <c:dPt>
            <c:idx val="56"/>
            <c:invertIfNegative val="0"/>
            <c:bubble3D val="0"/>
            <c:spPr>
              <a:solidFill>
                <a:srgbClr val="AEABAB"/>
              </a:solidFill>
            </c:spPr>
            <c:extLst>
              <c:ext xmlns:c16="http://schemas.microsoft.com/office/drawing/2014/chart" uri="{C3380CC4-5D6E-409C-BE32-E72D297353CC}">
                <c16:uniqueId val="{00000076-C76F-4230-900D-40618C09729F}"/>
              </c:ext>
            </c:extLst>
          </c:dPt>
          <c:dPt>
            <c:idx val="57"/>
            <c:invertIfNegative val="0"/>
            <c:bubble3D val="0"/>
            <c:spPr>
              <a:solidFill>
                <a:srgbClr val="AEABAB"/>
              </a:solidFill>
            </c:spPr>
            <c:extLst>
              <c:ext xmlns:c16="http://schemas.microsoft.com/office/drawing/2014/chart" uri="{C3380CC4-5D6E-409C-BE32-E72D297353CC}">
                <c16:uniqueId val="{00000078-C76F-4230-900D-40618C09729F}"/>
              </c:ext>
            </c:extLst>
          </c:dPt>
          <c:dPt>
            <c:idx val="58"/>
            <c:invertIfNegative val="0"/>
            <c:bubble3D val="0"/>
            <c:spPr>
              <a:solidFill>
                <a:srgbClr val="AEABAB"/>
              </a:solidFill>
            </c:spPr>
            <c:extLst>
              <c:ext xmlns:c16="http://schemas.microsoft.com/office/drawing/2014/chart" uri="{C3380CC4-5D6E-409C-BE32-E72D297353CC}">
                <c16:uniqueId val="{0000007A-C76F-4230-900D-40618C09729F}"/>
              </c:ext>
            </c:extLst>
          </c:dPt>
          <c:dPt>
            <c:idx val="59"/>
            <c:invertIfNegative val="0"/>
            <c:bubble3D val="0"/>
            <c:spPr>
              <a:solidFill>
                <a:srgbClr val="AEABAB"/>
              </a:solidFill>
            </c:spPr>
            <c:extLst>
              <c:ext xmlns:c16="http://schemas.microsoft.com/office/drawing/2014/chart" uri="{C3380CC4-5D6E-409C-BE32-E72D297353CC}">
                <c16:uniqueId val="{0000007C-C76F-4230-900D-40618C09729F}"/>
              </c:ext>
            </c:extLst>
          </c:dPt>
          <c:dPt>
            <c:idx val="60"/>
            <c:invertIfNegative val="0"/>
            <c:bubble3D val="0"/>
            <c:spPr>
              <a:solidFill>
                <a:srgbClr val="AEABAB"/>
              </a:solidFill>
            </c:spPr>
            <c:extLst>
              <c:ext xmlns:c16="http://schemas.microsoft.com/office/drawing/2014/chart" uri="{C3380CC4-5D6E-409C-BE32-E72D297353CC}">
                <c16:uniqueId val="{0000007E-C76F-4230-900D-40618C09729F}"/>
              </c:ext>
            </c:extLst>
          </c:dPt>
          <c:dPt>
            <c:idx val="61"/>
            <c:invertIfNegative val="0"/>
            <c:bubble3D val="0"/>
            <c:spPr>
              <a:solidFill>
                <a:srgbClr val="AEABAB"/>
              </a:solidFill>
            </c:spPr>
            <c:extLst>
              <c:ext xmlns:c16="http://schemas.microsoft.com/office/drawing/2014/chart" uri="{C3380CC4-5D6E-409C-BE32-E72D297353CC}">
                <c16:uniqueId val="{00000080-C76F-4230-900D-40618C09729F}"/>
              </c:ext>
            </c:extLst>
          </c:dPt>
          <c:dPt>
            <c:idx val="62"/>
            <c:invertIfNegative val="0"/>
            <c:bubble3D val="0"/>
            <c:spPr>
              <a:solidFill>
                <a:srgbClr val="AEABAB"/>
              </a:solidFill>
            </c:spPr>
            <c:extLst>
              <c:ext xmlns:c16="http://schemas.microsoft.com/office/drawing/2014/chart" uri="{C3380CC4-5D6E-409C-BE32-E72D297353CC}">
                <c16:uniqueId val="{00000082-C76F-4230-900D-40618C09729F}"/>
              </c:ext>
            </c:extLst>
          </c:dPt>
          <c:dPt>
            <c:idx val="63"/>
            <c:invertIfNegative val="0"/>
            <c:bubble3D val="0"/>
            <c:spPr>
              <a:solidFill>
                <a:srgbClr val="AEABAB"/>
              </a:solidFill>
            </c:spPr>
            <c:extLst>
              <c:ext xmlns:c16="http://schemas.microsoft.com/office/drawing/2014/chart" uri="{C3380CC4-5D6E-409C-BE32-E72D297353CC}">
                <c16:uniqueId val="{00000084-C76F-4230-900D-40618C09729F}"/>
              </c:ext>
            </c:extLst>
          </c:dPt>
          <c:dPt>
            <c:idx val="64"/>
            <c:invertIfNegative val="0"/>
            <c:bubble3D val="0"/>
            <c:spPr>
              <a:solidFill>
                <a:srgbClr val="AEABAB"/>
              </a:solidFill>
            </c:spPr>
            <c:extLst>
              <c:ext xmlns:c16="http://schemas.microsoft.com/office/drawing/2014/chart" uri="{C3380CC4-5D6E-409C-BE32-E72D297353CC}">
                <c16:uniqueId val="{00000086-C76F-4230-900D-40618C09729F}"/>
              </c:ext>
            </c:extLst>
          </c:dPt>
          <c:dPt>
            <c:idx val="65"/>
            <c:invertIfNegative val="0"/>
            <c:bubble3D val="0"/>
            <c:spPr>
              <a:solidFill>
                <a:srgbClr val="AEABAB"/>
              </a:solidFill>
            </c:spPr>
            <c:extLst>
              <c:ext xmlns:c16="http://schemas.microsoft.com/office/drawing/2014/chart" uri="{C3380CC4-5D6E-409C-BE32-E72D297353CC}">
                <c16:uniqueId val="{00000088-C76F-4230-900D-40618C09729F}"/>
              </c:ext>
            </c:extLst>
          </c:dPt>
          <c:dPt>
            <c:idx val="66"/>
            <c:invertIfNegative val="0"/>
            <c:bubble3D val="0"/>
            <c:spPr>
              <a:solidFill>
                <a:srgbClr val="AEABAB"/>
              </a:solidFill>
            </c:spPr>
            <c:extLst>
              <c:ext xmlns:c16="http://schemas.microsoft.com/office/drawing/2014/chart" uri="{C3380CC4-5D6E-409C-BE32-E72D297353CC}">
                <c16:uniqueId val="{0000008A-C76F-4230-900D-40618C09729F}"/>
              </c:ext>
            </c:extLst>
          </c:dPt>
          <c:dPt>
            <c:idx val="67"/>
            <c:invertIfNegative val="0"/>
            <c:bubble3D val="0"/>
            <c:spPr>
              <a:solidFill>
                <a:srgbClr val="AEABAB"/>
              </a:solidFill>
            </c:spPr>
            <c:extLst>
              <c:ext xmlns:c16="http://schemas.microsoft.com/office/drawing/2014/chart" uri="{C3380CC4-5D6E-409C-BE32-E72D297353CC}">
                <c16:uniqueId val="{0000008C-C76F-4230-900D-40618C09729F}"/>
              </c:ext>
            </c:extLst>
          </c:dPt>
          <c:dPt>
            <c:idx val="68"/>
            <c:invertIfNegative val="0"/>
            <c:bubble3D val="0"/>
            <c:spPr>
              <a:solidFill>
                <a:srgbClr val="AEABAB"/>
              </a:solidFill>
            </c:spPr>
            <c:extLst>
              <c:ext xmlns:c16="http://schemas.microsoft.com/office/drawing/2014/chart" uri="{C3380CC4-5D6E-409C-BE32-E72D297353CC}">
                <c16:uniqueId val="{0000008E-C76F-4230-900D-40618C09729F}"/>
              </c:ext>
            </c:extLst>
          </c:dPt>
          <c:dPt>
            <c:idx val="69"/>
            <c:invertIfNegative val="0"/>
            <c:bubble3D val="0"/>
            <c:spPr>
              <a:solidFill>
                <a:srgbClr val="AEABAB"/>
              </a:solidFill>
            </c:spPr>
            <c:extLst>
              <c:ext xmlns:c16="http://schemas.microsoft.com/office/drawing/2014/chart" uri="{C3380CC4-5D6E-409C-BE32-E72D297353CC}">
                <c16:uniqueId val="{00000090-C76F-4230-900D-40618C09729F}"/>
              </c:ext>
            </c:extLst>
          </c:dPt>
          <c:dPt>
            <c:idx val="70"/>
            <c:invertIfNegative val="0"/>
            <c:bubble3D val="0"/>
            <c:spPr>
              <a:solidFill>
                <a:srgbClr val="AEABAB"/>
              </a:solidFill>
            </c:spPr>
            <c:extLst>
              <c:ext xmlns:c16="http://schemas.microsoft.com/office/drawing/2014/chart" uri="{C3380CC4-5D6E-409C-BE32-E72D297353CC}">
                <c16:uniqueId val="{00000092-C76F-4230-900D-40618C09729F}"/>
              </c:ext>
            </c:extLst>
          </c:dPt>
          <c:dPt>
            <c:idx val="71"/>
            <c:invertIfNegative val="0"/>
            <c:bubble3D val="0"/>
            <c:spPr>
              <a:solidFill>
                <a:srgbClr val="AEABAB"/>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73</c:f>
              <c:strCache>
                <c:ptCount val="72"/>
                <c:pt idx="0">
                  <c:v>All Others</c:v>
                </c:pt>
                <c:pt idx="1">
                  <c:v>Bottega</c:v>
                </c:pt>
                <c:pt idx="2">
                  <c:v>Patriarche</c:v>
                </c:pt>
                <c:pt idx="3">
                  <c:v>Mure</c:v>
                </c:pt>
                <c:pt idx="4">
                  <c:v>Savian</c:v>
                </c:pt>
                <c:pt idx="5">
                  <c:v>French Bloo</c:v>
                </c:pt>
                <c:pt idx="6">
                  <c:v>Bouvet-Ladu</c:v>
                </c:pt>
                <c:pt idx="7">
                  <c:v>De Chanceny</c:v>
                </c:pt>
                <c:pt idx="8">
                  <c:v>All Others</c:v>
                </c:pt>
                <c:pt idx="9">
                  <c:v>Patriarche</c:v>
                </c:pt>
                <c:pt idx="10">
                  <c:v>Kriter</c:v>
                </c:pt>
                <c:pt idx="11">
                  <c:v>Bottega</c:v>
                </c:pt>
                <c:pt idx="12">
                  <c:v>All Others</c:v>
                </c:pt>
                <c:pt idx="13">
                  <c:v>Contarini</c:v>
                </c:pt>
                <c:pt idx="14">
                  <c:v>Cru La Maqu</c:v>
                </c:pt>
                <c:pt idx="15">
                  <c:v>All Others</c:v>
                </c:pt>
                <c:pt idx="16">
                  <c:v>All Others</c:v>
                </c:pt>
                <c:pt idx="17">
                  <c:v>All Others</c:v>
                </c:pt>
                <c:pt idx="18">
                  <c:v>All Others</c:v>
                </c:pt>
                <c:pt idx="19">
                  <c:v>All Others</c:v>
                </c:pt>
                <c:pt idx="20">
                  <c:v>All Others</c:v>
                </c:pt>
                <c:pt idx="21">
                  <c:v>Contarini</c:v>
                </c:pt>
                <c:pt idx="22">
                  <c:v>All Others</c:v>
                </c:pt>
                <c:pt idx="23">
                  <c:v>All Others</c:v>
                </c:pt>
                <c:pt idx="24">
                  <c:v>All Others</c:v>
                </c:pt>
                <c:pt idx="25">
                  <c:v>All Others</c:v>
                </c:pt>
                <c:pt idx="26">
                  <c:v>All Others</c:v>
                </c:pt>
                <c:pt idx="27">
                  <c:v>All Others</c:v>
                </c:pt>
                <c:pt idx="28">
                  <c:v>All Others</c:v>
                </c:pt>
                <c:pt idx="29">
                  <c:v>Bouvet-Ladu</c:v>
                </c:pt>
                <c:pt idx="30">
                  <c:v>All Others</c:v>
                </c:pt>
                <c:pt idx="31">
                  <c:v>All Others</c:v>
                </c:pt>
                <c:pt idx="32">
                  <c:v>All Others</c:v>
                </c:pt>
                <c:pt idx="33">
                  <c:v>Bouvet-Ladu</c:v>
                </c:pt>
                <c:pt idx="34">
                  <c:v>All Others</c:v>
                </c:pt>
                <c:pt idx="35">
                  <c:v>All Others</c:v>
                </c:pt>
                <c:pt idx="36">
                  <c:v>All Others</c:v>
                </c:pt>
                <c:pt idx="37">
                  <c:v>All Others</c:v>
                </c:pt>
                <c:pt idx="38">
                  <c:v>Mure</c:v>
                </c:pt>
                <c:pt idx="39">
                  <c:v>Bouvet-Ladu</c:v>
                </c:pt>
                <c:pt idx="40">
                  <c:v>All Others</c:v>
                </c:pt>
                <c:pt idx="41">
                  <c:v>All Others</c:v>
                </c:pt>
                <c:pt idx="42">
                  <c:v>Celene</c:v>
                </c:pt>
                <c:pt idx="43">
                  <c:v>All Others</c:v>
                </c:pt>
                <c:pt idx="44">
                  <c:v>Mure</c:v>
                </c:pt>
                <c:pt idx="45">
                  <c:v>Celene</c:v>
                </c:pt>
                <c:pt idx="46">
                  <c:v>All Others</c:v>
                </c:pt>
                <c:pt idx="47">
                  <c:v>All Others</c:v>
                </c:pt>
                <c:pt idx="48">
                  <c:v>All Others</c:v>
                </c:pt>
                <c:pt idx="49">
                  <c:v>All Others</c:v>
                </c:pt>
                <c:pt idx="50">
                  <c:v>All Others</c:v>
                </c:pt>
                <c:pt idx="51">
                  <c:v>All Others</c:v>
                </c:pt>
                <c:pt idx="52">
                  <c:v>Jaillance</c:v>
                </c:pt>
                <c:pt idx="53">
                  <c:v>Bottega</c:v>
                </c:pt>
                <c:pt idx="54">
                  <c:v>All Others</c:v>
                </c:pt>
                <c:pt idx="55">
                  <c:v>All Others</c:v>
                </c:pt>
                <c:pt idx="56">
                  <c:v>All Others</c:v>
                </c:pt>
                <c:pt idx="57">
                  <c:v>Bouvet-Ladu</c:v>
                </c:pt>
                <c:pt idx="58">
                  <c:v>Bouvet-Ladu</c:v>
                </c:pt>
                <c:pt idx="59">
                  <c:v>All Others</c:v>
                </c:pt>
                <c:pt idx="60">
                  <c:v>All Others</c:v>
                </c:pt>
                <c:pt idx="61">
                  <c:v>All Others</c:v>
                </c:pt>
                <c:pt idx="62">
                  <c:v>Bouvet-Ladu</c:v>
                </c:pt>
                <c:pt idx="63">
                  <c:v>Bottega</c:v>
                </c:pt>
                <c:pt idx="64">
                  <c:v>All Others</c:v>
                </c:pt>
                <c:pt idx="65">
                  <c:v>All Others</c:v>
                </c:pt>
                <c:pt idx="66">
                  <c:v>All Others</c:v>
                </c:pt>
                <c:pt idx="67">
                  <c:v>All Others</c:v>
                </c:pt>
                <c:pt idx="68">
                  <c:v>All Others</c:v>
                </c:pt>
                <c:pt idx="69">
                  <c:v>All Others</c:v>
                </c:pt>
                <c:pt idx="70">
                  <c:v>All Others</c:v>
                </c:pt>
                <c:pt idx="71">
                  <c:v>Bottega</c:v>
                </c:pt>
              </c:strCache>
            </c:strRef>
          </c:cat>
          <c:val>
            <c:numRef>
              <c:f>Sheet1!$C$2:$C$73</c:f>
              <c:numCache>
                <c:formatCode>General</c:formatCode>
                <c:ptCount val="72"/>
                <c:pt idx="0">
                  <c:v>0.15978471382560963</c:v>
                </c:pt>
                <c:pt idx="1">
                  <c:v>0.28075284014914004</c:v>
                </c:pt>
                <c:pt idx="2">
                  <c:v>0.36700154762472192</c:v>
                </c:pt>
                <c:pt idx="3">
                  <c:v>0.45181303603893674</c:v>
                </c:pt>
                <c:pt idx="4">
                  <c:v>0.53552046784763441</c:v>
                </c:pt>
                <c:pt idx="5">
                  <c:v>0.60921892129292332</c:v>
                </c:pt>
                <c:pt idx="6">
                  <c:v>0.67299253813372617</c:v>
                </c:pt>
                <c:pt idx="7">
                  <c:v>0.71643838148219852</c:v>
                </c:pt>
                <c:pt idx="8">
                  <c:v>0.7518800576249457</c:v>
                </c:pt>
                <c:pt idx="9">
                  <c:v>0.77830300176940881</c:v>
                </c:pt>
                <c:pt idx="10">
                  <c:v>0.80161026899098953</c:v>
                </c:pt>
                <c:pt idx="11">
                  <c:v>0.82180429113243136</c:v>
                </c:pt>
                <c:pt idx="12">
                  <c:v>0.83910442040919164</c:v>
                </c:pt>
                <c:pt idx="13">
                  <c:v>0.85446637101943823</c:v>
                </c:pt>
                <c:pt idx="14">
                  <c:v>0.86931277096807769</c:v>
                </c:pt>
                <c:pt idx="15">
                  <c:v>0.8828080390884675</c:v>
                </c:pt>
                <c:pt idx="16">
                  <c:v>0.89510635421054119</c:v>
                </c:pt>
                <c:pt idx="17">
                  <c:v>0.90692802815490259</c:v>
                </c:pt>
                <c:pt idx="18">
                  <c:v>0.91760333143001116</c:v>
                </c:pt>
                <c:pt idx="19">
                  <c:v>0.9245141421382902</c:v>
                </c:pt>
                <c:pt idx="20">
                  <c:v>0.93119927783997891</c:v>
                </c:pt>
                <c:pt idx="21">
                  <c:v>0.93708774185892008</c:v>
                </c:pt>
                <c:pt idx="22">
                  <c:v>0.94288379585361093</c:v>
                </c:pt>
                <c:pt idx="23">
                  <c:v>0.948375869505373</c:v>
                </c:pt>
                <c:pt idx="24">
                  <c:v>0.95330570111485413</c:v>
                </c:pt>
                <c:pt idx="25">
                  <c:v>0.95681922751056159</c:v>
                </c:pt>
                <c:pt idx="26">
                  <c:v>0.95997138207459543</c:v>
                </c:pt>
                <c:pt idx="27">
                  <c:v>0.96261868608509316</c:v>
                </c:pt>
                <c:pt idx="28">
                  <c:v>0.96514828890680893</c:v>
                </c:pt>
                <c:pt idx="29">
                  <c:v>0.96760639555186789</c:v>
                </c:pt>
                <c:pt idx="30">
                  <c:v>0.96984077266453128</c:v>
                </c:pt>
                <c:pt idx="31">
                  <c:v>0.97206882698606178</c:v>
                </c:pt>
                <c:pt idx="32">
                  <c:v>0.97424094892449331</c:v>
                </c:pt>
                <c:pt idx="33">
                  <c:v>0.97638340238145505</c:v>
                </c:pt>
                <c:pt idx="34">
                  <c:v>0.97841301833512162</c:v>
                </c:pt>
                <c:pt idx="35">
                  <c:v>0.9803093693064483</c:v>
                </c:pt>
                <c:pt idx="36">
                  <c:v>0.98215173336887074</c:v>
                </c:pt>
                <c:pt idx="37">
                  <c:v>0.98393135588851277</c:v>
                </c:pt>
                <c:pt idx="38">
                  <c:v>0.98557236337177923</c:v>
                </c:pt>
                <c:pt idx="39">
                  <c:v>0.98718418874212455</c:v>
                </c:pt>
                <c:pt idx="40">
                  <c:v>0.98878871858423956</c:v>
                </c:pt>
                <c:pt idx="41">
                  <c:v>0.9903806028440888</c:v>
                </c:pt>
                <c:pt idx="42">
                  <c:v>0.99157171941982081</c:v>
                </c:pt>
                <c:pt idx="43">
                  <c:v>0.99246858302359775</c:v>
                </c:pt>
                <c:pt idx="44">
                  <c:v>0.99332167345799294</c:v>
                </c:pt>
                <c:pt idx="45">
                  <c:v>0.99413342256574988</c:v>
                </c:pt>
                <c:pt idx="46">
                  <c:v>0.9948799982879829</c:v>
                </c:pt>
                <c:pt idx="47">
                  <c:v>0.99550741371578777</c:v>
                </c:pt>
                <c:pt idx="48">
                  <c:v>0.99609932423953862</c:v>
                </c:pt>
                <c:pt idx="49">
                  <c:v>0.99661098395275627</c:v>
                </c:pt>
                <c:pt idx="50">
                  <c:v>0.99702488358768804</c:v>
                </c:pt>
                <c:pt idx="51">
                  <c:v>0.99739987373872496</c:v>
                </c:pt>
                <c:pt idx="52">
                  <c:v>0.9977549227792657</c:v>
                </c:pt>
                <c:pt idx="53">
                  <c:v>0.99803944838024694</c:v>
                </c:pt>
                <c:pt idx="54">
                  <c:v>0.998285550865882</c:v>
                </c:pt>
                <c:pt idx="55">
                  <c:v>0.998528735140225</c:v>
                </c:pt>
                <c:pt idx="56">
                  <c:v>0.9986941004467782</c:v>
                </c:pt>
                <c:pt idx="57">
                  <c:v>0.9988409837484814</c:v>
                </c:pt>
                <c:pt idx="58">
                  <c:v>0.99897278962517533</c:v>
                </c:pt>
                <c:pt idx="59">
                  <c:v>0.99908903170831131</c:v>
                </c:pt>
                <c:pt idx="60">
                  <c:v>0.99919262820918142</c:v>
                </c:pt>
                <c:pt idx="61">
                  <c:v>0.99936188446412422</c:v>
                </c:pt>
                <c:pt idx="62">
                  <c:v>0.9994275442181968</c:v>
                </c:pt>
                <c:pt idx="63">
                  <c:v>0.99964543732800804</c:v>
                </c:pt>
                <c:pt idx="64">
                  <c:v>0.99968921049738979</c:v>
                </c:pt>
                <c:pt idx="65">
                  <c:v>0.99980302073778238</c:v>
                </c:pt>
                <c:pt idx="66">
                  <c:v>0.99986722138620898</c:v>
                </c:pt>
                <c:pt idx="67">
                  <c:v>0.99989445802493537</c:v>
                </c:pt>
                <c:pt idx="68">
                  <c:v>0.9999163446096262</c:v>
                </c:pt>
                <c:pt idx="69">
                  <c:v>0.99995622683061847</c:v>
                </c:pt>
                <c:pt idx="70">
                  <c:v>0.9999829771007962</c:v>
                </c:pt>
                <c:pt idx="71">
                  <c:v>1.0000000000000002</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84</c:f>
              <c:strCache>
                <c:ptCount val="83"/>
                <c:pt idx="0">
                  <c:v>All Others</c:v>
                </c:pt>
                <c:pt idx="1">
                  <c:v>Patriarche</c:v>
                </c:pt>
                <c:pt idx="2">
                  <c:v>Bottega</c:v>
                </c:pt>
                <c:pt idx="3">
                  <c:v>Mure</c:v>
                </c:pt>
                <c:pt idx="4">
                  <c:v>Bouvet-Ladu</c:v>
                </c:pt>
                <c:pt idx="5">
                  <c:v>French Bloo</c:v>
                </c:pt>
                <c:pt idx="6">
                  <c:v>Savian</c:v>
                </c:pt>
                <c:pt idx="7">
                  <c:v>De Chanceny</c:v>
                </c:pt>
                <c:pt idx="8">
                  <c:v>Patriarche</c:v>
                </c:pt>
                <c:pt idx="9">
                  <c:v>Kriter</c:v>
                </c:pt>
                <c:pt idx="10">
                  <c:v>All Others</c:v>
                </c:pt>
                <c:pt idx="11">
                  <c:v>All Others</c:v>
                </c:pt>
                <c:pt idx="12">
                  <c:v>Bottega</c:v>
                </c:pt>
                <c:pt idx="13">
                  <c:v>All Others</c:v>
                </c:pt>
                <c:pt idx="14">
                  <c:v>All Others</c:v>
                </c:pt>
                <c:pt idx="15">
                  <c:v>Cru La Maqu</c:v>
                </c:pt>
                <c:pt idx="16">
                  <c:v>Contarini</c:v>
                </c:pt>
                <c:pt idx="17">
                  <c:v>All Others</c:v>
                </c:pt>
                <c:pt idx="18">
                  <c:v>All Others</c:v>
                </c:pt>
                <c:pt idx="19">
                  <c:v>All Others</c:v>
                </c:pt>
                <c:pt idx="20">
                  <c:v>All Others</c:v>
                </c:pt>
                <c:pt idx="21">
                  <c:v>All Others</c:v>
                </c:pt>
                <c:pt idx="22">
                  <c:v>Contarini</c:v>
                </c:pt>
                <c:pt idx="23">
                  <c:v>All Others</c:v>
                </c:pt>
                <c:pt idx="24">
                  <c:v>All Others</c:v>
                </c:pt>
                <c:pt idx="25">
                  <c:v>All Others</c:v>
                </c:pt>
                <c:pt idx="26">
                  <c:v>All Others</c:v>
                </c:pt>
                <c:pt idx="27">
                  <c:v>All Others</c:v>
                </c:pt>
                <c:pt idx="28">
                  <c:v>All Others</c:v>
                </c:pt>
                <c:pt idx="29">
                  <c:v>All Others</c:v>
                </c:pt>
                <c:pt idx="30">
                  <c:v>Bouvet-Ladu</c:v>
                </c:pt>
                <c:pt idx="31">
                  <c:v>All Others</c:v>
                </c:pt>
                <c:pt idx="32">
                  <c:v>All Others</c:v>
                </c:pt>
                <c:pt idx="33">
                  <c:v>All Others</c:v>
                </c:pt>
                <c:pt idx="34">
                  <c:v>Bouvet-Ladu</c:v>
                </c:pt>
                <c:pt idx="35">
                  <c:v>All Others</c:v>
                </c:pt>
                <c:pt idx="36">
                  <c:v>Bouvet-Ladu</c:v>
                </c:pt>
                <c:pt idx="37">
                  <c:v>All Others</c:v>
                </c:pt>
                <c:pt idx="38">
                  <c:v>Celene</c:v>
                </c:pt>
                <c:pt idx="39">
                  <c:v>Celene</c:v>
                </c:pt>
                <c:pt idx="40">
                  <c:v>All Others</c:v>
                </c:pt>
                <c:pt idx="41">
                  <c:v>All Others</c:v>
                </c:pt>
                <c:pt idx="42">
                  <c:v>All Others</c:v>
                </c:pt>
                <c:pt idx="43">
                  <c:v>All Others</c:v>
                </c:pt>
                <c:pt idx="44">
                  <c:v>Bottega</c:v>
                </c:pt>
                <c:pt idx="45">
                  <c:v>All Others</c:v>
                </c:pt>
                <c:pt idx="46">
                  <c:v>All Others</c:v>
                </c:pt>
                <c:pt idx="47">
                  <c:v>All Others</c:v>
                </c:pt>
                <c:pt idx="48">
                  <c:v>All Others</c:v>
                </c:pt>
                <c:pt idx="49">
                  <c:v>All Others</c:v>
                </c:pt>
                <c:pt idx="50">
                  <c:v>All Others</c:v>
                </c:pt>
                <c:pt idx="51">
                  <c:v>All Others</c:v>
                </c:pt>
                <c:pt idx="52">
                  <c:v>All Others</c:v>
                </c:pt>
                <c:pt idx="53">
                  <c:v>All Others</c:v>
                </c:pt>
                <c:pt idx="54">
                  <c:v>All Others</c:v>
                </c:pt>
                <c:pt idx="55">
                  <c:v>All Others</c:v>
                </c:pt>
                <c:pt idx="56">
                  <c:v>All Others</c:v>
                </c:pt>
                <c:pt idx="57">
                  <c:v>All Others</c:v>
                </c:pt>
                <c:pt idx="58">
                  <c:v>All Others</c:v>
                </c:pt>
                <c:pt idx="59">
                  <c:v>All Others</c:v>
                </c:pt>
                <c:pt idx="60">
                  <c:v>All Others</c:v>
                </c:pt>
                <c:pt idx="61">
                  <c:v>Bouvet-Ladu</c:v>
                </c:pt>
                <c:pt idx="62">
                  <c:v>Jaillance</c:v>
                </c:pt>
                <c:pt idx="63">
                  <c:v>All Others</c:v>
                </c:pt>
                <c:pt idx="64">
                  <c:v>All Others</c:v>
                </c:pt>
                <c:pt idx="65">
                  <c:v>Bouvet-Ladu</c:v>
                </c:pt>
                <c:pt idx="66">
                  <c:v>Bouvet-Ladu</c:v>
                </c:pt>
                <c:pt idx="67">
                  <c:v>All Others</c:v>
                </c:pt>
                <c:pt idx="68">
                  <c:v>Bouvet-Ladu</c:v>
                </c:pt>
                <c:pt idx="69">
                  <c:v>Bottega</c:v>
                </c:pt>
                <c:pt idx="70">
                  <c:v>All Others</c:v>
                </c:pt>
                <c:pt idx="71">
                  <c:v>All Others</c:v>
                </c:pt>
                <c:pt idx="72">
                  <c:v>All Others</c:v>
                </c:pt>
                <c:pt idx="73">
                  <c:v>All Others</c:v>
                </c:pt>
                <c:pt idx="74">
                  <c:v>All Others</c:v>
                </c:pt>
                <c:pt idx="75">
                  <c:v>All Others</c:v>
                </c:pt>
                <c:pt idx="76">
                  <c:v>All Others</c:v>
                </c:pt>
                <c:pt idx="77">
                  <c:v>All Others</c:v>
                </c:pt>
                <c:pt idx="78">
                  <c:v>All Others</c:v>
                </c:pt>
                <c:pt idx="79">
                  <c:v>French Bloo</c:v>
                </c:pt>
                <c:pt idx="80">
                  <c:v>All Others</c:v>
                </c:pt>
                <c:pt idx="81">
                  <c:v>All Others</c:v>
                </c:pt>
                <c:pt idx="82">
                  <c:v>All Others</c:v>
                </c:pt>
              </c:strCache>
            </c:strRef>
          </c:cat>
          <c:val>
            <c:numRef>
              <c:f>Sheet1!$B$2:$B$84</c:f>
              <c:numCache>
                <c:formatCode>General</c:formatCode>
                <c:ptCount val="83"/>
                <c:pt idx="0">
                  <c:v>0.84</c:v>
                </c:pt>
                <c:pt idx="1">
                  <c:v>0.85</c:v>
                </c:pt>
                <c:pt idx="2">
                  <c:v>0.71</c:v>
                </c:pt>
                <c:pt idx="3">
                  <c:v>0.73</c:v>
                </c:pt>
                <c:pt idx="4">
                  <c:v>0.62</c:v>
                </c:pt>
                <c:pt idx="5">
                  <c:v>0.64</c:v>
                </c:pt>
                <c:pt idx="6">
                  <c:v>0.72</c:v>
                </c:pt>
                <c:pt idx="7">
                  <c:v>0.49</c:v>
                </c:pt>
                <c:pt idx="8">
                  <c:v>0.55000000000000004</c:v>
                </c:pt>
                <c:pt idx="9">
                  <c:v>0.46</c:v>
                </c:pt>
                <c:pt idx="10">
                  <c:v>0.34</c:v>
                </c:pt>
                <c:pt idx="11">
                  <c:v>0.08</c:v>
                </c:pt>
                <c:pt idx="12">
                  <c:v>0.4</c:v>
                </c:pt>
                <c:pt idx="13">
                  <c:v>0.56000000000000005</c:v>
                </c:pt>
                <c:pt idx="14">
                  <c:v>0.3</c:v>
                </c:pt>
                <c:pt idx="15">
                  <c:v>0.34</c:v>
                </c:pt>
                <c:pt idx="16">
                  <c:v>0.76</c:v>
                </c:pt>
                <c:pt idx="17">
                  <c:v>0.24</c:v>
                </c:pt>
                <c:pt idx="18">
                  <c:v>0.05</c:v>
                </c:pt>
                <c:pt idx="19">
                  <c:v>0.2</c:v>
                </c:pt>
                <c:pt idx="20">
                  <c:v>0.18</c:v>
                </c:pt>
                <c:pt idx="21">
                  <c:v>0.05</c:v>
                </c:pt>
                <c:pt idx="22">
                  <c:v>0.12</c:v>
                </c:pt>
                <c:pt idx="23">
                  <c:v>0.01</c:v>
                </c:pt>
                <c:pt idx="24">
                  <c:v>0.14000000000000001</c:v>
                </c:pt>
                <c:pt idx="25">
                  <c:v>0.01</c:v>
                </c:pt>
                <c:pt idx="26">
                  <c:v>0.04</c:v>
                </c:pt>
                <c:pt idx="27">
                  <c:v>0.01</c:v>
                </c:pt>
                <c:pt idx="28">
                  <c:v>0.1</c:v>
                </c:pt>
                <c:pt idx="29">
                  <c:v>0.09</c:v>
                </c:pt>
                <c:pt idx="30">
                  <c:v>0.05</c:v>
                </c:pt>
                <c:pt idx="31">
                  <c:v>0.08</c:v>
                </c:pt>
                <c:pt idx="32">
                  <c:v>0.15</c:v>
                </c:pt>
                <c:pt idx="33">
                  <c:v>0.02</c:v>
                </c:pt>
                <c:pt idx="34">
                  <c:v>0.08</c:v>
                </c:pt>
                <c:pt idx="35">
                  <c:v>0.02</c:v>
                </c:pt>
                <c:pt idx="36">
                  <c:v>0.05</c:v>
                </c:pt>
                <c:pt idx="37">
                  <c:v>0.01</c:v>
                </c:pt>
                <c:pt idx="38">
                  <c:v>0.06</c:v>
                </c:pt>
                <c:pt idx="39">
                  <c:v>0.05</c:v>
                </c:pt>
                <c:pt idx="40">
                  <c:v>0.02</c:v>
                </c:pt>
                <c:pt idx="41">
                  <c:v>7.0000000000000007E-2</c:v>
                </c:pt>
                <c:pt idx="42">
                  <c:v>0.01</c:v>
                </c:pt>
                <c:pt idx="43">
                  <c:v>0.02</c:v>
                </c:pt>
                <c:pt idx="44">
                  <c:v>0.05</c:v>
                </c:pt>
                <c:pt idx="45">
                  <c:v>0.01</c:v>
                </c:pt>
                <c:pt idx="46">
                  <c:v>0.01</c:v>
                </c:pt>
                <c:pt idx="47">
                  <c:v>0.02</c:v>
                </c:pt>
                <c:pt idx="48">
                  <c:v>0.02</c:v>
                </c:pt>
                <c:pt idx="49">
                  <c:v>0.04</c:v>
                </c:pt>
                <c:pt idx="50">
                  <c:v>0.01</c:v>
                </c:pt>
                <c:pt idx="51">
                  <c:v>0.01</c:v>
                </c:pt>
                <c:pt idx="52">
                  <c:v>0.02</c:v>
                </c:pt>
                <c:pt idx="53">
                  <c:v>0.05</c:v>
                </c:pt>
                <c:pt idx="54">
                  <c:v>0.01</c:v>
                </c:pt>
                <c:pt idx="55">
                  <c:v>0.01</c:v>
                </c:pt>
                <c:pt idx="56">
                  <c:v>0.02</c:v>
                </c:pt>
                <c:pt idx="57">
                  <c:v>0.01</c:v>
                </c:pt>
                <c:pt idx="58">
                  <c:v>0.02</c:v>
                </c:pt>
                <c:pt idx="59">
                  <c:v>0.01</c:v>
                </c:pt>
                <c:pt idx="60">
                  <c:v>0.03</c:v>
                </c:pt>
                <c:pt idx="61">
                  <c:v>0.03</c:v>
                </c:pt>
                <c:pt idx="62">
                  <c:v>0.02</c:v>
                </c:pt>
                <c:pt idx="63">
                  <c:v>0.02</c:v>
                </c:pt>
                <c:pt idx="64">
                  <c:v>0.01</c:v>
                </c:pt>
                <c:pt idx="65">
                  <c:v>0.01</c:v>
                </c:pt>
                <c:pt idx="66">
                  <c:v>0.02</c:v>
                </c:pt>
                <c:pt idx="67">
                  <c:v>0.02</c:v>
                </c:pt>
                <c:pt idx="68">
                  <c:v>0.01</c:v>
                </c:pt>
                <c:pt idx="69">
                  <c:v>0.01</c:v>
                </c:pt>
                <c:pt idx="70">
                  <c:v>0.01</c:v>
                </c:pt>
                <c:pt idx="71">
                  <c:v>0.01</c:v>
                </c:pt>
                <c:pt idx="72">
                  <c:v>0.03</c:v>
                </c:pt>
                <c:pt idx="73">
                  <c:v>0.01</c:v>
                </c:pt>
                <c:pt idx="74">
                  <c:v>0.01</c:v>
                </c:pt>
                <c:pt idx="75">
                  <c:v>0.01</c:v>
                </c:pt>
                <c:pt idx="76">
                  <c:v>0.03</c:v>
                </c:pt>
                <c:pt idx="77">
                  <c:v>0.01</c:v>
                </c:pt>
                <c:pt idx="78">
                  <c:v>0.01</c:v>
                </c:pt>
                <c:pt idx="79">
                  <c:v>0.01</c:v>
                </c:pt>
                <c:pt idx="80">
                  <c:v>0.01</c:v>
                </c:pt>
                <c:pt idx="81">
                  <c:v>0.01</c:v>
                </c:pt>
                <c:pt idx="82">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7ECAC4"/>
              </a:solidFill>
            </c:spPr>
            <c:extLst>
              <c:ext xmlns:c16="http://schemas.microsoft.com/office/drawing/2014/chart" uri="{C3380CC4-5D6E-409C-BE32-E72D297353CC}">
                <c16:uniqueId val="{00000053-2993-41DE-A2CB-63102DE87051}"/>
              </c:ext>
            </c:extLst>
          </c:dPt>
          <c:dPt>
            <c:idx val="14"/>
            <c:invertIfNegative val="1"/>
            <c:bubble3D val="0"/>
            <c:spPr>
              <a:solidFill>
                <a:srgbClr val="7ECAC4"/>
              </a:solidFill>
            </c:spPr>
            <c:extLst>
              <c:ext xmlns:c16="http://schemas.microsoft.com/office/drawing/2014/chart" uri="{C3380CC4-5D6E-409C-BE32-E72D297353CC}">
                <c16:uniqueId val="{00000055-2993-41DE-A2CB-63102DE87051}"/>
              </c:ext>
            </c:extLst>
          </c:dPt>
          <c:dPt>
            <c:idx val="15"/>
            <c:invertIfNegative val="1"/>
            <c:bubble3D val="0"/>
            <c:spPr>
              <a:solidFill>
                <a:srgbClr val="7ECAC4"/>
              </a:solidFill>
            </c:spPr>
            <c:extLst>
              <c:ext xmlns:c16="http://schemas.microsoft.com/office/drawing/2014/chart" uri="{C3380CC4-5D6E-409C-BE32-E72D297353CC}">
                <c16:uniqueId val="{00000057-2993-41DE-A2CB-63102DE87051}"/>
              </c:ext>
            </c:extLst>
          </c:dPt>
          <c:dPt>
            <c:idx val="16"/>
            <c:invertIfNegative val="1"/>
            <c:bubble3D val="0"/>
            <c:spPr>
              <a:solidFill>
                <a:srgbClr val="7ECAC4"/>
              </a:solidFill>
            </c:spPr>
            <c:extLst>
              <c:ext xmlns:c16="http://schemas.microsoft.com/office/drawing/2014/chart" uri="{C3380CC4-5D6E-409C-BE32-E72D297353CC}">
                <c16:uniqueId val="{00000059-2993-41DE-A2CB-63102DE87051}"/>
              </c:ext>
            </c:extLst>
          </c:dPt>
          <c:dPt>
            <c:idx val="17"/>
            <c:invertIfNegative val="1"/>
            <c:bubble3D val="0"/>
            <c:spPr>
              <a:solidFill>
                <a:srgbClr val="7ECAC4"/>
              </a:solidFill>
            </c:spPr>
            <c:extLst>
              <c:ext xmlns:c16="http://schemas.microsoft.com/office/drawing/2014/chart" uri="{C3380CC4-5D6E-409C-BE32-E72D297353CC}">
                <c16:uniqueId val="{0000005B-2993-41DE-A2CB-63102DE87051}"/>
              </c:ext>
            </c:extLst>
          </c:dPt>
          <c:dPt>
            <c:idx val="18"/>
            <c:invertIfNegative val="1"/>
            <c:bubble3D val="0"/>
            <c:spPr>
              <a:solidFill>
                <a:srgbClr val="7ECAC4"/>
              </a:solidFill>
            </c:spPr>
            <c:extLst>
              <c:ext xmlns:c16="http://schemas.microsoft.com/office/drawing/2014/chart" uri="{C3380CC4-5D6E-409C-BE32-E72D297353CC}">
                <c16:uniqueId val="{0000005D-2993-41DE-A2CB-63102DE87051}"/>
              </c:ext>
            </c:extLst>
          </c:dPt>
          <c:dPt>
            <c:idx val="19"/>
            <c:invertIfNegative val="1"/>
            <c:bubble3D val="0"/>
            <c:spPr>
              <a:solidFill>
                <a:srgbClr val="7ECAC4"/>
              </a:solidFill>
            </c:spPr>
            <c:extLst>
              <c:ext xmlns:c16="http://schemas.microsoft.com/office/drawing/2014/chart" uri="{C3380CC4-5D6E-409C-BE32-E72D297353CC}">
                <c16:uniqueId val="{0000005F-2993-41DE-A2CB-63102DE87051}"/>
              </c:ext>
            </c:extLst>
          </c:dPt>
          <c:dPt>
            <c:idx val="20"/>
            <c:invertIfNegative val="1"/>
            <c:bubble3D val="0"/>
            <c:spPr>
              <a:solidFill>
                <a:srgbClr val="7ECAC4"/>
              </a:solidFill>
            </c:spPr>
            <c:extLst>
              <c:ext xmlns:c16="http://schemas.microsoft.com/office/drawing/2014/chart" uri="{C3380CC4-5D6E-409C-BE32-E72D297353CC}">
                <c16:uniqueId val="{00000061-2993-41DE-A2CB-63102DE87051}"/>
              </c:ext>
            </c:extLst>
          </c:dPt>
          <c:dPt>
            <c:idx val="21"/>
            <c:invertIfNegative val="1"/>
            <c:bubble3D val="0"/>
            <c:spPr>
              <a:solidFill>
                <a:srgbClr val="7ECAC4"/>
              </a:solidFill>
            </c:spPr>
            <c:extLst>
              <c:ext xmlns:c16="http://schemas.microsoft.com/office/drawing/2014/chart" uri="{C3380CC4-5D6E-409C-BE32-E72D297353CC}">
                <c16:uniqueId val="{00000063-2993-41DE-A2CB-63102DE87051}"/>
              </c:ext>
            </c:extLst>
          </c:dPt>
          <c:dPt>
            <c:idx val="22"/>
            <c:invertIfNegative val="1"/>
            <c:bubble3D val="0"/>
            <c:spPr>
              <a:solidFill>
                <a:srgbClr val="7ECAC4"/>
              </a:solidFill>
            </c:spPr>
            <c:extLst>
              <c:ext xmlns:c16="http://schemas.microsoft.com/office/drawing/2014/chart" uri="{C3380CC4-5D6E-409C-BE32-E72D297353CC}">
                <c16:uniqueId val="{00000065-2993-41DE-A2CB-63102DE87051}"/>
              </c:ext>
            </c:extLst>
          </c:dPt>
          <c:dPt>
            <c:idx val="23"/>
            <c:invertIfNegative val="1"/>
            <c:bubble3D val="0"/>
            <c:spPr>
              <a:solidFill>
                <a:srgbClr val="7ECAC4"/>
              </a:solidFill>
            </c:spPr>
            <c:extLst>
              <c:ext xmlns:c16="http://schemas.microsoft.com/office/drawing/2014/chart" uri="{C3380CC4-5D6E-409C-BE32-E72D297353CC}">
                <c16:uniqueId val="{00000067-2993-41DE-A2CB-63102DE87051}"/>
              </c:ext>
            </c:extLst>
          </c:dPt>
          <c:dPt>
            <c:idx val="24"/>
            <c:invertIfNegative val="1"/>
            <c:bubble3D val="0"/>
            <c:spPr>
              <a:solidFill>
                <a:srgbClr val="7ECAC4"/>
              </a:solidFill>
            </c:spPr>
            <c:extLst>
              <c:ext xmlns:c16="http://schemas.microsoft.com/office/drawing/2014/chart" uri="{C3380CC4-5D6E-409C-BE32-E72D297353CC}">
                <c16:uniqueId val="{00000069-2993-41DE-A2CB-63102DE87051}"/>
              </c:ext>
            </c:extLst>
          </c:dPt>
          <c:dPt>
            <c:idx val="25"/>
            <c:invertIfNegative val="1"/>
            <c:bubble3D val="0"/>
            <c:spPr>
              <a:solidFill>
                <a:srgbClr val="7ECAC4"/>
              </a:solidFill>
            </c:spPr>
            <c:extLst>
              <c:ext xmlns:c16="http://schemas.microsoft.com/office/drawing/2014/chart" uri="{C3380CC4-5D6E-409C-BE32-E72D297353CC}">
                <c16:uniqueId val="{0000006B-2993-41DE-A2CB-63102DE87051}"/>
              </c:ext>
            </c:extLst>
          </c:dPt>
          <c:dPt>
            <c:idx val="26"/>
            <c:invertIfNegative val="1"/>
            <c:bubble3D val="0"/>
            <c:spPr>
              <a:solidFill>
                <a:srgbClr val="AEABAB"/>
              </a:solidFill>
            </c:spPr>
            <c:extLst>
              <c:ext xmlns:c16="http://schemas.microsoft.com/office/drawing/2014/chart" uri="{C3380CC4-5D6E-409C-BE32-E72D297353CC}">
                <c16:uniqueId val="{0000006D-2993-41DE-A2CB-63102DE87051}"/>
              </c:ext>
            </c:extLst>
          </c:dPt>
          <c:dPt>
            <c:idx val="27"/>
            <c:invertIfNegative val="1"/>
            <c:bubble3D val="0"/>
            <c:spPr>
              <a:solidFill>
                <a:srgbClr val="AEABAB"/>
              </a:solidFill>
            </c:spPr>
            <c:extLst>
              <c:ext xmlns:c16="http://schemas.microsoft.com/office/drawing/2014/chart" uri="{C3380CC4-5D6E-409C-BE32-E72D297353CC}">
                <c16:uniqueId val="{0000006F-2993-41DE-A2CB-63102DE87051}"/>
              </c:ext>
            </c:extLst>
          </c:dPt>
          <c:dPt>
            <c:idx val="28"/>
            <c:invertIfNegative val="1"/>
            <c:bubble3D val="0"/>
            <c:spPr>
              <a:solidFill>
                <a:srgbClr val="AEABAB"/>
              </a:solidFill>
            </c:spPr>
            <c:extLst>
              <c:ext xmlns:c16="http://schemas.microsoft.com/office/drawing/2014/chart" uri="{C3380CC4-5D6E-409C-BE32-E72D297353CC}">
                <c16:uniqueId val="{00000071-2993-41DE-A2CB-63102DE87051}"/>
              </c:ext>
            </c:extLst>
          </c:dPt>
          <c:dPt>
            <c:idx val="29"/>
            <c:invertIfNegative val="1"/>
            <c:bubble3D val="0"/>
            <c:spPr>
              <a:solidFill>
                <a:srgbClr val="AEABAB"/>
              </a:solidFill>
            </c:spPr>
            <c:extLst>
              <c:ext xmlns:c16="http://schemas.microsoft.com/office/drawing/2014/chart" uri="{C3380CC4-5D6E-409C-BE32-E72D297353CC}">
                <c16:uniqueId val="{00000073-2993-41DE-A2CB-63102DE87051}"/>
              </c:ext>
            </c:extLst>
          </c:dPt>
          <c:dPt>
            <c:idx val="30"/>
            <c:invertIfNegative val="1"/>
            <c:bubble3D val="0"/>
            <c:spPr>
              <a:solidFill>
                <a:srgbClr val="AEABAB"/>
              </a:solidFill>
            </c:spPr>
            <c:extLst>
              <c:ext xmlns:c16="http://schemas.microsoft.com/office/drawing/2014/chart" uri="{C3380CC4-5D6E-409C-BE32-E72D297353CC}">
                <c16:uniqueId val="{00000075-2993-41DE-A2CB-63102DE87051}"/>
              </c:ext>
            </c:extLst>
          </c:dPt>
          <c:dPt>
            <c:idx val="31"/>
            <c:invertIfNegative val="1"/>
            <c:bubble3D val="0"/>
            <c:spPr>
              <a:solidFill>
                <a:srgbClr val="AEABAB"/>
              </a:solidFill>
            </c:spPr>
            <c:extLst>
              <c:ext xmlns:c16="http://schemas.microsoft.com/office/drawing/2014/chart" uri="{C3380CC4-5D6E-409C-BE32-E72D297353CC}">
                <c16:uniqueId val="{00000077-2993-41DE-A2CB-63102DE87051}"/>
              </c:ext>
            </c:extLst>
          </c:dPt>
          <c:dPt>
            <c:idx val="32"/>
            <c:invertIfNegative val="1"/>
            <c:bubble3D val="0"/>
            <c:spPr>
              <a:solidFill>
                <a:srgbClr val="AEABAB"/>
              </a:solidFill>
            </c:spPr>
            <c:extLst>
              <c:ext xmlns:c16="http://schemas.microsoft.com/office/drawing/2014/chart" uri="{C3380CC4-5D6E-409C-BE32-E72D297353CC}">
                <c16:uniqueId val="{00000079-2993-41DE-A2CB-63102DE87051}"/>
              </c:ext>
            </c:extLst>
          </c:dPt>
          <c:dPt>
            <c:idx val="33"/>
            <c:invertIfNegative val="1"/>
            <c:bubble3D val="0"/>
            <c:spPr>
              <a:solidFill>
                <a:srgbClr val="AEABAB"/>
              </a:solidFill>
            </c:spPr>
            <c:extLst>
              <c:ext xmlns:c16="http://schemas.microsoft.com/office/drawing/2014/chart" uri="{C3380CC4-5D6E-409C-BE32-E72D297353CC}">
                <c16:uniqueId val="{0000007B-2993-41DE-A2CB-63102DE87051}"/>
              </c:ext>
            </c:extLst>
          </c:dPt>
          <c:dPt>
            <c:idx val="34"/>
            <c:invertIfNegative val="1"/>
            <c:bubble3D val="0"/>
            <c:spPr>
              <a:solidFill>
                <a:srgbClr val="AEABAB"/>
              </a:solidFill>
            </c:spPr>
            <c:extLst>
              <c:ext xmlns:c16="http://schemas.microsoft.com/office/drawing/2014/chart" uri="{C3380CC4-5D6E-409C-BE32-E72D297353CC}">
                <c16:uniqueId val="{0000007D-2993-41DE-A2CB-63102DE87051}"/>
              </c:ext>
            </c:extLst>
          </c:dPt>
          <c:dPt>
            <c:idx val="35"/>
            <c:invertIfNegative val="1"/>
            <c:bubble3D val="0"/>
            <c:spPr>
              <a:solidFill>
                <a:srgbClr val="AEABAB"/>
              </a:solidFill>
            </c:spPr>
            <c:extLst>
              <c:ext xmlns:c16="http://schemas.microsoft.com/office/drawing/2014/chart" uri="{C3380CC4-5D6E-409C-BE32-E72D297353CC}">
                <c16:uniqueId val="{0000007F-2993-41DE-A2CB-63102DE87051}"/>
              </c:ext>
            </c:extLst>
          </c:dPt>
          <c:dPt>
            <c:idx val="36"/>
            <c:invertIfNegative val="1"/>
            <c:bubble3D val="0"/>
            <c:spPr>
              <a:solidFill>
                <a:srgbClr val="AEABAB"/>
              </a:solidFill>
            </c:spPr>
            <c:extLst>
              <c:ext xmlns:c16="http://schemas.microsoft.com/office/drawing/2014/chart" uri="{C3380CC4-5D6E-409C-BE32-E72D297353CC}">
                <c16:uniqueId val="{00000081-2993-41DE-A2CB-63102DE87051}"/>
              </c:ext>
            </c:extLst>
          </c:dPt>
          <c:dPt>
            <c:idx val="37"/>
            <c:invertIfNegative val="1"/>
            <c:bubble3D val="0"/>
            <c:spPr>
              <a:solidFill>
                <a:srgbClr val="AEABAB"/>
              </a:solidFill>
            </c:spPr>
            <c:extLst>
              <c:ext xmlns:c16="http://schemas.microsoft.com/office/drawing/2014/chart" uri="{C3380CC4-5D6E-409C-BE32-E72D297353CC}">
                <c16:uniqueId val="{00000083-2993-41DE-A2CB-63102DE87051}"/>
              </c:ext>
            </c:extLst>
          </c:dPt>
          <c:dPt>
            <c:idx val="38"/>
            <c:invertIfNegative val="1"/>
            <c:bubble3D val="0"/>
            <c:spPr>
              <a:solidFill>
                <a:srgbClr val="AEABAB"/>
              </a:solidFill>
            </c:spPr>
            <c:extLst>
              <c:ext xmlns:c16="http://schemas.microsoft.com/office/drawing/2014/chart" uri="{C3380CC4-5D6E-409C-BE32-E72D297353CC}">
                <c16:uniqueId val="{00000085-2993-41DE-A2CB-63102DE87051}"/>
              </c:ext>
            </c:extLst>
          </c:dPt>
          <c:dPt>
            <c:idx val="39"/>
            <c:invertIfNegative val="1"/>
            <c:bubble3D val="0"/>
            <c:spPr>
              <a:solidFill>
                <a:srgbClr val="AEABAB"/>
              </a:solidFill>
            </c:spPr>
            <c:extLst>
              <c:ext xmlns:c16="http://schemas.microsoft.com/office/drawing/2014/chart" uri="{C3380CC4-5D6E-409C-BE32-E72D297353CC}">
                <c16:uniqueId val="{00000087-2993-41DE-A2CB-63102DE87051}"/>
              </c:ext>
            </c:extLst>
          </c:dPt>
          <c:dPt>
            <c:idx val="40"/>
            <c:invertIfNegative val="1"/>
            <c:bubble3D val="0"/>
            <c:spPr>
              <a:solidFill>
                <a:srgbClr val="AEABAB"/>
              </a:solidFill>
            </c:spPr>
            <c:extLst>
              <c:ext xmlns:c16="http://schemas.microsoft.com/office/drawing/2014/chart" uri="{C3380CC4-5D6E-409C-BE32-E72D297353CC}">
                <c16:uniqueId val="{00000089-2993-41DE-A2CB-63102DE87051}"/>
              </c:ext>
            </c:extLst>
          </c:dPt>
          <c:dPt>
            <c:idx val="41"/>
            <c:invertIfNegative val="1"/>
            <c:bubble3D val="0"/>
            <c:spPr>
              <a:solidFill>
                <a:srgbClr val="AEABAB"/>
              </a:solidFill>
            </c:spPr>
            <c:extLst>
              <c:ext xmlns:c16="http://schemas.microsoft.com/office/drawing/2014/chart" uri="{C3380CC4-5D6E-409C-BE32-E72D297353CC}">
                <c16:uniqueId val="{0000008B-2993-41DE-A2CB-63102DE87051}"/>
              </c:ext>
            </c:extLst>
          </c:dPt>
          <c:dPt>
            <c:idx val="42"/>
            <c:invertIfNegative val="1"/>
            <c:bubble3D val="0"/>
            <c:spPr>
              <a:solidFill>
                <a:srgbClr val="AEABAB"/>
              </a:solidFill>
            </c:spPr>
            <c:extLst>
              <c:ext xmlns:c16="http://schemas.microsoft.com/office/drawing/2014/chart" uri="{C3380CC4-5D6E-409C-BE32-E72D297353CC}">
                <c16:uniqueId val="{0000008D-2993-41DE-A2CB-63102DE87051}"/>
              </c:ext>
            </c:extLst>
          </c:dPt>
          <c:dPt>
            <c:idx val="43"/>
            <c:invertIfNegative val="1"/>
            <c:bubble3D val="0"/>
            <c:spPr>
              <a:solidFill>
                <a:srgbClr val="AEABAB"/>
              </a:solidFill>
            </c:spPr>
            <c:extLst>
              <c:ext xmlns:c16="http://schemas.microsoft.com/office/drawing/2014/chart" uri="{C3380CC4-5D6E-409C-BE32-E72D297353CC}">
                <c16:uniqueId val="{0000008F-2993-41DE-A2CB-63102DE87051}"/>
              </c:ext>
            </c:extLst>
          </c:dPt>
          <c:dPt>
            <c:idx val="44"/>
            <c:invertIfNegative val="1"/>
            <c:bubble3D val="0"/>
            <c:spPr>
              <a:solidFill>
                <a:srgbClr val="AEABAB"/>
              </a:solidFill>
            </c:spPr>
            <c:extLst>
              <c:ext xmlns:c16="http://schemas.microsoft.com/office/drawing/2014/chart" uri="{C3380CC4-5D6E-409C-BE32-E72D297353CC}">
                <c16:uniqueId val="{00000091-2993-41DE-A2CB-63102DE87051}"/>
              </c:ext>
            </c:extLst>
          </c:dPt>
          <c:dPt>
            <c:idx val="45"/>
            <c:invertIfNegative val="1"/>
            <c:bubble3D val="0"/>
            <c:spPr>
              <a:solidFill>
                <a:srgbClr val="AEABAB"/>
              </a:solidFill>
            </c:spPr>
            <c:extLst>
              <c:ext xmlns:c16="http://schemas.microsoft.com/office/drawing/2014/chart" uri="{C3380CC4-5D6E-409C-BE32-E72D297353CC}">
                <c16:uniqueId val="{00000093-2993-41DE-A2CB-63102DE87051}"/>
              </c:ext>
            </c:extLst>
          </c:dPt>
          <c:dPt>
            <c:idx val="46"/>
            <c:invertIfNegative val="1"/>
            <c:bubble3D val="0"/>
            <c:spPr>
              <a:solidFill>
                <a:srgbClr val="AEABAB"/>
              </a:solidFill>
            </c:spPr>
            <c:extLst>
              <c:ext xmlns:c16="http://schemas.microsoft.com/office/drawing/2014/chart" uri="{C3380CC4-5D6E-409C-BE32-E72D297353CC}">
                <c16:uniqueId val="{00000095-2993-41DE-A2CB-63102DE87051}"/>
              </c:ext>
            </c:extLst>
          </c:dPt>
          <c:dPt>
            <c:idx val="47"/>
            <c:invertIfNegative val="1"/>
            <c:bubble3D val="0"/>
            <c:spPr>
              <a:solidFill>
                <a:srgbClr val="AEABAB"/>
              </a:solidFill>
            </c:spPr>
            <c:extLst>
              <c:ext xmlns:c16="http://schemas.microsoft.com/office/drawing/2014/chart" uri="{C3380CC4-5D6E-409C-BE32-E72D297353CC}">
                <c16:uniqueId val="{00000097-2993-41DE-A2CB-63102DE87051}"/>
              </c:ext>
            </c:extLst>
          </c:dPt>
          <c:dPt>
            <c:idx val="48"/>
            <c:invertIfNegative val="1"/>
            <c:bubble3D val="0"/>
            <c:spPr>
              <a:solidFill>
                <a:srgbClr val="AEABAB"/>
              </a:solidFill>
            </c:spPr>
            <c:extLst>
              <c:ext xmlns:c16="http://schemas.microsoft.com/office/drawing/2014/chart" uri="{C3380CC4-5D6E-409C-BE32-E72D297353CC}">
                <c16:uniqueId val="{00000099-2993-41DE-A2CB-63102DE87051}"/>
              </c:ext>
            </c:extLst>
          </c:dPt>
          <c:dPt>
            <c:idx val="49"/>
            <c:invertIfNegative val="1"/>
            <c:bubble3D val="0"/>
            <c:spPr>
              <a:solidFill>
                <a:srgbClr val="AEABAB"/>
              </a:solidFill>
            </c:spPr>
            <c:extLst>
              <c:ext xmlns:c16="http://schemas.microsoft.com/office/drawing/2014/chart" uri="{C3380CC4-5D6E-409C-BE32-E72D297353CC}">
                <c16:uniqueId val="{0000009B-2993-41DE-A2CB-63102DE87051}"/>
              </c:ext>
            </c:extLst>
          </c:dPt>
          <c:dPt>
            <c:idx val="50"/>
            <c:invertIfNegative val="1"/>
            <c:bubble3D val="0"/>
            <c:spPr>
              <a:solidFill>
                <a:srgbClr val="AEABAB"/>
              </a:solidFill>
            </c:spPr>
            <c:extLst>
              <c:ext xmlns:c16="http://schemas.microsoft.com/office/drawing/2014/chart" uri="{C3380CC4-5D6E-409C-BE32-E72D297353CC}">
                <c16:uniqueId val="{0000009D-2993-41DE-A2CB-63102DE87051}"/>
              </c:ext>
            </c:extLst>
          </c:dPt>
          <c:dPt>
            <c:idx val="51"/>
            <c:invertIfNegative val="1"/>
            <c:bubble3D val="0"/>
            <c:spPr>
              <a:solidFill>
                <a:srgbClr val="AEABAB"/>
              </a:solidFill>
            </c:spPr>
            <c:extLst>
              <c:ext xmlns:c16="http://schemas.microsoft.com/office/drawing/2014/chart" uri="{C3380CC4-5D6E-409C-BE32-E72D297353CC}">
                <c16:uniqueId val="{0000009F-2993-41DE-A2CB-63102DE87051}"/>
              </c:ext>
            </c:extLst>
          </c:dPt>
          <c:dPt>
            <c:idx val="52"/>
            <c:invertIfNegative val="1"/>
            <c:bubble3D val="0"/>
            <c:spPr>
              <a:solidFill>
                <a:srgbClr val="AEABAB"/>
              </a:solidFill>
            </c:spPr>
            <c:extLst>
              <c:ext xmlns:c16="http://schemas.microsoft.com/office/drawing/2014/chart" uri="{C3380CC4-5D6E-409C-BE32-E72D297353CC}">
                <c16:uniqueId val="{000000A1-2993-41DE-A2CB-63102DE87051}"/>
              </c:ext>
            </c:extLst>
          </c:dPt>
          <c:dPt>
            <c:idx val="53"/>
            <c:invertIfNegative val="1"/>
            <c:bubble3D val="0"/>
            <c:spPr>
              <a:solidFill>
                <a:srgbClr val="AEABAB"/>
              </a:solidFill>
            </c:spPr>
            <c:extLst>
              <c:ext xmlns:c16="http://schemas.microsoft.com/office/drawing/2014/chart" uri="{C3380CC4-5D6E-409C-BE32-E72D297353CC}">
                <c16:uniqueId val="{000000A3-2993-41DE-A2CB-63102DE87051}"/>
              </c:ext>
            </c:extLst>
          </c:dPt>
          <c:dPt>
            <c:idx val="54"/>
            <c:invertIfNegative val="0"/>
            <c:bubble3D val="0"/>
            <c:spPr>
              <a:solidFill>
                <a:srgbClr val="AEABAB"/>
              </a:solidFill>
            </c:spPr>
            <c:extLst>
              <c:ext xmlns:c16="http://schemas.microsoft.com/office/drawing/2014/chart" uri="{C3380CC4-5D6E-409C-BE32-E72D297353CC}">
                <c16:uniqueId val="{00000072-C76F-4230-900D-40618C09729F}"/>
              </c:ext>
            </c:extLst>
          </c:dPt>
          <c:dPt>
            <c:idx val="55"/>
            <c:invertIfNegative val="0"/>
            <c:bubble3D val="0"/>
            <c:spPr>
              <a:solidFill>
                <a:srgbClr val="AEABAB"/>
              </a:solidFill>
            </c:spPr>
            <c:extLst>
              <c:ext xmlns:c16="http://schemas.microsoft.com/office/drawing/2014/chart" uri="{C3380CC4-5D6E-409C-BE32-E72D297353CC}">
                <c16:uniqueId val="{00000074-C76F-4230-900D-40618C09729F}"/>
              </c:ext>
            </c:extLst>
          </c:dPt>
          <c:dPt>
            <c:idx val="56"/>
            <c:invertIfNegative val="0"/>
            <c:bubble3D val="0"/>
            <c:spPr>
              <a:solidFill>
                <a:srgbClr val="AEABAB"/>
              </a:solidFill>
            </c:spPr>
            <c:extLst>
              <c:ext xmlns:c16="http://schemas.microsoft.com/office/drawing/2014/chart" uri="{C3380CC4-5D6E-409C-BE32-E72D297353CC}">
                <c16:uniqueId val="{00000076-C76F-4230-900D-40618C09729F}"/>
              </c:ext>
            </c:extLst>
          </c:dPt>
          <c:dPt>
            <c:idx val="57"/>
            <c:invertIfNegative val="0"/>
            <c:bubble3D val="0"/>
            <c:spPr>
              <a:solidFill>
                <a:srgbClr val="AEABAB"/>
              </a:solidFill>
            </c:spPr>
            <c:extLst>
              <c:ext xmlns:c16="http://schemas.microsoft.com/office/drawing/2014/chart" uri="{C3380CC4-5D6E-409C-BE32-E72D297353CC}">
                <c16:uniqueId val="{00000078-C76F-4230-900D-40618C09729F}"/>
              </c:ext>
            </c:extLst>
          </c:dPt>
          <c:dPt>
            <c:idx val="58"/>
            <c:invertIfNegative val="0"/>
            <c:bubble3D val="0"/>
            <c:spPr>
              <a:solidFill>
                <a:srgbClr val="AEABAB"/>
              </a:solidFill>
            </c:spPr>
            <c:extLst>
              <c:ext xmlns:c16="http://schemas.microsoft.com/office/drawing/2014/chart" uri="{C3380CC4-5D6E-409C-BE32-E72D297353CC}">
                <c16:uniqueId val="{0000007A-C76F-4230-900D-40618C09729F}"/>
              </c:ext>
            </c:extLst>
          </c:dPt>
          <c:dPt>
            <c:idx val="59"/>
            <c:invertIfNegative val="0"/>
            <c:bubble3D val="0"/>
            <c:spPr>
              <a:solidFill>
                <a:srgbClr val="AEABAB"/>
              </a:solidFill>
            </c:spPr>
            <c:extLst>
              <c:ext xmlns:c16="http://schemas.microsoft.com/office/drawing/2014/chart" uri="{C3380CC4-5D6E-409C-BE32-E72D297353CC}">
                <c16:uniqueId val="{0000007C-C76F-4230-900D-40618C09729F}"/>
              </c:ext>
            </c:extLst>
          </c:dPt>
          <c:dPt>
            <c:idx val="60"/>
            <c:invertIfNegative val="0"/>
            <c:bubble3D val="0"/>
            <c:spPr>
              <a:solidFill>
                <a:srgbClr val="AEABAB"/>
              </a:solidFill>
            </c:spPr>
            <c:extLst>
              <c:ext xmlns:c16="http://schemas.microsoft.com/office/drawing/2014/chart" uri="{C3380CC4-5D6E-409C-BE32-E72D297353CC}">
                <c16:uniqueId val="{0000007E-C76F-4230-900D-40618C09729F}"/>
              </c:ext>
            </c:extLst>
          </c:dPt>
          <c:dPt>
            <c:idx val="61"/>
            <c:invertIfNegative val="0"/>
            <c:bubble3D val="0"/>
            <c:spPr>
              <a:solidFill>
                <a:srgbClr val="AEABAB"/>
              </a:solidFill>
            </c:spPr>
            <c:extLst>
              <c:ext xmlns:c16="http://schemas.microsoft.com/office/drawing/2014/chart" uri="{C3380CC4-5D6E-409C-BE32-E72D297353CC}">
                <c16:uniqueId val="{00000080-C76F-4230-900D-40618C09729F}"/>
              </c:ext>
            </c:extLst>
          </c:dPt>
          <c:dPt>
            <c:idx val="62"/>
            <c:invertIfNegative val="0"/>
            <c:bubble3D val="0"/>
            <c:spPr>
              <a:solidFill>
                <a:srgbClr val="AEABAB"/>
              </a:solidFill>
            </c:spPr>
            <c:extLst>
              <c:ext xmlns:c16="http://schemas.microsoft.com/office/drawing/2014/chart" uri="{C3380CC4-5D6E-409C-BE32-E72D297353CC}">
                <c16:uniqueId val="{00000082-C76F-4230-900D-40618C09729F}"/>
              </c:ext>
            </c:extLst>
          </c:dPt>
          <c:dPt>
            <c:idx val="63"/>
            <c:invertIfNegative val="0"/>
            <c:bubble3D val="0"/>
            <c:spPr>
              <a:solidFill>
                <a:srgbClr val="AEABAB"/>
              </a:solidFill>
            </c:spPr>
            <c:extLst>
              <c:ext xmlns:c16="http://schemas.microsoft.com/office/drawing/2014/chart" uri="{C3380CC4-5D6E-409C-BE32-E72D297353CC}">
                <c16:uniqueId val="{00000084-C76F-4230-900D-40618C09729F}"/>
              </c:ext>
            </c:extLst>
          </c:dPt>
          <c:dPt>
            <c:idx val="64"/>
            <c:invertIfNegative val="0"/>
            <c:bubble3D val="0"/>
            <c:spPr>
              <a:solidFill>
                <a:srgbClr val="AEABAB"/>
              </a:solidFill>
            </c:spPr>
            <c:extLst>
              <c:ext xmlns:c16="http://schemas.microsoft.com/office/drawing/2014/chart" uri="{C3380CC4-5D6E-409C-BE32-E72D297353CC}">
                <c16:uniqueId val="{00000086-C76F-4230-900D-40618C09729F}"/>
              </c:ext>
            </c:extLst>
          </c:dPt>
          <c:dPt>
            <c:idx val="65"/>
            <c:invertIfNegative val="0"/>
            <c:bubble3D val="0"/>
            <c:spPr>
              <a:solidFill>
                <a:srgbClr val="AEABAB"/>
              </a:solidFill>
            </c:spPr>
            <c:extLst>
              <c:ext xmlns:c16="http://schemas.microsoft.com/office/drawing/2014/chart" uri="{C3380CC4-5D6E-409C-BE32-E72D297353CC}">
                <c16:uniqueId val="{00000088-C76F-4230-900D-40618C09729F}"/>
              </c:ext>
            </c:extLst>
          </c:dPt>
          <c:dPt>
            <c:idx val="66"/>
            <c:invertIfNegative val="0"/>
            <c:bubble3D val="0"/>
            <c:spPr>
              <a:solidFill>
                <a:srgbClr val="AEABAB"/>
              </a:solidFill>
            </c:spPr>
            <c:extLst>
              <c:ext xmlns:c16="http://schemas.microsoft.com/office/drawing/2014/chart" uri="{C3380CC4-5D6E-409C-BE32-E72D297353CC}">
                <c16:uniqueId val="{0000008A-C76F-4230-900D-40618C09729F}"/>
              </c:ext>
            </c:extLst>
          </c:dPt>
          <c:dPt>
            <c:idx val="67"/>
            <c:invertIfNegative val="0"/>
            <c:bubble3D val="0"/>
            <c:spPr>
              <a:solidFill>
                <a:srgbClr val="AEABAB"/>
              </a:solidFill>
            </c:spPr>
            <c:extLst>
              <c:ext xmlns:c16="http://schemas.microsoft.com/office/drawing/2014/chart" uri="{C3380CC4-5D6E-409C-BE32-E72D297353CC}">
                <c16:uniqueId val="{0000008C-C76F-4230-900D-40618C09729F}"/>
              </c:ext>
            </c:extLst>
          </c:dPt>
          <c:dPt>
            <c:idx val="68"/>
            <c:invertIfNegative val="0"/>
            <c:bubble3D val="0"/>
            <c:spPr>
              <a:solidFill>
                <a:srgbClr val="AEABAB"/>
              </a:solidFill>
            </c:spPr>
            <c:extLst>
              <c:ext xmlns:c16="http://schemas.microsoft.com/office/drawing/2014/chart" uri="{C3380CC4-5D6E-409C-BE32-E72D297353CC}">
                <c16:uniqueId val="{0000008E-C76F-4230-900D-40618C09729F}"/>
              </c:ext>
            </c:extLst>
          </c:dPt>
          <c:dPt>
            <c:idx val="69"/>
            <c:invertIfNegative val="0"/>
            <c:bubble3D val="0"/>
            <c:spPr>
              <a:solidFill>
                <a:srgbClr val="AEABAB"/>
              </a:solidFill>
            </c:spPr>
            <c:extLst>
              <c:ext xmlns:c16="http://schemas.microsoft.com/office/drawing/2014/chart" uri="{C3380CC4-5D6E-409C-BE32-E72D297353CC}">
                <c16:uniqueId val="{00000090-C76F-4230-900D-40618C09729F}"/>
              </c:ext>
            </c:extLst>
          </c:dPt>
          <c:dPt>
            <c:idx val="70"/>
            <c:invertIfNegative val="0"/>
            <c:bubble3D val="0"/>
            <c:spPr>
              <a:solidFill>
                <a:srgbClr val="AEABAB"/>
              </a:solidFill>
            </c:spPr>
            <c:extLst>
              <c:ext xmlns:c16="http://schemas.microsoft.com/office/drawing/2014/chart" uri="{C3380CC4-5D6E-409C-BE32-E72D297353CC}">
                <c16:uniqueId val="{00000092-C76F-4230-900D-40618C09729F}"/>
              </c:ext>
            </c:extLst>
          </c:dPt>
          <c:dPt>
            <c:idx val="71"/>
            <c:invertIfNegative val="0"/>
            <c:bubble3D val="0"/>
            <c:spPr>
              <a:solidFill>
                <a:srgbClr val="AEABAB"/>
              </a:solidFill>
            </c:spPr>
            <c:extLst>
              <c:ext xmlns:c16="http://schemas.microsoft.com/office/drawing/2014/chart" uri="{C3380CC4-5D6E-409C-BE32-E72D297353CC}">
                <c16:uniqueId val="{00000094-C76F-4230-900D-40618C09729F}"/>
              </c:ext>
            </c:extLst>
          </c:dPt>
          <c:dPt>
            <c:idx val="72"/>
            <c:invertIfNegative val="0"/>
            <c:bubble3D val="0"/>
            <c:spPr>
              <a:solidFill>
                <a:srgbClr val="AEABAB"/>
              </a:solidFill>
            </c:spPr>
            <c:extLst>
              <c:ext xmlns:c16="http://schemas.microsoft.com/office/drawing/2014/chart" uri="{C3380CC4-5D6E-409C-BE32-E72D297353CC}">
                <c16:uniqueId val="{00000096-C76F-4230-900D-40618C09729F}"/>
              </c:ext>
            </c:extLst>
          </c:dPt>
          <c:dPt>
            <c:idx val="73"/>
            <c:invertIfNegative val="0"/>
            <c:bubble3D val="0"/>
            <c:spPr>
              <a:solidFill>
                <a:srgbClr val="AEABAB"/>
              </a:solidFill>
            </c:spPr>
            <c:extLst>
              <c:ext xmlns:c16="http://schemas.microsoft.com/office/drawing/2014/chart" uri="{C3380CC4-5D6E-409C-BE32-E72D297353CC}">
                <c16:uniqueId val="{00000098-C76F-4230-900D-40618C09729F}"/>
              </c:ext>
            </c:extLst>
          </c:dPt>
          <c:dPt>
            <c:idx val="74"/>
            <c:invertIfNegative val="0"/>
            <c:bubble3D val="0"/>
            <c:spPr>
              <a:solidFill>
                <a:srgbClr val="AEABAB"/>
              </a:solidFill>
            </c:spPr>
            <c:extLst>
              <c:ext xmlns:c16="http://schemas.microsoft.com/office/drawing/2014/chart" uri="{C3380CC4-5D6E-409C-BE32-E72D297353CC}">
                <c16:uniqueId val="{0000009A-C76F-4230-900D-40618C09729F}"/>
              </c:ext>
            </c:extLst>
          </c:dPt>
          <c:dPt>
            <c:idx val="75"/>
            <c:invertIfNegative val="0"/>
            <c:bubble3D val="0"/>
            <c:spPr>
              <a:solidFill>
                <a:srgbClr val="AEABAB"/>
              </a:solidFill>
            </c:spPr>
            <c:extLst>
              <c:ext xmlns:c16="http://schemas.microsoft.com/office/drawing/2014/chart" uri="{C3380CC4-5D6E-409C-BE32-E72D297353CC}">
                <c16:uniqueId val="{0000009C-C76F-4230-900D-40618C09729F}"/>
              </c:ext>
            </c:extLst>
          </c:dPt>
          <c:dPt>
            <c:idx val="76"/>
            <c:invertIfNegative val="0"/>
            <c:bubble3D val="0"/>
            <c:spPr>
              <a:solidFill>
                <a:srgbClr val="AEABAB"/>
              </a:solidFill>
            </c:spPr>
            <c:extLst>
              <c:ext xmlns:c16="http://schemas.microsoft.com/office/drawing/2014/chart" uri="{C3380CC4-5D6E-409C-BE32-E72D297353CC}">
                <c16:uniqueId val="{0000009E-C76F-4230-900D-40618C09729F}"/>
              </c:ext>
            </c:extLst>
          </c:dPt>
          <c:dPt>
            <c:idx val="77"/>
            <c:invertIfNegative val="0"/>
            <c:bubble3D val="0"/>
            <c:spPr>
              <a:solidFill>
                <a:srgbClr val="AEABAB"/>
              </a:solidFill>
            </c:spPr>
            <c:extLst>
              <c:ext xmlns:c16="http://schemas.microsoft.com/office/drawing/2014/chart" uri="{C3380CC4-5D6E-409C-BE32-E72D297353CC}">
                <c16:uniqueId val="{000000A0-C76F-4230-900D-40618C09729F}"/>
              </c:ext>
            </c:extLst>
          </c:dPt>
          <c:dPt>
            <c:idx val="78"/>
            <c:invertIfNegative val="0"/>
            <c:bubble3D val="0"/>
            <c:spPr>
              <a:solidFill>
                <a:srgbClr val="AEABAB"/>
              </a:solidFill>
            </c:spPr>
            <c:extLst>
              <c:ext xmlns:c16="http://schemas.microsoft.com/office/drawing/2014/chart" uri="{C3380CC4-5D6E-409C-BE32-E72D297353CC}">
                <c16:uniqueId val="{000000A2-C76F-4230-900D-40618C09729F}"/>
              </c:ext>
            </c:extLst>
          </c:dPt>
          <c:dPt>
            <c:idx val="79"/>
            <c:invertIfNegative val="0"/>
            <c:bubble3D val="0"/>
            <c:spPr>
              <a:solidFill>
                <a:srgbClr val="AEABAB"/>
              </a:solidFill>
            </c:spPr>
            <c:extLst>
              <c:ext xmlns:c16="http://schemas.microsoft.com/office/drawing/2014/chart" uri="{C3380CC4-5D6E-409C-BE32-E72D297353CC}">
                <c16:uniqueId val="{000000A4-C76F-4230-900D-40618C09729F}"/>
              </c:ext>
            </c:extLst>
          </c:dPt>
          <c:dPt>
            <c:idx val="80"/>
            <c:invertIfNegative val="0"/>
            <c:bubble3D val="0"/>
            <c:spPr>
              <a:solidFill>
                <a:srgbClr val="AEABAB"/>
              </a:solidFill>
            </c:spPr>
            <c:extLst>
              <c:ext xmlns:c16="http://schemas.microsoft.com/office/drawing/2014/chart" uri="{C3380CC4-5D6E-409C-BE32-E72D297353CC}">
                <c16:uniqueId val="{000000A6-C76F-4230-900D-40618C09729F}"/>
              </c:ext>
            </c:extLst>
          </c:dPt>
          <c:dPt>
            <c:idx val="81"/>
            <c:invertIfNegative val="1"/>
            <c:bubble3D val="0"/>
            <c:spPr>
              <a:solidFill>
                <a:srgbClr val="AEABAB"/>
              </a:solidFill>
            </c:spPr>
            <c:extLst>
              <c:ext xmlns:c16="http://schemas.microsoft.com/office/drawing/2014/chart" uri="{C3380CC4-5D6E-409C-BE32-E72D297353CC}">
                <c16:uniqueId val="{000000A5-2993-41DE-A2CB-63102DE87051}"/>
              </c:ext>
            </c:extLst>
          </c:dPt>
          <c:dPt>
            <c:idx val="82"/>
            <c:invertIfNegative val="1"/>
            <c:bubble3D val="0"/>
            <c:spPr>
              <a:solidFill>
                <a:srgbClr val="AEABAB"/>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84</c:f>
              <c:strCache>
                <c:ptCount val="83"/>
                <c:pt idx="0">
                  <c:v>All Others</c:v>
                </c:pt>
                <c:pt idx="1">
                  <c:v>Patriarche</c:v>
                </c:pt>
                <c:pt idx="2">
                  <c:v>Bottega</c:v>
                </c:pt>
                <c:pt idx="3">
                  <c:v>Mure</c:v>
                </c:pt>
                <c:pt idx="4">
                  <c:v>Bouvet-Ladu</c:v>
                </c:pt>
                <c:pt idx="5">
                  <c:v>French Bloo</c:v>
                </c:pt>
                <c:pt idx="6">
                  <c:v>Savian</c:v>
                </c:pt>
                <c:pt idx="7">
                  <c:v>De Chanceny</c:v>
                </c:pt>
                <c:pt idx="8">
                  <c:v>Patriarche</c:v>
                </c:pt>
                <c:pt idx="9">
                  <c:v>Kriter</c:v>
                </c:pt>
                <c:pt idx="10">
                  <c:v>All Others</c:v>
                </c:pt>
                <c:pt idx="11">
                  <c:v>All Others</c:v>
                </c:pt>
                <c:pt idx="12">
                  <c:v>Bottega</c:v>
                </c:pt>
                <c:pt idx="13">
                  <c:v>All Others</c:v>
                </c:pt>
                <c:pt idx="14">
                  <c:v>All Others</c:v>
                </c:pt>
                <c:pt idx="15">
                  <c:v>Cru La Maqu</c:v>
                </c:pt>
                <c:pt idx="16">
                  <c:v>Contarini</c:v>
                </c:pt>
                <c:pt idx="17">
                  <c:v>All Others</c:v>
                </c:pt>
                <c:pt idx="18">
                  <c:v>All Others</c:v>
                </c:pt>
                <c:pt idx="19">
                  <c:v>All Others</c:v>
                </c:pt>
                <c:pt idx="20">
                  <c:v>All Others</c:v>
                </c:pt>
                <c:pt idx="21">
                  <c:v>All Others</c:v>
                </c:pt>
                <c:pt idx="22">
                  <c:v>Contarini</c:v>
                </c:pt>
                <c:pt idx="23">
                  <c:v>All Others</c:v>
                </c:pt>
                <c:pt idx="24">
                  <c:v>All Others</c:v>
                </c:pt>
                <c:pt idx="25">
                  <c:v>All Others</c:v>
                </c:pt>
                <c:pt idx="26">
                  <c:v>All Others</c:v>
                </c:pt>
                <c:pt idx="27">
                  <c:v>All Others</c:v>
                </c:pt>
                <c:pt idx="28">
                  <c:v>All Others</c:v>
                </c:pt>
                <c:pt idx="29">
                  <c:v>All Others</c:v>
                </c:pt>
                <c:pt idx="30">
                  <c:v>Bouvet-Ladu</c:v>
                </c:pt>
                <c:pt idx="31">
                  <c:v>All Others</c:v>
                </c:pt>
                <c:pt idx="32">
                  <c:v>All Others</c:v>
                </c:pt>
                <c:pt idx="33">
                  <c:v>All Others</c:v>
                </c:pt>
                <c:pt idx="34">
                  <c:v>Bouvet-Ladu</c:v>
                </c:pt>
                <c:pt idx="35">
                  <c:v>All Others</c:v>
                </c:pt>
                <c:pt idx="36">
                  <c:v>Bouvet-Ladu</c:v>
                </c:pt>
                <c:pt idx="37">
                  <c:v>All Others</c:v>
                </c:pt>
                <c:pt idx="38">
                  <c:v>Celene</c:v>
                </c:pt>
                <c:pt idx="39">
                  <c:v>Celene</c:v>
                </c:pt>
                <c:pt idx="40">
                  <c:v>All Others</c:v>
                </c:pt>
                <c:pt idx="41">
                  <c:v>All Others</c:v>
                </c:pt>
                <c:pt idx="42">
                  <c:v>All Others</c:v>
                </c:pt>
                <c:pt idx="43">
                  <c:v>All Others</c:v>
                </c:pt>
                <c:pt idx="44">
                  <c:v>Bottega</c:v>
                </c:pt>
                <c:pt idx="45">
                  <c:v>All Others</c:v>
                </c:pt>
                <c:pt idx="46">
                  <c:v>All Others</c:v>
                </c:pt>
                <c:pt idx="47">
                  <c:v>All Others</c:v>
                </c:pt>
                <c:pt idx="48">
                  <c:v>All Others</c:v>
                </c:pt>
                <c:pt idx="49">
                  <c:v>All Others</c:v>
                </c:pt>
                <c:pt idx="50">
                  <c:v>All Others</c:v>
                </c:pt>
                <c:pt idx="51">
                  <c:v>All Others</c:v>
                </c:pt>
                <c:pt idx="52">
                  <c:v>All Others</c:v>
                </c:pt>
                <c:pt idx="53">
                  <c:v>All Others</c:v>
                </c:pt>
                <c:pt idx="54">
                  <c:v>All Others</c:v>
                </c:pt>
                <c:pt idx="55">
                  <c:v>All Others</c:v>
                </c:pt>
                <c:pt idx="56">
                  <c:v>All Others</c:v>
                </c:pt>
                <c:pt idx="57">
                  <c:v>All Others</c:v>
                </c:pt>
                <c:pt idx="58">
                  <c:v>All Others</c:v>
                </c:pt>
                <c:pt idx="59">
                  <c:v>All Others</c:v>
                </c:pt>
                <c:pt idx="60">
                  <c:v>All Others</c:v>
                </c:pt>
                <c:pt idx="61">
                  <c:v>Bouvet-Ladu</c:v>
                </c:pt>
                <c:pt idx="62">
                  <c:v>Jaillance</c:v>
                </c:pt>
                <c:pt idx="63">
                  <c:v>All Others</c:v>
                </c:pt>
                <c:pt idx="64">
                  <c:v>All Others</c:v>
                </c:pt>
                <c:pt idx="65">
                  <c:v>Bouvet-Ladu</c:v>
                </c:pt>
                <c:pt idx="66">
                  <c:v>Bouvet-Ladu</c:v>
                </c:pt>
                <c:pt idx="67">
                  <c:v>All Others</c:v>
                </c:pt>
                <c:pt idx="68">
                  <c:v>Bouvet-Ladu</c:v>
                </c:pt>
                <c:pt idx="69">
                  <c:v>Bottega</c:v>
                </c:pt>
                <c:pt idx="70">
                  <c:v>All Others</c:v>
                </c:pt>
                <c:pt idx="71">
                  <c:v>All Others</c:v>
                </c:pt>
                <c:pt idx="72">
                  <c:v>All Others</c:v>
                </c:pt>
                <c:pt idx="73">
                  <c:v>All Others</c:v>
                </c:pt>
                <c:pt idx="74">
                  <c:v>All Others</c:v>
                </c:pt>
                <c:pt idx="75">
                  <c:v>All Others</c:v>
                </c:pt>
                <c:pt idx="76">
                  <c:v>All Others</c:v>
                </c:pt>
                <c:pt idx="77">
                  <c:v>All Others</c:v>
                </c:pt>
                <c:pt idx="78">
                  <c:v>All Others</c:v>
                </c:pt>
                <c:pt idx="79">
                  <c:v>French Bloo</c:v>
                </c:pt>
                <c:pt idx="80">
                  <c:v>All Others</c:v>
                </c:pt>
                <c:pt idx="81">
                  <c:v>All Others</c:v>
                </c:pt>
                <c:pt idx="82">
                  <c:v>All Others</c:v>
                </c:pt>
              </c:strCache>
            </c:strRef>
          </c:cat>
          <c:val>
            <c:numRef>
              <c:f>Sheet1!$C$2:$C$84</c:f>
              <c:numCache>
                <c:formatCode>General</c:formatCode>
                <c:ptCount val="83"/>
                <c:pt idx="0">
                  <c:v>0.14344621005611641</c:v>
                </c:pt>
                <c:pt idx="1">
                  <c:v>0.2489619777394606</c:v>
                </c:pt>
                <c:pt idx="2">
                  <c:v>0.35280236199252579</c:v>
                </c:pt>
                <c:pt idx="3">
                  <c:v>0.44068904168067791</c:v>
                </c:pt>
                <c:pt idx="4">
                  <c:v>0.5071653943292147</c:v>
                </c:pt>
                <c:pt idx="5">
                  <c:v>0.57355827591716813</c:v>
                </c:pt>
                <c:pt idx="6">
                  <c:v>0.63930485300746231</c:v>
                </c:pt>
                <c:pt idx="7">
                  <c:v>0.67280417450698415</c:v>
                </c:pt>
                <c:pt idx="8">
                  <c:v>0.70472231563031384</c:v>
                </c:pt>
                <c:pt idx="9">
                  <c:v>0.7357437390742344</c:v>
                </c:pt>
                <c:pt idx="10">
                  <c:v>0.76255941350847944</c:v>
                </c:pt>
                <c:pt idx="11">
                  <c:v>0.7878940728392323</c:v>
                </c:pt>
                <c:pt idx="12">
                  <c:v>0.81240594600137839</c:v>
                </c:pt>
                <c:pt idx="13">
                  <c:v>0.83095560055043194</c:v>
                </c:pt>
                <c:pt idx="14">
                  <c:v>0.84867173693737519</c:v>
                </c:pt>
                <c:pt idx="15">
                  <c:v>0.86453481577936919</c:v>
                </c:pt>
                <c:pt idx="16">
                  <c:v>0.87824195637086899</c:v>
                </c:pt>
                <c:pt idx="17">
                  <c:v>0.89009126964252916</c:v>
                </c:pt>
                <c:pt idx="18">
                  <c:v>0.89944479820274881</c:v>
                </c:pt>
                <c:pt idx="19">
                  <c:v>0.90746398223735825</c:v>
                </c:pt>
                <c:pt idx="20">
                  <c:v>0.9153412654689761</c:v>
                </c:pt>
                <c:pt idx="21">
                  <c:v>0.92298840706212859</c:v>
                </c:pt>
                <c:pt idx="22">
                  <c:v>0.92985330557324331</c:v>
                </c:pt>
                <c:pt idx="23">
                  <c:v>0.93644632691560103</c:v>
                </c:pt>
                <c:pt idx="24">
                  <c:v>0.94282232350044226</c:v>
                </c:pt>
                <c:pt idx="25">
                  <c:v>0.94893479002258474</c:v>
                </c:pt>
                <c:pt idx="26">
                  <c:v>0.9527947303527009</c:v>
                </c:pt>
                <c:pt idx="27">
                  <c:v>0.95594874399902685</c:v>
                </c:pt>
                <c:pt idx="28">
                  <c:v>0.95868420989871372</c:v>
                </c:pt>
                <c:pt idx="29">
                  <c:v>0.96126465811446016</c:v>
                </c:pt>
                <c:pt idx="30">
                  <c:v>0.96375209571984233</c:v>
                </c:pt>
                <c:pt idx="31">
                  <c:v>0.96608213075383886</c:v>
                </c:pt>
                <c:pt idx="32">
                  <c:v>0.9680627797771082</c:v>
                </c:pt>
                <c:pt idx="33">
                  <c:v>0.96996234262723946</c:v>
                </c:pt>
                <c:pt idx="34">
                  <c:v>0.97182613216569225</c:v>
                </c:pt>
                <c:pt idx="35">
                  <c:v>0.97361479774962001</c:v>
                </c:pt>
                <c:pt idx="36">
                  <c:v>0.97537722957165018</c:v>
                </c:pt>
                <c:pt idx="37">
                  <c:v>0.97712177473784112</c:v>
                </c:pt>
                <c:pt idx="38">
                  <c:v>0.97875065286293805</c:v>
                </c:pt>
                <c:pt idx="39">
                  <c:v>0.98023047552270759</c:v>
                </c:pt>
                <c:pt idx="40">
                  <c:v>0.98164829110890095</c:v>
                </c:pt>
                <c:pt idx="41">
                  <c:v>0.98290274190509563</c:v>
                </c:pt>
                <c:pt idx="42">
                  <c:v>0.98408683852165579</c:v>
                </c:pt>
                <c:pt idx="43">
                  <c:v>0.98524231648887317</c:v>
                </c:pt>
                <c:pt idx="44">
                  <c:v>0.98634890426346311</c:v>
                </c:pt>
                <c:pt idx="45">
                  <c:v>0.98733744010951385</c:v>
                </c:pt>
                <c:pt idx="46">
                  <c:v>0.98827827820665981</c:v>
                </c:pt>
                <c:pt idx="47">
                  <c:v>0.9891642638925654</c:v>
                </c:pt>
                <c:pt idx="48">
                  <c:v>0.98998943494861735</c:v>
                </c:pt>
                <c:pt idx="49">
                  <c:v>0.99080506645488842</c:v>
                </c:pt>
                <c:pt idx="50">
                  <c:v>0.99150860825123333</c:v>
                </c:pt>
                <c:pt idx="51">
                  <c:v>0.99213106387444017</c:v>
                </c:pt>
                <c:pt idx="52">
                  <c:v>0.99269985953012918</c:v>
                </c:pt>
                <c:pt idx="53">
                  <c:v>0.99319710856246113</c:v>
                </c:pt>
                <c:pt idx="54">
                  <c:v>0.99369078026362523</c:v>
                </c:pt>
                <c:pt idx="55">
                  <c:v>0.99415941064661428</c:v>
                </c:pt>
                <c:pt idx="56">
                  <c:v>0.99461253926120929</c:v>
                </c:pt>
                <c:pt idx="57">
                  <c:v>0.99505135855113291</c:v>
                </c:pt>
                <c:pt idx="58">
                  <c:v>0.99545678941682325</c:v>
                </c:pt>
                <c:pt idx="59">
                  <c:v>0.99584194873922904</c:v>
                </c:pt>
                <c:pt idx="60">
                  <c:v>0.99621399118068599</c:v>
                </c:pt>
                <c:pt idx="61">
                  <c:v>0.99655741497280015</c:v>
                </c:pt>
                <c:pt idx="62">
                  <c:v>0.99687698989046192</c:v>
                </c:pt>
                <c:pt idx="63">
                  <c:v>0.99715005950294155</c:v>
                </c:pt>
                <c:pt idx="64">
                  <c:v>0.99741835934053069</c:v>
                </c:pt>
                <c:pt idx="65">
                  <c:v>0.99766758007855794</c:v>
                </c:pt>
                <c:pt idx="66">
                  <c:v>0.99791322348541733</c:v>
                </c:pt>
                <c:pt idx="67">
                  <c:v>0.99814813489877319</c:v>
                </c:pt>
                <c:pt idx="68">
                  <c:v>0.99856549020168961</c:v>
                </c:pt>
                <c:pt idx="69">
                  <c:v>0.99886837090723468</c:v>
                </c:pt>
                <c:pt idx="70">
                  <c:v>0.99899953971672273</c:v>
                </c:pt>
                <c:pt idx="71">
                  <c:v>0.99911997653270723</c:v>
                </c:pt>
                <c:pt idx="72">
                  <c:v>0.9993405786213917</c:v>
                </c:pt>
                <c:pt idx="73">
                  <c:v>0.99944551366898216</c:v>
                </c:pt>
                <c:pt idx="74">
                  <c:v>0.99960172379664525</c:v>
                </c:pt>
                <c:pt idx="75">
                  <c:v>0.99966850064511192</c:v>
                </c:pt>
                <c:pt idx="76">
                  <c:v>0.99973170016241075</c:v>
                </c:pt>
                <c:pt idx="77">
                  <c:v>0.99978416768620593</c:v>
                </c:pt>
                <c:pt idx="78">
                  <c:v>0.99983305787883325</c:v>
                </c:pt>
                <c:pt idx="79">
                  <c:v>0.99993918537014626</c:v>
                </c:pt>
                <c:pt idx="80">
                  <c:v>0.99995707202598549</c:v>
                </c:pt>
                <c:pt idx="81">
                  <c:v>0.99998449823160573</c:v>
                </c:pt>
                <c:pt idx="82">
                  <c:v>0.99999999999999978</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50</c:f>
              <c:strCache>
                <c:ptCount val="49"/>
                <c:pt idx="0">
                  <c:v>All Others</c:v>
                </c:pt>
                <c:pt idx="1">
                  <c:v>Bottega</c:v>
                </c:pt>
                <c:pt idx="2">
                  <c:v>Mure</c:v>
                </c:pt>
                <c:pt idx="3">
                  <c:v>Patriarche</c:v>
                </c:pt>
                <c:pt idx="4">
                  <c:v>Savian</c:v>
                </c:pt>
                <c:pt idx="5">
                  <c:v>French Bloo</c:v>
                </c:pt>
                <c:pt idx="6">
                  <c:v>Bouvet-Ladu</c:v>
                </c:pt>
                <c:pt idx="7">
                  <c:v>De Chanceny</c:v>
                </c:pt>
                <c:pt idx="8">
                  <c:v>All Others</c:v>
                </c:pt>
                <c:pt idx="9">
                  <c:v>Patriarche</c:v>
                </c:pt>
                <c:pt idx="10">
                  <c:v>Bottega</c:v>
                </c:pt>
                <c:pt idx="11">
                  <c:v>All Others</c:v>
                </c:pt>
                <c:pt idx="12">
                  <c:v>All Others</c:v>
                </c:pt>
                <c:pt idx="13">
                  <c:v>Cru La Maqu</c:v>
                </c:pt>
                <c:pt idx="14">
                  <c:v>Contarini</c:v>
                </c:pt>
                <c:pt idx="15">
                  <c:v>Kriter</c:v>
                </c:pt>
                <c:pt idx="16">
                  <c:v>Mure</c:v>
                </c:pt>
                <c:pt idx="17">
                  <c:v>All Others</c:v>
                </c:pt>
                <c:pt idx="18">
                  <c:v>All Others</c:v>
                </c:pt>
                <c:pt idx="19">
                  <c:v>All Others</c:v>
                </c:pt>
                <c:pt idx="20">
                  <c:v>All Others</c:v>
                </c:pt>
                <c:pt idx="21">
                  <c:v>All Others</c:v>
                </c:pt>
                <c:pt idx="22">
                  <c:v>All Others</c:v>
                </c:pt>
                <c:pt idx="23">
                  <c:v>All Others</c:v>
                </c:pt>
                <c:pt idx="24">
                  <c:v>All Others</c:v>
                </c:pt>
                <c:pt idx="25">
                  <c:v>All Others</c:v>
                </c:pt>
                <c:pt idx="26">
                  <c:v>Contarini</c:v>
                </c:pt>
                <c:pt idx="27">
                  <c:v>All Others</c:v>
                </c:pt>
                <c:pt idx="28">
                  <c:v>Mure</c:v>
                </c:pt>
                <c:pt idx="29">
                  <c:v>All Others</c:v>
                </c:pt>
                <c:pt idx="30">
                  <c:v>All Others</c:v>
                </c:pt>
                <c:pt idx="31">
                  <c:v>All Others</c:v>
                </c:pt>
                <c:pt idx="32">
                  <c:v>All Others</c:v>
                </c:pt>
                <c:pt idx="33">
                  <c:v>Bouvet-Ladu</c:v>
                </c:pt>
                <c:pt idx="34">
                  <c:v>Celene</c:v>
                </c:pt>
                <c:pt idx="35">
                  <c:v>Celene</c:v>
                </c:pt>
                <c:pt idx="36">
                  <c:v>Bouvet-Ladu</c:v>
                </c:pt>
                <c:pt idx="37">
                  <c:v>All Others</c:v>
                </c:pt>
                <c:pt idx="38">
                  <c:v>Bouvet-Ladu</c:v>
                </c:pt>
                <c:pt idx="39">
                  <c:v>All Others</c:v>
                </c:pt>
                <c:pt idx="40">
                  <c:v>Bouvet-Ladu</c:v>
                </c:pt>
                <c:pt idx="41">
                  <c:v>Jaillance</c:v>
                </c:pt>
                <c:pt idx="42">
                  <c:v>Bottega</c:v>
                </c:pt>
                <c:pt idx="43">
                  <c:v>All Others</c:v>
                </c:pt>
                <c:pt idx="44">
                  <c:v>All Others</c:v>
                </c:pt>
                <c:pt idx="45">
                  <c:v>All Others</c:v>
                </c:pt>
                <c:pt idx="46">
                  <c:v>All Others</c:v>
                </c:pt>
                <c:pt idx="47">
                  <c:v>All Others</c:v>
                </c:pt>
                <c:pt idx="48">
                  <c:v>All Others</c:v>
                </c:pt>
              </c:strCache>
            </c:strRef>
          </c:cat>
          <c:val>
            <c:numRef>
              <c:f>Sheet1!$B$2:$B$50</c:f>
              <c:numCache>
                <c:formatCode>General</c:formatCode>
                <c:ptCount val="49"/>
                <c:pt idx="0">
                  <c:v>0.91</c:v>
                </c:pt>
                <c:pt idx="1">
                  <c:v>0.9</c:v>
                </c:pt>
                <c:pt idx="2">
                  <c:v>0.81</c:v>
                </c:pt>
                <c:pt idx="3">
                  <c:v>0.9</c:v>
                </c:pt>
                <c:pt idx="4">
                  <c:v>0.9</c:v>
                </c:pt>
                <c:pt idx="5">
                  <c:v>0.81</c:v>
                </c:pt>
                <c:pt idx="6">
                  <c:v>0.66</c:v>
                </c:pt>
                <c:pt idx="7">
                  <c:v>0.61</c:v>
                </c:pt>
                <c:pt idx="8">
                  <c:v>0.51</c:v>
                </c:pt>
                <c:pt idx="9">
                  <c:v>0.61</c:v>
                </c:pt>
                <c:pt idx="10">
                  <c:v>0.47</c:v>
                </c:pt>
                <c:pt idx="11">
                  <c:v>0.05</c:v>
                </c:pt>
                <c:pt idx="12">
                  <c:v>0.43</c:v>
                </c:pt>
                <c:pt idx="13">
                  <c:v>0.37</c:v>
                </c:pt>
                <c:pt idx="14">
                  <c:v>0.85</c:v>
                </c:pt>
                <c:pt idx="15">
                  <c:v>0.47</c:v>
                </c:pt>
                <c:pt idx="16">
                  <c:v>0.04</c:v>
                </c:pt>
                <c:pt idx="17">
                  <c:v>0.04</c:v>
                </c:pt>
                <c:pt idx="18">
                  <c:v>0.4</c:v>
                </c:pt>
                <c:pt idx="19">
                  <c:v>0.35</c:v>
                </c:pt>
                <c:pt idx="20">
                  <c:v>0.05</c:v>
                </c:pt>
                <c:pt idx="21">
                  <c:v>0.05</c:v>
                </c:pt>
                <c:pt idx="22">
                  <c:v>0.28000000000000003</c:v>
                </c:pt>
                <c:pt idx="23">
                  <c:v>0.39</c:v>
                </c:pt>
                <c:pt idx="24">
                  <c:v>0.3</c:v>
                </c:pt>
                <c:pt idx="25">
                  <c:v>0.27</c:v>
                </c:pt>
                <c:pt idx="26">
                  <c:v>0.19</c:v>
                </c:pt>
                <c:pt idx="27">
                  <c:v>0.04</c:v>
                </c:pt>
                <c:pt idx="28">
                  <c:v>0.04</c:v>
                </c:pt>
                <c:pt idx="29">
                  <c:v>0.05</c:v>
                </c:pt>
                <c:pt idx="30">
                  <c:v>0.31</c:v>
                </c:pt>
                <c:pt idx="31">
                  <c:v>0.02</c:v>
                </c:pt>
                <c:pt idx="32">
                  <c:v>0.17</c:v>
                </c:pt>
                <c:pt idx="33">
                  <c:v>0.11</c:v>
                </c:pt>
                <c:pt idx="34">
                  <c:v>0.11</c:v>
                </c:pt>
                <c:pt idx="35">
                  <c:v>0.05</c:v>
                </c:pt>
                <c:pt idx="36">
                  <c:v>0.05</c:v>
                </c:pt>
                <c:pt idx="37">
                  <c:v>0.02</c:v>
                </c:pt>
                <c:pt idx="38">
                  <c:v>0.05</c:v>
                </c:pt>
                <c:pt idx="39">
                  <c:v>0.11</c:v>
                </c:pt>
                <c:pt idx="40">
                  <c:v>0.03</c:v>
                </c:pt>
                <c:pt idx="41">
                  <c:v>0.04</c:v>
                </c:pt>
                <c:pt idx="42">
                  <c:v>0.09</c:v>
                </c:pt>
                <c:pt idx="43">
                  <c:v>0.01</c:v>
                </c:pt>
                <c:pt idx="44">
                  <c:v>0.05</c:v>
                </c:pt>
                <c:pt idx="45">
                  <c:v>0.03</c:v>
                </c:pt>
                <c:pt idx="46">
                  <c:v>7.0000000000000007E-2</c:v>
                </c:pt>
                <c:pt idx="47">
                  <c:v>0.01</c:v>
                </c:pt>
                <c:pt idx="48">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7ECAC4"/>
              </a:solidFill>
            </c:spPr>
            <c:extLst>
              <c:ext xmlns:c16="http://schemas.microsoft.com/office/drawing/2014/chart" uri="{C3380CC4-5D6E-409C-BE32-E72D297353CC}">
                <c16:uniqueId val="{00000051-2993-41DE-A2CB-63102DE87051}"/>
              </c:ext>
            </c:extLst>
          </c:dPt>
          <c:dPt>
            <c:idx val="13"/>
            <c:invertIfNegative val="1"/>
            <c:bubble3D val="0"/>
            <c:spPr>
              <a:solidFill>
                <a:srgbClr val="7ECAC4"/>
              </a:solidFill>
            </c:spPr>
            <c:extLst>
              <c:ext xmlns:c16="http://schemas.microsoft.com/office/drawing/2014/chart" uri="{C3380CC4-5D6E-409C-BE32-E72D297353CC}">
                <c16:uniqueId val="{00000053-2993-41DE-A2CB-63102DE87051}"/>
              </c:ext>
            </c:extLst>
          </c:dPt>
          <c:dPt>
            <c:idx val="14"/>
            <c:invertIfNegative val="1"/>
            <c:bubble3D val="0"/>
            <c:spPr>
              <a:solidFill>
                <a:srgbClr val="7ECAC4"/>
              </a:solidFill>
            </c:spPr>
            <c:extLst>
              <c:ext xmlns:c16="http://schemas.microsoft.com/office/drawing/2014/chart" uri="{C3380CC4-5D6E-409C-BE32-E72D297353CC}">
                <c16:uniqueId val="{00000055-2993-41DE-A2CB-63102DE87051}"/>
              </c:ext>
            </c:extLst>
          </c:dPt>
          <c:dPt>
            <c:idx val="15"/>
            <c:invertIfNegative val="1"/>
            <c:bubble3D val="0"/>
            <c:spPr>
              <a:solidFill>
                <a:srgbClr val="7ECAC4"/>
              </a:solidFill>
            </c:spPr>
            <c:extLst>
              <c:ext xmlns:c16="http://schemas.microsoft.com/office/drawing/2014/chart" uri="{C3380CC4-5D6E-409C-BE32-E72D297353CC}">
                <c16:uniqueId val="{00000057-2993-41DE-A2CB-63102DE87051}"/>
              </c:ext>
            </c:extLst>
          </c:dPt>
          <c:dPt>
            <c:idx val="16"/>
            <c:invertIfNegative val="1"/>
            <c:bubble3D val="0"/>
            <c:spPr>
              <a:solidFill>
                <a:srgbClr val="7ECAC4"/>
              </a:solidFill>
            </c:spPr>
            <c:extLst>
              <c:ext xmlns:c16="http://schemas.microsoft.com/office/drawing/2014/chart" uri="{C3380CC4-5D6E-409C-BE32-E72D297353CC}">
                <c16:uniqueId val="{00000059-2993-41DE-A2CB-63102DE87051}"/>
              </c:ext>
            </c:extLst>
          </c:dPt>
          <c:dPt>
            <c:idx val="17"/>
            <c:invertIfNegative val="1"/>
            <c:bubble3D val="0"/>
            <c:spPr>
              <a:solidFill>
                <a:srgbClr val="7ECAC4"/>
              </a:solidFill>
            </c:spPr>
            <c:extLst>
              <c:ext xmlns:c16="http://schemas.microsoft.com/office/drawing/2014/chart" uri="{C3380CC4-5D6E-409C-BE32-E72D297353CC}">
                <c16:uniqueId val="{0000005B-2993-41DE-A2CB-63102DE87051}"/>
              </c:ext>
            </c:extLst>
          </c:dPt>
          <c:dPt>
            <c:idx val="18"/>
            <c:invertIfNegative val="1"/>
            <c:bubble3D val="0"/>
            <c:spPr>
              <a:solidFill>
                <a:srgbClr val="7ECAC4"/>
              </a:solidFill>
            </c:spPr>
            <c:extLst>
              <c:ext xmlns:c16="http://schemas.microsoft.com/office/drawing/2014/chart" uri="{C3380CC4-5D6E-409C-BE32-E72D297353CC}">
                <c16:uniqueId val="{0000005D-2993-41DE-A2CB-63102DE87051}"/>
              </c:ext>
            </c:extLst>
          </c:dPt>
          <c:dPt>
            <c:idx val="19"/>
            <c:invertIfNegative val="1"/>
            <c:bubble3D val="0"/>
            <c:spPr>
              <a:solidFill>
                <a:srgbClr val="7ECAC4"/>
              </a:solidFill>
            </c:spPr>
            <c:extLst>
              <c:ext xmlns:c16="http://schemas.microsoft.com/office/drawing/2014/chart" uri="{C3380CC4-5D6E-409C-BE32-E72D297353CC}">
                <c16:uniqueId val="{0000005F-2993-41DE-A2CB-63102DE87051}"/>
              </c:ext>
            </c:extLst>
          </c:dPt>
          <c:dPt>
            <c:idx val="20"/>
            <c:invertIfNegative val="1"/>
            <c:bubble3D val="0"/>
            <c:spPr>
              <a:solidFill>
                <a:srgbClr val="7ECAC4"/>
              </a:solidFill>
            </c:spPr>
            <c:extLst>
              <c:ext xmlns:c16="http://schemas.microsoft.com/office/drawing/2014/chart" uri="{C3380CC4-5D6E-409C-BE32-E72D297353CC}">
                <c16:uniqueId val="{00000061-2993-41DE-A2CB-63102DE87051}"/>
              </c:ext>
            </c:extLst>
          </c:dPt>
          <c:dPt>
            <c:idx val="21"/>
            <c:invertIfNegative val="1"/>
            <c:bubble3D val="0"/>
            <c:spPr>
              <a:solidFill>
                <a:srgbClr val="7ECAC4"/>
              </a:solidFill>
            </c:spPr>
            <c:extLst>
              <c:ext xmlns:c16="http://schemas.microsoft.com/office/drawing/2014/chart" uri="{C3380CC4-5D6E-409C-BE32-E72D297353CC}">
                <c16:uniqueId val="{00000063-2993-41DE-A2CB-63102DE87051}"/>
              </c:ext>
            </c:extLst>
          </c:dPt>
          <c:dPt>
            <c:idx val="22"/>
            <c:invertIfNegative val="1"/>
            <c:bubble3D val="0"/>
            <c:spPr>
              <a:solidFill>
                <a:srgbClr val="7ECAC4"/>
              </a:solidFill>
            </c:spPr>
            <c:extLst>
              <c:ext xmlns:c16="http://schemas.microsoft.com/office/drawing/2014/chart" uri="{C3380CC4-5D6E-409C-BE32-E72D297353CC}">
                <c16:uniqueId val="{00000065-2993-41DE-A2CB-63102DE87051}"/>
              </c:ext>
            </c:extLst>
          </c:dPt>
          <c:dPt>
            <c:idx val="23"/>
            <c:invertIfNegative val="1"/>
            <c:bubble3D val="0"/>
            <c:spPr>
              <a:solidFill>
                <a:srgbClr val="AEABAB"/>
              </a:solidFill>
            </c:spPr>
            <c:extLst>
              <c:ext xmlns:c16="http://schemas.microsoft.com/office/drawing/2014/chart" uri="{C3380CC4-5D6E-409C-BE32-E72D297353CC}">
                <c16:uniqueId val="{00000067-2993-41DE-A2CB-63102DE87051}"/>
              </c:ext>
            </c:extLst>
          </c:dPt>
          <c:dPt>
            <c:idx val="24"/>
            <c:invertIfNegative val="1"/>
            <c:bubble3D val="0"/>
            <c:spPr>
              <a:solidFill>
                <a:srgbClr val="AEABAB"/>
              </a:solidFill>
            </c:spPr>
            <c:extLst>
              <c:ext xmlns:c16="http://schemas.microsoft.com/office/drawing/2014/chart" uri="{C3380CC4-5D6E-409C-BE32-E72D297353CC}">
                <c16:uniqueId val="{00000069-2993-41DE-A2CB-63102DE87051}"/>
              </c:ext>
            </c:extLst>
          </c:dPt>
          <c:dPt>
            <c:idx val="25"/>
            <c:invertIfNegative val="1"/>
            <c:bubble3D val="0"/>
            <c:spPr>
              <a:solidFill>
                <a:srgbClr val="AEABAB"/>
              </a:solidFill>
            </c:spPr>
            <c:extLst>
              <c:ext xmlns:c16="http://schemas.microsoft.com/office/drawing/2014/chart" uri="{C3380CC4-5D6E-409C-BE32-E72D297353CC}">
                <c16:uniqueId val="{0000006B-2993-41DE-A2CB-63102DE87051}"/>
              </c:ext>
            </c:extLst>
          </c:dPt>
          <c:dPt>
            <c:idx val="26"/>
            <c:invertIfNegative val="1"/>
            <c:bubble3D val="0"/>
            <c:spPr>
              <a:solidFill>
                <a:srgbClr val="AEABAB"/>
              </a:solidFill>
            </c:spPr>
            <c:extLst>
              <c:ext xmlns:c16="http://schemas.microsoft.com/office/drawing/2014/chart" uri="{C3380CC4-5D6E-409C-BE32-E72D297353CC}">
                <c16:uniqueId val="{0000006D-2993-41DE-A2CB-63102DE87051}"/>
              </c:ext>
            </c:extLst>
          </c:dPt>
          <c:dPt>
            <c:idx val="27"/>
            <c:invertIfNegative val="1"/>
            <c:bubble3D val="0"/>
            <c:spPr>
              <a:solidFill>
                <a:srgbClr val="AEABAB"/>
              </a:solidFill>
            </c:spPr>
            <c:extLst>
              <c:ext xmlns:c16="http://schemas.microsoft.com/office/drawing/2014/chart" uri="{C3380CC4-5D6E-409C-BE32-E72D297353CC}">
                <c16:uniqueId val="{0000006F-2993-41DE-A2CB-63102DE87051}"/>
              </c:ext>
            </c:extLst>
          </c:dPt>
          <c:dPt>
            <c:idx val="28"/>
            <c:invertIfNegative val="1"/>
            <c:bubble3D val="0"/>
            <c:spPr>
              <a:solidFill>
                <a:srgbClr val="AEABAB"/>
              </a:solidFill>
            </c:spPr>
            <c:extLst>
              <c:ext xmlns:c16="http://schemas.microsoft.com/office/drawing/2014/chart" uri="{C3380CC4-5D6E-409C-BE32-E72D297353CC}">
                <c16:uniqueId val="{00000071-2993-41DE-A2CB-63102DE87051}"/>
              </c:ext>
            </c:extLst>
          </c:dPt>
          <c:dPt>
            <c:idx val="29"/>
            <c:invertIfNegative val="1"/>
            <c:bubble3D val="0"/>
            <c:spPr>
              <a:solidFill>
                <a:srgbClr val="AEABAB"/>
              </a:solidFill>
            </c:spPr>
            <c:extLst>
              <c:ext xmlns:c16="http://schemas.microsoft.com/office/drawing/2014/chart" uri="{C3380CC4-5D6E-409C-BE32-E72D297353CC}">
                <c16:uniqueId val="{00000073-2993-41DE-A2CB-63102DE87051}"/>
              </c:ext>
            </c:extLst>
          </c:dPt>
          <c:dPt>
            <c:idx val="30"/>
            <c:invertIfNegative val="1"/>
            <c:bubble3D val="0"/>
            <c:spPr>
              <a:solidFill>
                <a:srgbClr val="AEABAB"/>
              </a:solidFill>
            </c:spPr>
            <c:extLst>
              <c:ext xmlns:c16="http://schemas.microsoft.com/office/drawing/2014/chart" uri="{C3380CC4-5D6E-409C-BE32-E72D297353CC}">
                <c16:uniqueId val="{00000075-2993-41DE-A2CB-63102DE87051}"/>
              </c:ext>
            </c:extLst>
          </c:dPt>
          <c:dPt>
            <c:idx val="31"/>
            <c:invertIfNegative val="1"/>
            <c:bubble3D val="0"/>
            <c:spPr>
              <a:solidFill>
                <a:srgbClr val="AEABAB"/>
              </a:solidFill>
            </c:spPr>
            <c:extLst>
              <c:ext xmlns:c16="http://schemas.microsoft.com/office/drawing/2014/chart" uri="{C3380CC4-5D6E-409C-BE32-E72D297353CC}">
                <c16:uniqueId val="{00000077-2993-41DE-A2CB-63102DE87051}"/>
              </c:ext>
            </c:extLst>
          </c:dPt>
          <c:dPt>
            <c:idx val="32"/>
            <c:invertIfNegative val="1"/>
            <c:bubble3D val="0"/>
            <c:spPr>
              <a:solidFill>
                <a:srgbClr val="AEABAB"/>
              </a:solidFill>
            </c:spPr>
            <c:extLst>
              <c:ext xmlns:c16="http://schemas.microsoft.com/office/drawing/2014/chart" uri="{C3380CC4-5D6E-409C-BE32-E72D297353CC}">
                <c16:uniqueId val="{00000079-2993-41DE-A2CB-63102DE87051}"/>
              </c:ext>
            </c:extLst>
          </c:dPt>
          <c:dPt>
            <c:idx val="33"/>
            <c:invertIfNegative val="1"/>
            <c:bubble3D val="0"/>
            <c:spPr>
              <a:solidFill>
                <a:srgbClr val="AEABAB"/>
              </a:solidFill>
            </c:spPr>
            <c:extLst>
              <c:ext xmlns:c16="http://schemas.microsoft.com/office/drawing/2014/chart" uri="{C3380CC4-5D6E-409C-BE32-E72D297353CC}">
                <c16:uniqueId val="{0000007B-2993-41DE-A2CB-63102DE87051}"/>
              </c:ext>
            </c:extLst>
          </c:dPt>
          <c:dPt>
            <c:idx val="34"/>
            <c:invertIfNegative val="1"/>
            <c:bubble3D val="0"/>
            <c:spPr>
              <a:solidFill>
                <a:srgbClr val="AEABAB"/>
              </a:solidFill>
            </c:spPr>
            <c:extLst>
              <c:ext xmlns:c16="http://schemas.microsoft.com/office/drawing/2014/chart" uri="{C3380CC4-5D6E-409C-BE32-E72D297353CC}">
                <c16:uniqueId val="{0000007D-2993-41DE-A2CB-63102DE87051}"/>
              </c:ext>
            </c:extLst>
          </c:dPt>
          <c:dPt>
            <c:idx val="35"/>
            <c:invertIfNegative val="1"/>
            <c:bubble3D val="0"/>
            <c:spPr>
              <a:solidFill>
                <a:srgbClr val="AEABAB"/>
              </a:solidFill>
            </c:spPr>
            <c:extLst>
              <c:ext xmlns:c16="http://schemas.microsoft.com/office/drawing/2014/chart" uri="{C3380CC4-5D6E-409C-BE32-E72D297353CC}">
                <c16:uniqueId val="{0000007F-2993-41DE-A2CB-63102DE87051}"/>
              </c:ext>
            </c:extLst>
          </c:dPt>
          <c:dPt>
            <c:idx val="36"/>
            <c:invertIfNegative val="1"/>
            <c:bubble3D val="0"/>
            <c:spPr>
              <a:solidFill>
                <a:srgbClr val="AEABAB"/>
              </a:solidFill>
            </c:spPr>
            <c:extLst>
              <c:ext xmlns:c16="http://schemas.microsoft.com/office/drawing/2014/chart" uri="{C3380CC4-5D6E-409C-BE32-E72D297353CC}">
                <c16:uniqueId val="{00000081-2993-41DE-A2CB-63102DE87051}"/>
              </c:ext>
            </c:extLst>
          </c:dPt>
          <c:dPt>
            <c:idx val="37"/>
            <c:invertIfNegative val="1"/>
            <c:bubble3D val="0"/>
            <c:spPr>
              <a:solidFill>
                <a:srgbClr val="AEABAB"/>
              </a:solidFill>
            </c:spPr>
            <c:extLst>
              <c:ext xmlns:c16="http://schemas.microsoft.com/office/drawing/2014/chart" uri="{C3380CC4-5D6E-409C-BE32-E72D297353CC}">
                <c16:uniqueId val="{00000083-2993-41DE-A2CB-63102DE87051}"/>
              </c:ext>
            </c:extLst>
          </c:dPt>
          <c:dPt>
            <c:idx val="38"/>
            <c:invertIfNegative val="1"/>
            <c:bubble3D val="0"/>
            <c:spPr>
              <a:solidFill>
                <a:srgbClr val="AEABAB"/>
              </a:solidFill>
            </c:spPr>
            <c:extLst>
              <c:ext xmlns:c16="http://schemas.microsoft.com/office/drawing/2014/chart" uri="{C3380CC4-5D6E-409C-BE32-E72D297353CC}">
                <c16:uniqueId val="{00000085-2993-41DE-A2CB-63102DE87051}"/>
              </c:ext>
            </c:extLst>
          </c:dPt>
          <c:dPt>
            <c:idx val="39"/>
            <c:invertIfNegative val="1"/>
            <c:bubble3D val="0"/>
            <c:spPr>
              <a:solidFill>
                <a:srgbClr val="AEABAB"/>
              </a:solidFill>
            </c:spPr>
            <c:extLst>
              <c:ext xmlns:c16="http://schemas.microsoft.com/office/drawing/2014/chart" uri="{C3380CC4-5D6E-409C-BE32-E72D297353CC}">
                <c16:uniqueId val="{00000087-2993-41DE-A2CB-63102DE87051}"/>
              </c:ext>
            </c:extLst>
          </c:dPt>
          <c:dPt>
            <c:idx val="40"/>
            <c:invertIfNegative val="1"/>
            <c:bubble3D val="0"/>
            <c:spPr>
              <a:solidFill>
                <a:srgbClr val="AEABAB"/>
              </a:solidFill>
            </c:spPr>
            <c:extLst>
              <c:ext xmlns:c16="http://schemas.microsoft.com/office/drawing/2014/chart" uri="{C3380CC4-5D6E-409C-BE32-E72D297353CC}">
                <c16:uniqueId val="{00000089-2993-41DE-A2CB-63102DE87051}"/>
              </c:ext>
            </c:extLst>
          </c:dPt>
          <c:dPt>
            <c:idx val="41"/>
            <c:invertIfNegative val="1"/>
            <c:bubble3D val="0"/>
            <c:spPr>
              <a:solidFill>
                <a:srgbClr val="AEABAB"/>
              </a:solidFill>
            </c:spPr>
            <c:extLst>
              <c:ext xmlns:c16="http://schemas.microsoft.com/office/drawing/2014/chart" uri="{C3380CC4-5D6E-409C-BE32-E72D297353CC}">
                <c16:uniqueId val="{0000008B-2993-41DE-A2CB-63102DE87051}"/>
              </c:ext>
            </c:extLst>
          </c:dPt>
          <c:dPt>
            <c:idx val="42"/>
            <c:invertIfNegative val="1"/>
            <c:bubble3D val="0"/>
            <c:spPr>
              <a:solidFill>
                <a:srgbClr val="AEABAB"/>
              </a:solidFill>
            </c:spPr>
            <c:extLst>
              <c:ext xmlns:c16="http://schemas.microsoft.com/office/drawing/2014/chart" uri="{C3380CC4-5D6E-409C-BE32-E72D297353CC}">
                <c16:uniqueId val="{0000008D-2993-41DE-A2CB-63102DE87051}"/>
              </c:ext>
            </c:extLst>
          </c:dPt>
          <c:dPt>
            <c:idx val="43"/>
            <c:invertIfNegative val="1"/>
            <c:bubble3D val="0"/>
            <c:spPr>
              <a:solidFill>
                <a:srgbClr val="AEABAB"/>
              </a:solidFill>
            </c:spPr>
            <c:extLst>
              <c:ext xmlns:c16="http://schemas.microsoft.com/office/drawing/2014/chart" uri="{C3380CC4-5D6E-409C-BE32-E72D297353CC}">
                <c16:uniqueId val="{0000008F-2993-41DE-A2CB-63102DE87051}"/>
              </c:ext>
            </c:extLst>
          </c:dPt>
          <c:dPt>
            <c:idx val="44"/>
            <c:invertIfNegative val="1"/>
            <c:bubble3D val="0"/>
            <c:spPr>
              <a:solidFill>
                <a:srgbClr val="AEABAB"/>
              </a:solidFill>
            </c:spPr>
            <c:extLst>
              <c:ext xmlns:c16="http://schemas.microsoft.com/office/drawing/2014/chart" uri="{C3380CC4-5D6E-409C-BE32-E72D297353CC}">
                <c16:uniqueId val="{00000091-2993-41DE-A2CB-63102DE87051}"/>
              </c:ext>
            </c:extLst>
          </c:dPt>
          <c:dPt>
            <c:idx val="45"/>
            <c:invertIfNegative val="1"/>
            <c:bubble3D val="0"/>
            <c:spPr>
              <a:solidFill>
                <a:srgbClr val="AEABAB"/>
              </a:solidFill>
            </c:spPr>
            <c:extLst>
              <c:ext xmlns:c16="http://schemas.microsoft.com/office/drawing/2014/chart" uri="{C3380CC4-5D6E-409C-BE32-E72D297353CC}">
                <c16:uniqueId val="{00000093-2993-41DE-A2CB-63102DE87051}"/>
              </c:ext>
            </c:extLst>
          </c:dPt>
          <c:dPt>
            <c:idx val="46"/>
            <c:invertIfNegative val="1"/>
            <c:bubble3D val="0"/>
            <c:spPr>
              <a:solidFill>
                <a:srgbClr val="AEABAB"/>
              </a:solidFill>
            </c:spPr>
            <c:extLst>
              <c:ext xmlns:c16="http://schemas.microsoft.com/office/drawing/2014/chart" uri="{C3380CC4-5D6E-409C-BE32-E72D297353CC}">
                <c16:uniqueId val="{00000095-2993-41DE-A2CB-63102DE87051}"/>
              </c:ext>
            </c:extLst>
          </c:dPt>
          <c:dPt>
            <c:idx val="47"/>
            <c:invertIfNegative val="1"/>
            <c:bubble3D val="0"/>
            <c:spPr>
              <a:solidFill>
                <a:srgbClr val="AEABAB"/>
              </a:solidFill>
            </c:spPr>
            <c:extLst>
              <c:ext xmlns:c16="http://schemas.microsoft.com/office/drawing/2014/chart" uri="{C3380CC4-5D6E-409C-BE32-E72D297353CC}">
                <c16:uniqueId val="{00000097-2993-41DE-A2CB-63102DE87051}"/>
              </c:ext>
            </c:extLst>
          </c:dPt>
          <c:dPt>
            <c:idx val="48"/>
            <c:invertIfNegative val="1"/>
            <c:bubble3D val="0"/>
            <c:spPr>
              <a:solidFill>
                <a:srgbClr val="AEABAB"/>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50</c:f>
              <c:strCache>
                <c:ptCount val="49"/>
                <c:pt idx="0">
                  <c:v>All Others</c:v>
                </c:pt>
                <c:pt idx="1">
                  <c:v>Bottega</c:v>
                </c:pt>
                <c:pt idx="2">
                  <c:v>Mure</c:v>
                </c:pt>
                <c:pt idx="3">
                  <c:v>Patriarche</c:v>
                </c:pt>
                <c:pt idx="4">
                  <c:v>Savian</c:v>
                </c:pt>
                <c:pt idx="5">
                  <c:v>French Bloo</c:v>
                </c:pt>
                <c:pt idx="6">
                  <c:v>Bouvet-Ladu</c:v>
                </c:pt>
                <c:pt idx="7">
                  <c:v>De Chanceny</c:v>
                </c:pt>
                <c:pt idx="8">
                  <c:v>All Others</c:v>
                </c:pt>
                <c:pt idx="9">
                  <c:v>Patriarche</c:v>
                </c:pt>
                <c:pt idx="10">
                  <c:v>Bottega</c:v>
                </c:pt>
                <c:pt idx="11">
                  <c:v>All Others</c:v>
                </c:pt>
                <c:pt idx="12">
                  <c:v>All Others</c:v>
                </c:pt>
                <c:pt idx="13">
                  <c:v>Cru La Maqu</c:v>
                </c:pt>
                <c:pt idx="14">
                  <c:v>Contarini</c:v>
                </c:pt>
                <c:pt idx="15">
                  <c:v>Kriter</c:v>
                </c:pt>
                <c:pt idx="16">
                  <c:v>Mure</c:v>
                </c:pt>
                <c:pt idx="17">
                  <c:v>All Others</c:v>
                </c:pt>
                <c:pt idx="18">
                  <c:v>All Others</c:v>
                </c:pt>
                <c:pt idx="19">
                  <c:v>All Others</c:v>
                </c:pt>
                <c:pt idx="20">
                  <c:v>All Others</c:v>
                </c:pt>
                <c:pt idx="21">
                  <c:v>All Others</c:v>
                </c:pt>
                <c:pt idx="22">
                  <c:v>All Others</c:v>
                </c:pt>
                <c:pt idx="23">
                  <c:v>All Others</c:v>
                </c:pt>
                <c:pt idx="24">
                  <c:v>All Others</c:v>
                </c:pt>
                <c:pt idx="25">
                  <c:v>All Others</c:v>
                </c:pt>
                <c:pt idx="26">
                  <c:v>Contarini</c:v>
                </c:pt>
                <c:pt idx="27">
                  <c:v>All Others</c:v>
                </c:pt>
                <c:pt idx="28">
                  <c:v>Mure</c:v>
                </c:pt>
                <c:pt idx="29">
                  <c:v>All Others</c:v>
                </c:pt>
                <c:pt idx="30">
                  <c:v>All Others</c:v>
                </c:pt>
                <c:pt idx="31">
                  <c:v>All Others</c:v>
                </c:pt>
                <c:pt idx="32">
                  <c:v>All Others</c:v>
                </c:pt>
                <c:pt idx="33">
                  <c:v>Bouvet-Ladu</c:v>
                </c:pt>
                <c:pt idx="34">
                  <c:v>Celene</c:v>
                </c:pt>
                <c:pt idx="35">
                  <c:v>Celene</c:v>
                </c:pt>
                <c:pt idx="36">
                  <c:v>Bouvet-Ladu</c:v>
                </c:pt>
                <c:pt idx="37">
                  <c:v>All Others</c:v>
                </c:pt>
                <c:pt idx="38">
                  <c:v>Bouvet-Ladu</c:v>
                </c:pt>
                <c:pt idx="39">
                  <c:v>All Others</c:v>
                </c:pt>
                <c:pt idx="40">
                  <c:v>Bouvet-Ladu</c:v>
                </c:pt>
                <c:pt idx="41">
                  <c:v>Jaillance</c:v>
                </c:pt>
                <c:pt idx="42">
                  <c:v>Bottega</c:v>
                </c:pt>
                <c:pt idx="43">
                  <c:v>All Others</c:v>
                </c:pt>
                <c:pt idx="44">
                  <c:v>All Others</c:v>
                </c:pt>
                <c:pt idx="45">
                  <c:v>All Others</c:v>
                </c:pt>
                <c:pt idx="46">
                  <c:v>All Others</c:v>
                </c:pt>
                <c:pt idx="47">
                  <c:v>All Others</c:v>
                </c:pt>
                <c:pt idx="48">
                  <c:v>All Others</c:v>
                </c:pt>
              </c:strCache>
            </c:strRef>
          </c:cat>
          <c:val>
            <c:numRef>
              <c:f>Sheet1!$C$2:$C$50</c:f>
              <c:numCache>
                <c:formatCode>General</c:formatCode>
                <c:ptCount val="49"/>
                <c:pt idx="0">
                  <c:v>0.1485907663790593</c:v>
                </c:pt>
                <c:pt idx="1">
                  <c:v>0.28357279357528065</c:v>
                </c:pt>
                <c:pt idx="2">
                  <c:v>0.37649569651788883</c:v>
                </c:pt>
                <c:pt idx="3">
                  <c:v>0.46435092776229558</c:v>
                </c:pt>
                <c:pt idx="4">
                  <c:v>0.55011872041289622</c:v>
                </c:pt>
                <c:pt idx="5">
                  <c:v>0.61479743130265097</c:v>
                </c:pt>
                <c:pt idx="6">
                  <c:v>0.6595306876856003</c:v>
                </c:pt>
                <c:pt idx="7">
                  <c:v>0.69969581215603505</c:v>
                </c:pt>
                <c:pt idx="8">
                  <c:v>0.73294177916940362</c:v>
                </c:pt>
                <c:pt idx="9">
                  <c:v>0.76566057228128137</c:v>
                </c:pt>
                <c:pt idx="10">
                  <c:v>0.79037822601730756</c:v>
                </c:pt>
                <c:pt idx="11">
                  <c:v>0.81457083155305865</c:v>
                </c:pt>
                <c:pt idx="12">
                  <c:v>0.83009482753123198</c:v>
                </c:pt>
                <c:pt idx="13">
                  <c:v>0.84506614119332624</c:v>
                </c:pt>
                <c:pt idx="14">
                  <c:v>0.85932321924694921</c:v>
                </c:pt>
                <c:pt idx="15">
                  <c:v>0.87202215830947249</c:v>
                </c:pt>
                <c:pt idx="16">
                  <c:v>0.88458080109176029</c:v>
                </c:pt>
                <c:pt idx="17">
                  <c:v>0.89591929137624293</c:v>
                </c:pt>
                <c:pt idx="18">
                  <c:v>0.90618217684558711</c:v>
                </c:pt>
                <c:pt idx="19">
                  <c:v>0.91606243609610738</c:v>
                </c:pt>
                <c:pt idx="20">
                  <c:v>0.92587679860894134</c:v>
                </c:pt>
                <c:pt idx="21">
                  <c:v>0.93473884697714682</c:v>
                </c:pt>
                <c:pt idx="22">
                  <c:v>0.94318000650464595</c:v>
                </c:pt>
                <c:pt idx="23">
                  <c:v>0.95161053752606661</c:v>
                </c:pt>
                <c:pt idx="24">
                  <c:v>0.95998792601709504</c:v>
                </c:pt>
                <c:pt idx="25">
                  <c:v>0.96764257609478943</c:v>
                </c:pt>
                <c:pt idx="26">
                  <c:v>0.97295470343279511</c:v>
                </c:pt>
                <c:pt idx="27">
                  <c:v>0.97725287129091731</c:v>
                </c:pt>
                <c:pt idx="28">
                  <c:v>0.98088569466852904</c:v>
                </c:pt>
                <c:pt idx="29">
                  <c:v>0.98451639234492505</c:v>
                </c:pt>
                <c:pt idx="30">
                  <c:v>0.98806631337512485</c:v>
                </c:pt>
                <c:pt idx="31">
                  <c:v>0.99093175861387295</c:v>
                </c:pt>
                <c:pt idx="32">
                  <c:v>0.99273222754356116</c:v>
                </c:pt>
                <c:pt idx="33">
                  <c:v>0.99442428571124919</c:v>
                </c:pt>
                <c:pt idx="34">
                  <c:v>0.99561467839203477</c:v>
                </c:pt>
                <c:pt idx="35">
                  <c:v>0.99671579162176138</c:v>
                </c:pt>
                <c:pt idx="36">
                  <c:v>0.99770849408948792</c:v>
                </c:pt>
                <c:pt idx="37">
                  <c:v>0.99818039975937078</c:v>
                </c:pt>
                <c:pt idx="38">
                  <c:v>0.99854602036846918</c:v>
                </c:pt>
                <c:pt idx="39">
                  <c:v>0.99879685311192046</c:v>
                </c:pt>
                <c:pt idx="40">
                  <c:v>0.99904768585537174</c:v>
                </c:pt>
                <c:pt idx="41">
                  <c:v>0.99927513588545036</c:v>
                </c:pt>
                <c:pt idx="42">
                  <c:v>0.99943456347662696</c:v>
                </c:pt>
                <c:pt idx="43">
                  <c:v>0.9995854882629408</c:v>
                </c:pt>
                <c:pt idx="44">
                  <c:v>0.9997130303358821</c:v>
                </c:pt>
                <c:pt idx="45">
                  <c:v>0.99982781820152933</c:v>
                </c:pt>
                <c:pt idx="46">
                  <c:v>0.99991284625015686</c:v>
                </c:pt>
                <c:pt idx="47">
                  <c:v>0.99998086868905889</c:v>
                </c:pt>
                <c:pt idx="48">
                  <c:v>1</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43</c:f>
              <c:strCache>
                <c:ptCount val="42"/>
                <c:pt idx="0">
                  <c:v>All Others</c:v>
                </c:pt>
                <c:pt idx="1">
                  <c:v>Bottega</c:v>
                </c:pt>
                <c:pt idx="2">
                  <c:v>Patriarche</c:v>
                </c:pt>
                <c:pt idx="3">
                  <c:v>Savian</c:v>
                </c:pt>
                <c:pt idx="4">
                  <c:v>Bouvet-Ladu</c:v>
                </c:pt>
                <c:pt idx="5">
                  <c:v>Mure</c:v>
                </c:pt>
                <c:pt idx="6">
                  <c:v>French Bloo</c:v>
                </c:pt>
                <c:pt idx="7">
                  <c:v>All Others</c:v>
                </c:pt>
                <c:pt idx="8">
                  <c:v>De Chanceny</c:v>
                </c:pt>
                <c:pt idx="9">
                  <c:v>Bottega</c:v>
                </c:pt>
                <c:pt idx="10">
                  <c:v>Patriarche</c:v>
                </c:pt>
                <c:pt idx="11">
                  <c:v>Contarini</c:v>
                </c:pt>
                <c:pt idx="12">
                  <c:v>Kriter</c:v>
                </c:pt>
                <c:pt idx="13">
                  <c:v>All Others</c:v>
                </c:pt>
                <c:pt idx="14">
                  <c:v>Cru La Maqu</c:v>
                </c:pt>
                <c:pt idx="15">
                  <c:v>All Others</c:v>
                </c:pt>
                <c:pt idx="16">
                  <c:v>All Others</c:v>
                </c:pt>
                <c:pt idx="17">
                  <c:v>All Others</c:v>
                </c:pt>
                <c:pt idx="18">
                  <c:v>All Others</c:v>
                </c:pt>
                <c:pt idx="19">
                  <c:v>All Others</c:v>
                </c:pt>
                <c:pt idx="20">
                  <c:v>All Others</c:v>
                </c:pt>
                <c:pt idx="21">
                  <c:v>All Others</c:v>
                </c:pt>
                <c:pt idx="22">
                  <c:v>Contarini</c:v>
                </c:pt>
                <c:pt idx="23">
                  <c:v>All Others</c:v>
                </c:pt>
                <c:pt idx="24">
                  <c:v>Bouvet-Ladu</c:v>
                </c:pt>
                <c:pt idx="25">
                  <c:v>Bouvet-Ladu</c:v>
                </c:pt>
                <c:pt idx="26">
                  <c:v>Bouvet-Ladu</c:v>
                </c:pt>
                <c:pt idx="27">
                  <c:v>All Others</c:v>
                </c:pt>
                <c:pt idx="28">
                  <c:v>Bottega</c:v>
                </c:pt>
                <c:pt idx="29">
                  <c:v>All Others</c:v>
                </c:pt>
                <c:pt idx="30">
                  <c:v>All Others</c:v>
                </c:pt>
                <c:pt idx="31">
                  <c:v>Celene</c:v>
                </c:pt>
                <c:pt idx="32">
                  <c:v>Celene</c:v>
                </c:pt>
                <c:pt idx="33">
                  <c:v>Jaillance</c:v>
                </c:pt>
                <c:pt idx="34">
                  <c:v>All Others</c:v>
                </c:pt>
                <c:pt idx="35">
                  <c:v>All Others</c:v>
                </c:pt>
                <c:pt idx="36">
                  <c:v>Bouvet-Ladu</c:v>
                </c:pt>
                <c:pt idx="37">
                  <c:v>All Others</c:v>
                </c:pt>
                <c:pt idx="38">
                  <c:v>All Others</c:v>
                </c:pt>
                <c:pt idx="39">
                  <c:v>Mure</c:v>
                </c:pt>
                <c:pt idx="40">
                  <c:v>Bottega</c:v>
                </c:pt>
                <c:pt idx="41">
                  <c:v>All Others</c:v>
                </c:pt>
              </c:strCache>
            </c:strRef>
          </c:cat>
          <c:val>
            <c:numRef>
              <c:f>Sheet1!$B$2:$B$43</c:f>
              <c:numCache>
                <c:formatCode>General</c:formatCode>
                <c:ptCount val="42"/>
                <c:pt idx="0">
                  <c:v>0.97</c:v>
                </c:pt>
                <c:pt idx="1">
                  <c:v>0.88</c:v>
                </c:pt>
                <c:pt idx="2">
                  <c:v>0.97</c:v>
                </c:pt>
                <c:pt idx="3">
                  <c:v>0.92</c:v>
                </c:pt>
                <c:pt idx="4">
                  <c:v>0.68</c:v>
                </c:pt>
                <c:pt idx="5">
                  <c:v>0.72</c:v>
                </c:pt>
                <c:pt idx="6">
                  <c:v>0.7</c:v>
                </c:pt>
                <c:pt idx="7">
                  <c:v>0.51</c:v>
                </c:pt>
                <c:pt idx="8">
                  <c:v>0.43</c:v>
                </c:pt>
                <c:pt idx="9">
                  <c:v>0.46</c:v>
                </c:pt>
                <c:pt idx="10">
                  <c:v>0.52</c:v>
                </c:pt>
                <c:pt idx="11">
                  <c:v>0.91</c:v>
                </c:pt>
                <c:pt idx="12">
                  <c:v>0.39</c:v>
                </c:pt>
                <c:pt idx="13">
                  <c:v>0.26</c:v>
                </c:pt>
                <c:pt idx="14">
                  <c:v>0.56000000000000005</c:v>
                </c:pt>
                <c:pt idx="15">
                  <c:v>0.47</c:v>
                </c:pt>
                <c:pt idx="16">
                  <c:v>0.28000000000000003</c:v>
                </c:pt>
                <c:pt idx="17">
                  <c:v>0.3</c:v>
                </c:pt>
                <c:pt idx="18">
                  <c:v>0.1</c:v>
                </c:pt>
                <c:pt idx="19">
                  <c:v>0.22</c:v>
                </c:pt>
                <c:pt idx="20">
                  <c:v>0.08</c:v>
                </c:pt>
                <c:pt idx="21">
                  <c:v>0.26</c:v>
                </c:pt>
                <c:pt idx="22">
                  <c:v>0.17</c:v>
                </c:pt>
                <c:pt idx="23">
                  <c:v>0.28000000000000003</c:v>
                </c:pt>
                <c:pt idx="24">
                  <c:v>0.23</c:v>
                </c:pt>
                <c:pt idx="25">
                  <c:v>0.21</c:v>
                </c:pt>
                <c:pt idx="26">
                  <c:v>0.22</c:v>
                </c:pt>
                <c:pt idx="27">
                  <c:v>0.16</c:v>
                </c:pt>
                <c:pt idx="28">
                  <c:v>0.1</c:v>
                </c:pt>
                <c:pt idx="29">
                  <c:v>0.05</c:v>
                </c:pt>
                <c:pt idx="30">
                  <c:v>0.08</c:v>
                </c:pt>
                <c:pt idx="31">
                  <c:v>0.16</c:v>
                </c:pt>
                <c:pt idx="32">
                  <c:v>0.12</c:v>
                </c:pt>
                <c:pt idx="33">
                  <c:v>0.05</c:v>
                </c:pt>
                <c:pt idx="34">
                  <c:v>0.1</c:v>
                </c:pt>
                <c:pt idx="35">
                  <c:v>0.09</c:v>
                </c:pt>
                <c:pt idx="36">
                  <c:v>0.02</c:v>
                </c:pt>
                <c:pt idx="37">
                  <c:v>0.13</c:v>
                </c:pt>
                <c:pt idx="38">
                  <c:v>0.05</c:v>
                </c:pt>
                <c:pt idx="39">
                  <c:v>0.03</c:v>
                </c:pt>
                <c:pt idx="40">
                  <c:v>0.03</c:v>
                </c:pt>
                <c:pt idx="41">
                  <c:v>0.02</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7ECAC4"/>
              </a:solidFill>
            </c:spPr>
            <c:extLst>
              <c:ext xmlns:c16="http://schemas.microsoft.com/office/drawing/2014/chart" uri="{C3380CC4-5D6E-409C-BE32-E72D297353CC}">
                <c16:uniqueId val="{0000004B-2993-41DE-A2CB-63102DE87051}"/>
              </c:ext>
            </c:extLst>
          </c:dPt>
          <c:dPt>
            <c:idx val="10"/>
            <c:invertIfNegative val="1"/>
            <c:bubble3D val="0"/>
            <c:spPr>
              <a:solidFill>
                <a:srgbClr val="7ECAC4"/>
              </a:solidFill>
            </c:spPr>
            <c:extLst>
              <c:ext xmlns:c16="http://schemas.microsoft.com/office/drawing/2014/chart" uri="{C3380CC4-5D6E-409C-BE32-E72D297353CC}">
                <c16:uniqueId val="{0000004D-2993-41DE-A2CB-63102DE87051}"/>
              </c:ext>
            </c:extLst>
          </c:dPt>
          <c:dPt>
            <c:idx val="11"/>
            <c:invertIfNegative val="1"/>
            <c:bubble3D val="0"/>
            <c:spPr>
              <a:solidFill>
                <a:srgbClr val="7ECAC4"/>
              </a:solidFill>
            </c:spPr>
            <c:extLst>
              <c:ext xmlns:c16="http://schemas.microsoft.com/office/drawing/2014/chart" uri="{C3380CC4-5D6E-409C-BE32-E72D297353CC}">
                <c16:uniqueId val="{0000004F-2993-41DE-A2CB-63102DE87051}"/>
              </c:ext>
            </c:extLst>
          </c:dPt>
          <c:dPt>
            <c:idx val="12"/>
            <c:invertIfNegative val="1"/>
            <c:bubble3D val="0"/>
            <c:spPr>
              <a:solidFill>
                <a:srgbClr val="7ECAC4"/>
              </a:solidFill>
            </c:spPr>
            <c:extLst>
              <c:ext xmlns:c16="http://schemas.microsoft.com/office/drawing/2014/chart" uri="{C3380CC4-5D6E-409C-BE32-E72D297353CC}">
                <c16:uniqueId val="{00000051-2993-41DE-A2CB-63102DE87051}"/>
              </c:ext>
            </c:extLst>
          </c:dPt>
          <c:dPt>
            <c:idx val="13"/>
            <c:invertIfNegative val="1"/>
            <c:bubble3D val="0"/>
            <c:spPr>
              <a:solidFill>
                <a:srgbClr val="7ECAC4"/>
              </a:solidFill>
            </c:spPr>
            <c:extLst>
              <c:ext xmlns:c16="http://schemas.microsoft.com/office/drawing/2014/chart" uri="{C3380CC4-5D6E-409C-BE32-E72D297353CC}">
                <c16:uniqueId val="{00000053-2993-41DE-A2CB-63102DE87051}"/>
              </c:ext>
            </c:extLst>
          </c:dPt>
          <c:dPt>
            <c:idx val="14"/>
            <c:invertIfNegative val="1"/>
            <c:bubble3D val="0"/>
            <c:spPr>
              <a:solidFill>
                <a:srgbClr val="7ECAC4"/>
              </a:solidFill>
            </c:spPr>
            <c:extLst>
              <c:ext xmlns:c16="http://schemas.microsoft.com/office/drawing/2014/chart" uri="{C3380CC4-5D6E-409C-BE32-E72D297353CC}">
                <c16:uniqueId val="{00000055-2993-41DE-A2CB-63102DE87051}"/>
              </c:ext>
            </c:extLst>
          </c:dPt>
          <c:dPt>
            <c:idx val="15"/>
            <c:invertIfNegative val="1"/>
            <c:bubble3D val="0"/>
            <c:spPr>
              <a:solidFill>
                <a:srgbClr val="7ECAC4"/>
              </a:solidFill>
            </c:spPr>
            <c:extLst>
              <c:ext xmlns:c16="http://schemas.microsoft.com/office/drawing/2014/chart" uri="{C3380CC4-5D6E-409C-BE32-E72D297353CC}">
                <c16:uniqueId val="{00000057-2993-41DE-A2CB-63102DE87051}"/>
              </c:ext>
            </c:extLst>
          </c:dPt>
          <c:dPt>
            <c:idx val="16"/>
            <c:invertIfNegative val="1"/>
            <c:bubble3D val="0"/>
            <c:spPr>
              <a:solidFill>
                <a:srgbClr val="7ECAC4"/>
              </a:solidFill>
            </c:spPr>
            <c:extLst>
              <c:ext xmlns:c16="http://schemas.microsoft.com/office/drawing/2014/chart" uri="{C3380CC4-5D6E-409C-BE32-E72D297353CC}">
                <c16:uniqueId val="{00000059-2993-41DE-A2CB-63102DE87051}"/>
              </c:ext>
            </c:extLst>
          </c:dPt>
          <c:dPt>
            <c:idx val="17"/>
            <c:invertIfNegative val="1"/>
            <c:bubble3D val="0"/>
            <c:spPr>
              <a:solidFill>
                <a:srgbClr val="7ECAC4"/>
              </a:solidFill>
            </c:spPr>
            <c:extLst>
              <c:ext xmlns:c16="http://schemas.microsoft.com/office/drawing/2014/chart" uri="{C3380CC4-5D6E-409C-BE32-E72D297353CC}">
                <c16:uniqueId val="{0000005B-2993-41DE-A2CB-63102DE87051}"/>
              </c:ext>
            </c:extLst>
          </c:dPt>
          <c:dPt>
            <c:idx val="18"/>
            <c:invertIfNegative val="1"/>
            <c:bubble3D val="0"/>
            <c:spPr>
              <a:solidFill>
                <a:srgbClr val="AEABAB"/>
              </a:solidFill>
            </c:spPr>
            <c:extLst>
              <c:ext xmlns:c16="http://schemas.microsoft.com/office/drawing/2014/chart" uri="{C3380CC4-5D6E-409C-BE32-E72D297353CC}">
                <c16:uniqueId val="{0000005D-2993-41DE-A2CB-63102DE87051}"/>
              </c:ext>
            </c:extLst>
          </c:dPt>
          <c:dPt>
            <c:idx val="19"/>
            <c:invertIfNegative val="1"/>
            <c:bubble3D val="0"/>
            <c:spPr>
              <a:solidFill>
                <a:srgbClr val="AEABAB"/>
              </a:solidFill>
            </c:spPr>
            <c:extLst>
              <c:ext xmlns:c16="http://schemas.microsoft.com/office/drawing/2014/chart" uri="{C3380CC4-5D6E-409C-BE32-E72D297353CC}">
                <c16:uniqueId val="{0000005F-2993-41DE-A2CB-63102DE87051}"/>
              </c:ext>
            </c:extLst>
          </c:dPt>
          <c:dPt>
            <c:idx val="20"/>
            <c:invertIfNegative val="1"/>
            <c:bubble3D val="0"/>
            <c:spPr>
              <a:solidFill>
                <a:srgbClr val="AEABAB"/>
              </a:solidFill>
            </c:spPr>
            <c:extLst>
              <c:ext xmlns:c16="http://schemas.microsoft.com/office/drawing/2014/chart" uri="{C3380CC4-5D6E-409C-BE32-E72D297353CC}">
                <c16:uniqueId val="{00000061-2993-41DE-A2CB-63102DE87051}"/>
              </c:ext>
            </c:extLst>
          </c:dPt>
          <c:dPt>
            <c:idx val="21"/>
            <c:invertIfNegative val="1"/>
            <c:bubble3D val="0"/>
            <c:spPr>
              <a:solidFill>
                <a:srgbClr val="AEABAB"/>
              </a:solidFill>
            </c:spPr>
            <c:extLst>
              <c:ext xmlns:c16="http://schemas.microsoft.com/office/drawing/2014/chart" uri="{C3380CC4-5D6E-409C-BE32-E72D297353CC}">
                <c16:uniqueId val="{00000063-2993-41DE-A2CB-63102DE87051}"/>
              </c:ext>
            </c:extLst>
          </c:dPt>
          <c:dPt>
            <c:idx val="22"/>
            <c:invertIfNegative val="1"/>
            <c:bubble3D val="0"/>
            <c:spPr>
              <a:solidFill>
                <a:srgbClr val="AEABAB"/>
              </a:solidFill>
            </c:spPr>
            <c:extLst>
              <c:ext xmlns:c16="http://schemas.microsoft.com/office/drawing/2014/chart" uri="{C3380CC4-5D6E-409C-BE32-E72D297353CC}">
                <c16:uniqueId val="{00000065-2993-41DE-A2CB-63102DE87051}"/>
              </c:ext>
            </c:extLst>
          </c:dPt>
          <c:dPt>
            <c:idx val="23"/>
            <c:invertIfNegative val="1"/>
            <c:bubble3D val="0"/>
            <c:spPr>
              <a:solidFill>
                <a:srgbClr val="AEABAB"/>
              </a:solidFill>
            </c:spPr>
            <c:extLst>
              <c:ext xmlns:c16="http://schemas.microsoft.com/office/drawing/2014/chart" uri="{C3380CC4-5D6E-409C-BE32-E72D297353CC}">
                <c16:uniqueId val="{00000067-2993-41DE-A2CB-63102DE87051}"/>
              </c:ext>
            </c:extLst>
          </c:dPt>
          <c:dPt>
            <c:idx val="24"/>
            <c:invertIfNegative val="1"/>
            <c:bubble3D val="0"/>
            <c:spPr>
              <a:solidFill>
                <a:srgbClr val="AEABAB"/>
              </a:solidFill>
            </c:spPr>
            <c:extLst>
              <c:ext xmlns:c16="http://schemas.microsoft.com/office/drawing/2014/chart" uri="{C3380CC4-5D6E-409C-BE32-E72D297353CC}">
                <c16:uniqueId val="{00000069-2993-41DE-A2CB-63102DE87051}"/>
              </c:ext>
            </c:extLst>
          </c:dPt>
          <c:dPt>
            <c:idx val="25"/>
            <c:invertIfNegative val="1"/>
            <c:bubble3D val="0"/>
            <c:spPr>
              <a:solidFill>
                <a:srgbClr val="AEABAB"/>
              </a:solidFill>
            </c:spPr>
            <c:extLst>
              <c:ext xmlns:c16="http://schemas.microsoft.com/office/drawing/2014/chart" uri="{C3380CC4-5D6E-409C-BE32-E72D297353CC}">
                <c16:uniqueId val="{0000006B-2993-41DE-A2CB-63102DE87051}"/>
              </c:ext>
            </c:extLst>
          </c:dPt>
          <c:dPt>
            <c:idx val="26"/>
            <c:invertIfNegative val="1"/>
            <c:bubble3D val="0"/>
            <c:spPr>
              <a:solidFill>
                <a:srgbClr val="AEABAB"/>
              </a:solidFill>
            </c:spPr>
            <c:extLst>
              <c:ext xmlns:c16="http://schemas.microsoft.com/office/drawing/2014/chart" uri="{C3380CC4-5D6E-409C-BE32-E72D297353CC}">
                <c16:uniqueId val="{0000006D-2993-41DE-A2CB-63102DE87051}"/>
              </c:ext>
            </c:extLst>
          </c:dPt>
          <c:dPt>
            <c:idx val="27"/>
            <c:invertIfNegative val="1"/>
            <c:bubble3D val="0"/>
            <c:spPr>
              <a:solidFill>
                <a:srgbClr val="AEABAB"/>
              </a:solidFill>
            </c:spPr>
            <c:extLst>
              <c:ext xmlns:c16="http://schemas.microsoft.com/office/drawing/2014/chart" uri="{C3380CC4-5D6E-409C-BE32-E72D297353CC}">
                <c16:uniqueId val="{0000006F-2993-41DE-A2CB-63102DE87051}"/>
              </c:ext>
            </c:extLst>
          </c:dPt>
          <c:dPt>
            <c:idx val="28"/>
            <c:invertIfNegative val="1"/>
            <c:bubble3D val="0"/>
            <c:spPr>
              <a:solidFill>
                <a:srgbClr val="AEABAB"/>
              </a:solidFill>
            </c:spPr>
            <c:extLst>
              <c:ext xmlns:c16="http://schemas.microsoft.com/office/drawing/2014/chart" uri="{C3380CC4-5D6E-409C-BE32-E72D297353CC}">
                <c16:uniqueId val="{00000071-2993-41DE-A2CB-63102DE87051}"/>
              </c:ext>
            </c:extLst>
          </c:dPt>
          <c:dPt>
            <c:idx val="29"/>
            <c:invertIfNegative val="1"/>
            <c:bubble3D val="0"/>
            <c:spPr>
              <a:solidFill>
                <a:srgbClr val="AEABAB"/>
              </a:solidFill>
            </c:spPr>
            <c:extLst>
              <c:ext xmlns:c16="http://schemas.microsoft.com/office/drawing/2014/chart" uri="{C3380CC4-5D6E-409C-BE32-E72D297353CC}">
                <c16:uniqueId val="{00000073-2993-41DE-A2CB-63102DE87051}"/>
              </c:ext>
            </c:extLst>
          </c:dPt>
          <c:dPt>
            <c:idx val="30"/>
            <c:invertIfNegative val="1"/>
            <c:bubble3D val="0"/>
            <c:spPr>
              <a:solidFill>
                <a:srgbClr val="AEABAB"/>
              </a:solidFill>
            </c:spPr>
            <c:extLst>
              <c:ext xmlns:c16="http://schemas.microsoft.com/office/drawing/2014/chart" uri="{C3380CC4-5D6E-409C-BE32-E72D297353CC}">
                <c16:uniqueId val="{00000075-2993-41DE-A2CB-63102DE87051}"/>
              </c:ext>
            </c:extLst>
          </c:dPt>
          <c:dPt>
            <c:idx val="31"/>
            <c:invertIfNegative val="1"/>
            <c:bubble3D val="0"/>
            <c:spPr>
              <a:solidFill>
                <a:srgbClr val="AEABAB"/>
              </a:solidFill>
            </c:spPr>
            <c:extLst>
              <c:ext xmlns:c16="http://schemas.microsoft.com/office/drawing/2014/chart" uri="{C3380CC4-5D6E-409C-BE32-E72D297353CC}">
                <c16:uniqueId val="{00000077-2993-41DE-A2CB-63102DE87051}"/>
              </c:ext>
            </c:extLst>
          </c:dPt>
          <c:dPt>
            <c:idx val="32"/>
            <c:invertIfNegative val="1"/>
            <c:bubble3D val="0"/>
            <c:spPr>
              <a:solidFill>
                <a:srgbClr val="AEABAB"/>
              </a:solidFill>
            </c:spPr>
            <c:extLst>
              <c:ext xmlns:c16="http://schemas.microsoft.com/office/drawing/2014/chart" uri="{C3380CC4-5D6E-409C-BE32-E72D297353CC}">
                <c16:uniqueId val="{00000079-2993-41DE-A2CB-63102DE87051}"/>
              </c:ext>
            </c:extLst>
          </c:dPt>
          <c:dPt>
            <c:idx val="33"/>
            <c:invertIfNegative val="1"/>
            <c:bubble3D val="0"/>
            <c:spPr>
              <a:solidFill>
                <a:srgbClr val="AEABAB"/>
              </a:solidFill>
            </c:spPr>
            <c:extLst>
              <c:ext xmlns:c16="http://schemas.microsoft.com/office/drawing/2014/chart" uri="{C3380CC4-5D6E-409C-BE32-E72D297353CC}">
                <c16:uniqueId val="{0000007B-2993-41DE-A2CB-63102DE87051}"/>
              </c:ext>
            </c:extLst>
          </c:dPt>
          <c:dPt>
            <c:idx val="34"/>
            <c:invertIfNegative val="1"/>
            <c:bubble3D val="0"/>
            <c:spPr>
              <a:solidFill>
                <a:srgbClr val="AEABAB"/>
              </a:solidFill>
            </c:spPr>
            <c:extLst>
              <c:ext xmlns:c16="http://schemas.microsoft.com/office/drawing/2014/chart" uri="{C3380CC4-5D6E-409C-BE32-E72D297353CC}">
                <c16:uniqueId val="{0000007D-2993-41DE-A2CB-63102DE87051}"/>
              </c:ext>
            </c:extLst>
          </c:dPt>
          <c:dPt>
            <c:idx val="35"/>
            <c:invertIfNegative val="1"/>
            <c:bubble3D val="0"/>
            <c:spPr>
              <a:solidFill>
                <a:srgbClr val="AEABAB"/>
              </a:solidFill>
            </c:spPr>
            <c:extLst>
              <c:ext xmlns:c16="http://schemas.microsoft.com/office/drawing/2014/chart" uri="{C3380CC4-5D6E-409C-BE32-E72D297353CC}">
                <c16:uniqueId val="{0000007F-2993-41DE-A2CB-63102DE87051}"/>
              </c:ext>
            </c:extLst>
          </c:dPt>
          <c:dPt>
            <c:idx val="36"/>
            <c:invertIfNegative val="1"/>
            <c:bubble3D val="0"/>
            <c:spPr>
              <a:solidFill>
                <a:srgbClr val="AEABAB"/>
              </a:solidFill>
            </c:spPr>
            <c:extLst>
              <c:ext xmlns:c16="http://schemas.microsoft.com/office/drawing/2014/chart" uri="{C3380CC4-5D6E-409C-BE32-E72D297353CC}">
                <c16:uniqueId val="{00000081-2993-41DE-A2CB-63102DE87051}"/>
              </c:ext>
            </c:extLst>
          </c:dPt>
          <c:dPt>
            <c:idx val="37"/>
            <c:invertIfNegative val="1"/>
            <c:bubble3D val="0"/>
            <c:spPr>
              <a:solidFill>
                <a:srgbClr val="AEABAB"/>
              </a:solidFill>
            </c:spPr>
            <c:extLst>
              <c:ext xmlns:c16="http://schemas.microsoft.com/office/drawing/2014/chart" uri="{C3380CC4-5D6E-409C-BE32-E72D297353CC}">
                <c16:uniqueId val="{00000083-2993-41DE-A2CB-63102DE87051}"/>
              </c:ext>
            </c:extLst>
          </c:dPt>
          <c:dPt>
            <c:idx val="38"/>
            <c:invertIfNegative val="1"/>
            <c:bubble3D val="0"/>
            <c:spPr>
              <a:solidFill>
                <a:srgbClr val="AEABAB"/>
              </a:solidFill>
            </c:spPr>
            <c:extLst>
              <c:ext xmlns:c16="http://schemas.microsoft.com/office/drawing/2014/chart" uri="{C3380CC4-5D6E-409C-BE32-E72D297353CC}">
                <c16:uniqueId val="{00000085-2993-41DE-A2CB-63102DE87051}"/>
              </c:ext>
            </c:extLst>
          </c:dPt>
          <c:dPt>
            <c:idx val="39"/>
            <c:invertIfNegative val="1"/>
            <c:bubble3D val="0"/>
            <c:spPr>
              <a:solidFill>
                <a:srgbClr val="AEABAB"/>
              </a:solidFill>
            </c:spPr>
            <c:extLst>
              <c:ext xmlns:c16="http://schemas.microsoft.com/office/drawing/2014/chart" uri="{C3380CC4-5D6E-409C-BE32-E72D297353CC}">
                <c16:uniqueId val="{00000087-2993-41DE-A2CB-63102DE87051}"/>
              </c:ext>
            </c:extLst>
          </c:dPt>
          <c:dPt>
            <c:idx val="40"/>
            <c:invertIfNegative val="1"/>
            <c:bubble3D val="0"/>
            <c:spPr>
              <a:solidFill>
                <a:srgbClr val="AEABAB"/>
              </a:solidFill>
            </c:spPr>
            <c:extLst>
              <c:ext xmlns:c16="http://schemas.microsoft.com/office/drawing/2014/chart" uri="{C3380CC4-5D6E-409C-BE32-E72D297353CC}">
                <c16:uniqueId val="{00000089-2993-41DE-A2CB-63102DE87051}"/>
              </c:ext>
            </c:extLst>
          </c:dPt>
          <c:dPt>
            <c:idx val="41"/>
            <c:invertIfNegative val="1"/>
            <c:bubble3D val="0"/>
            <c:spPr>
              <a:solidFill>
                <a:srgbClr val="AEABAB"/>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43</c:f>
              <c:strCache>
                <c:ptCount val="42"/>
                <c:pt idx="0">
                  <c:v>All Others</c:v>
                </c:pt>
                <c:pt idx="1">
                  <c:v>Bottega</c:v>
                </c:pt>
                <c:pt idx="2">
                  <c:v>Patriarche</c:v>
                </c:pt>
                <c:pt idx="3">
                  <c:v>Savian</c:v>
                </c:pt>
                <c:pt idx="4">
                  <c:v>Bouvet-Ladu</c:v>
                </c:pt>
                <c:pt idx="5">
                  <c:v>Mure</c:v>
                </c:pt>
                <c:pt idx="6">
                  <c:v>French Bloo</c:v>
                </c:pt>
                <c:pt idx="7">
                  <c:v>All Others</c:v>
                </c:pt>
                <c:pt idx="8">
                  <c:v>De Chanceny</c:v>
                </c:pt>
                <c:pt idx="9">
                  <c:v>Bottega</c:v>
                </c:pt>
                <c:pt idx="10">
                  <c:v>Patriarche</c:v>
                </c:pt>
                <c:pt idx="11">
                  <c:v>Contarini</c:v>
                </c:pt>
                <c:pt idx="12">
                  <c:v>Kriter</c:v>
                </c:pt>
                <c:pt idx="13">
                  <c:v>All Others</c:v>
                </c:pt>
                <c:pt idx="14">
                  <c:v>Cru La Maqu</c:v>
                </c:pt>
                <c:pt idx="15">
                  <c:v>All Others</c:v>
                </c:pt>
                <c:pt idx="16">
                  <c:v>All Others</c:v>
                </c:pt>
                <c:pt idx="17">
                  <c:v>All Others</c:v>
                </c:pt>
                <c:pt idx="18">
                  <c:v>All Others</c:v>
                </c:pt>
                <c:pt idx="19">
                  <c:v>All Others</c:v>
                </c:pt>
                <c:pt idx="20">
                  <c:v>All Others</c:v>
                </c:pt>
                <c:pt idx="21">
                  <c:v>All Others</c:v>
                </c:pt>
                <c:pt idx="22">
                  <c:v>Contarini</c:v>
                </c:pt>
                <c:pt idx="23">
                  <c:v>All Others</c:v>
                </c:pt>
                <c:pt idx="24">
                  <c:v>Bouvet-Ladu</c:v>
                </c:pt>
                <c:pt idx="25">
                  <c:v>Bouvet-Ladu</c:v>
                </c:pt>
                <c:pt idx="26">
                  <c:v>Bouvet-Ladu</c:v>
                </c:pt>
                <c:pt idx="27">
                  <c:v>All Others</c:v>
                </c:pt>
                <c:pt idx="28">
                  <c:v>Bottega</c:v>
                </c:pt>
                <c:pt idx="29">
                  <c:v>All Others</c:v>
                </c:pt>
                <c:pt idx="30">
                  <c:v>All Others</c:v>
                </c:pt>
                <c:pt idx="31">
                  <c:v>Celene</c:v>
                </c:pt>
                <c:pt idx="32">
                  <c:v>Celene</c:v>
                </c:pt>
                <c:pt idx="33">
                  <c:v>Jaillance</c:v>
                </c:pt>
                <c:pt idx="34">
                  <c:v>All Others</c:v>
                </c:pt>
                <c:pt idx="35">
                  <c:v>All Others</c:v>
                </c:pt>
                <c:pt idx="36">
                  <c:v>Bouvet-Ladu</c:v>
                </c:pt>
                <c:pt idx="37">
                  <c:v>All Others</c:v>
                </c:pt>
                <c:pt idx="38">
                  <c:v>All Others</c:v>
                </c:pt>
                <c:pt idx="39">
                  <c:v>Mure</c:v>
                </c:pt>
                <c:pt idx="40">
                  <c:v>Bottega</c:v>
                </c:pt>
                <c:pt idx="41">
                  <c:v>All Others</c:v>
                </c:pt>
              </c:strCache>
            </c:strRef>
          </c:cat>
          <c:val>
            <c:numRef>
              <c:f>Sheet1!$C$2:$C$43</c:f>
              <c:numCache>
                <c:formatCode>General</c:formatCode>
                <c:ptCount val="42"/>
                <c:pt idx="0">
                  <c:v>0.17233096917405363</c:v>
                </c:pt>
                <c:pt idx="1">
                  <c:v>0.31799500917936929</c:v>
                </c:pt>
                <c:pt idx="2">
                  <c:v>0.41622164362390668</c:v>
                </c:pt>
                <c:pt idx="3">
                  <c:v>0.51248443444749048</c:v>
                </c:pt>
                <c:pt idx="4">
                  <c:v>0.60491305439206977</c:v>
                </c:pt>
                <c:pt idx="5">
                  <c:v>0.68798511613255697</c:v>
                </c:pt>
                <c:pt idx="6">
                  <c:v>0.76858637712688205</c:v>
                </c:pt>
                <c:pt idx="7">
                  <c:v>0.79928927564194063</c:v>
                </c:pt>
                <c:pt idx="8">
                  <c:v>0.82670925762773595</c:v>
                </c:pt>
                <c:pt idx="9">
                  <c:v>0.84998498816279722</c:v>
                </c:pt>
                <c:pt idx="10">
                  <c:v>0.8700959281006827</c:v>
                </c:pt>
                <c:pt idx="11">
                  <c:v>0.8855901128594843</c:v>
                </c:pt>
                <c:pt idx="12">
                  <c:v>0.89857412156142802</c:v>
                </c:pt>
                <c:pt idx="13">
                  <c:v>0.90987975764496276</c:v>
                </c:pt>
                <c:pt idx="14">
                  <c:v>0.91961530321450202</c:v>
                </c:pt>
                <c:pt idx="15">
                  <c:v>0.92889803271103943</c:v>
                </c:pt>
                <c:pt idx="16">
                  <c:v>0.93754091340876999</c:v>
                </c:pt>
                <c:pt idx="17">
                  <c:v>0.94587863544860795</c:v>
                </c:pt>
                <c:pt idx="18">
                  <c:v>0.95332056917011621</c:v>
                </c:pt>
                <c:pt idx="19">
                  <c:v>0.9606788303563959</c:v>
                </c:pt>
                <c:pt idx="20">
                  <c:v>0.9679731066627949</c:v>
                </c:pt>
                <c:pt idx="21">
                  <c:v>0.97464722182573482</c:v>
                </c:pt>
                <c:pt idx="22">
                  <c:v>0.98099156876159732</c:v>
                </c:pt>
                <c:pt idx="23">
                  <c:v>0.98392995132227223</c:v>
                </c:pt>
                <c:pt idx="24">
                  <c:v>0.98684372431376222</c:v>
                </c:pt>
                <c:pt idx="25">
                  <c:v>0.98948679204421852</c:v>
                </c:pt>
                <c:pt idx="26">
                  <c:v>0.99125868102553005</c:v>
                </c:pt>
                <c:pt idx="27">
                  <c:v>0.99282877153952553</c:v>
                </c:pt>
                <c:pt idx="28">
                  <c:v>0.99400510894656291</c:v>
                </c:pt>
                <c:pt idx="29">
                  <c:v>0.99510761764604561</c:v>
                </c:pt>
                <c:pt idx="30">
                  <c:v>0.99608707849960387</c:v>
                </c:pt>
                <c:pt idx="31">
                  <c:v>0.99704685169781426</c:v>
                </c:pt>
                <c:pt idx="32">
                  <c:v>0.99779990451487166</c:v>
                </c:pt>
                <c:pt idx="33">
                  <c:v>0.99845451905518956</c:v>
                </c:pt>
                <c:pt idx="34">
                  <c:v>0.99893194469737623</c:v>
                </c:pt>
                <c:pt idx="35">
                  <c:v>0.99924694718294271</c:v>
                </c:pt>
                <c:pt idx="36">
                  <c:v>0.99947335521944358</c:v>
                </c:pt>
                <c:pt idx="37">
                  <c:v>0.99968499751443352</c:v>
                </c:pt>
                <c:pt idx="38">
                  <c:v>0.99983265492954276</c:v>
                </c:pt>
                <c:pt idx="39">
                  <c:v>0.99990648363709744</c:v>
                </c:pt>
                <c:pt idx="40">
                  <c:v>0.99996062468930413</c:v>
                </c:pt>
                <c:pt idx="41">
                  <c:v>1</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70</c:f>
              <c:strCache>
                <c:ptCount val="69"/>
                <c:pt idx="0">
                  <c:v>All Others</c:v>
                </c:pt>
                <c:pt idx="1">
                  <c:v>Bottega</c:v>
                </c:pt>
                <c:pt idx="2">
                  <c:v>Mure</c:v>
                </c:pt>
                <c:pt idx="3">
                  <c:v>Bouvet-Ladu</c:v>
                </c:pt>
                <c:pt idx="4">
                  <c:v>Patriarche</c:v>
                </c:pt>
                <c:pt idx="5">
                  <c:v>All Others</c:v>
                </c:pt>
                <c:pt idx="6">
                  <c:v>Savian</c:v>
                </c:pt>
                <c:pt idx="7">
                  <c:v>All Others</c:v>
                </c:pt>
                <c:pt idx="8">
                  <c:v>French Bloo</c:v>
                </c:pt>
                <c:pt idx="9">
                  <c:v>Patriarche</c:v>
                </c:pt>
                <c:pt idx="10">
                  <c:v>Bottega</c:v>
                </c:pt>
                <c:pt idx="11">
                  <c:v>All Others</c:v>
                </c:pt>
                <c:pt idx="12">
                  <c:v>De Chanceny</c:v>
                </c:pt>
                <c:pt idx="13">
                  <c:v>All Others</c:v>
                </c:pt>
                <c:pt idx="14">
                  <c:v>All Others</c:v>
                </c:pt>
                <c:pt idx="15">
                  <c:v>Kriter</c:v>
                </c:pt>
                <c:pt idx="16">
                  <c:v>All Others</c:v>
                </c:pt>
                <c:pt idx="17">
                  <c:v>Contarini</c:v>
                </c:pt>
                <c:pt idx="18">
                  <c:v>All Others</c:v>
                </c:pt>
                <c:pt idx="19">
                  <c:v>All Others</c:v>
                </c:pt>
                <c:pt idx="20">
                  <c:v>Cru La Maqu</c:v>
                </c:pt>
                <c:pt idx="21">
                  <c:v>Contarini</c:v>
                </c:pt>
                <c:pt idx="22">
                  <c:v>All Others</c:v>
                </c:pt>
                <c:pt idx="23">
                  <c:v>Vilaveroni</c:v>
                </c:pt>
                <c:pt idx="24">
                  <c:v>All Others</c:v>
                </c:pt>
                <c:pt idx="25">
                  <c:v>All Others</c:v>
                </c:pt>
                <c:pt idx="26">
                  <c:v>Mure</c:v>
                </c:pt>
                <c:pt idx="27">
                  <c:v>All Others</c:v>
                </c:pt>
                <c:pt idx="28">
                  <c:v>All Others</c:v>
                </c:pt>
                <c:pt idx="29">
                  <c:v>All Others</c:v>
                </c:pt>
                <c:pt idx="30">
                  <c:v>All Others</c:v>
                </c:pt>
                <c:pt idx="31">
                  <c:v>All Others</c:v>
                </c:pt>
                <c:pt idx="32">
                  <c:v>All Others</c:v>
                </c:pt>
                <c:pt idx="33">
                  <c:v>All Others</c:v>
                </c:pt>
                <c:pt idx="34">
                  <c:v>All Others</c:v>
                </c:pt>
                <c:pt idx="35">
                  <c:v>All Others</c:v>
                </c:pt>
                <c:pt idx="36">
                  <c:v>All Others</c:v>
                </c:pt>
                <c:pt idx="37">
                  <c:v>All Others</c:v>
                </c:pt>
                <c:pt idx="38">
                  <c:v>All Others</c:v>
                </c:pt>
                <c:pt idx="39">
                  <c:v>Bouvet-Ladu</c:v>
                </c:pt>
                <c:pt idx="40">
                  <c:v>All Others</c:v>
                </c:pt>
                <c:pt idx="41">
                  <c:v>All Others</c:v>
                </c:pt>
                <c:pt idx="42">
                  <c:v>All Others</c:v>
                </c:pt>
                <c:pt idx="43">
                  <c:v>All Others</c:v>
                </c:pt>
                <c:pt idx="44">
                  <c:v>Bouvet-Ladu</c:v>
                </c:pt>
                <c:pt idx="45">
                  <c:v>All Others</c:v>
                </c:pt>
                <c:pt idx="46">
                  <c:v>Bottega</c:v>
                </c:pt>
                <c:pt idx="47">
                  <c:v>Vilaveroni</c:v>
                </c:pt>
                <c:pt idx="48">
                  <c:v>All Others</c:v>
                </c:pt>
                <c:pt idx="49">
                  <c:v>All Others</c:v>
                </c:pt>
                <c:pt idx="50">
                  <c:v>Vilaveroni</c:v>
                </c:pt>
                <c:pt idx="51">
                  <c:v>Bouvet-Ladu</c:v>
                </c:pt>
                <c:pt idx="52">
                  <c:v>Jaillance</c:v>
                </c:pt>
                <c:pt idx="53">
                  <c:v>Celene</c:v>
                </c:pt>
                <c:pt idx="54">
                  <c:v>Mure</c:v>
                </c:pt>
                <c:pt idx="55">
                  <c:v>All Others</c:v>
                </c:pt>
                <c:pt idx="56">
                  <c:v>Vilaveroni</c:v>
                </c:pt>
                <c:pt idx="57">
                  <c:v>Celene</c:v>
                </c:pt>
                <c:pt idx="58">
                  <c:v>All Others</c:v>
                </c:pt>
                <c:pt idx="59">
                  <c:v>All Others</c:v>
                </c:pt>
                <c:pt idx="60">
                  <c:v>All Others</c:v>
                </c:pt>
                <c:pt idx="61">
                  <c:v>Bouvet-Ladu</c:v>
                </c:pt>
                <c:pt idx="62">
                  <c:v>All Others</c:v>
                </c:pt>
                <c:pt idx="63">
                  <c:v>All Others</c:v>
                </c:pt>
                <c:pt idx="64">
                  <c:v>All Others</c:v>
                </c:pt>
                <c:pt idx="65">
                  <c:v>All Others</c:v>
                </c:pt>
                <c:pt idx="66">
                  <c:v>Bottega</c:v>
                </c:pt>
                <c:pt idx="67">
                  <c:v>All Others</c:v>
                </c:pt>
                <c:pt idx="68">
                  <c:v>Bottega</c:v>
                </c:pt>
              </c:strCache>
            </c:strRef>
          </c:cat>
          <c:val>
            <c:numRef>
              <c:f>Sheet1!$B$2:$B$70</c:f>
              <c:numCache>
                <c:formatCode>General</c:formatCode>
                <c:ptCount val="69"/>
                <c:pt idx="0">
                  <c:v>0.9</c:v>
                </c:pt>
                <c:pt idx="1">
                  <c:v>0.76</c:v>
                </c:pt>
                <c:pt idx="2">
                  <c:v>0.77</c:v>
                </c:pt>
                <c:pt idx="3">
                  <c:v>0.73</c:v>
                </c:pt>
                <c:pt idx="4">
                  <c:v>0.83</c:v>
                </c:pt>
                <c:pt idx="5">
                  <c:v>0.25</c:v>
                </c:pt>
                <c:pt idx="6">
                  <c:v>0.75</c:v>
                </c:pt>
                <c:pt idx="7">
                  <c:v>0.2</c:v>
                </c:pt>
                <c:pt idx="8">
                  <c:v>0.74</c:v>
                </c:pt>
                <c:pt idx="9">
                  <c:v>0.81</c:v>
                </c:pt>
                <c:pt idx="10">
                  <c:v>0.56000000000000005</c:v>
                </c:pt>
                <c:pt idx="11">
                  <c:v>0.59</c:v>
                </c:pt>
                <c:pt idx="12">
                  <c:v>0.46</c:v>
                </c:pt>
                <c:pt idx="13">
                  <c:v>0.48</c:v>
                </c:pt>
                <c:pt idx="14">
                  <c:v>0.05</c:v>
                </c:pt>
                <c:pt idx="15">
                  <c:v>0.46</c:v>
                </c:pt>
                <c:pt idx="16">
                  <c:v>0.15</c:v>
                </c:pt>
                <c:pt idx="17">
                  <c:v>0.77</c:v>
                </c:pt>
                <c:pt idx="18">
                  <c:v>0.62</c:v>
                </c:pt>
                <c:pt idx="19">
                  <c:v>0.18</c:v>
                </c:pt>
                <c:pt idx="20">
                  <c:v>0.52</c:v>
                </c:pt>
                <c:pt idx="21">
                  <c:v>0.28000000000000003</c:v>
                </c:pt>
                <c:pt idx="22">
                  <c:v>0.3</c:v>
                </c:pt>
                <c:pt idx="23">
                  <c:v>0.22</c:v>
                </c:pt>
                <c:pt idx="24">
                  <c:v>0.47</c:v>
                </c:pt>
                <c:pt idx="25">
                  <c:v>0.05</c:v>
                </c:pt>
                <c:pt idx="26">
                  <c:v>0.18</c:v>
                </c:pt>
                <c:pt idx="27">
                  <c:v>0.33</c:v>
                </c:pt>
                <c:pt idx="28">
                  <c:v>0.18</c:v>
                </c:pt>
                <c:pt idx="29">
                  <c:v>0.09</c:v>
                </c:pt>
                <c:pt idx="30">
                  <c:v>0.43</c:v>
                </c:pt>
                <c:pt idx="31">
                  <c:v>0.04</c:v>
                </c:pt>
                <c:pt idx="32">
                  <c:v>0.05</c:v>
                </c:pt>
                <c:pt idx="33">
                  <c:v>0.36</c:v>
                </c:pt>
                <c:pt idx="34">
                  <c:v>0.04</c:v>
                </c:pt>
                <c:pt idx="35">
                  <c:v>7.0000000000000007E-2</c:v>
                </c:pt>
                <c:pt idx="36">
                  <c:v>0.03</c:v>
                </c:pt>
                <c:pt idx="37">
                  <c:v>0.15</c:v>
                </c:pt>
                <c:pt idx="38">
                  <c:v>0.12</c:v>
                </c:pt>
                <c:pt idx="39">
                  <c:v>0.13</c:v>
                </c:pt>
                <c:pt idx="40">
                  <c:v>0.16</c:v>
                </c:pt>
                <c:pt idx="41">
                  <c:v>7.0000000000000007E-2</c:v>
                </c:pt>
                <c:pt idx="42">
                  <c:v>0.22</c:v>
                </c:pt>
                <c:pt idx="43">
                  <c:v>0.06</c:v>
                </c:pt>
                <c:pt idx="44">
                  <c:v>0.11</c:v>
                </c:pt>
                <c:pt idx="45">
                  <c:v>0.47</c:v>
                </c:pt>
                <c:pt idx="46">
                  <c:v>0.18</c:v>
                </c:pt>
                <c:pt idx="47">
                  <c:v>0.17</c:v>
                </c:pt>
                <c:pt idx="48">
                  <c:v>0.04</c:v>
                </c:pt>
                <c:pt idx="49">
                  <c:v>0.05</c:v>
                </c:pt>
                <c:pt idx="50">
                  <c:v>0.17</c:v>
                </c:pt>
                <c:pt idx="51">
                  <c:v>0.1</c:v>
                </c:pt>
                <c:pt idx="52">
                  <c:v>0.11</c:v>
                </c:pt>
                <c:pt idx="53">
                  <c:v>0.16</c:v>
                </c:pt>
                <c:pt idx="54">
                  <c:v>0.04</c:v>
                </c:pt>
                <c:pt idx="55">
                  <c:v>0.14000000000000001</c:v>
                </c:pt>
                <c:pt idx="56">
                  <c:v>0.15</c:v>
                </c:pt>
                <c:pt idx="57">
                  <c:v>0.08</c:v>
                </c:pt>
                <c:pt idx="58">
                  <c:v>0.04</c:v>
                </c:pt>
                <c:pt idx="59">
                  <c:v>7.0000000000000007E-2</c:v>
                </c:pt>
                <c:pt idx="60">
                  <c:v>0.03</c:v>
                </c:pt>
                <c:pt idx="61">
                  <c:v>0.03</c:v>
                </c:pt>
                <c:pt idx="62">
                  <c:v>0.19</c:v>
                </c:pt>
                <c:pt idx="63">
                  <c:v>0.03</c:v>
                </c:pt>
                <c:pt idx="64">
                  <c:v>0.03</c:v>
                </c:pt>
                <c:pt idx="65">
                  <c:v>0.02</c:v>
                </c:pt>
                <c:pt idx="66">
                  <c:v>0.03</c:v>
                </c:pt>
                <c:pt idx="67">
                  <c:v>0.01</c:v>
                </c:pt>
                <c:pt idx="68">
                  <c:v>0.03</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7ECAC4"/>
              </a:solidFill>
            </c:spPr>
            <c:extLst>
              <c:ext xmlns:c16="http://schemas.microsoft.com/office/drawing/2014/chart" uri="{C3380CC4-5D6E-409C-BE32-E72D297353CC}">
                <c16:uniqueId val="{00000059-2993-41DE-A2CB-63102DE87051}"/>
              </c:ext>
            </c:extLst>
          </c:dPt>
          <c:dPt>
            <c:idx val="17"/>
            <c:invertIfNegative val="1"/>
            <c:bubble3D val="0"/>
            <c:spPr>
              <a:solidFill>
                <a:srgbClr val="7ECAC4"/>
              </a:solidFill>
            </c:spPr>
            <c:extLst>
              <c:ext xmlns:c16="http://schemas.microsoft.com/office/drawing/2014/chart" uri="{C3380CC4-5D6E-409C-BE32-E72D297353CC}">
                <c16:uniqueId val="{0000005B-2993-41DE-A2CB-63102DE87051}"/>
              </c:ext>
            </c:extLst>
          </c:dPt>
          <c:dPt>
            <c:idx val="18"/>
            <c:invertIfNegative val="1"/>
            <c:bubble3D val="0"/>
            <c:spPr>
              <a:solidFill>
                <a:srgbClr val="7ECAC4"/>
              </a:solidFill>
            </c:spPr>
            <c:extLst>
              <c:ext xmlns:c16="http://schemas.microsoft.com/office/drawing/2014/chart" uri="{C3380CC4-5D6E-409C-BE32-E72D297353CC}">
                <c16:uniqueId val="{0000005D-2993-41DE-A2CB-63102DE87051}"/>
              </c:ext>
            </c:extLst>
          </c:dPt>
          <c:dPt>
            <c:idx val="19"/>
            <c:invertIfNegative val="1"/>
            <c:bubble3D val="0"/>
            <c:spPr>
              <a:solidFill>
                <a:srgbClr val="7ECAC4"/>
              </a:solidFill>
            </c:spPr>
            <c:extLst>
              <c:ext xmlns:c16="http://schemas.microsoft.com/office/drawing/2014/chart" uri="{C3380CC4-5D6E-409C-BE32-E72D297353CC}">
                <c16:uniqueId val="{0000005F-2993-41DE-A2CB-63102DE87051}"/>
              </c:ext>
            </c:extLst>
          </c:dPt>
          <c:dPt>
            <c:idx val="20"/>
            <c:invertIfNegative val="1"/>
            <c:bubble3D val="0"/>
            <c:spPr>
              <a:solidFill>
                <a:srgbClr val="7ECAC4"/>
              </a:solidFill>
            </c:spPr>
            <c:extLst>
              <c:ext xmlns:c16="http://schemas.microsoft.com/office/drawing/2014/chart" uri="{C3380CC4-5D6E-409C-BE32-E72D297353CC}">
                <c16:uniqueId val="{00000061-2993-41DE-A2CB-63102DE87051}"/>
              </c:ext>
            </c:extLst>
          </c:dPt>
          <c:dPt>
            <c:idx val="21"/>
            <c:invertIfNegative val="1"/>
            <c:bubble3D val="0"/>
            <c:spPr>
              <a:solidFill>
                <a:srgbClr val="7ECAC4"/>
              </a:solidFill>
            </c:spPr>
            <c:extLst>
              <c:ext xmlns:c16="http://schemas.microsoft.com/office/drawing/2014/chart" uri="{C3380CC4-5D6E-409C-BE32-E72D297353CC}">
                <c16:uniqueId val="{00000063-2993-41DE-A2CB-63102DE87051}"/>
              </c:ext>
            </c:extLst>
          </c:dPt>
          <c:dPt>
            <c:idx val="22"/>
            <c:invertIfNegative val="1"/>
            <c:bubble3D val="0"/>
            <c:spPr>
              <a:solidFill>
                <a:srgbClr val="7ECAC4"/>
              </a:solidFill>
            </c:spPr>
            <c:extLst>
              <c:ext xmlns:c16="http://schemas.microsoft.com/office/drawing/2014/chart" uri="{C3380CC4-5D6E-409C-BE32-E72D297353CC}">
                <c16:uniqueId val="{00000065-2993-41DE-A2CB-63102DE87051}"/>
              </c:ext>
            </c:extLst>
          </c:dPt>
          <c:dPt>
            <c:idx val="23"/>
            <c:invertIfNegative val="1"/>
            <c:bubble3D val="0"/>
            <c:spPr>
              <a:solidFill>
                <a:srgbClr val="7ECAC4"/>
              </a:solidFill>
            </c:spPr>
            <c:extLst>
              <c:ext xmlns:c16="http://schemas.microsoft.com/office/drawing/2014/chart" uri="{C3380CC4-5D6E-409C-BE32-E72D297353CC}">
                <c16:uniqueId val="{00000067-2993-41DE-A2CB-63102DE87051}"/>
              </c:ext>
            </c:extLst>
          </c:dPt>
          <c:dPt>
            <c:idx val="24"/>
            <c:invertIfNegative val="1"/>
            <c:bubble3D val="0"/>
            <c:spPr>
              <a:solidFill>
                <a:srgbClr val="7ECAC4"/>
              </a:solidFill>
            </c:spPr>
            <c:extLst>
              <c:ext xmlns:c16="http://schemas.microsoft.com/office/drawing/2014/chart" uri="{C3380CC4-5D6E-409C-BE32-E72D297353CC}">
                <c16:uniqueId val="{00000069-2993-41DE-A2CB-63102DE87051}"/>
              </c:ext>
            </c:extLst>
          </c:dPt>
          <c:dPt>
            <c:idx val="25"/>
            <c:invertIfNegative val="1"/>
            <c:bubble3D val="0"/>
            <c:spPr>
              <a:solidFill>
                <a:srgbClr val="7ECAC4"/>
              </a:solidFill>
            </c:spPr>
            <c:extLst>
              <c:ext xmlns:c16="http://schemas.microsoft.com/office/drawing/2014/chart" uri="{C3380CC4-5D6E-409C-BE32-E72D297353CC}">
                <c16:uniqueId val="{0000006B-2993-41DE-A2CB-63102DE87051}"/>
              </c:ext>
            </c:extLst>
          </c:dPt>
          <c:dPt>
            <c:idx val="26"/>
            <c:invertIfNegative val="1"/>
            <c:bubble3D val="0"/>
            <c:spPr>
              <a:solidFill>
                <a:srgbClr val="7ECAC4"/>
              </a:solidFill>
            </c:spPr>
            <c:extLst>
              <c:ext xmlns:c16="http://schemas.microsoft.com/office/drawing/2014/chart" uri="{C3380CC4-5D6E-409C-BE32-E72D297353CC}">
                <c16:uniqueId val="{0000006D-2993-41DE-A2CB-63102DE87051}"/>
              </c:ext>
            </c:extLst>
          </c:dPt>
          <c:dPt>
            <c:idx val="27"/>
            <c:invertIfNegative val="1"/>
            <c:bubble3D val="0"/>
            <c:spPr>
              <a:solidFill>
                <a:srgbClr val="7ECAC4"/>
              </a:solidFill>
            </c:spPr>
            <c:extLst>
              <c:ext xmlns:c16="http://schemas.microsoft.com/office/drawing/2014/chart" uri="{C3380CC4-5D6E-409C-BE32-E72D297353CC}">
                <c16:uniqueId val="{0000006F-2993-41DE-A2CB-63102DE87051}"/>
              </c:ext>
            </c:extLst>
          </c:dPt>
          <c:dPt>
            <c:idx val="28"/>
            <c:invertIfNegative val="1"/>
            <c:bubble3D val="0"/>
            <c:spPr>
              <a:solidFill>
                <a:srgbClr val="7ECAC4"/>
              </a:solidFill>
            </c:spPr>
            <c:extLst>
              <c:ext xmlns:c16="http://schemas.microsoft.com/office/drawing/2014/chart" uri="{C3380CC4-5D6E-409C-BE32-E72D297353CC}">
                <c16:uniqueId val="{00000071-2993-41DE-A2CB-63102DE87051}"/>
              </c:ext>
            </c:extLst>
          </c:dPt>
          <c:dPt>
            <c:idx val="29"/>
            <c:invertIfNegative val="1"/>
            <c:bubble3D val="0"/>
            <c:spPr>
              <a:solidFill>
                <a:srgbClr val="7ECAC4"/>
              </a:solidFill>
            </c:spPr>
            <c:extLst>
              <c:ext xmlns:c16="http://schemas.microsoft.com/office/drawing/2014/chart" uri="{C3380CC4-5D6E-409C-BE32-E72D297353CC}">
                <c16:uniqueId val="{00000073-2993-41DE-A2CB-63102DE87051}"/>
              </c:ext>
            </c:extLst>
          </c:dPt>
          <c:dPt>
            <c:idx val="30"/>
            <c:invertIfNegative val="1"/>
            <c:bubble3D val="0"/>
            <c:spPr>
              <a:solidFill>
                <a:srgbClr val="7ECAC4"/>
              </a:solidFill>
            </c:spPr>
            <c:extLst>
              <c:ext xmlns:c16="http://schemas.microsoft.com/office/drawing/2014/chart" uri="{C3380CC4-5D6E-409C-BE32-E72D297353CC}">
                <c16:uniqueId val="{00000075-2993-41DE-A2CB-63102DE87051}"/>
              </c:ext>
            </c:extLst>
          </c:dPt>
          <c:dPt>
            <c:idx val="31"/>
            <c:invertIfNegative val="1"/>
            <c:bubble3D val="0"/>
            <c:spPr>
              <a:solidFill>
                <a:srgbClr val="7ECAC4"/>
              </a:solidFill>
            </c:spPr>
            <c:extLst>
              <c:ext xmlns:c16="http://schemas.microsoft.com/office/drawing/2014/chart" uri="{C3380CC4-5D6E-409C-BE32-E72D297353CC}">
                <c16:uniqueId val="{00000077-2993-41DE-A2CB-63102DE87051}"/>
              </c:ext>
            </c:extLst>
          </c:dPt>
          <c:dPt>
            <c:idx val="32"/>
            <c:invertIfNegative val="1"/>
            <c:bubble3D val="0"/>
            <c:spPr>
              <a:solidFill>
                <a:srgbClr val="AEABAB"/>
              </a:solidFill>
            </c:spPr>
            <c:extLst>
              <c:ext xmlns:c16="http://schemas.microsoft.com/office/drawing/2014/chart" uri="{C3380CC4-5D6E-409C-BE32-E72D297353CC}">
                <c16:uniqueId val="{00000079-2993-41DE-A2CB-63102DE87051}"/>
              </c:ext>
            </c:extLst>
          </c:dPt>
          <c:dPt>
            <c:idx val="33"/>
            <c:invertIfNegative val="1"/>
            <c:bubble3D val="0"/>
            <c:spPr>
              <a:solidFill>
                <a:srgbClr val="AEABAB"/>
              </a:solidFill>
            </c:spPr>
            <c:extLst>
              <c:ext xmlns:c16="http://schemas.microsoft.com/office/drawing/2014/chart" uri="{C3380CC4-5D6E-409C-BE32-E72D297353CC}">
                <c16:uniqueId val="{0000007B-2993-41DE-A2CB-63102DE87051}"/>
              </c:ext>
            </c:extLst>
          </c:dPt>
          <c:dPt>
            <c:idx val="34"/>
            <c:invertIfNegative val="1"/>
            <c:bubble3D val="0"/>
            <c:spPr>
              <a:solidFill>
                <a:srgbClr val="AEABAB"/>
              </a:solidFill>
            </c:spPr>
            <c:extLst>
              <c:ext xmlns:c16="http://schemas.microsoft.com/office/drawing/2014/chart" uri="{C3380CC4-5D6E-409C-BE32-E72D297353CC}">
                <c16:uniqueId val="{0000007D-2993-41DE-A2CB-63102DE87051}"/>
              </c:ext>
            </c:extLst>
          </c:dPt>
          <c:dPt>
            <c:idx val="35"/>
            <c:invertIfNegative val="1"/>
            <c:bubble3D val="0"/>
            <c:spPr>
              <a:solidFill>
                <a:srgbClr val="AEABAB"/>
              </a:solidFill>
            </c:spPr>
            <c:extLst>
              <c:ext xmlns:c16="http://schemas.microsoft.com/office/drawing/2014/chart" uri="{C3380CC4-5D6E-409C-BE32-E72D297353CC}">
                <c16:uniqueId val="{0000007F-2993-41DE-A2CB-63102DE87051}"/>
              </c:ext>
            </c:extLst>
          </c:dPt>
          <c:dPt>
            <c:idx val="36"/>
            <c:invertIfNegative val="1"/>
            <c:bubble3D val="0"/>
            <c:spPr>
              <a:solidFill>
                <a:srgbClr val="AEABAB"/>
              </a:solidFill>
            </c:spPr>
            <c:extLst>
              <c:ext xmlns:c16="http://schemas.microsoft.com/office/drawing/2014/chart" uri="{C3380CC4-5D6E-409C-BE32-E72D297353CC}">
                <c16:uniqueId val="{00000081-2993-41DE-A2CB-63102DE87051}"/>
              </c:ext>
            </c:extLst>
          </c:dPt>
          <c:dPt>
            <c:idx val="37"/>
            <c:invertIfNegative val="1"/>
            <c:bubble3D val="0"/>
            <c:spPr>
              <a:solidFill>
                <a:srgbClr val="AEABAB"/>
              </a:solidFill>
            </c:spPr>
            <c:extLst>
              <c:ext xmlns:c16="http://schemas.microsoft.com/office/drawing/2014/chart" uri="{C3380CC4-5D6E-409C-BE32-E72D297353CC}">
                <c16:uniqueId val="{00000083-2993-41DE-A2CB-63102DE87051}"/>
              </c:ext>
            </c:extLst>
          </c:dPt>
          <c:dPt>
            <c:idx val="38"/>
            <c:invertIfNegative val="1"/>
            <c:bubble3D val="0"/>
            <c:spPr>
              <a:solidFill>
                <a:srgbClr val="AEABAB"/>
              </a:solidFill>
            </c:spPr>
            <c:extLst>
              <c:ext xmlns:c16="http://schemas.microsoft.com/office/drawing/2014/chart" uri="{C3380CC4-5D6E-409C-BE32-E72D297353CC}">
                <c16:uniqueId val="{00000085-2993-41DE-A2CB-63102DE87051}"/>
              </c:ext>
            </c:extLst>
          </c:dPt>
          <c:dPt>
            <c:idx val="39"/>
            <c:invertIfNegative val="1"/>
            <c:bubble3D val="0"/>
            <c:spPr>
              <a:solidFill>
                <a:srgbClr val="AEABAB"/>
              </a:solidFill>
            </c:spPr>
            <c:extLst>
              <c:ext xmlns:c16="http://schemas.microsoft.com/office/drawing/2014/chart" uri="{C3380CC4-5D6E-409C-BE32-E72D297353CC}">
                <c16:uniqueId val="{00000087-2993-41DE-A2CB-63102DE87051}"/>
              </c:ext>
            </c:extLst>
          </c:dPt>
          <c:dPt>
            <c:idx val="40"/>
            <c:invertIfNegative val="1"/>
            <c:bubble3D val="0"/>
            <c:spPr>
              <a:solidFill>
                <a:srgbClr val="AEABAB"/>
              </a:solidFill>
            </c:spPr>
            <c:extLst>
              <c:ext xmlns:c16="http://schemas.microsoft.com/office/drawing/2014/chart" uri="{C3380CC4-5D6E-409C-BE32-E72D297353CC}">
                <c16:uniqueId val="{00000089-2993-41DE-A2CB-63102DE87051}"/>
              </c:ext>
            </c:extLst>
          </c:dPt>
          <c:dPt>
            <c:idx val="41"/>
            <c:invertIfNegative val="1"/>
            <c:bubble3D val="0"/>
            <c:spPr>
              <a:solidFill>
                <a:srgbClr val="AEABAB"/>
              </a:solidFill>
            </c:spPr>
            <c:extLst>
              <c:ext xmlns:c16="http://schemas.microsoft.com/office/drawing/2014/chart" uri="{C3380CC4-5D6E-409C-BE32-E72D297353CC}">
                <c16:uniqueId val="{0000008B-2993-41DE-A2CB-63102DE87051}"/>
              </c:ext>
            </c:extLst>
          </c:dPt>
          <c:dPt>
            <c:idx val="42"/>
            <c:invertIfNegative val="1"/>
            <c:bubble3D val="0"/>
            <c:spPr>
              <a:solidFill>
                <a:srgbClr val="AEABAB"/>
              </a:solidFill>
            </c:spPr>
            <c:extLst>
              <c:ext xmlns:c16="http://schemas.microsoft.com/office/drawing/2014/chart" uri="{C3380CC4-5D6E-409C-BE32-E72D297353CC}">
                <c16:uniqueId val="{0000008D-2993-41DE-A2CB-63102DE87051}"/>
              </c:ext>
            </c:extLst>
          </c:dPt>
          <c:dPt>
            <c:idx val="43"/>
            <c:invertIfNegative val="1"/>
            <c:bubble3D val="0"/>
            <c:spPr>
              <a:solidFill>
                <a:srgbClr val="AEABAB"/>
              </a:solidFill>
            </c:spPr>
            <c:extLst>
              <c:ext xmlns:c16="http://schemas.microsoft.com/office/drawing/2014/chart" uri="{C3380CC4-5D6E-409C-BE32-E72D297353CC}">
                <c16:uniqueId val="{0000008F-2993-41DE-A2CB-63102DE87051}"/>
              </c:ext>
            </c:extLst>
          </c:dPt>
          <c:dPt>
            <c:idx val="44"/>
            <c:invertIfNegative val="1"/>
            <c:bubble3D val="0"/>
            <c:spPr>
              <a:solidFill>
                <a:srgbClr val="AEABAB"/>
              </a:solidFill>
            </c:spPr>
            <c:extLst>
              <c:ext xmlns:c16="http://schemas.microsoft.com/office/drawing/2014/chart" uri="{C3380CC4-5D6E-409C-BE32-E72D297353CC}">
                <c16:uniqueId val="{00000091-2993-41DE-A2CB-63102DE87051}"/>
              </c:ext>
            </c:extLst>
          </c:dPt>
          <c:dPt>
            <c:idx val="45"/>
            <c:invertIfNegative val="1"/>
            <c:bubble3D val="0"/>
            <c:spPr>
              <a:solidFill>
                <a:srgbClr val="AEABAB"/>
              </a:solidFill>
            </c:spPr>
            <c:extLst>
              <c:ext xmlns:c16="http://schemas.microsoft.com/office/drawing/2014/chart" uri="{C3380CC4-5D6E-409C-BE32-E72D297353CC}">
                <c16:uniqueId val="{00000093-2993-41DE-A2CB-63102DE87051}"/>
              </c:ext>
            </c:extLst>
          </c:dPt>
          <c:dPt>
            <c:idx val="46"/>
            <c:invertIfNegative val="1"/>
            <c:bubble3D val="0"/>
            <c:spPr>
              <a:solidFill>
                <a:srgbClr val="AEABAB"/>
              </a:solidFill>
            </c:spPr>
            <c:extLst>
              <c:ext xmlns:c16="http://schemas.microsoft.com/office/drawing/2014/chart" uri="{C3380CC4-5D6E-409C-BE32-E72D297353CC}">
                <c16:uniqueId val="{00000095-2993-41DE-A2CB-63102DE87051}"/>
              </c:ext>
            </c:extLst>
          </c:dPt>
          <c:dPt>
            <c:idx val="47"/>
            <c:invertIfNegative val="1"/>
            <c:bubble3D val="0"/>
            <c:spPr>
              <a:solidFill>
                <a:srgbClr val="AEABAB"/>
              </a:solidFill>
            </c:spPr>
            <c:extLst>
              <c:ext xmlns:c16="http://schemas.microsoft.com/office/drawing/2014/chart" uri="{C3380CC4-5D6E-409C-BE32-E72D297353CC}">
                <c16:uniqueId val="{00000097-2993-41DE-A2CB-63102DE87051}"/>
              </c:ext>
            </c:extLst>
          </c:dPt>
          <c:dPt>
            <c:idx val="48"/>
            <c:invertIfNegative val="1"/>
            <c:bubble3D val="0"/>
            <c:spPr>
              <a:solidFill>
                <a:srgbClr val="AEABAB"/>
              </a:solidFill>
            </c:spPr>
            <c:extLst>
              <c:ext xmlns:c16="http://schemas.microsoft.com/office/drawing/2014/chart" uri="{C3380CC4-5D6E-409C-BE32-E72D297353CC}">
                <c16:uniqueId val="{00000099-2993-41DE-A2CB-63102DE87051}"/>
              </c:ext>
            </c:extLst>
          </c:dPt>
          <c:dPt>
            <c:idx val="49"/>
            <c:invertIfNegative val="1"/>
            <c:bubble3D val="0"/>
            <c:spPr>
              <a:solidFill>
                <a:srgbClr val="AEABAB"/>
              </a:solidFill>
            </c:spPr>
            <c:extLst>
              <c:ext xmlns:c16="http://schemas.microsoft.com/office/drawing/2014/chart" uri="{C3380CC4-5D6E-409C-BE32-E72D297353CC}">
                <c16:uniqueId val="{0000009B-2993-41DE-A2CB-63102DE87051}"/>
              </c:ext>
            </c:extLst>
          </c:dPt>
          <c:dPt>
            <c:idx val="50"/>
            <c:invertIfNegative val="1"/>
            <c:bubble3D val="0"/>
            <c:spPr>
              <a:solidFill>
                <a:srgbClr val="AEABAB"/>
              </a:solidFill>
            </c:spPr>
            <c:extLst>
              <c:ext xmlns:c16="http://schemas.microsoft.com/office/drawing/2014/chart" uri="{C3380CC4-5D6E-409C-BE32-E72D297353CC}">
                <c16:uniqueId val="{0000009D-2993-41DE-A2CB-63102DE87051}"/>
              </c:ext>
            </c:extLst>
          </c:dPt>
          <c:dPt>
            <c:idx val="51"/>
            <c:invertIfNegative val="1"/>
            <c:bubble3D val="0"/>
            <c:spPr>
              <a:solidFill>
                <a:srgbClr val="AEABAB"/>
              </a:solidFill>
            </c:spPr>
            <c:extLst>
              <c:ext xmlns:c16="http://schemas.microsoft.com/office/drawing/2014/chart" uri="{C3380CC4-5D6E-409C-BE32-E72D297353CC}">
                <c16:uniqueId val="{0000009F-2993-41DE-A2CB-63102DE87051}"/>
              </c:ext>
            </c:extLst>
          </c:dPt>
          <c:dPt>
            <c:idx val="52"/>
            <c:invertIfNegative val="1"/>
            <c:bubble3D val="0"/>
            <c:spPr>
              <a:solidFill>
                <a:srgbClr val="AEABAB"/>
              </a:solidFill>
            </c:spPr>
            <c:extLst>
              <c:ext xmlns:c16="http://schemas.microsoft.com/office/drawing/2014/chart" uri="{C3380CC4-5D6E-409C-BE32-E72D297353CC}">
                <c16:uniqueId val="{000000A1-2993-41DE-A2CB-63102DE87051}"/>
              </c:ext>
            </c:extLst>
          </c:dPt>
          <c:dPt>
            <c:idx val="53"/>
            <c:invertIfNegative val="1"/>
            <c:bubble3D val="0"/>
            <c:spPr>
              <a:solidFill>
                <a:srgbClr val="AEABAB"/>
              </a:solidFill>
            </c:spPr>
            <c:extLst>
              <c:ext xmlns:c16="http://schemas.microsoft.com/office/drawing/2014/chart" uri="{C3380CC4-5D6E-409C-BE32-E72D297353CC}">
                <c16:uniqueId val="{000000A3-2993-41DE-A2CB-63102DE87051}"/>
              </c:ext>
            </c:extLst>
          </c:dPt>
          <c:dPt>
            <c:idx val="54"/>
            <c:invertIfNegative val="0"/>
            <c:bubble3D val="0"/>
            <c:spPr>
              <a:solidFill>
                <a:srgbClr val="AEABAB"/>
              </a:solidFill>
            </c:spPr>
            <c:extLst>
              <c:ext xmlns:c16="http://schemas.microsoft.com/office/drawing/2014/chart" uri="{C3380CC4-5D6E-409C-BE32-E72D297353CC}">
                <c16:uniqueId val="{00000072-C76F-4230-900D-40618C09729F}"/>
              </c:ext>
            </c:extLst>
          </c:dPt>
          <c:dPt>
            <c:idx val="55"/>
            <c:invertIfNegative val="0"/>
            <c:bubble3D val="0"/>
            <c:spPr>
              <a:solidFill>
                <a:srgbClr val="AEABAB"/>
              </a:solidFill>
            </c:spPr>
            <c:extLst>
              <c:ext xmlns:c16="http://schemas.microsoft.com/office/drawing/2014/chart" uri="{C3380CC4-5D6E-409C-BE32-E72D297353CC}">
                <c16:uniqueId val="{00000074-C76F-4230-900D-40618C09729F}"/>
              </c:ext>
            </c:extLst>
          </c:dPt>
          <c:dPt>
            <c:idx val="56"/>
            <c:invertIfNegative val="0"/>
            <c:bubble3D val="0"/>
            <c:spPr>
              <a:solidFill>
                <a:srgbClr val="AEABAB"/>
              </a:solidFill>
            </c:spPr>
            <c:extLst>
              <c:ext xmlns:c16="http://schemas.microsoft.com/office/drawing/2014/chart" uri="{C3380CC4-5D6E-409C-BE32-E72D297353CC}">
                <c16:uniqueId val="{00000076-C76F-4230-900D-40618C09729F}"/>
              </c:ext>
            </c:extLst>
          </c:dPt>
          <c:dPt>
            <c:idx val="57"/>
            <c:invertIfNegative val="0"/>
            <c:bubble3D val="0"/>
            <c:spPr>
              <a:solidFill>
                <a:srgbClr val="AEABAB"/>
              </a:solidFill>
            </c:spPr>
            <c:extLst>
              <c:ext xmlns:c16="http://schemas.microsoft.com/office/drawing/2014/chart" uri="{C3380CC4-5D6E-409C-BE32-E72D297353CC}">
                <c16:uniqueId val="{00000078-C76F-4230-900D-40618C09729F}"/>
              </c:ext>
            </c:extLst>
          </c:dPt>
          <c:dPt>
            <c:idx val="58"/>
            <c:invertIfNegative val="0"/>
            <c:bubble3D val="0"/>
            <c:spPr>
              <a:solidFill>
                <a:srgbClr val="AEABAB"/>
              </a:solidFill>
            </c:spPr>
            <c:extLst>
              <c:ext xmlns:c16="http://schemas.microsoft.com/office/drawing/2014/chart" uri="{C3380CC4-5D6E-409C-BE32-E72D297353CC}">
                <c16:uniqueId val="{0000007A-C76F-4230-900D-40618C09729F}"/>
              </c:ext>
            </c:extLst>
          </c:dPt>
          <c:dPt>
            <c:idx val="59"/>
            <c:invertIfNegative val="0"/>
            <c:bubble3D val="0"/>
            <c:spPr>
              <a:solidFill>
                <a:srgbClr val="AEABAB"/>
              </a:solidFill>
            </c:spPr>
            <c:extLst>
              <c:ext xmlns:c16="http://schemas.microsoft.com/office/drawing/2014/chart" uri="{C3380CC4-5D6E-409C-BE32-E72D297353CC}">
                <c16:uniqueId val="{0000007C-C76F-4230-900D-40618C09729F}"/>
              </c:ext>
            </c:extLst>
          </c:dPt>
          <c:dPt>
            <c:idx val="60"/>
            <c:invertIfNegative val="0"/>
            <c:bubble3D val="0"/>
            <c:spPr>
              <a:solidFill>
                <a:srgbClr val="AEABAB"/>
              </a:solidFill>
            </c:spPr>
            <c:extLst>
              <c:ext xmlns:c16="http://schemas.microsoft.com/office/drawing/2014/chart" uri="{C3380CC4-5D6E-409C-BE32-E72D297353CC}">
                <c16:uniqueId val="{0000007E-C76F-4230-900D-40618C09729F}"/>
              </c:ext>
            </c:extLst>
          </c:dPt>
          <c:dPt>
            <c:idx val="61"/>
            <c:invertIfNegative val="0"/>
            <c:bubble3D val="0"/>
            <c:spPr>
              <a:solidFill>
                <a:srgbClr val="AEABAB"/>
              </a:solidFill>
            </c:spPr>
            <c:extLst>
              <c:ext xmlns:c16="http://schemas.microsoft.com/office/drawing/2014/chart" uri="{C3380CC4-5D6E-409C-BE32-E72D297353CC}">
                <c16:uniqueId val="{00000080-C76F-4230-900D-40618C09729F}"/>
              </c:ext>
            </c:extLst>
          </c:dPt>
          <c:dPt>
            <c:idx val="62"/>
            <c:invertIfNegative val="0"/>
            <c:bubble3D val="0"/>
            <c:spPr>
              <a:solidFill>
                <a:srgbClr val="AEABAB"/>
              </a:solidFill>
            </c:spPr>
            <c:extLst>
              <c:ext xmlns:c16="http://schemas.microsoft.com/office/drawing/2014/chart" uri="{C3380CC4-5D6E-409C-BE32-E72D297353CC}">
                <c16:uniqueId val="{00000082-C76F-4230-900D-40618C09729F}"/>
              </c:ext>
            </c:extLst>
          </c:dPt>
          <c:dPt>
            <c:idx val="63"/>
            <c:invertIfNegative val="0"/>
            <c:bubble3D val="0"/>
            <c:spPr>
              <a:solidFill>
                <a:srgbClr val="AEABAB"/>
              </a:solidFill>
            </c:spPr>
            <c:extLst>
              <c:ext xmlns:c16="http://schemas.microsoft.com/office/drawing/2014/chart" uri="{C3380CC4-5D6E-409C-BE32-E72D297353CC}">
                <c16:uniqueId val="{00000084-C76F-4230-900D-40618C09729F}"/>
              </c:ext>
            </c:extLst>
          </c:dPt>
          <c:dPt>
            <c:idx val="64"/>
            <c:invertIfNegative val="0"/>
            <c:bubble3D val="0"/>
            <c:spPr>
              <a:solidFill>
                <a:srgbClr val="AEABAB"/>
              </a:solidFill>
            </c:spPr>
            <c:extLst>
              <c:ext xmlns:c16="http://schemas.microsoft.com/office/drawing/2014/chart" uri="{C3380CC4-5D6E-409C-BE32-E72D297353CC}">
                <c16:uniqueId val="{00000086-C76F-4230-900D-40618C09729F}"/>
              </c:ext>
            </c:extLst>
          </c:dPt>
          <c:dPt>
            <c:idx val="65"/>
            <c:invertIfNegative val="0"/>
            <c:bubble3D val="0"/>
            <c:spPr>
              <a:solidFill>
                <a:srgbClr val="AEABAB"/>
              </a:solidFill>
            </c:spPr>
            <c:extLst>
              <c:ext xmlns:c16="http://schemas.microsoft.com/office/drawing/2014/chart" uri="{C3380CC4-5D6E-409C-BE32-E72D297353CC}">
                <c16:uniqueId val="{00000088-C76F-4230-900D-40618C09729F}"/>
              </c:ext>
            </c:extLst>
          </c:dPt>
          <c:dPt>
            <c:idx val="66"/>
            <c:invertIfNegative val="0"/>
            <c:bubble3D val="0"/>
            <c:spPr>
              <a:solidFill>
                <a:srgbClr val="AEABAB"/>
              </a:solidFill>
            </c:spPr>
            <c:extLst>
              <c:ext xmlns:c16="http://schemas.microsoft.com/office/drawing/2014/chart" uri="{C3380CC4-5D6E-409C-BE32-E72D297353CC}">
                <c16:uniqueId val="{0000008A-C76F-4230-900D-40618C09729F}"/>
              </c:ext>
            </c:extLst>
          </c:dPt>
          <c:dPt>
            <c:idx val="67"/>
            <c:invertIfNegative val="0"/>
            <c:bubble3D val="0"/>
            <c:spPr>
              <a:solidFill>
                <a:srgbClr val="AEABAB"/>
              </a:solidFill>
            </c:spPr>
            <c:extLst>
              <c:ext xmlns:c16="http://schemas.microsoft.com/office/drawing/2014/chart" uri="{C3380CC4-5D6E-409C-BE32-E72D297353CC}">
                <c16:uniqueId val="{0000008C-C76F-4230-900D-40618C09729F}"/>
              </c:ext>
            </c:extLst>
          </c:dPt>
          <c:dPt>
            <c:idx val="68"/>
            <c:invertIfNegative val="0"/>
            <c:bubble3D val="0"/>
            <c:spPr>
              <a:solidFill>
                <a:srgbClr val="AEABAB"/>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70</c:f>
              <c:strCache>
                <c:ptCount val="69"/>
                <c:pt idx="0">
                  <c:v>All Others</c:v>
                </c:pt>
                <c:pt idx="1">
                  <c:v>Bottega</c:v>
                </c:pt>
                <c:pt idx="2">
                  <c:v>Mure</c:v>
                </c:pt>
                <c:pt idx="3">
                  <c:v>Bouvet-Ladu</c:v>
                </c:pt>
                <c:pt idx="4">
                  <c:v>Patriarche</c:v>
                </c:pt>
                <c:pt idx="5">
                  <c:v>All Others</c:v>
                </c:pt>
                <c:pt idx="6">
                  <c:v>Savian</c:v>
                </c:pt>
                <c:pt idx="7">
                  <c:v>All Others</c:v>
                </c:pt>
                <c:pt idx="8">
                  <c:v>French Bloo</c:v>
                </c:pt>
                <c:pt idx="9">
                  <c:v>Patriarche</c:v>
                </c:pt>
                <c:pt idx="10">
                  <c:v>Bottega</c:v>
                </c:pt>
                <c:pt idx="11">
                  <c:v>All Others</c:v>
                </c:pt>
                <c:pt idx="12">
                  <c:v>De Chanceny</c:v>
                </c:pt>
                <c:pt idx="13">
                  <c:v>All Others</c:v>
                </c:pt>
                <c:pt idx="14">
                  <c:v>All Others</c:v>
                </c:pt>
                <c:pt idx="15">
                  <c:v>Kriter</c:v>
                </c:pt>
                <c:pt idx="16">
                  <c:v>All Others</c:v>
                </c:pt>
                <c:pt idx="17">
                  <c:v>Contarini</c:v>
                </c:pt>
                <c:pt idx="18">
                  <c:v>All Others</c:v>
                </c:pt>
                <c:pt idx="19">
                  <c:v>All Others</c:v>
                </c:pt>
                <c:pt idx="20">
                  <c:v>Cru La Maqu</c:v>
                </c:pt>
                <c:pt idx="21">
                  <c:v>Contarini</c:v>
                </c:pt>
                <c:pt idx="22">
                  <c:v>All Others</c:v>
                </c:pt>
                <c:pt idx="23">
                  <c:v>Vilaveroni</c:v>
                </c:pt>
                <c:pt idx="24">
                  <c:v>All Others</c:v>
                </c:pt>
                <c:pt idx="25">
                  <c:v>All Others</c:v>
                </c:pt>
                <c:pt idx="26">
                  <c:v>Mure</c:v>
                </c:pt>
                <c:pt idx="27">
                  <c:v>All Others</c:v>
                </c:pt>
                <c:pt idx="28">
                  <c:v>All Others</c:v>
                </c:pt>
                <c:pt idx="29">
                  <c:v>All Others</c:v>
                </c:pt>
                <c:pt idx="30">
                  <c:v>All Others</c:v>
                </c:pt>
                <c:pt idx="31">
                  <c:v>All Others</c:v>
                </c:pt>
                <c:pt idx="32">
                  <c:v>All Others</c:v>
                </c:pt>
                <c:pt idx="33">
                  <c:v>All Others</c:v>
                </c:pt>
                <c:pt idx="34">
                  <c:v>All Others</c:v>
                </c:pt>
                <c:pt idx="35">
                  <c:v>All Others</c:v>
                </c:pt>
                <c:pt idx="36">
                  <c:v>All Others</c:v>
                </c:pt>
                <c:pt idx="37">
                  <c:v>All Others</c:v>
                </c:pt>
                <c:pt idx="38">
                  <c:v>All Others</c:v>
                </c:pt>
                <c:pt idx="39">
                  <c:v>Bouvet-Ladu</c:v>
                </c:pt>
                <c:pt idx="40">
                  <c:v>All Others</c:v>
                </c:pt>
                <c:pt idx="41">
                  <c:v>All Others</c:v>
                </c:pt>
                <c:pt idx="42">
                  <c:v>All Others</c:v>
                </c:pt>
                <c:pt idx="43">
                  <c:v>All Others</c:v>
                </c:pt>
                <c:pt idx="44">
                  <c:v>Bouvet-Ladu</c:v>
                </c:pt>
                <c:pt idx="45">
                  <c:v>All Others</c:v>
                </c:pt>
                <c:pt idx="46">
                  <c:v>Bottega</c:v>
                </c:pt>
                <c:pt idx="47">
                  <c:v>Vilaveroni</c:v>
                </c:pt>
                <c:pt idx="48">
                  <c:v>All Others</c:v>
                </c:pt>
                <c:pt idx="49">
                  <c:v>All Others</c:v>
                </c:pt>
                <c:pt idx="50">
                  <c:v>Vilaveroni</c:v>
                </c:pt>
                <c:pt idx="51">
                  <c:v>Bouvet-Ladu</c:v>
                </c:pt>
                <c:pt idx="52">
                  <c:v>Jaillance</c:v>
                </c:pt>
                <c:pt idx="53">
                  <c:v>Celene</c:v>
                </c:pt>
                <c:pt idx="54">
                  <c:v>Mure</c:v>
                </c:pt>
                <c:pt idx="55">
                  <c:v>All Others</c:v>
                </c:pt>
                <c:pt idx="56">
                  <c:v>Vilaveroni</c:v>
                </c:pt>
                <c:pt idx="57">
                  <c:v>Celene</c:v>
                </c:pt>
                <c:pt idx="58">
                  <c:v>All Others</c:v>
                </c:pt>
                <c:pt idx="59">
                  <c:v>All Others</c:v>
                </c:pt>
                <c:pt idx="60">
                  <c:v>All Others</c:v>
                </c:pt>
                <c:pt idx="61">
                  <c:v>Bouvet-Ladu</c:v>
                </c:pt>
                <c:pt idx="62">
                  <c:v>All Others</c:v>
                </c:pt>
                <c:pt idx="63">
                  <c:v>All Others</c:v>
                </c:pt>
                <c:pt idx="64">
                  <c:v>All Others</c:v>
                </c:pt>
                <c:pt idx="65">
                  <c:v>All Others</c:v>
                </c:pt>
                <c:pt idx="66">
                  <c:v>Bottega</c:v>
                </c:pt>
                <c:pt idx="67">
                  <c:v>All Others</c:v>
                </c:pt>
                <c:pt idx="68">
                  <c:v>Bottega</c:v>
                </c:pt>
              </c:strCache>
            </c:strRef>
          </c:cat>
          <c:val>
            <c:numRef>
              <c:f>Sheet1!$C$2:$C$70</c:f>
              <c:numCache>
                <c:formatCode>General</c:formatCode>
                <c:ptCount val="69"/>
                <c:pt idx="0">
                  <c:v>0.16183722065922479</c:v>
                </c:pt>
                <c:pt idx="1">
                  <c:v>0.26182728085983586</c:v>
                </c:pt>
                <c:pt idx="2">
                  <c:v>0.34715829778774637</c:v>
                </c:pt>
                <c:pt idx="3">
                  <c:v>0.40816705777616435</c:v>
                </c:pt>
                <c:pt idx="4">
                  <c:v>0.46805218826844375</c:v>
                </c:pt>
                <c:pt idx="5">
                  <c:v>0.52718535132869193</c:v>
                </c:pt>
                <c:pt idx="6">
                  <c:v>0.58060529056626609</c:v>
                </c:pt>
                <c:pt idx="7">
                  <c:v>0.61674726547475511</c:v>
                </c:pt>
                <c:pt idx="8">
                  <c:v>0.65263426292065885</c:v>
                </c:pt>
                <c:pt idx="9">
                  <c:v>0.68180109164927205</c:v>
                </c:pt>
                <c:pt idx="10">
                  <c:v>0.7070049655780426</c:v>
                </c:pt>
                <c:pt idx="11">
                  <c:v>0.72880337780313154</c:v>
                </c:pt>
                <c:pt idx="12">
                  <c:v>0.74920157480995542</c:v>
                </c:pt>
                <c:pt idx="13">
                  <c:v>0.76840699589010908</c:v>
                </c:pt>
                <c:pt idx="14">
                  <c:v>0.78740497767866791</c:v>
                </c:pt>
                <c:pt idx="15">
                  <c:v>0.80586707463060681</c:v>
                </c:pt>
                <c:pt idx="16">
                  <c:v>0.82229799518567981</c:v>
                </c:pt>
                <c:pt idx="17">
                  <c:v>0.83579019244315955</c:v>
                </c:pt>
                <c:pt idx="18">
                  <c:v>0.849010125630421</c:v>
                </c:pt>
                <c:pt idx="19">
                  <c:v>0.86080823533987638</c:v>
                </c:pt>
                <c:pt idx="20">
                  <c:v>0.87166422493333862</c:v>
                </c:pt>
                <c:pt idx="21">
                  <c:v>0.88182010691766832</c:v>
                </c:pt>
                <c:pt idx="22">
                  <c:v>0.8901608951005433</c:v>
                </c:pt>
                <c:pt idx="23">
                  <c:v>0.89792258192771612</c:v>
                </c:pt>
                <c:pt idx="24">
                  <c:v>0.90543361294421187</c:v>
                </c:pt>
                <c:pt idx="25">
                  <c:v>0.91256866024469196</c:v>
                </c:pt>
                <c:pt idx="26">
                  <c:v>0.91966913432990627</c:v>
                </c:pt>
                <c:pt idx="27">
                  <c:v>0.9264454845220037</c:v>
                </c:pt>
                <c:pt idx="28">
                  <c:v>0.9324828322377946</c:v>
                </c:pt>
                <c:pt idx="29">
                  <c:v>0.9382824890986331</c:v>
                </c:pt>
                <c:pt idx="30">
                  <c:v>0.94383581180070275</c:v>
                </c:pt>
                <c:pt idx="31">
                  <c:v>0.94930702311651616</c:v>
                </c:pt>
                <c:pt idx="32">
                  <c:v>0.95394847726595022</c:v>
                </c:pt>
                <c:pt idx="33">
                  <c:v>0.95761755973603357</c:v>
                </c:pt>
                <c:pt idx="34">
                  <c:v>0.9611180977816961</c:v>
                </c:pt>
                <c:pt idx="35">
                  <c:v>0.96422536550371019</c:v>
                </c:pt>
                <c:pt idx="36">
                  <c:v>0.96702147428833207</c:v>
                </c:pt>
                <c:pt idx="37">
                  <c:v>0.96971818507906471</c:v>
                </c:pt>
                <c:pt idx="38">
                  <c:v>0.9723327844835411</c:v>
                </c:pt>
                <c:pt idx="39">
                  <c:v>0.9748393425903118</c:v>
                </c:pt>
                <c:pt idx="40">
                  <c:v>0.97733725739326605</c:v>
                </c:pt>
                <c:pt idx="41">
                  <c:v>0.97959748134126789</c:v>
                </c:pt>
                <c:pt idx="42">
                  <c:v>0.98179288051064639</c:v>
                </c:pt>
                <c:pt idx="43">
                  <c:v>0.98389320333804398</c:v>
                </c:pt>
                <c:pt idx="44">
                  <c:v>0.98577744357003028</c:v>
                </c:pt>
                <c:pt idx="45">
                  <c:v>0.98759253737148489</c:v>
                </c:pt>
                <c:pt idx="46">
                  <c:v>0.98939898786912306</c:v>
                </c:pt>
                <c:pt idx="47">
                  <c:v>0.99084241960647035</c:v>
                </c:pt>
                <c:pt idx="48">
                  <c:v>0.99217781004611205</c:v>
                </c:pt>
                <c:pt idx="49">
                  <c:v>0.99344837570713029</c:v>
                </c:pt>
                <c:pt idx="50">
                  <c:v>0.99464547328570874</c:v>
                </c:pt>
                <c:pt idx="51">
                  <c:v>0.99542769228109751</c:v>
                </c:pt>
                <c:pt idx="52">
                  <c:v>0.99617533806122049</c:v>
                </c:pt>
                <c:pt idx="53">
                  <c:v>0.99685815906272013</c:v>
                </c:pt>
                <c:pt idx="54">
                  <c:v>0.99742429546269762</c:v>
                </c:pt>
                <c:pt idx="55">
                  <c:v>0.99798178855885866</c:v>
                </c:pt>
                <c:pt idx="56">
                  <c:v>0.99849174348402925</c:v>
                </c:pt>
                <c:pt idx="57">
                  <c:v>0.99885476224432013</c:v>
                </c:pt>
                <c:pt idx="58">
                  <c:v>0.99921345935270278</c:v>
                </c:pt>
                <c:pt idx="59">
                  <c:v>0.99938200377712361</c:v>
                </c:pt>
                <c:pt idx="60">
                  <c:v>0.99949004507482919</c:v>
                </c:pt>
                <c:pt idx="61">
                  <c:v>0.99958944306871833</c:v>
                </c:pt>
                <c:pt idx="62">
                  <c:v>0.9996758761068828</c:v>
                </c:pt>
                <c:pt idx="63">
                  <c:v>0.99975366584123082</c:v>
                </c:pt>
                <c:pt idx="64">
                  <c:v>0.9998228122717624</c:v>
                </c:pt>
                <c:pt idx="65">
                  <c:v>0.9998789937465693</c:v>
                </c:pt>
                <c:pt idx="66">
                  <c:v>0.99993085356946798</c:v>
                </c:pt>
                <c:pt idx="67">
                  <c:v>0.99996974843664199</c:v>
                </c:pt>
                <c:pt idx="68">
                  <c:v>0.99999999999999956</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42</c:f>
              <c:strCache>
                <c:ptCount val="41"/>
                <c:pt idx="0">
                  <c:v>All Others</c:v>
                </c:pt>
                <c:pt idx="1">
                  <c:v>Bottega</c:v>
                </c:pt>
                <c:pt idx="2">
                  <c:v>Patriarche</c:v>
                </c:pt>
                <c:pt idx="3">
                  <c:v>Mure</c:v>
                </c:pt>
                <c:pt idx="4">
                  <c:v>Savian</c:v>
                </c:pt>
                <c:pt idx="5">
                  <c:v>French Bloo</c:v>
                </c:pt>
                <c:pt idx="6">
                  <c:v>Bouvet-Ladu</c:v>
                </c:pt>
                <c:pt idx="7">
                  <c:v>De Chanceny</c:v>
                </c:pt>
                <c:pt idx="8">
                  <c:v>All Others</c:v>
                </c:pt>
                <c:pt idx="9">
                  <c:v>Patriarche</c:v>
                </c:pt>
                <c:pt idx="10">
                  <c:v>Bottega</c:v>
                </c:pt>
                <c:pt idx="11">
                  <c:v>Kriter</c:v>
                </c:pt>
                <c:pt idx="12">
                  <c:v>Cru La Maqu</c:v>
                </c:pt>
                <c:pt idx="13">
                  <c:v>Contarini</c:v>
                </c:pt>
                <c:pt idx="14">
                  <c:v>All Others</c:v>
                </c:pt>
                <c:pt idx="15">
                  <c:v>All Others</c:v>
                </c:pt>
                <c:pt idx="16">
                  <c:v>All Others</c:v>
                </c:pt>
                <c:pt idx="17">
                  <c:v>All Others</c:v>
                </c:pt>
                <c:pt idx="18">
                  <c:v>All Others</c:v>
                </c:pt>
                <c:pt idx="19">
                  <c:v>Contarini</c:v>
                </c:pt>
                <c:pt idx="20">
                  <c:v>All Others</c:v>
                </c:pt>
                <c:pt idx="21">
                  <c:v>All Others</c:v>
                </c:pt>
                <c:pt idx="22">
                  <c:v>Bouvet-Ladu</c:v>
                </c:pt>
                <c:pt idx="23">
                  <c:v>Bouvet-Ladu</c:v>
                </c:pt>
                <c:pt idx="24">
                  <c:v>All Others</c:v>
                </c:pt>
                <c:pt idx="25">
                  <c:v>Bouvet-Ladu</c:v>
                </c:pt>
                <c:pt idx="26">
                  <c:v>Celene</c:v>
                </c:pt>
                <c:pt idx="27">
                  <c:v>Celene</c:v>
                </c:pt>
                <c:pt idx="28">
                  <c:v>All Others</c:v>
                </c:pt>
                <c:pt idx="29">
                  <c:v>Bottega</c:v>
                </c:pt>
                <c:pt idx="30">
                  <c:v>Jaillance</c:v>
                </c:pt>
                <c:pt idx="31">
                  <c:v>All Others</c:v>
                </c:pt>
                <c:pt idx="32">
                  <c:v>Bouvet-Ladu</c:v>
                </c:pt>
                <c:pt idx="33">
                  <c:v>Bouvet-Ladu</c:v>
                </c:pt>
                <c:pt idx="34">
                  <c:v>All Others</c:v>
                </c:pt>
                <c:pt idx="35">
                  <c:v>All Others</c:v>
                </c:pt>
                <c:pt idx="36">
                  <c:v>All Others</c:v>
                </c:pt>
                <c:pt idx="37">
                  <c:v>All Others</c:v>
                </c:pt>
                <c:pt idx="38">
                  <c:v>All Others</c:v>
                </c:pt>
                <c:pt idx="39">
                  <c:v>All Others</c:v>
                </c:pt>
                <c:pt idx="40">
                  <c:v>Bottega</c:v>
                </c:pt>
              </c:strCache>
            </c:strRef>
          </c:cat>
          <c:val>
            <c:numRef>
              <c:f>Sheet1!$B$2:$B$42</c:f>
              <c:numCache>
                <c:formatCode>General</c:formatCode>
                <c:ptCount val="41"/>
                <c:pt idx="0">
                  <c:v>0.9</c:v>
                </c:pt>
                <c:pt idx="1">
                  <c:v>0.8</c:v>
                </c:pt>
                <c:pt idx="2">
                  <c:v>0.87</c:v>
                </c:pt>
                <c:pt idx="3">
                  <c:v>0.74</c:v>
                </c:pt>
                <c:pt idx="4">
                  <c:v>0.82</c:v>
                </c:pt>
                <c:pt idx="5">
                  <c:v>0.69</c:v>
                </c:pt>
                <c:pt idx="6">
                  <c:v>0.68</c:v>
                </c:pt>
                <c:pt idx="7">
                  <c:v>0.56999999999999995</c:v>
                </c:pt>
                <c:pt idx="8">
                  <c:v>0.43</c:v>
                </c:pt>
                <c:pt idx="9">
                  <c:v>0.56000000000000005</c:v>
                </c:pt>
                <c:pt idx="10">
                  <c:v>0.45</c:v>
                </c:pt>
                <c:pt idx="11">
                  <c:v>0.45</c:v>
                </c:pt>
                <c:pt idx="12">
                  <c:v>0.35</c:v>
                </c:pt>
                <c:pt idx="13">
                  <c:v>0.87</c:v>
                </c:pt>
                <c:pt idx="14">
                  <c:v>0.26</c:v>
                </c:pt>
                <c:pt idx="15">
                  <c:v>0.45</c:v>
                </c:pt>
                <c:pt idx="16">
                  <c:v>0.23</c:v>
                </c:pt>
                <c:pt idx="17">
                  <c:v>0.22</c:v>
                </c:pt>
                <c:pt idx="18">
                  <c:v>0.21</c:v>
                </c:pt>
                <c:pt idx="19">
                  <c:v>0.1</c:v>
                </c:pt>
                <c:pt idx="20">
                  <c:v>0.17</c:v>
                </c:pt>
                <c:pt idx="21">
                  <c:v>0.22</c:v>
                </c:pt>
                <c:pt idx="22">
                  <c:v>7.0000000000000007E-2</c:v>
                </c:pt>
                <c:pt idx="23">
                  <c:v>0.09</c:v>
                </c:pt>
                <c:pt idx="24">
                  <c:v>7.0000000000000007E-2</c:v>
                </c:pt>
                <c:pt idx="25">
                  <c:v>0.05</c:v>
                </c:pt>
                <c:pt idx="26">
                  <c:v>0.04</c:v>
                </c:pt>
                <c:pt idx="27">
                  <c:v>0.03</c:v>
                </c:pt>
                <c:pt idx="28">
                  <c:v>0.03</c:v>
                </c:pt>
                <c:pt idx="29">
                  <c:v>0.03</c:v>
                </c:pt>
                <c:pt idx="30">
                  <c:v>0.01</c:v>
                </c:pt>
                <c:pt idx="31">
                  <c:v>0.02</c:v>
                </c:pt>
                <c:pt idx="32">
                  <c:v>0.01</c:v>
                </c:pt>
                <c:pt idx="33">
                  <c:v>0.01</c:v>
                </c:pt>
                <c:pt idx="34">
                  <c:v>0.04</c:v>
                </c:pt>
                <c:pt idx="35">
                  <c:v>0.01</c:v>
                </c:pt>
                <c:pt idx="36">
                  <c:v>0.01</c:v>
                </c:pt>
                <c:pt idx="37">
                  <c:v>0.01</c:v>
                </c:pt>
                <c:pt idx="38">
                  <c:v>0.01</c:v>
                </c:pt>
                <c:pt idx="39">
                  <c:v>0.01</c:v>
                </c:pt>
                <c:pt idx="40">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7ECAC4"/>
              </a:solidFill>
            </c:spPr>
            <c:extLst>
              <c:ext xmlns:c16="http://schemas.microsoft.com/office/drawing/2014/chart" uri="{C3380CC4-5D6E-409C-BE32-E72D297353CC}">
                <c16:uniqueId val="{0000004B-2993-41DE-A2CB-63102DE87051}"/>
              </c:ext>
            </c:extLst>
          </c:dPt>
          <c:dPt>
            <c:idx val="10"/>
            <c:invertIfNegative val="1"/>
            <c:bubble3D val="0"/>
            <c:spPr>
              <a:solidFill>
                <a:srgbClr val="7ECAC4"/>
              </a:solidFill>
            </c:spPr>
            <c:extLst>
              <c:ext xmlns:c16="http://schemas.microsoft.com/office/drawing/2014/chart" uri="{C3380CC4-5D6E-409C-BE32-E72D297353CC}">
                <c16:uniqueId val="{0000004D-2993-41DE-A2CB-63102DE87051}"/>
              </c:ext>
            </c:extLst>
          </c:dPt>
          <c:dPt>
            <c:idx val="11"/>
            <c:invertIfNegative val="1"/>
            <c:bubble3D val="0"/>
            <c:spPr>
              <a:solidFill>
                <a:srgbClr val="7ECAC4"/>
              </a:solidFill>
            </c:spPr>
            <c:extLst>
              <c:ext xmlns:c16="http://schemas.microsoft.com/office/drawing/2014/chart" uri="{C3380CC4-5D6E-409C-BE32-E72D297353CC}">
                <c16:uniqueId val="{0000004F-2993-41DE-A2CB-63102DE87051}"/>
              </c:ext>
            </c:extLst>
          </c:dPt>
          <c:dPt>
            <c:idx val="12"/>
            <c:invertIfNegative val="1"/>
            <c:bubble3D val="0"/>
            <c:spPr>
              <a:solidFill>
                <a:srgbClr val="7ECAC4"/>
              </a:solidFill>
            </c:spPr>
            <c:extLst>
              <c:ext xmlns:c16="http://schemas.microsoft.com/office/drawing/2014/chart" uri="{C3380CC4-5D6E-409C-BE32-E72D297353CC}">
                <c16:uniqueId val="{00000051-2993-41DE-A2CB-63102DE87051}"/>
              </c:ext>
            </c:extLst>
          </c:dPt>
          <c:dPt>
            <c:idx val="13"/>
            <c:invertIfNegative val="1"/>
            <c:bubble3D val="0"/>
            <c:spPr>
              <a:solidFill>
                <a:srgbClr val="7ECAC4"/>
              </a:solidFill>
            </c:spPr>
            <c:extLst>
              <c:ext xmlns:c16="http://schemas.microsoft.com/office/drawing/2014/chart" uri="{C3380CC4-5D6E-409C-BE32-E72D297353CC}">
                <c16:uniqueId val="{00000053-2993-41DE-A2CB-63102DE87051}"/>
              </c:ext>
            </c:extLst>
          </c:dPt>
          <c:dPt>
            <c:idx val="14"/>
            <c:invertIfNegative val="1"/>
            <c:bubble3D val="0"/>
            <c:spPr>
              <a:solidFill>
                <a:srgbClr val="7ECAC4"/>
              </a:solidFill>
            </c:spPr>
            <c:extLst>
              <c:ext xmlns:c16="http://schemas.microsoft.com/office/drawing/2014/chart" uri="{C3380CC4-5D6E-409C-BE32-E72D297353CC}">
                <c16:uniqueId val="{00000055-2993-41DE-A2CB-63102DE87051}"/>
              </c:ext>
            </c:extLst>
          </c:dPt>
          <c:dPt>
            <c:idx val="15"/>
            <c:invertIfNegative val="1"/>
            <c:bubble3D val="0"/>
            <c:spPr>
              <a:solidFill>
                <a:srgbClr val="7ECAC4"/>
              </a:solidFill>
            </c:spPr>
            <c:extLst>
              <c:ext xmlns:c16="http://schemas.microsoft.com/office/drawing/2014/chart" uri="{C3380CC4-5D6E-409C-BE32-E72D297353CC}">
                <c16:uniqueId val="{00000057-2993-41DE-A2CB-63102DE87051}"/>
              </c:ext>
            </c:extLst>
          </c:dPt>
          <c:dPt>
            <c:idx val="16"/>
            <c:invertIfNegative val="1"/>
            <c:bubble3D val="0"/>
            <c:spPr>
              <a:solidFill>
                <a:srgbClr val="AEABAB"/>
              </a:solidFill>
            </c:spPr>
            <c:extLst>
              <c:ext xmlns:c16="http://schemas.microsoft.com/office/drawing/2014/chart" uri="{C3380CC4-5D6E-409C-BE32-E72D297353CC}">
                <c16:uniqueId val="{00000059-2993-41DE-A2CB-63102DE87051}"/>
              </c:ext>
            </c:extLst>
          </c:dPt>
          <c:dPt>
            <c:idx val="17"/>
            <c:invertIfNegative val="1"/>
            <c:bubble3D val="0"/>
            <c:spPr>
              <a:solidFill>
                <a:srgbClr val="AEABAB"/>
              </a:solidFill>
            </c:spPr>
            <c:extLst>
              <c:ext xmlns:c16="http://schemas.microsoft.com/office/drawing/2014/chart" uri="{C3380CC4-5D6E-409C-BE32-E72D297353CC}">
                <c16:uniqueId val="{0000005B-2993-41DE-A2CB-63102DE87051}"/>
              </c:ext>
            </c:extLst>
          </c:dPt>
          <c:dPt>
            <c:idx val="18"/>
            <c:invertIfNegative val="1"/>
            <c:bubble3D val="0"/>
            <c:spPr>
              <a:solidFill>
                <a:srgbClr val="AEABAB"/>
              </a:solidFill>
            </c:spPr>
            <c:extLst>
              <c:ext xmlns:c16="http://schemas.microsoft.com/office/drawing/2014/chart" uri="{C3380CC4-5D6E-409C-BE32-E72D297353CC}">
                <c16:uniqueId val="{0000005D-2993-41DE-A2CB-63102DE87051}"/>
              </c:ext>
            </c:extLst>
          </c:dPt>
          <c:dPt>
            <c:idx val="19"/>
            <c:invertIfNegative val="1"/>
            <c:bubble3D val="0"/>
            <c:spPr>
              <a:solidFill>
                <a:srgbClr val="AEABAB"/>
              </a:solidFill>
            </c:spPr>
            <c:extLst>
              <c:ext xmlns:c16="http://schemas.microsoft.com/office/drawing/2014/chart" uri="{C3380CC4-5D6E-409C-BE32-E72D297353CC}">
                <c16:uniqueId val="{0000005F-2993-41DE-A2CB-63102DE87051}"/>
              </c:ext>
            </c:extLst>
          </c:dPt>
          <c:dPt>
            <c:idx val="20"/>
            <c:invertIfNegative val="1"/>
            <c:bubble3D val="0"/>
            <c:spPr>
              <a:solidFill>
                <a:srgbClr val="AEABAB"/>
              </a:solidFill>
            </c:spPr>
            <c:extLst>
              <c:ext xmlns:c16="http://schemas.microsoft.com/office/drawing/2014/chart" uri="{C3380CC4-5D6E-409C-BE32-E72D297353CC}">
                <c16:uniqueId val="{00000061-2993-41DE-A2CB-63102DE87051}"/>
              </c:ext>
            </c:extLst>
          </c:dPt>
          <c:dPt>
            <c:idx val="21"/>
            <c:invertIfNegative val="1"/>
            <c:bubble3D val="0"/>
            <c:spPr>
              <a:solidFill>
                <a:srgbClr val="AEABAB"/>
              </a:solidFill>
            </c:spPr>
            <c:extLst>
              <c:ext xmlns:c16="http://schemas.microsoft.com/office/drawing/2014/chart" uri="{C3380CC4-5D6E-409C-BE32-E72D297353CC}">
                <c16:uniqueId val="{00000063-2993-41DE-A2CB-63102DE87051}"/>
              </c:ext>
            </c:extLst>
          </c:dPt>
          <c:dPt>
            <c:idx val="22"/>
            <c:invertIfNegative val="1"/>
            <c:bubble3D val="0"/>
            <c:spPr>
              <a:solidFill>
                <a:srgbClr val="AEABAB"/>
              </a:solidFill>
            </c:spPr>
            <c:extLst>
              <c:ext xmlns:c16="http://schemas.microsoft.com/office/drawing/2014/chart" uri="{C3380CC4-5D6E-409C-BE32-E72D297353CC}">
                <c16:uniqueId val="{00000065-2993-41DE-A2CB-63102DE87051}"/>
              </c:ext>
            </c:extLst>
          </c:dPt>
          <c:dPt>
            <c:idx val="23"/>
            <c:invertIfNegative val="1"/>
            <c:bubble3D val="0"/>
            <c:spPr>
              <a:solidFill>
                <a:srgbClr val="AEABAB"/>
              </a:solidFill>
            </c:spPr>
            <c:extLst>
              <c:ext xmlns:c16="http://schemas.microsoft.com/office/drawing/2014/chart" uri="{C3380CC4-5D6E-409C-BE32-E72D297353CC}">
                <c16:uniqueId val="{00000067-2993-41DE-A2CB-63102DE87051}"/>
              </c:ext>
            </c:extLst>
          </c:dPt>
          <c:dPt>
            <c:idx val="24"/>
            <c:invertIfNegative val="1"/>
            <c:bubble3D val="0"/>
            <c:spPr>
              <a:solidFill>
                <a:srgbClr val="AEABAB"/>
              </a:solidFill>
            </c:spPr>
            <c:extLst>
              <c:ext xmlns:c16="http://schemas.microsoft.com/office/drawing/2014/chart" uri="{C3380CC4-5D6E-409C-BE32-E72D297353CC}">
                <c16:uniqueId val="{00000069-2993-41DE-A2CB-63102DE87051}"/>
              </c:ext>
            </c:extLst>
          </c:dPt>
          <c:dPt>
            <c:idx val="25"/>
            <c:invertIfNegative val="1"/>
            <c:bubble3D val="0"/>
            <c:spPr>
              <a:solidFill>
                <a:srgbClr val="AEABAB"/>
              </a:solidFill>
            </c:spPr>
            <c:extLst>
              <c:ext xmlns:c16="http://schemas.microsoft.com/office/drawing/2014/chart" uri="{C3380CC4-5D6E-409C-BE32-E72D297353CC}">
                <c16:uniqueId val="{0000006B-2993-41DE-A2CB-63102DE87051}"/>
              </c:ext>
            </c:extLst>
          </c:dPt>
          <c:dPt>
            <c:idx val="26"/>
            <c:invertIfNegative val="1"/>
            <c:bubble3D val="0"/>
            <c:spPr>
              <a:solidFill>
                <a:srgbClr val="AEABAB"/>
              </a:solidFill>
            </c:spPr>
            <c:extLst>
              <c:ext xmlns:c16="http://schemas.microsoft.com/office/drawing/2014/chart" uri="{C3380CC4-5D6E-409C-BE32-E72D297353CC}">
                <c16:uniqueId val="{0000006D-2993-41DE-A2CB-63102DE87051}"/>
              </c:ext>
            </c:extLst>
          </c:dPt>
          <c:dPt>
            <c:idx val="27"/>
            <c:invertIfNegative val="1"/>
            <c:bubble3D val="0"/>
            <c:spPr>
              <a:solidFill>
                <a:srgbClr val="AEABAB"/>
              </a:solidFill>
            </c:spPr>
            <c:extLst>
              <c:ext xmlns:c16="http://schemas.microsoft.com/office/drawing/2014/chart" uri="{C3380CC4-5D6E-409C-BE32-E72D297353CC}">
                <c16:uniqueId val="{0000006F-2993-41DE-A2CB-63102DE87051}"/>
              </c:ext>
            </c:extLst>
          </c:dPt>
          <c:dPt>
            <c:idx val="28"/>
            <c:invertIfNegative val="1"/>
            <c:bubble3D val="0"/>
            <c:spPr>
              <a:solidFill>
                <a:srgbClr val="AEABAB"/>
              </a:solidFill>
            </c:spPr>
            <c:extLst>
              <c:ext xmlns:c16="http://schemas.microsoft.com/office/drawing/2014/chart" uri="{C3380CC4-5D6E-409C-BE32-E72D297353CC}">
                <c16:uniqueId val="{00000071-2993-41DE-A2CB-63102DE87051}"/>
              </c:ext>
            </c:extLst>
          </c:dPt>
          <c:dPt>
            <c:idx val="29"/>
            <c:invertIfNegative val="1"/>
            <c:bubble3D val="0"/>
            <c:spPr>
              <a:solidFill>
                <a:srgbClr val="AEABAB"/>
              </a:solidFill>
            </c:spPr>
            <c:extLst>
              <c:ext xmlns:c16="http://schemas.microsoft.com/office/drawing/2014/chart" uri="{C3380CC4-5D6E-409C-BE32-E72D297353CC}">
                <c16:uniqueId val="{00000073-2993-41DE-A2CB-63102DE87051}"/>
              </c:ext>
            </c:extLst>
          </c:dPt>
          <c:dPt>
            <c:idx val="30"/>
            <c:invertIfNegative val="1"/>
            <c:bubble3D val="0"/>
            <c:spPr>
              <a:solidFill>
                <a:srgbClr val="AEABAB"/>
              </a:solidFill>
            </c:spPr>
            <c:extLst>
              <c:ext xmlns:c16="http://schemas.microsoft.com/office/drawing/2014/chart" uri="{C3380CC4-5D6E-409C-BE32-E72D297353CC}">
                <c16:uniqueId val="{00000075-2993-41DE-A2CB-63102DE87051}"/>
              </c:ext>
            </c:extLst>
          </c:dPt>
          <c:dPt>
            <c:idx val="31"/>
            <c:invertIfNegative val="1"/>
            <c:bubble3D val="0"/>
            <c:spPr>
              <a:solidFill>
                <a:srgbClr val="AEABAB"/>
              </a:solidFill>
            </c:spPr>
            <c:extLst>
              <c:ext xmlns:c16="http://schemas.microsoft.com/office/drawing/2014/chart" uri="{C3380CC4-5D6E-409C-BE32-E72D297353CC}">
                <c16:uniqueId val="{00000077-2993-41DE-A2CB-63102DE87051}"/>
              </c:ext>
            </c:extLst>
          </c:dPt>
          <c:dPt>
            <c:idx val="32"/>
            <c:invertIfNegative val="1"/>
            <c:bubble3D val="0"/>
            <c:spPr>
              <a:solidFill>
                <a:srgbClr val="AEABAB"/>
              </a:solidFill>
            </c:spPr>
            <c:extLst>
              <c:ext xmlns:c16="http://schemas.microsoft.com/office/drawing/2014/chart" uri="{C3380CC4-5D6E-409C-BE32-E72D297353CC}">
                <c16:uniqueId val="{00000079-2993-41DE-A2CB-63102DE87051}"/>
              </c:ext>
            </c:extLst>
          </c:dPt>
          <c:dPt>
            <c:idx val="33"/>
            <c:invertIfNegative val="1"/>
            <c:bubble3D val="0"/>
            <c:spPr>
              <a:solidFill>
                <a:srgbClr val="AEABAB"/>
              </a:solidFill>
            </c:spPr>
            <c:extLst>
              <c:ext xmlns:c16="http://schemas.microsoft.com/office/drawing/2014/chart" uri="{C3380CC4-5D6E-409C-BE32-E72D297353CC}">
                <c16:uniqueId val="{0000007B-2993-41DE-A2CB-63102DE87051}"/>
              </c:ext>
            </c:extLst>
          </c:dPt>
          <c:dPt>
            <c:idx val="34"/>
            <c:invertIfNegative val="1"/>
            <c:bubble3D val="0"/>
            <c:spPr>
              <a:solidFill>
                <a:srgbClr val="AEABAB"/>
              </a:solidFill>
            </c:spPr>
            <c:extLst>
              <c:ext xmlns:c16="http://schemas.microsoft.com/office/drawing/2014/chart" uri="{C3380CC4-5D6E-409C-BE32-E72D297353CC}">
                <c16:uniqueId val="{0000007D-2993-41DE-A2CB-63102DE87051}"/>
              </c:ext>
            </c:extLst>
          </c:dPt>
          <c:dPt>
            <c:idx val="35"/>
            <c:invertIfNegative val="1"/>
            <c:bubble3D val="0"/>
            <c:spPr>
              <a:solidFill>
                <a:srgbClr val="AEABAB"/>
              </a:solidFill>
            </c:spPr>
            <c:extLst>
              <c:ext xmlns:c16="http://schemas.microsoft.com/office/drawing/2014/chart" uri="{C3380CC4-5D6E-409C-BE32-E72D297353CC}">
                <c16:uniqueId val="{0000007F-2993-41DE-A2CB-63102DE87051}"/>
              </c:ext>
            </c:extLst>
          </c:dPt>
          <c:dPt>
            <c:idx val="36"/>
            <c:invertIfNegative val="1"/>
            <c:bubble3D val="0"/>
            <c:spPr>
              <a:solidFill>
                <a:srgbClr val="AEABAB"/>
              </a:solidFill>
            </c:spPr>
            <c:extLst>
              <c:ext xmlns:c16="http://schemas.microsoft.com/office/drawing/2014/chart" uri="{C3380CC4-5D6E-409C-BE32-E72D297353CC}">
                <c16:uniqueId val="{00000081-2993-41DE-A2CB-63102DE87051}"/>
              </c:ext>
            </c:extLst>
          </c:dPt>
          <c:dPt>
            <c:idx val="37"/>
            <c:invertIfNegative val="1"/>
            <c:bubble3D val="0"/>
            <c:spPr>
              <a:solidFill>
                <a:srgbClr val="AEABAB"/>
              </a:solidFill>
            </c:spPr>
            <c:extLst>
              <c:ext xmlns:c16="http://schemas.microsoft.com/office/drawing/2014/chart" uri="{C3380CC4-5D6E-409C-BE32-E72D297353CC}">
                <c16:uniqueId val="{00000083-2993-41DE-A2CB-63102DE87051}"/>
              </c:ext>
            </c:extLst>
          </c:dPt>
          <c:dPt>
            <c:idx val="38"/>
            <c:invertIfNegative val="1"/>
            <c:bubble3D val="0"/>
            <c:spPr>
              <a:solidFill>
                <a:srgbClr val="AEABAB"/>
              </a:solidFill>
            </c:spPr>
            <c:extLst>
              <c:ext xmlns:c16="http://schemas.microsoft.com/office/drawing/2014/chart" uri="{C3380CC4-5D6E-409C-BE32-E72D297353CC}">
                <c16:uniqueId val="{00000085-2993-41DE-A2CB-63102DE87051}"/>
              </c:ext>
            </c:extLst>
          </c:dPt>
          <c:dPt>
            <c:idx val="39"/>
            <c:invertIfNegative val="1"/>
            <c:bubble3D val="0"/>
            <c:spPr>
              <a:solidFill>
                <a:srgbClr val="AEABAB"/>
              </a:solidFill>
            </c:spPr>
            <c:extLst>
              <c:ext xmlns:c16="http://schemas.microsoft.com/office/drawing/2014/chart" uri="{C3380CC4-5D6E-409C-BE32-E72D297353CC}">
                <c16:uniqueId val="{00000087-2993-41DE-A2CB-63102DE87051}"/>
              </c:ext>
            </c:extLst>
          </c:dPt>
          <c:dPt>
            <c:idx val="40"/>
            <c:invertIfNegative val="1"/>
            <c:bubble3D val="0"/>
            <c:spPr>
              <a:solidFill>
                <a:srgbClr val="AEABAB"/>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42</c:f>
              <c:strCache>
                <c:ptCount val="41"/>
                <c:pt idx="0">
                  <c:v>All Others</c:v>
                </c:pt>
                <c:pt idx="1">
                  <c:v>Bottega</c:v>
                </c:pt>
                <c:pt idx="2">
                  <c:v>Patriarche</c:v>
                </c:pt>
                <c:pt idx="3">
                  <c:v>Mure</c:v>
                </c:pt>
                <c:pt idx="4">
                  <c:v>Savian</c:v>
                </c:pt>
                <c:pt idx="5">
                  <c:v>French Bloo</c:v>
                </c:pt>
                <c:pt idx="6">
                  <c:v>Bouvet-Ladu</c:v>
                </c:pt>
                <c:pt idx="7">
                  <c:v>De Chanceny</c:v>
                </c:pt>
                <c:pt idx="8">
                  <c:v>All Others</c:v>
                </c:pt>
                <c:pt idx="9">
                  <c:v>Patriarche</c:v>
                </c:pt>
                <c:pt idx="10">
                  <c:v>Bottega</c:v>
                </c:pt>
                <c:pt idx="11">
                  <c:v>Kriter</c:v>
                </c:pt>
                <c:pt idx="12">
                  <c:v>Cru La Maqu</c:v>
                </c:pt>
                <c:pt idx="13">
                  <c:v>Contarini</c:v>
                </c:pt>
                <c:pt idx="14">
                  <c:v>All Others</c:v>
                </c:pt>
                <c:pt idx="15">
                  <c:v>All Others</c:v>
                </c:pt>
                <c:pt idx="16">
                  <c:v>All Others</c:v>
                </c:pt>
                <c:pt idx="17">
                  <c:v>All Others</c:v>
                </c:pt>
                <c:pt idx="18">
                  <c:v>All Others</c:v>
                </c:pt>
                <c:pt idx="19">
                  <c:v>Contarini</c:v>
                </c:pt>
                <c:pt idx="20">
                  <c:v>All Others</c:v>
                </c:pt>
                <c:pt idx="21">
                  <c:v>All Others</c:v>
                </c:pt>
                <c:pt idx="22">
                  <c:v>Bouvet-Ladu</c:v>
                </c:pt>
                <c:pt idx="23">
                  <c:v>Bouvet-Ladu</c:v>
                </c:pt>
                <c:pt idx="24">
                  <c:v>All Others</c:v>
                </c:pt>
                <c:pt idx="25">
                  <c:v>Bouvet-Ladu</c:v>
                </c:pt>
                <c:pt idx="26">
                  <c:v>Celene</c:v>
                </c:pt>
                <c:pt idx="27">
                  <c:v>Celene</c:v>
                </c:pt>
                <c:pt idx="28">
                  <c:v>All Others</c:v>
                </c:pt>
                <c:pt idx="29">
                  <c:v>Bottega</c:v>
                </c:pt>
                <c:pt idx="30">
                  <c:v>Jaillance</c:v>
                </c:pt>
                <c:pt idx="31">
                  <c:v>All Others</c:v>
                </c:pt>
                <c:pt idx="32">
                  <c:v>Bouvet-Ladu</c:v>
                </c:pt>
                <c:pt idx="33">
                  <c:v>Bouvet-Ladu</c:v>
                </c:pt>
                <c:pt idx="34">
                  <c:v>All Others</c:v>
                </c:pt>
                <c:pt idx="35">
                  <c:v>All Others</c:v>
                </c:pt>
                <c:pt idx="36">
                  <c:v>All Others</c:v>
                </c:pt>
                <c:pt idx="37">
                  <c:v>All Others</c:v>
                </c:pt>
                <c:pt idx="38">
                  <c:v>All Others</c:v>
                </c:pt>
                <c:pt idx="39">
                  <c:v>All Others</c:v>
                </c:pt>
                <c:pt idx="40">
                  <c:v>Bottega</c:v>
                </c:pt>
              </c:strCache>
            </c:strRef>
          </c:cat>
          <c:val>
            <c:numRef>
              <c:f>Sheet1!$C$2:$C$42</c:f>
              <c:numCache>
                <c:formatCode>General</c:formatCode>
                <c:ptCount val="41"/>
                <c:pt idx="0">
                  <c:v>0.16392835986806983</c:v>
                </c:pt>
                <c:pt idx="1">
                  <c:v>0.29671820036712276</c:v>
                </c:pt>
                <c:pt idx="2">
                  <c:v>0.39560659358339612</c:v>
                </c:pt>
                <c:pt idx="3">
                  <c:v>0.48259494365177458</c:v>
                </c:pt>
                <c:pt idx="4">
                  <c:v>0.56932550333116372</c:v>
                </c:pt>
                <c:pt idx="5">
                  <c:v>0.65144801409985442</c:v>
                </c:pt>
                <c:pt idx="6">
                  <c:v>0.72143060867784603</c:v>
                </c:pt>
                <c:pt idx="7">
                  <c:v>0.76632709029611146</c:v>
                </c:pt>
                <c:pt idx="8">
                  <c:v>0.8053283993593634</c:v>
                </c:pt>
                <c:pt idx="9">
                  <c:v>0.83534178251998326</c:v>
                </c:pt>
                <c:pt idx="10">
                  <c:v>0.85868991289975782</c:v>
                </c:pt>
                <c:pt idx="11">
                  <c:v>0.88155354361228311</c:v>
                </c:pt>
                <c:pt idx="12">
                  <c:v>0.8972275649229553</c:v>
                </c:pt>
                <c:pt idx="13">
                  <c:v>0.91266207885094952</c:v>
                </c:pt>
                <c:pt idx="14">
                  <c:v>0.92652059763491024</c:v>
                </c:pt>
                <c:pt idx="15">
                  <c:v>0.94029245496895542</c:v>
                </c:pt>
                <c:pt idx="16">
                  <c:v>0.95287372293200912</c:v>
                </c:pt>
                <c:pt idx="17">
                  <c:v>0.96102319016520521</c:v>
                </c:pt>
                <c:pt idx="18">
                  <c:v>0.96895435830304444</c:v>
                </c:pt>
                <c:pt idx="19">
                  <c:v>0.97592566860954078</c:v>
                </c:pt>
                <c:pt idx="20">
                  <c:v>0.98280300426359701</c:v>
                </c:pt>
                <c:pt idx="21">
                  <c:v>0.98655869942006302</c:v>
                </c:pt>
                <c:pt idx="22">
                  <c:v>0.98902105471006807</c:v>
                </c:pt>
                <c:pt idx="23">
                  <c:v>0.99121172452628725</c:v>
                </c:pt>
                <c:pt idx="24">
                  <c:v>0.99331500157233854</c:v>
                </c:pt>
                <c:pt idx="25">
                  <c:v>0.99509174412567003</c:v>
                </c:pt>
                <c:pt idx="26">
                  <c:v>0.99628964669918596</c:v>
                </c:pt>
                <c:pt idx="27">
                  <c:v>0.99720489399512935</c:v>
                </c:pt>
                <c:pt idx="28">
                  <c:v>0.99783456073249033</c:v>
                </c:pt>
                <c:pt idx="29">
                  <c:v>0.99845947388821032</c:v>
                </c:pt>
                <c:pt idx="30">
                  <c:v>0.99888619925551592</c:v>
                </c:pt>
                <c:pt idx="31">
                  <c:v>0.9991297288995824</c:v>
                </c:pt>
                <c:pt idx="32">
                  <c:v>0.99927123936843176</c:v>
                </c:pt>
                <c:pt idx="33">
                  <c:v>0.99938788494869779</c:v>
                </c:pt>
                <c:pt idx="34">
                  <c:v>0.99950453052896382</c:v>
                </c:pt>
                <c:pt idx="35">
                  <c:v>0.99962081044910367</c:v>
                </c:pt>
                <c:pt idx="36">
                  <c:v>0.9997970586299445</c:v>
                </c:pt>
                <c:pt idx="37">
                  <c:v>0.99984313180584894</c:v>
                </c:pt>
                <c:pt idx="38">
                  <c:v>0.99991260722983177</c:v>
                </c:pt>
                <c:pt idx="39">
                  <c:v>0.99997988869305732</c:v>
                </c:pt>
                <c:pt idx="40">
                  <c:v>0.9999952464183588</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44</c:f>
              <c:strCache>
                <c:ptCount val="43"/>
                <c:pt idx="0">
                  <c:v>All Others</c:v>
                </c:pt>
                <c:pt idx="1">
                  <c:v>Bottega</c:v>
                </c:pt>
                <c:pt idx="2">
                  <c:v>Savian</c:v>
                </c:pt>
                <c:pt idx="3">
                  <c:v>Patriarche</c:v>
                </c:pt>
                <c:pt idx="4">
                  <c:v>Mure</c:v>
                </c:pt>
                <c:pt idx="5">
                  <c:v>All Others</c:v>
                </c:pt>
                <c:pt idx="6">
                  <c:v>Bouvet-Ladu</c:v>
                </c:pt>
                <c:pt idx="7">
                  <c:v>Patriarche</c:v>
                </c:pt>
                <c:pt idx="8">
                  <c:v>Bottega</c:v>
                </c:pt>
                <c:pt idx="9">
                  <c:v>French Bloo</c:v>
                </c:pt>
                <c:pt idx="10">
                  <c:v>De Chanceny</c:v>
                </c:pt>
                <c:pt idx="11">
                  <c:v>Contarini</c:v>
                </c:pt>
                <c:pt idx="12">
                  <c:v>All Others</c:v>
                </c:pt>
                <c:pt idx="13">
                  <c:v>Kriter</c:v>
                </c:pt>
                <c:pt idx="14">
                  <c:v>All Others</c:v>
                </c:pt>
                <c:pt idx="15">
                  <c:v>Cru La Maqu</c:v>
                </c:pt>
                <c:pt idx="16">
                  <c:v>All Others</c:v>
                </c:pt>
                <c:pt idx="17">
                  <c:v>All Others</c:v>
                </c:pt>
                <c:pt idx="18">
                  <c:v>Contarini</c:v>
                </c:pt>
                <c:pt idx="19">
                  <c:v>All Others</c:v>
                </c:pt>
                <c:pt idx="20">
                  <c:v>All Others</c:v>
                </c:pt>
                <c:pt idx="21">
                  <c:v>All Others</c:v>
                </c:pt>
                <c:pt idx="22">
                  <c:v>All Others</c:v>
                </c:pt>
                <c:pt idx="23">
                  <c:v>Bouvet-Ladu</c:v>
                </c:pt>
                <c:pt idx="24">
                  <c:v>Bottega</c:v>
                </c:pt>
                <c:pt idx="25">
                  <c:v>Bouvet-Ladu</c:v>
                </c:pt>
                <c:pt idx="26">
                  <c:v>All Others</c:v>
                </c:pt>
                <c:pt idx="27">
                  <c:v>Celene</c:v>
                </c:pt>
                <c:pt idx="28">
                  <c:v>All Others</c:v>
                </c:pt>
                <c:pt idx="29">
                  <c:v>Celene</c:v>
                </c:pt>
                <c:pt idx="30">
                  <c:v>All Others</c:v>
                </c:pt>
                <c:pt idx="31">
                  <c:v>Bouvet-Ladu</c:v>
                </c:pt>
                <c:pt idx="32">
                  <c:v>All Others</c:v>
                </c:pt>
                <c:pt idx="33">
                  <c:v>All Others</c:v>
                </c:pt>
                <c:pt idx="34">
                  <c:v>Jaillance</c:v>
                </c:pt>
                <c:pt idx="35">
                  <c:v>Bouvet-Ladu</c:v>
                </c:pt>
                <c:pt idx="36">
                  <c:v>Bouvet-Ladu</c:v>
                </c:pt>
                <c:pt idx="37">
                  <c:v>All Others</c:v>
                </c:pt>
                <c:pt idx="38">
                  <c:v>All Others</c:v>
                </c:pt>
                <c:pt idx="39">
                  <c:v>All Others</c:v>
                </c:pt>
                <c:pt idx="40">
                  <c:v>All Others</c:v>
                </c:pt>
                <c:pt idx="41">
                  <c:v>All Others</c:v>
                </c:pt>
                <c:pt idx="42">
                  <c:v>All Others</c:v>
                </c:pt>
              </c:strCache>
            </c:strRef>
          </c:cat>
          <c:val>
            <c:numRef>
              <c:f>Sheet1!$B$2:$B$44</c:f>
              <c:numCache>
                <c:formatCode>General</c:formatCode>
                <c:ptCount val="43"/>
                <c:pt idx="0">
                  <c:v>0.98</c:v>
                </c:pt>
                <c:pt idx="1">
                  <c:v>0.93</c:v>
                </c:pt>
                <c:pt idx="2">
                  <c:v>0.76</c:v>
                </c:pt>
                <c:pt idx="3">
                  <c:v>0.89</c:v>
                </c:pt>
                <c:pt idx="4">
                  <c:v>0.77</c:v>
                </c:pt>
                <c:pt idx="5">
                  <c:v>0.72</c:v>
                </c:pt>
                <c:pt idx="6">
                  <c:v>0.66</c:v>
                </c:pt>
                <c:pt idx="7">
                  <c:v>0.66</c:v>
                </c:pt>
                <c:pt idx="8">
                  <c:v>0.56999999999999995</c:v>
                </c:pt>
                <c:pt idx="9">
                  <c:v>0.63</c:v>
                </c:pt>
                <c:pt idx="10">
                  <c:v>0.43</c:v>
                </c:pt>
                <c:pt idx="11">
                  <c:v>0.84</c:v>
                </c:pt>
                <c:pt idx="12">
                  <c:v>0.46</c:v>
                </c:pt>
                <c:pt idx="13">
                  <c:v>0.44</c:v>
                </c:pt>
                <c:pt idx="14">
                  <c:v>0.36</c:v>
                </c:pt>
                <c:pt idx="15">
                  <c:v>0.44</c:v>
                </c:pt>
                <c:pt idx="16">
                  <c:v>0.35</c:v>
                </c:pt>
                <c:pt idx="17">
                  <c:v>0.49</c:v>
                </c:pt>
                <c:pt idx="18">
                  <c:v>0.23</c:v>
                </c:pt>
                <c:pt idx="19">
                  <c:v>0.23</c:v>
                </c:pt>
                <c:pt idx="20">
                  <c:v>0.21</c:v>
                </c:pt>
                <c:pt idx="21">
                  <c:v>0.18</c:v>
                </c:pt>
                <c:pt idx="22">
                  <c:v>0.15</c:v>
                </c:pt>
                <c:pt idx="23">
                  <c:v>0.12</c:v>
                </c:pt>
                <c:pt idx="24">
                  <c:v>0.18</c:v>
                </c:pt>
                <c:pt idx="25">
                  <c:v>0.09</c:v>
                </c:pt>
                <c:pt idx="26">
                  <c:v>0.17</c:v>
                </c:pt>
                <c:pt idx="27">
                  <c:v>7.0000000000000007E-2</c:v>
                </c:pt>
                <c:pt idx="28">
                  <c:v>0.17</c:v>
                </c:pt>
                <c:pt idx="29">
                  <c:v>0.12</c:v>
                </c:pt>
                <c:pt idx="30">
                  <c:v>0.15</c:v>
                </c:pt>
                <c:pt idx="31">
                  <c:v>0.06</c:v>
                </c:pt>
                <c:pt idx="32">
                  <c:v>0.08</c:v>
                </c:pt>
                <c:pt idx="33">
                  <c:v>0.2</c:v>
                </c:pt>
                <c:pt idx="34">
                  <c:v>7.0000000000000007E-2</c:v>
                </c:pt>
                <c:pt idx="35">
                  <c:v>0.06</c:v>
                </c:pt>
                <c:pt idx="36">
                  <c:v>0.01</c:v>
                </c:pt>
                <c:pt idx="37">
                  <c:v>0.01</c:v>
                </c:pt>
                <c:pt idx="38">
                  <c:v>0.02</c:v>
                </c:pt>
                <c:pt idx="39">
                  <c:v>0.01</c:v>
                </c:pt>
                <c:pt idx="40">
                  <c:v>0.01</c:v>
                </c:pt>
                <c:pt idx="41">
                  <c:v>0.01</c:v>
                </c:pt>
                <c:pt idx="42">
                  <c:v>0.05</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7ECAC4"/>
              </a:solidFill>
            </c:spPr>
            <c:extLst>
              <c:ext xmlns:c16="http://schemas.microsoft.com/office/drawing/2014/chart" uri="{C3380CC4-5D6E-409C-BE32-E72D297353CC}">
                <c16:uniqueId val="{0000004D-2993-41DE-A2CB-63102DE87051}"/>
              </c:ext>
            </c:extLst>
          </c:dPt>
          <c:dPt>
            <c:idx val="11"/>
            <c:invertIfNegative val="1"/>
            <c:bubble3D val="0"/>
            <c:spPr>
              <a:solidFill>
                <a:srgbClr val="7ECAC4"/>
              </a:solidFill>
            </c:spPr>
            <c:extLst>
              <c:ext xmlns:c16="http://schemas.microsoft.com/office/drawing/2014/chart" uri="{C3380CC4-5D6E-409C-BE32-E72D297353CC}">
                <c16:uniqueId val="{0000004F-2993-41DE-A2CB-63102DE87051}"/>
              </c:ext>
            </c:extLst>
          </c:dPt>
          <c:dPt>
            <c:idx val="12"/>
            <c:invertIfNegative val="1"/>
            <c:bubble3D val="0"/>
            <c:spPr>
              <a:solidFill>
                <a:srgbClr val="7ECAC4"/>
              </a:solidFill>
            </c:spPr>
            <c:extLst>
              <c:ext xmlns:c16="http://schemas.microsoft.com/office/drawing/2014/chart" uri="{C3380CC4-5D6E-409C-BE32-E72D297353CC}">
                <c16:uniqueId val="{00000051-2993-41DE-A2CB-63102DE87051}"/>
              </c:ext>
            </c:extLst>
          </c:dPt>
          <c:dPt>
            <c:idx val="13"/>
            <c:invertIfNegative val="1"/>
            <c:bubble3D val="0"/>
            <c:spPr>
              <a:solidFill>
                <a:srgbClr val="7ECAC4"/>
              </a:solidFill>
            </c:spPr>
            <c:extLst>
              <c:ext xmlns:c16="http://schemas.microsoft.com/office/drawing/2014/chart" uri="{C3380CC4-5D6E-409C-BE32-E72D297353CC}">
                <c16:uniqueId val="{00000053-2993-41DE-A2CB-63102DE87051}"/>
              </c:ext>
            </c:extLst>
          </c:dPt>
          <c:dPt>
            <c:idx val="14"/>
            <c:invertIfNegative val="1"/>
            <c:bubble3D val="0"/>
            <c:spPr>
              <a:solidFill>
                <a:srgbClr val="7ECAC4"/>
              </a:solidFill>
            </c:spPr>
            <c:extLst>
              <c:ext xmlns:c16="http://schemas.microsoft.com/office/drawing/2014/chart" uri="{C3380CC4-5D6E-409C-BE32-E72D297353CC}">
                <c16:uniqueId val="{00000055-2993-41DE-A2CB-63102DE87051}"/>
              </c:ext>
            </c:extLst>
          </c:dPt>
          <c:dPt>
            <c:idx val="15"/>
            <c:invertIfNegative val="1"/>
            <c:bubble3D val="0"/>
            <c:spPr>
              <a:solidFill>
                <a:srgbClr val="7ECAC4"/>
              </a:solidFill>
            </c:spPr>
            <c:extLst>
              <c:ext xmlns:c16="http://schemas.microsoft.com/office/drawing/2014/chart" uri="{C3380CC4-5D6E-409C-BE32-E72D297353CC}">
                <c16:uniqueId val="{00000057-2993-41DE-A2CB-63102DE87051}"/>
              </c:ext>
            </c:extLst>
          </c:dPt>
          <c:dPt>
            <c:idx val="16"/>
            <c:invertIfNegative val="1"/>
            <c:bubble3D val="0"/>
            <c:spPr>
              <a:solidFill>
                <a:srgbClr val="7ECAC4"/>
              </a:solidFill>
            </c:spPr>
            <c:extLst>
              <c:ext xmlns:c16="http://schemas.microsoft.com/office/drawing/2014/chart" uri="{C3380CC4-5D6E-409C-BE32-E72D297353CC}">
                <c16:uniqueId val="{00000059-2993-41DE-A2CB-63102DE87051}"/>
              </c:ext>
            </c:extLst>
          </c:dPt>
          <c:dPt>
            <c:idx val="17"/>
            <c:invertIfNegative val="1"/>
            <c:bubble3D val="0"/>
            <c:spPr>
              <a:solidFill>
                <a:srgbClr val="AEABAB"/>
              </a:solidFill>
            </c:spPr>
            <c:extLst>
              <c:ext xmlns:c16="http://schemas.microsoft.com/office/drawing/2014/chart" uri="{C3380CC4-5D6E-409C-BE32-E72D297353CC}">
                <c16:uniqueId val="{0000005B-2993-41DE-A2CB-63102DE87051}"/>
              </c:ext>
            </c:extLst>
          </c:dPt>
          <c:dPt>
            <c:idx val="18"/>
            <c:invertIfNegative val="1"/>
            <c:bubble3D val="0"/>
            <c:spPr>
              <a:solidFill>
                <a:srgbClr val="AEABAB"/>
              </a:solidFill>
            </c:spPr>
            <c:extLst>
              <c:ext xmlns:c16="http://schemas.microsoft.com/office/drawing/2014/chart" uri="{C3380CC4-5D6E-409C-BE32-E72D297353CC}">
                <c16:uniqueId val="{0000005D-2993-41DE-A2CB-63102DE87051}"/>
              </c:ext>
            </c:extLst>
          </c:dPt>
          <c:dPt>
            <c:idx val="19"/>
            <c:invertIfNegative val="1"/>
            <c:bubble3D val="0"/>
            <c:spPr>
              <a:solidFill>
                <a:srgbClr val="AEABAB"/>
              </a:solidFill>
            </c:spPr>
            <c:extLst>
              <c:ext xmlns:c16="http://schemas.microsoft.com/office/drawing/2014/chart" uri="{C3380CC4-5D6E-409C-BE32-E72D297353CC}">
                <c16:uniqueId val="{0000005F-2993-41DE-A2CB-63102DE87051}"/>
              </c:ext>
            </c:extLst>
          </c:dPt>
          <c:dPt>
            <c:idx val="20"/>
            <c:invertIfNegative val="1"/>
            <c:bubble3D val="0"/>
            <c:spPr>
              <a:solidFill>
                <a:srgbClr val="AEABAB"/>
              </a:solidFill>
            </c:spPr>
            <c:extLst>
              <c:ext xmlns:c16="http://schemas.microsoft.com/office/drawing/2014/chart" uri="{C3380CC4-5D6E-409C-BE32-E72D297353CC}">
                <c16:uniqueId val="{00000061-2993-41DE-A2CB-63102DE87051}"/>
              </c:ext>
            </c:extLst>
          </c:dPt>
          <c:dPt>
            <c:idx val="21"/>
            <c:invertIfNegative val="1"/>
            <c:bubble3D val="0"/>
            <c:spPr>
              <a:solidFill>
                <a:srgbClr val="AEABAB"/>
              </a:solidFill>
            </c:spPr>
            <c:extLst>
              <c:ext xmlns:c16="http://schemas.microsoft.com/office/drawing/2014/chart" uri="{C3380CC4-5D6E-409C-BE32-E72D297353CC}">
                <c16:uniqueId val="{00000063-2993-41DE-A2CB-63102DE87051}"/>
              </c:ext>
            </c:extLst>
          </c:dPt>
          <c:dPt>
            <c:idx val="22"/>
            <c:invertIfNegative val="1"/>
            <c:bubble3D val="0"/>
            <c:spPr>
              <a:solidFill>
                <a:srgbClr val="AEABAB"/>
              </a:solidFill>
            </c:spPr>
            <c:extLst>
              <c:ext xmlns:c16="http://schemas.microsoft.com/office/drawing/2014/chart" uri="{C3380CC4-5D6E-409C-BE32-E72D297353CC}">
                <c16:uniqueId val="{00000065-2993-41DE-A2CB-63102DE87051}"/>
              </c:ext>
            </c:extLst>
          </c:dPt>
          <c:dPt>
            <c:idx val="23"/>
            <c:invertIfNegative val="1"/>
            <c:bubble3D val="0"/>
            <c:spPr>
              <a:solidFill>
                <a:srgbClr val="AEABAB"/>
              </a:solidFill>
            </c:spPr>
            <c:extLst>
              <c:ext xmlns:c16="http://schemas.microsoft.com/office/drawing/2014/chart" uri="{C3380CC4-5D6E-409C-BE32-E72D297353CC}">
                <c16:uniqueId val="{00000067-2993-41DE-A2CB-63102DE87051}"/>
              </c:ext>
            </c:extLst>
          </c:dPt>
          <c:dPt>
            <c:idx val="24"/>
            <c:invertIfNegative val="1"/>
            <c:bubble3D val="0"/>
            <c:spPr>
              <a:solidFill>
                <a:srgbClr val="AEABAB"/>
              </a:solidFill>
            </c:spPr>
            <c:extLst>
              <c:ext xmlns:c16="http://schemas.microsoft.com/office/drawing/2014/chart" uri="{C3380CC4-5D6E-409C-BE32-E72D297353CC}">
                <c16:uniqueId val="{00000069-2993-41DE-A2CB-63102DE87051}"/>
              </c:ext>
            </c:extLst>
          </c:dPt>
          <c:dPt>
            <c:idx val="25"/>
            <c:invertIfNegative val="1"/>
            <c:bubble3D val="0"/>
            <c:spPr>
              <a:solidFill>
                <a:srgbClr val="AEABAB"/>
              </a:solidFill>
            </c:spPr>
            <c:extLst>
              <c:ext xmlns:c16="http://schemas.microsoft.com/office/drawing/2014/chart" uri="{C3380CC4-5D6E-409C-BE32-E72D297353CC}">
                <c16:uniqueId val="{0000006B-2993-41DE-A2CB-63102DE87051}"/>
              </c:ext>
            </c:extLst>
          </c:dPt>
          <c:dPt>
            <c:idx val="26"/>
            <c:invertIfNegative val="1"/>
            <c:bubble3D val="0"/>
            <c:spPr>
              <a:solidFill>
                <a:srgbClr val="AEABAB"/>
              </a:solidFill>
            </c:spPr>
            <c:extLst>
              <c:ext xmlns:c16="http://schemas.microsoft.com/office/drawing/2014/chart" uri="{C3380CC4-5D6E-409C-BE32-E72D297353CC}">
                <c16:uniqueId val="{0000006D-2993-41DE-A2CB-63102DE87051}"/>
              </c:ext>
            </c:extLst>
          </c:dPt>
          <c:dPt>
            <c:idx val="27"/>
            <c:invertIfNegative val="1"/>
            <c:bubble3D val="0"/>
            <c:spPr>
              <a:solidFill>
                <a:srgbClr val="AEABAB"/>
              </a:solidFill>
            </c:spPr>
            <c:extLst>
              <c:ext xmlns:c16="http://schemas.microsoft.com/office/drawing/2014/chart" uri="{C3380CC4-5D6E-409C-BE32-E72D297353CC}">
                <c16:uniqueId val="{0000006F-2993-41DE-A2CB-63102DE87051}"/>
              </c:ext>
            </c:extLst>
          </c:dPt>
          <c:dPt>
            <c:idx val="28"/>
            <c:invertIfNegative val="1"/>
            <c:bubble3D val="0"/>
            <c:spPr>
              <a:solidFill>
                <a:srgbClr val="AEABAB"/>
              </a:solidFill>
            </c:spPr>
            <c:extLst>
              <c:ext xmlns:c16="http://schemas.microsoft.com/office/drawing/2014/chart" uri="{C3380CC4-5D6E-409C-BE32-E72D297353CC}">
                <c16:uniqueId val="{00000071-2993-41DE-A2CB-63102DE87051}"/>
              </c:ext>
            </c:extLst>
          </c:dPt>
          <c:dPt>
            <c:idx val="29"/>
            <c:invertIfNegative val="1"/>
            <c:bubble3D val="0"/>
            <c:spPr>
              <a:solidFill>
                <a:srgbClr val="AEABAB"/>
              </a:solidFill>
            </c:spPr>
            <c:extLst>
              <c:ext xmlns:c16="http://schemas.microsoft.com/office/drawing/2014/chart" uri="{C3380CC4-5D6E-409C-BE32-E72D297353CC}">
                <c16:uniqueId val="{00000073-2993-41DE-A2CB-63102DE87051}"/>
              </c:ext>
            </c:extLst>
          </c:dPt>
          <c:dPt>
            <c:idx val="30"/>
            <c:invertIfNegative val="1"/>
            <c:bubble3D val="0"/>
            <c:spPr>
              <a:solidFill>
                <a:srgbClr val="AEABAB"/>
              </a:solidFill>
            </c:spPr>
            <c:extLst>
              <c:ext xmlns:c16="http://schemas.microsoft.com/office/drawing/2014/chart" uri="{C3380CC4-5D6E-409C-BE32-E72D297353CC}">
                <c16:uniqueId val="{00000075-2993-41DE-A2CB-63102DE87051}"/>
              </c:ext>
            </c:extLst>
          </c:dPt>
          <c:dPt>
            <c:idx val="31"/>
            <c:invertIfNegative val="1"/>
            <c:bubble3D val="0"/>
            <c:spPr>
              <a:solidFill>
                <a:srgbClr val="AEABAB"/>
              </a:solidFill>
            </c:spPr>
            <c:extLst>
              <c:ext xmlns:c16="http://schemas.microsoft.com/office/drawing/2014/chart" uri="{C3380CC4-5D6E-409C-BE32-E72D297353CC}">
                <c16:uniqueId val="{00000077-2993-41DE-A2CB-63102DE87051}"/>
              </c:ext>
            </c:extLst>
          </c:dPt>
          <c:dPt>
            <c:idx val="32"/>
            <c:invertIfNegative val="1"/>
            <c:bubble3D val="0"/>
            <c:spPr>
              <a:solidFill>
                <a:srgbClr val="AEABAB"/>
              </a:solidFill>
            </c:spPr>
            <c:extLst>
              <c:ext xmlns:c16="http://schemas.microsoft.com/office/drawing/2014/chart" uri="{C3380CC4-5D6E-409C-BE32-E72D297353CC}">
                <c16:uniqueId val="{00000079-2993-41DE-A2CB-63102DE87051}"/>
              </c:ext>
            </c:extLst>
          </c:dPt>
          <c:dPt>
            <c:idx val="33"/>
            <c:invertIfNegative val="1"/>
            <c:bubble3D val="0"/>
            <c:spPr>
              <a:solidFill>
                <a:srgbClr val="AEABAB"/>
              </a:solidFill>
            </c:spPr>
            <c:extLst>
              <c:ext xmlns:c16="http://schemas.microsoft.com/office/drawing/2014/chart" uri="{C3380CC4-5D6E-409C-BE32-E72D297353CC}">
                <c16:uniqueId val="{0000007B-2993-41DE-A2CB-63102DE87051}"/>
              </c:ext>
            </c:extLst>
          </c:dPt>
          <c:dPt>
            <c:idx val="34"/>
            <c:invertIfNegative val="1"/>
            <c:bubble3D val="0"/>
            <c:spPr>
              <a:solidFill>
                <a:srgbClr val="AEABAB"/>
              </a:solidFill>
            </c:spPr>
            <c:extLst>
              <c:ext xmlns:c16="http://schemas.microsoft.com/office/drawing/2014/chart" uri="{C3380CC4-5D6E-409C-BE32-E72D297353CC}">
                <c16:uniqueId val="{0000007D-2993-41DE-A2CB-63102DE87051}"/>
              </c:ext>
            </c:extLst>
          </c:dPt>
          <c:dPt>
            <c:idx val="35"/>
            <c:invertIfNegative val="1"/>
            <c:bubble3D val="0"/>
            <c:spPr>
              <a:solidFill>
                <a:srgbClr val="AEABAB"/>
              </a:solidFill>
            </c:spPr>
            <c:extLst>
              <c:ext xmlns:c16="http://schemas.microsoft.com/office/drawing/2014/chart" uri="{C3380CC4-5D6E-409C-BE32-E72D297353CC}">
                <c16:uniqueId val="{0000007F-2993-41DE-A2CB-63102DE87051}"/>
              </c:ext>
            </c:extLst>
          </c:dPt>
          <c:dPt>
            <c:idx val="36"/>
            <c:invertIfNegative val="1"/>
            <c:bubble3D val="0"/>
            <c:spPr>
              <a:solidFill>
                <a:srgbClr val="AEABAB"/>
              </a:solidFill>
            </c:spPr>
            <c:extLst>
              <c:ext xmlns:c16="http://schemas.microsoft.com/office/drawing/2014/chart" uri="{C3380CC4-5D6E-409C-BE32-E72D297353CC}">
                <c16:uniqueId val="{00000081-2993-41DE-A2CB-63102DE87051}"/>
              </c:ext>
            </c:extLst>
          </c:dPt>
          <c:dPt>
            <c:idx val="37"/>
            <c:invertIfNegative val="1"/>
            <c:bubble3D val="0"/>
            <c:spPr>
              <a:solidFill>
                <a:srgbClr val="AEABAB"/>
              </a:solidFill>
            </c:spPr>
            <c:extLst>
              <c:ext xmlns:c16="http://schemas.microsoft.com/office/drawing/2014/chart" uri="{C3380CC4-5D6E-409C-BE32-E72D297353CC}">
                <c16:uniqueId val="{00000083-2993-41DE-A2CB-63102DE87051}"/>
              </c:ext>
            </c:extLst>
          </c:dPt>
          <c:dPt>
            <c:idx val="38"/>
            <c:invertIfNegative val="1"/>
            <c:bubble3D val="0"/>
            <c:spPr>
              <a:solidFill>
                <a:srgbClr val="AEABAB"/>
              </a:solidFill>
            </c:spPr>
            <c:extLst>
              <c:ext xmlns:c16="http://schemas.microsoft.com/office/drawing/2014/chart" uri="{C3380CC4-5D6E-409C-BE32-E72D297353CC}">
                <c16:uniqueId val="{00000085-2993-41DE-A2CB-63102DE87051}"/>
              </c:ext>
            </c:extLst>
          </c:dPt>
          <c:dPt>
            <c:idx val="39"/>
            <c:invertIfNegative val="1"/>
            <c:bubble3D val="0"/>
            <c:spPr>
              <a:solidFill>
                <a:srgbClr val="AEABAB"/>
              </a:solidFill>
            </c:spPr>
            <c:extLst>
              <c:ext xmlns:c16="http://schemas.microsoft.com/office/drawing/2014/chart" uri="{C3380CC4-5D6E-409C-BE32-E72D297353CC}">
                <c16:uniqueId val="{00000087-2993-41DE-A2CB-63102DE87051}"/>
              </c:ext>
            </c:extLst>
          </c:dPt>
          <c:dPt>
            <c:idx val="40"/>
            <c:invertIfNegative val="1"/>
            <c:bubble3D val="0"/>
            <c:spPr>
              <a:solidFill>
                <a:srgbClr val="AEABAB"/>
              </a:solidFill>
            </c:spPr>
            <c:extLst>
              <c:ext xmlns:c16="http://schemas.microsoft.com/office/drawing/2014/chart" uri="{C3380CC4-5D6E-409C-BE32-E72D297353CC}">
                <c16:uniqueId val="{00000089-2993-41DE-A2CB-63102DE87051}"/>
              </c:ext>
            </c:extLst>
          </c:dPt>
          <c:dPt>
            <c:idx val="41"/>
            <c:invertIfNegative val="1"/>
            <c:bubble3D val="0"/>
            <c:spPr>
              <a:solidFill>
                <a:srgbClr val="AEABAB"/>
              </a:solidFill>
            </c:spPr>
            <c:extLst>
              <c:ext xmlns:c16="http://schemas.microsoft.com/office/drawing/2014/chart" uri="{C3380CC4-5D6E-409C-BE32-E72D297353CC}">
                <c16:uniqueId val="{0000008B-2993-41DE-A2CB-63102DE87051}"/>
              </c:ext>
            </c:extLst>
          </c:dPt>
          <c:dPt>
            <c:idx val="42"/>
            <c:invertIfNegative val="1"/>
            <c:bubble3D val="0"/>
            <c:spPr>
              <a:solidFill>
                <a:srgbClr val="AEABAB"/>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44</c:f>
              <c:strCache>
                <c:ptCount val="43"/>
                <c:pt idx="0">
                  <c:v>All Others</c:v>
                </c:pt>
                <c:pt idx="1">
                  <c:v>Bottega</c:v>
                </c:pt>
                <c:pt idx="2">
                  <c:v>Savian</c:v>
                </c:pt>
                <c:pt idx="3">
                  <c:v>Patriarche</c:v>
                </c:pt>
                <c:pt idx="4">
                  <c:v>Mure</c:v>
                </c:pt>
                <c:pt idx="5">
                  <c:v>All Others</c:v>
                </c:pt>
                <c:pt idx="6">
                  <c:v>Bouvet-Ladu</c:v>
                </c:pt>
                <c:pt idx="7">
                  <c:v>Patriarche</c:v>
                </c:pt>
                <c:pt idx="8">
                  <c:v>Bottega</c:v>
                </c:pt>
                <c:pt idx="9">
                  <c:v>French Bloo</c:v>
                </c:pt>
                <c:pt idx="10">
                  <c:v>De Chanceny</c:v>
                </c:pt>
                <c:pt idx="11">
                  <c:v>Contarini</c:v>
                </c:pt>
                <c:pt idx="12">
                  <c:v>All Others</c:v>
                </c:pt>
                <c:pt idx="13">
                  <c:v>Kriter</c:v>
                </c:pt>
                <c:pt idx="14">
                  <c:v>All Others</c:v>
                </c:pt>
                <c:pt idx="15">
                  <c:v>Cru La Maqu</c:v>
                </c:pt>
                <c:pt idx="16">
                  <c:v>All Others</c:v>
                </c:pt>
                <c:pt idx="17">
                  <c:v>All Others</c:v>
                </c:pt>
                <c:pt idx="18">
                  <c:v>Contarini</c:v>
                </c:pt>
                <c:pt idx="19">
                  <c:v>All Others</c:v>
                </c:pt>
                <c:pt idx="20">
                  <c:v>All Others</c:v>
                </c:pt>
                <c:pt idx="21">
                  <c:v>All Others</c:v>
                </c:pt>
                <c:pt idx="22">
                  <c:v>All Others</c:v>
                </c:pt>
                <c:pt idx="23">
                  <c:v>Bouvet-Ladu</c:v>
                </c:pt>
                <c:pt idx="24">
                  <c:v>Bottega</c:v>
                </c:pt>
                <c:pt idx="25">
                  <c:v>Bouvet-Ladu</c:v>
                </c:pt>
                <c:pt idx="26">
                  <c:v>All Others</c:v>
                </c:pt>
                <c:pt idx="27">
                  <c:v>Celene</c:v>
                </c:pt>
                <c:pt idx="28">
                  <c:v>All Others</c:v>
                </c:pt>
                <c:pt idx="29">
                  <c:v>Celene</c:v>
                </c:pt>
                <c:pt idx="30">
                  <c:v>All Others</c:v>
                </c:pt>
                <c:pt idx="31">
                  <c:v>Bouvet-Ladu</c:v>
                </c:pt>
                <c:pt idx="32">
                  <c:v>All Others</c:v>
                </c:pt>
                <c:pt idx="33">
                  <c:v>All Others</c:v>
                </c:pt>
                <c:pt idx="34">
                  <c:v>Jaillance</c:v>
                </c:pt>
                <c:pt idx="35">
                  <c:v>Bouvet-Ladu</c:v>
                </c:pt>
                <c:pt idx="36">
                  <c:v>Bouvet-Ladu</c:v>
                </c:pt>
                <c:pt idx="37">
                  <c:v>All Others</c:v>
                </c:pt>
                <c:pt idx="38">
                  <c:v>All Others</c:v>
                </c:pt>
                <c:pt idx="39">
                  <c:v>All Others</c:v>
                </c:pt>
                <c:pt idx="40">
                  <c:v>All Others</c:v>
                </c:pt>
                <c:pt idx="41">
                  <c:v>All Others</c:v>
                </c:pt>
                <c:pt idx="42">
                  <c:v>All Others</c:v>
                </c:pt>
              </c:strCache>
            </c:strRef>
          </c:cat>
          <c:val>
            <c:numRef>
              <c:f>Sheet1!$C$2:$C$44</c:f>
              <c:numCache>
                <c:formatCode>General</c:formatCode>
                <c:ptCount val="43"/>
                <c:pt idx="0">
                  <c:v>0.2194669749980537</c:v>
                </c:pt>
                <c:pt idx="1">
                  <c:v>0.40771251366009925</c:v>
                </c:pt>
                <c:pt idx="2">
                  <c:v>0.50015714520505283</c:v>
                </c:pt>
                <c:pt idx="3">
                  <c:v>0.57793104641406168</c:v>
                </c:pt>
                <c:pt idx="4">
                  <c:v>0.64188193637493396</c:v>
                </c:pt>
                <c:pt idx="5">
                  <c:v>0.68464273253886088</c:v>
                </c:pt>
                <c:pt idx="6">
                  <c:v>0.72709500508919778</c:v>
                </c:pt>
                <c:pt idx="7">
                  <c:v>0.76284914348654731</c:v>
                </c:pt>
                <c:pt idx="8">
                  <c:v>0.79810157058703091</c:v>
                </c:pt>
                <c:pt idx="9">
                  <c:v>0.83290995435580539</c:v>
                </c:pt>
                <c:pt idx="10">
                  <c:v>0.85767546199248568</c:v>
                </c:pt>
                <c:pt idx="11">
                  <c:v>0.87448567383575571</c:v>
                </c:pt>
                <c:pt idx="12">
                  <c:v>0.89028381289052005</c:v>
                </c:pt>
                <c:pt idx="13">
                  <c:v>0.90567827618918528</c:v>
                </c:pt>
                <c:pt idx="14">
                  <c:v>0.92062869615614151</c:v>
                </c:pt>
                <c:pt idx="15">
                  <c:v>0.93459876071542847</c:v>
                </c:pt>
                <c:pt idx="16">
                  <c:v>0.94650142872383647</c:v>
                </c:pt>
                <c:pt idx="17">
                  <c:v>0.95715558528659506</c:v>
                </c:pt>
                <c:pt idx="18">
                  <c:v>0.96413917586710962</c:v>
                </c:pt>
                <c:pt idx="19">
                  <c:v>0.97040768367967722</c:v>
                </c:pt>
                <c:pt idx="20">
                  <c:v>0.97660122313754072</c:v>
                </c:pt>
                <c:pt idx="21">
                  <c:v>0.9812925121030639</c:v>
                </c:pt>
                <c:pt idx="22">
                  <c:v>0.98488234293408816</c:v>
                </c:pt>
                <c:pt idx="23">
                  <c:v>0.9872121287264316</c:v>
                </c:pt>
                <c:pt idx="24">
                  <c:v>0.9894525291727817</c:v>
                </c:pt>
                <c:pt idx="25">
                  <c:v>0.99148532494456654</c:v>
                </c:pt>
                <c:pt idx="26">
                  <c:v>0.99311156156199443</c:v>
                </c:pt>
                <c:pt idx="27">
                  <c:v>0.99423897028081409</c:v>
                </c:pt>
                <c:pt idx="28">
                  <c:v>0.99532601142402388</c:v>
                </c:pt>
                <c:pt idx="29">
                  <c:v>0.99627464945085675</c:v>
                </c:pt>
                <c:pt idx="30">
                  <c:v>0.99709641795434423</c:v>
                </c:pt>
                <c:pt idx="31">
                  <c:v>0.99789800267002671</c:v>
                </c:pt>
                <c:pt idx="32">
                  <c:v>0.99861020203971584</c:v>
                </c:pt>
                <c:pt idx="33">
                  <c:v>0.99929356742682651</c:v>
                </c:pt>
                <c:pt idx="34">
                  <c:v>0.9995242392874546</c:v>
                </c:pt>
                <c:pt idx="35">
                  <c:v>0.99973184396201986</c:v>
                </c:pt>
                <c:pt idx="36">
                  <c:v>0.99979816212195038</c:v>
                </c:pt>
                <c:pt idx="37">
                  <c:v>0.99985006329059167</c:v>
                </c:pt>
                <c:pt idx="38">
                  <c:v>0.99990196445923296</c:v>
                </c:pt>
                <c:pt idx="39">
                  <c:v>0.99993079844181143</c:v>
                </c:pt>
                <c:pt idx="40">
                  <c:v>0.99995674902613207</c:v>
                </c:pt>
                <c:pt idx="41">
                  <c:v>0.99998269961045272</c:v>
                </c:pt>
                <c:pt idx="42">
                  <c:v>0.99999999999999978</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55</c:f>
              <c:strCache>
                <c:ptCount val="54"/>
                <c:pt idx="0">
                  <c:v>All Others</c:v>
                </c:pt>
                <c:pt idx="1">
                  <c:v>All Others</c:v>
                </c:pt>
                <c:pt idx="2">
                  <c:v>Bottega</c:v>
                </c:pt>
                <c:pt idx="3">
                  <c:v>Patriarche</c:v>
                </c:pt>
                <c:pt idx="4">
                  <c:v>Savian</c:v>
                </c:pt>
                <c:pt idx="5">
                  <c:v>Mure</c:v>
                </c:pt>
                <c:pt idx="6">
                  <c:v>French Bloo</c:v>
                </c:pt>
                <c:pt idx="7">
                  <c:v>All Others</c:v>
                </c:pt>
                <c:pt idx="8">
                  <c:v>All Others</c:v>
                </c:pt>
                <c:pt idx="9">
                  <c:v>All Others</c:v>
                </c:pt>
                <c:pt idx="10">
                  <c:v>All Others</c:v>
                </c:pt>
                <c:pt idx="11">
                  <c:v>Patriarche</c:v>
                </c:pt>
                <c:pt idx="12">
                  <c:v>Bottega</c:v>
                </c:pt>
                <c:pt idx="13">
                  <c:v>De Chanceny</c:v>
                </c:pt>
                <c:pt idx="14">
                  <c:v>Bouvet-Ladu</c:v>
                </c:pt>
                <c:pt idx="15">
                  <c:v>Contarini</c:v>
                </c:pt>
                <c:pt idx="16">
                  <c:v>Vilaveroni</c:v>
                </c:pt>
                <c:pt idx="17">
                  <c:v>All Others</c:v>
                </c:pt>
                <c:pt idx="18">
                  <c:v>All Others</c:v>
                </c:pt>
                <c:pt idx="19">
                  <c:v>All Others</c:v>
                </c:pt>
                <c:pt idx="20">
                  <c:v>Contarini</c:v>
                </c:pt>
                <c:pt idx="21">
                  <c:v>Cru La Maqu</c:v>
                </c:pt>
                <c:pt idx="22">
                  <c:v>Kriter</c:v>
                </c:pt>
                <c:pt idx="23">
                  <c:v>All Others</c:v>
                </c:pt>
                <c:pt idx="24">
                  <c:v>All Others</c:v>
                </c:pt>
                <c:pt idx="25">
                  <c:v>All Others</c:v>
                </c:pt>
                <c:pt idx="26">
                  <c:v>All Others</c:v>
                </c:pt>
                <c:pt idx="27">
                  <c:v>Vilaveroni</c:v>
                </c:pt>
                <c:pt idx="28">
                  <c:v>All Others</c:v>
                </c:pt>
                <c:pt idx="29">
                  <c:v>All Others</c:v>
                </c:pt>
                <c:pt idx="30">
                  <c:v>All Others</c:v>
                </c:pt>
                <c:pt idx="31">
                  <c:v>Vilaveroni</c:v>
                </c:pt>
                <c:pt idx="32">
                  <c:v>Bouvet-Ladu</c:v>
                </c:pt>
                <c:pt idx="33">
                  <c:v>All Others</c:v>
                </c:pt>
                <c:pt idx="34">
                  <c:v>Vilaveroni</c:v>
                </c:pt>
                <c:pt idx="35">
                  <c:v>Celene</c:v>
                </c:pt>
                <c:pt idx="36">
                  <c:v>Bouvet-Ladu</c:v>
                </c:pt>
                <c:pt idx="37">
                  <c:v>All Others</c:v>
                </c:pt>
                <c:pt idx="38">
                  <c:v>Celene</c:v>
                </c:pt>
                <c:pt idx="39">
                  <c:v>All Others</c:v>
                </c:pt>
                <c:pt idx="40">
                  <c:v>Bottega</c:v>
                </c:pt>
                <c:pt idx="41">
                  <c:v>Bouvet-Ladu</c:v>
                </c:pt>
                <c:pt idx="42">
                  <c:v>Jaillance</c:v>
                </c:pt>
                <c:pt idx="43">
                  <c:v>All Others</c:v>
                </c:pt>
                <c:pt idx="44">
                  <c:v>All Others</c:v>
                </c:pt>
                <c:pt idx="45">
                  <c:v>Bouvet-Ladu</c:v>
                </c:pt>
                <c:pt idx="46">
                  <c:v>All Others</c:v>
                </c:pt>
                <c:pt idx="47">
                  <c:v>All Others</c:v>
                </c:pt>
                <c:pt idx="48">
                  <c:v>All Others</c:v>
                </c:pt>
                <c:pt idx="49">
                  <c:v>All Others</c:v>
                </c:pt>
                <c:pt idx="50">
                  <c:v>Bottega</c:v>
                </c:pt>
                <c:pt idx="51">
                  <c:v>Bottega</c:v>
                </c:pt>
                <c:pt idx="52">
                  <c:v>All Others</c:v>
                </c:pt>
                <c:pt idx="53">
                  <c:v>All Others</c:v>
                </c:pt>
              </c:strCache>
            </c:strRef>
          </c:cat>
          <c:val>
            <c:numRef>
              <c:f>Sheet1!$B$2:$B$55</c:f>
              <c:numCache>
                <c:formatCode>General</c:formatCode>
                <c:ptCount val="54"/>
                <c:pt idx="0">
                  <c:v>0.93</c:v>
                </c:pt>
                <c:pt idx="1">
                  <c:v>0.84</c:v>
                </c:pt>
                <c:pt idx="2">
                  <c:v>0.82</c:v>
                </c:pt>
                <c:pt idx="3">
                  <c:v>0.9</c:v>
                </c:pt>
                <c:pt idx="4">
                  <c:v>0.73</c:v>
                </c:pt>
                <c:pt idx="5">
                  <c:v>0.68</c:v>
                </c:pt>
                <c:pt idx="6">
                  <c:v>0.6</c:v>
                </c:pt>
                <c:pt idx="7">
                  <c:v>0.7</c:v>
                </c:pt>
                <c:pt idx="8">
                  <c:v>0.32</c:v>
                </c:pt>
                <c:pt idx="9">
                  <c:v>0.52</c:v>
                </c:pt>
                <c:pt idx="10">
                  <c:v>0.42</c:v>
                </c:pt>
                <c:pt idx="11">
                  <c:v>0.56000000000000005</c:v>
                </c:pt>
                <c:pt idx="12">
                  <c:v>0.39</c:v>
                </c:pt>
                <c:pt idx="13">
                  <c:v>0.38</c:v>
                </c:pt>
                <c:pt idx="14">
                  <c:v>0.54</c:v>
                </c:pt>
                <c:pt idx="15">
                  <c:v>0.9</c:v>
                </c:pt>
                <c:pt idx="16">
                  <c:v>0.26</c:v>
                </c:pt>
                <c:pt idx="17">
                  <c:v>0.39</c:v>
                </c:pt>
                <c:pt idx="18">
                  <c:v>0.19</c:v>
                </c:pt>
                <c:pt idx="19">
                  <c:v>0.36</c:v>
                </c:pt>
                <c:pt idx="20">
                  <c:v>0.33</c:v>
                </c:pt>
                <c:pt idx="21">
                  <c:v>0.3</c:v>
                </c:pt>
                <c:pt idx="22">
                  <c:v>0.28000000000000003</c:v>
                </c:pt>
                <c:pt idx="23">
                  <c:v>0.06</c:v>
                </c:pt>
                <c:pt idx="24">
                  <c:v>0.31</c:v>
                </c:pt>
                <c:pt idx="25">
                  <c:v>0.24</c:v>
                </c:pt>
                <c:pt idx="26">
                  <c:v>0.28000000000000003</c:v>
                </c:pt>
                <c:pt idx="27">
                  <c:v>0.22</c:v>
                </c:pt>
                <c:pt idx="28">
                  <c:v>0.16</c:v>
                </c:pt>
                <c:pt idx="29">
                  <c:v>0.18</c:v>
                </c:pt>
                <c:pt idx="30">
                  <c:v>0.19</c:v>
                </c:pt>
                <c:pt idx="31">
                  <c:v>0.22</c:v>
                </c:pt>
                <c:pt idx="32">
                  <c:v>0.19</c:v>
                </c:pt>
                <c:pt idx="33">
                  <c:v>0.23</c:v>
                </c:pt>
                <c:pt idx="34">
                  <c:v>0.24</c:v>
                </c:pt>
                <c:pt idx="35">
                  <c:v>0.19</c:v>
                </c:pt>
                <c:pt idx="36">
                  <c:v>0.13</c:v>
                </c:pt>
                <c:pt idx="37">
                  <c:v>0.06</c:v>
                </c:pt>
                <c:pt idx="38">
                  <c:v>0.08</c:v>
                </c:pt>
                <c:pt idx="39">
                  <c:v>0.22</c:v>
                </c:pt>
                <c:pt idx="40">
                  <c:v>0.06</c:v>
                </c:pt>
                <c:pt idx="41">
                  <c:v>0.11</c:v>
                </c:pt>
                <c:pt idx="42">
                  <c:v>0.11</c:v>
                </c:pt>
                <c:pt idx="43">
                  <c:v>0.06</c:v>
                </c:pt>
                <c:pt idx="44">
                  <c:v>0.1</c:v>
                </c:pt>
                <c:pt idx="45">
                  <c:v>0.03</c:v>
                </c:pt>
                <c:pt idx="46">
                  <c:v>7.0000000000000007E-2</c:v>
                </c:pt>
                <c:pt idx="47">
                  <c:v>0.02</c:v>
                </c:pt>
                <c:pt idx="48">
                  <c:v>0.03</c:v>
                </c:pt>
                <c:pt idx="49">
                  <c:v>0.05</c:v>
                </c:pt>
                <c:pt idx="50">
                  <c:v>0.01</c:v>
                </c:pt>
                <c:pt idx="51">
                  <c:v>0.03</c:v>
                </c:pt>
                <c:pt idx="52">
                  <c:v>0.02</c:v>
                </c:pt>
                <c:pt idx="53">
                  <c:v>0.02</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7ECAC4"/>
              </a:solidFill>
            </c:spPr>
            <c:extLst>
              <c:ext xmlns:c16="http://schemas.microsoft.com/office/drawing/2014/chart" uri="{C3380CC4-5D6E-409C-BE32-E72D297353CC}">
                <c16:uniqueId val="{00000053-2993-41DE-A2CB-63102DE87051}"/>
              </c:ext>
            </c:extLst>
          </c:dPt>
          <c:dPt>
            <c:idx val="14"/>
            <c:invertIfNegative val="1"/>
            <c:bubble3D val="0"/>
            <c:spPr>
              <a:solidFill>
                <a:srgbClr val="7ECAC4"/>
              </a:solidFill>
            </c:spPr>
            <c:extLst>
              <c:ext xmlns:c16="http://schemas.microsoft.com/office/drawing/2014/chart" uri="{C3380CC4-5D6E-409C-BE32-E72D297353CC}">
                <c16:uniqueId val="{00000055-2993-41DE-A2CB-63102DE87051}"/>
              </c:ext>
            </c:extLst>
          </c:dPt>
          <c:dPt>
            <c:idx val="15"/>
            <c:invertIfNegative val="1"/>
            <c:bubble3D val="0"/>
            <c:spPr>
              <a:solidFill>
                <a:srgbClr val="7ECAC4"/>
              </a:solidFill>
            </c:spPr>
            <c:extLst>
              <c:ext xmlns:c16="http://schemas.microsoft.com/office/drawing/2014/chart" uri="{C3380CC4-5D6E-409C-BE32-E72D297353CC}">
                <c16:uniqueId val="{00000057-2993-41DE-A2CB-63102DE87051}"/>
              </c:ext>
            </c:extLst>
          </c:dPt>
          <c:dPt>
            <c:idx val="16"/>
            <c:invertIfNegative val="1"/>
            <c:bubble3D val="0"/>
            <c:spPr>
              <a:solidFill>
                <a:srgbClr val="7ECAC4"/>
              </a:solidFill>
            </c:spPr>
            <c:extLst>
              <c:ext xmlns:c16="http://schemas.microsoft.com/office/drawing/2014/chart" uri="{C3380CC4-5D6E-409C-BE32-E72D297353CC}">
                <c16:uniqueId val="{00000059-2993-41DE-A2CB-63102DE87051}"/>
              </c:ext>
            </c:extLst>
          </c:dPt>
          <c:dPt>
            <c:idx val="17"/>
            <c:invertIfNegative val="1"/>
            <c:bubble3D val="0"/>
            <c:spPr>
              <a:solidFill>
                <a:srgbClr val="7ECAC4"/>
              </a:solidFill>
            </c:spPr>
            <c:extLst>
              <c:ext xmlns:c16="http://schemas.microsoft.com/office/drawing/2014/chart" uri="{C3380CC4-5D6E-409C-BE32-E72D297353CC}">
                <c16:uniqueId val="{0000005B-2993-41DE-A2CB-63102DE87051}"/>
              </c:ext>
            </c:extLst>
          </c:dPt>
          <c:dPt>
            <c:idx val="18"/>
            <c:invertIfNegative val="1"/>
            <c:bubble3D val="0"/>
            <c:spPr>
              <a:solidFill>
                <a:srgbClr val="7ECAC4"/>
              </a:solidFill>
            </c:spPr>
            <c:extLst>
              <c:ext xmlns:c16="http://schemas.microsoft.com/office/drawing/2014/chart" uri="{C3380CC4-5D6E-409C-BE32-E72D297353CC}">
                <c16:uniqueId val="{0000005D-2993-41DE-A2CB-63102DE87051}"/>
              </c:ext>
            </c:extLst>
          </c:dPt>
          <c:dPt>
            <c:idx val="19"/>
            <c:invertIfNegative val="1"/>
            <c:bubble3D val="0"/>
            <c:spPr>
              <a:solidFill>
                <a:srgbClr val="7ECAC4"/>
              </a:solidFill>
            </c:spPr>
            <c:extLst>
              <c:ext xmlns:c16="http://schemas.microsoft.com/office/drawing/2014/chart" uri="{C3380CC4-5D6E-409C-BE32-E72D297353CC}">
                <c16:uniqueId val="{0000005F-2993-41DE-A2CB-63102DE87051}"/>
              </c:ext>
            </c:extLst>
          </c:dPt>
          <c:dPt>
            <c:idx val="20"/>
            <c:invertIfNegative val="1"/>
            <c:bubble3D val="0"/>
            <c:spPr>
              <a:solidFill>
                <a:srgbClr val="7ECAC4"/>
              </a:solidFill>
            </c:spPr>
            <c:extLst>
              <c:ext xmlns:c16="http://schemas.microsoft.com/office/drawing/2014/chart" uri="{C3380CC4-5D6E-409C-BE32-E72D297353CC}">
                <c16:uniqueId val="{00000061-2993-41DE-A2CB-63102DE87051}"/>
              </c:ext>
            </c:extLst>
          </c:dPt>
          <c:dPt>
            <c:idx val="21"/>
            <c:invertIfNegative val="1"/>
            <c:bubble3D val="0"/>
            <c:spPr>
              <a:solidFill>
                <a:srgbClr val="7ECAC4"/>
              </a:solidFill>
            </c:spPr>
            <c:extLst>
              <c:ext xmlns:c16="http://schemas.microsoft.com/office/drawing/2014/chart" uri="{C3380CC4-5D6E-409C-BE32-E72D297353CC}">
                <c16:uniqueId val="{00000063-2993-41DE-A2CB-63102DE87051}"/>
              </c:ext>
            </c:extLst>
          </c:dPt>
          <c:dPt>
            <c:idx val="22"/>
            <c:invertIfNegative val="1"/>
            <c:bubble3D val="0"/>
            <c:spPr>
              <a:solidFill>
                <a:srgbClr val="7ECAC4"/>
              </a:solidFill>
            </c:spPr>
            <c:extLst>
              <c:ext xmlns:c16="http://schemas.microsoft.com/office/drawing/2014/chart" uri="{C3380CC4-5D6E-409C-BE32-E72D297353CC}">
                <c16:uniqueId val="{00000065-2993-41DE-A2CB-63102DE87051}"/>
              </c:ext>
            </c:extLst>
          </c:dPt>
          <c:dPt>
            <c:idx val="23"/>
            <c:invertIfNegative val="1"/>
            <c:bubble3D val="0"/>
            <c:spPr>
              <a:solidFill>
                <a:srgbClr val="AEABAB"/>
              </a:solidFill>
            </c:spPr>
            <c:extLst>
              <c:ext xmlns:c16="http://schemas.microsoft.com/office/drawing/2014/chart" uri="{C3380CC4-5D6E-409C-BE32-E72D297353CC}">
                <c16:uniqueId val="{00000067-2993-41DE-A2CB-63102DE87051}"/>
              </c:ext>
            </c:extLst>
          </c:dPt>
          <c:dPt>
            <c:idx val="24"/>
            <c:invertIfNegative val="1"/>
            <c:bubble3D val="0"/>
            <c:spPr>
              <a:solidFill>
                <a:srgbClr val="AEABAB"/>
              </a:solidFill>
            </c:spPr>
            <c:extLst>
              <c:ext xmlns:c16="http://schemas.microsoft.com/office/drawing/2014/chart" uri="{C3380CC4-5D6E-409C-BE32-E72D297353CC}">
                <c16:uniqueId val="{00000069-2993-41DE-A2CB-63102DE87051}"/>
              </c:ext>
            </c:extLst>
          </c:dPt>
          <c:dPt>
            <c:idx val="25"/>
            <c:invertIfNegative val="1"/>
            <c:bubble3D val="0"/>
            <c:spPr>
              <a:solidFill>
                <a:srgbClr val="AEABAB"/>
              </a:solidFill>
            </c:spPr>
            <c:extLst>
              <c:ext xmlns:c16="http://schemas.microsoft.com/office/drawing/2014/chart" uri="{C3380CC4-5D6E-409C-BE32-E72D297353CC}">
                <c16:uniqueId val="{0000006B-2993-41DE-A2CB-63102DE87051}"/>
              </c:ext>
            </c:extLst>
          </c:dPt>
          <c:dPt>
            <c:idx val="26"/>
            <c:invertIfNegative val="1"/>
            <c:bubble3D val="0"/>
            <c:spPr>
              <a:solidFill>
                <a:srgbClr val="AEABAB"/>
              </a:solidFill>
            </c:spPr>
            <c:extLst>
              <c:ext xmlns:c16="http://schemas.microsoft.com/office/drawing/2014/chart" uri="{C3380CC4-5D6E-409C-BE32-E72D297353CC}">
                <c16:uniqueId val="{0000006D-2993-41DE-A2CB-63102DE87051}"/>
              </c:ext>
            </c:extLst>
          </c:dPt>
          <c:dPt>
            <c:idx val="27"/>
            <c:invertIfNegative val="1"/>
            <c:bubble3D val="0"/>
            <c:spPr>
              <a:solidFill>
                <a:srgbClr val="AEABAB"/>
              </a:solidFill>
            </c:spPr>
            <c:extLst>
              <c:ext xmlns:c16="http://schemas.microsoft.com/office/drawing/2014/chart" uri="{C3380CC4-5D6E-409C-BE32-E72D297353CC}">
                <c16:uniqueId val="{0000006F-2993-41DE-A2CB-63102DE87051}"/>
              </c:ext>
            </c:extLst>
          </c:dPt>
          <c:dPt>
            <c:idx val="28"/>
            <c:invertIfNegative val="1"/>
            <c:bubble3D val="0"/>
            <c:spPr>
              <a:solidFill>
                <a:srgbClr val="AEABAB"/>
              </a:solidFill>
            </c:spPr>
            <c:extLst>
              <c:ext xmlns:c16="http://schemas.microsoft.com/office/drawing/2014/chart" uri="{C3380CC4-5D6E-409C-BE32-E72D297353CC}">
                <c16:uniqueId val="{00000071-2993-41DE-A2CB-63102DE87051}"/>
              </c:ext>
            </c:extLst>
          </c:dPt>
          <c:dPt>
            <c:idx val="29"/>
            <c:invertIfNegative val="1"/>
            <c:bubble3D val="0"/>
            <c:spPr>
              <a:solidFill>
                <a:srgbClr val="AEABAB"/>
              </a:solidFill>
            </c:spPr>
            <c:extLst>
              <c:ext xmlns:c16="http://schemas.microsoft.com/office/drawing/2014/chart" uri="{C3380CC4-5D6E-409C-BE32-E72D297353CC}">
                <c16:uniqueId val="{00000073-2993-41DE-A2CB-63102DE87051}"/>
              </c:ext>
            </c:extLst>
          </c:dPt>
          <c:dPt>
            <c:idx val="30"/>
            <c:invertIfNegative val="1"/>
            <c:bubble3D val="0"/>
            <c:spPr>
              <a:solidFill>
                <a:srgbClr val="AEABAB"/>
              </a:solidFill>
            </c:spPr>
            <c:extLst>
              <c:ext xmlns:c16="http://schemas.microsoft.com/office/drawing/2014/chart" uri="{C3380CC4-5D6E-409C-BE32-E72D297353CC}">
                <c16:uniqueId val="{00000075-2993-41DE-A2CB-63102DE87051}"/>
              </c:ext>
            </c:extLst>
          </c:dPt>
          <c:dPt>
            <c:idx val="31"/>
            <c:invertIfNegative val="1"/>
            <c:bubble3D val="0"/>
            <c:spPr>
              <a:solidFill>
                <a:srgbClr val="AEABAB"/>
              </a:solidFill>
            </c:spPr>
            <c:extLst>
              <c:ext xmlns:c16="http://schemas.microsoft.com/office/drawing/2014/chart" uri="{C3380CC4-5D6E-409C-BE32-E72D297353CC}">
                <c16:uniqueId val="{00000077-2993-41DE-A2CB-63102DE87051}"/>
              </c:ext>
            </c:extLst>
          </c:dPt>
          <c:dPt>
            <c:idx val="32"/>
            <c:invertIfNegative val="1"/>
            <c:bubble3D val="0"/>
            <c:spPr>
              <a:solidFill>
                <a:srgbClr val="AEABAB"/>
              </a:solidFill>
            </c:spPr>
            <c:extLst>
              <c:ext xmlns:c16="http://schemas.microsoft.com/office/drawing/2014/chart" uri="{C3380CC4-5D6E-409C-BE32-E72D297353CC}">
                <c16:uniqueId val="{00000079-2993-41DE-A2CB-63102DE87051}"/>
              </c:ext>
            </c:extLst>
          </c:dPt>
          <c:dPt>
            <c:idx val="33"/>
            <c:invertIfNegative val="1"/>
            <c:bubble3D val="0"/>
            <c:spPr>
              <a:solidFill>
                <a:srgbClr val="AEABAB"/>
              </a:solidFill>
            </c:spPr>
            <c:extLst>
              <c:ext xmlns:c16="http://schemas.microsoft.com/office/drawing/2014/chart" uri="{C3380CC4-5D6E-409C-BE32-E72D297353CC}">
                <c16:uniqueId val="{0000007B-2993-41DE-A2CB-63102DE87051}"/>
              </c:ext>
            </c:extLst>
          </c:dPt>
          <c:dPt>
            <c:idx val="34"/>
            <c:invertIfNegative val="1"/>
            <c:bubble3D val="0"/>
            <c:spPr>
              <a:solidFill>
                <a:srgbClr val="AEABAB"/>
              </a:solidFill>
            </c:spPr>
            <c:extLst>
              <c:ext xmlns:c16="http://schemas.microsoft.com/office/drawing/2014/chart" uri="{C3380CC4-5D6E-409C-BE32-E72D297353CC}">
                <c16:uniqueId val="{0000007D-2993-41DE-A2CB-63102DE87051}"/>
              </c:ext>
            </c:extLst>
          </c:dPt>
          <c:dPt>
            <c:idx val="35"/>
            <c:invertIfNegative val="1"/>
            <c:bubble3D val="0"/>
            <c:spPr>
              <a:solidFill>
                <a:srgbClr val="AEABAB"/>
              </a:solidFill>
            </c:spPr>
            <c:extLst>
              <c:ext xmlns:c16="http://schemas.microsoft.com/office/drawing/2014/chart" uri="{C3380CC4-5D6E-409C-BE32-E72D297353CC}">
                <c16:uniqueId val="{0000007F-2993-41DE-A2CB-63102DE87051}"/>
              </c:ext>
            </c:extLst>
          </c:dPt>
          <c:dPt>
            <c:idx val="36"/>
            <c:invertIfNegative val="1"/>
            <c:bubble3D val="0"/>
            <c:spPr>
              <a:solidFill>
                <a:srgbClr val="AEABAB"/>
              </a:solidFill>
            </c:spPr>
            <c:extLst>
              <c:ext xmlns:c16="http://schemas.microsoft.com/office/drawing/2014/chart" uri="{C3380CC4-5D6E-409C-BE32-E72D297353CC}">
                <c16:uniqueId val="{00000081-2993-41DE-A2CB-63102DE87051}"/>
              </c:ext>
            </c:extLst>
          </c:dPt>
          <c:dPt>
            <c:idx val="37"/>
            <c:invertIfNegative val="1"/>
            <c:bubble3D val="0"/>
            <c:spPr>
              <a:solidFill>
                <a:srgbClr val="AEABAB"/>
              </a:solidFill>
            </c:spPr>
            <c:extLst>
              <c:ext xmlns:c16="http://schemas.microsoft.com/office/drawing/2014/chart" uri="{C3380CC4-5D6E-409C-BE32-E72D297353CC}">
                <c16:uniqueId val="{00000083-2993-41DE-A2CB-63102DE87051}"/>
              </c:ext>
            </c:extLst>
          </c:dPt>
          <c:dPt>
            <c:idx val="38"/>
            <c:invertIfNegative val="1"/>
            <c:bubble3D val="0"/>
            <c:spPr>
              <a:solidFill>
                <a:srgbClr val="AEABAB"/>
              </a:solidFill>
            </c:spPr>
            <c:extLst>
              <c:ext xmlns:c16="http://schemas.microsoft.com/office/drawing/2014/chart" uri="{C3380CC4-5D6E-409C-BE32-E72D297353CC}">
                <c16:uniqueId val="{00000085-2993-41DE-A2CB-63102DE87051}"/>
              </c:ext>
            </c:extLst>
          </c:dPt>
          <c:dPt>
            <c:idx val="39"/>
            <c:invertIfNegative val="1"/>
            <c:bubble3D val="0"/>
            <c:spPr>
              <a:solidFill>
                <a:srgbClr val="AEABAB"/>
              </a:solidFill>
            </c:spPr>
            <c:extLst>
              <c:ext xmlns:c16="http://schemas.microsoft.com/office/drawing/2014/chart" uri="{C3380CC4-5D6E-409C-BE32-E72D297353CC}">
                <c16:uniqueId val="{00000087-2993-41DE-A2CB-63102DE87051}"/>
              </c:ext>
            </c:extLst>
          </c:dPt>
          <c:dPt>
            <c:idx val="40"/>
            <c:invertIfNegative val="1"/>
            <c:bubble3D val="0"/>
            <c:spPr>
              <a:solidFill>
                <a:srgbClr val="AEABAB"/>
              </a:solidFill>
            </c:spPr>
            <c:extLst>
              <c:ext xmlns:c16="http://schemas.microsoft.com/office/drawing/2014/chart" uri="{C3380CC4-5D6E-409C-BE32-E72D297353CC}">
                <c16:uniqueId val="{00000089-2993-41DE-A2CB-63102DE87051}"/>
              </c:ext>
            </c:extLst>
          </c:dPt>
          <c:dPt>
            <c:idx val="41"/>
            <c:invertIfNegative val="1"/>
            <c:bubble3D val="0"/>
            <c:spPr>
              <a:solidFill>
                <a:srgbClr val="AEABAB"/>
              </a:solidFill>
            </c:spPr>
            <c:extLst>
              <c:ext xmlns:c16="http://schemas.microsoft.com/office/drawing/2014/chart" uri="{C3380CC4-5D6E-409C-BE32-E72D297353CC}">
                <c16:uniqueId val="{0000008B-2993-41DE-A2CB-63102DE87051}"/>
              </c:ext>
            </c:extLst>
          </c:dPt>
          <c:dPt>
            <c:idx val="42"/>
            <c:invertIfNegative val="1"/>
            <c:bubble3D val="0"/>
            <c:spPr>
              <a:solidFill>
                <a:srgbClr val="AEABAB"/>
              </a:solidFill>
            </c:spPr>
            <c:extLst>
              <c:ext xmlns:c16="http://schemas.microsoft.com/office/drawing/2014/chart" uri="{C3380CC4-5D6E-409C-BE32-E72D297353CC}">
                <c16:uniqueId val="{0000008D-2993-41DE-A2CB-63102DE87051}"/>
              </c:ext>
            </c:extLst>
          </c:dPt>
          <c:dPt>
            <c:idx val="43"/>
            <c:invertIfNegative val="1"/>
            <c:bubble3D val="0"/>
            <c:spPr>
              <a:solidFill>
                <a:srgbClr val="AEABAB"/>
              </a:solidFill>
            </c:spPr>
            <c:extLst>
              <c:ext xmlns:c16="http://schemas.microsoft.com/office/drawing/2014/chart" uri="{C3380CC4-5D6E-409C-BE32-E72D297353CC}">
                <c16:uniqueId val="{0000008F-2993-41DE-A2CB-63102DE87051}"/>
              </c:ext>
            </c:extLst>
          </c:dPt>
          <c:dPt>
            <c:idx val="44"/>
            <c:invertIfNegative val="1"/>
            <c:bubble3D val="0"/>
            <c:spPr>
              <a:solidFill>
                <a:srgbClr val="AEABAB"/>
              </a:solidFill>
            </c:spPr>
            <c:extLst>
              <c:ext xmlns:c16="http://schemas.microsoft.com/office/drawing/2014/chart" uri="{C3380CC4-5D6E-409C-BE32-E72D297353CC}">
                <c16:uniqueId val="{00000091-2993-41DE-A2CB-63102DE87051}"/>
              </c:ext>
            </c:extLst>
          </c:dPt>
          <c:dPt>
            <c:idx val="45"/>
            <c:invertIfNegative val="1"/>
            <c:bubble3D val="0"/>
            <c:spPr>
              <a:solidFill>
                <a:srgbClr val="AEABAB"/>
              </a:solidFill>
            </c:spPr>
            <c:extLst>
              <c:ext xmlns:c16="http://schemas.microsoft.com/office/drawing/2014/chart" uri="{C3380CC4-5D6E-409C-BE32-E72D297353CC}">
                <c16:uniqueId val="{00000093-2993-41DE-A2CB-63102DE87051}"/>
              </c:ext>
            </c:extLst>
          </c:dPt>
          <c:dPt>
            <c:idx val="46"/>
            <c:invertIfNegative val="1"/>
            <c:bubble3D val="0"/>
            <c:spPr>
              <a:solidFill>
                <a:srgbClr val="AEABAB"/>
              </a:solidFill>
            </c:spPr>
            <c:extLst>
              <c:ext xmlns:c16="http://schemas.microsoft.com/office/drawing/2014/chart" uri="{C3380CC4-5D6E-409C-BE32-E72D297353CC}">
                <c16:uniqueId val="{00000095-2993-41DE-A2CB-63102DE87051}"/>
              </c:ext>
            </c:extLst>
          </c:dPt>
          <c:dPt>
            <c:idx val="47"/>
            <c:invertIfNegative val="1"/>
            <c:bubble3D val="0"/>
            <c:spPr>
              <a:solidFill>
                <a:srgbClr val="AEABAB"/>
              </a:solidFill>
            </c:spPr>
            <c:extLst>
              <c:ext xmlns:c16="http://schemas.microsoft.com/office/drawing/2014/chart" uri="{C3380CC4-5D6E-409C-BE32-E72D297353CC}">
                <c16:uniqueId val="{00000097-2993-41DE-A2CB-63102DE87051}"/>
              </c:ext>
            </c:extLst>
          </c:dPt>
          <c:dPt>
            <c:idx val="48"/>
            <c:invertIfNegative val="1"/>
            <c:bubble3D val="0"/>
            <c:spPr>
              <a:solidFill>
                <a:srgbClr val="AEABAB"/>
              </a:solidFill>
            </c:spPr>
            <c:extLst>
              <c:ext xmlns:c16="http://schemas.microsoft.com/office/drawing/2014/chart" uri="{C3380CC4-5D6E-409C-BE32-E72D297353CC}">
                <c16:uniqueId val="{00000099-2993-41DE-A2CB-63102DE87051}"/>
              </c:ext>
            </c:extLst>
          </c:dPt>
          <c:dPt>
            <c:idx val="49"/>
            <c:invertIfNegative val="1"/>
            <c:bubble3D val="0"/>
            <c:spPr>
              <a:solidFill>
                <a:srgbClr val="AEABAB"/>
              </a:solidFill>
            </c:spPr>
            <c:extLst>
              <c:ext xmlns:c16="http://schemas.microsoft.com/office/drawing/2014/chart" uri="{C3380CC4-5D6E-409C-BE32-E72D297353CC}">
                <c16:uniqueId val="{0000009B-2993-41DE-A2CB-63102DE87051}"/>
              </c:ext>
            </c:extLst>
          </c:dPt>
          <c:dPt>
            <c:idx val="50"/>
            <c:invertIfNegative val="1"/>
            <c:bubble3D val="0"/>
            <c:spPr>
              <a:solidFill>
                <a:srgbClr val="AEABAB"/>
              </a:solidFill>
            </c:spPr>
            <c:extLst>
              <c:ext xmlns:c16="http://schemas.microsoft.com/office/drawing/2014/chart" uri="{C3380CC4-5D6E-409C-BE32-E72D297353CC}">
                <c16:uniqueId val="{0000009D-2993-41DE-A2CB-63102DE87051}"/>
              </c:ext>
            </c:extLst>
          </c:dPt>
          <c:dPt>
            <c:idx val="51"/>
            <c:invertIfNegative val="1"/>
            <c:bubble3D val="0"/>
            <c:spPr>
              <a:solidFill>
                <a:srgbClr val="AEABAB"/>
              </a:solidFill>
            </c:spPr>
            <c:extLst>
              <c:ext xmlns:c16="http://schemas.microsoft.com/office/drawing/2014/chart" uri="{C3380CC4-5D6E-409C-BE32-E72D297353CC}">
                <c16:uniqueId val="{0000009F-2993-41DE-A2CB-63102DE87051}"/>
              </c:ext>
            </c:extLst>
          </c:dPt>
          <c:dPt>
            <c:idx val="52"/>
            <c:invertIfNegative val="1"/>
            <c:bubble3D val="0"/>
            <c:spPr>
              <a:solidFill>
                <a:srgbClr val="AEABAB"/>
              </a:solidFill>
            </c:spPr>
            <c:extLst>
              <c:ext xmlns:c16="http://schemas.microsoft.com/office/drawing/2014/chart" uri="{C3380CC4-5D6E-409C-BE32-E72D297353CC}">
                <c16:uniqueId val="{000000A1-2993-41DE-A2CB-63102DE87051}"/>
              </c:ext>
            </c:extLst>
          </c:dPt>
          <c:dPt>
            <c:idx val="53"/>
            <c:invertIfNegative val="1"/>
            <c:bubble3D val="0"/>
            <c:spPr>
              <a:solidFill>
                <a:srgbClr val="AEABAB"/>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55</c:f>
              <c:strCache>
                <c:ptCount val="54"/>
                <c:pt idx="0">
                  <c:v>All Others</c:v>
                </c:pt>
                <c:pt idx="1">
                  <c:v>All Others</c:v>
                </c:pt>
                <c:pt idx="2">
                  <c:v>Bottega</c:v>
                </c:pt>
                <c:pt idx="3">
                  <c:v>Patriarche</c:v>
                </c:pt>
                <c:pt idx="4">
                  <c:v>Savian</c:v>
                </c:pt>
                <c:pt idx="5">
                  <c:v>Mure</c:v>
                </c:pt>
                <c:pt idx="6">
                  <c:v>French Bloo</c:v>
                </c:pt>
                <c:pt idx="7">
                  <c:v>All Others</c:v>
                </c:pt>
                <c:pt idx="8">
                  <c:v>All Others</c:v>
                </c:pt>
                <c:pt idx="9">
                  <c:v>All Others</c:v>
                </c:pt>
                <c:pt idx="10">
                  <c:v>All Others</c:v>
                </c:pt>
                <c:pt idx="11">
                  <c:v>Patriarche</c:v>
                </c:pt>
                <c:pt idx="12">
                  <c:v>Bottega</c:v>
                </c:pt>
                <c:pt idx="13">
                  <c:v>De Chanceny</c:v>
                </c:pt>
                <c:pt idx="14">
                  <c:v>Bouvet-Ladu</c:v>
                </c:pt>
                <c:pt idx="15">
                  <c:v>Contarini</c:v>
                </c:pt>
                <c:pt idx="16">
                  <c:v>Vilaveroni</c:v>
                </c:pt>
                <c:pt idx="17">
                  <c:v>All Others</c:v>
                </c:pt>
                <c:pt idx="18">
                  <c:v>All Others</c:v>
                </c:pt>
                <c:pt idx="19">
                  <c:v>All Others</c:v>
                </c:pt>
                <c:pt idx="20">
                  <c:v>Contarini</c:v>
                </c:pt>
                <c:pt idx="21">
                  <c:v>Cru La Maqu</c:v>
                </c:pt>
                <c:pt idx="22">
                  <c:v>Kriter</c:v>
                </c:pt>
                <c:pt idx="23">
                  <c:v>All Others</c:v>
                </c:pt>
                <c:pt idx="24">
                  <c:v>All Others</c:v>
                </c:pt>
                <c:pt idx="25">
                  <c:v>All Others</c:v>
                </c:pt>
                <c:pt idx="26">
                  <c:v>All Others</c:v>
                </c:pt>
                <c:pt idx="27">
                  <c:v>Vilaveroni</c:v>
                </c:pt>
                <c:pt idx="28">
                  <c:v>All Others</c:v>
                </c:pt>
                <c:pt idx="29">
                  <c:v>All Others</c:v>
                </c:pt>
                <c:pt idx="30">
                  <c:v>All Others</c:v>
                </c:pt>
                <c:pt idx="31">
                  <c:v>Vilaveroni</c:v>
                </c:pt>
                <c:pt idx="32">
                  <c:v>Bouvet-Ladu</c:v>
                </c:pt>
                <c:pt idx="33">
                  <c:v>All Others</c:v>
                </c:pt>
                <c:pt idx="34">
                  <c:v>Vilaveroni</c:v>
                </c:pt>
                <c:pt idx="35">
                  <c:v>Celene</c:v>
                </c:pt>
                <c:pt idx="36">
                  <c:v>Bouvet-Ladu</c:v>
                </c:pt>
                <c:pt idx="37">
                  <c:v>All Others</c:v>
                </c:pt>
                <c:pt idx="38">
                  <c:v>Celene</c:v>
                </c:pt>
                <c:pt idx="39">
                  <c:v>All Others</c:v>
                </c:pt>
                <c:pt idx="40">
                  <c:v>Bottega</c:v>
                </c:pt>
                <c:pt idx="41">
                  <c:v>Bouvet-Ladu</c:v>
                </c:pt>
                <c:pt idx="42">
                  <c:v>Jaillance</c:v>
                </c:pt>
                <c:pt idx="43">
                  <c:v>All Others</c:v>
                </c:pt>
                <c:pt idx="44">
                  <c:v>All Others</c:v>
                </c:pt>
                <c:pt idx="45">
                  <c:v>Bouvet-Ladu</c:v>
                </c:pt>
                <c:pt idx="46">
                  <c:v>All Others</c:v>
                </c:pt>
                <c:pt idx="47">
                  <c:v>All Others</c:v>
                </c:pt>
                <c:pt idx="48">
                  <c:v>All Others</c:v>
                </c:pt>
                <c:pt idx="49">
                  <c:v>All Others</c:v>
                </c:pt>
                <c:pt idx="50">
                  <c:v>Bottega</c:v>
                </c:pt>
                <c:pt idx="51">
                  <c:v>Bottega</c:v>
                </c:pt>
                <c:pt idx="52">
                  <c:v>All Others</c:v>
                </c:pt>
                <c:pt idx="53">
                  <c:v>All Others</c:v>
                </c:pt>
              </c:strCache>
            </c:strRef>
          </c:cat>
          <c:val>
            <c:numRef>
              <c:f>Sheet1!$C$2:$C$55</c:f>
              <c:numCache>
                <c:formatCode>General</c:formatCode>
                <c:ptCount val="54"/>
                <c:pt idx="0">
                  <c:v>0.16452728132639671</c:v>
                </c:pt>
                <c:pt idx="1">
                  <c:v>0.28452381745392052</c:v>
                </c:pt>
                <c:pt idx="2">
                  <c:v>0.39899814149919066</c:v>
                </c:pt>
                <c:pt idx="3">
                  <c:v>0.48863583376076636</c:v>
                </c:pt>
                <c:pt idx="4">
                  <c:v>0.56453460874894257</c:v>
                </c:pt>
                <c:pt idx="5">
                  <c:v>0.61115366937337223</c:v>
                </c:pt>
                <c:pt idx="6">
                  <c:v>0.64681490264519959</c:v>
                </c:pt>
                <c:pt idx="7">
                  <c:v>0.6800081267777327</c:v>
                </c:pt>
                <c:pt idx="8">
                  <c:v>0.71066672883873683</c:v>
                </c:pt>
                <c:pt idx="9">
                  <c:v>0.73689890155274751</c:v>
                </c:pt>
                <c:pt idx="10">
                  <c:v>0.76147907354733857</c:v>
                </c:pt>
                <c:pt idx="11">
                  <c:v>0.78418742214613557</c:v>
                </c:pt>
                <c:pt idx="12">
                  <c:v>0.80626960918192669</c:v>
                </c:pt>
                <c:pt idx="13">
                  <c:v>0.82669646485168646</c:v>
                </c:pt>
                <c:pt idx="14">
                  <c:v>0.84704671564937628</c:v>
                </c:pt>
                <c:pt idx="15">
                  <c:v>0.86617128849394831</c:v>
                </c:pt>
                <c:pt idx="16">
                  <c:v>0.88434329640756471</c:v>
                </c:pt>
                <c:pt idx="17">
                  <c:v>0.89977751280633633</c:v>
                </c:pt>
                <c:pt idx="18">
                  <c:v>0.91439905143184508</c:v>
                </c:pt>
                <c:pt idx="19">
                  <c:v>0.92535354813783555</c:v>
                </c:pt>
                <c:pt idx="20">
                  <c:v>0.93373678565956797</c:v>
                </c:pt>
                <c:pt idx="21">
                  <c:v>0.94148720032507116</c:v>
                </c:pt>
                <c:pt idx="22">
                  <c:v>0.94883460675055464</c:v>
                </c:pt>
                <c:pt idx="23">
                  <c:v>0.95506957720771923</c:v>
                </c:pt>
                <c:pt idx="24">
                  <c:v>0.96116132986057923</c:v>
                </c:pt>
                <c:pt idx="25">
                  <c:v>0.96676680810812621</c:v>
                </c:pt>
                <c:pt idx="26">
                  <c:v>0.97201923781482946</c:v>
                </c:pt>
                <c:pt idx="27">
                  <c:v>0.97617921543288422</c:v>
                </c:pt>
                <c:pt idx="28">
                  <c:v>0.97988955575835501</c:v>
                </c:pt>
                <c:pt idx="29">
                  <c:v>0.9833933959938983</c:v>
                </c:pt>
                <c:pt idx="30">
                  <c:v>0.98638764729784645</c:v>
                </c:pt>
                <c:pt idx="31">
                  <c:v>0.98863583376076636</c:v>
                </c:pt>
                <c:pt idx="32">
                  <c:v>0.99072747983293485</c:v>
                </c:pt>
                <c:pt idx="33">
                  <c:v>0.99216964981581535</c:v>
                </c:pt>
                <c:pt idx="34">
                  <c:v>0.99332205354347503</c:v>
                </c:pt>
                <c:pt idx="35">
                  <c:v>0.99431458623377156</c:v>
                </c:pt>
                <c:pt idx="36">
                  <c:v>0.99530045763084463</c:v>
                </c:pt>
                <c:pt idx="37">
                  <c:v>0.99615643381006003</c:v>
                </c:pt>
                <c:pt idx="38">
                  <c:v>0.99692914382398212</c:v>
                </c:pt>
                <c:pt idx="39">
                  <c:v>0.99755863603359973</c:v>
                </c:pt>
                <c:pt idx="40">
                  <c:v>0.99805490237874794</c:v>
                </c:pt>
                <c:pt idx="41">
                  <c:v>0.99853451549083749</c:v>
                </c:pt>
                <c:pt idx="42">
                  <c:v>0.99887091079862256</c:v>
                </c:pt>
                <c:pt idx="43">
                  <c:v>0.99919398351996069</c:v>
                </c:pt>
                <c:pt idx="44">
                  <c:v>0.99936717714377077</c:v>
                </c:pt>
                <c:pt idx="45">
                  <c:v>0.99950706430146352</c:v>
                </c:pt>
                <c:pt idx="46">
                  <c:v>0.99964029016593281</c:v>
                </c:pt>
                <c:pt idx="47">
                  <c:v>0.99972688697783785</c:v>
                </c:pt>
                <c:pt idx="48">
                  <c:v>0.99978683861684903</c:v>
                </c:pt>
                <c:pt idx="49">
                  <c:v>0.99984679025586021</c:v>
                </c:pt>
                <c:pt idx="50">
                  <c:v>0.99989341930842446</c:v>
                </c:pt>
                <c:pt idx="51">
                  <c:v>0.99993338706776524</c:v>
                </c:pt>
                <c:pt idx="52">
                  <c:v>0.9999700241804943</c:v>
                </c:pt>
                <c:pt idx="53">
                  <c:v>0.99999999999999989</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55</c:f>
              <c:strCache>
                <c:ptCount val="54"/>
                <c:pt idx="0">
                  <c:v>All Others</c:v>
                </c:pt>
                <c:pt idx="1">
                  <c:v>Bottega</c:v>
                </c:pt>
                <c:pt idx="2">
                  <c:v>Bouvet-Ladu</c:v>
                </c:pt>
                <c:pt idx="3">
                  <c:v>Mure</c:v>
                </c:pt>
                <c:pt idx="4">
                  <c:v>Patriarche</c:v>
                </c:pt>
                <c:pt idx="5">
                  <c:v>Kriter</c:v>
                </c:pt>
                <c:pt idx="6">
                  <c:v>All Others</c:v>
                </c:pt>
                <c:pt idx="7">
                  <c:v>French Bloo</c:v>
                </c:pt>
                <c:pt idx="8">
                  <c:v>Patriarche</c:v>
                </c:pt>
                <c:pt idx="9">
                  <c:v>Savian</c:v>
                </c:pt>
                <c:pt idx="10">
                  <c:v>All Others</c:v>
                </c:pt>
                <c:pt idx="11">
                  <c:v>All Others</c:v>
                </c:pt>
                <c:pt idx="12">
                  <c:v>All Others</c:v>
                </c:pt>
                <c:pt idx="13">
                  <c:v>Bottega</c:v>
                </c:pt>
                <c:pt idx="14">
                  <c:v>Cru La Maqu</c:v>
                </c:pt>
                <c:pt idx="15">
                  <c:v>De Chanceny</c:v>
                </c:pt>
                <c:pt idx="16">
                  <c:v>Contarini</c:v>
                </c:pt>
                <c:pt idx="17">
                  <c:v>All Others</c:v>
                </c:pt>
                <c:pt idx="18">
                  <c:v>All Others</c:v>
                </c:pt>
                <c:pt idx="19">
                  <c:v>All Others</c:v>
                </c:pt>
                <c:pt idx="20">
                  <c:v>All Others</c:v>
                </c:pt>
                <c:pt idx="21">
                  <c:v>All Others</c:v>
                </c:pt>
                <c:pt idx="22">
                  <c:v>All Others</c:v>
                </c:pt>
                <c:pt idx="23">
                  <c:v>All Others</c:v>
                </c:pt>
                <c:pt idx="24">
                  <c:v>All Others</c:v>
                </c:pt>
                <c:pt idx="25">
                  <c:v>All Others</c:v>
                </c:pt>
                <c:pt idx="26">
                  <c:v>All Others</c:v>
                </c:pt>
                <c:pt idx="27">
                  <c:v>All Others</c:v>
                </c:pt>
                <c:pt idx="28">
                  <c:v>All Others</c:v>
                </c:pt>
                <c:pt idx="29">
                  <c:v>All Others</c:v>
                </c:pt>
                <c:pt idx="30">
                  <c:v>All Others</c:v>
                </c:pt>
                <c:pt idx="31">
                  <c:v>All Others</c:v>
                </c:pt>
                <c:pt idx="32">
                  <c:v>All Others</c:v>
                </c:pt>
                <c:pt idx="33">
                  <c:v>Bouvet-Ladu</c:v>
                </c:pt>
                <c:pt idx="34">
                  <c:v>Contarini</c:v>
                </c:pt>
                <c:pt idx="35">
                  <c:v>All Others</c:v>
                </c:pt>
                <c:pt idx="36">
                  <c:v>Celene</c:v>
                </c:pt>
                <c:pt idx="37">
                  <c:v>All Others</c:v>
                </c:pt>
                <c:pt idx="38">
                  <c:v>Celene</c:v>
                </c:pt>
                <c:pt idx="39">
                  <c:v>Bouvet-Ladu</c:v>
                </c:pt>
                <c:pt idx="40">
                  <c:v>All Others</c:v>
                </c:pt>
                <c:pt idx="41">
                  <c:v>Bottega</c:v>
                </c:pt>
                <c:pt idx="42">
                  <c:v>Jaillance</c:v>
                </c:pt>
                <c:pt idx="43">
                  <c:v>All Others</c:v>
                </c:pt>
                <c:pt idx="44">
                  <c:v>Bouvet-Ladu</c:v>
                </c:pt>
                <c:pt idx="45">
                  <c:v>Bouvet-Ladu</c:v>
                </c:pt>
                <c:pt idx="46">
                  <c:v>All Others</c:v>
                </c:pt>
                <c:pt idx="47">
                  <c:v>Bottega</c:v>
                </c:pt>
                <c:pt idx="48">
                  <c:v>All Others</c:v>
                </c:pt>
                <c:pt idx="49">
                  <c:v>All Others</c:v>
                </c:pt>
                <c:pt idx="50">
                  <c:v>Contarini</c:v>
                </c:pt>
                <c:pt idx="51">
                  <c:v>Mure</c:v>
                </c:pt>
                <c:pt idx="52">
                  <c:v>All Others</c:v>
                </c:pt>
                <c:pt idx="53">
                  <c:v>All Others</c:v>
                </c:pt>
              </c:strCache>
            </c:strRef>
          </c:cat>
          <c:val>
            <c:numRef>
              <c:f>Sheet1!$B$2:$B$55</c:f>
              <c:numCache>
                <c:formatCode>General</c:formatCode>
                <c:ptCount val="54"/>
                <c:pt idx="0">
                  <c:v>0.99</c:v>
                </c:pt>
                <c:pt idx="1">
                  <c:v>0.85</c:v>
                </c:pt>
                <c:pt idx="2">
                  <c:v>0.62</c:v>
                </c:pt>
                <c:pt idx="3">
                  <c:v>0.83</c:v>
                </c:pt>
                <c:pt idx="4">
                  <c:v>0.93</c:v>
                </c:pt>
                <c:pt idx="5">
                  <c:v>0.72</c:v>
                </c:pt>
                <c:pt idx="6">
                  <c:v>0.28000000000000003</c:v>
                </c:pt>
                <c:pt idx="7">
                  <c:v>0.81</c:v>
                </c:pt>
                <c:pt idx="8">
                  <c:v>0.86</c:v>
                </c:pt>
                <c:pt idx="9">
                  <c:v>0.7</c:v>
                </c:pt>
                <c:pt idx="10">
                  <c:v>0.6</c:v>
                </c:pt>
                <c:pt idx="11">
                  <c:v>0.26</c:v>
                </c:pt>
                <c:pt idx="12">
                  <c:v>0.39</c:v>
                </c:pt>
                <c:pt idx="13">
                  <c:v>0.56000000000000005</c:v>
                </c:pt>
                <c:pt idx="14">
                  <c:v>0.52</c:v>
                </c:pt>
                <c:pt idx="15">
                  <c:v>0.46</c:v>
                </c:pt>
                <c:pt idx="16">
                  <c:v>0.78</c:v>
                </c:pt>
                <c:pt idx="17">
                  <c:v>0.14000000000000001</c:v>
                </c:pt>
                <c:pt idx="18">
                  <c:v>0.55000000000000004</c:v>
                </c:pt>
                <c:pt idx="19">
                  <c:v>0.37</c:v>
                </c:pt>
                <c:pt idx="20">
                  <c:v>0.16</c:v>
                </c:pt>
                <c:pt idx="21">
                  <c:v>0.34</c:v>
                </c:pt>
                <c:pt idx="22">
                  <c:v>0.16</c:v>
                </c:pt>
                <c:pt idx="23">
                  <c:v>0.39</c:v>
                </c:pt>
                <c:pt idx="24">
                  <c:v>0.45</c:v>
                </c:pt>
                <c:pt idx="25">
                  <c:v>0.16</c:v>
                </c:pt>
                <c:pt idx="26">
                  <c:v>0.28000000000000003</c:v>
                </c:pt>
                <c:pt idx="27">
                  <c:v>0.27</c:v>
                </c:pt>
                <c:pt idx="28">
                  <c:v>0.18</c:v>
                </c:pt>
                <c:pt idx="29">
                  <c:v>0.27</c:v>
                </c:pt>
                <c:pt idx="30">
                  <c:v>0.15</c:v>
                </c:pt>
                <c:pt idx="31">
                  <c:v>0.2</c:v>
                </c:pt>
                <c:pt idx="32">
                  <c:v>0.2</c:v>
                </c:pt>
                <c:pt idx="33">
                  <c:v>0.23</c:v>
                </c:pt>
                <c:pt idx="34">
                  <c:v>0.25</c:v>
                </c:pt>
                <c:pt idx="35">
                  <c:v>0.25</c:v>
                </c:pt>
                <c:pt idx="36">
                  <c:v>0.24</c:v>
                </c:pt>
                <c:pt idx="37">
                  <c:v>0.12</c:v>
                </c:pt>
                <c:pt idx="38">
                  <c:v>0.1</c:v>
                </c:pt>
                <c:pt idx="39">
                  <c:v>0.23</c:v>
                </c:pt>
                <c:pt idx="40">
                  <c:v>0.11</c:v>
                </c:pt>
                <c:pt idx="41">
                  <c:v>0.03</c:v>
                </c:pt>
                <c:pt idx="42">
                  <c:v>0.09</c:v>
                </c:pt>
                <c:pt idx="43">
                  <c:v>0.09</c:v>
                </c:pt>
                <c:pt idx="44">
                  <c:v>0.03</c:v>
                </c:pt>
                <c:pt idx="45">
                  <c:v>0.06</c:v>
                </c:pt>
                <c:pt idx="46">
                  <c:v>7.0000000000000007E-2</c:v>
                </c:pt>
                <c:pt idx="47">
                  <c:v>0.04</c:v>
                </c:pt>
                <c:pt idx="48">
                  <c:v>0.26</c:v>
                </c:pt>
                <c:pt idx="49">
                  <c:v>0.05</c:v>
                </c:pt>
                <c:pt idx="50">
                  <c:v>0.02</c:v>
                </c:pt>
                <c:pt idx="51">
                  <c:v>0.05</c:v>
                </c:pt>
                <c:pt idx="52">
                  <c:v>0.03</c:v>
                </c:pt>
                <c:pt idx="53">
                  <c:v>0.02</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7ECAC4"/>
              </a:solidFill>
            </c:spPr>
            <c:extLst>
              <c:ext xmlns:c16="http://schemas.microsoft.com/office/drawing/2014/chart" uri="{C3380CC4-5D6E-409C-BE32-E72D297353CC}">
                <c16:uniqueId val="{00000055-2993-41DE-A2CB-63102DE87051}"/>
              </c:ext>
            </c:extLst>
          </c:dPt>
          <c:dPt>
            <c:idx val="15"/>
            <c:invertIfNegative val="1"/>
            <c:bubble3D val="0"/>
            <c:spPr>
              <a:solidFill>
                <a:srgbClr val="7ECAC4"/>
              </a:solidFill>
            </c:spPr>
            <c:extLst>
              <c:ext xmlns:c16="http://schemas.microsoft.com/office/drawing/2014/chart" uri="{C3380CC4-5D6E-409C-BE32-E72D297353CC}">
                <c16:uniqueId val="{00000057-2993-41DE-A2CB-63102DE87051}"/>
              </c:ext>
            </c:extLst>
          </c:dPt>
          <c:dPt>
            <c:idx val="16"/>
            <c:invertIfNegative val="1"/>
            <c:bubble3D val="0"/>
            <c:spPr>
              <a:solidFill>
                <a:srgbClr val="7ECAC4"/>
              </a:solidFill>
            </c:spPr>
            <c:extLst>
              <c:ext xmlns:c16="http://schemas.microsoft.com/office/drawing/2014/chart" uri="{C3380CC4-5D6E-409C-BE32-E72D297353CC}">
                <c16:uniqueId val="{00000059-2993-41DE-A2CB-63102DE87051}"/>
              </c:ext>
            </c:extLst>
          </c:dPt>
          <c:dPt>
            <c:idx val="17"/>
            <c:invertIfNegative val="1"/>
            <c:bubble3D val="0"/>
            <c:spPr>
              <a:solidFill>
                <a:srgbClr val="7ECAC4"/>
              </a:solidFill>
            </c:spPr>
            <c:extLst>
              <c:ext xmlns:c16="http://schemas.microsoft.com/office/drawing/2014/chart" uri="{C3380CC4-5D6E-409C-BE32-E72D297353CC}">
                <c16:uniqueId val="{0000005B-2993-41DE-A2CB-63102DE87051}"/>
              </c:ext>
            </c:extLst>
          </c:dPt>
          <c:dPt>
            <c:idx val="18"/>
            <c:invertIfNegative val="1"/>
            <c:bubble3D val="0"/>
            <c:spPr>
              <a:solidFill>
                <a:srgbClr val="7ECAC4"/>
              </a:solidFill>
            </c:spPr>
            <c:extLst>
              <c:ext xmlns:c16="http://schemas.microsoft.com/office/drawing/2014/chart" uri="{C3380CC4-5D6E-409C-BE32-E72D297353CC}">
                <c16:uniqueId val="{0000005D-2993-41DE-A2CB-63102DE87051}"/>
              </c:ext>
            </c:extLst>
          </c:dPt>
          <c:dPt>
            <c:idx val="19"/>
            <c:invertIfNegative val="1"/>
            <c:bubble3D val="0"/>
            <c:spPr>
              <a:solidFill>
                <a:srgbClr val="7ECAC4"/>
              </a:solidFill>
            </c:spPr>
            <c:extLst>
              <c:ext xmlns:c16="http://schemas.microsoft.com/office/drawing/2014/chart" uri="{C3380CC4-5D6E-409C-BE32-E72D297353CC}">
                <c16:uniqueId val="{0000005F-2993-41DE-A2CB-63102DE87051}"/>
              </c:ext>
            </c:extLst>
          </c:dPt>
          <c:dPt>
            <c:idx val="20"/>
            <c:invertIfNegative val="1"/>
            <c:bubble3D val="0"/>
            <c:spPr>
              <a:solidFill>
                <a:srgbClr val="7ECAC4"/>
              </a:solidFill>
            </c:spPr>
            <c:extLst>
              <c:ext xmlns:c16="http://schemas.microsoft.com/office/drawing/2014/chart" uri="{C3380CC4-5D6E-409C-BE32-E72D297353CC}">
                <c16:uniqueId val="{00000061-2993-41DE-A2CB-63102DE87051}"/>
              </c:ext>
            </c:extLst>
          </c:dPt>
          <c:dPt>
            <c:idx val="21"/>
            <c:invertIfNegative val="1"/>
            <c:bubble3D val="0"/>
            <c:spPr>
              <a:solidFill>
                <a:srgbClr val="7ECAC4"/>
              </a:solidFill>
            </c:spPr>
            <c:extLst>
              <c:ext xmlns:c16="http://schemas.microsoft.com/office/drawing/2014/chart" uri="{C3380CC4-5D6E-409C-BE32-E72D297353CC}">
                <c16:uniqueId val="{00000063-2993-41DE-A2CB-63102DE87051}"/>
              </c:ext>
            </c:extLst>
          </c:dPt>
          <c:dPt>
            <c:idx val="22"/>
            <c:invertIfNegative val="1"/>
            <c:bubble3D val="0"/>
            <c:spPr>
              <a:solidFill>
                <a:srgbClr val="7ECAC4"/>
              </a:solidFill>
            </c:spPr>
            <c:extLst>
              <c:ext xmlns:c16="http://schemas.microsoft.com/office/drawing/2014/chart" uri="{C3380CC4-5D6E-409C-BE32-E72D297353CC}">
                <c16:uniqueId val="{00000065-2993-41DE-A2CB-63102DE87051}"/>
              </c:ext>
            </c:extLst>
          </c:dPt>
          <c:dPt>
            <c:idx val="23"/>
            <c:invertIfNegative val="1"/>
            <c:bubble3D val="0"/>
            <c:spPr>
              <a:solidFill>
                <a:srgbClr val="7ECAC4"/>
              </a:solidFill>
            </c:spPr>
            <c:extLst>
              <c:ext xmlns:c16="http://schemas.microsoft.com/office/drawing/2014/chart" uri="{C3380CC4-5D6E-409C-BE32-E72D297353CC}">
                <c16:uniqueId val="{00000067-2993-41DE-A2CB-63102DE87051}"/>
              </c:ext>
            </c:extLst>
          </c:dPt>
          <c:dPt>
            <c:idx val="24"/>
            <c:invertIfNegative val="1"/>
            <c:bubble3D val="0"/>
            <c:spPr>
              <a:solidFill>
                <a:srgbClr val="AEABAB"/>
              </a:solidFill>
            </c:spPr>
            <c:extLst>
              <c:ext xmlns:c16="http://schemas.microsoft.com/office/drawing/2014/chart" uri="{C3380CC4-5D6E-409C-BE32-E72D297353CC}">
                <c16:uniqueId val="{00000069-2993-41DE-A2CB-63102DE87051}"/>
              </c:ext>
            </c:extLst>
          </c:dPt>
          <c:dPt>
            <c:idx val="25"/>
            <c:invertIfNegative val="1"/>
            <c:bubble3D val="0"/>
            <c:spPr>
              <a:solidFill>
                <a:srgbClr val="AEABAB"/>
              </a:solidFill>
            </c:spPr>
            <c:extLst>
              <c:ext xmlns:c16="http://schemas.microsoft.com/office/drawing/2014/chart" uri="{C3380CC4-5D6E-409C-BE32-E72D297353CC}">
                <c16:uniqueId val="{0000006B-2993-41DE-A2CB-63102DE87051}"/>
              </c:ext>
            </c:extLst>
          </c:dPt>
          <c:dPt>
            <c:idx val="26"/>
            <c:invertIfNegative val="1"/>
            <c:bubble3D val="0"/>
            <c:spPr>
              <a:solidFill>
                <a:srgbClr val="AEABAB"/>
              </a:solidFill>
            </c:spPr>
            <c:extLst>
              <c:ext xmlns:c16="http://schemas.microsoft.com/office/drawing/2014/chart" uri="{C3380CC4-5D6E-409C-BE32-E72D297353CC}">
                <c16:uniqueId val="{0000006D-2993-41DE-A2CB-63102DE87051}"/>
              </c:ext>
            </c:extLst>
          </c:dPt>
          <c:dPt>
            <c:idx val="27"/>
            <c:invertIfNegative val="1"/>
            <c:bubble3D val="0"/>
            <c:spPr>
              <a:solidFill>
                <a:srgbClr val="AEABAB"/>
              </a:solidFill>
            </c:spPr>
            <c:extLst>
              <c:ext xmlns:c16="http://schemas.microsoft.com/office/drawing/2014/chart" uri="{C3380CC4-5D6E-409C-BE32-E72D297353CC}">
                <c16:uniqueId val="{0000006F-2993-41DE-A2CB-63102DE87051}"/>
              </c:ext>
            </c:extLst>
          </c:dPt>
          <c:dPt>
            <c:idx val="28"/>
            <c:invertIfNegative val="1"/>
            <c:bubble3D val="0"/>
            <c:spPr>
              <a:solidFill>
                <a:srgbClr val="AEABAB"/>
              </a:solidFill>
            </c:spPr>
            <c:extLst>
              <c:ext xmlns:c16="http://schemas.microsoft.com/office/drawing/2014/chart" uri="{C3380CC4-5D6E-409C-BE32-E72D297353CC}">
                <c16:uniqueId val="{00000071-2993-41DE-A2CB-63102DE87051}"/>
              </c:ext>
            </c:extLst>
          </c:dPt>
          <c:dPt>
            <c:idx val="29"/>
            <c:invertIfNegative val="1"/>
            <c:bubble3D val="0"/>
            <c:spPr>
              <a:solidFill>
                <a:srgbClr val="AEABAB"/>
              </a:solidFill>
            </c:spPr>
            <c:extLst>
              <c:ext xmlns:c16="http://schemas.microsoft.com/office/drawing/2014/chart" uri="{C3380CC4-5D6E-409C-BE32-E72D297353CC}">
                <c16:uniqueId val="{00000073-2993-41DE-A2CB-63102DE87051}"/>
              </c:ext>
            </c:extLst>
          </c:dPt>
          <c:dPt>
            <c:idx val="30"/>
            <c:invertIfNegative val="1"/>
            <c:bubble3D val="0"/>
            <c:spPr>
              <a:solidFill>
                <a:srgbClr val="AEABAB"/>
              </a:solidFill>
            </c:spPr>
            <c:extLst>
              <c:ext xmlns:c16="http://schemas.microsoft.com/office/drawing/2014/chart" uri="{C3380CC4-5D6E-409C-BE32-E72D297353CC}">
                <c16:uniqueId val="{00000075-2993-41DE-A2CB-63102DE87051}"/>
              </c:ext>
            </c:extLst>
          </c:dPt>
          <c:dPt>
            <c:idx val="31"/>
            <c:invertIfNegative val="1"/>
            <c:bubble3D val="0"/>
            <c:spPr>
              <a:solidFill>
                <a:srgbClr val="AEABAB"/>
              </a:solidFill>
            </c:spPr>
            <c:extLst>
              <c:ext xmlns:c16="http://schemas.microsoft.com/office/drawing/2014/chart" uri="{C3380CC4-5D6E-409C-BE32-E72D297353CC}">
                <c16:uniqueId val="{00000077-2993-41DE-A2CB-63102DE87051}"/>
              </c:ext>
            </c:extLst>
          </c:dPt>
          <c:dPt>
            <c:idx val="32"/>
            <c:invertIfNegative val="1"/>
            <c:bubble3D val="0"/>
            <c:spPr>
              <a:solidFill>
                <a:srgbClr val="AEABAB"/>
              </a:solidFill>
            </c:spPr>
            <c:extLst>
              <c:ext xmlns:c16="http://schemas.microsoft.com/office/drawing/2014/chart" uri="{C3380CC4-5D6E-409C-BE32-E72D297353CC}">
                <c16:uniqueId val="{00000079-2993-41DE-A2CB-63102DE87051}"/>
              </c:ext>
            </c:extLst>
          </c:dPt>
          <c:dPt>
            <c:idx val="33"/>
            <c:invertIfNegative val="1"/>
            <c:bubble3D val="0"/>
            <c:spPr>
              <a:solidFill>
                <a:srgbClr val="AEABAB"/>
              </a:solidFill>
            </c:spPr>
            <c:extLst>
              <c:ext xmlns:c16="http://schemas.microsoft.com/office/drawing/2014/chart" uri="{C3380CC4-5D6E-409C-BE32-E72D297353CC}">
                <c16:uniqueId val="{0000007B-2993-41DE-A2CB-63102DE87051}"/>
              </c:ext>
            </c:extLst>
          </c:dPt>
          <c:dPt>
            <c:idx val="34"/>
            <c:invertIfNegative val="1"/>
            <c:bubble3D val="0"/>
            <c:spPr>
              <a:solidFill>
                <a:srgbClr val="AEABAB"/>
              </a:solidFill>
            </c:spPr>
            <c:extLst>
              <c:ext xmlns:c16="http://schemas.microsoft.com/office/drawing/2014/chart" uri="{C3380CC4-5D6E-409C-BE32-E72D297353CC}">
                <c16:uniqueId val="{0000007D-2993-41DE-A2CB-63102DE87051}"/>
              </c:ext>
            </c:extLst>
          </c:dPt>
          <c:dPt>
            <c:idx val="35"/>
            <c:invertIfNegative val="1"/>
            <c:bubble3D val="0"/>
            <c:spPr>
              <a:solidFill>
                <a:srgbClr val="AEABAB"/>
              </a:solidFill>
            </c:spPr>
            <c:extLst>
              <c:ext xmlns:c16="http://schemas.microsoft.com/office/drawing/2014/chart" uri="{C3380CC4-5D6E-409C-BE32-E72D297353CC}">
                <c16:uniqueId val="{0000007F-2993-41DE-A2CB-63102DE87051}"/>
              </c:ext>
            </c:extLst>
          </c:dPt>
          <c:dPt>
            <c:idx val="36"/>
            <c:invertIfNegative val="1"/>
            <c:bubble3D val="0"/>
            <c:spPr>
              <a:solidFill>
                <a:srgbClr val="AEABAB"/>
              </a:solidFill>
            </c:spPr>
            <c:extLst>
              <c:ext xmlns:c16="http://schemas.microsoft.com/office/drawing/2014/chart" uri="{C3380CC4-5D6E-409C-BE32-E72D297353CC}">
                <c16:uniqueId val="{00000081-2993-41DE-A2CB-63102DE87051}"/>
              </c:ext>
            </c:extLst>
          </c:dPt>
          <c:dPt>
            <c:idx val="37"/>
            <c:invertIfNegative val="1"/>
            <c:bubble3D val="0"/>
            <c:spPr>
              <a:solidFill>
                <a:srgbClr val="AEABAB"/>
              </a:solidFill>
            </c:spPr>
            <c:extLst>
              <c:ext xmlns:c16="http://schemas.microsoft.com/office/drawing/2014/chart" uri="{C3380CC4-5D6E-409C-BE32-E72D297353CC}">
                <c16:uniqueId val="{00000083-2993-41DE-A2CB-63102DE87051}"/>
              </c:ext>
            </c:extLst>
          </c:dPt>
          <c:dPt>
            <c:idx val="38"/>
            <c:invertIfNegative val="1"/>
            <c:bubble3D val="0"/>
            <c:spPr>
              <a:solidFill>
                <a:srgbClr val="AEABAB"/>
              </a:solidFill>
            </c:spPr>
            <c:extLst>
              <c:ext xmlns:c16="http://schemas.microsoft.com/office/drawing/2014/chart" uri="{C3380CC4-5D6E-409C-BE32-E72D297353CC}">
                <c16:uniqueId val="{00000085-2993-41DE-A2CB-63102DE87051}"/>
              </c:ext>
            </c:extLst>
          </c:dPt>
          <c:dPt>
            <c:idx val="39"/>
            <c:invertIfNegative val="1"/>
            <c:bubble3D val="0"/>
            <c:spPr>
              <a:solidFill>
                <a:srgbClr val="AEABAB"/>
              </a:solidFill>
            </c:spPr>
            <c:extLst>
              <c:ext xmlns:c16="http://schemas.microsoft.com/office/drawing/2014/chart" uri="{C3380CC4-5D6E-409C-BE32-E72D297353CC}">
                <c16:uniqueId val="{00000087-2993-41DE-A2CB-63102DE87051}"/>
              </c:ext>
            </c:extLst>
          </c:dPt>
          <c:dPt>
            <c:idx val="40"/>
            <c:invertIfNegative val="1"/>
            <c:bubble3D val="0"/>
            <c:spPr>
              <a:solidFill>
                <a:srgbClr val="AEABAB"/>
              </a:solidFill>
            </c:spPr>
            <c:extLst>
              <c:ext xmlns:c16="http://schemas.microsoft.com/office/drawing/2014/chart" uri="{C3380CC4-5D6E-409C-BE32-E72D297353CC}">
                <c16:uniqueId val="{00000089-2993-41DE-A2CB-63102DE87051}"/>
              </c:ext>
            </c:extLst>
          </c:dPt>
          <c:dPt>
            <c:idx val="41"/>
            <c:invertIfNegative val="1"/>
            <c:bubble3D val="0"/>
            <c:spPr>
              <a:solidFill>
                <a:srgbClr val="AEABAB"/>
              </a:solidFill>
            </c:spPr>
            <c:extLst>
              <c:ext xmlns:c16="http://schemas.microsoft.com/office/drawing/2014/chart" uri="{C3380CC4-5D6E-409C-BE32-E72D297353CC}">
                <c16:uniqueId val="{0000008B-2993-41DE-A2CB-63102DE87051}"/>
              </c:ext>
            </c:extLst>
          </c:dPt>
          <c:dPt>
            <c:idx val="42"/>
            <c:invertIfNegative val="1"/>
            <c:bubble3D val="0"/>
            <c:spPr>
              <a:solidFill>
                <a:srgbClr val="AEABAB"/>
              </a:solidFill>
            </c:spPr>
            <c:extLst>
              <c:ext xmlns:c16="http://schemas.microsoft.com/office/drawing/2014/chart" uri="{C3380CC4-5D6E-409C-BE32-E72D297353CC}">
                <c16:uniqueId val="{0000008D-2993-41DE-A2CB-63102DE87051}"/>
              </c:ext>
            </c:extLst>
          </c:dPt>
          <c:dPt>
            <c:idx val="43"/>
            <c:invertIfNegative val="1"/>
            <c:bubble3D val="0"/>
            <c:spPr>
              <a:solidFill>
                <a:srgbClr val="AEABAB"/>
              </a:solidFill>
            </c:spPr>
            <c:extLst>
              <c:ext xmlns:c16="http://schemas.microsoft.com/office/drawing/2014/chart" uri="{C3380CC4-5D6E-409C-BE32-E72D297353CC}">
                <c16:uniqueId val="{0000008F-2993-41DE-A2CB-63102DE87051}"/>
              </c:ext>
            </c:extLst>
          </c:dPt>
          <c:dPt>
            <c:idx val="44"/>
            <c:invertIfNegative val="1"/>
            <c:bubble3D val="0"/>
            <c:spPr>
              <a:solidFill>
                <a:srgbClr val="AEABAB"/>
              </a:solidFill>
            </c:spPr>
            <c:extLst>
              <c:ext xmlns:c16="http://schemas.microsoft.com/office/drawing/2014/chart" uri="{C3380CC4-5D6E-409C-BE32-E72D297353CC}">
                <c16:uniqueId val="{00000091-2993-41DE-A2CB-63102DE87051}"/>
              </c:ext>
            </c:extLst>
          </c:dPt>
          <c:dPt>
            <c:idx val="45"/>
            <c:invertIfNegative val="1"/>
            <c:bubble3D val="0"/>
            <c:spPr>
              <a:solidFill>
                <a:srgbClr val="AEABAB"/>
              </a:solidFill>
            </c:spPr>
            <c:extLst>
              <c:ext xmlns:c16="http://schemas.microsoft.com/office/drawing/2014/chart" uri="{C3380CC4-5D6E-409C-BE32-E72D297353CC}">
                <c16:uniqueId val="{00000093-2993-41DE-A2CB-63102DE87051}"/>
              </c:ext>
            </c:extLst>
          </c:dPt>
          <c:dPt>
            <c:idx val="46"/>
            <c:invertIfNegative val="1"/>
            <c:bubble3D val="0"/>
            <c:spPr>
              <a:solidFill>
                <a:srgbClr val="AEABAB"/>
              </a:solidFill>
            </c:spPr>
            <c:extLst>
              <c:ext xmlns:c16="http://schemas.microsoft.com/office/drawing/2014/chart" uri="{C3380CC4-5D6E-409C-BE32-E72D297353CC}">
                <c16:uniqueId val="{00000095-2993-41DE-A2CB-63102DE87051}"/>
              </c:ext>
            </c:extLst>
          </c:dPt>
          <c:dPt>
            <c:idx val="47"/>
            <c:invertIfNegative val="1"/>
            <c:bubble3D val="0"/>
            <c:spPr>
              <a:solidFill>
                <a:srgbClr val="AEABAB"/>
              </a:solidFill>
            </c:spPr>
            <c:extLst>
              <c:ext xmlns:c16="http://schemas.microsoft.com/office/drawing/2014/chart" uri="{C3380CC4-5D6E-409C-BE32-E72D297353CC}">
                <c16:uniqueId val="{00000097-2993-41DE-A2CB-63102DE87051}"/>
              </c:ext>
            </c:extLst>
          </c:dPt>
          <c:dPt>
            <c:idx val="48"/>
            <c:invertIfNegative val="1"/>
            <c:bubble3D val="0"/>
            <c:spPr>
              <a:solidFill>
                <a:srgbClr val="AEABAB"/>
              </a:solidFill>
            </c:spPr>
            <c:extLst>
              <c:ext xmlns:c16="http://schemas.microsoft.com/office/drawing/2014/chart" uri="{C3380CC4-5D6E-409C-BE32-E72D297353CC}">
                <c16:uniqueId val="{00000099-2993-41DE-A2CB-63102DE87051}"/>
              </c:ext>
            </c:extLst>
          </c:dPt>
          <c:dPt>
            <c:idx val="49"/>
            <c:invertIfNegative val="1"/>
            <c:bubble3D val="0"/>
            <c:spPr>
              <a:solidFill>
                <a:srgbClr val="AEABAB"/>
              </a:solidFill>
            </c:spPr>
            <c:extLst>
              <c:ext xmlns:c16="http://schemas.microsoft.com/office/drawing/2014/chart" uri="{C3380CC4-5D6E-409C-BE32-E72D297353CC}">
                <c16:uniqueId val="{0000009B-2993-41DE-A2CB-63102DE87051}"/>
              </c:ext>
            </c:extLst>
          </c:dPt>
          <c:dPt>
            <c:idx val="50"/>
            <c:invertIfNegative val="1"/>
            <c:bubble3D val="0"/>
            <c:spPr>
              <a:solidFill>
                <a:srgbClr val="AEABAB"/>
              </a:solidFill>
            </c:spPr>
            <c:extLst>
              <c:ext xmlns:c16="http://schemas.microsoft.com/office/drawing/2014/chart" uri="{C3380CC4-5D6E-409C-BE32-E72D297353CC}">
                <c16:uniqueId val="{0000009D-2993-41DE-A2CB-63102DE87051}"/>
              </c:ext>
            </c:extLst>
          </c:dPt>
          <c:dPt>
            <c:idx val="51"/>
            <c:invertIfNegative val="1"/>
            <c:bubble3D val="0"/>
            <c:spPr>
              <a:solidFill>
                <a:srgbClr val="AEABAB"/>
              </a:solidFill>
            </c:spPr>
            <c:extLst>
              <c:ext xmlns:c16="http://schemas.microsoft.com/office/drawing/2014/chart" uri="{C3380CC4-5D6E-409C-BE32-E72D297353CC}">
                <c16:uniqueId val="{0000009F-2993-41DE-A2CB-63102DE87051}"/>
              </c:ext>
            </c:extLst>
          </c:dPt>
          <c:dPt>
            <c:idx val="52"/>
            <c:invertIfNegative val="1"/>
            <c:bubble3D val="0"/>
            <c:spPr>
              <a:solidFill>
                <a:srgbClr val="AEABAB"/>
              </a:solidFill>
            </c:spPr>
            <c:extLst>
              <c:ext xmlns:c16="http://schemas.microsoft.com/office/drawing/2014/chart" uri="{C3380CC4-5D6E-409C-BE32-E72D297353CC}">
                <c16:uniqueId val="{000000A1-2993-41DE-A2CB-63102DE87051}"/>
              </c:ext>
            </c:extLst>
          </c:dPt>
          <c:dPt>
            <c:idx val="53"/>
            <c:invertIfNegative val="1"/>
            <c:bubble3D val="0"/>
            <c:spPr>
              <a:solidFill>
                <a:srgbClr val="AEABAB"/>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55</c:f>
              <c:strCache>
                <c:ptCount val="54"/>
                <c:pt idx="0">
                  <c:v>All Others</c:v>
                </c:pt>
                <c:pt idx="1">
                  <c:v>Bottega</c:v>
                </c:pt>
                <c:pt idx="2">
                  <c:v>Bouvet-Ladu</c:v>
                </c:pt>
                <c:pt idx="3">
                  <c:v>Mure</c:v>
                </c:pt>
                <c:pt idx="4">
                  <c:v>Patriarche</c:v>
                </c:pt>
                <c:pt idx="5">
                  <c:v>Kriter</c:v>
                </c:pt>
                <c:pt idx="6">
                  <c:v>All Others</c:v>
                </c:pt>
                <c:pt idx="7">
                  <c:v>French Bloo</c:v>
                </c:pt>
                <c:pt idx="8">
                  <c:v>Patriarche</c:v>
                </c:pt>
                <c:pt idx="9">
                  <c:v>Savian</c:v>
                </c:pt>
                <c:pt idx="10">
                  <c:v>All Others</c:v>
                </c:pt>
                <c:pt idx="11">
                  <c:v>All Others</c:v>
                </c:pt>
                <c:pt idx="12">
                  <c:v>All Others</c:v>
                </c:pt>
                <c:pt idx="13">
                  <c:v>Bottega</c:v>
                </c:pt>
                <c:pt idx="14">
                  <c:v>Cru La Maqu</c:v>
                </c:pt>
                <c:pt idx="15">
                  <c:v>De Chanceny</c:v>
                </c:pt>
                <c:pt idx="16">
                  <c:v>Contarini</c:v>
                </c:pt>
                <c:pt idx="17">
                  <c:v>All Others</c:v>
                </c:pt>
                <c:pt idx="18">
                  <c:v>All Others</c:v>
                </c:pt>
                <c:pt idx="19">
                  <c:v>All Others</c:v>
                </c:pt>
                <c:pt idx="20">
                  <c:v>All Others</c:v>
                </c:pt>
                <c:pt idx="21">
                  <c:v>All Others</c:v>
                </c:pt>
                <c:pt idx="22">
                  <c:v>All Others</c:v>
                </c:pt>
                <c:pt idx="23">
                  <c:v>All Others</c:v>
                </c:pt>
                <c:pt idx="24">
                  <c:v>All Others</c:v>
                </c:pt>
                <c:pt idx="25">
                  <c:v>All Others</c:v>
                </c:pt>
                <c:pt idx="26">
                  <c:v>All Others</c:v>
                </c:pt>
                <c:pt idx="27">
                  <c:v>All Others</c:v>
                </c:pt>
                <c:pt idx="28">
                  <c:v>All Others</c:v>
                </c:pt>
                <c:pt idx="29">
                  <c:v>All Others</c:v>
                </c:pt>
                <c:pt idx="30">
                  <c:v>All Others</c:v>
                </c:pt>
                <c:pt idx="31">
                  <c:v>All Others</c:v>
                </c:pt>
                <c:pt idx="32">
                  <c:v>All Others</c:v>
                </c:pt>
                <c:pt idx="33">
                  <c:v>Bouvet-Ladu</c:v>
                </c:pt>
                <c:pt idx="34">
                  <c:v>Contarini</c:v>
                </c:pt>
                <c:pt idx="35">
                  <c:v>All Others</c:v>
                </c:pt>
                <c:pt idx="36">
                  <c:v>Celene</c:v>
                </c:pt>
                <c:pt idx="37">
                  <c:v>All Others</c:v>
                </c:pt>
                <c:pt idx="38">
                  <c:v>Celene</c:v>
                </c:pt>
                <c:pt idx="39">
                  <c:v>Bouvet-Ladu</c:v>
                </c:pt>
                <c:pt idx="40">
                  <c:v>All Others</c:v>
                </c:pt>
                <c:pt idx="41">
                  <c:v>Bottega</c:v>
                </c:pt>
                <c:pt idx="42">
                  <c:v>Jaillance</c:v>
                </c:pt>
                <c:pt idx="43">
                  <c:v>All Others</c:v>
                </c:pt>
                <c:pt idx="44">
                  <c:v>Bouvet-Ladu</c:v>
                </c:pt>
                <c:pt idx="45">
                  <c:v>Bouvet-Ladu</c:v>
                </c:pt>
                <c:pt idx="46">
                  <c:v>All Others</c:v>
                </c:pt>
                <c:pt idx="47">
                  <c:v>Bottega</c:v>
                </c:pt>
                <c:pt idx="48">
                  <c:v>All Others</c:v>
                </c:pt>
                <c:pt idx="49">
                  <c:v>All Others</c:v>
                </c:pt>
                <c:pt idx="50">
                  <c:v>Contarini</c:v>
                </c:pt>
                <c:pt idx="51">
                  <c:v>Mure</c:v>
                </c:pt>
                <c:pt idx="52">
                  <c:v>All Others</c:v>
                </c:pt>
                <c:pt idx="53">
                  <c:v>All Others</c:v>
                </c:pt>
              </c:strCache>
            </c:strRef>
          </c:cat>
          <c:val>
            <c:numRef>
              <c:f>Sheet1!$C$2:$C$55</c:f>
              <c:numCache>
                <c:formatCode>General</c:formatCode>
                <c:ptCount val="54"/>
                <c:pt idx="0">
                  <c:v>0.15852146830500333</c:v>
                </c:pt>
                <c:pt idx="1">
                  <c:v>0.2411484884639819</c:v>
                </c:pt>
                <c:pt idx="2">
                  <c:v>0.32022715651486744</c:v>
                </c:pt>
                <c:pt idx="3">
                  <c:v>0.39460309589847686</c:v>
                </c:pt>
                <c:pt idx="4">
                  <c:v>0.46458620636224185</c:v>
                </c:pt>
                <c:pt idx="5">
                  <c:v>0.52783674481305298</c:v>
                </c:pt>
                <c:pt idx="6">
                  <c:v>0.58567953267118089</c:v>
                </c:pt>
                <c:pt idx="7">
                  <c:v>0.63121930055627007</c:v>
                </c:pt>
                <c:pt idx="8">
                  <c:v>0.67636394626338381</c:v>
                </c:pt>
                <c:pt idx="9">
                  <c:v>0.71940127368796192</c:v>
                </c:pt>
                <c:pt idx="10">
                  <c:v>0.75202596959883472</c:v>
                </c:pt>
                <c:pt idx="11">
                  <c:v>0.77226242310612514</c:v>
                </c:pt>
                <c:pt idx="12">
                  <c:v>0.79173187473852202</c:v>
                </c:pt>
                <c:pt idx="13">
                  <c:v>0.81009343477385065</c:v>
                </c:pt>
                <c:pt idx="14">
                  <c:v>0.82713792088259452</c:v>
                </c:pt>
                <c:pt idx="15">
                  <c:v>0.84360134496490391</c:v>
                </c:pt>
                <c:pt idx="16">
                  <c:v>0.85933650464074873</c:v>
                </c:pt>
                <c:pt idx="17">
                  <c:v>0.87501743186079306</c:v>
                </c:pt>
                <c:pt idx="18">
                  <c:v>0.88997784216805864</c:v>
                </c:pt>
                <c:pt idx="19">
                  <c:v>0.90386909834668483</c:v>
                </c:pt>
                <c:pt idx="20">
                  <c:v>0.91559880378697489</c:v>
                </c:pt>
                <c:pt idx="21">
                  <c:v>0.92701860947983328</c:v>
                </c:pt>
                <c:pt idx="22">
                  <c:v>0.93683468397973257</c:v>
                </c:pt>
                <c:pt idx="23">
                  <c:v>0.94628662627639959</c:v>
                </c:pt>
                <c:pt idx="24">
                  <c:v>0.95289523839038071</c:v>
                </c:pt>
                <c:pt idx="25">
                  <c:v>0.9583107364767498</c:v>
                </c:pt>
                <c:pt idx="26">
                  <c:v>0.96333111238514346</c:v>
                </c:pt>
                <c:pt idx="27">
                  <c:v>0.96825077087562184</c:v>
                </c:pt>
                <c:pt idx="28">
                  <c:v>0.97204704278166021</c:v>
                </c:pt>
                <c:pt idx="29">
                  <c:v>0.97475866557168767</c:v>
                </c:pt>
                <c:pt idx="30">
                  <c:v>0.97716038861428334</c:v>
                </c:pt>
                <c:pt idx="31">
                  <c:v>0.97956211165687901</c:v>
                </c:pt>
                <c:pt idx="32">
                  <c:v>0.98195608720578897</c:v>
                </c:pt>
                <c:pt idx="33">
                  <c:v>0.98417961789361141</c:v>
                </c:pt>
                <c:pt idx="34">
                  <c:v>0.98600027890977271</c:v>
                </c:pt>
                <c:pt idx="35">
                  <c:v>0.98769698002696127</c:v>
                </c:pt>
                <c:pt idx="36">
                  <c:v>0.98935494367572085</c:v>
                </c:pt>
                <c:pt idx="37">
                  <c:v>0.99078048251390671</c:v>
                </c:pt>
                <c:pt idx="38">
                  <c:v>0.99219052636472094</c:v>
                </c:pt>
                <c:pt idx="39">
                  <c:v>0.99321319553124554</c:v>
                </c:pt>
                <c:pt idx="40">
                  <c:v>0.99416613725459801</c:v>
                </c:pt>
                <c:pt idx="41">
                  <c:v>0.99508808900320733</c:v>
                </c:pt>
                <c:pt idx="42">
                  <c:v>0.99594806080233034</c:v>
                </c:pt>
                <c:pt idx="43">
                  <c:v>0.99679253761408171</c:v>
                </c:pt>
                <c:pt idx="44">
                  <c:v>0.99758278197003258</c:v>
                </c:pt>
                <c:pt idx="45">
                  <c:v>0.99814060151540962</c:v>
                </c:pt>
                <c:pt idx="46">
                  <c:v>0.99868292607341513</c:v>
                </c:pt>
                <c:pt idx="47">
                  <c:v>0.9991477756945627</c:v>
                </c:pt>
                <c:pt idx="48">
                  <c:v>0.99937245301145072</c:v>
                </c:pt>
                <c:pt idx="49">
                  <c:v>0.99957388784728129</c:v>
                </c:pt>
                <c:pt idx="50">
                  <c:v>0.99971334273362555</c:v>
                </c:pt>
                <c:pt idx="51">
                  <c:v>0.99982955513891247</c:v>
                </c:pt>
                <c:pt idx="52">
                  <c:v>0.99993027255682776</c:v>
                </c:pt>
                <c:pt idx="53">
                  <c:v>0.99999999999999989</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51</c:f>
              <c:strCache>
                <c:ptCount val="50"/>
                <c:pt idx="0">
                  <c:v>All Others</c:v>
                </c:pt>
                <c:pt idx="1">
                  <c:v>Mure</c:v>
                </c:pt>
                <c:pt idx="2">
                  <c:v>All Others</c:v>
                </c:pt>
                <c:pt idx="3">
                  <c:v>All Others</c:v>
                </c:pt>
                <c:pt idx="4">
                  <c:v>Mure</c:v>
                </c:pt>
                <c:pt idx="5">
                  <c:v>All Others</c:v>
                </c:pt>
                <c:pt idx="6">
                  <c:v>All Others</c:v>
                </c:pt>
                <c:pt idx="7">
                  <c:v>All Others</c:v>
                </c:pt>
                <c:pt idx="8">
                  <c:v>Mure</c:v>
                </c:pt>
                <c:pt idx="9">
                  <c:v>All Others</c:v>
                </c:pt>
                <c:pt idx="10">
                  <c:v>Savian</c:v>
                </c:pt>
                <c:pt idx="11">
                  <c:v>Patriarche</c:v>
                </c:pt>
                <c:pt idx="12">
                  <c:v>Bottega</c:v>
                </c:pt>
                <c:pt idx="13">
                  <c:v>French Bloo</c:v>
                </c:pt>
                <c:pt idx="14">
                  <c:v>Kriter</c:v>
                </c:pt>
                <c:pt idx="15">
                  <c:v>All Others</c:v>
                </c:pt>
                <c:pt idx="16">
                  <c:v>All Others</c:v>
                </c:pt>
                <c:pt idx="17">
                  <c:v>Bouvet-Ladu</c:v>
                </c:pt>
                <c:pt idx="18">
                  <c:v>De Chanceny</c:v>
                </c:pt>
                <c:pt idx="19">
                  <c:v>Contarini</c:v>
                </c:pt>
                <c:pt idx="20">
                  <c:v>Cru La Maqu</c:v>
                </c:pt>
                <c:pt idx="21">
                  <c:v>Patriarche</c:v>
                </c:pt>
                <c:pt idx="22">
                  <c:v>All Others</c:v>
                </c:pt>
                <c:pt idx="23">
                  <c:v>Bottega</c:v>
                </c:pt>
                <c:pt idx="24">
                  <c:v>All Others</c:v>
                </c:pt>
                <c:pt idx="25">
                  <c:v>All Others</c:v>
                </c:pt>
                <c:pt idx="26">
                  <c:v>All Others</c:v>
                </c:pt>
                <c:pt idx="27">
                  <c:v>All Others</c:v>
                </c:pt>
                <c:pt idx="28">
                  <c:v>All Others</c:v>
                </c:pt>
                <c:pt idx="29">
                  <c:v>Contarini</c:v>
                </c:pt>
                <c:pt idx="30">
                  <c:v>Celene</c:v>
                </c:pt>
                <c:pt idx="31">
                  <c:v>All Others</c:v>
                </c:pt>
                <c:pt idx="32">
                  <c:v>Celene</c:v>
                </c:pt>
                <c:pt idx="33">
                  <c:v>All Others</c:v>
                </c:pt>
                <c:pt idx="34">
                  <c:v>Bouvet-Ladu</c:v>
                </c:pt>
                <c:pt idx="35">
                  <c:v>All Others</c:v>
                </c:pt>
                <c:pt idx="36">
                  <c:v>Bouvet-Ladu</c:v>
                </c:pt>
                <c:pt idx="37">
                  <c:v>All Others</c:v>
                </c:pt>
                <c:pt idx="38">
                  <c:v>All Others</c:v>
                </c:pt>
                <c:pt idx="39">
                  <c:v>Jaillance</c:v>
                </c:pt>
                <c:pt idx="40">
                  <c:v>Bouvet-Ladu</c:v>
                </c:pt>
                <c:pt idx="41">
                  <c:v>All Others</c:v>
                </c:pt>
                <c:pt idx="42">
                  <c:v>All Others</c:v>
                </c:pt>
                <c:pt idx="43">
                  <c:v>All Others</c:v>
                </c:pt>
                <c:pt idx="44">
                  <c:v>Bouvet-Ladu</c:v>
                </c:pt>
                <c:pt idx="45">
                  <c:v>All Others</c:v>
                </c:pt>
                <c:pt idx="46">
                  <c:v>All Others</c:v>
                </c:pt>
                <c:pt idx="47">
                  <c:v>All Others</c:v>
                </c:pt>
                <c:pt idx="48">
                  <c:v>All Others</c:v>
                </c:pt>
                <c:pt idx="49">
                  <c:v>All Others</c:v>
                </c:pt>
              </c:strCache>
            </c:strRef>
          </c:cat>
          <c:val>
            <c:numRef>
              <c:f>Sheet1!$B$2:$B$51</c:f>
              <c:numCache>
                <c:formatCode>General</c:formatCode>
                <c:ptCount val="50"/>
                <c:pt idx="0">
                  <c:v>0.72</c:v>
                </c:pt>
                <c:pt idx="1">
                  <c:v>0.81</c:v>
                </c:pt>
                <c:pt idx="2">
                  <c:v>0.54</c:v>
                </c:pt>
                <c:pt idx="3">
                  <c:v>0.45</c:v>
                </c:pt>
                <c:pt idx="4">
                  <c:v>0.5</c:v>
                </c:pt>
                <c:pt idx="5">
                  <c:v>0.47</c:v>
                </c:pt>
                <c:pt idx="6">
                  <c:v>0.37</c:v>
                </c:pt>
                <c:pt idx="7">
                  <c:v>0.91</c:v>
                </c:pt>
                <c:pt idx="8">
                  <c:v>0.48</c:v>
                </c:pt>
                <c:pt idx="9">
                  <c:v>0.31</c:v>
                </c:pt>
                <c:pt idx="10">
                  <c:v>0.75</c:v>
                </c:pt>
                <c:pt idx="11">
                  <c:v>0.55000000000000004</c:v>
                </c:pt>
                <c:pt idx="12">
                  <c:v>0.56000000000000005</c:v>
                </c:pt>
                <c:pt idx="13">
                  <c:v>0.59</c:v>
                </c:pt>
                <c:pt idx="14">
                  <c:v>0.38</c:v>
                </c:pt>
                <c:pt idx="15">
                  <c:v>0.56999999999999995</c:v>
                </c:pt>
                <c:pt idx="16">
                  <c:v>0.46</c:v>
                </c:pt>
                <c:pt idx="17">
                  <c:v>0.43</c:v>
                </c:pt>
                <c:pt idx="18">
                  <c:v>0.47</c:v>
                </c:pt>
                <c:pt idx="19">
                  <c:v>0.77</c:v>
                </c:pt>
                <c:pt idx="20">
                  <c:v>0.42</c:v>
                </c:pt>
                <c:pt idx="21">
                  <c:v>0.42</c:v>
                </c:pt>
                <c:pt idx="22">
                  <c:v>0.17</c:v>
                </c:pt>
                <c:pt idx="23">
                  <c:v>0.42</c:v>
                </c:pt>
                <c:pt idx="24">
                  <c:v>0.3</c:v>
                </c:pt>
                <c:pt idx="25">
                  <c:v>0.39</c:v>
                </c:pt>
                <c:pt idx="26">
                  <c:v>0.36</c:v>
                </c:pt>
                <c:pt idx="27">
                  <c:v>0.33</c:v>
                </c:pt>
                <c:pt idx="28">
                  <c:v>0.13</c:v>
                </c:pt>
                <c:pt idx="29">
                  <c:v>0.21</c:v>
                </c:pt>
                <c:pt idx="30">
                  <c:v>0.12</c:v>
                </c:pt>
                <c:pt idx="31">
                  <c:v>0.13</c:v>
                </c:pt>
                <c:pt idx="32">
                  <c:v>0.16</c:v>
                </c:pt>
                <c:pt idx="33">
                  <c:v>0.24</c:v>
                </c:pt>
                <c:pt idx="34">
                  <c:v>0.08</c:v>
                </c:pt>
                <c:pt idx="35">
                  <c:v>0.28000000000000003</c:v>
                </c:pt>
                <c:pt idx="36">
                  <c:v>0.25</c:v>
                </c:pt>
                <c:pt idx="37">
                  <c:v>0.1</c:v>
                </c:pt>
                <c:pt idx="38">
                  <c:v>0.13</c:v>
                </c:pt>
                <c:pt idx="39">
                  <c:v>0.05</c:v>
                </c:pt>
                <c:pt idx="40">
                  <c:v>0.04</c:v>
                </c:pt>
                <c:pt idx="41">
                  <c:v>0.04</c:v>
                </c:pt>
                <c:pt idx="42">
                  <c:v>0.28000000000000003</c:v>
                </c:pt>
                <c:pt idx="43">
                  <c:v>0.13</c:v>
                </c:pt>
                <c:pt idx="44">
                  <c:v>7.0000000000000007E-2</c:v>
                </c:pt>
                <c:pt idx="45">
                  <c:v>0.09</c:v>
                </c:pt>
                <c:pt idx="46">
                  <c:v>0.03</c:v>
                </c:pt>
                <c:pt idx="47">
                  <c:v>0.02</c:v>
                </c:pt>
                <c:pt idx="48">
                  <c:v>0.04</c:v>
                </c:pt>
                <c:pt idx="49">
                  <c:v>0.04</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7ECAC4"/>
              </a:solidFill>
            </c:spPr>
            <c:extLst>
              <c:ext xmlns:c16="http://schemas.microsoft.com/office/drawing/2014/chart" uri="{C3380CC4-5D6E-409C-BE32-E72D297353CC}">
                <c16:uniqueId val="{00000049-2993-41DE-A2CB-63102DE87051}"/>
              </c:ext>
            </c:extLst>
          </c:dPt>
          <c:dPt>
            <c:idx val="9"/>
            <c:invertIfNegative val="1"/>
            <c:bubble3D val="0"/>
            <c:spPr>
              <a:solidFill>
                <a:srgbClr val="7ECAC4"/>
              </a:solidFill>
            </c:spPr>
            <c:extLst>
              <c:ext xmlns:c16="http://schemas.microsoft.com/office/drawing/2014/chart" uri="{C3380CC4-5D6E-409C-BE32-E72D297353CC}">
                <c16:uniqueId val="{0000004B-2993-41DE-A2CB-63102DE87051}"/>
              </c:ext>
            </c:extLst>
          </c:dPt>
          <c:dPt>
            <c:idx val="10"/>
            <c:invertIfNegative val="1"/>
            <c:bubble3D val="0"/>
            <c:spPr>
              <a:solidFill>
                <a:srgbClr val="7ECAC4"/>
              </a:solidFill>
            </c:spPr>
            <c:extLst>
              <c:ext xmlns:c16="http://schemas.microsoft.com/office/drawing/2014/chart" uri="{C3380CC4-5D6E-409C-BE32-E72D297353CC}">
                <c16:uniqueId val="{0000004D-2993-41DE-A2CB-63102DE87051}"/>
              </c:ext>
            </c:extLst>
          </c:dPt>
          <c:dPt>
            <c:idx val="11"/>
            <c:invertIfNegative val="1"/>
            <c:bubble3D val="0"/>
            <c:spPr>
              <a:solidFill>
                <a:srgbClr val="7ECAC4"/>
              </a:solidFill>
            </c:spPr>
            <c:extLst>
              <c:ext xmlns:c16="http://schemas.microsoft.com/office/drawing/2014/chart" uri="{C3380CC4-5D6E-409C-BE32-E72D297353CC}">
                <c16:uniqueId val="{0000004F-2993-41DE-A2CB-63102DE87051}"/>
              </c:ext>
            </c:extLst>
          </c:dPt>
          <c:dPt>
            <c:idx val="12"/>
            <c:invertIfNegative val="1"/>
            <c:bubble3D val="0"/>
            <c:spPr>
              <a:solidFill>
                <a:srgbClr val="7ECAC4"/>
              </a:solidFill>
            </c:spPr>
            <c:extLst>
              <c:ext xmlns:c16="http://schemas.microsoft.com/office/drawing/2014/chart" uri="{C3380CC4-5D6E-409C-BE32-E72D297353CC}">
                <c16:uniqueId val="{00000051-2993-41DE-A2CB-63102DE87051}"/>
              </c:ext>
            </c:extLst>
          </c:dPt>
          <c:dPt>
            <c:idx val="13"/>
            <c:invertIfNegative val="1"/>
            <c:bubble3D val="0"/>
            <c:spPr>
              <a:solidFill>
                <a:srgbClr val="7ECAC4"/>
              </a:solidFill>
            </c:spPr>
            <c:extLst>
              <c:ext xmlns:c16="http://schemas.microsoft.com/office/drawing/2014/chart" uri="{C3380CC4-5D6E-409C-BE32-E72D297353CC}">
                <c16:uniqueId val="{00000053-2993-41DE-A2CB-63102DE87051}"/>
              </c:ext>
            </c:extLst>
          </c:dPt>
          <c:dPt>
            <c:idx val="14"/>
            <c:invertIfNegative val="1"/>
            <c:bubble3D val="0"/>
            <c:spPr>
              <a:solidFill>
                <a:srgbClr val="7ECAC4"/>
              </a:solidFill>
            </c:spPr>
            <c:extLst>
              <c:ext xmlns:c16="http://schemas.microsoft.com/office/drawing/2014/chart" uri="{C3380CC4-5D6E-409C-BE32-E72D297353CC}">
                <c16:uniqueId val="{00000055-2993-41DE-A2CB-63102DE87051}"/>
              </c:ext>
            </c:extLst>
          </c:dPt>
          <c:dPt>
            <c:idx val="15"/>
            <c:invertIfNegative val="1"/>
            <c:bubble3D val="0"/>
            <c:spPr>
              <a:solidFill>
                <a:srgbClr val="7ECAC4"/>
              </a:solidFill>
            </c:spPr>
            <c:extLst>
              <c:ext xmlns:c16="http://schemas.microsoft.com/office/drawing/2014/chart" uri="{C3380CC4-5D6E-409C-BE32-E72D297353CC}">
                <c16:uniqueId val="{00000057-2993-41DE-A2CB-63102DE87051}"/>
              </c:ext>
            </c:extLst>
          </c:dPt>
          <c:dPt>
            <c:idx val="16"/>
            <c:invertIfNegative val="1"/>
            <c:bubble3D val="0"/>
            <c:spPr>
              <a:solidFill>
                <a:srgbClr val="7ECAC4"/>
              </a:solidFill>
            </c:spPr>
            <c:extLst>
              <c:ext xmlns:c16="http://schemas.microsoft.com/office/drawing/2014/chart" uri="{C3380CC4-5D6E-409C-BE32-E72D297353CC}">
                <c16:uniqueId val="{00000059-2993-41DE-A2CB-63102DE87051}"/>
              </c:ext>
            </c:extLst>
          </c:dPt>
          <c:dPt>
            <c:idx val="17"/>
            <c:invertIfNegative val="1"/>
            <c:bubble3D val="0"/>
            <c:spPr>
              <a:solidFill>
                <a:srgbClr val="7ECAC4"/>
              </a:solidFill>
            </c:spPr>
            <c:extLst>
              <c:ext xmlns:c16="http://schemas.microsoft.com/office/drawing/2014/chart" uri="{C3380CC4-5D6E-409C-BE32-E72D297353CC}">
                <c16:uniqueId val="{0000005B-2993-41DE-A2CB-63102DE87051}"/>
              </c:ext>
            </c:extLst>
          </c:dPt>
          <c:dPt>
            <c:idx val="18"/>
            <c:invertIfNegative val="1"/>
            <c:bubble3D val="0"/>
            <c:spPr>
              <a:solidFill>
                <a:srgbClr val="7ECAC4"/>
              </a:solidFill>
            </c:spPr>
            <c:extLst>
              <c:ext xmlns:c16="http://schemas.microsoft.com/office/drawing/2014/chart" uri="{C3380CC4-5D6E-409C-BE32-E72D297353CC}">
                <c16:uniqueId val="{0000005D-2993-41DE-A2CB-63102DE87051}"/>
              </c:ext>
            </c:extLst>
          </c:dPt>
          <c:dPt>
            <c:idx val="19"/>
            <c:invertIfNegative val="1"/>
            <c:bubble3D val="0"/>
            <c:spPr>
              <a:solidFill>
                <a:srgbClr val="AEABAB"/>
              </a:solidFill>
            </c:spPr>
            <c:extLst>
              <c:ext xmlns:c16="http://schemas.microsoft.com/office/drawing/2014/chart" uri="{C3380CC4-5D6E-409C-BE32-E72D297353CC}">
                <c16:uniqueId val="{0000005F-2993-41DE-A2CB-63102DE87051}"/>
              </c:ext>
            </c:extLst>
          </c:dPt>
          <c:dPt>
            <c:idx val="20"/>
            <c:invertIfNegative val="1"/>
            <c:bubble3D val="0"/>
            <c:spPr>
              <a:solidFill>
                <a:srgbClr val="AEABAB"/>
              </a:solidFill>
            </c:spPr>
            <c:extLst>
              <c:ext xmlns:c16="http://schemas.microsoft.com/office/drawing/2014/chart" uri="{C3380CC4-5D6E-409C-BE32-E72D297353CC}">
                <c16:uniqueId val="{00000061-2993-41DE-A2CB-63102DE87051}"/>
              </c:ext>
            </c:extLst>
          </c:dPt>
          <c:dPt>
            <c:idx val="21"/>
            <c:invertIfNegative val="1"/>
            <c:bubble3D val="0"/>
            <c:spPr>
              <a:solidFill>
                <a:srgbClr val="AEABAB"/>
              </a:solidFill>
            </c:spPr>
            <c:extLst>
              <c:ext xmlns:c16="http://schemas.microsoft.com/office/drawing/2014/chart" uri="{C3380CC4-5D6E-409C-BE32-E72D297353CC}">
                <c16:uniqueId val="{00000063-2993-41DE-A2CB-63102DE87051}"/>
              </c:ext>
            </c:extLst>
          </c:dPt>
          <c:dPt>
            <c:idx val="22"/>
            <c:invertIfNegative val="1"/>
            <c:bubble3D val="0"/>
            <c:spPr>
              <a:solidFill>
                <a:srgbClr val="AEABAB"/>
              </a:solidFill>
            </c:spPr>
            <c:extLst>
              <c:ext xmlns:c16="http://schemas.microsoft.com/office/drawing/2014/chart" uri="{C3380CC4-5D6E-409C-BE32-E72D297353CC}">
                <c16:uniqueId val="{00000065-2993-41DE-A2CB-63102DE87051}"/>
              </c:ext>
            </c:extLst>
          </c:dPt>
          <c:dPt>
            <c:idx val="23"/>
            <c:invertIfNegative val="1"/>
            <c:bubble3D val="0"/>
            <c:spPr>
              <a:solidFill>
                <a:srgbClr val="AEABAB"/>
              </a:solidFill>
            </c:spPr>
            <c:extLst>
              <c:ext xmlns:c16="http://schemas.microsoft.com/office/drawing/2014/chart" uri="{C3380CC4-5D6E-409C-BE32-E72D297353CC}">
                <c16:uniqueId val="{00000067-2993-41DE-A2CB-63102DE87051}"/>
              </c:ext>
            </c:extLst>
          </c:dPt>
          <c:dPt>
            <c:idx val="24"/>
            <c:invertIfNegative val="1"/>
            <c:bubble3D val="0"/>
            <c:spPr>
              <a:solidFill>
                <a:srgbClr val="AEABAB"/>
              </a:solidFill>
            </c:spPr>
            <c:extLst>
              <c:ext xmlns:c16="http://schemas.microsoft.com/office/drawing/2014/chart" uri="{C3380CC4-5D6E-409C-BE32-E72D297353CC}">
                <c16:uniqueId val="{00000069-2993-41DE-A2CB-63102DE87051}"/>
              </c:ext>
            </c:extLst>
          </c:dPt>
          <c:dPt>
            <c:idx val="25"/>
            <c:invertIfNegative val="1"/>
            <c:bubble3D val="0"/>
            <c:spPr>
              <a:solidFill>
                <a:srgbClr val="AEABAB"/>
              </a:solidFill>
            </c:spPr>
            <c:extLst>
              <c:ext xmlns:c16="http://schemas.microsoft.com/office/drawing/2014/chart" uri="{C3380CC4-5D6E-409C-BE32-E72D297353CC}">
                <c16:uniqueId val="{0000006B-2993-41DE-A2CB-63102DE87051}"/>
              </c:ext>
            </c:extLst>
          </c:dPt>
          <c:dPt>
            <c:idx val="26"/>
            <c:invertIfNegative val="1"/>
            <c:bubble3D val="0"/>
            <c:spPr>
              <a:solidFill>
                <a:srgbClr val="AEABAB"/>
              </a:solidFill>
            </c:spPr>
            <c:extLst>
              <c:ext xmlns:c16="http://schemas.microsoft.com/office/drawing/2014/chart" uri="{C3380CC4-5D6E-409C-BE32-E72D297353CC}">
                <c16:uniqueId val="{0000006D-2993-41DE-A2CB-63102DE87051}"/>
              </c:ext>
            </c:extLst>
          </c:dPt>
          <c:dPt>
            <c:idx val="27"/>
            <c:invertIfNegative val="1"/>
            <c:bubble3D val="0"/>
            <c:spPr>
              <a:solidFill>
                <a:srgbClr val="AEABAB"/>
              </a:solidFill>
            </c:spPr>
            <c:extLst>
              <c:ext xmlns:c16="http://schemas.microsoft.com/office/drawing/2014/chart" uri="{C3380CC4-5D6E-409C-BE32-E72D297353CC}">
                <c16:uniqueId val="{0000006F-2993-41DE-A2CB-63102DE87051}"/>
              </c:ext>
            </c:extLst>
          </c:dPt>
          <c:dPt>
            <c:idx val="28"/>
            <c:invertIfNegative val="1"/>
            <c:bubble3D val="0"/>
            <c:spPr>
              <a:solidFill>
                <a:srgbClr val="AEABAB"/>
              </a:solidFill>
            </c:spPr>
            <c:extLst>
              <c:ext xmlns:c16="http://schemas.microsoft.com/office/drawing/2014/chart" uri="{C3380CC4-5D6E-409C-BE32-E72D297353CC}">
                <c16:uniqueId val="{00000071-2993-41DE-A2CB-63102DE87051}"/>
              </c:ext>
            </c:extLst>
          </c:dPt>
          <c:dPt>
            <c:idx val="29"/>
            <c:invertIfNegative val="1"/>
            <c:bubble3D val="0"/>
            <c:spPr>
              <a:solidFill>
                <a:srgbClr val="AEABAB"/>
              </a:solidFill>
            </c:spPr>
            <c:extLst>
              <c:ext xmlns:c16="http://schemas.microsoft.com/office/drawing/2014/chart" uri="{C3380CC4-5D6E-409C-BE32-E72D297353CC}">
                <c16:uniqueId val="{00000073-2993-41DE-A2CB-63102DE87051}"/>
              </c:ext>
            </c:extLst>
          </c:dPt>
          <c:dPt>
            <c:idx val="30"/>
            <c:invertIfNegative val="1"/>
            <c:bubble3D val="0"/>
            <c:spPr>
              <a:solidFill>
                <a:srgbClr val="AEABAB"/>
              </a:solidFill>
            </c:spPr>
            <c:extLst>
              <c:ext xmlns:c16="http://schemas.microsoft.com/office/drawing/2014/chart" uri="{C3380CC4-5D6E-409C-BE32-E72D297353CC}">
                <c16:uniqueId val="{00000075-2993-41DE-A2CB-63102DE87051}"/>
              </c:ext>
            </c:extLst>
          </c:dPt>
          <c:dPt>
            <c:idx val="31"/>
            <c:invertIfNegative val="1"/>
            <c:bubble3D val="0"/>
            <c:spPr>
              <a:solidFill>
                <a:srgbClr val="AEABAB"/>
              </a:solidFill>
            </c:spPr>
            <c:extLst>
              <c:ext xmlns:c16="http://schemas.microsoft.com/office/drawing/2014/chart" uri="{C3380CC4-5D6E-409C-BE32-E72D297353CC}">
                <c16:uniqueId val="{00000077-2993-41DE-A2CB-63102DE87051}"/>
              </c:ext>
            </c:extLst>
          </c:dPt>
          <c:dPt>
            <c:idx val="32"/>
            <c:invertIfNegative val="1"/>
            <c:bubble3D val="0"/>
            <c:spPr>
              <a:solidFill>
                <a:srgbClr val="AEABAB"/>
              </a:solidFill>
            </c:spPr>
            <c:extLst>
              <c:ext xmlns:c16="http://schemas.microsoft.com/office/drawing/2014/chart" uri="{C3380CC4-5D6E-409C-BE32-E72D297353CC}">
                <c16:uniqueId val="{00000079-2993-41DE-A2CB-63102DE87051}"/>
              </c:ext>
            </c:extLst>
          </c:dPt>
          <c:dPt>
            <c:idx val="33"/>
            <c:invertIfNegative val="1"/>
            <c:bubble3D val="0"/>
            <c:spPr>
              <a:solidFill>
                <a:srgbClr val="AEABAB"/>
              </a:solidFill>
            </c:spPr>
            <c:extLst>
              <c:ext xmlns:c16="http://schemas.microsoft.com/office/drawing/2014/chart" uri="{C3380CC4-5D6E-409C-BE32-E72D297353CC}">
                <c16:uniqueId val="{0000007B-2993-41DE-A2CB-63102DE87051}"/>
              </c:ext>
            </c:extLst>
          </c:dPt>
          <c:dPt>
            <c:idx val="34"/>
            <c:invertIfNegative val="1"/>
            <c:bubble3D val="0"/>
            <c:spPr>
              <a:solidFill>
                <a:srgbClr val="AEABAB"/>
              </a:solidFill>
            </c:spPr>
            <c:extLst>
              <c:ext xmlns:c16="http://schemas.microsoft.com/office/drawing/2014/chart" uri="{C3380CC4-5D6E-409C-BE32-E72D297353CC}">
                <c16:uniqueId val="{0000007D-2993-41DE-A2CB-63102DE87051}"/>
              </c:ext>
            </c:extLst>
          </c:dPt>
          <c:dPt>
            <c:idx val="35"/>
            <c:invertIfNegative val="1"/>
            <c:bubble3D val="0"/>
            <c:spPr>
              <a:solidFill>
                <a:srgbClr val="AEABAB"/>
              </a:solidFill>
            </c:spPr>
            <c:extLst>
              <c:ext xmlns:c16="http://schemas.microsoft.com/office/drawing/2014/chart" uri="{C3380CC4-5D6E-409C-BE32-E72D297353CC}">
                <c16:uniqueId val="{0000007F-2993-41DE-A2CB-63102DE87051}"/>
              </c:ext>
            </c:extLst>
          </c:dPt>
          <c:dPt>
            <c:idx val="36"/>
            <c:invertIfNegative val="1"/>
            <c:bubble3D val="0"/>
            <c:spPr>
              <a:solidFill>
                <a:srgbClr val="AEABAB"/>
              </a:solidFill>
            </c:spPr>
            <c:extLst>
              <c:ext xmlns:c16="http://schemas.microsoft.com/office/drawing/2014/chart" uri="{C3380CC4-5D6E-409C-BE32-E72D297353CC}">
                <c16:uniqueId val="{00000081-2993-41DE-A2CB-63102DE87051}"/>
              </c:ext>
            </c:extLst>
          </c:dPt>
          <c:dPt>
            <c:idx val="37"/>
            <c:invertIfNegative val="1"/>
            <c:bubble3D val="0"/>
            <c:spPr>
              <a:solidFill>
                <a:srgbClr val="AEABAB"/>
              </a:solidFill>
            </c:spPr>
            <c:extLst>
              <c:ext xmlns:c16="http://schemas.microsoft.com/office/drawing/2014/chart" uri="{C3380CC4-5D6E-409C-BE32-E72D297353CC}">
                <c16:uniqueId val="{00000083-2993-41DE-A2CB-63102DE87051}"/>
              </c:ext>
            </c:extLst>
          </c:dPt>
          <c:dPt>
            <c:idx val="38"/>
            <c:invertIfNegative val="1"/>
            <c:bubble3D val="0"/>
            <c:spPr>
              <a:solidFill>
                <a:srgbClr val="AEABAB"/>
              </a:solidFill>
            </c:spPr>
            <c:extLst>
              <c:ext xmlns:c16="http://schemas.microsoft.com/office/drawing/2014/chart" uri="{C3380CC4-5D6E-409C-BE32-E72D297353CC}">
                <c16:uniqueId val="{00000085-2993-41DE-A2CB-63102DE87051}"/>
              </c:ext>
            </c:extLst>
          </c:dPt>
          <c:dPt>
            <c:idx val="39"/>
            <c:invertIfNegative val="1"/>
            <c:bubble3D val="0"/>
            <c:spPr>
              <a:solidFill>
                <a:srgbClr val="AEABAB"/>
              </a:solidFill>
            </c:spPr>
            <c:extLst>
              <c:ext xmlns:c16="http://schemas.microsoft.com/office/drawing/2014/chart" uri="{C3380CC4-5D6E-409C-BE32-E72D297353CC}">
                <c16:uniqueId val="{00000087-2993-41DE-A2CB-63102DE87051}"/>
              </c:ext>
            </c:extLst>
          </c:dPt>
          <c:dPt>
            <c:idx val="40"/>
            <c:invertIfNegative val="1"/>
            <c:bubble3D val="0"/>
            <c:spPr>
              <a:solidFill>
                <a:srgbClr val="AEABAB"/>
              </a:solidFill>
            </c:spPr>
            <c:extLst>
              <c:ext xmlns:c16="http://schemas.microsoft.com/office/drawing/2014/chart" uri="{C3380CC4-5D6E-409C-BE32-E72D297353CC}">
                <c16:uniqueId val="{00000089-2993-41DE-A2CB-63102DE87051}"/>
              </c:ext>
            </c:extLst>
          </c:dPt>
          <c:dPt>
            <c:idx val="41"/>
            <c:invertIfNegative val="1"/>
            <c:bubble3D val="0"/>
            <c:spPr>
              <a:solidFill>
                <a:srgbClr val="AEABAB"/>
              </a:solidFill>
            </c:spPr>
            <c:extLst>
              <c:ext xmlns:c16="http://schemas.microsoft.com/office/drawing/2014/chart" uri="{C3380CC4-5D6E-409C-BE32-E72D297353CC}">
                <c16:uniqueId val="{0000008B-2993-41DE-A2CB-63102DE87051}"/>
              </c:ext>
            </c:extLst>
          </c:dPt>
          <c:dPt>
            <c:idx val="42"/>
            <c:invertIfNegative val="1"/>
            <c:bubble3D val="0"/>
            <c:spPr>
              <a:solidFill>
                <a:srgbClr val="AEABAB"/>
              </a:solidFill>
            </c:spPr>
            <c:extLst>
              <c:ext xmlns:c16="http://schemas.microsoft.com/office/drawing/2014/chart" uri="{C3380CC4-5D6E-409C-BE32-E72D297353CC}">
                <c16:uniqueId val="{0000008D-2993-41DE-A2CB-63102DE87051}"/>
              </c:ext>
            </c:extLst>
          </c:dPt>
          <c:dPt>
            <c:idx val="43"/>
            <c:invertIfNegative val="1"/>
            <c:bubble3D val="0"/>
            <c:spPr>
              <a:solidFill>
                <a:srgbClr val="AEABAB"/>
              </a:solidFill>
            </c:spPr>
            <c:extLst>
              <c:ext xmlns:c16="http://schemas.microsoft.com/office/drawing/2014/chart" uri="{C3380CC4-5D6E-409C-BE32-E72D297353CC}">
                <c16:uniqueId val="{0000008F-2993-41DE-A2CB-63102DE87051}"/>
              </c:ext>
            </c:extLst>
          </c:dPt>
          <c:dPt>
            <c:idx val="44"/>
            <c:invertIfNegative val="1"/>
            <c:bubble3D val="0"/>
            <c:spPr>
              <a:solidFill>
                <a:srgbClr val="AEABAB"/>
              </a:solidFill>
            </c:spPr>
            <c:extLst>
              <c:ext xmlns:c16="http://schemas.microsoft.com/office/drawing/2014/chart" uri="{C3380CC4-5D6E-409C-BE32-E72D297353CC}">
                <c16:uniqueId val="{00000091-2993-41DE-A2CB-63102DE87051}"/>
              </c:ext>
            </c:extLst>
          </c:dPt>
          <c:dPt>
            <c:idx val="45"/>
            <c:invertIfNegative val="1"/>
            <c:bubble3D val="0"/>
            <c:spPr>
              <a:solidFill>
                <a:srgbClr val="AEABAB"/>
              </a:solidFill>
            </c:spPr>
            <c:extLst>
              <c:ext xmlns:c16="http://schemas.microsoft.com/office/drawing/2014/chart" uri="{C3380CC4-5D6E-409C-BE32-E72D297353CC}">
                <c16:uniqueId val="{00000093-2993-41DE-A2CB-63102DE87051}"/>
              </c:ext>
            </c:extLst>
          </c:dPt>
          <c:dPt>
            <c:idx val="46"/>
            <c:invertIfNegative val="1"/>
            <c:bubble3D val="0"/>
            <c:spPr>
              <a:solidFill>
                <a:srgbClr val="AEABAB"/>
              </a:solidFill>
            </c:spPr>
            <c:extLst>
              <c:ext xmlns:c16="http://schemas.microsoft.com/office/drawing/2014/chart" uri="{C3380CC4-5D6E-409C-BE32-E72D297353CC}">
                <c16:uniqueId val="{00000095-2993-41DE-A2CB-63102DE87051}"/>
              </c:ext>
            </c:extLst>
          </c:dPt>
          <c:dPt>
            <c:idx val="47"/>
            <c:invertIfNegative val="1"/>
            <c:bubble3D val="0"/>
            <c:spPr>
              <a:solidFill>
                <a:srgbClr val="AEABAB"/>
              </a:solidFill>
            </c:spPr>
            <c:extLst>
              <c:ext xmlns:c16="http://schemas.microsoft.com/office/drawing/2014/chart" uri="{C3380CC4-5D6E-409C-BE32-E72D297353CC}">
                <c16:uniqueId val="{00000097-2993-41DE-A2CB-63102DE87051}"/>
              </c:ext>
            </c:extLst>
          </c:dPt>
          <c:dPt>
            <c:idx val="48"/>
            <c:invertIfNegative val="1"/>
            <c:bubble3D val="0"/>
            <c:spPr>
              <a:solidFill>
                <a:srgbClr val="AEABAB"/>
              </a:solidFill>
            </c:spPr>
            <c:extLst>
              <c:ext xmlns:c16="http://schemas.microsoft.com/office/drawing/2014/chart" uri="{C3380CC4-5D6E-409C-BE32-E72D297353CC}">
                <c16:uniqueId val="{00000099-2993-41DE-A2CB-63102DE87051}"/>
              </c:ext>
            </c:extLst>
          </c:dPt>
          <c:dPt>
            <c:idx val="49"/>
            <c:invertIfNegative val="1"/>
            <c:bubble3D val="0"/>
            <c:spPr>
              <a:solidFill>
                <a:srgbClr val="AEABAB"/>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51</c:f>
              <c:strCache>
                <c:ptCount val="50"/>
                <c:pt idx="0">
                  <c:v>All Others</c:v>
                </c:pt>
                <c:pt idx="1">
                  <c:v>Mure</c:v>
                </c:pt>
                <c:pt idx="2">
                  <c:v>All Others</c:v>
                </c:pt>
                <c:pt idx="3">
                  <c:v>All Others</c:v>
                </c:pt>
                <c:pt idx="4">
                  <c:v>Mure</c:v>
                </c:pt>
                <c:pt idx="5">
                  <c:v>All Others</c:v>
                </c:pt>
                <c:pt idx="6">
                  <c:v>All Others</c:v>
                </c:pt>
                <c:pt idx="7">
                  <c:v>All Others</c:v>
                </c:pt>
                <c:pt idx="8">
                  <c:v>Mure</c:v>
                </c:pt>
                <c:pt idx="9">
                  <c:v>All Others</c:v>
                </c:pt>
                <c:pt idx="10">
                  <c:v>Savian</c:v>
                </c:pt>
                <c:pt idx="11">
                  <c:v>Patriarche</c:v>
                </c:pt>
                <c:pt idx="12">
                  <c:v>Bottega</c:v>
                </c:pt>
                <c:pt idx="13">
                  <c:v>French Bloo</c:v>
                </c:pt>
                <c:pt idx="14">
                  <c:v>Kriter</c:v>
                </c:pt>
                <c:pt idx="15">
                  <c:v>All Others</c:v>
                </c:pt>
                <c:pt idx="16">
                  <c:v>All Others</c:v>
                </c:pt>
                <c:pt idx="17">
                  <c:v>Bouvet-Ladu</c:v>
                </c:pt>
                <c:pt idx="18">
                  <c:v>De Chanceny</c:v>
                </c:pt>
                <c:pt idx="19">
                  <c:v>Contarini</c:v>
                </c:pt>
                <c:pt idx="20">
                  <c:v>Cru La Maqu</c:v>
                </c:pt>
                <c:pt idx="21">
                  <c:v>Patriarche</c:v>
                </c:pt>
                <c:pt idx="22">
                  <c:v>All Others</c:v>
                </c:pt>
                <c:pt idx="23">
                  <c:v>Bottega</c:v>
                </c:pt>
                <c:pt idx="24">
                  <c:v>All Others</c:v>
                </c:pt>
                <c:pt idx="25">
                  <c:v>All Others</c:v>
                </c:pt>
                <c:pt idx="26">
                  <c:v>All Others</c:v>
                </c:pt>
                <c:pt idx="27">
                  <c:v>All Others</c:v>
                </c:pt>
                <c:pt idx="28">
                  <c:v>All Others</c:v>
                </c:pt>
                <c:pt idx="29">
                  <c:v>Contarini</c:v>
                </c:pt>
                <c:pt idx="30">
                  <c:v>Celene</c:v>
                </c:pt>
                <c:pt idx="31">
                  <c:v>All Others</c:v>
                </c:pt>
                <c:pt idx="32">
                  <c:v>Celene</c:v>
                </c:pt>
                <c:pt idx="33">
                  <c:v>All Others</c:v>
                </c:pt>
                <c:pt idx="34">
                  <c:v>Bouvet-Ladu</c:v>
                </c:pt>
                <c:pt idx="35">
                  <c:v>All Others</c:v>
                </c:pt>
                <c:pt idx="36">
                  <c:v>Bouvet-Ladu</c:v>
                </c:pt>
                <c:pt idx="37">
                  <c:v>All Others</c:v>
                </c:pt>
                <c:pt idx="38">
                  <c:v>All Others</c:v>
                </c:pt>
                <c:pt idx="39">
                  <c:v>Jaillance</c:v>
                </c:pt>
                <c:pt idx="40">
                  <c:v>Bouvet-Ladu</c:v>
                </c:pt>
                <c:pt idx="41">
                  <c:v>All Others</c:v>
                </c:pt>
                <c:pt idx="42">
                  <c:v>All Others</c:v>
                </c:pt>
                <c:pt idx="43">
                  <c:v>All Others</c:v>
                </c:pt>
                <c:pt idx="44">
                  <c:v>Bouvet-Ladu</c:v>
                </c:pt>
                <c:pt idx="45">
                  <c:v>All Others</c:v>
                </c:pt>
                <c:pt idx="46">
                  <c:v>All Others</c:v>
                </c:pt>
                <c:pt idx="47">
                  <c:v>All Others</c:v>
                </c:pt>
                <c:pt idx="48">
                  <c:v>All Others</c:v>
                </c:pt>
                <c:pt idx="49">
                  <c:v>All Others</c:v>
                </c:pt>
              </c:strCache>
            </c:strRef>
          </c:cat>
          <c:val>
            <c:numRef>
              <c:f>Sheet1!$C$2:$C$51</c:f>
              <c:numCache>
                <c:formatCode>General</c:formatCode>
                <c:ptCount val="50"/>
                <c:pt idx="0">
                  <c:v>0.25888960837861424</c:v>
                </c:pt>
                <c:pt idx="1">
                  <c:v>0.49819814747036795</c:v>
                </c:pt>
                <c:pt idx="2">
                  <c:v>0.56123013973741753</c:v>
                </c:pt>
                <c:pt idx="3">
                  <c:v>0.62094465872725391</c:v>
                </c:pt>
                <c:pt idx="4">
                  <c:v>0.680058560207213</c:v>
                </c:pt>
                <c:pt idx="5">
                  <c:v>0.7300130446615426</c:v>
                </c:pt>
                <c:pt idx="6">
                  <c:v>0.77204688570436475</c:v>
                </c:pt>
                <c:pt idx="7">
                  <c:v>0.81064594536257584</c:v>
                </c:pt>
                <c:pt idx="8">
                  <c:v>0.83356794954812907</c:v>
                </c:pt>
                <c:pt idx="9">
                  <c:v>0.85489925579736659</c:v>
                </c:pt>
                <c:pt idx="10">
                  <c:v>0.87334009028031934</c:v>
                </c:pt>
                <c:pt idx="11">
                  <c:v>0.88706983117017169</c:v>
                </c:pt>
                <c:pt idx="12">
                  <c:v>0.89919948947511641</c:v>
                </c:pt>
                <c:pt idx="13">
                  <c:v>0.90946629503458221</c:v>
                </c:pt>
                <c:pt idx="14">
                  <c:v>0.91818463357639546</c:v>
                </c:pt>
                <c:pt idx="15">
                  <c:v>0.9261287386093825</c:v>
                </c:pt>
                <c:pt idx="16">
                  <c:v>0.9336083035370738</c:v>
                </c:pt>
                <c:pt idx="17">
                  <c:v>0.94024325009150012</c:v>
                </c:pt>
                <c:pt idx="18">
                  <c:v>0.94685473502444684</c:v>
                </c:pt>
                <c:pt idx="19">
                  <c:v>0.95315183422956706</c:v>
                </c:pt>
                <c:pt idx="20">
                  <c:v>0.95909700911249363</c:v>
                </c:pt>
                <c:pt idx="21">
                  <c:v>0.96393479546158378</c:v>
                </c:pt>
                <c:pt idx="22">
                  <c:v>0.96813911803072517</c:v>
                </c:pt>
                <c:pt idx="23">
                  <c:v>0.97218390157380541</c:v>
                </c:pt>
                <c:pt idx="24">
                  <c:v>0.97606445376652851</c:v>
                </c:pt>
                <c:pt idx="25">
                  <c:v>0.97965408185290481</c:v>
                </c:pt>
                <c:pt idx="26">
                  <c:v>0.98309824788610767</c:v>
                </c:pt>
                <c:pt idx="27">
                  <c:v>0.98576818041048431</c:v>
                </c:pt>
                <c:pt idx="28">
                  <c:v>0.98782341845209587</c:v>
                </c:pt>
                <c:pt idx="29">
                  <c:v>0.98985519487222784</c:v>
                </c:pt>
                <c:pt idx="30">
                  <c:v>0.99158666253742112</c:v>
                </c:pt>
                <c:pt idx="31">
                  <c:v>0.9927503589628085</c:v>
                </c:pt>
                <c:pt idx="32">
                  <c:v>0.99383897819946121</c:v>
                </c:pt>
                <c:pt idx="33">
                  <c:v>0.99477275073434868</c:v>
                </c:pt>
                <c:pt idx="34">
                  <c:v>0.99556106121606269</c:v>
                </c:pt>
                <c:pt idx="35">
                  <c:v>0.99628837148192984</c:v>
                </c:pt>
                <c:pt idx="36">
                  <c:v>0.99682798877596024</c:v>
                </c:pt>
                <c:pt idx="37">
                  <c:v>0.99730191352984787</c:v>
                </c:pt>
                <c:pt idx="38">
                  <c:v>0.99771483806788852</c:v>
                </c:pt>
                <c:pt idx="39">
                  <c:v>0.99808553168726599</c:v>
                </c:pt>
                <c:pt idx="40">
                  <c:v>0.99842807136086786</c:v>
                </c:pt>
                <c:pt idx="41">
                  <c:v>0.99876122638587794</c:v>
                </c:pt>
                <c:pt idx="42">
                  <c:v>0.99903807351933704</c:v>
                </c:pt>
                <c:pt idx="43">
                  <c:v>0.99929145903131655</c:v>
                </c:pt>
                <c:pt idx="44">
                  <c:v>0.99950730594892867</c:v>
                </c:pt>
                <c:pt idx="45">
                  <c:v>0.99967622962358171</c:v>
                </c:pt>
                <c:pt idx="46">
                  <c:v>0.99979823005527557</c:v>
                </c:pt>
                <c:pt idx="47">
                  <c:v>0.99992023048696943</c:v>
                </c:pt>
                <c:pt idx="48">
                  <c:v>0.99996715372992862</c:v>
                </c:pt>
                <c:pt idx="49">
                  <c:v>1</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58</c:f>
              <c:strCache>
                <c:ptCount val="57"/>
                <c:pt idx="0">
                  <c:v>All Others</c:v>
                </c:pt>
                <c:pt idx="1">
                  <c:v>Bottega</c:v>
                </c:pt>
                <c:pt idx="2">
                  <c:v>Savian</c:v>
                </c:pt>
                <c:pt idx="3">
                  <c:v>Patriarche</c:v>
                </c:pt>
                <c:pt idx="4">
                  <c:v>Mure</c:v>
                </c:pt>
                <c:pt idx="5">
                  <c:v>French Bloo</c:v>
                </c:pt>
                <c:pt idx="6">
                  <c:v>Bouvet-Ladu</c:v>
                </c:pt>
                <c:pt idx="7">
                  <c:v>De Chanceny</c:v>
                </c:pt>
                <c:pt idx="8">
                  <c:v>Patriarche</c:v>
                </c:pt>
                <c:pt idx="9">
                  <c:v>All Others</c:v>
                </c:pt>
                <c:pt idx="10">
                  <c:v>Bottega</c:v>
                </c:pt>
                <c:pt idx="11">
                  <c:v>All Others</c:v>
                </c:pt>
                <c:pt idx="12">
                  <c:v>Kriter</c:v>
                </c:pt>
                <c:pt idx="13">
                  <c:v>All Others</c:v>
                </c:pt>
                <c:pt idx="14">
                  <c:v>Contarini</c:v>
                </c:pt>
                <c:pt idx="15">
                  <c:v>Cru La Maqu</c:v>
                </c:pt>
                <c:pt idx="16">
                  <c:v>All Others</c:v>
                </c:pt>
                <c:pt idx="17">
                  <c:v>All Others</c:v>
                </c:pt>
                <c:pt idx="18">
                  <c:v>Contarini</c:v>
                </c:pt>
                <c:pt idx="19">
                  <c:v>All Others</c:v>
                </c:pt>
                <c:pt idx="20">
                  <c:v>Vilaveroni</c:v>
                </c:pt>
                <c:pt idx="21">
                  <c:v>All Others</c:v>
                </c:pt>
                <c:pt idx="22">
                  <c:v>All Others</c:v>
                </c:pt>
                <c:pt idx="23">
                  <c:v>All Others</c:v>
                </c:pt>
                <c:pt idx="24">
                  <c:v>All Others</c:v>
                </c:pt>
                <c:pt idx="25">
                  <c:v>All Others</c:v>
                </c:pt>
                <c:pt idx="26">
                  <c:v>All Others</c:v>
                </c:pt>
                <c:pt idx="27">
                  <c:v>All Others</c:v>
                </c:pt>
                <c:pt idx="28">
                  <c:v>All Others</c:v>
                </c:pt>
                <c:pt idx="29">
                  <c:v>Bouvet-Ladu</c:v>
                </c:pt>
                <c:pt idx="30">
                  <c:v>Bouvet-Ladu</c:v>
                </c:pt>
                <c:pt idx="31">
                  <c:v>All Others</c:v>
                </c:pt>
                <c:pt idx="32">
                  <c:v>All Others</c:v>
                </c:pt>
                <c:pt idx="33">
                  <c:v>Bouvet-Ladu</c:v>
                </c:pt>
                <c:pt idx="34">
                  <c:v>All Others</c:v>
                </c:pt>
                <c:pt idx="35">
                  <c:v>All Others</c:v>
                </c:pt>
                <c:pt idx="36">
                  <c:v>Vilaveroni</c:v>
                </c:pt>
                <c:pt idx="37">
                  <c:v>Bottega</c:v>
                </c:pt>
                <c:pt idx="38">
                  <c:v>All Others</c:v>
                </c:pt>
                <c:pt idx="39">
                  <c:v>All Others</c:v>
                </c:pt>
                <c:pt idx="40">
                  <c:v>Vilaveroni</c:v>
                </c:pt>
                <c:pt idx="41">
                  <c:v>All Others</c:v>
                </c:pt>
                <c:pt idx="42">
                  <c:v>Celene</c:v>
                </c:pt>
                <c:pt idx="43">
                  <c:v>All Others</c:v>
                </c:pt>
                <c:pt idx="44">
                  <c:v>Vilaveroni</c:v>
                </c:pt>
                <c:pt idx="45">
                  <c:v>All Others</c:v>
                </c:pt>
                <c:pt idx="46">
                  <c:v>All Others</c:v>
                </c:pt>
                <c:pt idx="47">
                  <c:v>All Others</c:v>
                </c:pt>
                <c:pt idx="48">
                  <c:v>Bouvet-Ladu</c:v>
                </c:pt>
                <c:pt idx="49">
                  <c:v>Celene</c:v>
                </c:pt>
                <c:pt idx="50">
                  <c:v>Jaillance</c:v>
                </c:pt>
                <c:pt idx="51">
                  <c:v>All Others</c:v>
                </c:pt>
                <c:pt idx="52">
                  <c:v>All Others</c:v>
                </c:pt>
                <c:pt idx="53">
                  <c:v>All Others</c:v>
                </c:pt>
                <c:pt idx="54">
                  <c:v>All Others</c:v>
                </c:pt>
                <c:pt idx="55">
                  <c:v>Bottega</c:v>
                </c:pt>
                <c:pt idx="56">
                  <c:v>All Others</c:v>
                </c:pt>
              </c:strCache>
            </c:strRef>
          </c:cat>
          <c:val>
            <c:numRef>
              <c:f>Sheet1!$B$2:$B$58</c:f>
              <c:numCache>
                <c:formatCode>General</c:formatCode>
                <c:ptCount val="57"/>
                <c:pt idx="0">
                  <c:v>0.98</c:v>
                </c:pt>
                <c:pt idx="1">
                  <c:v>0.96</c:v>
                </c:pt>
                <c:pt idx="2">
                  <c:v>0.93</c:v>
                </c:pt>
                <c:pt idx="3">
                  <c:v>0.94</c:v>
                </c:pt>
                <c:pt idx="4">
                  <c:v>0.85</c:v>
                </c:pt>
                <c:pt idx="5">
                  <c:v>0.77</c:v>
                </c:pt>
                <c:pt idx="6">
                  <c:v>0.76</c:v>
                </c:pt>
                <c:pt idx="7">
                  <c:v>0.7</c:v>
                </c:pt>
                <c:pt idx="8">
                  <c:v>0.72</c:v>
                </c:pt>
                <c:pt idx="9">
                  <c:v>0.55000000000000004</c:v>
                </c:pt>
                <c:pt idx="10">
                  <c:v>0.61</c:v>
                </c:pt>
                <c:pt idx="11">
                  <c:v>0.13</c:v>
                </c:pt>
                <c:pt idx="12">
                  <c:v>0.56000000000000005</c:v>
                </c:pt>
                <c:pt idx="13">
                  <c:v>0.54</c:v>
                </c:pt>
                <c:pt idx="14">
                  <c:v>0.94</c:v>
                </c:pt>
                <c:pt idx="15">
                  <c:v>0.5</c:v>
                </c:pt>
                <c:pt idx="16">
                  <c:v>0.31</c:v>
                </c:pt>
                <c:pt idx="17">
                  <c:v>0.38</c:v>
                </c:pt>
                <c:pt idx="18">
                  <c:v>0.17</c:v>
                </c:pt>
                <c:pt idx="19">
                  <c:v>0.08</c:v>
                </c:pt>
                <c:pt idx="20">
                  <c:v>0.05</c:v>
                </c:pt>
                <c:pt idx="21">
                  <c:v>0.24</c:v>
                </c:pt>
                <c:pt idx="22">
                  <c:v>0.12</c:v>
                </c:pt>
                <c:pt idx="23">
                  <c:v>0.04</c:v>
                </c:pt>
                <c:pt idx="24">
                  <c:v>0.17</c:v>
                </c:pt>
                <c:pt idx="25">
                  <c:v>0.28000000000000003</c:v>
                </c:pt>
                <c:pt idx="26">
                  <c:v>0.14000000000000001</c:v>
                </c:pt>
                <c:pt idx="27">
                  <c:v>0.06</c:v>
                </c:pt>
                <c:pt idx="28">
                  <c:v>0.24</c:v>
                </c:pt>
                <c:pt idx="29">
                  <c:v>0.11</c:v>
                </c:pt>
                <c:pt idx="30">
                  <c:v>0.2</c:v>
                </c:pt>
                <c:pt idx="31">
                  <c:v>0.06</c:v>
                </c:pt>
                <c:pt idx="32">
                  <c:v>0.14000000000000001</c:v>
                </c:pt>
                <c:pt idx="33">
                  <c:v>0.09</c:v>
                </c:pt>
                <c:pt idx="34">
                  <c:v>0.05</c:v>
                </c:pt>
                <c:pt idx="35">
                  <c:v>0.06</c:v>
                </c:pt>
                <c:pt idx="36">
                  <c:v>0.04</c:v>
                </c:pt>
                <c:pt idx="37">
                  <c:v>0.11</c:v>
                </c:pt>
                <c:pt idx="38">
                  <c:v>0.08</c:v>
                </c:pt>
                <c:pt idx="39">
                  <c:v>0.06</c:v>
                </c:pt>
                <c:pt idx="40">
                  <c:v>0.04</c:v>
                </c:pt>
                <c:pt idx="41">
                  <c:v>0.06</c:v>
                </c:pt>
                <c:pt idx="42">
                  <c:v>0.05</c:v>
                </c:pt>
                <c:pt idx="43">
                  <c:v>0.06</c:v>
                </c:pt>
                <c:pt idx="44">
                  <c:v>0.04</c:v>
                </c:pt>
                <c:pt idx="45">
                  <c:v>0.05</c:v>
                </c:pt>
                <c:pt idx="46">
                  <c:v>0.09</c:v>
                </c:pt>
                <c:pt idx="47">
                  <c:v>7.0000000000000007E-2</c:v>
                </c:pt>
                <c:pt idx="48">
                  <c:v>0.02</c:v>
                </c:pt>
                <c:pt idx="49">
                  <c:v>0.03</c:v>
                </c:pt>
                <c:pt idx="50">
                  <c:v>0.04</c:v>
                </c:pt>
                <c:pt idx="51">
                  <c:v>0.02</c:v>
                </c:pt>
                <c:pt idx="52">
                  <c:v>0.01</c:v>
                </c:pt>
                <c:pt idx="53">
                  <c:v>0.01</c:v>
                </c:pt>
                <c:pt idx="54">
                  <c:v>0.04</c:v>
                </c:pt>
                <c:pt idx="55">
                  <c:v>0.03</c:v>
                </c:pt>
                <c:pt idx="56">
                  <c:v>0.02</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7ECAC4"/>
              </a:solidFill>
            </c:spPr>
            <c:extLst>
              <c:ext xmlns:c16="http://schemas.microsoft.com/office/drawing/2014/chart" uri="{C3380CC4-5D6E-409C-BE32-E72D297353CC}">
                <c16:uniqueId val="{0000004D-2993-41DE-A2CB-63102DE87051}"/>
              </c:ext>
            </c:extLst>
          </c:dPt>
          <c:dPt>
            <c:idx val="11"/>
            <c:invertIfNegative val="1"/>
            <c:bubble3D val="0"/>
            <c:spPr>
              <a:solidFill>
                <a:srgbClr val="7ECAC4"/>
              </a:solidFill>
            </c:spPr>
            <c:extLst>
              <c:ext xmlns:c16="http://schemas.microsoft.com/office/drawing/2014/chart" uri="{C3380CC4-5D6E-409C-BE32-E72D297353CC}">
                <c16:uniqueId val="{0000004F-2993-41DE-A2CB-63102DE87051}"/>
              </c:ext>
            </c:extLst>
          </c:dPt>
          <c:dPt>
            <c:idx val="12"/>
            <c:invertIfNegative val="1"/>
            <c:bubble3D val="0"/>
            <c:spPr>
              <a:solidFill>
                <a:srgbClr val="7ECAC4"/>
              </a:solidFill>
            </c:spPr>
            <c:extLst>
              <c:ext xmlns:c16="http://schemas.microsoft.com/office/drawing/2014/chart" uri="{C3380CC4-5D6E-409C-BE32-E72D297353CC}">
                <c16:uniqueId val="{00000051-2993-41DE-A2CB-63102DE87051}"/>
              </c:ext>
            </c:extLst>
          </c:dPt>
          <c:dPt>
            <c:idx val="13"/>
            <c:invertIfNegative val="1"/>
            <c:bubble3D val="0"/>
            <c:spPr>
              <a:solidFill>
                <a:srgbClr val="7ECAC4"/>
              </a:solidFill>
            </c:spPr>
            <c:extLst>
              <c:ext xmlns:c16="http://schemas.microsoft.com/office/drawing/2014/chart" uri="{C3380CC4-5D6E-409C-BE32-E72D297353CC}">
                <c16:uniqueId val="{00000053-2993-41DE-A2CB-63102DE87051}"/>
              </c:ext>
            </c:extLst>
          </c:dPt>
          <c:dPt>
            <c:idx val="14"/>
            <c:invertIfNegative val="1"/>
            <c:bubble3D val="0"/>
            <c:spPr>
              <a:solidFill>
                <a:srgbClr val="7ECAC4"/>
              </a:solidFill>
            </c:spPr>
            <c:extLst>
              <c:ext xmlns:c16="http://schemas.microsoft.com/office/drawing/2014/chart" uri="{C3380CC4-5D6E-409C-BE32-E72D297353CC}">
                <c16:uniqueId val="{00000055-2993-41DE-A2CB-63102DE87051}"/>
              </c:ext>
            </c:extLst>
          </c:dPt>
          <c:dPt>
            <c:idx val="15"/>
            <c:invertIfNegative val="1"/>
            <c:bubble3D val="0"/>
            <c:spPr>
              <a:solidFill>
                <a:srgbClr val="7ECAC4"/>
              </a:solidFill>
            </c:spPr>
            <c:extLst>
              <c:ext xmlns:c16="http://schemas.microsoft.com/office/drawing/2014/chart" uri="{C3380CC4-5D6E-409C-BE32-E72D297353CC}">
                <c16:uniqueId val="{00000057-2993-41DE-A2CB-63102DE87051}"/>
              </c:ext>
            </c:extLst>
          </c:dPt>
          <c:dPt>
            <c:idx val="16"/>
            <c:invertIfNegative val="1"/>
            <c:bubble3D val="0"/>
            <c:spPr>
              <a:solidFill>
                <a:srgbClr val="7ECAC4"/>
              </a:solidFill>
            </c:spPr>
            <c:extLst>
              <c:ext xmlns:c16="http://schemas.microsoft.com/office/drawing/2014/chart" uri="{C3380CC4-5D6E-409C-BE32-E72D297353CC}">
                <c16:uniqueId val="{00000059-2993-41DE-A2CB-63102DE87051}"/>
              </c:ext>
            </c:extLst>
          </c:dPt>
          <c:dPt>
            <c:idx val="17"/>
            <c:invertIfNegative val="1"/>
            <c:bubble3D val="0"/>
            <c:spPr>
              <a:solidFill>
                <a:srgbClr val="7ECAC4"/>
              </a:solidFill>
            </c:spPr>
            <c:extLst>
              <c:ext xmlns:c16="http://schemas.microsoft.com/office/drawing/2014/chart" uri="{C3380CC4-5D6E-409C-BE32-E72D297353CC}">
                <c16:uniqueId val="{0000005B-2993-41DE-A2CB-63102DE87051}"/>
              </c:ext>
            </c:extLst>
          </c:dPt>
          <c:dPt>
            <c:idx val="18"/>
            <c:invertIfNegative val="1"/>
            <c:bubble3D val="0"/>
            <c:spPr>
              <a:solidFill>
                <a:srgbClr val="7ECAC4"/>
              </a:solidFill>
            </c:spPr>
            <c:extLst>
              <c:ext xmlns:c16="http://schemas.microsoft.com/office/drawing/2014/chart" uri="{C3380CC4-5D6E-409C-BE32-E72D297353CC}">
                <c16:uniqueId val="{0000005D-2993-41DE-A2CB-63102DE87051}"/>
              </c:ext>
            </c:extLst>
          </c:dPt>
          <c:dPt>
            <c:idx val="19"/>
            <c:invertIfNegative val="1"/>
            <c:bubble3D val="0"/>
            <c:spPr>
              <a:solidFill>
                <a:srgbClr val="7ECAC4"/>
              </a:solidFill>
            </c:spPr>
            <c:extLst>
              <c:ext xmlns:c16="http://schemas.microsoft.com/office/drawing/2014/chart" uri="{C3380CC4-5D6E-409C-BE32-E72D297353CC}">
                <c16:uniqueId val="{0000005F-2993-41DE-A2CB-63102DE87051}"/>
              </c:ext>
            </c:extLst>
          </c:dPt>
          <c:dPt>
            <c:idx val="20"/>
            <c:invertIfNegative val="1"/>
            <c:bubble3D val="0"/>
            <c:spPr>
              <a:solidFill>
                <a:srgbClr val="7ECAC4"/>
              </a:solidFill>
            </c:spPr>
            <c:extLst>
              <c:ext xmlns:c16="http://schemas.microsoft.com/office/drawing/2014/chart" uri="{C3380CC4-5D6E-409C-BE32-E72D297353CC}">
                <c16:uniqueId val="{00000061-2993-41DE-A2CB-63102DE87051}"/>
              </c:ext>
            </c:extLst>
          </c:dPt>
          <c:dPt>
            <c:idx val="21"/>
            <c:invertIfNegative val="1"/>
            <c:bubble3D val="0"/>
            <c:spPr>
              <a:solidFill>
                <a:srgbClr val="AEABAB"/>
              </a:solidFill>
            </c:spPr>
            <c:extLst>
              <c:ext xmlns:c16="http://schemas.microsoft.com/office/drawing/2014/chart" uri="{C3380CC4-5D6E-409C-BE32-E72D297353CC}">
                <c16:uniqueId val="{00000063-2993-41DE-A2CB-63102DE87051}"/>
              </c:ext>
            </c:extLst>
          </c:dPt>
          <c:dPt>
            <c:idx val="22"/>
            <c:invertIfNegative val="1"/>
            <c:bubble3D val="0"/>
            <c:spPr>
              <a:solidFill>
                <a:srgbClr val="AEABAB"/>
              </a:solidFill>
            </c:spPr>
            <c:extLst>
              <c:ext xmlns:c16="http://schemas.microsoft.com/office/drawing/2014/chart" uri="{C3380CC4-5D6E-409C-BE32-E72D297353CC}">
                <c16:uniqueId val="{00000065-2993-41DE-A2CB-63102DE87051}"/>
              </c:ext>
            </c:extLst>
          </c:dPt>
          <c:dPt>
            <c:idx val="23"/>
            <c:invertIfNegative val="1"/>
            <c:bubble3D val="0"/>
            <c:spPr>
              <a:solidFill>
                <a:srgbClr val="AEABAB"/>
              </a:solidFill>
            </c:spPr>
            <c:extLst>
              <c:ext xmlns:c16="http://schemas.microsoft.com/office/drawing/2014/chart" uri="{C3380CC4-5D6E-409C-BE32-E72D297353CC}">
                <c16:uniqueId val="{00000067-2993-41DE-A2CB-63102DE87051}"/>
              </c:ext>
            </c:extLst>
          </c:dPt>
          <c:dPt>
            <c:idx val="24"/>
            <c:invertIfNegative val="1"/>
            <c:bubble3D val="0"/>
            <c:spPr>
              <a:solidFill>
                <a:srgbClr val="AEABAB"/>
              </a:solidFill>
            </c:spPr>
            <c:extLst>
              <c:ext xmlns:c16="http://schemas.microsoft.com/office/drawing/2014/chart" uri="{C3380CC4-5D6E-409C-BE32-E72D297353CC}">
                <c16:uniqueId val="{00000069-2993-41DE-A2CB-63102DE87051}"/>
              </c:ext>
            </c:extLst>
          </c:dPt>
          <c:dPt>
            <c:idx val="25"/>
            <c:invertIfNegative val="1"/>
            <c:bubble3D val="0"/>
            <c:spPr>
              <a:solidFill>
                <a:srgbClr val="AEABAB"/>
              </a:solidFill>
            </c:spPr>
            <c:extLst>
              <c:ext xmlns:c16="http://schemas.microsoft.com/office/drawing/2014/chart" uri="{C3380CC4-5D6E-409C-BE32-E72D297353CC}">
                <c16:uniqueId val="{0000006B-2993-41DE-A2CB-63102DE87051}"/>
              </c:ext>
            </c:extLst>
          </c:dPt>
          <c:dPt>
            <c:idx val="26"/>
            <c:invertIfNegative val="1"/>
            <c:bubble3D val="0"/>
            <c:spPr>
              <a:solidFill>
                <a:srgbClr val="AEABAB"/>
              </a:solidFill>
            </c:spPr>
            <c:extLst>
              <c:ext xmlns:c16="http://schemas.microsoft.com/office/drawing/2014/chart" uri="{C3380CC4-5D6E-409C-BE32-E72D297353CC}">
                <c16:uniqueId val="{0000006D-2993-41DE-A2CB-63102DE87051}"/>
              </c:ext>
            </c:extLst>
          </c:dPt>
          <c:dPt>
            <c:idx val="27"/>
            <c:invertIfNegative val="1"/>
            <c:bubble3D val="0"/>
            <c:spPr>
              <a:solidFill>
                <a:srgbClr val="AEABAB"/>
              </a:solidFill>
            </c:spPr>
            <c:extLst>
              <c:ext xmlns:c16="http://schemas.microsoft.com/office/drawing/2014/chart" uri="{C3380CC4-5D6E-409C-BE32-E72D297353CC}">
                <c16:uniqueId val="{0000006F-2993-41DE-A2CB-63102DE87051}"/>
              </c:ext>
            </c:extLst>
          </c:dPt>
          <c:dPt>
            <c:idx val="28"/>
            <c:invertIfNegative val="1"/>
            <c:bubble3D val="0"/>
            <c:spPr>
              <a:solidFill>
                <a:srgbClr val="AEABAB"/>
              </a:solidFill>
            </c:spPr>
            <c:extLst>
              <c:ext xmlns:c16="http://schemas.microsoft.com/office/drawing/2014/chart" uri="{C3380CC4-5D6E-409C-BE32-E72D297353CC}">
                <c16:uniqueId val="{00000071-2993-41DE-A2CB-63102DE87051}"/>
              </c:ext>
            </c:extLst>
          </c:dPt>
          <c:dPt>
            <c:idx val="29"/>
            <c:invertIfNegative val="1"/>
            <c:bubble3D val="0"/>
            <c:spPr>
              <a:solidFill>
                <a:srgbClr val="AEABAB"/>
              </a:solidFill>
            </c:spPr>
            <c:extLst>
              <c:ext xmlns:c16="http://schemas.microsoft.com/office/drawing/2014/chart" uri="{C3380CC4-5D6E-409C-BE32-E72D297353CC}">
                <c16:uniqueId val="{00000073-2993-41DE-A2CB-63102DE87051}"/>
              </c:ext>
            </c:extLst>
          </c:dPt>
          <c:dPt>
            <c:idx val="30"/>
            <c:invertIfNegative val="1"/>
            <c:bubble3D val="0"/>
            <c:spPr>
              <a:solidFill>
                <a:srgbClr val="AEABAB"/>
              </a:solidFill>
            </c:spPr>
            <c:extLst>
              <c:ext xmlns:c16="http://schemas.microsoft.com/office/drawing/2014/chart" uri="{C3380CC4-5D6E-409C-BE32-E72D297353CC}">
                <c16:uniqueId val="{00000075-2993-41DE-A2CB-63102DE87051}"/>
              </c:ext>
            </c:extLst>
          </c:dPt>
          <c:dPt>
            <c:idx val="31"/>
            <c:invertIfNegative val="1"/>
            <c:bubble3D val="0"/>
            <c:spPr>
              <a:solidFill>
                <a:srgbClr val="AEABAB"/>
              </a:solidFill>
            </c:spPr>
            <c:extLst>
              <c:ext xmlns:c16="http://schemas.microsoft.com/office/drawing/2014/chart" uri="{C3380CC4-5D6E-409C-BE32-E72D297353CC}">
                <c16:uniqueId val="{00000077-2993-41DE-A2CB-63102DE87051}"/>
              </c:ext>
            </c:extLst>
          </c:dPt>
          <c:dPt>
            <c:idx val="32"/>
            <c:invertIfNegative val="1"/>
            <c:bubble3D val="0"/>
            <c:spPr>
              <a:solidFill>
                <a:srgbClr val="AEABAB"/>
              </a:solidFill>
            </c:spPr>
            <c:extLst>
              <c:ext xmlns:c16="http://schemas.microsoft.com/office/drawing/2014/chart" uri="{C3380CC4-5D6E-409C-BE32-E72D297353CC}">
                <c16:uniqueId val="{00000079-2993-41DE-A2CB-63102DE87051}"/>
              </c:ext>
            </c:extLst>
          </c:dPt>
          <c:dPt>
            <c:idx val="33"/>
            <c:invertIfNegative val="1"/>
            <c:bubble3D val="0"/>
            <c:spPr>
              <a:solidFill>
                <a:srgbClr val="AEABAB"/>
              </a:solidFill>
            </c:spPr>
            <c:extLst>
              <c:ext xmlns:c16="http://schemas.microsoft.com/office/drawing/2014/chart" uri="{C3380CC4-5D6E-409C-BE32-E72D297353CC}">
                <c16:uniqueId val="{0000007B-2993-41DE-A2CB-63102DE87051}"/>
              </c:ext>
            </c:extLst>
          </c:dPt>
          <c:dPt>
            <c:idx val="34"/>
            <c:invertIfNegative val="1"/>
            <c:bubble3D val="0"/>
            <c:spPr>
              <a:solidFill>
                <a:srgbClr val="AEABAB"/>
              </a:solidFill>
            </c:spPr>
            <c:extLst>
              <c:ext xmlns:c16="http://schemas.microsoft.com/office/drawing/2014/chart" uri="{C3380CC4-5D6E-409C-BE32-E72D297353CC}">
                <c16:uniqueId val="{0000007D-2993-41DE-A2CB-63102DE87051}"/>
              </c:ext>
            </c:extLst>
          </c:dPt>
          <c:dPt>
            <c:idx val="35"/>
            <c:invertIfNegative val="1"/>
            <c:bubble3D val="0"/>
            <c:spPr>
              <a:solidFill>
                <a:srgbClr val="AEABAB"/>
              </a:solidFill>
            </c:spPr>
            <c:extLst>
              <c:ext xmlns:c16="http://schemas.microsoft.com/office/drawing/2014/chart" uri="{C3380CC4-5D6E-409C-BE32-E72D297353CC}">
                <c16:uniqueId val="{0000007F-2993-41DE-A2CB-63102DE87051}"/>
              </c:ext>
            </c:extLst>
          </c:dPt>
          <c:dPt>
            <c:idx val="36"/>
            <c:invertIfNegative val="1"/>
            <c:bubble3D val="0"/>
            <c:spPr>
              <a:solidFill>
                <a:srgbClr val="AEABAB"/>
              </a:solidFill>
            </c:spPr>
            <c:extLst>
              <c:ext xmlns:c16="http://schemas.microsoft.com/office/drawing/2014/chart" uri="{C3380CC4-5D6E-409C-BE32-E72D297353CC}">
                <c16:uniqueId val="{00000081-2993-41DE-A2CB-63102DE87051}"/>
              </c:ext>
            </c:extLst>
          </c:dPt>
          <c:dPt>
            <c:idx val="37"/>
            <c:invertIfNegative val="1"/>
            <c:bubble3D val="0"/>
            <c:spPr>
              <a:solidFill>
                <a:srgbClr val="AEABAB"/>
              </a:solidFill>
            </c:spPr>
            <c:extLst>
              <c:ext xmlns:c16="http://schemas.microsoft.com/office/drawing/2014/chart" uri="{C3380CC4-5D6E-409C-BE32-E72D297353CC}">
                <c16:uniqueId val="{00000083-2993-41DE-A2CB-63102DE87051}"/>
              </c:ext>
            </c:extLst>
          </c:dPt>
          <c:dPt>
            <c:idx val="38"/>
            <c:invertIfNegative val="1"/>
            <c:bubble3D val="0"/>
            <c:spPr>
              <a:solidFill>
                <a:srgbClr val="AEABAB"/>
              </a:solidFill>
            </c:spPr>
            <c:extLst>
              <c:ext xmlns:c16="http://schemas.microsoft.com/office/drawing/2014/chart" uri="{C3380CC4-5D6E-409C-BE32-E72D297353CC}">
                <c16:uniqueId val="{00000085-2993-41DE-A2CB-63102DE87051}"/>
              </c:ext>
            </c:extLst>
          </c:dPt>
          <c:dPt>
            <c:idx val="39"/>
            <c:invertIfNegative val="1"/>
            <c:bubble3D val="0"/>
            <c:spPr>
              <a:solidFill>
                <a:srgbClr val="AEABAB"/>
              </a:solidFill>
            </c:spPr>
            <c:extLst>
              <c:ext xmlns:c16="http://schemas.microsoft.com/office/drawing/2014/chart" uri="{C3380CC4-5D6E-409C-BE32-E72D297353CC}">
                <c16:uniqueId val="{00000087-2993-41DE-A2CB-63102DE87051}"/>
              </c:ext>
            </c:extLst>
          </c:dPt>
          <c:dPt>
            <c:idx val="40"/>
            <c:invertIfNegative val="1"/>
            <c:bubble3D val="0"/>
            <c:spPr>
              <a:solidFill>
                <a:srgbClr val="AEABAB"/>
              </a:solidFill>
            </c:spPr>
            <c:extLst>
              <c:ext xmlns:c16="http://schemas.microsoft.com/office/drawing/2014/chart" uri="{C3380CC4-5D6E-409C-BE32-E72D297353CC}">
                <c16:uniqueId val="{00000089-2993-41DE-A2CB-63102DE87051}"/>
              </c:ext>
            </c:extLst>
          </c:dPt>
          <c:dPt>
            <c:idx val="41"/>
            <c:invertIfNegative val="1"/>
            <c:bubble3D val="0"/>
            <c:spPr>
              <a:solidFill>
                <a:srgbClr val="AEABAB"/>
              </a:solidFill>
            </c:spPr>
            <c:extLst>
              <c:ext xmlns:c16="http://schemas.microsoft.com/office/drawing/2014/chart" uri="{C3380CC4-5D6E-409C-BE32-E72D297353CC}">
                <c16:uniqueId val="{0000008B-2993-41DE-A2CB-63102DE87051}"/>
              </c:ext>
            </c:extLst>
          </c:dPt>
          <c:dPt>
            <c:idx val="42"/>
            <c:invertIfNegative val="1"/>
            <c:bubble3D val="0"/>
            <c:spPr>
              <a:solidFill>
                <a:srgbClr val="AEABAB"/>
              </a:solidFill>
            </c:spPr>
            <c:extLst>
              <c:ext xmlns:c16="http://schemas.microsoft.com/office/drawing/2014/chart" uri="{C3380CC4-5D6E-409C-BE32-E72D297353CC}">
                <c16:uniqueId val="{0000008D-2993-41DE-A2CB-63102DE87051}"/>
              </c:ext>
            </c:extLst>
          </c:dPt>
          <c:dPt>
            <c:idx val="43"/>
            <c:invertIfNegative val="1"/>
            <c:bubble3D val="0"/>
            <c:spPr>
              <a:solidFill>
                <a:srgbClr val="AEABAB"/>
              </a:solidFill>
            </c:spPr>
            <c:extLst>
              <c:ext xmlns:c16="http://schemas.microsoft.com/office/drawing/2014/chart" uri="{C3380CC4-5D6E-409C-BE32-E72D297353CC}">
                <c16:uniqueId val="{0000008F-2993-41DE-A2CB-63102DE87051}"/>
              </c:ext>
            </c:extLst>
          </c:dPt>
          <c:dPt>
            <c:idx val="44"/>
            <c:invertIfNegative val="1"/>
            <c:bubble3D val="0"/>
            <c:spPr>
              <a:solidFill>
                <a:srgbClr val="AEABAB"/>
              </a:solidFill>
            </c:spPr>
            <c:extLst>
              <c:ext xmlns:c16="http://schemas.microsoft.com/office/drawing/2014/chart" uri="{C3380CC4-5D6E-409C-BE32-E72D297353CC}">
                <c16:uniqueId val="{00000091-2993-41DE-A2CB-63102DE87051}"/>
              </c:ext>
            </c:extLst>
          </c:dPt>
          <c:dPt>
            <c:idx val="45"/>
            <c:invertIfNegative val="1"/>
            <c:bubble3D val="0"/>
            <c:spPr>
              <a:solidFill>
                <a:srgbClr val="AEABAB"/>
              </a:solidFill>
            </c:spPr>
            <c:extLst>
              <c:ext xmlns:c16="http://schemas.microsoft.com/office/drawing/2014/chart" uri="{C3380CC4-5D6E-409C-BE32-E72D297353CC}">
                <c16:uniqueId val="{00000093-2993-41DE-A2CB-63102DE87051}"/>
              </c:ext>
            </c:extLst>
          </c:dPt>
          <c:dPt>
            <c:idx val="46"/>
            <c:invertIfNegative val="1"/>
            <c:bubble3D val="0"/>
            <c:spPr>
              <a:solidFill>
                <a:srgbClr val="AEABAB"/>
              </a:solidFill>
            </c:spPr>
            <c:extLst>
              <c:ext xmlns:c16="http://schemas.microsoft.com/office/drawing/2014/chart" uri="{C3380CC4-5D6E-409C-BE32-E72D297353CC}">
                <c16:uniqueId val="{00000095-2993-41DE-A2CB-63102DE87051}"/>
              </c:ext>
            </c:extLst>
          </c:dPt>
          <c:dPt>
            <c:idx val="47"/>
            <c:invertIfNegative val="1"/>
            <c:bubble3D val="0"/>
            <c:spPr>
              <a:solidFill>
                <a:srgbClr val="AEABAB"/>
              </a:solidFill>
            </c:spPr>
            <c:extLst>
              <c:ext xmlns:c16="http://schemas.microsoft.com/office/drawing/2014/chart" uri="{C3380CC4-5D6E-409C-BE32-E72D297353CC}">
                <c16:uniqueId val="{00000097-2993-41DE-A2CB-63102DE87051}"/>
              </c:ext>
            </c:extLst>
          </c:dPt>
          <c:dPt>
            <c:idx val="48"/>
            <c:invertIfNegative val="1"/>
            <c:bubble3D val="0"/>
            <c:spPr>
              <a:solidFill>
                <a:srgbClr val="AEABAB"/>
              </a:solidFill>
            </c:spPr>
            <c:extLst>
              <c:ext xmlns:c16="http://schemas.microsoft.com/office/drawing/2014/chart" uri="{C3380CC4-5D6E-409C-BE32-E72D297353CC}">
                <c16:uniqueId val="{00000099-2993-41DE-A2CB-63102DE87051}"/>
              </c:ext>
            </c:extLst>
          </c:dPt>
          <c:dPt>
            <c:idx val="49"/>
            <c:invertIfNegative val="1"/>
            <c:bubble3D val="0"/>
            <c:spPr>
              <a:solidFill>
                <a:srgbClr val="AEABAB"/>
              </a:solidFill>
            </c:spPr>
            <c:extLst>
              <c:ext xmlns:c16="http://schemas.microsoft.com/office/drawing/2014/chart" uri="{C3380CC4-5D6E-409C-BE32-E72D297353CC}">
                <c16:uniqueId val="{0000009B-2993-41DE-A2CB-63102DE87051}"/>
              </c:ext>
            </c:extLst>
          </c:dPt>
          <c:dPt>
            <c:idx val="50"/>
            <c:invertIfNegative val="1"/>
            <c:bubble3D val="0"/>
            <c:spPr>
              <a:solidFill>
                <a:srgbClr val="AEABAB"/>
              </a:solidFill>
            </c:spPr>
            <c:extLst>
              <c:ext xmlns:c16="http://schemas.microsoft.com/office/drawing/2014/chart" uri="{C3380CC4-5D6E-409C-BE32-E72D297353CC}">
                <c16:uniqueId val="{0000009D-2993-41DE-A2CB-63102DE87051}"/>
              </c:ext>
            </c:extLst>
          </c:dPt>
          <c:dPt>
            <c:idx val="51"/>
            <c:invertIfNegative val="1"/>
            <c:bubble3D val="0"/>
            <c:spPr>
              <a:solidFill>
                <a:srgbClr val="AEABAB"/>
              </a:solidFill>
            </c:spPr>
            <c:extLst>
              <c:ext xmlns:c16="http://schemas.microsoft.com/office/drawing/2014/chart" uri="{C3380CC4-5D6E-409C-BE32-E72D297353CC}">
                <c16:uniqueId val="{0000009F-2993-41DE-A2CB-63102DE87051}"/>
              </c:ext>
            </c:extLst>
          </c:dPt>
          <c:dPt>
            <c:idx val="52"/>
            <c:invertIfNegative val="1"/>
            <c:bubble3D val="0"/>
            <c:spPr>
              <a:solidFill>
                <a:srgbClr val="AEABAB"/>
              </a:solidFill>
            </c:spPr>
            <c:extLst>
              <c:ext xmlns:c16="http://schemas.microsoft.com/office/drawing/2014/chart" uri="{C3380CC4-5D6E-409C-BE32-E72D297353CC}">
                <c16:uniqueId val="{000000A1-2993-41DE-A2CB-63102DE87051}"/>
              </c:ext>
            </c:extLst>
          </c:dPt>
          <c:dPt>
            <c:idx val="53"/>
            <c:invertIfNegative val="1"/>
            <c:bubble3D val="0"/>
            <c:spPr>
              <a:solidFill>
                <a:srgbClr val="AEABAB"/>
              </a:solidFill>
            </c:spPr>
            <c:extLst>
              <c:ext xmlns:c16="http://schemas.microsoft.com/office/drawing/2014/chart" uri="{C3380CC4-5D6E-409C-BE32-E72D297353CC}">
                <c16:uniqueId val="{000000A3-2993-41DE-A2CB-63102DE87051}"/>
              </c:ext>
            </c:extLst>
          </c:dPt>
          <c:dPt>
            <c:idx val="54"/>
            <c:invertIfNegative val="0"/>
            <c:bubble3D val="0"/>
            <c:spPr>
              <a:solidFill>
                <a:srgbClr val="AEABAB"/>
              </a:solidFill>
            </c:spPr>
            <c:extLst>
              <c:ext xmlns:c16="http://schemas.microsoft.com/office/drawing/2014/chart" uri="{C3380CC4-5D6E-409C-BE32-E72D297353CC}">
                <c16:uniqueId val="{00000072-C76F-4230-900D-40618C09729F}"/>
              </c:ext>
            </c:extLst>
          </c:dPt>
          <c:dPt>
            <c:idx val="55"/>
            <c:invertIfNegative val="0"/>
            <c:bubble3D val="0"/>
            <c:spPr>
              <a:solidFill>
                <a:srgbClr val="AEABAB"/>
              </a:solidFill>
            </c:spPr>
            <c:extLst>
              <c:ext xmlns:c16="http://schemas.microsoft.com/office/drawing/2014/chart" uri="{C3380CC4-5D6E-409C-BE32-E72D297353CC}">
                <c16:uniqueId val="{00000074-C76F-4230-900D-40618C09729F}"/>
              </c:ext>
            </c:extLst>
          </c:dPt>
          <c:dPt>
            <c:idx val="56"/>
            <c:invertIfNegative val="0"/>
            <c:bubble3D val="0"/>
            <c:spPr>
              <a:solidFill>
                <a:srgbClr val="AEABAB"/>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58</c:f>
              <c:strCache>
                <c:ptCount val="57"/>
                <c:pt idx="0">
                  <c:v>All Others</c:v>
                </c:pt>
                <c:pt idx="1">
                  <c:v>Bottega</c:v>
                </c:pt>
                <c:pt idx="2">
                  <c:v>Savian</c:v>
                </c:pt>
                <c:pt idx="3">
                  <c:v>Patriarche</c:v>
                </c:pt>
                <c:pt idx="4">
                  <c:v>Mure</c:v>
                </c:pt>
                <c:pt idx="5">
                  <c:v>French Bloo</c:v>
                </c:pt>
                <c:pt idx="6">
                  <c:v>Bouvet-Ladu</c:v>
                </c:pt>
                <c:pt idx="7">
                  <c:v>De Chanceny</c:v>
                </c:pt>
                <c:pt idx="8">
                  <c:v>Patriarche</c:v>
                </c:pt>
                <c:pt idx="9">
                  <c:v>All Others</c:v>
                </c:pt>
                <c:pt idx="10">
                  <c:v>Bottega</c:v>
                </c:pt>
                <c:pt idx="11">
                  <c:v>All Others</c:v>
                </c:pt>
                <c:pt idx="12">
                  <c:v>Kriter</c:v>
                </c:pt>
                <c:pt idx="13">
                  <c:v>All Others</c:v>
                </c:pt>
                <c:pt idx="14">
                  <c:v>Contarini</c:v>
                </c:pt>
                <c:pt idx="15">
                  <c:v>Cru La Maqu</c:v>
                </c:pt>
                <c:pt idx="16">
                  <c:v>All Others</c:v>
                </c:pt>
                <c:pt idx="17">
                  <c:v>All Others</c:v>
                </c:pt>
                <c:pt idx="18">
                  <c:v>Contarini</c:v>
                </c:pt>
                <c:pt idx="19">
                  <c:v>All Others</c:v>
                </c:pt>
                <c:pt idx="20">
                  <c:v>Vilaveroni</c:v>
                </c:pt>
                <c:pt idx="21">
                  <c:v>All Others</c:v>
                </c:pt>
                <c:pt idx="22">
                  <c:v>All Others</c:v>
                </c:pt>
                <c:pt idx="23">
                  <c:v>All Others</c:v>
                </c:pt>
                <c:pt idx="24">
                  <c:v>All Others</c:v>
                </c:pt>
                <c:pt idx="25">
                  <c:v>All Others</c:v>
                </c:pt>
                <c:pt idx="26">
                  <c:v>All Others</c:v>
                </c:pt>
                <c:pt idx="27">
                  <c:v>All Others</c:v>
                </c:pt>
                <c:pt idx="28">
                  <c:v>All Others</c:v>
                </c:pt>
                <c:pt idx="29">
                  <c:v>Bouvet-Ladu</c:v>
                </c:pt>
                <c:pt idx="30">
                  <c:v>Bouvet-Ladu</c:v>
                </c:pt>
                <c:pt idx="31">
                  <c:v>All Others</c:v>
                </c:pt>
                <c:pt idx="32">
                  <c:v>All Others</c:v>
                </c:pt>
                <c:pt idx="33">
                  <c:v>Bouvet-Ladu</c:v>
                </c:pt>
                <c:pt idx="34">
                  <c:v>All Others</c:v>
                </c:pt>
                <c:pt idx="35">
                  <c:v>All Others</c:v>
                </c:pt>
                <c:pt idx="36">
                  <c:v>Vilaveroni</c:v>
                </c:pt>
                <c:pt idx="37">
                  <c:v>Bottega</c:v>
                </c:pt>
                <c:pt idx="38">
                  <c:v>All Others</c:v>
                </c:pt>
                <c:pt idx="39">
                  <c:v>All Others</c:v>
                </c:pt>
                <c:pt idx="40">
                  <c:v>Vilaveroni</c:v>
                </c:pt>
                <c:pt idx="41">
                  <c:v>All Others</c:v>
                </c:pt>
                <c:pt idx="42">
                  <c:v>Celene</c:v>
                </c:pt>
                <c:pt idx="43">
                  <c:v>All Others</c:v>
                </c:pt>
                <c:pt idx="44">
                  <c:v>Vilaveroni</c:v>
                </c:pt>
                <c:pt idx="45">
                  <c:v>All Others</c:v>
                </c:pt>
                <c:pt idx="46">
                  <c:v>All Others</c:v>
                </c:pt>
                <c:pt idx="47">
                  <c:v>All Others</c:v>
                </c:pt>
                <c:pt idx="48">
                  <c:v>Bouvet-Ladu</c:v>
                </c:pt>
                <c:pt idx="49">
                  <c:v>Celene</c:v>
                </c:pt>
                <c:pt idx="50">
                  <c:v>Jaillance</c:v>
                </c:pt>
                <c:pt idx="51">
                  <c:v>All Others</c:v>
                </c:pt>
                <c:pt idx="52">
                  <c:v>All Others</c:v>
                </c:pt>
                <c:pt idx="53">
                  <c:v>All Others</c:v>
                </c:pt>
                <c:pt idx="54">
                  <c:v>All Others</c:v>
                </c:pt>
                <c:pt idx="55">
                  <c:v>Bottega</c:v>
                </c:pt>
                <c:pt idx="56">
                  <c:v>All Others</c:v>
                </c:pt>
              </c:strCache>
            </c:strRef>
          </c:cat>
          <c:val>
            <c:numRef>
              <c:f>Sheet1!$C$2:$C$58</c:f>
              <c:numCache>
                <c:formatCode>General</c:formatCode>
                <c:ptCount val="57"/>
                <c:pt idx="0">
                  <c:v>0.1757313814382033</c:v>
                </c:pt>
                <c:pt idx="1">
                  <c:v>0.33437434835999102</c:v>
                </c:pt>
                <c:pt idx="2">
                  <c:v>0.42793730354260467</c:v>
                </c:pt>
                <c:pt idx="3">
                  <c:v>0.51525223778006035</c:v>
                </c:pt>
                <c:pt idx="4">
                  <c:v>0.59104714205172959</c:v>
                </c:pt>
                <c:pt idx="5">
                  <c:v>0.65372429159490575</c:v>
                </c:pt>
                <c:pt idx="6">
                  <c:v>0.70972961283894931</c:v>
                </c:pt>
                <c:pt idx="7">
                  <c:v>0.74602547864165392</c:v>
                </c:pt>
                <c:pt idx="8">
                  <c:v>0.7780108664591715</c:v>
                </c:pt>
                <c:pt idx="9">
                  <c:v>0.80976069848085808</c:v>
                </c:pt>
                <c:pt idx="10">
                  <c:v>0.83892713988925005</c:v>
                </c:pt>
                <c:pt idx="11">
                  <c:v>0.86045925657046196</c:v>
                </c:pt>
                <c:pt idx="12">
                  <c:v>0.87587174952309599</c:v>
                </c:pt>
                <c:pt idx="13">
                  <c:v>0.89014314841559761</c:v>
                </c:pt>
                <c:pt idx="14">
                  <c:v>0.90395115885728405</c:v>
                </c:pt>
                <c:pt idx="15">
                  <c:v>0.91750623643623386</c:v>
                </c:pt>
                <c:pt idx="16">
                  <c:v>0.92592445995937622</c:v>
                </c:pt>
                <c:pt idx="17">
                  <c:v>0.93389184513557966</c:v>
                </c:pt>
                <c:pt idx="18">
                  <c:v>0.93925556645376529</c:v>
                </c:pt>
                <c:pt idx="19">
                  <c:v>0.94455267568214629</c:v>
                </c:pt>
                <c:pt idx="20">
                  <c:v>0.94978124203551084</c:v>
                </c:pt>
                <c:pt idx="21">
                  <c:v>0.95496540032900568</c:v>
                </c:pt>
                <c:pt idx="22">
                  <c:v>0.95927298213637513</c:v>
                </c:pt>
                <c:pt idx="23">
                  <c:v>0.96351105567612227</c:v>
                </c:pt>
                <c:pt idx="24">
                  <c:v>0.96761493964365419</c:v>
                </c:pt>
                <c:pt idx="25">
                  <c:v>0.97161166503193508</c:v>
                </c:pt>
                <c:pt idx="26">
                  <c:v>0.97554660529344062</c:v>
                </c:pt>
                <c:pt idx="27">
                  <c:v>0.97853159923077504</c:v>
                </c:pt>
                <c:pt idx="28">
                  <c:v>0.98082344127709842</c:v>
                </c:pt>
                <c:pt idx="29">
                  <c:v>0.98302260563325883</c:v>
                </c:pt>
                <c:pt idx="30">
                  <c:v>0.98521211606336057</c:v>
                </c:pt>
                <c:pt idx="31">
                  <c:v>0.98707532379267993</c:v>
                </c:pt>
                <c:pt idx="32">
                  <c:v>0.98860160950255238</c:v>
                </c:pt>
                <c:pt idx="33">
                  <c:v>0.99007962558213158</c:v>
                </c:pt>
                <c:pt idx="34">
                  <c:v>0.99134718607363226</c:v>
                </c:pt>
                <c:pt idx="35">
                  <c:v>0.99256840772005139</c:v>
                </c:pt>
                <c:pt idx="36">
                  <c:v>0.99377418308477672</c:v>
                </c:pt>
                <c:pt idx="37">
                  <c:v>0.99478494914311733</c:v>
                </c:pt>
                <c:pt idx="38">
                  <c:v>0.99547423946370495</c:v>
                </c:pt>
                <c:pt idx="39">
                  <c:v>0.99613649879132826</c:v>
                </c:pt>
                <c:pt idx="40">
                  <c:v>0.99678813880028716</c:v>
                </c:pt>
                <c:pt idx="41">
                  <c:v>0.99741081703107004</c:v>
                </c:pt>
                <c:pt idx="42">
                  <c:v>0.99793792139387227</c:v>
                </c:pt>
                <c:pt idx="43">
                  <c:v>0.9983192514731889</c:v>
                </c:pt>
                <c:pt idx="44">
                  <c:v>0.99865327731481812</c:v>
                </c:pt>
                <c:pt idx="45">
                  <c:v>0.99896992608954183</c:v>
                </c:pt>
                <c:pt idx="46">
                  <c:v>0.99922285895227847</c:v>
                </c:pt>
                <c:pt idx="47">
                  <c:v>0.99941497208084562</c:v>
                </c:pt>
                <c:pt idx="48">
                  <c:v>0.99959646589074824</c:v>
                </c:pt>
                <c:pt idx="49">
                  <c:v>0.99975575567071595</c:v>
                </c:pt>
                <c:pt idx="50">
                  <c:v>0.99988318749469007</c:v>
                </c:pt>
                <c:pt idx="51">
                  <c:v>0.99991987241371294</c:v>
                </c:pt>
                <c:pt idx="52">
                  <c:v>0.99994690340667713</c:v>
                </c:pt>
                <c:pt idx="53">
                  <c:v>0.99997103822182376</c:v>
                </c:pt>
                <c:pt idx="54">
                  <c:v>0.99998744989612343</c:v>
                </c:pt>
                <c:pt idx="55">
                  <c:v>0.99999420764436453</c:v>
                </c:pt>
                <c:pt idx="56">
                  <c:v>0.99999999999999967</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62</c:f>
              <c:strCache>
                <c:ptCount val="61"/>
                <c:pt idx="0">
                  <c:v>All Others</c:v>
                </c:pt>
                <c:pt idx="1">
                  <c:v>Bottega</c:v>
                </c:pt>
                <c:pt idx="2">
                  <c:v>Mure</c:v>
                </c:pt>
                <c:pt idx="3">
                  <c:v>Patriarche</c:v>
                </c:pt>
                <c:pt idx="4">
                  <c:v>Bouvet-Ladu</c:v>
                </c:pt>
                <c:pt idx="5">
                  <c:v>French Bloo</c:v>
                </c:pt>
                <c:pt idx="6">
                  <c:v>Savian</c:v>
                </c:pt>
                <c:pt idx="7">
                  <c:v>De Chanceny</c:v>
                </c:pt>
                <c:pt idx="8">
                  <c:v>Kriter</c:v>
                </c:pt>
                <c:pt idx="9">
                  <c:v>All Others</c:v>
                </c:pt>
                <c:pt idx="10">
                  <c:v>All Others</c:v>
                </c:pt>
                <c:pt idx="11">
                  <c:v>All Others</c:v>
                </c:pt>
                <c:pt idx="12">
                  <c:v>Patriarche</c:v>
                </c:pt>
                <c:pt idx="13">
                  <c:v>Bottega</c:v>
                </c:pt>
                <c:pt idx="14">
                  <c:v>Cru La Maqu</c:v>
                </c:pt>
                <c:pt idx="15">
                  <c:v>All Others</c:v>
                </c:pt>
                <c:pt idx="16">
                  <c:v>All Others</c:v>
                </c:pt>
                <c:pt idx="17">
                  <c:v>All Others</c:v>
                </c:pt>
                <c:pt idx="18">
                  <c:v>Contarini</c:v>
                </c:pt>
                <c:pt idx="19">
                  <c:v>All Others</c:v>
                </c:pt>
                <c:pt idx="20">
                  <c:v>All Others</c:v>
                </c:pt>
                <c:pt idx="21">
                  <c:v>All Others</c:v>
                </c:pt>
                <c:pt idx="22">
                  <c:v>All Others</c:v>
                </c:pt>
                <c:pt idx="23">
                  <c:v>Contarini</c:v>
                </c:pt>
                <c:pt idx="24">
                  <c:v>All Others</c:v>
                </c:pt>
                <c:pt idx="25">
                  <c:v>All Others</c:v>
                </c:pt>
                <c:pt idx="26">
                  <c:v>All Others</c:v>
                </c:pt>
                <c:pt idx="27">
                  <c:v>All Others</c:v>
                </c:pt>
                <c:pt idx="28">
                  <c:v>All Others</c:v>
                </c:pt>
                <c:pt idx="29">
                  <c:v>All Others</c:v>
                </c:pt>
                <c:pt idx="30">
                  <c:v>Mure</c:v>
                </c:pt>
                <c:pt idx="31">
                  <c:v>All Others</c:v>
                </c:pt>
                <c:pt idx="32">
                  <c:v>All Others</c:v>
                </c:pt>
                <c:pt idx="33">
                  <c:v>Bouvet-Ladu</c:v>
                </c:pt>
                <c:pt idx="34">
                  <c:v>All Others</c:v>
                </c:pt>
                <c:pt idx="35">
                  <c:v>Bouvet-Ladu</c:v>
                </c:pt>
                <c:pt idx="36">
                  <c:v>All Others</c:v>
                </c:pt>
                <c:pt idx="37">
                  <c:v>Mure</c:v>
                </c:pt>
                <c:pt idx="38">
                  <c:v>All Others</c:v>
                </c:pt>
                <c:pt idx="39">
                  <c:v>All Others</c:v>
                </c:pt>
                <c:pt idx="40">
                  <c:v>Bouvet-Ladu</c:v>
                </c:pt>
                <c:pt idx="41">
                  <c:v>All Others</c:v>
                </c:pt>
                <c:pt idx="42">
                  <c:v>All Others</c:v>
                </c:pt>
                <c:pt idx="43">
                  <c:v>All Others</c:v>
                </c:pt>
                <c:pt idx="44">
                  <c:v>Celene</c:v>
                </c:pt>
                <c:pt idx="45">
                  <c:v>All Others</c:v>
                </c:pt>
                <c:pt idx="46">
                  <c:v>Bouvet-Ladu</c:v>
                </c:pt>
                <c:pt idx="47">
                  <c:v>All Others</c:v>
                </c:pt>
                <c:pt idx="48">
                  <c:v>All Others</c:v>
                </c:pt>
                <c:pt idx="49">
                  <c:v>Celene</c:v>
                </c:pt>
                <c:pt idx="50">
                  <c:v>All Others</c:v>
                </c:pt>
                <c:pt idx="51">
                  <c:v>All Others</c:v>
                </c:pt>
                <c:pt idx="52">
                  <c:v>Bottega</c:v>
                </c:pt>
                <c:pt idx="53">
                  <c:v>All Others</c:v>
                </c:pt>
                <c:pt idx="54">
                  <c:v>Jaillance</c:v>
                </c:pt>
                <c:pt idx="55">
                  <c:v>All Others</c:v>
                </c:pt>
                <c:pt idx="56">
                  <c:v>All Others</c:v>
                </c:pt>
                <c:pt idx="57">
                  <c:v>All Others</c:v>
                </c:pt>
                <c:pt idx="58">
                  <c:v>Bouvet-Ladu</c:v>
                </c:pt>
                <c:pt idx="59">
                  <c:v>All Others</c:v>
                </c:pt>
                <c:pt idx="60">
                  <c:v>All Others</c:v>
                </c:pt>
              </c:strCache>
            </c:strRef>
          </c:cat>
          <c:val>
            <c:numRef>
              <c:f>Sheet1!$B$2:$B$62</c:f>
              <c:numCache>
                <c:formatCode>General</c:formatCode>
                <c:ptCount val="61"/>
                <c:pt idx="0">
                  <c:v>0.99</c:v>
                </c:pt>
                <c:pt idx="1">
                  <c:v>0.86</c:v>
                </c:pt>
                <c:pt idx="2">
                  <c:v>0.8</c:v>
                </c:pt>
                <c:pt idx="3">
                  <c:v>0.87</c:v>
                </c:pt>
                <c:pt idx="4">
                  <c:v>0.77</c:v>
                </c:pt>
                <c:pt idx="5">
                  <c:v>0.73</c:v>
                </c:pt>
                <c:pt idx="6">
                  <c:v>0.75</c:v>
                </c:pt>
                <c:pt idx="7">
                  <c:v>0.67</c:v>
                </c:pt>
                <c:pt idx="8">
                  <c:v>0.64</c:v>
                </c:pt>
                <c:pt idx="9">
                  <c:v>0.06</c:v>
                </c:pt>
                <c:pt idx="10">
                  <c:v>0.52</c:v>
                </c:pt>
                <c:pt idx="11">
                  <c:v>0.12</c:v>
                </c:pt>
                <c:pt idx="12">
                  <c:v>0.61</c:v>
                </c:pt>
                <c:pt idx="13">
                  <c:v>0.47</c:v>
                </c:pt>
                <c:pt idx="14">
                  <c:v>0.54</c:v>
                </c:pt>
                <c:pt idx="15">
                  <c:v>0.35</c:v>
                </c:pt>
                <c:pt idx="16">
                  <c:v>0.32</c:v>
                </c:pt>
                <c:pt idx="17">
                  <c:v>0.53</c:v>
                </c:pt>
                <c:pt idx="18">
                  <c:v>0.89</c:v>
                </c:pt>
                <c:pt idx="19">
                  <c:v>0.08</c:v>
                </c:pt>
                <c:pt idx="20">
                  <c:v>0.27</c:v>
                </c:pt>
                <c:pt idx="21">
                  <c:v>0.25</c:v>
                </c:pt>
                <c:pt idx="22">
                  <c:v>0.2</c:v>
                </c:pt>
                <c:pt idx="23">
                  <c:v>0.15</c:v>
                </c:pt>
                <c:pt idx="24">
                  <c:v>0.06</c:v>
                </c:pt>
                <c:pt idx="25">
                  <c:v>0.06</c:v>
                </c:pt>
                <c:pt idx="26">
                  <c:v>0.04</c:v>
                </c:pt>
                <c:pt idx="27">
                  <c:v>0.04</c:v>
                </c:pt>
                <c:pt idx="28">
                  <c:v>0.04</c:v>
                </c:pt>
                <c:pt idx="29">
                  <c:v>0.06</c:v>
                </c:pt>
                <c:pt idx="30">
                  <c:v>0.04</c:v>
                </c:pt>
                <c:pt idx="31">
                  <c:v>0.28000000000000003</c:v>
                </c:pt>
                <c:pt idx="32">
                  <c:v>0.16</c:v>
                </c:pt>
                <c:pt idx="33">
                  <c:v>0.08</c:v>
                </c:pt>
                <c:pt idx="34">
                  <c:v>0.04</c:v>
                </c:pt>
                <c:pt idx="35">
                  <c:v>7.0000000000000007E-2</c:v>
                </c:pt>
                <c:pt idx="36">
                  <c:v>0.15</c:v>
                </c:pt>
                <c:pt idx="37">
                  <c:v>0.04</c:v>
                </c:pt>
                <c:pt idx="38">
                  <c:v>0.04</c:v>
                </c:pt>
                <c:pt idx="39">
                  <c:v>0.1</c:v>
                </c:pt>
                <c:pt idx="40">
                  <c:v>0.06</c:v>
                </c:pt>
                <c:pt idx="41">
                  <c:v>0.04</c:v>
                </c:pt>
                <c:pt idx="42">
                  <c:v>0.04</c:v>
                </c:pt>
                <c:pt idx="43">
                  <c:v>0.05</c:v>
                </c:pt>
                <c:pt idx="44">
                  <c:v>0.06</c:v>
                </c:pt>
                <c:pt idx="45">
                  <c:v>0.04</c:v>
                </c:pt>
                <c:pt idx="46">
                  <c:v>0.04</c:v>
                </c:pt>
                <c:pt idx="47">
                  <c:v>0.06</c:v>
                </c:pt>
                <c:pt idx="48">
                  <c:v>0.05</c:v>
                </c:pt>
                <c:pt idx="49">
                  <c:v>0.08</c:v>
                </c:pt>
                <c:pt idx="50">
                  <c:v>0.06</c:v>
                </c:pt>
                <c:pt idx="51">
                  <c:v>0.04</c:v>
                </c:pt>
                <c:pt idx="52">
                  <c:v>0.03</c:v>
                </c:pt>
                <c:pt idx="53">
                  <c:v>0.04</c:v>
                </c:pt>
                <c:pt idx="54">
                  <c:v>0.04</c:v>
                </c:pt>
                <c:pt idx="55">
                  <c:v>0.03</c:v>
                </c:pt>
                <c:pt idx="56">
                  <c:v>0.05</c:v>
                </c:pt>
                <c:pt idx="57">
                  <c:v>0.02</c:v>
                </c:pt>
                <c:pt idx="58">
                  <c:v>0.01</c:v>
                </c:pt>
                <c:pt idx="59">
                  <c:v>0.02</c:v>
                </c:pt>
                <c:pt idx="60">
                  <c:v>0.02</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7ECAC4"/>
              </a:solidFill>
            </c:spPr>
            <c:extLst>
              <c:ext xmlns:c16="http://schemas.microsoft.com/office/drawing/2014/chart" uri="{C3380CC4-5D6E-409C-BE32-E72D297353CC}">
                <c16:uniqueId val="{00000053-2993-41DE-A2CB-63102DE87051}"/>
              </c:ext>
            </c:extLst>
          </c:dPt>
          <c:dPt>
            <c:idx val="14"/>
            <c:invertIfNegative val="1"/>
            <c:bubble3D val="0"/>
            <c:spPr>
              <a:solidFill>
                <a:srgbClr val="7ECAC4"/>
              </a:solidFill>
            </c:spPr>
            <c:extLst>
              <c:ext xmlns:c16="http://schemas.microsoft.com/office/drawing/2014/chart" uri="{C3380CC4-5D6E-409C-BE32-E72D297353CC}">
                <c16:uniqueId val="{00000055-2993-41DE-A2CB-63102DE87051}"/>
              </c:ext>
            </c:extLst>
          </c:dPt>
          <c:dPt>
            <c:idx val="15"/>
            <c:invertIfNegative val="1"/>
            <c:bubble3D val="0"/>
            <c:spPr>
              <a:solidFill>
                <a:srgbClr val="7ECAC4"/>
              </a:solidFill>
            </c:spPr>
            <c:extLst>
              <c:ext xmlns:c16="http://schemas.microsoft.com/office/drawing/2014/chart" uri="{C3380CC4-5D6E-409C-BE32-E72D297353CC}">
                <c16:uniqueId val="{00000057-2993-41DE-A2CB-63102DE87051}"/>
              </c:ext>
            </c:extLst>
          </c:dPt>
          <c:dPt>
            <c:idx val="16"/>
            <c:invertIfNegative val="1"/>
            <c:bubble3D val="0"/>
            <c:spPr>
              <a:solidFill>
                <a:srgbClr val="7ECAC4"/>
              </a:solidFill>
            </c:spPr>
            <c:extLst>
              <c:ext xmlns:c16="http://schemas.microsoft.com/office/drawing/2014/chart" uri="{C3380CC4-5D6E-409C-BE32-E72D297353CC}">
                <c16:uniqueId val="{00000059-2993-41DE-A2CB-63102DE87051}"/>
              </c:ext>
            </c:extLst>
          </c:dPt>
          <c:dPt>
            <c:idx val="17"/>
            <c:invertIfNegative val="1"/>
            <c:bubble3D val="0"/>
            <c:spPr>
              <a:solidFill>
                <a:srgbClr val="7ECAC4"/>
              </a:solidFill>
            </c:spPr>
            <c:extLst>
              <c:ext xmlns:c16="http://schemas.microsoft.com/office/drawing/2014/chart" uri="{C3380CC4-5D6E-409C-BE32-E72D297353CC}">
                <c16:uniqueId val="{0000005B-2993-41DE-A2CB-63102DE87051}"/>
              </c:ext>
            </c:extLst>
          </c:dPt>
          <c:dPt>
            <c:idx val="18"/>
            <c:invertIfNegative val="1"/>
            <c:bubble3D val="0"/>
            <c:spPr>
              <a:solidFill>
                <a:srgbClr val="7ECAC4"/>
              </a:solidFill>
            </c:spPr>
            <c:extLst>
              <c:ext xmlns:c16="http://schemas.microsoft.com/office/drawing/2014/chart" uri="{C3380CC4-5D6E-409C-BE32-E72D297353CC}">
                <c16:uniqueId val="{0000005D-2993-41DE-A2CB-63102DE87051}"/>
              </c:ext>
            </c:extLst>
          </c:dPt>
          <c:dPt>
            <c:idx val="19"/>
            <c:invertIfNegative val="1"/>
            <c:bubble3D val="0"/>
            <c:spPr>
              <a:solidFill>
                <a:srgbClr val="7ECAC4"/>
              </a:solidFill>
            </c:spPr>
            <c:extLst>
              <c:ext xmlns:c16="http://schemas.microsoft.com/office/drawing/2014/chart" uri="{C3380CC4-5D6E-409C-BE32-E72D297353CC}">
                <c16:uniqueId val="{0000005F-2993-41DE-A2CB-63102DE87051}"/>
              </c:ext>
            </c:extLst>
          </c:dPt>
          <c:dPt>
            <c:idx val="20"/>
            <c:invertIfNegative val="1"/>
            <c:bubble3D val="0"/>
            <c:spPr>
              <a:solidFill>
                <a:srgbClr val="7ECAC4"/>
              </a:solidFill>
            </c:spPr>
            <c:extLst>
              <c:ext xmlns:c16="http://schemas.microsoft.com/office/drawing/2014/chart" uri="{C3380CC4-5D6E-409C-BE32-E72D297353CC}">
                <c16:uniqueId val="{00000061-2993-41DE-A2CB-63102DE87051}"/>
              </c:ext>
            </c:extLst>
          </c:dPt>
          <c:dPt>
            <c:idx val="21"/>
            <c:invertIfNegative val="1"/>
            <c:bubble3D val="0"/>
            <c:spPr>
              <a:solidFill>
                <a:srgbClr val="7ECAC4"/>
              </a:solidFill>
            </c:spPr>
            <c:extLst>
              <c:ext xmlns:c16="http://schemas.microsoft.com/office/drawing/2014/chart" uri="{C3380CC4-5D6E-409C-BE32-E72D297353CC}">
                <c16:uniqueId val="{00000063-2993-41DE-A2CB-63102DE87051}"/>
              </c:ext>
            </c:extLst>
          </c:dPt>
          <c:dPt>
            <c:idx val="22"/>
            <c:invertIfNegative val="1"/>
            <c:bubble3D val="0"/>
            <c:spPr>
              <a:solidFill>
                <a:srgbClr val="7ECAC4"/>
              </a:solidFill>
            </c:spPr>
            <c:extLst>
              <c:ext xmlns:c16="http://schemas.microsoft.com/office/drawing/2014/chart" uri="{C3380CC4-5D6E-409C-BE32-E72D297353CC}">
                <c16:uniqueId val="{00000065-2993-41DE-A2CB-63102DE87051}"/>
              </c:ext>
            </c:extLst>
          </c:dPt>
          <c:dPt>
            <c:idx val="23"/>
            <c:invertIfNegative val="1"/>
            <c:bubble3D val="0"/>
            <c:spPr>
              <a:solidFill>
                <a:srgbClr val="7ECAC4"/>
              </a:solidFill>
            </c:spPr>
            <c:extLst>
              <c:ext xmlns:c16="http://schemas.microsoft.com/office/drawing/2014/chart" uri="{C3380CC4-5D6E-409C-BE32-E72D297353CC}">
                <c16:uniqueId val="{00000067-2993-41DE-A2CB-63102DE87051}"/>
              </c:ext>
            </c:extLst>
          </c:dPt>
          <c:dPt>
            <c:idx val="24"/>
            <c:invertIfNegative val="1"/>
            <c:bubble3D val="0"/>
            <c:spPr>
              <a:solidFill>
                <a:srgbClr val="AEABAB"/>
              </a:solidFill>
            </c:spPr>
            <c:extLst>
              <c:ext xmlns:c16="http://schemas.microsoft.com/office/drawing/2014/chart" uri="{C3380CC4-5D6E-409C-BE32-E72D297353CC}">
                <c16:uniqueId val="{00000069-2993-41DE-A2CB-63102DE87051}"/>
              </c:ext>
            </c:extLst>
          </c:dPt>
          <c:dPt>
            <c:idx val="25"/>
            <c:invertIfNegative val="1"/>
            <c:bubble3D val="0"/>
            <c:spPr>
              <a:solidFill>
                <a:srgbClr val="AEABAB"/>
              </a:solidFill>
            </c:spPr>
            <c:extLst>
              <c:ext xmlns:c16="http://schemas.microsoft.com/office/drawing/2014/chart" uri="{C3380CC4-5D6E-409C-BE32-E72D297353CC}">
                <c16:uniqueId val="{0000006B-2993-41DE-A2CB-63102DE87051}"/>
              </c:ext>
            </c:extLst>
          </c:dPt>
          <c:dPt>
            <c:idx val="26"/>
            <c:invertIfNegative val="1"/>
            <c:bubble3D val="0"/>
            <c:spPr>
              <a:solidFill>
                <a:srgbClr val="AEABAB"/>
              </a:solidFill>
            </c:spPr>
            <c:extLst>
              <c:ext xmlns:c16="http://schemas.microsoft.com/office/drawing/2014/chart" uri="{C3380CC4-5D6E-409C-BE32-E72D297353CC}">
                <c16:uniqueId val="{0000006D-2993-41DE-A2CB-63102DE87051}"/>
              </c:ext>
            </c:extLst>
          </c:dPt>
          <c:dPt>
            <c:idx val="27"/>
            <c:invertIfNegative val="1"/>
            <c:bubble3D val="0"/>
            <c:spPr>
              <a:solidFill>
                <a:srgbClr val="AEABAB"/>
              </a:solidFill>
            </c:spPr>
            <c:extLst>
              <c:ext xmlns:c16="http://schemas.microsoft.com/office/drawing/2014/chart" uri="{C3380CC4-5D6E-409C-BE32-E72D297353CC}">
                <c16:uniqueId val="{0000006F-2993-41DE-A2CB-63102DE87051}"/>
              </c:ext>
            </c:extLst>
          </c:dPt>
          <c:dPt>
            <c:idx val="28"/>
            <c:invertIfNegative val="1"/>
            <c:bubble3D val="0"/>
            <c:spPr>
              <a:solidFill>
                <a:srgbClr val="AEABAB"/>
              </a:solidFill>
            </c:spPr>
            <c:extLst>
              <c:ext xmlns:c16="http://schemas.microsoft.com/office/drawing/2014/chart" uri="{C3380CC4-5D6E-409C-BE32-E72D297353CC}">
                <c16:uniqueId val="{00000071-2993-41DE-A2CB-63102DE87051}"/>
              </c:ext>
            </c:extLst>
          </c:dPt>
          <c:dPt>
            <c:idx val="29"/>
            <c:invertIfNegative val="1"/>
            <c:bubble3D val="0"/>
            <c:spPr>
              <a:solidFill>
                <a:srgbClr val="AEABAB"/>
              </a:solidFill>
            </c:spPr>
            <c:extLst>
              <c:ext xmlns:c16="http://schemas.microsoft.com/office/drawing/2014/chart" uri="{C3380CC4-5D6E-409C-BE32-E72D297353CC}">
                <c16:uniqueId val="{00000073-2993-41DE-A2CB-63102DE87051}"/>
              </c:ext>
            </c:extLst>
          </c:dPt>
          <c:dPt>
            <c:idx val="30"/>
            <c:invertIfNegative val="1"/>
            <c:bubble3D val="0"/>
            <c:spPr>
              <a:solidFill>
                <a:srgbClr val="AEABAB"/>
              </a:solidFill>
            </c:spPr>
            <c:extLst>
              <c:ext xmlns:c16="http://schemas.microsoft.com/office/drawing/2014/chart" uri="{C3380CC4-5D6E-409C-BE32-E72D297353CC}">
                <c16:uniqueId val="{00000075-2993-41DE-A2CB-63102DE87051}"/>
              </c:ext>
            </c:extLst>
          </c:dPt>
          <c:dPt>
            <c:idx val="31"/>
            <c:invertIfNegative val="1"/>
            <c:bubble3D val="0"/>
            <c:spPr>
              <a:solidFill>
                <a:srgbClr val="AEABAB"/>
              </a:solidFill>
            </c:spPr>
            <c:extLst>
              <c:ext xmlns:c16="http://schemas.microsoft.com/office/drawing/2014/chart" uri="{C3380CC4-5D6E-409C-BE32-E72D297353CC}">
                <c16:uniqueId val="{00000077-2993-41DE-A2CB-63102DE87051}"/>
              </c:ext>
            </c:extLst>
          </c:dPt>
          <c:dPt>
            <c:idx val="32"/>
            <c:invertIfNegative val="1"/>
            <c:bubble3D val="0"/>
            <c:spPr>
              <a:solidFill>
                <a:srgbClr val="AEABAB"/>
              </a:solidFill>
            </c:spPr>
            <c:extLst>
              <c:ext xmlns:c16="http://schemas.microsoft.com/office/drawing/2014/chart" uri="{C3380CC4-5D6E-409C-BE32-E72D297353CC}">
                <c16:uniqueId val="{00000079-2993-41DE-A2CB-63102DE87051}"/>
              </c:ext>
            </c:extLst>
          </c:dPt>
          <c:dPt>
            <c:idx val="33"/>
            <c:invertIfNegative val="1"/>
            <c:bubble3D val="0"/>
            <c:spPr>
              <a:solidFill>
                <a:srgbClr val="AEABAB"/>
              </a:solidFill>
            </c:spPr>
            <c:extLst>
              <c:ext xmlns:c16="http://schemas.microsoft.com/office/drawing/2014/chart" uri="{C3380CC4-5D6E-409C-BE32-E72D297353CC}">
                <c16:uniqueId val="{0000007B-2993-41DE-A2CB-63102DE87051}"/>
              </c:ext>
            </c:extLst>
          </c:dPt>
          <c:dPt>
            <c:idx val="34"/>
            <c:invertIfNegative val="1"/>
            <c:bubble3D val="0"/>
            <c:spPr>
              <a:solidFill>
                <a:srgbClr val="AEABAB"/>
              </a:solidFill>
            </c:spPr>
            <c:extLst>
              <c:ext xmlns:c16="http://schemas.microsoft.com/office/drawing/2014/chart" uri="{C3380CC4-5D6E-409C-BE32-E72D297353CC}">
                <c16:uniqueId val="{0000007D-2993-41DE-A2CB-63102DE87051}"/>
              </c:ext>
            </c:extLst>
          </c:dPt>
          <c:dPt>
            <c:idx val="35"/>
            <c:invertIfNegative val="1"/>
            <c:bubble3D val="0"/>
            <c:spPr>
              <a:solidFill>
                <a:srgbClr val="AEABAB"/>
              </a:solidFill>
            </c:spPr>
            <c:extLst>
              <c:ext xmlns:c16="http://schemas.microsoft.com/office/drawing/2014/chart" uri="{C3380CC4-5D6E-409C-BE32-E72D297353CC}">
                <c16:uniqueId val="{0000007F-2993-41DE-A2CB-63102DE87051}"/>
              </c:ext>
            </c:extLst>
          </c:dPt>
          <c:dPt>
            <c:idx val="36"/>
            <c:invertIfNegative val="1"/>
            <c:bubble3D val="0"/>
            <c:spPr>
              <a:solidFill>
                <a:srgbClr val="AEABAB"/>
              </a:solidFill>
            </c:spPr>
            <c:extLst>
              <c:ext xmlns:c16="http://schemas.microsoft.com/office/drawing/2014/chart" uri="{C3380CC4-5D6E-409C-BE32-E72D297353CC}">
                <c16:uniqueId val="{00000081-2993-41DE-A2CB-63102DE87051}"/>
              </c:ext>
            </c:extLst>
          </c:dPt>
          <c:dPt>
            <c:idx val="37"/>
            <c:invertIfNegative val="1"/>
            <c:bubble3D val="0"/>
            <c:spPr>
              <a:solidFill>
                <a:srgbClr val="AEABAB"/>
              </a:solidFill>
            </c:spPr>
            <c:extLst>
              <c:ext xmlns:c16="http://schemas.microsoft.com/office/drawing/2014/chart" uri="{C3380CC4-5D6E-409C-BE32-E72D297353CC}">
                <c16:uniqueId val="{00000083-2993-41DE-A2CB-63102DE87051}"/>
              </c:ext>
            </c:extLst>
          </c:dPt>
          <c:dPt>
            <c:idx val="38"/>
            <c:invertIfNegative val="1"/>
            <c:bubble3D val="0"/>
            <c:spPr>
              <a:solidFill>
                <a:srgbClr val="AEABAB"/>
              </a:solidFill>
            </c:spPr>
            <c:extLst>
              <c:ext xmlns:c16="http://schemas.microsoft.com/office/drawing/2014/chart" uri="{C3380CC4-5D6E-409C-BE32-E72D297353CC}">
                <c16:uniqueId val="{00000085-2993-41DE-A2CB-63102DE87051}"/>
              </c:ext>
            </c:extLst>
          </c:dPt>
          <c:dPt>
            <c:idx val="39"/>
            <c:invertIfNegative val="1"/>
            <c:bubble3D val="0"/>
            <c:spPr>
              <a:solidFill>
                <a:srgbClr val="AEABAB"/>
              </a:solidFill>
            </c:spPr>
            <c:extLst>
              <c:ext xmlns:c16="http://schemas.microsoft.com/office/drawing/2014/chart" uri="{C3380CC4-5D6E-409C-BE32-E72D297353CC}">
                <c16:uniqueId val="{00000087-2993-41DE-A2CB-63102DE87051}"/>
              </c:ext>
            </c:extLst>
          </c:dPt>
          <c:dPt>
            <c:idx val="40"/>
            <c:invertIfNegative val="1"/>
            <c:bubble3D val="0"/>
            <c:spPr>
              <a:solidFill>
                <a:srgbClr val="AEABAB"/>
              </a:solidFill>
            </c:spPr>
            <c:extLst>
              <c:ext xmlns:c16="http://schemas.microsoft.com/office/drawing/2014/chart" uri="{C3380CC4-5D6E-409C-BE32-E72D297353CC}">
                <c16:uniqueId val="{00000089-2993-41DE-A2CB-63102DE87051}"/>
              </c:ext>
            </c:extLst>
          </c:dPt>
          <c:dPt>
            <c:idx val="41"/>
            <c:invertIfNegative val="1"/>
            <c:bubble3D val="0"/>
            <c:spPr>
              <a:solidFill>
                <a:srgbClr val="AEABAB"/>
              </a:solidFill>
            </c:spPr>
            <c:extLst>
              <c:ext xmlns:c16="http://schemas.microsoft.com/office/drawing/2014/chart" uri="{C3380CC4-5D6E-409C-BE32-E72D297353CC}">
                <c16:uniqueId val="{0000008B-2993-41DE-A2CB-63102DE87051}"/>
              </c:ext>
            </c:extLst>
          </c:dPt>
          <c:dPt>
            <c:idx val="42"/>
            <c:invertIfNegative val="1"/>
            <c:bubble3D val="0"/>
            <c:spPr>
              <a:solidFill>
                <a:srgbClr val="AEABAB"/>
              </a:solidFill>
            </c:spPr>
            <c:extLst>
              <c:ext xmlns:c16="http://schemas.microsoft.com/office/drawing/2014/chart" uri="{C3380CC4-5D6E-409C-BE32-E72D297353CC}">
                <c16:uniqueId val="{0000008D-2993-41DE-A2CB-63102DE87051}"/>
              </c:ext>
            </c:extLst>
          </c:dPt>
          <c:dPt>
            <c:idx val="43"/>
            <c:invertIfNegative val="1"/>
            <c:bubble3D val="0"/>
            <c:spPr>
              <a:solidFill>
                <a:srgbClr val="AEABAB"/>
              </a:solidFill>
            </c:spPr>
            <c:extLst>
              <c:ext xmlns:c16="http://schemas.microsoft.com/office/drawing/2014/chart" uri="{C3380CC4-5D6E-409C-BE32-E72D297353CC}">
                <c16:uniqueId val="{0000008F-2993-41DE-A2CB-63102DE87051}"/>
              </c:ext>
            </c:extLst>
          </c:dPt>
          <c:dPt>
            <c:idx val="44"/>
            <c:invertIfNegative val="1"/>
            <c:bubble3D val="0"/>
            <c:spPr>
              <a:solidFill>
                <a:srgbClr val="AEABAB"/>
              </a:solidFill>
            </c:spPr>
            <c:extLst>
              <c:ext xmlns:c16="http://schemas.microsoft.com/office/drawing/2014/chart" uri="{C3380CC4-5D6E-409C-BE32-E72D297353CC}">
                <c16:uniqueId val="{00000091-2993-41DE-A2CB-63102DE87051}"/>
              </c:ext>
            </c:extLst>
          </c:dPt>
          <c:dPt>
            <c:idx val="45"/>
            <c:invertIfNegative val="1"/>
            <c:bubble3D val="0"/>
            <c:spPr>
              <a:solidFill>
                <a:srgbClr val="AEABAB"/>
              </a:solidFill>
            </c:spPr>
            <c:extLst>
              <c:ext xmlns:c16="http://schemas.microsoft.com/office/drawing/2014/chart" uri="{C3380CC4-5D6E-409C-BE32-E72D297353CC}">
                <c16:uniqueId val="{00000093-2993-41DE-A2CB-63102DE87051}"/>
              </c:ext>
            </c:extLst>
          </c:dPt>
          <c:dPt>
            <c:idx val="46"/>
            <c:invertIfNegative val="1"/>
            <c:bubble3D val="0"/>
            <c:spPr>
              <a:solidFill>
                <a:srgbClr val="AEABAB"/>
              </a:solidFill>
            </c:spPr>
            <c:extLst>
              <c:ext xmlns:c16="http://schemas.microsoft.com/office/drawing/2014/chart" uri="{C3380CC4-5D6E-409C-BE32-E72D297353CC}">
                <c16:uniqueId val="{00000095-2993-41DE-A2CB-63102DE87051}"/>
              </c:ext>
            </c:extLst>
          </c:dPt>
          <c:dPt>
            <c:idx val="47"/>
            <c:invertIfNegative val="1"/>
            <c:bubble3D val="0"/>
            <c:spPr>
              <a:solidFill>
                <a:srgbClr val="AEABAB"/>
              </a:solidFill>
            </c:spPr>
            <c:extLst>
              <c:ext xmlns:c16="http://schemas.microsoft.com/office/drawing/2014/chart" uri="{C3380CC4-5D6E-409C-BE32-E72D297353CC}">
                <c16:uniqueId val="{00000097-2993-41DE-A2CB-63102DE87051}"/>
              </c:ext>
            </c:extLst>
          </c:dPt>
          <c:dPt>
            <c:idx val="48"/>
            <c:invertIfNegative val="1"/>
            <c:bubble3D val="0"/>
            <c:spPr>
              <a:solidFill>
                <a:srgbClr val="AEABAB"/>
              </a:solidFill>
            </c:spPr>
            <c:extLst>
              <c:ext xmlns:c16="http://schemas.microsoft.com/office/drawing/2014/chart" uri="{C3380CC4-5D6E-409C-BE32-E72D297353CC}">
                <c16:uniqueId val="{00000099-2993-41DE-A2CB-63102DE87051}"/>
              </c:ext>
            </c:extLst>
          </c:dPt>
          <c:dPt>
            <c:idx val="49"/>
            <c:invertIfNegative val="1"/>
            <c:bubble3D val="0"/>
            <c:spPr>
              <a:solidFill>
                <a:srgbClr val="AEABAB"/>
              </a:solidFill>
            </c:spPr>
            <c:extLst>
              <c:ext xmlns:c16="http://schemas.microsoft.com/office/drawing/2014/chart" uri="{C3380CC4-5D6E-409C-BE32-E72D297353CC}">
                <c16:uniqueId val="{0000009B-2993-41DE-A2CB-63102DE87051}"/>
              </c:ext>
            </c:extLst>
          </c:dPt>
          <c:dPt>
            <c:idx val="50"/>
            <c:invertIfNegative val="1"/>
            <c:bubble3D val="0"/>
            <c:spPr>
              <a:solidFill>
                <a:srgbClr val="AEABAB"/>
              </a:solidFill>
            </c:spPr>
            <c:extLst>
              <c:ext xmlns:c16="http://schemas.microsoft.com/office/drawing/2014/chart" uri="{C3380CC4-5D6E-409C-BE32-E72D297353CC}">
                <c16:uniqueId val="{0000009D-2993-41DE-A2CB-63102DE87051}"/>
              </c:ext>
            </c:extLst>
          </c:dPt>
          <c:dPt>
            <c:idx val="51"/>
            <c:invertIfNegative val="1"/>
            <c:bubble3D val="0"/>
            <c:spPr>
              <a:solidFill>
                <a:srgbClr val="AEABAB"/>
              </a:solidFill>
            </c:spPr>
            <c:extLst>
              <c:ext xmlns:c16="http://schemas.microsoft.com/office/drawing/2014/chart" uri="{C3380CC4-5D6E-409C-BE32-E72D297353CC}">
                <c16:uniqueId val="{0000009F-2993-41DE-A2CB-63102DE87051}"/>
              </c:ext>
            </c:extLst>
          </c:dPt>
          <c:dPt>
            <c:idx val="52"/>
            <c:invertIfNegative val="1"/>
            <c:bubble3D val="0"/>
            <c:spPr>
              <a:solidFill>
                <a:srgbClr val="AEABAB"/>
              </a:solidFill>
            </c:spPr>
            <c:extLst>
              <c:ext xmlns:c16="http://schemas.microsoft.com/office/drawing/2014/chart" uri="{C3380CC4-5D6E-409C-BE32-E72D297353CC}">
                <c16:uniqueId val="{000000A1-2993-41DE-A2CB-63102DE87051}"/>
              </c:ext>
            </c:extLst>
          </c:dPt>
          <c:dPt>
            <c:idx val="53"/>
            <c:invertIfNegative val="1"/>
            <c:bubble3D val="0"/>
            <c:spPr>
              <a:solidFill>
                <a:srgbClr val="AEABAB"/>
              </a:solidFill>
            </c:spPr>
            <c:extLst>
              <c:ext xmlns:c16="http://schemas.microsoft.com/office/drawing/2014/chart" uri="{C3380CC4-5D6E-409C-BE32-E72D297353CC}">
                <c16:uniqueId val="{000000A3-2993-41DE-A2CB-63102DE87051}"/>
              </c:ext>
            </c:extLst>
          </c:dPt>
          <c:dPt>
            <c:idx val="54"/>
            <c:invertIfNegative val="0"/>
            <c:bubble3D val="0"/>
            <c:spPr>
              <a:solidFill>
                <a:srgbClr val="AEABAB"/>
              </a:solidFill>
            </c:spPr>
            <c:extLst>
              <c:ext xmlns:c16="http://schemas.microsoft.com/office/drawing/2014/chart" uri="{C3380CC4-5D6E-409C-BE32-E72D297353CC}">
                <c16:uniqueId val="{00000072-C76F-4230-900D-40618C09729F}"/>
              </c:ext>
            </c:extLst>
          </c:dPt>
          <c:dPt>
            <c:idx val="55"/>
            <c:invertIfNegative val="0"/>
            <c:bubble3D val="0"/>
            <c:spPr>
              <a:solidFill>
                <a:srgbClr val="AEABAB"/>
              </a:solidFill>
            </c:spPr>
            <c:extLst>
              <c:ext xmlns:c16="http://schemas.microsoft.com/office/drawing/2014/chart" uri="{C3380CC4-5D6E-409C-BE32-E72D297353CC}">
                <c16:uniqueId val="{00000074-C76F-4230-900D-40618C09729F}"/>
              </c:ext>
            </c:extLst>
          </c:dPt>
          <c:dPt>
            <c:idx val="56"/>
            <c:invertIfNegative val="0"/>
            <c:bubble3D val="0"/>
            <c:spPr>
              <a:solidFill>
                <a:srgbClr val="AEABAB"/>
              </a:solidFill>
            </c:spPr>
            <c:extLst>
              <c:ext xmlns:c16="http://schemas.microsoft.com/office/drawing/2014/chart" uri="{C3380CC4-5D6E-409C-BE32-E72D297353CC}">
                <c16:uniqueId val="{00000076-C76F-4230-900D-40618C09729F}"/>
              </c:ext>
            </c:extLst>
          </c:dPt>
          <c:dPt>
            <c:idx val="57"/>
            <c:invertIfNegative val="0"/>
            <c:bubble3D val="0"/>
            <c:spPr>
              <a:solidFill>
                <a:srgbClr val="AEABAB"/>
              </a:solidFill>
            </c:spPr>
            <c:extLst>
              <c:ext xmlns:c16="http://schemas.microsoft.com/office/drawing/2014/chart" uri="{C3380CC4-5D6E-409C-BE32-E72D297353CC}">
                <c16:uniqueId val="{00000078-C76F-4230-900D-40618C09729F}"/>
              </c:ext>
            </c:extLst>
          </c:dPt>
          <c:dPt>
            <c:idx val="58"/>
            <c:invertIfNegative val="0"/>
            <c:bubble3D val="0"/>
            <c:spPr>
              <a:solidFill>
                <a:srgbClr val="AEABAB"/>
              </a:solidFill>
            </c:spPr>
            <c:extLst>
              <c:ext xmlns:c16="http://schemas.microsoft.com/office/drawing/2014/chart" uri="{C3380CC4-5D6E-409C-BE32-E72D297353CC}">
                <c16:uniqueId val="{0000007A-C76F-4230-900D-40618C09729F}"/>
              </c:ext>
            </c:extLst>
          </c:dPt>
          <c:dPt>
            <c:idx val="59"/>
            <c:invertIfNegative val="0"/>
            <c:bubble3D val="0"/>
            <c:spPr>
              <a:solidFill>
                <a:srgbClr val="AEABAB"/>
              </a:solidFill>
            </c:spPr>
            <c:extLst>
              <c:ext xmlns:c16="http://schemas.microsoft.com/office/drawing/2014/chart" uri="{C3380CC4-5D6E-409C-BE32-E72D297353CC}">
                <c16:uniqueId val="{0000007C-C76F-4230-900D-40618C09729F}"/>
              </c:ext>
            </c:extLst>
          </c:dPt>
          <c:dPt>
            <c:idx val="60"/>
            <c:invertIfNegative val="0"/>
            <c:bubble3D val="0"/>
            <c:spPr>
              <a:solidFill>
                <a:srgbClr val="AEABAB"/>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62</c:f>
              <c:strCache>
                <c:ptCount val="61"/>
                <c:pt idx="0">
                  <c:v>All Others</c:v>
                </c:pt>
                <c:pt idx="1">
                  <c:v>Bottega</c:v>
                </c:pt>
                <c:pt idx="2">
                  <c:v>Mure</c:v>
                </c:pt>
                <c:pt idx="3">
                  <c:v>Patriarche</c:v>
                </c:pt>
                <c:pt idx="4">
                  <c:v>Bouvet-Ladu</c:v>
                </c:pt>
                <c:pt idx="5">
                  <c:v>French Bloo</c:v>
                </c:pt>
                <c:pt idx="6">
                  <c:v>Savian</c:v>
                </c:pt>
                <c:pt idx="7">
                  <c:v>De Chanceny</c:v>
                </c:pt>
                <c:pt idx="8">
                  <c:v>Kriter</c:v>
                </c:pt>
                <c:pt idx="9">
                  <c:v>All Others</c:v>
                </c:pt>
                <c:pt idx="10">
                  <c:v>All Others</c:v>
                </c:pt>
                <c:pt idx="11">
                  <c:v>All Others</c:v>
                </c:pt>
                <c:pt idx="12">
                  <c:v>Patriarche</c:v>
                </c:pt>
                <c:pt idx="13">
                  <c:v>Bottega</c:v>
                </c:pt>
                <c:pt idx="14">
                  <c:v>Cru La Maqu</c:v>
                </c:pt>
                <c:pt idx="15">
                  <c:v>All Others</c:v>
                </c:pt>
                <c:pt idx="16">
                  <c:v>All Others</c:v>
                </c:pt>
                <c:pt idx="17">
                  <c:v>All Others</c:v>
                </c:pt>
                <c:pt idx="18">
                  <c:v>Contarini</c:v>
                </c:pt>
                <c:pt idx="19">
                  <c:v>All Others</c:v>
                </c:pt>
                <c:pt idx="20">
                  <c:v>All Others</c:v>
                </c:pt>
                <c:pt idx="21">
                  <c:v>All Others</c:v>
                </c:pt>
                <c:pt idx="22">
                  <c:v>All Others</c:v>
                </c:pt>
                <c:pt idx="23">
                  <c:v>Contarini</c:v>
                </c:pt>
                <c:pt idx="24">
                  <c:v>All Others</c:v>
                </c:pt>
                <c:pt idx="25">
                  <c:v>All Others</c:v>
                </c:pt>
                <c:pt idx="26">
                  <c:v>All Others</c:v>
                </c:pt>
                <c:pt idx="27">
                  <c:v>All Others</c:v>
                </c:pt>
                <c:pt idx="28">
                  <c:v>All Others</c:v>
                </c:pt>
                <c:pt idx="29">
                  <c:v>All Others</c:v>
                </c:pt>
                <c:pt idx="30">
                  <c:v>Mure</c:v>
                </c:pt>
                <c:pt idx="31">
                  <c:v>All Others</c:v>
                </c:pt>
                <c:pt idx="32">
                  <c:v>All Others</c:v>
                </c:pt>
                <c:pt idx="33">
                  <c:v>Bouvet-Ladu</c:v>
                </c:pt>
                <c:pt idx="34">
                  <c:v>All Others</c:v>
                </c:pt>
                <c:pt idx="35">
                  <c:v>Bouvet-Ladu</c:v>
                </c:pt>
                <c:pt idx="36">
                  <c:v>All Others</c:v>
                </c:pt>
                <c:pt idx="37">
                  <c:v>Mure</c:v>
                </c:pt>
                <c:pt idx="38">
                  <c:v>All Others</c:v>
                </c:pt>
                <c:pt idx="39">
                  <c:v>All Others</c:v>
                </c:pt>
                <c:pt idx="40">
                  <c:v>Bouvet-Ladu</c:v>
                </c:pt>
                <c:pt idx="41">
                  <c:v>All Others</c:v>
                </c:pt>
                <c:pt idx="42">
                  <c:v>All Others</c:v>
                </c:pt>
                <c:pt idx="43">
                  <c:v>All Others</c:v>
                </c:pt>
                <c:pt idx="44">
                  <c:v>Celene</c:v>
                </c:pt>
                <c:pt idx="45">
                  <c:v>All Others</c:v>
                </c:pt>
                <c:pt idx="46">
                  <c:v>Bouvet-Ladu</c:v>
                </c:pt>
                <c:pt idx="47">
                  <c:v>All Others</c:v>
                </c:pt>
                <c:pt idx="48">
                  <c:v>All Others</c:v>
                </c:pt>
                <c:pt idx="49">
                  <c:v>Celene</c:v>
                </c:pt>
                <c:pt idx="50">
                  <c:v>All Others</c:v>
                </c:pt>
                <c:pt idx="51">
                  <c:v>All Others</c:v>
                </c:pt>
                <c:pt idx="52">
                  <c:v>Bottega</c:v>
                </c:pt>
                <c:pt idx="53">
                  <c:v>All Others</c:v>
                </c:pt>
                <c:pt idx="54">
                  <c:v>Jaillance</c:v>
                </c:pt>
                <c:pt idx="55">
                  <c:v>All Others</c:v>
                </c:pt>
                <c:pt idx="56">
                  <c:v>All Others</c:v>
                </c:pt>
                <c:pt idx="57">
                  <c:v>All Others</c:v>
                </c:pt>
                <c:pt idx="58">
                  <c:v>Bouvet-Ladu</c:v>
                </c:pt>
                <c:pt idx="59">
                  <c:v>All Others</c:v>
                </c:pt>
                <c:pt idx="60">
                  <c:v>All Others</c:v>
                </c:pt>
              </c:strCache>
            </c:strRef>
          </c:cat>
          <c:val>
            <c:numRef>
              <c:f>Sheet1!$C$2:$C$62</c:f>
              <c:numCache>
                <c:formatCode>General</c:formatCode>
                <c:ptCount val="61"/>
                <c:pt idx="0">
                  <c:v>0.15453433534973299</c:v>
                </c:pt>
                <c:pt idx="1">
                  <c:v>0.26169308195450508</c:v>
                </c:pt>
                <c:pt idx="2">
                  <c:v>0.36317665138908373</c:v>
                </c:pt>
                <c:pt idx="3">
                  <c:v>0.44967220309382372</c:v>
                </c:pt>
                <c:pt idx="4">
                  <c:v>0.52039851416833705</c:v>
                </c:pt>
                <c:pt idx="5">
                  <c:v>0.58604536823801068</c:v>
                </c:pt>
                <c:pt idx="6">
                  <c:v>0.64567469456145199</c:v>
                </c:pt>
                <c:pt idx="7">
                  <c:v>0.68049491526446215</c:v>
                </c:pt>
                <c:pt idx="8">
                  <c:v>0.71267134495515516</c:v>
                </c:pt>
                <c:pt idx="9">
                  <c:v>0.74216477167327999</c:v>
                </c:pt>
                <c:pt idx="10">
                  <c:v>0.77076838852416751</c:v>
                </c:pt>
                <c:pt idx="11">
                  <c:v>0.79909299719634497</c:v>
                </c:pt>
                <c:pt idx="12">
                  <c:v>0.82529261925337427</c:v>
                </c:pt>
                <c:pt idx="13">
                  <c:v>0.84177974038666026</c:v>
                </c:pt>
                <c:pt idx="14">
                  <c:v>0.85745245926857649</c:v>
                </c:pt>
                <c:pt idx="15">
                  <c:v>0.87154915897886043</c:v>
                </c:pt>
                <c:pt idx="16">
                  <c:v>0.88525072278199834</c:v>
                </c:pt>
                <c:pt idx="17">
                  <c:v>0.89811375389668879</c:v>
                </c:pt>
                <c:pt idx="18">
                  <c:v>0.91087573880611672</c:v>
                </c:pt>
                <c:pt idx="19">
                  <c:v>0.92230300891468864</c:v>
                </c:pt>
                <c:pt idx="20">
                  <c:v>0.92972161016374044</c:v>
                </c:pt>
                <c:pt idx="21">
                  <c:v>0.93638311894948179</c:v>
                </c:pt>
                <c:pt idx="22">
                  <c:v>0.94277617662273461</c:v>
                </c:pt>
                <c:pt idx="23">
                  <c:v>0.94842420705121577</c:v>
                </c:pt>
                <c:pt idx="24">
                  <c:v>0.95292151726155783</c:v>
                </c:pt>
                <c:pt idx="25">
                  <c:v>0.95721824321369209</c:v>
                </c:pt>
                <c:pt idx="26">
                  <c:v>0.96095695280840632</c:v>
                </c:pt>
                <c:pt idx="27">
                  <c:v>0.96461874663493563</c:v>
                </c:pt>
                <c:pt idx="28">
                  <c:v>0.96815536381912481</c:v>
                </c:pt>
                <c:pt idx="29">
                  <c:v>0.97165729350001484</c:v>
                </c:pt>
                <c:pt idx="30">
                  <c:v>0.97482139706181814</c:v>
                </c:pt>
                <c:pt idx="31">
                  <c:v>0.97773514733894118</c:v>
                </c:pt>
                <c:pt idx="32">
                  <c:v>0.98058404706641811</c:v>
                </c:pt>
                <c:pt idx="33">
                  <c:v>0.98284778369476267</c:v>
                </c:pt>
                <c:pt idx="34">
                  <c:v>0.98485965888610949</c:v>
                </c:pt>
                <c:pt idx="35">
                  <c:v>0.98671317808413439</c:v>
                </c:pt>
                <c:pt idx="36">
                  <c:v>0.98855312391130312</c:v>
                </c:pt>
                <c:pt idx="37">
                  <c:v>0.99013215938757004</c:v>
                </c:pt>
                <c:pt idx="38">
                  <c:v>0.9914487763606179</c:v>
                </c:pt>
                <c:pt idx="39">
                  <c:v>0.99274880365817486</c:v>
                </c:pt>
                <c:pt idx="40">
                  <c:v>0.99394627659815193</c:v>
                </c:pt>
                <c:pt idx="41">
                  <c:v>0.99459930655156514</c:v>
                </c:pt>
                <c:pt idx="42">
                  <c:v>0.99516787997520662</c:v>
                </c:pt>
                <c:pt idx="43">
                  <c:v>0.99571986372335719</c:v>
                </c:pt>
                <c:pt idx="44">
                  <c:v>0.9962175539880832</c:v>
                </c:pt>
                <c:pt idx="45">
                  <c:v>0.99668508120646215</c:v>
                </c:pt>
                <c:pt idx="46">
                  <c:v>0.99711792092154206</c:v>
                </c:pt>
                <c:pt idx="47">
                  <c:v>0.99754623617966987</c:v>
                </c:pt>
                <c:pt idx="48">
                  <c:v>0.99791874980205564</c:v>
                </c:pt>
                <c:pt idx="49">
                  <c:v>0.99828975527212405</c:v>
                </c:pt>
                <c:pt idx="50">
                  <c:v>0.99859892649718107</c:v>
                </c:pt>
                <c:pt idx="51">
                  <c:v>0.99888999989442995</c:v>
                </c:pt>
                <c:pt idx="52">
                  <c:v>0.99918107329167882</c:v>
                </c:pt>
                <c:pt idx="53">
                  <c:v>0.99946460592734088</c:v>
                </c:pt>
                <c:pt idx="54">
                  <c:v>0.99958827441736364</c:v>
                </c:pt>
                <c:pt idx="55">
                  <c:v>0.99970591029811706</c:v>
                </c:pt>
                <c:pt idx="56">
                  <c:v>0.99981148096033168</c:v>
                </c:pt>
                <c:pt idx="57">
                  <c:v>0.99990649455632485</c:v>
                </c:pt>
                <c:pt idx="58">
                  <c:v>0.99996380434438425</c:v>
                </c:pt>
                <c:pt idx="59">
                  <c:v>0.99998341032450977</c:v>
                </c:pt>
                <c:pt idx="60">
                  <c:v>1.0000000000000007</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71</c:f>
              <c:strCache>
                <c:ptCount val="70"/>
                <c:pt idx="0">
                  <c:v>All Others</c:v>
                </c:pt>
                <c:pt idx="1">
                  <c:v>Bottega</c:v>
                </c:pt>
                <c:pt idx="2">
                  <c:v>Savian</c:v>
                </c:pt>
                <c:pt idx="3">
                  <c:v>Patriarche</c:v>
                </c:pt>
                <c:pt idx="4">
                  <c:v>Mure</c:v>
                </c:pt>
                <c:pt idx="5">
                  <c:v>French Bloo</c:v>
                </c:pt>
                <c:pt idx="6">
                  <c:v>Bouvet-Ladu</c:v>
                </c:pt>
                <c:pt idx="7">
                  <c:v>De Chanceny</c:v>
                </c:pt>
                <c:pt idx="8">
                  <c:v>All Others</c:v>
                </c:pt>
                <c:pt idx="9">
                  <c:v>Patriarche</c:v>
                </c:pt>
                <c:pt idx="10">
                  <c:v>Bottega</c:v>
                </c:pt>
                <c:pt idx="11">
                  <c:v>Kriter</c:v>
                </c:pt>
                <c:pt idx="12">
                  <c:v>All Others</c:v>
                </c:pt>
                <c:pt idx="13">
                  <c:v>Cru La Maqu</c:v>
                </c:pt>
                <c:pt idx="14">
                  <c:v>All Others</c:v>
                </c:pt>
                <c:pt idx="15">
                  <c:v>All Others</c:v>
                </c:pt>
                <c:pt idx="16">
                  <c:v>Contarini</c:v>
                </c:pt>
                <c:pt idx="17">
                  <c:v>All Others</c:v>
                </c:pt>
                <c:pt idx="18">
                  <c:v>All Others</c:v>
                </c:pt>
                <c:pt idx="19">
                  <c:v>All Others</c:v>
                </c:pt>
                <c:pt idx="20">
                  <c:v>All Others</c:v>
                </c:pt>
                <c:pt idx="21">
                  <c:v>Contarini</c:v>
                </c:pt>
                <c:pt idx="22">
                  <c:v>All Others</c:v>
                </c:pt>
                <c:pt idx="23">
                  <c:v>All Others</c:v>
                </c:pt>
                <c:pt idx="24">
                  <c:v>All Others</c:v>
                </c:pt>
                <c:pt idx="25">
                  <c:v>All Others</c:v>
                </c:pt>
                <c:pt idx="26">
                  <c:v>All Others</c:v>
                </c:pt>
                <c:pt idx="27">
                  <c:v>All Others</c:v>
                </c:pt>
                <c:pt idx="28">
                  <c:v>Bouvet-Ladu</c:v>
                </c:pt>
                <c:pt idx="29">
                  <c:v>All Others</c:v>
                </c:pt>
                <c:pt idx="30">
                  <c:v>All Others</c:v>
                </c:pt>
                <c:pt idx="31">
                  <c:v>All Others</c:v>
                </c:pt>
                <c:pt idx="32">
                  <c:v>All Others</c:v>
                </c:pt>
                <c:pt idx="33">
                  <c:v>All Others</c:v>
                </c:pt>
                <c:pt idx="34">
                  <c:v>All Others</c:v>
                </c:pt>
                <c:pt idx="35">
                  <c:v>All Others</c:v>
                </c:pt>
                <c:pt idx="36">
                  <c:v>Bouvet-Ladu</c:v>
                </c:pt>
                <c:pt idx="37">
                  <c:v>All Others</c:v>
                </c:pt>
                <c:pt idx="38">
                  <c:v>All Others</c:v>
                </c:pt>
                <c:pt idx="39">
                  <c:v>Bouvet-Ladu</c:v>
                </c:pt>
                <c:pt idx="40">
                  <c:v>All Others</c:v>
                </c:pt>
                <c:pt idx="41">
                  <c:v>Celene</c:v>
                </c:pt>
                <c:pt idx="42">
                  <c:v>All Others</c:v>
                </c:pt>
                <c:pt idx="43">
                  <c:v>All Others</c:v>
                </c:pt>
                <c:pt idx="44">
                  <c:v>Celene</c:v>
                </c:pt>
                <c:pt idx="45">
                  <c:v>All Others</c:v>
                </c:pt>
                <c:pt idx="46">
                  <c:v>Bottega</c:v>
                </c:pt>
                <c:pt idx="47">
                  <c:v>All Others</c:v>
                </c:pt>
                <c:pt idx="48">
                  <c:v>All Others</c:v>
                </c:pt>
                <c:pt idx="49">
                  <c:v>All Others</c:v>
                </c:pt>
                <c:pt idx="50">
                  <c:v>All Others</c:v>
                </c:pt>
                <c:pt idx="51">
                  <c:v>All Others</c:v>
                </c:pt>
                <c:pt idx="52">
                  <c:v>All Others</c:v>
                </c:pt>
                <c:pt idx="53">
                  <c:v>Jaillance</c:v>
                </c:pt>
                <c:pt idx="54">
                  <c:v>All Others</c:v>
                </c:pt>
                <c:pt idx="55">
                  <c:v>All Others</c:v>
                </c:pt>
                <c:pt idx="56">
                  <c:v>All Others</c:v>
                </c:pt>
                <c:pt idx="57">
                  <c:v>Bouvet-Ladu</c:v>
                </c:pt>
                <c:pt idx="58">
                  <c:v>Mure</c:v>
                </c:pt>
                <c:pt idx="59">
                  <c:v>All Others</c:v>
                </c:pt>
                <c:pt idx="60">
                  <c:v>All Others</c:v>
                </c:pt>
                <c:pt idx="61">
                  <c:v>Bottega</c:v>
                </c:pt>
                <c:pt idx="62">
                  <c:v>All Others</c:v>
                </c:pt>
                <c:pt idx="63">
                  <c:v>All Others</c:v>
                </c:pt>
                <c:pt idx="64">
                  <c:v>Bouvet-Ladu</c:v>
                </c:pt>
                <c:pt idx="65">
                  <c:v>All Others</c:v>
                </c:pt>
                <c:pt idx="66">
                  <c:v>All Others</c:v>
                </c:pt>
                <c:pt idx="67">
                  <c:v>All Others</c:v>
                </c:pt>
                <c:pt idx="68">
                  <c:v>Bottega</c:v>
                </c:pt>
                <c:pt idx="69">
                  <c:v>All Others</c:v>
                </c:pt>
              </c:strCache>
            </c:strRef>
          </c:cat>
          <c:val>
            <c:numRef>
              <c:f>Sheet1!$B$2:$B$71</c:f>
              <c:numCache>
                <c:formatCode>General</c:formatCode>
                <c:ptCount val="70"/>
                <c:pt idx="0">
                  <c:v>0.94</c:v>
                </c:pt>
                <c:pt idx="1">
                  <c:v>0.85</c:v>
                </c:pt>
                <c:pt idx="2">
                  <c:v>0.8</c:v>
                </c:pt>
                <c:pt idx="3">
                  <c:v>0.86</c:v>
                </c:pt>
                <c:pt idx="4">
                  <c:v>0.77</c:v>
                </c:pt>
                <c:pt idx="5">
                  <c:v>0.68</c:v>
                </c:pt>
                <c:pt idx="6">
                  <c:v>0.64</c:v>
                </c:pt>
                <c:pt idx="7">
                  <c:v>0.52</c:v>
                </c:pt>
                <c:pt idx="8">
                  <c:v>0.38</c:v>
                </c:pt>
                <c:pt idx="9">
                  <c:v>0.61</c:v>
                </c:pt>
                <c:pt idx="10">
                  <c:v>0.48</c:v>
                </c:pt>
                <c:pt idx="11">
                  <c:v>0.39</c:v>
                </c:pt>
                <c:pt idx="12">
                  <c:v>0.28000000000000003</c:v>
                </c:pt>
                <c:pt idx="13">
                  <c:v>0.32</c:v>
                </c:pt>
                <c:pt idx="14">
                  <c:v>0.48</c:v>
                </c:pt>
                <c:pt idx="15">
                  <c:v>0.08</c:v>
                </c:pt>
                <c:pt idx="16">
                  <c:v>0.82</c:v>
                </c:pt>
                <c:pt idx="17">
                  <c:v>0.25</c:v>
                </c:pt>
                <c:pt idx="18">
                  <c:v>0.21</c:v>
                </c:pt>
                <c:pt idx="19">
                  <c:v>0.27</c:v>
                </c:pt>
                <c:pt idx="20">
                  <c:v>0.19</c:v>
                </c:pt>
                <c:pt idx="21">
                  <c:v>0.11</c:v>
                </c:pt>
                <c:pt idx="22">
                  <c:v>0.1</c:v>
                </c:pt>
                <c:pt idx="23">
                  <c:v>0.04</c:v>
                </c:pt>
                <c:pt idx="24">
                  <c:v>0.05</c:v>
                </c:pt>
                <c:pt idx="25">
                  <c:v>0.02</c:v>
                </c:pt>
                <c:pt idx="26">
                  <c:v>0.03</c:v>
                </c:pt>
                <c:pt idx="27">
                  <c:v>0.05</c:v>
                </c:pt>
                <c:pt idx="28">
                  <c:v>0.05</c:v>
                </c:pt>
                <c:pt idx="29">
                  <c:v>0.22</c:v>
                </c:pt>
                <c:pt idx="30">
                  <c:v>0.02</c:v>
                </c:pt>
                <c:pt idx="31">
                  <c:v>0.03</c:v>
                </c:pt>
                <c:pt idx="32">
                  <c:v>0.04</c:v>
                </c:pt>
                <c:pt idx="33">
                  <c:v>0.02</c:v>
                </c:pt>
                <c:pt idx="34">
                  <c:v>0.02</c:v>
                </c:pt>
                <c:pt idx="35">
                  <c:v>0.09</c:v>
                </c:pt>
                <c:pt idx="36">
                  <c:v>0.05</c:v>
                </c:pt>
                <c:pt idx="37">
                  <c:v>0.02</c:v>
                </c:pt>
                <c:pt idx="38">
                  <c:v>0.02</c:v>
                </c:pt>
                <c:pt idx="39">
                  <c:v>0.05</c:v>
                </c:pt>
                <c:pt idx="40">
                  <c:v>0.03</c:v>
                </c:pt>
                <c:pt idx="41">
                  <c:v>0.1</c:v>
                </c:pt>
                <c:pt idx="42">
                  <c:v>0.03</c:v>
                </c:pt>
                <c:pt idx="43">
                  <c:v>0.03</c:v>
                </c:pt>
                <c:pt idx="44">
                  <c:v>0.05</c:v>
                </c:pt>
                <c:pt idx="45">
                  <c:v>0.02</c:v>
                </c:pt>
                <c:pt idx="46">
                  <c:v>0.06</c:v>
                </c:pt>
                <c:pt idx="47">
                  <c:v>0.02</c:v>
                </c:pt>
                <c:pt idx="48">
                  <c:v>7.0000000000000007E-2</c:v>
                </c:pt>
                <c:pt idx="49">
                  <c:v>0.01</c:v>
                </c:pt>
                <c:pt idx="50">
                  <c:v>0.04</c:v>
                </c:pt>
                <c:pt idx="51">
                  <c:v>0.05</c:v>
                </c:pt>
                <c:pt idx="52">
                  <c:v>0.02</c:v>
                </c:pt>
                <c:pt idx="53">
                  <c:v>0.02</c:v>
                </c:pt>
                <c:pt idx="54">
                  <c:v>0.02</c:v>
                </c:pt>
                <c:pt idx="55">
                  <c:v>0.04</c:v>
                </c:pt>
                <c:pt idx="56">
                  <c:v>0.01</c:v>
                </c:pt>
                <c:pt idx="57">
                  <c:v>0.01</c:v>
                </c:pt>
                <c:pt idx="58">
                  <c:v>0.01</c:v>
                </c:pt>
                <c:pt idx="59">
                  <c:v>0.01</c:v>
                </c:pt>
                <c:pt idx="60">
                  <c:v>0.03</c:v>
                </c:pt>
                <c:pt idx="61">
                  <c:v>0.01</c:v>
                </c:pt>
                <c:pt idx="62">
                  <c:v>0.03</c:v>
                </c:pt>
                <c:pt idx="63">
                  <c:v>0.02</c:v>
                </c:pt>
                <c:pt idx="64">
                  <c:v>0.01</c:v>
                </c:pt>
                <c:pt idx="65">
                  <c:v>0.03</c:v>
                </c:pt>
                <c:pt idx="66">
                  <c:v>0.01</c:v>
                </c:pt>
                <c:pt idx="67">
                  <c:v>0.02</c:v>
                </c:pt>
                <c:pt idx="68">
                  <c:v>0.01</c:v>
                </c:pt>
                <c:pt idx="6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7ECAC4"/>
              </a:solidFill>
            </c:spPr>
            <c:extLst>
              <c:ext xmlns:c16="http://schemas.microsoft.com/office/drawing/2014/chart" uri="{C3380CC4-5D6E-409C-BE32-E72D297353CC}">
                <c16:uniqueId val="{0000004F-2993-41DE-A2CB-63102DE87051}"/>
              </c:ext>
            </c:extLst>
          </c:dPt>
          <c:dPt>
            <c:idx val="12"/>
            <c:invertIfNegative val="1"/>
            <c:bubble3D val="0"/>
            <c:spPr>
              <a:solidFill>
                <a:srgbClr val="7ECAC4"/>
              </a:solidFill>
            </c:spPr>
            <c:extLst>
              <c:ext xmlns:c16="http://schemas.microsoft.com/office/drawing/2014/chart" uri="{C3380CC4-5D6E-409C-BE32-E72D297353CC}">
                <c16:uniqueId val="{00000051-2993-41DE-A2CB-63102DE87051}"/>
              </c:ext>
            </c:extLst>
          </c:dPt>
          <c:dPt>
            <c:idx val="13"/>
            <c:invertIfNegative val="1"/>
            <c:bubble3D val="0"/>
            <c:spPr>
              <a:solidFill>
                <a:srgbClr val="7ECAC4"/>
              </a:solidFill>
            </c:spPr>
            <c:extLst>
              <c:ext xmlns:c16="http://schemas.microsoft.com/office/drawing/2014/chart" uri="{C3380CC4-5D6E-409C-BE32-E72D297353CC}">
                <c16:uniqueId val="{00000053-2993-41DE-A2CB-63102DE87051}"/>
              </c:ext>
            </c:extLst>
          </c:dPt>
          <c:dPt>
            <c:idx val="14"/>
            <c:invertIfNegative val="1"/>
            <c:bubble3D val="0"/>
            <c:spPr>
              <a:solidFill>
                <a:srgbClr val="7ECAC4"/>
              </a:solidFill>
            </c:spPr>
            <c:extLst>
              <c:ext xmlns:c16="http://schemas.microsoft.com/office/drawing/2014/chart" uri="{C3380CC4-5D6E-409C-BE32-E72D297353CC}">
                <c16:uniqueId val="{00000055-2993-41DE-A2CB-63102DE87051}"/>
              </c:ext>
            </c:extLst>
          </c:dPt>
          <c:dPt>
            <c:idx val="15"/>
            <c:invertIfNegative val="1"/>
            <c:bubble3D val="0"/>
            <c:spPr>
              <a:solidFill>
                <a:srgbClr val="7ECAC4"/>
              </a:solidFill>
            </c:spPr>
            <c:extLst>
              <c:ext xmlns:c16="http://schemas.microsoft.com/office/drawing/2014/chart" uri="{C3380CC4-5D6E-409C-BE32-E72D297353CC}">
                <c16:uniqueId val="{00000057-2993-41DE-A2CB-63102DE87051}"/>
              </c:ext>
            </c:extLst>
          </c:dPt>
          <c:dPt>
            <c:idx val="16"/>
            <c:invertIfNegative val="1"/>
            <c:bubble3D val="0"/>
            <c:spPr>
              <a:solidFill>
                <a:srgbClr val="7ECAC4"/>
              </a:solidFill>
            </c:spPr>
            <c:extLst>
              <c:ext xmlns:c16="http://schemas.microsoft.com/office/drawing/2014/chart" uri="{C3380CC4-5D6E-409C-BE32-E72D297353CC}">
                <c16:uniqueId val="{00000059-2993-41DE-A2CB-63102DE87051}"/>
              </c:ext>
            </c:extLst>
          </c:dPt>
          <c:dPt>
            <c:idx val="17"/>
            <c:invertIfNegative val="1"/>
            <c:bubble3D val="0"/>
            <c:spPr>
              <a:solidFill>
                <a:srgbClr val="7ECAC4"/>
              </a:solidFill>
            </c:spPr>
            <c:extLst>
              <c:ext xmlns:c16="http://schemas.microsoft.com/office/drawing/2014/chart" uri="{C3380CC4-5D6E-409C-BE32-E72D297353CC}">
                <c16:uniqueId val="{0000005B-2993-41DE-A2CB-63102DE87051}"/>
              </c:ext>
            </c:extLst>
          </c:dPt>
          <c:dPt>
            <c:idx val="18"/>
            <c:invertIfNegative val="1"/>
            <c:bubble3D val="0"/>
            <c:spPr>
              <a:solidFill>
                <a:srgbClr val="7ECAC4"/>
              </a:solidFill>
            </c:spPr>
            <c:extLst>
              <c:ext xmlns:c16="http://schemas.microsoft.com/office/drawing/2014/chart" uri="{C3380CC4-5D6E-409C-BE32-E72D297353CC}">
                <c16:uniqueId val="{0000005D-2993-41DE-A2CB-63102DE87051}"/>
              </c:ext>
            </c:extLst>
          </c:dPt>
          <c:dPt>
            <c:idx val="19"/>
            <c:invertIfNegative val="1"/>
            <c:bubble3D val="0"/>
            <c:spPr>
              <a:solidFill>
                <a:srgbClr val="7ECAC4"/>
              </a:solidFill>
            </c:spPr>
            <c:extLst>
              <c:ext xmlns:c16="http://schemas.microsoft.com/office/drawing/2014/chart" uri="{C3380CC4-5D6E-409C-BE32-E72D297353CC}">
                <c16:uniqueId val="{0000005F-2993-41DE-A2CB-63102DE87051}"/>
              </c:ext>
            </c:extLst>
          </c:dPt>
          <c:dPt>
            <c:idx val="20"/>
            <c:invertIfNegative val="1"/>
            <c:bubble3D val="0"/>
            <c:spPr>
              <a:solidFill>
                <a:srgbClr val="7ECAC4"/>
              </a:solidFill>
            </c:spPr>
            <c:extLst>
              <c:ext xmlns:c16="http://schemas.microsoft.com/office/drawing/2014/chart" uri="{C3380CC4-5D6E-409C-BE32-E72D297353CC}">
                <c16:uniqueId val="{00000061-2993-41DE-A2CB-63102DE87051}"/>
              </c:ext>
            </c:extLst>
          </c:dPt>
          <c:dPt>
            <c:idx val="21"/>
            <c:invertIfNegative val="1"/>
            <c:bubble3D val="0"/>
            <c:spPr>
              <a:solidFill>
                <a:srgbClr val="7ECAC4"/>
              </a:solidFill>
            </c:spPr>
            <c:extLst>
              <c:ext xmlns:c16="http://schemas.microsoft.com/office/drawing/2014/chart" uri="{C3380CC4-5D6E-409C-BE32-E72D297353CC}">
                <c16:uniqueId val="{00000063-2993-41DE-A2CB-63102DE87051}"/>
              </c:ext>
            </c:extLst>
          </c:dPt>
          <c:dPt>
            <c:idx val="22"/>
            <c:invertIfNegative val="1"/>
            <c:bubble3D val="0"/>
            <c:spPr>
              <a:solidFill>
                <a:srgbClr val="7ECAC4"/>
              </a:solidFill>
            </c:spPr>
            <c:extLst>
              <c:ext xmlns:c16="http://schemas.microsoft.com/office/drawing/2014/chart" uri="{C3380CC4-5D6E-409C-BE32-E72D297353CC}">
                <c16:uniqueId val="{00000065-2993-41DE-A2CB-63102DE87051}"/>
              </c:ext>
            </c:extLst>
          </c:dPt>
          <c:dPt>
            <c:idx val="23"/>
            <c:invertIfNegative val="1"/>
            <c:bubble3D val="0"/>
            <c:spPr>
              <a:solidFill>
                <a:srgbClr val="AEABAB"/>
              </a:solidFill>
            </c:spPr>
            <c:extLst>
              <c:ext xmlns:c16="http://schemas.microsoft.com/office/drawing/2014/chart" uri="{C3380CC4-5D6E-409C-BE32-E72D297353CC}">
                <c16:uniqueId val="{00000067-2993-41DE-A2CB-63102DE87051}"/>
              </c:ext>
            </c:extLst>
          </c:dPt>
          <c:dPt>
            <c:idx val="24"/>
            <c:invertIfNegative val="1"/>
            <c:bubble3D val="0"/>
            <c:spPr>
              <a:solidFill>
                <a:srgbClr val="AEABAB"/>
              </a:solidFill>
            </c:spPr>
            <c:extLst>
              <c:ext xmlns:c16="http://schemas.microsoft.com/office/drawing/2014/chart" uri="{C3380CC4-5D6E-409C-BE32-E72D297353CC}">
                <c16:uniqueId val="{00000069-2993-41DE-A2CB-63102DE87051}"/>
              </c:ext>
            </c:extLst>
          </c:dPt>
          <c:dPt>
            <c:idx val="25"/>
            <c:invertIfNegative val="1"/>
            <c:bubble3D val="0"/>
            <c:spPr>
              <a:solidFill>
                <a:srgbClr val="AEABAB"/>
              </a:solidFill>
            </c:spPr>
            <c:extLst>
              <c:ext xmlns:c16="http://schemas.microsoft.com/office/drawing/2014/chart" uri="{C3380CC4-5D6E-409C-BE32-E72D297353CC}">
                <c16:uniqueId val="{0000006B-2993-41DE-A2CB-63102DE87051}"/>
              </c:ext>
            </c:extLst>
          </c:dPt>
          <c:dPt>
            <c:idx val="26"/>
            <c:invertIfNegative val="1"/>
            <c:bubble3D val="0"/>
            <c:spPr>
              <a:solidFill>
                <a:srgbClr val="AEABAB"/>
              </a:solidFill>
            </c:spPr>
            <c:extLst>
              <c:ext xmlns:c16="http://schemas.microsoft.com/office/drawing/2014/chart" uri="{C3380CC4-5D6E-409C-BE32-E72D297353CC}">
                <c16:uniqueId val="{0000006D-2993-41DE-A2CB-63102DE87051}"/>
              </c:ext>
            </c:extLst>
          </c:dPt>
          <c:dPt>
            <c:idx val="27"/>
            <c:invertIfNegative val="1"/>
            <c:bubble3D val="0"/>
            <c:spPr>
              <a:solidFill>
                <a:srgbClr val="AEABAB"/>
              </a:solidFill>
            </c:spPr>
            <c:extLst>
              <c:ext xmlns:c16="http://schemas.microsoft.com/office/drawing/2014/chart" uri="{C3380CC4-5D6E-409C-BE32-E72D297353CC}">
                <c16:uniqueId val="{0000006F-2993-41DE-A2CB-63102DE87051}"/>
              </c:ext>
            </c:extLst>
          </c:dPt>
          <c:dPt>
            <c:idx val="28"/>
            <c:invertIfNegative val="1"/>
            <c:bubble3D val="0"/>
            <c:spPr>
              <a:solidFill>
                <a:srgbClr val="AEABAB"/>
              </a:solidFill>
            </c:spPr>
            <c:extLst>
              <c:ext xmlns:c16="http://schemas.microsoft.com/office/drawing/2014/chart" uri="{C3380CC4-5D6E-409C-BE32-E72D297353CC}">
                <c16:uniqueId val="{00000071-2993-41DE-A2CB-63102DE87051}"/>
              </c:ext>
            </c:extLst>
          </c:dPt>
          <c:dPt>
            <c:idx val="29"/>
            <c:invertIfNegative val="1"/>
            <c:bubble3D val="0"/>
            <c:spPr>
              <a:solidFill>
                <a:srgbClr val="AEABAB"/>
              </a:solidFill>
            </c:spPr>
            <c:extLst>
              <c:ext xmlns:c16="http://schemas.microsoft.com/office/drawing/2014/chart" uri="{C3380CC4-5D6E-409C-BE32-E72D297353CC}">
                <c16:uniqueId val="{00000073-2993-41DE-A2CB-63102DE87051}"/>
              </c:ext>
            </c:extLst>
          </c:dPt>
          <c:dPt>
            <c:idx val="30"/>
            <c:invertIfNegative val="1"/>
            <c:bubble3D val="0"/>
            <c:spPr>
              <a:solidFill>
                <a:srgbClr val="AEABAB"/>
              </a:solidFill>
            </c:spPr>
            <c:extLst>
              <c:ext xmlns:c16="http://schemas.microsoft.com/office/drawing/2014/chart" uri="{C3380CC4-5D6E-409C-BE32-E72D297353CC}">
                <c16:uniqueId val="{00000075-2993-41DE-A2CB-63102DE87051}"/>
              </c:ext>
            </c:extLst>
          </c:dPt>
          <c:dPt>
            <c:idx val="31"/>
            <c:invertIfNegative val="1"/>
            <c:bubble3D val="0"/>
            <c:spPr>
              <a:solidFill>
                <a:srgbClr val="AEABAB"/>
              </a:solidFill>
            </c:spPr>
            <c:extLst>
              <c:ext xmlns:c16="http://schemas.microsoft.com/office/drawing/2014/chart" uri="{C3380CC4-5D6E-409C-BE32-E72D297353CC}">
                <c16:uniqueId val="{00000077-2993-41DE-A2CB-63102DE87051}"/>
              </c:ext>
            </c:extLst>
          </c:dPt>
          <c:dPt>
            <c:idx val="32"/>
            <c:invertIfNegative val="1"/>
            <c:bubble3D val="0"/>
            <c:spPr>
              <a:solidFill>
                <a:srgbClr val="AEABAB"/>
              </a:solidFill>
            </c:spPr>
            <c:extLst>
              <c:ext xmlns:c16="http://schemas.microsoft.com/office/drawing/2014/chart" uri="{C3380CC4-5D6E-409C-BE32-E72D297353CC}">
                <c16:uniqueId val="{00000079-2993-41DE-A2CB-63102DE87051}"/>
              </c:ext>
            </c:extLst>
          </c:dPt>
          <c:dPt>
            <c:idx val="33"/>
            <c:invertIfNegative val="1"/>
            <c:bubble3D val="0"/>
            <c:spPr>
              <a:solidFill>
                <a:srgbClr val="AEABAB"/>
              </a:solidFill>
            </c:spPr>
            <c:extLst>
              <c:ext xmlns:c16="http://schemas.microsoft.com/office/drawing/2014/chart" uri="{C3380CC4-5D6E-409C-BE32-E72D297353CC}">
                <c16:uniqueId val="{0000007B-2993-41DE-A2CB-63102DE87051}"/>
              </c:ext>
            </c:extLst>
          </c:dPt>
          <c:dPt>
            <c:idx val="34"/>
            <c:invertIfNegative val="1"/>
            <c:bubble3D val="0"/>
            <c:spPr>
              <a:solidFill>
                <a:srgbClr val="AEABAB"/>
              </a:solidFill>
            </c:spPr>
            <c:extLst>
              <c:ext xmlns:c16="http://schemas.microsoft.com/office/drawing/2014/chart" uri="{C3380CC4-5D6E-409C-BE32-E72D297353CC}">
                <c16:uniqueId val="{0000007D-2993-41DE-A2CB-63102DE87051}"/>
              </c:ext>
            </c:extLst>
          </c:dPt>
          <c:dPt>
            <c:idx val="35"/>
            <c:invertIfNegative val="1"/>
            <c:bubble3D val="0"/>
            <c:spPr>
              <a:solidFill>
                <a:srgbClr val="AEABAB"/>
              </a:solidFill>
            </c:spPr>
            <c:extLst>
              <c:ext xmlns:c16="http://schemas.microsoft.com/office/drawing/2014/chart" uri="{C3380CC4-5D6E-409C-BE32-E72D297353CC}">
                <c16:uniqueId val="{0000007F-2993-41DE-A2CB-63102DE87051}"/>
              </c:ext>
            </c:extLst>
          </c:dPt>
          <c:dPt>
            <c:idx val="36"/>
            <c:invertIfNegative val="1"/>
            <c:bubble3D val="0"/>
            <c:spPr>
              <a:solidFill>
                <a:srgbClr val="AEABAB"/>
              </a:solidFill>
            </c:spPr>
            <c:extLst>
              <c:ext xmlns:c16="http://schemas.microsoft.com/office/drawing/2014/chart" uri="{C3380CC4-5D6E-409C-BE32-E72D297353CC}">
                <c16:uniqueId val="{00000081-2993-41DE-A2CB-63102DE87051}"/>
              </c:ext>
            </c:extLst>
          </c:dPt>
          <c:dPt>
            <c:idx val="37"/>
            <c:invertIfNegative val="1"/>
            <c:bubble3D val="0"/>
            <c:spPr>
              <a:solidFill>
                <a:srgbClr val="AEABAB"/>
              </a:solidFill>
            </c:spPr>
            <c:extLst>
              <c:ext xmlns:c16="http://schemas.microsoft.com/office/drawing/2014/chart" uri="{C3380CC4-5D6E-409C-BE32-E72D297353CC}">
                <c16:uniqueId val="{00000083-2993-41DE-A2CB-63102DE87051}"/>
              </c:ext>
            </c:extLst>
          </c:dPt>
          <c:dPt>
            <c:idx val="38"/>
            <c:invertIfNegative val="1"/>
            <c:bubble3D val="0"/>
            <c:spPr>
              <a:solidFill>
                <a:srgbClr val="AEABAB"/>
              </a:solidFill>
            </c:spPr>
            <c:extLst>
              <c:ext xmlns:c16="http://schemas.microsoft.com/office/drawing/2014/chart" uri="{C3380CC4-5D6E-409C-BE32-E72D297353CC}">
                <c16:uniqueId val="{00000085-2993-41DE-A2CB-63102DE87051}"/>
              </c:ext>
            </c:extLst>
          </c:dPt>
          <c:dPt>
            <c:idx val="39"/>
            <c:invertIfNegative val="1"/>
            <c:bubble3D val="0"/>
            <c:spPr>
              <a:solidFill>
                <a:srgbClr val="AEABAB"/>
              </a:solidFill>
            </c:spPr>
            <c:extLst>
              <c:ext xmlns:c16="http://schemas.microsoft.com/office/drawing/2014/chart" uri="{C3380CC4-5D6E-409C-BE32-E72D297353CC}">
                <c16:uniqueId val="{00000087-2993-41DE-A2CB-63102DE87051}"/>
              </c:ext>
            </c:extLst>
          </c:dPt>
          <c:dPt>
            <c:idx val="40"/>
            <c:invertIfNegative val="1"/>
            <c:bubble3D val="0"/>
            <c:spPr>
              <a:solidFill>
                <a:srgbClr val="AEABAB"/>
              </a:solidFill>
            </c:spPr>
            <c:extLst>
              <c:ext xmlns:c16="http://schemas.microsoft.com/office/drawing/2014/chart" uri="{C3380CC4-5D6E-409C-BE32-E72D297353CC}">
                <c16:uniqueId val="{00000089-2993-41DE-A2CB-63102DE87051}"/>
              </c:ext>
            </c:extLst>
          </c:dPt>
          <c:dPt>
            <c:idx val="41"/>
            <c:invertIfNegative val="1"/>
            <c:bubble3D val="0"/>
            <c:spPr>
              <a:solidFill>
                <a:srgbClr val="AEABAB"/>
              </a:solidFill>
            </c:spPr>
            <c:extLst>
              <c:ext xmlns:c16="http://schemas.microsoft.com/office/drawing/2014/chart" uri="{C3380CC4-5D6E-409C-BE32-E72D297353CC}">
                <c16:uniqueId val="{0000008B-2993-41DE-A2CB-63102DE87051}"/>
              </c:ext>
            </c:extLst>
          </c:dPt>
          <c:dPt>
            <c:idx val="42"/>
            <c:invertIfNegative val="1"/>
            <c:bubble3D val="0"/>
            <c:spPr>
              <a:solidFill>
                <a:srgbClr val="AEABAB"/>
              </a:solidFill>
            </c:spPr>
            <c:extLst>
              <c:ext xmlns:c16="http://schemas.microsoft.com/office/drawing/2014/chart" uri="{C3380CC4-5D6E-409C-BE32-E72D297353CC}">
                <c16:uniqueId val="{0000008D-2993-41DE-A2CB-63102DE87051}"/>
              </c:ext>
            </c:extLst>
          </c:dPt>
          <c:dPt>
            <c:idx val="43"/>
            <c:invertIfNegative val="1"/>
            <c:bubble3D val="0"/>
            <c:spPr>
              <a:solidFill>
                <a:srgbClr val="AEABAB"/>
              </a:solidFill>
            </c:spPr>
            <c:extLst>
              <c:ext xmlns:c16="http://schemas.microsoft.com/office/drawing/2014/chart" uri="{C3380CC4-5D6E-409C-BE32-E72D297353CC}">
                <c16:uniqueId val="{0000008F-2993-41DE-A2CB-63102DE87051}"/>
              </c:ext>
            </c:extLst>
          </c:dPt>
          <c:dPt>
            <c:idx val="44"/>
            <c:invertIfNegative val="1"/>
            <c:bubble3D val="0"/>
            <c:spPr>
              <a:solidFill>
                <a:srgbClr val="AEABAB"/>
              </a:solidFill>
            </c:spPr>
            <c:extLst>
              <c:ext xmlns:c16="http://schemas.microsoft.com/office/drawing/2014/chart" uri="{C3380CC4-5D6E-409C-BE32-E72D297353CC}">
                <c16:uniqueId val="{00000091-2993-41DE-A2CB-63102DE87051}"/>
              </c:ext>
            </c:extLst>
          </c:dPt>
          <c:dPt>
            <c:idx val="45"/>
            <c:invertIfNegative val="1"/>
            <c:bubble3D val="0"/>
            <c:spPr>
              <a:solidFill>
                <a:srgbClr val="AEABAB"/>
              </a:solidFill>
            </c:spPr>
            <c:extLst>
              <c:ext xmlns:c16="http://schemas.microsoft.com/office/drawing/2014/chart" uri="{C3380CC4-5D6E-409C-BE32-E72D297353CC}">
                <c16:uniqueId val="{00000093-2993-41DE-A2CB-63102DE87051}"/>
              </c:ext>
            </c:extLst>
          </c:dPt>
          <c:dPt>
            <c:idx val="46"/>
            <c:invertIfNegative val="1"/>
            <c:bubble3D val="0"/>
            <c:spPr>
              <a:solidFill>
                <a:srgbClr val="AEABAB"/>
              </a:solidFill>
            </c:spPr>
            <c:extLst>
              <c:ext xmlns:c16="http://schemas.microsoft.com/office/drawing/2014/chart" uri="{C3380CC4-5D6E-409C-BE32-E72D297353CC}">
                <c16:uniqueId val="{00000095-2993-41DE-A2CB-63102DE87051}"/>
              </c:ext>
            </c:extLst>
          </c:dPt>
          <c:dPt>
            <c:idx val="47"/>
            <c:invertIfNegative val="1"/>
            <c:bubble3D val="0"/>
            <c:spPr>
              <a:solidFill>
                <a:srgbClr val="AEABAB"/>
              </a:solidFill>
            </c:spPr>
            <c:extLst>
              <c:ext xmlns:c16="http://schemas.microsoft.com/office/drawing/2014/chart" uri="{C3380CC4-5D6E-409C-BE32-E72D297353CC}">
                <c16:uniqueId val="{00000097-2993-41DE-A2CB-63102DE87051}"/>
              </c:ext>
            </c:extLst>
          </c:dPt>
          <c:dPt>
            <c:idx val="48"/>
            <c:invertIfNegative val="1"/>
            <c:bubble3D val="0"/>
            <c:spPr>
              <a:solidFill>
                <a:srgbClr val="AEABAB"/>
              </a:solidFill>
            </c:spPr>
            <c:extLst>
              <c:ext xmlns:c16="http://schemas.microsoft.com/office/drawing/2014/chart" uri="{C3380CC4-5D6E-409C-BE32-E72D297353CC}">
                <c16:uniqueId val="{00000099-2993-41DE-A2CB-63102DE87051}"/>
              </c:ext>
            </c:extLst>
          </c:dPt>
          <c:dPt>
            <c:idx val="49"/>
            <c:invertIfNegative val="1"/>
            <c:bubble3D val="0"/>
            <c:spPr>
              <a:solidFill>
                <a:srgbClr val="AEABAB"/>
              </a:solidFill>
            </c:spPr>
            <c:extLst>
              <c:ext xmlns:c16="http://schemas.microsoft.com/office/drawing/2014/chart" uri="{C3380CC4-5D6E-409C-BE32-E72D297353CC}">
                <c16:uniqueId val="{0000009B-2993-41DE-A2CB-63102DE87051}"/>
              </c:ext>
            </c:extLst>
          </c:dPt>
          <c:dPt>
            <c:idx val="50"/>
            <c:invertIfNegative val="1"/>
            <c:bubble3D val="0"/>
            <c:spPr>
              <a:solidFill>
                <a:srgbClr val="AEABAB"/>
              </a:solidFill>
            </c:spPr>
            <c:extLst>
              <c:ext xmlns:c16="http://schemas.microsoft.com/office/drawing/2014/chart" uri="{C3380CC4-5D6E-409C-BE32-E72D297353CC}">
                <c16:uniqueId val="{0000009D-2993-41DE-A2CB-63102DE87051}"/>
              </c:ext>
            </c:extLst>
          </c:dPt>
          <c:dPt>
            <c:idx val="51"/>
            <c:invertIfNegative val="1"/>
            <c:bubble3D val="0"/>
            <c:spPr>
              <a:solidFill>
                <a:srgbClr val="AEABAB"/>
              </a:solidFill>
            </c:spPr>
            <c:extLst>
              <c:ext xmlns:c16="http://schemas.microsoft.com/office/drawing/2014/chart" uri="{C3380CC4-5D6E-409C-BE32-E72D297353CC}">
                <c16:uniqueId val="{0000009F-2993-41DE-A2CB-63102DE87051}"/>
              </c:ext>
            </c:extLst>
          </c:dPt>
          <c:dPt>
            <c:idx val="52"/>
            <c:invertIfNegative val="1"/>
            <c:bubble3D val="0"/>
            <c:spPr>
              <a:solidFill>
                <a:srgbClr val="AEABAB"/>
              </a:solidFill>
            </c:spPr>
            <c:extLst>
              <c:ext xmlns:c16="http://schemas.microsoft.com/office/drawing/2014/chart" uri="{C3380CC4-5D6E-409C-BE32-E72D297353CC}">
                <c16:uniqueId val="{000000A1-2993-41DE-A2CB-63102DE87051}"/>
              </c:ext>
            </c:extLst>
          </c:dPt>
          <c:dPt>
            <c:idx val="53"/>
            <c:invertIfNegative val="1"/>
            <c:bubble3D val="0"/>
            <c:spPr>
              <a:solidFill>
                <a:srgbClr val="AEABAB"/>
              </a:solidFill>
            </c:spPr>
            <c:extLst>
              <c:ext xmlns:c16="http://schemas.microsoft.com/office/drawing/2014/chart" uri="{C3380CC4-5D6E-409C-BE32-E72D297353CC}">
                <c16:uniqueId val="{000000A3-2993-41DE-A2CB-63102DE87051}"/>
              </c:ext>
            </c:extLst>
          </c:dPt>
          <c:dPt>
            <c:idx val="54"/>
            <c:invertIfNegative val="0"/>
            <c:bubble3D val="0"/>
            <c:spPr>
              <a:solidFill>
                <a:srgbClr val="AEABAB"/>
              </a:solidFill>
            </c:spPr>
            <c:extLst>
              <c:ext xmlns:c16="http://schemas.microsoft.com/office/drawing/2014/chart" uri="{C3380CC4-5D6E-409C-BE32-E72D297353CC}">
                <c16:uniqueId val="{00000072-C76F-4230-900D-40618C09729F}"/>
              </c:ext>
            </c:extLst>
          </c:dPt>
          <c:dPt>
            <c:idx val="55"/>
            <c:invertIfNegative val="0"/>
            <c:bubble3D val="0"/>
            <c:spPr>
              <a:solidFill>
                <a:srgbClr val="AEABAB"/>
              </a:solidFill>
            </c:spPr>
            <c:extLst>
              <c:ext xmlns:c16="http://schemas.microsoft.com/office/drawing/2014/chart" uri="{C3380CC4-5D6E-409C-BE32-E72D297353CC}">
                <c16:uniqueId val="{00000074-C76F-4230-900D-40618C09729F}"/>
              </c:ext>
            </c:extLst>
          </c:dPt>
          <c:dPt>
            <c:idx val="56"/>
            <c:invertIfNegative val="0"/>
            <c:bubble3D val="0"/>
            <c:spPr>
              <a:solidFill>
                <a:srgbClr val="AEABAB"/>
              </a:solidFill>
            </c:spPr>
            <c:extLst>
              <c:ext xmlns:c16="http://schemas.microsoft.com/office/drawing/2014/chart" uri="{C3380CC4-5D6E-409C-BE32-E72D297353CC}">
                <c16:uniqueId val="{00000076-C76F-4230-900D-40618C09729F}"/>
              </c:ext>
            </c:extLst>
          </c:dPt>
          <c:dPt>
            <c:idx val="57"/>
            <c:invertIfNegative val="0"/>
            <c:bubble3D val="0"/>
            <c:spPr>
              <a:solidFill>
                <a:srgbClr val="AEABAB"/>
              </a:solidFill>
            </c:spPr>
            <c:extLst>
              <c:ext xmlns:c16="http://schemas.microsoft.com/office/drawing/2014/chart" uri="{C3380CC4-5D6E-409C-BE32-E72D297353CC}">
                <c16:uniqueId val="{00000078-C76F-4230-900D-40618C09729F}"/>
              </c:ext>
            </c:extLst>
          </c:dPt>
          <c:dPt>
            <c:idx val="58"/>
            <c:invertIfNegative val="0"/>
            <c:bubble3D val="0"/>
            <c:spPr>
              <a:solidFill>
                <a:srgbClr val="AEABAB"/>
              </a:solidFill>
            </c:spPr>
            <c:extLst>
              <c:ext xmlns:c16="http://schemas.microsoft.com/office/drawing/2014/chart" uri="{C3380CC4-5D6E-409C-BE32-E72D297353CC}">
                <c16:uniqueId val="{0000007A-C76F-4230-900D-40618C09729F}"/>
              </c:ext>
            </c:extLst>
          </c:dPt>
          <c:dPt>
            <c:idx val="59"/>
            <c:invertIfNegative val="0"/>
            <c:bubble3D val="0"/>
            <c:spPr>
              <a:solidFill>
                <a:srgbClr val="AEABAB"/>
              </a:solidFill>
            </c:spPr>
            <c:extLst>
              <c:ext xmlns:c16="http://schemas.microsoft.com/office/drawing/2014/chart" uri="{C3380CC4-5D6E-409C-BE32-E72D297353CC}">
                <c16:uniqueId val="{0000007C-C76F-4230-900D-40618C09729F}"/>
              </c:ext>
            </c:extLst>
          </c:dPt>
          <c:dPt>
            <c:idx val="60"/>
            <c:invertIfNegative val="0"/>
            <c:bubble3D val="0"/>
            <c:spPr>
              <a:solidFill>
                <a:srgbClr val="AEABAB"/>
              </a:solidFill>
            </c:spPr>
            <c:extLst>
              <c:ext xmlns:c16="http://schemas.microsoft.com/office/drawing/2014/chart" uri="{C3380CC4-5D6E-409C-BE32-E72D297353CC}">
                <c16:uniqueId val="{0000007E-C76F-4230-900D-40618C09729F}"/>
              </c:ext>
            </c:extLst>
          </c:dPt>
          <c:dPt>
            <c:idx val="61"/>
            <c:invertIfNegative val="0"/>
            <c:bubble3D val="0"/>
            <c:spPr>
              <a:solidFill>
                <a:srgbClr val="AEABAB"/>
              </a:solidFill>
            </c:spPr>
            <c:extLst>
              <c:ext xmlns:c16="http://schemas.microsoft.com/office/drawing/2014/chart" uri="{C3380CC4-5D6E-409C-BE32-E72D297353CC}">
                <c16:uniqueId val="{00000080-C76F-4230-900D-40618C09729F}"/>
              </c:ext>
            </c:extLst>
          </c:dPt>
          <c:dPt>
            <c:idx val="62"/>
            <c:invertIfNegative val="0"/>
            <c:bubble3D val="0"/>
            <c:spPr>
              <a:solidFill>
                <a:srgbClr val="AEABAB"/>
              </a:solidFill>
            </c:spPr>
            <c:extLst>
              <c:ext xmlns:c16="http://schemas.microsoft.com/office/drawing/2014/chart" uri="{C3380CC4-5D6E-409C-BE32-E72D297353CC}">
                <c16:uniqueId val="{00000082-C76F-4230-900D-40618C09729F}"/>
              </c:ext>
            </c:extLst>
          </c:dPt>
          <c:dPt>
            <c:idx val="63"/>
            <c:invertIfNegative val="0"/>
            <c:bubble3D val="0"/>
            <c:spPr>
              <a:solidFill>
                <a:srgbClr val="AEABAB"/>
              </a:solidFill>
            </c:spPr>
            <c:extLst>
              <c:ext xmlns:c16="http://schemas.microsoft.com/office/drawing/2014/chart" uri="{C3380CC4-5D6E-409C-BE32-E72D297353CC}">
                <c16:uniqueId val="{00000084-C76F-4230-900D-40618C09729F}"/>
              </c:ext>
            </c:extLst>
          </c:dPt>
          <c:dPt>
            <c:idx val="64"/>
            <c:invertIfNegative val="0"/>
            <c:bubble3D val="0"/>
            <c:spPr>
              <a:solidFill>
                <a:srgbClr val="AEABAB"/>
              </a:solidFill>
            </c:spPr>
            <c:extLst>
              <c:ext xmlns:c16="http://schemas.microsoft.com/office/drawing/2014/chart" uri="{C3380CC4-5D6E-409C-BE32-E72D297353CC}">
                <c16:uniqueId val="{00000086-C76F-4230-900D-40618C09729F}"/>
              </c:ext>
            </c:extLst>
          </c:dPt>
          <c:dPt>
            <c:idx val="65"/>
            <c:invertIfNegative val="0"/>
            <c:bubble3D val="0"/>
            <c:spPr>
              <a:solidFill>
                <a:srgbClr val="AEABAB"/>
              </a:solidFill>
            </c:spPr>
            <c:extLst>
              <c:ext xmlns:c16="http://schemas.microsoft.com/office/drawing/2014/chart" uri="{C3380CC4-5D6E-409C-BE32-E72D297353CC}">
                <c16:uniqueId val="{00000088-C76F-4230-900D-40618C09729F}"/>
              </c:ext>
            </c:extLst>
          </c:dPt>
          <c:dPt>
            <c:idx val="66"/>
            <c:invertIfNegative val="0"/>
            <c:bubble3D val="0"/>
            <c:spPr>
              <a:solidFill>
                <a:srgbClr val="AEABAB"/>
              </a:solidFill>
            </c:spPr>
            <c:extLst>
              <c:ext xmlns:c16="http://schemas.microsoft.com/office/drawing/2014/chart" uri="{C3380CC4-5D6E-409C-BE32-E72D297353CC}">
                <c16:uniqueId val="{0000008A-C76F-4230-900D-40618C09729F}"/>
              </c:ext>
            </c:extLst>
          </c:dPt>
          <c:dPt>
            <c:idx val="67"/>
            <c:invertIfNegative val="0"/>
            <c:bubble3D val="0"/>
            <c:spPr>
              <a:solidFill>
                <a:srgbClr val="AEABAB"/>
              </a:solidFill>
            </c:spPr>
            <c:extLst>
              <c:ext xmlns:c16="http://schemas.microsoft.com/office/drawing/2014/chart" uri="{C3380CC4-5D6E-409C-BE32-E72D297353CC}">
                <c16:uniqueId val="{0000008C-C76F-4230-900D-40618C09729F}"/>
              </c:ext>
            </c:extLst>
          </c:dPt>
          <c:dPt>
            <c:idx val="68"/>
            <c:invertIfNegative val="0"/>
            <c:bubble3D val="0"/>
            <c:spPr>
              <a:solidFill>
                <a:srgbClr val="AEABAB"/>
              </a:solidFill>
            </c:spPr>
            <c:extLst>
              <c:ext xmlns:c16="http://schemas.microsoft.com/office/drawing/2014/chart" uri="{C3380CC4-5D6E-409C-BE32-E72D297353CC}">
                <c16:uniqueId val="{0000008E-C76F-4230-900D-40618C09729F}"/>
              </c:ext>
            </c:extLst>
          </c:dPt>
          <c:dPt>
            <c:idx val="69"/>
            <c:invertIfNegative val="0"/>
            <c:bubble3D val="0"/>
            <c:spPr>
              <a:solidFill>
                <a:srgbClr val="AEABAB"/>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71</c:f>
              <c:strCache>
                <c:ptCount val="70"/>
                <c:pt idx="0">
                  <c:v>All Others</c:v>
                </c:pt>
                <c:pt idx="1">
                  <c:v>Bottega</c:v>
                </c:pt>
                <c:pt idx="2">
                  <c:v>Savian</c:v>
                </c:pt>
                <c:pt idx="3">
                  <c:v>Patriarche</c:v>
                </c:pt>
                <c:pt idx="4">
                  <c:v>Mure</c:v>
                </c:pt>
                <c:pt idx="5">
                  <c:v>French Bloo</c:v>
                </c:pt>
                <c:pt idx="6">
                  <c:v>Bouvet-Ladu</c:v>
                </c:pt>
                <c:pt idx="7">
                  <c:v>De Chanceny</c:v>
                </c:pt>
                <c:pt idx="8">
                  <c:v>All Others</c:v>
                </c:pt>
                <c:pt idx="9">
                  <c:v>Patriarche</c:v>
                </c:pt>
                <c:pt idx="10">
                  <c:v>Bottega</c:v>
                </c:pt>
                <c:pt idx="11">
                  <c:v>Kriter</c:v>
                </c:pt>
                <c:pt idx="12">
                  <c:v>All Others</c:v>
                </c:pt>
                <c:pt idx="13">
                  <c:v>Cru La Maqu</c:v>
                </c:pt>
                <c:pt idx="14">
                  <c:v>All Others</c:v>
                </c:pt>
                <c:pt idx="15">
                  <c:v>All Others</c:v>
                </c:pt>
                <c:pt idx="16">
                  <c:v>Contarini</c:v>
                </c:pt>
                <c:pt idx="17">
                  <c:v>All Others</c:v>
                </c:pt>
                <c:pt idx="18">
                  <c:v>All Others</c:v>
                </c:pt>
                <c:pt idx="19">
                  <c:v>All Others</c:v>
                </c:pt>
                <c:pt idx="20">
                  <c:v>All Others</c:v>
                </c:pt>
                <c:pt idx="21">
                  <c:v>Contarini</c:v>
                </c:pt>
                <c:pt idx="22">
                  <c:v>All Others</c:v>
                </c:pt>
                <c:pt idx="23">
                  <c:v>All Others</c:v>
                </c:pt>
                <c:pt idx="24">
                  <c:v>All Others</c:v>
                </c:pt>
                <c:pt idx="25">
                  <c:v>All Others</c:v>
                </c:pt>
                <c:pt idx="26">
                  <c:v>All Others</c:v>
                </c:pt>
                <c:pt idx="27">
                  <c:v>All Others</c:v>
                </c:pt>
                <c:pt idx="28">
                  <c:v>Bouvet-Ladu</c:v>
                </c:pt>
                <c:pt idx="29">
                  <c:v>All Others</c:v>
                </c:pt>
                <c:pt idx="30">
                  <c:v>All Others</c:v>
                </c:pt>
                <c:pt idx="31">
                  <c:v>All Others</c:v>
                </c:pt>
                <c:pt idx="32">
                  <c:v>All Others</c:v>
                </c:pt>
                <c:pt idx="33">
                  <c:v>All Others</c:v>
                </c:pt>
                <c:pt idx="34">
                  <c:v>All Others</c:v>
                </c:pt>
                <c:pt idx="35">
                  <c:v>All Others</c:v>
                </c:pt>
                <c:pt idx="36">
                  <c:v>Bouvet-Ladu</c:v>
                </c:pt>
                <c:pt idx="37">
                  <c:v>All Others</c:v>
                </c:pt>
                <c:pt idx="38">
                  <c:v>All Others</c:v>
                </c:pt>
                <c:pt idx="39">
                  <c:v>Bouvet-Ladu</c:v>
                </c:pt>
                <c:pt idx="40">
                  <c:v>All Others</c:v>
                </c:pt>
                <c:pt idx="41">
                  <c:v>Celene</c:v>
                </c:pt>
                <c:pt idx="42">
                  <c:v>All Others</c:v>
                </c:pt>
                <c:pt idx="43">
                  <c:v>All Others</c:v>
                </c:pt>
                <c:pt idx="44">
                  <c:v>Celene</c:v>
                </c:pt>
                <c:pt idx="45">
                  <c:v>All Others</c:v>
                </c:pt>
                <c:pt idx="46">
                  <c:v>Bottega</c:v>
                </c:pt>
                <c:pt idx="47">
                  <c:v>All Others</c:v>
                </c:pt>
                <c:pt idx="48">
                  <c:v>All Others</c:v>
                </c:pt>
                <c:pt idx="49">
                  <c:v>All Others</c:v>
                </c:pt>
                <c:pt idx="50">
                  <c:v>All Others</c:v>
                </c:pt>
                <c:pt idx="51">
                  <c:v>All Others</c:v>
                </c:pt>
                <c:pt idx="52">
                  <c:v>All Others</c:v>
                </c:pt>
                <c:pt idx="53">
                  <c:v>Jaillance</c:v>
                </c:pt>
                <c:pt idx="54">
                  <c:v>All Others</c:v>
                </c:pt>
                <c:pt idx="55">
                  <c:v>All Others</c:v>
                </c:pt>
                <c:pt idx="56">
                  <c:v>All Others</c:v>
                </c:pt>
                <c:pt idx="57">
                  <c:v>Bouvet-Ladu</c:v>
                </c:pt>
                <c:pt idx="58">
                  <c:v>Mure</c:v>
                </c:pt>
                <c:pt idx="59">
                  <c:v>All Others</c:v>
                </c:pt>
                <c:pt idx="60">
                  <c:v>All Others</c:v>
                </c:pt>
                <c:pt idx="61">
                  <c:v>Bottega</c:v>
                </c:pt>
                <c:pt idx="62">
                  <c:v>All Others</c:v>
                </c:pt>
                <c:pt idx="63">
                  <c:v>All Others</c:v>
                </c:pt>
                <c:pt idx="64">
                  <c:v>Bouvet-Ladu</c:v>
                </c:pt>
                <c:pt idx="65">
                  <c:v>All Others</c:v>
                </c:pt>
                <c:pt idx="66">
                  <c:v>All Others</c:v>
                </c:pt>
                <c:pt idx="67">
                  <c:v>All Others</c:v>
                </c:pt>
                <c:pt idx="68">
                  <c:v>Bottega</c:v>
                </c:pt>
                <c:pt idx="69">
                  <c:v>All Others</c:v>
                </c:pt>
              </c:strCache>
            </c:strRef>
          </c:cat>
          <c:val>
            <c:numRef>
              <c:f>Sheet1!$C$2:$C$71</c:f>
              <c:numCache>
                <c:formatCode>General</c:formatCode>
                <c:ptCount val="70"/>
                <c:pt idx="0">
                  <c:v>0.15914326309432317</c:v>
                </c:pt>
                <c:pt idx="1">
                  <c:v>0.28827830574494817</c:v>
                </c:pt>
                <c:pt idx="2">
                  <c:v>0.37704778042875947</c:v>
                </c:pt>
                <c:pt idx="3">
                  <c:v>0.46426884863374995</c:v>
                </c:pt>
                <c:pt idx="4">
                  <c:v>0.54235997724202578</c:v>
                </c:pt>
                <c:pt idx="5">
                  <c:v>0.61462066098951929</c:v>
                </c:pt>
                <c:pt idx="6">
                  <c:v>0.6853483708809045</c:v>
                </c:pt>
                <c:pt idx="7">
                  <c:v>0.7289249532134322</c:v>
                </c:pt>
                <c:pt idx="8">
                  <c:v>0.75833850326194208</c:v>
                </c:pt>
                <c:pt idx="9">
                  <c:v>0.78605240712904867</c:v>
                </c:pt>
                <c:pt idx="10">
                  <c:v>0.81147713862713455</c:v>
                </c:pt>
                <c:pt idx="11">
                  <c:v>0.83126484746910145</c:v>
                </c:pt>
                <c:pt idx="12">
                  <c:v>0.8463497217498126</c:v>
                </c:pt>
                <c:pt idx="13">
                  <c:v>0.86073807032543292</c:v>
                </c:pt>
                <c:pt idx="14">
                  <c:v>0.87496180425878667</c:v>
                </c:pt>
                <c:pt idx="15">
                  <c:v>0.88870712688805287</c:v>
                </c:pt>
                <c:pt idx="16">
                  <c:v>0.90231046938836412</c:v>
                </c:pt>
                <c:pt idx="17">
                  <c:v>0.91473887487949701</c:v>
                </c:pt>
                <c:pt idx="18">
                  <c:v>0.92315171194083756</c:v>
                </c:pt>
                <c:pt idx="19">
                  <c:v>0.9305871495637198</c:v>
                </c:pt>
                <c:pt idx="20">
                  <c:v>0.93693304402309963</c:v>
                </c:pt>
                <c:pt idx="21">
                  <c:v>0.94298263212639943</c:v>
                </c:pt>
                <c:pt idx="22">
                  <c:v>0.94869990442062346</c:v>
                </c:pt>
                <c:pt idx="23">
                  <c:v>0.95327413379260828</c:v>
                </c:pt>
                <c:pt idx="24">
                  <c:v>0.9568174639673982</c:v>
                </c:pt>
                <c:pt idx="25">
                  <c:v>0.96032272700616395</c:v>
                </c:pt>
                <c:pt idx="26">
                  <c:v>0.96359444302121389</c:v>
                </c:pt>
                <c:pt idx="27">
                  <c:v>0.96661203518226457</c:v>
                </c:pt>
                <c:pt idx="28">
                  <c:v>0.96944752239530785</c:v>
                </c:pt>
                <c:pt idx="29">
                  <c:v>0.9721009046603436</c:v>
                </c:pt>
                <c:pt idx="30">
                  <c:v>0.97433451958759931</c:v>
                </c:pt>
                <c:pt idx="31">
                  <c:v>0.97644878889921172</c:v>
                </c:pt>
                <c:pt idx="32">
                  <c:v>0.97833568423619333</c:v>
                </c:pt>
                <c:pt idx="33">
                  <c:v>0.98019891621834909</c:v>
                </c:pt>
                <c:pt idx="34">
                  <c:v>0.98186461062978492</c:v>
                </c:pt>
                <c:pt idx="35">
                  <c:v>0.98338523838772318</c:v>
                </c:pt>
                <c:pt idx="36">
                  <c:v>0.98484825102086815</c:v>
                </c:pt>
                <c:pt idx="37">
                  <c:v>0.98628451377464477</c:v>
                </c:pt>
                <c:pt idx="38">
                  <c:v>0.98772077652842138</c:v>
                </c:pt>
                <c:pt idx="39">
                  <c:v>0.98906444354592304</c:v>
                </c:pt>
                <c:pt idx="40">
                  <c:v>0.99037827415951385</c:v>
                </c:pt>
                <c:pt idx="41">
                  <c:v>0.99169004709007635</c:v>
                </c:pt>
                <c:pt idx="42">
                  <c:v>0.99281765738960304</c:v>
                </c:pt>
                <c:pt idx="43">
                  <c:v>0.99391748896824716</c:v>
                </c:pt>
                <c:pt idx="44">
                  <c:v>0.9946243030884796</c:v>
                </c:pt>
                <c:pt idx="45">
                  <c:v>0.99527658860846124</c:v>
                </c:pt>
                <c:pt idx="46">
                  <c:v>0.99589080699241872</c:v>
                </c:pt>
                <c:pt idx="47">
                  <c:v>0.99643712183644118</c:v>
                </c:pt>
                <c:pt idx="48">
                  <c:v>0.99693302344626944</c:v>
                </c:pt>
                <c:pt idx="49">
                  <c:v>0.99733735816133695</c:v>
                </c:pt>
                <c:pt idx="50">
                  <c:v>0.99772523141217773</c:v>
                </c:pt>
                <c:pt idx="51">
                  <c:v>0.99811207582150441</c:v>
                </c:pt>
                <c:pt idx="52">
                  <c:v>0.9984495358381511</c:v>
                </c:pt>
                <c:pt idx="53">
                  <c:v>0.99871909231486278</c:v>
                </c:pt>
                <c:pt idx="54">
                  <c:v>0.99894543744797948</c:v>
                </c:pt>
                <c:pt idx="55">
                  <c:v>0.99911931166387369</c:v>
                </c:pt>
                <c:pt idx="56">
                  <c:v>0.99927569557402707</c:v>
                </c:pt>
                <c:pt idx="57">
                  <c:v>0.99942590643509543</c:v>
                </c:pt>
                <c:pt idx="58">
                  <c:v>0.99953599247711122</c:v>
                </c:pt>
                <c:pt idx="59">
                  <c:v>0.9996357901039854</c:v>
                </c:pt>
                <c:pt idx="60">
                  <c:v>0.99971809742511875</c:v>
                </c:pt>
                <c:pt idx="61">
                  <c:v>0.99977674139142625</c:v>
                </c:pt>
                <c:pt idx="62">
                  <c:v>0.99983229883319125</c:v>
                </c:pt>
                <c:pt idx="63">
                  <c:v>0.99987859670132873</c:v>
                </c:pt>
                <c:pt idx="64">
                  <c:v>0.9999176926788671</c:v>
                </c:pt>
                <c:pt idx="65">
                  <c:v>0.99995370213186296</c:v>
                </c:pt>
                <c:pt idx="66">
                  <c:v>0.999972221279118</c:v>
                </c:pt>
                <c:pt idx="67">
                  <c:v>0.99998559621880212</c:v>
                </c:pt>
                <c:pt idx="68">
                  <c:v>0.99999279810940134</c:v>
                </c:pt>
                <c:pt idx="69">
                  <c:v>1.000000000000000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84</c:f>
              <c:strCache>
                <c:ptCount val="83"/>
                <c:pt idx="0">
                  <c:v>All Others</c:v>
                </c:pt>
                <c:pt idx="1">
                  <c:v>Bottega</c:v>
                </c:pt>
                <c:pt idx="2">
                  <c:v>Patriarche</c:v>
                </c:pt>
                <c:pt idx="3">
                  <c:v>Mure</c:v>
                </c:pt>
                <c:pt idx="4">
                  <c:v>Savian</c:v>
                </c:pt>
                <c:pt idx="5">
                  <c:v>French Bloo</c:v>
                </c:pt>
                <c:pt idx="6">
                  <c:v>Bouvet-Ladu</c:v>
                </c:pt>
                <c:pt idx="7">
                  <c:v>De Chanceny</c:v>
                </c:pt>
                <c:pt idx="8">
                  <c:v>All Others</c:v>
                </c:pt>
                <c:pt idx="9">
                  <c:v>Patriarche</c:v>
                </c:pt>
                <c:pt idx="10">
                  <c:v>All Others</c:v>
                </c:pt>
                <c:pt idx="11">
                  <c:v>Bottega</c:v>
                </c:pt>
                <c:pt idx="12">
                  <c:v>Kriter</c:v>
                </c:pt>
                <c:pt idx="13">
                  <c:v>All Others</c:v>
                </c:pt>
                <c:pt idx="14">
                  <c:v>All Others</c:v>
                </c:pt>
                <c:pt idx="15">
                  <c:v>All Others</c:v>
                </c:pt>
                <c:pt idx="16">
                  <c:v>All Others</c:v>
                </c:pt>
                <c:pt idx="17">
                  <c:v>Contarini</c:v>
                </c:pt>
                <c:pt idx="18">
                  <c:v>Cru La Maqu</c:v>
                </c:pt>
                <c:pt idx="19">
                  <c:v>All Others</c:v>
                </c:pt>
                <c:pt idx="20">
                  <c:v>All Others</c:v>
                </c:pt>
                <c:pt idx="21">
                  <c:v>All Others</c:v>
                </c:pt>
                <c:pt idx="22">
                  <c:v>Mure</c:v>
                </c:pt>
                <c:pt idx="23">
                  <c:v>All Others</c:v>
                </c:pt>
                <c:pt idx="24">
                  <c:v>All Others</c:v>
                </c:pt>
                <c:pt idx="25">
                  <c:v>All Others</c:v>
                </c:pt>
                <c:pt idx="26">
                  <c:v>All Others</c:v>
                </c:pt>
                <c:pt idx="27">
                  <c:v>Contarini</c:v>
                </c:pt>
                <c:pt idx="28">
                  <c:v>All Others</c:v>
                </c:pt>
                <c:pt idx="29">
                  <c:v>All Others</c:v>
                </c:pt>
                <c:pt idx="30">
                  <c:v>All Others</c:v>
                </c:pt>
                <c:pt idx="31">
                  <c:v>All Others</c:v>
                </c:pt>
                <c:pt idx="32">
                  <c:v>All Others</c:v>
                </c:pt>
                <c:pt idx="33">
                  <c:v>All Others</c:v>
                </c:pt>
                <c:pt idx="34">
                  <c:v>All Others</c:v>
                </c:pt>
                <c:pt idx="35">
                  <c:v>Bouvet-Ladu</c:v>
                </c:pt>
                <c:pt idx="36">
                  <c:v>All Others</c:v>
                </c:pt>
                <c:pt idx="37">
                  <c:v>All Others</c:v>
                </c:pt>
                <c:pt idx="38">
                  <c:v>All Others</c:v>
                </c:pt>
                <c:pt idx="39">
                  <c:v>All Others</c:v>
                </c:pt>
                <c:pt idx="40">
                  <c:v>All Others</c:v>
                </c:pt>
                <c:pt idx="41">
                  <c:v>Bouvet-Ladu</c:v>
                </c:pt>
                <c:pt idx="42">
                  <c:v>All Others</c:v>
                </c:pt>
                <c:pt idx="43">
                  <c:v>All Others</c:v>
                </c:pt>
                <c:pt idx="44">
                  <c:v>All Others</c:v>
                </c:pt>
                <c:pt idx="45">
                  <c:v>Mure</c:v>
                </c:pt>
                <c:pt idx="46">
                  <c:v>Bouvet-Ladu</c:v>
                </c:pt>
                <c:pt idx="47">
                  <c:v>All Others</c:v>
                </c:pt>
                <c:pt idx="48">
                  <c:v>All Others</c:v>
                </c:pt>
                <c:pt idx="49">
                  <c:v>Celene</c:v>
                </c:pt>
                <c:pt idx="50">
                  <c:v>All Others</c:v>
                </c:pt>
                <c:pt idx="51">
                  <c:v>All Others</c:v>
                </c:pt>
                <c:pt idx="52">
                  <c:v>Celene</c:v>
                </c:pt>
                <c:pt idx="53">
                  <c:v>All Others</c:v>
                </c:pt>
                <c:pt idx="54">
                  <c:v>All Others</c:v>
                </c:pt>
                <c:pt idx="55">
                  <c:v>All Others</c:v>
                </c:pt>
                <c:pt idx="56">
                  <c:v>All Others</c:v>
                </c:pt>
                <c:pt idx="57">
                  <c:v>All Others</c:v>
                </c:pt>
                <c:pt idx="58">
                  <c:v>All Others</c:v>
                </c:pt>
                <c:pt idx="59">
                  <c:v>Bottega</c:v>
                </c:pt>
                <c:pt idx="60">
                  <c:v>All Others</c:v>
                </c:pt>
                <c:pt idx="61">
                  <c:v>All Others</c:v>
                </c:pt>
                <c:pt idx="62">
                  <c:v>Jaillance</c:v>
                </c:pt>
                <c:pt idx="63">
                  <c:v>All Others</c:v>
                </c:pt>
                <c:pt idx="64">
                  <c:v>All Others</c:v>
                </c:pt>
                <c:pt idx="65">
                  <c:v>All Others</c:v>
                </c:pt>
                <c:pt idx="66">
                  <c:v>All Others</c:v>
                </c:pt>
                <c:pt idx="67">
                  <c:v>All Others</c:v>
                </c:pt>
                <c:pt idx="68">
                  <c:v>Bouvet-Ladu</c:v>
                </c:pt>
                <c:pt idx="69">
                  <c:v>All Others</c:v>
                </c:pt>
                <c:pt idx="70">
                  <c:v>Bouvet-Ladu</c:v>
                </c:pt>
                <c:pt idx="71">
                  <c:v>All Others</c:v>
                </c:pt>
                <c:pt idx="72">
                  <c:v>All Others</c:v>
                </c:pt>
                <c:pt idx="73">
                  <c:v>Bottega</c:v>
                </c:pt>
                <c:pt idx="74">
                  <c:v>All Others</c:v>
                </c:pt>
                <c:pt idx="75">
                  <c:v>All Others</c:v>
                </c:pt>
                <c:pt idx="76">
                  <c:v>Bouvet-Ladu</c:v>
                </c:pt>
                <c:pt idx="77">
                  <c:v>All Others</c:v>
                </c:pt>
                <c:pt idx="78">
                  <c:v>All Others</c:v>
                </c:pt>
                <c:pt idx="79">
                  <c:v>All Others</c:v>
                </c:pt>
                <c:pt idx="80">
                  <c:v>All Others</c:v>
                </c:pt>
                <c:pt idx="81">
                  <c:v>French Bloo</c:v>
                </c:pt>
                <c:pt idx="82">
                  <c:v>All Others</c:v>
                </c:pt>
              </c:strCache>
            </c:strRef>
          </c:cat>
          <c:val>
            <c:numRef>
              <c:f>Sheet1!$B$2:$B$84</c:f>
              <c:numCache>
                <c:formatCode>General</c:formatCode>
                <c:ptCount val="83"/>
                <c:pt idx="0">
                  <c:v>0.85</c:v>
                </c:pt>
                <c:pt idx="1">
                  <c:v>0.69</c:v>
                </c:pt>
                <c:pt idx="2">
                  <c:v>0.81</c:v>
                </c:pt>
                <c:pt idx="3">
                  <c:v>0.63</c:v>
                </c:pt>
                <c:pt idx="4">
                  <c:v>0.7</c:v>
                </c:pt>
                <c:pt idx="5">
                  <c:v>0.56999999999999995</c:v>
                </c:pt>
                <c:pt idx="6">
                  <c:v>0.63</c:v>
                </c:pt>
                <c:pt idx="7">
                  <c:v>0.37</c:v>
                </c:pt>
                <c:pt idx="8">
                  <c:v>0.36</c:v>
                </c:pt>
                <c:pt idx="9">
                  <c:v>0.53</c:v>
                </c:pt>
                <c:pt idx="10">
                  <c:v>0.08</c:v>
                </c:pt>
                <c:pt idx="11">
                  <c:v>0.38</c:v>
                </c:pt>
                <c:pt idx="12">
                  <c:v>0.31</c:v>
                </c:pt>
                <c:pt idx="13">
                  <c:v>0.3</c:v>
                </c:pt>
                <c:pt idx="14">
                  <c:v>0.09</c:v>
                </c:pt>
                <c:pt idx="15">
                  <c:v>0.03</c:v>
                </c:pt>
                <c:pt idx="16">
                  <c:v>0.45</c:v>
                </c:pt>
                <c:pt idx="17">
                  <c:v>0.76</c:v>
                </c:pt>
                <c:pt idx="18">
                  <c:v>0.32</c:v>
                </c:pt>
                <c:pt idx="19">
                  <c:v>0.09</c:v>
                </c:pt>
                <c:pt idx="20">
                  <c:v>0.18</c:v>
                </c:pt>
                <c:pt idx="21">
                  <c:v>0.16</c:v>
                </c:pt>
                <c:pt idx="22">
                  <c:v>7.0000000000000007E-2</c:v>
                </c:pt>
                <c:pt idx="23">
                  <c:v>0.04</c:v>
                </c:pt>
                <c:pt idx="24">
                  <c:v>0.08</c:v>
                </c:pt>
                <c:pt idx="25">
                  <c:v>0.2</c:v>
                </c:pt>
                <c:pt idx="26">
                  <c:v>0.08</c:v>
                </c:pt>
                <c:pt idx="27">
                  <c:v>0.11</c:v>
                </c:pt>
                <c:pt idx="28">
                  <c:v>0.14000000000000001</c:v>
                </c:pt>
                <c:pt idx="29">
                  <c:v>0.03</c:v>
                </c:pt>
                <c:pt idx="30">
                  <c:v>0.03</c:v>
                </c:pt>
                <c:pt idx="31">
                  <c:v>0.02</c:v>
                </c:pt>
                <c:pt idx="32">
                  <c:v>0.06</c:v>
                </c:pt>
                <c:pt idx="33">
                  <c:v>0.04</c:v>
                </c:pt>
                <c:pt idx="34">
                  <c:v>7.0000000000000007E-2</c:v>
                </c:pt>
                <c:pt idx="35">
                  <c:v>0.06</c:v>
                </c:pt>
                <c:pt idx="36">
                  <c:v>0.02</c:v>
                </c:pt>
                <c:pt idx="37">
                  <c:v>0.1</c:v>
                </c:pt>
                <c:pt idx="38">
                  <c:v>0.05</c:v>
                </c:pt>
                <c:pt idx="39">
                  <c:v>0.08</c:v>
                </c:pt>
                <c:pt idx="40">
                  <c:v>0.15</c:v>
                </c:pt>
                <c:pt idx="41">
                  <c:v>0.06</c:v>
                </c:pt>
                <c:pt idx="42">
                  <c:v>0.03</c:v>
                </c:pt>
                <c:pt idx="43">
                  <c:v>0.05</c:v>
                </c:pt>
                <c:pt idx="44">
                  <c:v>7.0000000000000007E-2</c:v>
                </c:pt>
                <c:pt idx="45">
                  <c:v>0.03</c:v>
                </c:pt>
                <c:pt idx="46">
                  <c:v>0.04</c:v>
                </c:pt>
                <c:pt idx="47">
                  <c:v>0.02</c:v>
                </c:pt>
                <c:pt idx="48">
                  <c:v>0.02</c:v>
                </c:pt>
                <c:pt idx="49">
                  <c:v>0.06</c:v>
                </c:pt>
                <c:pt idx="50">
                  <c:v>7.0000000000000007E-2</c:v>
                </c:pt>
                <c:pt idx="51">
                  <c:v>0.03</c:v>
                </c:pt>
                <c:pt idx="52">
                  <c:v>0.05</c:v>
                </c:pt>
                <c:pt idx="53">
                  <c:v>0.02</c:v>
                </c:pt>
                <c:pt idx="54">
                  <c:v>0.05</c:v>
                </c:pt>
                <c:pt idx="55">
                  <c:v>0.01</c:v>
                </c:pt>
                <c:pt idx="56">
                  <c:v>0.05</c:v>
                </c:pt>
                <c:pt idx="57">
                  <c:v>0.02</c:v>
                </c:pt>
                <c:pt idx="58">
                  <c:v>0.05</c:v>
                </c:pt>
                <c:pt idx="59">
                  <c:v>0.03</c:v>
                </c:pt>
                <c:pt idx="60">
                  <c:v>0.04</c:v>
                </c:pt>
                <c:pt idx="61">
                  <c:v>0.02</c:v>
                </c:pt>
                <c:pt idx="62">
                  <c:v>0.04</c:v>
                </c:pt>
                <c:pt idx="63">
                  <c:v>0.02</c:v>
                </c:pt>
                <c:pt idx="64">
                  <c:v>0.03</c:v>
                </c:pt>
                <c:pt idx="65">
                  <c:v>0.03</c:v>
                </c:pt>
                <c:pt idx="66">
                  <c:v>0.02</c:v>
                </c:pt>
                <c:pt idx="67">
                  <c:v>0.01</c:v>
                </c:pt>
                <c:pt idx="68">
                  <c:v>0.02</c:v>
                </c:pt>
                <c:pt idx="69">
                  <c:v>0.01</c:v>
                </c:pt>
                <c:pt idx="70">
                  <c:v>0.02</c:v>
                </c:pt>
                <c:pt idx="71">
                  <c:v>0.01</c:v>
                </c:pt>
                <c:pt idx="72">
                  <c:v>0.02</c:v>
                </c:pt>
                <c:pt idx="73">
                  <c:v>0.01</c:v>
                </c:pt>
                <c:pt idx="74">
                  <c:v>0.01</c:v>
                </c:pt>
                <c:pt idx="75">
                  <c:v>0.03</c:v>
                </c:pt>
                <c:pt idx="76">
                  <c:v>0.02</c:v>
                </c:pt>
                <c:pt idx="77">
                  <c:v>0.02</c:v>
                </c:pt>
                <c:pt idx="78">
                  <c:v>0.01</c:v>
                </c:pt>
                <c:pt idx="79">
                  <c:v>0.03</c:v>
                </c:pt>
                <c:pt idx="80">
                  <c:v>0.01</c:v>
                </c:pt>
                <c:pt idx="81">
                  <c:v>0.01</c:v>
                </c:pt>
                <c:pt idx="82">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7ECAC4"/>
              </a:solidFill>
            </c:spPr>
            <c:extLst>
              <c:ext xmlns:c16="http://schemas.microsoft.com/office/drawing/2014/chart" uri="{C3380CC4-5D6E-409C-BE32-E72D297353CC}">
                <c16:uniqueId val="{00000059-2993-41DE-A2CB-63102DE87051}"/>
              </c:ext>
            </c:extLst>
          </c:dPt>
          <c:dPt>
            <c:idx val="17"/>
            <c:invertIfNegative val="1"/>
            <c:bubble3D val="0"/>
            <c:spPr>
              <a:solidFill>
                <a:srgbClr val="7ECAC4"/>
              </a:solidFill>
            </c:spPr>
            <c:extLst>
              <c:ext xmlns:c16="http://schemas.microsoft.com/office/drawing/2014/chart" uri="{C3380CC4-5D6E-409C-BE32-E72D297353CC}">
                <c16:uniqueId val="{0000005B-2993-41DE-A2CB-63102DE87051}"/>
              </c:ext>
            </c:extLst>
          </c:dPt>
          <c:dPt>
            <c:idx val="18"/>
            <c:invertIfNegative val="1"/>
            <c:bubble3D val="0"/>
            <c:spPr>
              <a:solidFill>
                <a:srgbClr val="7ECAC4"/>
              </a:solidFill>
            </c:spPr>
            <c:extLst>
              <c:ext xmlns:c16="http://schemas.microsoft.com/office/drawing/2014/chart" uri="{C3380CC4-5D6E-409C-BE32-E72D297353CC}">
                <c16:uniqueId val="{0000005D-2993-41DE-A2CB-63102DE87051}"/>
              </c:ext>
            </c:extLst>
          </c:dPt>
          <c:dPt>
            <c:idx val="19"/>
            <c:invertIfNegative val="1"/>
            <c:bubble3D val="0"/>
            <c:spPr>
              <a:solidFill>
                <a:srgbClr val="7ECAC4"/>
              </a:solidFill>
            </c:spPr>
            <c:extLst>
              <c:ext xmlns:c16="http://schemas.microsoft.com/office/drawing/2014/chart" uri="{C3380CC4-5D6E-409C-BE32-E72D297353CC}">
                <c16:uniqueId val="{0000005F-2993-41DE-A2CB-63102DE87051}"/>
              </c:ext>
            </c:extLst>
          </c:dPt>
          <c:dPt>
            <c:idx val="20"/>
            <c:invertIfNegative val="1"/>
            <c:bubble3D val="0"/>
            <c:spPr>
              <a:solidFill>
                <a:srgbClr val="7ECAC4"/>
              </a:solidFill>
            </c:spPr>
            <c:extLst>
              <c:ext xmlns:c16="http://schemas.microsoft.com/office/drawing/2014/chart" uri="{C3380CC4-5D6E-409C-BE32-E72D297353CC}">
                <c16:uniqueId val="{00000061-2993-41DE-A2CB-63102DE87051}"/>
              </c:ext>
            </c:extLst>
          </c:dPt>
          <c:dPt>
            <c:idx val="21"/>
            <c:invertIfNegative val="1"/>
            <c:bubble3D val="0"/>
            <c:spPr>
              <a:solidFill>
                <a:srgbClr val="7ECAC4"/>
              </a:solidFill>
            </c:spPr>
            <c:extLst>
              <c:ext xmlns:c16="http://schemas.microsoft.com/office/drawing/2014/chart" uri="{C3380CC4-5D6E-409C-BE32-E72D297353CC}">
                <c16:uniqueId val="{00000063-2993-41DE-A2CB-63102DE87051}"/>
              </c:ext>
            </c:extLst>
          </c:dPt>
          <c:dPt>
            <c:idx val="22"/>
            <c:invertIfNegative val="1"/>
            <c:bubble3D val="0"/>
            <c:spPr>
              <a:solidFill>
                <a:srgbClr val="7ECAC4"/>
              </a:solidFill>
            </c:spPr>
            <c:extLst>
              <c:ext xmlns:c16="http://schemas.microsoft.com/office/drawing/2014/chart" uri="{C3380CC4-5D6E-409C-BE32-E72D297353CC}">
                <c16:uniqueId val="{00000065-2993-41DE-A2CB-63102DE87051}"/>
              </c:ext>
            </c:extLst>
          </c:dPt>
          <c:dPt>
            <c:idx val="23"/>
            <c:invertIfNegative val="1"/>
            <c:bubble3D val="0"/>
            <c:spPr>
              <a:solidFill>
                <a:srgbClr val="7ECAC4"/>
              </a:solidFill>
            </c:spPr>
            <c:extLst>
              <c:ext xmlns:c16="http://schemas.microsoft.com/office/drawing/2014/chart" uri="{C3380CC4-5D6E-409C-BE32-E72D297353CC}">
                <c16:uniqueId val="{00000067-2993-41DE-A2CB-63102DE87051}"/>
              </c:ext>
            </c:extLst>
          </c:dPt>
          <c:dPt>
            <c:idx val="24"/>
            <c:invertIfNegative val="1"/>
            <c:bubble3D val="0"/>
            <c:spPr>
              <a:solidFill>
                <a:srgbClr val="7ECAC4"/>
              </a:solidFill>
            </c:spPr>
            <c:extLst>
              <c:ext xmlns:c16="http://schemas.microsoft.com/office/drawing/2014/chart" uri="{C3380CC4-5D6E-409C-BE32-E72D297353CC}">
                <c16:uniqueId val="{00000069-2993-41DE-A2CB-63102DE87051}"/>
              </c:ext>
            </c:extLst>
          </c:dPt>
          <c:dPt>
            <c:idx val="25"/>
            <c:invertIfNegative val="1"/>
            <c:bubble3D val="0"/>
            <c:spPr>
              <a:solidFill>
                <a:srgbClr val="7ECAC4"/>
              </a:solidFill>
            </c:spPr>
            <c:extLst>
              <c:ext xmlns:c16="http://schemas.microsoft.com/office/drawing/2014/chart" uri="{C3380CC4-5D6E-409C-BE32-E72D297353CC}">
                <c16:uniqueId val="{0000006B-2993-41DE-A2CB-63102DE87051}"/>
              </c:ext>
            </c:extLst>
          </c:dPt>
          <c:dPt>
            <c:idx val="26"/>
            <c:invertIfNegative val="1"/>
            <c:bubble3D val="0"/>
            <c:spPr>
              <a:solidFill>
                <a:srgbClr val="7ECAC4"/>
              </a:solidFill>
            </c:spPr>
            <c:extLst>
              <c:ext xmlns:c16="http://schemas.microsoft.com/office/drawing/2014/chart" uri="{C3380CC4-5D6E-409C-BE32-E72D297353CC}">
                <c16:uniqueId val="{0000006D-2993-41DE-A2CB-63102DE87051}"/>
              </c:ext>
            </c:extLst>
          </c:dPt>
          <c:dPt>
            <c:idx val="27"/>
            <c:invertIfNegative val="1"/>
            <c:bubble3D val="0"/>
            <c:spPr>
              <a:solidFill>
                <a:srgbClr val="7ECAC4"/>
              </a:solidFill>
            </c:spPr>
            <c:extLst>
              <c:ext xmlns:c16="http://schemas.microsoft.com/office/drawing/2014/chart" uri="{C3380CC4-5D6E-409C-BE32-E72D297353CC}">
                <c16:uniqueId val="{0000006F-2993-41DE-A2CB-63102DE87051}"/>
              </c:ext>
            </c:extLst>
          </c:dPt>
          <c:dPt>
            <c:idx val="28"/>
            <c:invertIfNegative val="1"/>
            <c:bubble3D val="0"/>
            <c:spPr>
              <a:solidFill>
                <a:srgbClr val="7ECAC4"/>
              </a:solidFill>
            </c:spPr>
            <c:extLst>
              <c:ext xmlns:c16="http://schemas.microsoft.com/office/drawing/2014/chart" uri="{C3380CC4-5D6E-409C-BE32-E72D297353CC}">
                <c16:uniqueId val="{00000071-2993-41DE-A2CB-63102DE87051}"/>
              </c:ext>
            </c:extLst>
          </c:dPt>
          <c:dPt>
            <c:idx val="29"/>
            <c:invertIfNegative val="1"/>
            <c:bubble3D val="0"/>
            <c:spPr>
              <a:solidFill>
                <a:srgbClr val="7ECAC4"/>
              </a:solidFill>
            </c:spPr>
            <c:extLst>
              <c:ext xmlns:c16="http://schemas.microsoft.com/office/drawing/2014/chart" uri="{C3380CC4-5D6E-409C-BE32-E72D297353CC}">
                <c16:uniqueId val="{00000073-2993-41DE-A2CB-63102DE87051}"/>
              </c:ext>
            </c:extLst>
          </c:dPt>
          <c:dPt>
            <c:idx val="30"/>
            <c:invertIfNegative val="1"/>
            <c:bubble3D val="0"/>
            <c:spPr>
              <a:solidFill>
                <a:srgbClr val="7ECAC4"/>
              </a:solidFill>
            </c:spPr>
            <c:extLst>
              <c:ext xmlns:c16="http://schemas.microsoft.com/office/drawing/2014/chart" uri="{C3380CC4-5D6E-409C-BE32-E72D297353CC}">
                <c16:uniqueId val="{00000075-2993-41DE-A2CB-63102DE87051}"/>
              </c:ext>
            </c:extLst>
          </c:dPt>
          <c:dPt>
            <c:idx val="31"/>
            <c:invertIfNegative val="1"/>
            <c:bubble3D val="0"/>
            <c:spPr>
              <a:solidFill>
                <a:srgbClr val="7ECAC4"/>
              </a:solidFill>
            </c:spPr>
            <c:extLst>
              <c:ext xmlns:c16="http://schemas.microsoft.com/office/drawing/2014/chart" uri="{C3380CC4-5D6E-409C-BE32-E72D297353CC}">
                <c16:uniqueId val="{00000077-2993-41DE-A2CB-63102DE87051}"/>
              </c:ext>
            </c:extLst>
          </c:dPt>
          <c:dPt>
            <c:idx val="32"/>
            <c:invertIfNegative val="1"/>
            <c:bubble3D val="0"/>
            <c:spPr>
              <a:solidFill>
                <a:srgbClr val="7ECAC4"/>
              </a:solidFill>
            </c:spPr>
            <c:extLst>
              <c:ext xmlns:c16="http://schemas.microsoft.com/office/drawing/2014/chart" uri="{C3380CC4-5D6E-409C-BE32-E72D297353CC}">
                <c16:uniqueId val="{00000079-2993-41DE-A2CB-63102DE87051}"/>
              </c:ext>
            </c:extLst>
          </c:dPt>
          <c:dPt>
            <c:idx val="33"/>
            <c:invertIfNegative val="1"/>
            <c:bubble3D val="0"/>
            <c:spPr>
              <a:solidFill>
                <a:srgbClr val="AEABAB"/>
              </a:solidFill>
            </c:spPr>
            <c:extLst>
              <c:ext xmlns:c16="http://schemas.microsoft.com/office/drawing/2014/chart" uri="{C3380CC4-5D6E-409C-BE32-E72D297353CC}">
                <c16:uniqueId val="{0000007B-2993-41DE-A2CB-63102DE87051}"/>
              </c:ext>
            </c:extLst>
          </c:dPt>
          <c:dPt>
            <c:idx val="34"/>
            <c:invertIfNegative val="1"/>
            <c:bubble3D val="0"/>
            <c:spPr>
              <a:solidFill>
                <a:srgbClr val="AEABAB"/>
              </a:solidFill>
            </c:spPr>
            <c:extLst>
              <c:ext xmlns:c16="http://schemas.microsoft.com/office/drawing/2014/chart" uri="{C3380CC4-5D6E-409C-BE32-E72D297353CC}">
                <c16:uniqueId val="{0000007D-2993-41DE-A2CB-63102DE87051}"/>
              </c:ext>
            </c:extLst>
          </c:dPt>
          <c:dPt>
            <c:idx val="35"/>
            <c:invertIfNegative val="1"/>
            <c:bubble3D val="0"/>
            <c:spPr>
              <a:solidFill>
                <a:srgbClr val="AEABAB"/>
              </a:solidFill>
            </c:spPr>
            <c:extLst>
              <c:ext xmlns:c16="http://schemas.microsoft.com/office/drawing/2014/chart" uri="{C3380CC4-5D6E-409C-BE32-E72D297353CC}">
                <c16:uniqueId val="{0000007F-2993-41DE-A2CB-63102DE87051}"/>
              </c:ext>
            </c:extLst>
          </c:dPt>
          <c:dPt>
            <c:idx val="36"/>
            <c:invertIfNegative val="1"/>
            <c:bubble3D val="0"/>
            <c:spPr>
              <a:solidFill>
                <a:srgbClr val="AEABAB"/>
              </a:solidFill>
            </c:spPr>
            <c:extLst>
              <c:ext xmlns:c16="http://schemas.microsoft.com/office/drawing/2014/chart" uri="{C3380CC4-5D6E-409C-BE32-E72D297353CC}">
                <c16:uniqueId val="{00000081-2993-41DE-A2CB-63102DE87051}"/>
              </c:ext>
            </c:extLst>
          </c:dPt>
          <c:dPt>
            <c:idx val="37"/>
            <c:invertIfNegative val="1"/>
            <c:bubble3D val="0"/>
            <c:spPr>
              <a:solidFill>
                <a:srgbClr val="AEABAB"/>
              </a:solidFill>
            </c:spPr>
            <c:extLst>
              <c:ext xmlns:c16="http://schemas.microsoft.com/office/drawing/2014/chart" uri="{C3380CC4-5D6E-409C-BE32-E72D297353CC}">
                <c16:uniqueId val="{00000083-2993-41DE-A2CB-63102DE87051}"/>
              </c:ext>
            </c:extLst>
          </c:dPt>
          <c:dPt>
            <c:idx val="38"/>
            <c:invertIfNegative val="1"/>
            <c:bubble3D val="0"/>
            <c:spPr>
              <a:solidFill>
                <a:srgbClr val="AEABAB"/>
              </a:solidFill>
            </c:spPr>
            <c:extLst>
              <c:ext xmlns:c16="http://schemas.microsoft.com/office/drawing/2014/chart" uri="{C3380CC4-5D6E-409C-BE32-E72D297353CC}">
                <c16:uniqueId val="{00000085-2993-41DE-A2CB-63102DE87051}"/>
              </c:ext>
            </c:extLst>
          </c:dPt>
          <c:dPt>
            <c:idx val="39"/>
            <c:invertIfNegative val="1"/>
            <c:bubble3D val="0"/>
            <c:spPr>
              <a:solidFill>
                <a:srgbClr val="AEABAB"/>
              </a:solidFill>
            </c:spPr>
            <c:extLst>
              <c:ext xmlns:c16="http://schemas.microsoft.com/office/drawing/2014/chart" uri="{C3380CC4-5D6E-409C-BE32-E72D297353CC}">
                <c16:uniqueId val="{00000087-2993-41DE-A2CB-63102DE87051}"/>
              </c:ext>
            </c:extLst>
          </c:dPt>
          <c:dPt>
            <c:idx val="40"/>
            <c:invertIfNegative val="1"/>
            <c:bubble3D val="0"/>
            <c:spPr>
              <a:solidFill>
                <a:srgbClr val="AEABAB"/>
              </a:solidFill>
            </c:spPr>
            <c:extLst>
              <c:ext xmlns:c16="http://schemas.microsoft.com/office/drawing/2014/chart" uri="{C3380CC4-5D6E-409C-BE32-E72D297353CC}">
                <c16:uniqueId val="{00000089-2993-41DE-A2CB-63102DE87051}"/>
              </c:ext>
            </c:extLst>
          </c:dPt>
          <c:dPt>
            <c:idx val="41"/>
            <c:invertIfNegative val="1"/>
            <c:bubble3D val="0"/>
            <c:spPr>
              <a:solidFill>
                <a:srgbClr val="AEABAB"/>
              </a:solidFill>
            </c:spPr>
            <c:extLst>
              <c:ext xmlns:c16="http://schemas.microsoft.com/office/drawing/2014/chart" uri="{C3380CC4-5D6E-409C-BE32-E72D297353CC}">
                <c16:uniqueId val="{0000008B-2993-41DE-A2CB-63102DE87051}"/>
              </c:ext>
            </c:extLst>
          </c:dPt>
          <c:dPt>
            <c:idx val="42"/>
            <c:invertIfNegative val="1"/>
            <c:bubble3D val="0"/>
            <c:spPr>
              <a:solidFill>
                <a:srgbClr val="AEABAB"/>
              </a:solidFill>
            </c:spPr>
            <c:extLst>
              <c:ext xmlns:c16="http://schemas.microsoft.com/office/drawing/2014/chart" uri="{C3380CC4-5D6E-409C-BE32-E72D297353CC}">
                <c16:uniqueId val="{0000008D-2993-41DE-A2CB-63102DE87051}"/>
              </c:ext>
            </c:extLst>
          </c:dPt>
          <c:dPt>
            <c:idx val="43"/>
            <c:invertIfNegative val="1"/>
            <c:bubble3D val="0"/>
            <c:spPr>
              <a:solidFill>
                <a:srgbClr val="AEABAB"/>
              </a:solidFill>
            </c:spPr>
            <c:extLst>
              <c:ext xmlns:c16="http://schemas.microsoft.com/office/drawing/2014/chart" uri="{C3380CC4-5D6E-409C-BE32-E72D297353CC}">
                <c16:uniqueId val="{0000008F-2993-41DE-A2CB-63102DE87051}"/>
              </c:ext>
            </c:extLst>
          </c:dPt>
          <c:dPt>
            <c:idx val="44"/>
            <c:invertIfNegative val="1"/>
            <c:bubble3D val="0"/>
            <c:spPr>
              <a:solidFill>
                <a:srgbClr val="AEABAB"/>
              </a:solidFill>
            </c:spPr>
            <c:extLst>
              <c:ext xmlns:c16="http://schemas.microsoft.com/office/drawing/2014/chart" uri="{C3380CC4-5D6E-409C-BE32-E72D297353CC}">
                <c16:uniqueId val="{00000091-2993-41DE-A2CB-63102DE87051}"/>
              </c:ext>
            </c:extLst>
          </c:dPt>
          <c:dPt>
            <c:idx val="45"/>
            <c:invertIfNegative val="1"/>
            <c:bubble3D val="0"/>
            <c:spPr>
              <a:solidFill>
                <a:srgbClr val="AEABAB"/>
              </a:solidFill>
            </c:spPr>
            <c:extLst>
              <c:ext xmlns:c16="http://schemas.microsoft.com/office/drawing/2014/chart" uri="{C3380CC4-5D6E-409C-BE32-E72D297353CC}">
                <c16:uniqueId val="{00000093-2993-41DE-A2CB-63102DE87051}"/>
              </c:ext>
            </c:extLst>
          </c:dPt>
          <c:dPt>
            <c:idx val="46"/>
            <c:invertIfNegative val="1"/>
            <c:bubble3D val="0"/>
            <c:spPr>
              <a:solidFill>
                <a:srgbClr val="AEABAB"/>
              </a:solidFill>
            </c:spPr>
            <c:extLst>
              <c:ext xmlns:c16="http://schemas.microsoft.com/office/drawing/2014/chart" uri="{C3380CC4-5D6E-409C-BE32-E72D297353CC}">
                <c16:uniqueId val="{00000095-2993-41DE-A2CB-63102DE87051}"/>
              </c:ext>
            </c:extLst>
          </c:dPt>
          <c:dPt>
            <c:idx val="47"/>
            <c:invertIfNegative val="1"/>
            <c:bubble3D val="0"/>
            <c:spPr>
              <a:solidFill>
                <a:srgbClr val="AEABAB"/>
              </a:solidFill>
            </c:spPr>
            <c:extLst>
              <c:ext xmlns:c16="http://schemas.microsoft.com/office/drawing/2014/chart" uri="{C3380CC4-5D6E-409C-BE32-E72D297353CC}">
                <c16:uniqueId val="{00000097-2993-41DE-A2CB-63102DE87051}"/>
              </c:ext>
            </c:extLst>
          </c:dPt>
          <c:dPt>
            <c:idx val="48"/>
            <c:invertIfNegative val="1"/>
            <c:bubble3D val="0"/>
            <c:spPr>
              <a:solidFill>
                <a:srgbClr val="AEABAB"/>
              </a:solidFill>
            </c:spPr>
            <c:extLst>
              <c:ext xmlns:c16="http://schemas.microsoft.com/office/drawing/2014/chart" uri="{C3380CC4-5D6E-409C-BE32-E72D297353CC}">
                <c16:uniqueId val="{00000099-2993-41DE-A2CB-63102DE87051}"/>
              </c:ext>
            </c:extLst>
          </c:dPt>
          <c:dPt>
            <c:idx val="49"/>
            <c:invertIfNegative val="1"/>
            <c:bubble3D val="0"/>
            <c:spPr>
              <a:solidFill>
                <a:srgbClr val="AEABAB"/>
              </a:solidFill>
            </c:spPr>
            <c:extLst>
              <c:ext xmlns:c16="http://schemas.microsoft.com/office/drawing/2014/chart" uri="{C3380CC4-5D6E-409C-BE32-E72D297353CC}">
                <c16:uniqueId val="{0000009B-2993-41DE-A2CB-63102DE87051}"/>
              </c:ext>
            </c:extLst>
          </c:dPt>
          <c:dPt>
            <c:idx val="50"/>
            <c:invertIfNegative val="1"/>
            <c:bubble3D val="0"/>
            <c:spPr>
              <a:solidFill>
                <a:srgbClr val="AEABAB"/>
              </a:solidFill>
            </c:spPr>
            <c:extLst>
              <c:ext xmlns:c16="http://schemas.microsoft.com/office/drawing/2014/chart" uri="{C3380CC4-5D6E-409C-BE32-E72D297353CC}">
                <c16:uniqueId val="{0000009D-2993-41DE-A2CB-63102DE87051}"/>
              </c:ext>
            </c:extLst>
          </c:dPt>
          <c:dPt>
            <c:idx val="51"/>
            <c:invertIfNegative val="1"/>
            <c:bubble3D val="0"/>
            <c:spPr>
              <a:solidFill>
                <a:srgbClr val="AEABAB"/>
              </a:solidFill>
            </c:spPr>
            <c:extLst>
              <c:ext xmlns:c16="http://schemas.microsoft.com/office/drawing/2014/chart" uri="{C3380CC4-5D6E-409C-BE32-E72D297353CC}">
                <c16:uniqueId val="{0000009F-2993-41DE-A2CB-63102DE87051}"/>
              </c:ext>
            </c:extLst>
          </c:dPt>
          <c:dPt>
            <c:idx val="52"/>
            <c:invertIfNegative val="1"/>
            <c:bubble3D val="0"/>
            <c:spPr>
              <a:solidFill>
                <a:srgbClr val="AEABAB"/>
              </a:solidFill>
            </c:spPr>
            <c:extLst>
              <c:ext xmlns:c16="http://schemas.microsoft.com/office/drawing/2014/chart" uri="{C3380CC4-5D6E-409C-BE32-E72D297353CC}">
                <c16:uniqueId val="{000000A1-2993-41DE-A2CB-63102DE87051}"/>
              </c:ext>
            </c:extLst>
          </c:dPt>
          <c:dPt>
            <c:idx val="53"/>
            <c:invertIfNegative val="1"/>
            <c:bubble3D val="0"/>
            <c:spPr>
              <a:solidFill>
                <a:srgbClr val="AEABAB"/>
              </a:solidFill>
            </c:spPr>
            <c:extLst>
              <c:ext xmlns:c16="http://schemas.microsoft.com/office/drawing/2014/chart" uri="{C3380CC4-5D6E-409C-BE32-E72D297353CC}">
                <c16:uniqueId val="{000000A3-2993-41DE-A2CB-63102DE87051}"/>
              </c:ext>
            </c:extLst>
          </c:dPt>
          <c:dPt>
            <c:idx val="54"/>
            <c:invertIfNegative val="0"/>
            <c:bubble3D val="0"/>
            <c:spPr>
              <a:solidFill>
                <a:srgbClr val="AEABAB"/>
              </a:solidFill>
            </c:spPr>
            <c:extLst>
              <c:ext xmlns:c16="http://schemas.microsoft.com/office/drawing/2014/chart" uri="{C3380CC4-5D6E-409C-BE32-E72D297353CC}">
                <c16:uniqueId val="{00000072-C76F-4230-900D-40618C09729F}"/>
              </c:ext>
            </c:extLst>
          </c:dPt>
          <c:dPt>
            <c:idx val="55"/>
            <c:invertIfNegative val="0"/>
            <c:bubble3D val="0"/>
            <c:spPr>
              <a:solidFill>
                <a:srgbClr val="AEABAB"/>
              </a:solidFill>
            </c:spPr>
            <c:extLst>
              <c:ext xmlns:c16="http://schemas.microsoft.com/office/drawing/2014/chart" uri="{C3380CC4-5D6E-409C-BE32-E72D297353CC}">
                <c16:uniqueId val="{00000074-C76F-4230-900D-40618C09729F}"/>
              </c:ext>
            </c:extLst>
          </c:dPt>
          <c:dPt>
            <c:idx val="56"/>
            <c:invertIfNegative val="0"/>
            <c:bubble3D val="0"/>
            <c:spPr>
              <a:solidFill>
                <a:srgbClr val="AEABAB"/>
              </a:solidFill>
            </c:spPr>
            <c:extLst>
              <c:ext xmlns:c16="http://schemas.microsoft.com/office/drawing/2014/chart" uri="{C3380CC4-5D6E-409C-BE32-E72D297353CC}">
                <c16:uniqueId val="{00000076-C76F-4230-900D-40618C09729F}"/>
              </c:ext>
            </c:extLst>
          </c:dPt>
          <c:dPt>
            <c:idx val="57"/>
            <c:invertIfNegative val="0"/>
            <c:bubble3D val="0"/>
            <c:spPr>
              <a:solidFill>
                <a:srgbClr val="AEABAB"/>
              </a:solidFill>
            </c:spPr>
            <c:extLst>
              <c:ext xmlns:c16="http://schemas.microsoft.com/office/drawing/2014/chart" uri="{C3380CC4-5D6E-409C-BE32-E72D297353CC}">
                <c16:uniqueId val="{00000078-C76F-4230-900D-40618C09729F}"/>
              </c:ext>
            </c:extLst>
          </c:dPt>
          <c:dPt>
            <c:idx val="58"/>
            <c:invertIfNegative val="0"/>
            <c:bubble3D val="0"/>
            <c:spPr>
              <a:solidFill>
                <a:srgbClr val="AEABAB"/>
              </a:solidFill>
            </c:spPr>
            <c:extLst>
              <c:ext xmlns:c16="http://schemas.microsoft.com/office/drawing/2014/chart" uri="{C3380CC4-5D6E-409C-BE32-E72D297353CC}">
                <c16:uniqueId val="{0000007A-C76F-4230-900D-40618C09729F}"/>
              </c:ext>
            </c:extLst>
          </c:dPt>
          <c:dPt>
            <c:idx val="59"/>
            <c:invertIfNegative val="0"/>
            <c:bubble3D val="0"/>
            <c:spPr>
              <a:solidFill>
                <a:srgbClr val="AEABAB"/>
              </a:solidFill>
            </c:spPr>
            <c:extLst>
              <c:ext xmlns:c16="http://schemas.microsoft.com/office/drawing/2014/chart" uri="{C3380CC4-5D6E-409C-BE32-E72D297353CC}">
                <c16:uniqueId val="{0000007C-C76F-4230-900D-40618C09729F}"/>
              </c:ext>
            </c:extLst>
          </c:dPt>
          <c:dPt>
            <c:idx val="60"/>
            <c:invertIfNegative val="0"/>
            <c:bubble3D val="0"/>
            <c:spPr>
              <a:solidFill>
                <a:srgbClr val="AEABAB"/>
              </a:solidFill>
            </c:spPr>
            <c:extLst>
              <c:ext xmlns:c16="http://schemas.microsoft.com/office/drawing/2014/chart" uri="{C3380CC4-5D6E-409C-BE32-E72D297353CC}">
                <c16:uniqueId val="{0000007E-C76F-4230-900D-40618C09729F}"/>
              </c:ext>
            </c:extLst>
          </c:dPt>
          <c:dPt>
            <c:idx val="61"/>
            <c:invertIfNegative val="0"/>
            <c:bubble3D val="0"/>
            <c:spPr>
              <a:solidFill>
                <a:srgbClr val="AEABAB"/>
              </a:solidFill>
            </c:spPr>
            <c:extLst>
              <c:ext xmlns:c16="http://schemas.microsoft.com/office/drawing/2014/chart" uri="{C3380CC4-5D6E-409C-BE32-E72D297353CC}">
                <c16:uniqueId val="{00000080-C76F-4230-900D-40618C09729F}"/>
              </c:ext>
            </c:extLst>
          </c:dPt>
          <c:dPt>
            <c:idx val="62"/>
            <c:invertIfNegative val="0"/>
            <c:bubble3D val="0"/>
            <c:spPr>
              <a:solidFill>
                <a:srgbClr val="AEABAB"/>
              </a:solidFill>
            </c:spPr>
            <c:extLst>
              <c:ext xmlns:c16="http://schemas.microsoft.com/office/drawing/2014/chart" uri="{C3380CC4-5D6E-409C-BE32-E72D297353CC}">
                <c16:uniqueId val="{00000082-C76F-4230-900D-40618C09729F}"/>
              </c:ext>
            </c:extLst>
          </c:dPt>
          <c:dPt>
            <c:idx val="63"/>
            <c:invertIfNegative val="0"/>
            <c:bubble3D val="0"/>
            <c:spPr>
              <a:solidFill>
                <a:srgbClr val="AEABAB"/>
              </a:solidFill>
            </c:spPr>
            <c:extLst>
              <c:ext xmlns:c16="http://schemas.microsoft.com/office/drawing/2014/chart" uri="{C3380CC4-5D6E-409C-BE32-E72D297353CC}">
                <c16:uniqueId val="{00000084-C76F-4230-900D-40618C09729F}"/>
              </c:ext>
            </c:extLst>
          </c:dPt>
          <c:dPt>
            <c:idx val="64"/>
            <c:invertIfNegative val="0"/>
            <c:bubble3D val="0"/>
            <c:spPr>
              <a:solidFill>
                <a:srgbClr val="AEABAB"/>
              </a:solidFill>
            </c:spPr>
            <c:extLst>
              <c:ext xmlns:c16="http://schemas.microsoft.com/office/drawing/2014/chart" uri="{C3380CC4-5D6E-409C-BE32-E72D297353CC}">
                <c16:uniqueId val="{00000086-C76F-4230-900D-40618C09729F}"/>
              </c:ext>
            </c:extLst>
          </c:dPt>
          <c:dPt>
            <c:idx val="65"/>
            <c:invertIfNegative val="0"/>
            <c:bubble3D val="0"/>
            <c:spPr>
              <a:solidFill>
                <a:srgbClr val="AEABAB"/>
              </a:solidFill>
            </c:spPr>
            <c:extLst>
              <c:ext xmlns:c16="http://schemas.microsoft.com/office/drawing/2014/chart" uri="{C3380CC4-5D6E-409C-BE32-E72D297353CC}">
                <c16:uniqueId val="{00000088-C76F-4230-900D-40618C09729F}"/>
              </c:ext>
            </c:extLst>
          </c:dPt>
          <c:dPt>
            <c:idx val="66"/>
            <c:invertIfNegative val="0"/>
            <c:bubble3D val="0"/>
            <c:spPr>
              <a:solidFill>
                <a:srgbClr val="AEABAB"/>
              </a:solidFill>
            </c:spPr>
            <c:extLst>
              <c:ext xmlns:c16="http://schemas.microsoft.com/office/drawing/2014/chart" uri="{C3380CC4-5D6E-409C-BE32-E72D297353CC}">
                <c16:uniqueId val="{0000008A-C76F-4230-900D-40618C09729F}"/>
              </c:ext>
            </c:extLst>
          </c:dPt>
          <c:dPt>
            <c:idx val="67"/>
            <c:invertIfNegative val="0"/>
            <c:bubble3D val="0"/>
            <c:spPr>
              <a:solidFill>
                <a:srgbClr val="AEABAB"/>
              </a:solidFill>
            </c:spPr>
            <c:extLst>
              <c:ext xmlns:c16="http://schemas.microsoft.com/office/drawing/2014/chart" uri="{C3380CC4-5D6E-409C-BE32-E72D297353CC}">
                <c16:uniqueId val="{0000008C-C76F-4230-900D-40618C09729F}"/>
              </c:ext>
            </c:extLst>
          </c:dPt>
          <c:dPt>
            <c:idx val="68"/>
            <c:invertIfNegative val="0"/>
            <c:bubble3D val="0"/>
            <c:spPr>
              <a:solidFill>
                <a:srgbClr val="AEABAB"/>
              </a:solidFill>
            </c:spPr>
            <c:extLst>
              <c:ext xmlns:c16="http://schemas.microsoft.com/office/drawing/2014/chart" uri="{C3380CC4-5D6E-409C-BE32-E72D297353CC}">
                <c16:uniqueId val="{0000008E-C76F-4230-900D-40618C09729F}"/>
              </c:ext>
            </c:extLst>
          </c:dPt>
          <c:dPt>
            <c:idx val="69"/>
            <c:invertIfNegative val="0"/>
            <c:bubble3D val="0"/>
            <c:spPr>
              <a:solidFill>
                <a:srgbClr val="AEABAB"/>
              </a:solidFill>
            </c:spPr>
            <c:extLst>
              <c:ext xmlns:c16="http://schemas.microsoft.com/office/drawing/2014/chart" uri="{C3380CC4-5D6E-409C-BE32-E72D297353CC}">
                <c16:uniqueId val="{00000090-C76F-4230-900D-40618C09729F}"/>
              </c:ext>
            </c:extLst>
          </c:dPt>
          <c:dPt>
            <c:idx val="70"/>
            <c:invertIfNegative val="0"/>
            <c:bubble3D val="0"/>
            <c:spPr>
              <a:solidFill>
                <a:srgbClr val="AEABAB"/>
              </a:solidFill>
            </c:spPr>
            <c:extLst>
              <c:ext xmlns:c16="http://schemas.microsoft.com/office/drawing/2014/chart" uri="{C3380CC4-5D6E-409C-BE32-E72D297353CC}">
                <c16:uniqueId val="{00000092-C76F-4230-900D-40618C09729F}"/>
              </c:ext>
            </c:extLst>
          </c:dPt>
          <c:dPt>
            <c:idx val="71"/>
            <c:invertIfNegative val="0"/>
            <c:bubble3D val="0"/>
            <c:spPr>
              <a:solidFill>
                <a:srgbClr val="AEABAB"/>
              </a:solidFill>
            </c:spPr>
            <c:extLst>
              <c:ext xmlns:c16="http://schemas.microsoft.com/office/drawing/2014/chart" uri="{C3380CC4-5D6E-409C-BE32-E72D297353CC}">
                <c16:uniqueId val="{00000094-C76F-4230-900D-40618C09729F}"/>
              </c:ext>
            </c:extLst>
          </c:dPt>
          <c:dPt>
            <c:idx val="72"/>
            <c:invertIfNegative val="0"/>
            <c:bubble3D val="0"/>
            <c:spPr>
              <a:solidFill>
                <a:srgbClr val="AEABAB"/>
              </a:solidFill>
            </c:spPr>
            <c:extLst>
              <c:ext xmlns:c16="http://schemas.microsoft.com/office/drawing/2014/chart" uri="{C3380CC4-5D6E-409C-BE32-E72D297353CC}">
                <c16:uniqueId val="{00000096-C76F-4230-900D-40618C09729F}"/>
              </c:ext>
            </c:extLst>
          </c:dPt>
          <c:dPt>
            <c:idx val="73"/>
            <c:invertIfNegative val="0"/>
            <c:bubble3D val="0"/>
            <c:spPr>
              <a:solidFill>
                <a:srgbClr val="AEABAB"/>
              </a:solidFill>
            </c:spPr>
            <c:extLst>
              <c:ext xmlns:c16="http://schemas.microsoft.com/office/drawing/2014/chart" uri="{C3380CC4-5D6E-409C-BE32-E72D297353CC}">
                <c16:uniqueId val="{00000098-C76F-4230-900D-40618C09729F}"/>
              </c:ext>
            </c:extLst>
          </c:dPt>
          <c:dPt>
            <c:idx val="74"/>
            <c:invertIfNegative val="0"/>
            <c:bubble3D val="0"/>
            <c:spPr>
              <a:solidFill>
                <a:srgbClr val="AEABAB"/>
              </a:solidFill>
            </c:spPr>
            <c:extLst>
              <c:ext xmlns:c16="http://schemas.microsoft.com/office/drawing/2014/chart" uri="{C3380CC4-5D6E-409C-BE32-E72D297353CC}">
                <c16:uniqueId val="{0000009A-C76F-4230-900D-40618C09729F}"/>
              </c:ext>
            </c:extLst>
          </c:dPt>
          <c:dPt>
            <c:idx val="75"/>
            <c:invertIfNegative val="0"/>
            <c:bubble3D val="0"/>
            <c:spPr>
              <a:solidFill>
                <a:srgbClr val="AEABAB"/>
              </a:solidFill>
            </c:spPr>
            <c:extLst>
              <c:ext xmlns:c16="http://schemas.microsoft.com/office/drawing/2014/chart" uri="{C3380CC4-5D6E-409C-BE32-E72D297353CC}">
                <c16:uniqueId val="{0000009C-C76F-4230-900D-40618C09729F}"/>
              </c:ext>
            </c:extLst>
          </c:dPt>
          <c:dPt>
            <c:idx val="76"/>
            <c:invertIfNegative val="0"/>
            <c:bubble3D val="0"/>
            <c:spPr>
              <a:solidFill>
                <a:srgbClr val="AEABAB"/>
              </a:solidFill>
            </c:spPr>
            <c:extLst>
              <c:ext xmlns:c16="http://schemas.microsoft.com/office/drawing/2014/chart" uri="{C3380CC4-5D6E-409C-BE32-E72D297353CC}">
                <c16:uniqueId val="{0000009E-C76F-4230-900D-40618C09729F}"/>
              </c:ext>
            </c:extLst>
          </c:dPt>
          <c:dPt>
            <c:idx val="77"/>
            <c:invertIfNegative val="0"/>
            <c:bubble3D val="0"/>
            <c:spPr>
              <a:solidFill>
                <a:srgbClr val="AEABAB"/>
              </a:solidFill>
            </c:spPr>
            <c:extLst>
              <c:ext xmlns:c16="http://schemas.microsoft.com/office/drawing/2014/chart" uri="{C3380CC4-5D6E-409C-BE32-E72D297353CC}">
                <c16:uniqueId val="{000000A0-C76F-4230-900D-40618C09729F}"/>
              </c:ext>
            </c:extLst>
          </c:dPt>
          <c:dPt>
            <c:idx val="78"/>
            <c:invertIfNegative val="0"/>
            <c:bubble3D val="0"/>
            <c:spPr>
              <a:solidFill>
                <a:srgbClr val="AEABAB"/>
              </a:solidFill>
            </c:spPr>
            <c:extLst>
              <c:ext xmlns:c16="http://schemas.microsoft.com/office/drawing/2014/chart" uri="{C3380CC4-5D6E-409C-BE32-E72D297353CC}">
                <c16:uniqueId val="{000000A2-C76F-4230-900D-40618C09729F}"/>
              </c:ext>
            </c:extLst>
          </c:dPt>
          <c:dPt>
            <c:idx val="79"/>
            <c:invertIfNegative val="0"/>
            <c:bubble3D val="0"/>
            <c:spPr>
              <a:solidFill>
                <a:srgbClr val="AEABAB"/>
              </a:solidFill>
            </c:spPr>
            <c:extLst>
              <c:ext xmlns:c16="http://schemas.microsoft.com/office/drawing/2014/chart" uri="{C3380CC4-5D6E-409C-BE32-E72D297353CC}">
                <c16:uniqueId val="{000000A4-C76F-4230-900D-40618C09729F}"/>
              </c:ext>
            </c:extLst>
          </c:dPt>
          <c:dPt>
            <c:idx val="80"/>
            <c:invertIfNegative val="0"/>
            <c:bubble3D val="0"/>
            <c:spPr>
              <a:solidFill>
                <a:srgbClr val="AEABAB"/>
              </a:solidFill>
            </c:spPr>
            <c:extLst>
              <c:ext xmlns:c16="http://schemas.microsoft.com/office/drawing/2014/chart" uri="{C3380CC4-5D6E-409C-BE32-E72D297353CC}">
                <c16:uniqueId val="{000000A6-C76F-4230-900D-40618C09729F}"/>
              </c:ext>
            </c:extLst>
          </c:dPt>
          <c:dPt>
            <c:idx val="81"/>
            <c:invertIfNegative val="1"/>
            <c:bubble3D val="0"/>
            <c:spPr>
              <a:solidFill>
                <a:srgbClr val="AEABAB"/>
              </a:solidFill>
            </c:spPr>
            <c:extLst>
              <c:ext xmlns:c16="http://schemas.microsoft.com/office/drawing/2014/chart" uri="{C3380CC4-5D6E-409C-BE32-E72D297353CC}">
                <c16:uniqueId val="{000000A5-2993-41DE-A2CB-63102DE87051}"/>
              </c:ext>
            </c:extLst>
          </c:dPt>
          <c:dPt>
            <c:idx val="82"/>
            <c:invertIfNegative val="1"/>
            <c:bubble3D val="0"/>
            <c:spPr>
              <a:solidFill>
                <a:srgbClr val="AEABAB"/>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84</c:f>
              <c:strCache>
                <c:ptCount val="83"/>
                <c:pt idx="0">
                  <c:v>All Others</c:v>
                </c:pt>
                <c:pt idx="1">
                  <c:v>Bottega</c:v>
                </c:pt>
                <c:pt idx="2">
                  <c:v>Patriarche</c:v>
                </c:pt>
                <c:pt idx="3">
                  <c:v>Mure</c:v>
                </c:pt>
                <c:pt idx="4">
                  <c:v>Savian</c:v>
                </c:pt>
                <c:pt idx="5">
                  <c:v>French Bloo</c:v>
                </c:pt>
                <c:pt idx="6">
                  <c:v>Bouvet-Ladu</c:v>
                </c:pt>
                <c:pt idx="7">
                  <c:v>De Chanceny</c:v>
                </c:pt>
                <c:pt idx="8">
                  <c:v>All Others</c:v>
                </c:pt>
                <c:pt idx="9">
                  <c:v>Patriarche</c:v>
                </c:pt>
                <c:pt idx="10">
                  <c:v>All Others</c:v>
                </c:pt>
                <c:pt idx="11">
                  <c:v>Bottega</c:v>
                </c:pt>
                <c:pt idx="12">
                  <c:v>Kriter</c:v>
                </c:pt>
                <c:pt idx="13">
                  <c:v>All Others</c:v>
                </c:pt>
                <c:pt idx="14">
                  <c:v>All Others</c:v>
                </c:pt>
                <c:pt idx="15">
                  <c:v>All Others</c:v>
                </c:pt>
                <c:pt idx="16">
                  <c:v>All Others</c:v>
                </c:pt>
                <c:pt idx="17">
                  <c:v>Contarini</c:v>
                </c:pt>
                <c:pt idx="18">
                  <c:v>Cru La Maqu</c:v>
                </c:pt>
                <c:pt idx="19">
                  <c:v>All Others</c:v>
                </c:pt>
                <c:pt idx="20">
                  <c:v>All Others</c:v>
                </c:pt>
                <c:pt idx="21">
                  <c:v>All Others</c:v>
                </c:pt>
                <c:pt idx="22">
                  <c:v>Mure</c:v>
                </c:pt>
                <c:pt idx="23">
                  <c:v>All Others</c:v>
                </c:pt>
                <c:pt idx="24">
                  <c:v>All Others</c:v>
                </c:pt>
                <c:pt idx="25">
                  <c:v>All Others</c:v>
                </c:pt>
                <c:pt idx="26">
                  <c:v>All Others</c:v>
                </c:pt>
                <c:pt idx="27">
                  <c:v>Contarini</c:v>
                </c:pt>
                <c:pt idx="28">
                  <c:v>All Others</c:v>
                </c:pt>
                <c:pt idx="29">
                  <c:v>All Others</c:v>
                </c:pt>
                <c:pt idx="30">
                  <c:v>All Others</c:v>
                </c:pt>
                <c:pt idx="31">
                  <c:v>All Others</c:v>
                </c:pt>
                <c:pt idx="32">
                  <c:v>All Others</c:v>
                </c:pt>
                <c:pt idx="33">
                  <c:v>All Others</c:v>
                </c:pt>
                <c:pt idx="34">
                  <c:v>All Others</c:v>
                </c:pt>
                <c:pt idx="35">
                  <c:v>Bouvet-Ladu</c:v>
                </c:pt>
                <c:pt idx="36">
                  <c:v>All Others</c:v>
                </c:pt>
                <c:pt idx="37">
                  <c:v>All Others</c:v>
                </c:pt>
                <c:pt idx="38">
                  <c:v>All Others</c:v>
                </c:pt>
                <c:pt idx="39">
                  <c:v>All Others</c:v>
                </c:pt>
                <c:pt idx="40">
                  <c:v>All Others</c:v>
                </c:pt>
                <c:pt idx="41">
                  <c:v>Bouvet-Ladu</c:v>
                </c:pt>
                <c:pt idx="42">
                  <c:v>All Others</c:v>
                </c:pt>
                <c:pt idx="43">
                  <c:v>All Others</c:v>
                </c:pt>
                <c:pt idx="44">
                  <c:v>All Others</c:v>
                </c:pt>
                <c:pt idx="45">
                  <c:v>Mure</c:v>
                </c:pt>
                <c:pt idx="46">
                  <c:v>Bouvet-Ladu</c:v>
                </c:pt>
                <c:pt idx="47">
                  <c:v>All Others</c:v>
                </c:pt>
                <c:pt idx="48">
                  <c:v>All Others</c:v>
                </c:pt>
                <c:pt idx="49">
                  <c:v>Celene</c:v>
                </c:pt>
                <c:pt idx="50">
                  <c:v>All Others</c:v>
                </c:pt>
                <c:pt idx="51">
                  <c:v>All Others</c:v>
                </c:pt>
                <c:pt idx="52">
                  <c:v>Celene</c:v>
                </c:pt>
                <c:pt idx="53">
                  <c:v>All Others</c:v>
                </c:pt>
                <c:pt idx="54">
                  <c:v>All Others</c:v>
                </c:pt>
                <c:pt idx="55">
                  <c:v>All Others</c:v>
                </c:pt>
                <c:pt idx="56">
                  <c:v>All Others</c:v>
                </c:pt>
                <c:pt idx="57">
                  <c:v>All Others</c:v>
                </c:pt>
                <c:pt idx="58">
                  <c:v>All Others</c:v>
                </c:pt>
                <c:pt idx="59">
                  <c:v>Bottega</c:v>
                </c:pt>
                <c:pt idx="60">
                  <c:v>All Others</c:v>
                </c:pt>
                <c:pt idx="61">
                  <c:v>All Others</c:v>
                </c:pt>
                <c:pt idx="62">
                  <c:v>Jaillance</c:v>
                </c:pt>
                <c:pt idx="63">
                  <c:v>All Others</c:v>
                </c:pt>
                <c:pt idx="64">
                  <c:v>All Others</c:v>
                </c:pt>
                <c:pt idx="65">
                  <c:v>All Others</c:v>
                </c:pt>
                <c:pt idx="66">
                  <c:v>All Others</c:v>
                </c:pt>
                <c:pt idx="67">
                  <c:v>All Others</c:v>
                </c:pt>
                <c:pt idx="68">
                  <c:v>Bouvet-Ladu</c:v>
                </c:pt>
                <c:pt idx="69">
                  <c:v>All Others</c:v>
                </c:pt>
                <c:pt idx="70">
                  <c:v>Bouvet-Ladu</c:v>
                </c:pt>
                <c:pt idx="71">
                  <c:v>All Others</c:v>
                </c:pt>
                <c:pt idx="72">
                  <c:v>All Others</c:v>
                </c:pt>
                <c:pt idx="73">
                  <c:v>Bottega</c:v>
                </c:pt>
                <c:pt idx="74">
                  <c:v>All Others</c:v>
                </c:pt>
                <c:pt idx="75">
                  <c:v>All Others</c:v>
                </c:pt>
                <c:pt idx="76">
                  <c:v>Bouvet-Ladu</c:v>
                </c:pt>
                <c:pt idx="77">
                  <c:v>All Others</c:v>
                </c:pt>
                <c:pt idx="78">
                  <c:v>All Others</c:v>
                </c:pt>
                <c:pt idx="79">
                  <c:v>All Others</c:v>
                </c:pt>
                <c:pt idx="80">
                  <c:v>All Others</c:v>
                </c:pt>
                <c:pt idx="81">
                  <c:v>French Bloo</c:v>
                </c:pt>
                <c:pt idx="82">
                  <c:v>All Others</c:v>
                </c:pt>
              </c:strCache>
            </c:strRef>
          </c:cat>
          <c:val>
            <c:numRef>
              <c:f>Sheet1!$C$2:$C$84</c:f>
              <c:numCache>
                <c:formatCode>General</c:formatCode>
                <c:ptCount val="83"/>
                <c:pt idx="0">
                  <c:v>0.14432314488198505</c:v>
                </c:pt>
                <c:pt idx="1">
                  <c:v>0.24412772879521888</c:v>
                </c:pt>
                <c:pt idx="2">
                  <c:v>0.33416506786170663</c:v>
                </c:pt>
                <c:pt idx="3">
                  <c:v>0.42207383097398365</c:v>
                </c:pt>
                <c:pt idx="4">
                  <c:v>0.48911210855974663</c:v>
                </c:pt>
                <c:pt idx="5">
                  <c:v>0.55225748887362258</c:v>
                </c:pt>
                <c:pt idx="6">
                  <c:v>0.61061772603068043</c:v>
                </c:pt>
                <c:pt idx="7">
                  <c:v>0.64368658914094046</c:v>
                </c:pt>
                <c:pt idx="8">
                  <c:v>0.67383548267298832</c:v>
                </c:pt>
                <c:pt idx="9">
                  <c:v>0.70142747476617107</c:v>
                </c:pt>
                <c:pt idx="10">
                  <c:v>0.72387244206037604</c:v>
                </c:pt>
                <c:pt idx="11">
                  <c:v>0.74409747311693997</c:v>
                </c:pt>
                <c:pt idx="12">
                  <c:v>0.76334245749670449</c:v>
                </c:pt>
                <c:pt idx="13">
                  <c:v>0.77993680715979863</c:v>
                </c:pt>
                <c:pt idx="14">
                  <c:v>0.79525329935205391</c:v>
                </c:pt>
                <c:pt idx="15">
                  <c:v>0.81035028956463862</c:v>
                </c:pt>
                <c:pt idx="16">
                  <c:v>0.8249145425400769</c:v>
                </c:pt>
                <c:pt idx="17">
                  <c:v>0.83896504223336743</c:v>
                </c:pt>
                <c:pt idx="18">
                  <c:v>0.85143394117584248</c:v>
                </c:pt>
                <c:pt idx="19">
                  <c:v>0.86345078468991487</c:v>
                </c:pt>
                <c:pt idx="20">
                  <c:v>0.8727647876110709</c:v>
                </c:pt>
                <c:pt idx="21">
                  <c:v>0.88148198244696052</c:v>
                </c:pt>
                <c:pt idx="22">
                  <c:v>0.88943744608853392</c:v>
                </c:pt>
                <c:pt idx="23">
                  <c:v>0.89709747193044265</c:v>
                </c:pt>
                <c:pt idx="24">
                  <c:v>0.90471003788485505</c:v>
                </c:pt>
                <c:pt idx="25">
                  <c:v>0.91179579908805808</c:v>
                </c:pt>
                <c:pt idx="26">
                  <c:v>0.91874748610908397</c:v>
                </c:pt>
                <c:pt idx="27">
                  <c:v>0.92505015916859745</c:v>
                </c:pt>
                <c:pt idx="28">
                  <c:v>0.9312175715487464</c:v>
                </c:pt>
                <c:pt idx="29">
                  <c:v>0.93650223002146349</c:v>
                </c:pt>
                <c:pt idx="30">
                  <c:v>0.9410322762829888</c:v>
                </c:pt>
                <c:pt idx="31">
                  <c:v>0.94538316146921542</c:v>
                </c:pt>
                <c:pt idx="32">
                  <c:v>0.94959048049576567</c:v>
                </c:pt>
                <c:pt idx="33">
                  <c:v>0.95298267595456632</c:v>
                </c:pt>
                <c:pt idx="34">
                  <c:v>0.95634995497243136</c:v>
                </c:pt>
                <c:pt idx="35">
                  <c:v>0.95936365782844879</c:v>
                </c:pt>
                <c:pt idx="36">
                  <c:v>0.96226938944041196</c:v>
                </c:pt>
                <c:pt idx="37">
                  <c:v>0.96499121398832688</c:v>
                </c:pt>
                <c:pt idx="38">
                  <c:v>0.96743183870282601</c:v>
                </c:pt>
                <c:pt idx="39">
                  <c:v>0.96983686850170292</c:v>
                </c:pt>
                <c:pt idx="40">
                  <c:v>0.97219681140745828</c:v>
                </c:pt>
                <c:pt idx="41">
                  <c:v>0.97451997290040393</c:v>
                </c:pt>
                <c:pt idx="42">
                  <c:v>0.97664736235742722</c:v>
                </c:pt>
                <c:pt idx="43">
                  <c:v>0.97870118898883118</c:v>
                </c:pt>
                <c:pt idx="44">
                  <c:v>0.98049635923338008</c:v>
                </c:pt>
                <c:pt idx="45">
                  <c:v>0.98221440716074748</c:v>
                </c:pt>
                <c:pt idx="46">
                  <c:v>0.9837912619228133</c:v>
                </c:pt>
                <c:pt idx="47">
                  <c:v>0.98533726775800645</c:v>
                </c:pt>
                <c:pt idx="48">
                  <c:v>0.98665783912759197</c:v>
                </c:pt>
                <c:pt idx="49">
                  <c:v>0.98797485100561533</c:v>
                </c:pt>
                <c:pt idx="50">
                  <c:v>0.98922541904114381</c:v>
                </c:pt>
                <c:pt idx="51">
                  <c:v>0.99027309605762548</c:v>
                </c:pt>
                <c:pt idx="52">
                  <c:v>0.99124721024848783</c:v>
                </c:pt>
                <c:pt idx="53">
                  <c:v>0.99220827297028868</c:v>
                </c:pt>
                <c:pt idx="54">
                  <c:v>0.99311357032428127</c:v>
                </c:pt>
                <c:pt idx="55">
                  <c:v>0.99399869722608791</c:v>
                </c:pt>
                <c:pt idx="56">
                  <c:v>0.99470940904134553</c:v>
                </c:pt>
                <c:pt idx="57">
                  <c:v>0.99533232006473493</c:v>
                </c:pt>
                <c:pt idx="58">
                  <c:v>0.99591251718937768</c:v>
                </c:pt>
                <c:pt idx="59">
                  <c:v>0.99633965617684472</c:v>
                </c:pt>
                <c:pt idx="60">
                  <c:v>0.99667780787525617</c:v>
                </c:pt>
                <c:pt idx="61">
                  <c:v>0.99699578912148168</c:v>
                </c:pt>
                <c:pt idx="62">
                  <c:v>0.99730427839020785</c:v>
                </c:pt>
                <c:pt idx="63">
                  <c:v>0.99761039466455925</c:v>
                </c:pt>
                <c:pt idx="64">
                  <c:v>0.99789396749234982</c:v>
                </c:pt>
                <c:pt idx="65">
                  <c:v>0.99816804834264117</c:v>
                </c:pt>
                <c:pt idx="66">
                  <c:v>0.99843856970137024</c:v>
                </c:pt>
                <c:pt idx="67">
                  <c:v>0.99869959908260009</c:v>
                </c:pt>
                <c:pt idx="68">
                  <c:v>0.99891554157070839</c:v>
                </c:pt>
                <c:pt idx="69">
                  <c:v>0.99911131360663075</c:v>
                </c:pt>
                <c:pt idx="70">
                  <c:v>0.99930115315661605</c:v>
                </c:pt>
                <c:pt idx="71">
                  <c:v>0.99947675474035247</c:v>
                </c:pt>
                <c:pt idx="72">
                  <c:v>0.99956811502378295</c:v>
                </c:pt>
                <c:pt idx="73">
                  <c:v>0.9996511698269015</c:v>
                </c:pt>
                <c:pt idx="74">
                  <c:v>0.99972947864127049</c:v>
                </c:pt>
                <c:pt idx="75">
                  <c:v>0.99978880350064092</c:v>
                </c:pt>
                <c:pt idx="76">
                  <c:v>0.99983982287969952</c:v>
                </c:pt>
                <c:pt idx="77">
                  <c:v>0.99988253677844618</c:v>
                </c:pt>
                <c:pt idx="78">
                  <c:v>0.99991338570531885</c:v>
                </c:pt>
                <c:pt idx="79">
                  <c:v>0.99994423463219151</c:v>
                </c:pt>
                <c:pt idx="80">
                  <c:v>0.99995728610125301</c:v>
                </c:pt>
                <c:pt idx="81">
                  <c:v>0.9999703375703145</c:v>
                </c:pt>
                <c:pt idx="82">
                  <c:v>0.99998101604500123</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96</c:f>
              <c:strCache>
                <c:ptCount val="95"/>
                <c:pt idx="0">
                  <c:v>All Others</c:v>
                </c:pt>
                <c:pt idx="1">
                  <c:v>Patriarche</c:v>
                </c:pt>
                <c:pt idx="2">
                  <c:v>Mure</c:v>
                </c:pt>
                <c:pt idx="3">
                  <c:v>Bottega</c:v>
                </c:pt>
                <c:pt idx="4">
                  <c:v>Bouvet-Ladu</c:v>
                </c:pt>
                <c:pt idx="5">
                  <c:v>French Bloo</c:v>
                </c:pt>
                <c:pt idx="6">
                  <c:v>Savian</c:v>
                </c:pt>
                <c:pt idx="7">
                  <c:v>All Others</c:v>
                </c:pt>
                <c:pt idx="8">
                  <c:v>Kriter</c:v>
                </c:pt>
                <c:pt idx="9">
                  <c:v>De Chanceny</c:v>
                </c:pt>
                <c:pt idx="10">
                  <c:v>All Others</c:v>
                </c:pt>
                <c:pt idx="11">
                  <c:v>Patriarche</c:v>
                </c:pt>
                <c:pt idx="12">
                  <c:v>Contarini</c:v>
                </c:pt>
                <c:pt idx="13">
                  <c:v>All Others</c:v>
                </c:pt>
                <c:pt idx="14">
                  <c:v>All Others</c:v>
                </c:pt>
                <c:pt idx="15">
                  <c:v>All Others</c:v>
                </c:pt>
                <c:pt idx="16">
                  <c:v>Bottega</c:v>
                </c:pt>
                <c:pt idx="17">
                  <c:v>Cru La Maqu</c:v>
                </c:pt>
                <c:pt idx="18">
                  <c:v>All Others</c:v>
                </c:pt>
                <c:pt idx="19">
                  <c:v>All Others</c:v>
                </c:pt>
                <c:pt idx="20">
                  <c:v>All Others</c:v>
                </c:pt>
                <c:pt idx="21">
                  <c:v>All Others</c:v>
                </c:pt>
                <c:pt idx="22">
                  <c:v>All Others</c:v>
                </c:pt>
                <c:pt idx="23">
                  <c:v>All Others</c:v>
                </c:pt>
                <c:pt idx="24">
                  <c:v>Contarini</c:v>
                </c:pt>
                <c:pt idx="25">
                  <c:v>All Others</c:v>
                </c:pt>
                <c:pt idx="26">
                  <c:v>All Others</c:v>
                </c:pt>
                <c:pt idx="27">
                  <c:v>All Others</c:v>
                </c:pt>
                <c:pt idx="28">
                  <c:v>All Others</c:v>
                </c:pt>
                <c:pt idx="29">
                  <c:v>All Others</c:v>
                </c:pt>
                <c:pt idx="30">
                  <c:v>All Others</c:v>
                </c:pt>
                <c:pt idx="31">
                  <c:v>All Others</c:v>
                </c:pt>
                <c:pt idx="32">
                  <c:v>Mure</c:v>
                </c:pt>
                <c:pt idx="33">
                  <c:v>All Others</c:v>
                </c:pt>
                <c:pt idx="34">
                  <c:v>All Others</c:v>
                </c:pt>
                <c:pt idx="35">
                  <c:v>All Others</c:v>
                </c:pt>
                <c:pt idx="36">
                  <c:v>All Others</c:v>
                </c:pt>
                <c:pt idx="37">
                  <c:v>All Others</c:v>
                </c:pt>
                <c:pt idx="38">
                  <c:v>All Others</c:v>
                </c:pt>
                <c:pt idx="39">
                  <c:v>All Others</c:v>
                </c:pt>
                <c:pt idx="40">
                  <c:v>Celene</c:v>
                </c:pt>
                <c:pt idx="41">
                  <c:v>Mure</c:v>
                </c:pt>
                <c:pt idx="42">
                  <c:v>Bouvet-Ladu</c:v>
                </c:pt>
                <c:pt idx="43">
                  <c:v>Bouvet-Ladu</c:v>
                </c:pt>
                <c:pt idx="44">
                  <c:v>All Others</c:v>
                </c:pt>
                <c:pt idx="45">
                  <c:v>All Others</c:v>
                </c:pt>
                <c:pt idx="46">
                  <c:v>Celene</c:v>
                </c:pt>
                <c:pt idx="47">
                  <c:v>All Others</c:v>
                </c:pt>
                <c:pt idx="48">
                  <c:v>Bouvet-Ladu</c:v>
                </c:pt>
                <c:pt idx="49">
                  <c:v>All Others</c:v>
                </c:pt>
                <c:pt idx="50">
                  <c:v>All Others</c:v>
                </c:pt>
                <c:pt idx="51">
                  <c:v>All Others</c:v>
                </c:pt>
                <c:pt idx="52">
                  <c:v>All Others</c:v>
                </c:pt>
                <c:pt idx="53">
                  <c:v>Jaillance</c:v>
                </c:pt>
                <c:pt idx="54">
                  <c:v>All Others</c:v>
                </c:pt>
                <c:pt idx="55">
                  <c:v>Bottega</c:v>
                </c:pt>
                <c:pt idx="56">
                  <c:v>All Others</c:v>
                </c:pt>
                <c:pt idx="57">
                  <c:v>All Others</c:v>
                </c:pt>
                <c:pt idx="58">
                  <c:v>All Others</c:v>
                </c:pt>
                <c:pt idx="59">
                  <c:v>All Others</c:v>
                </c:pt>
                <c:pt idx="60">
                  <c:v>All Others</c:v>
                </c:pt>
                <c:pt idx="61">
                  <c:v>Bouvet-Ladu</c:v>
                </c:pt>
                <c:pt idx="62">
                  <c:v>All Others</c:v>
                </c:pt>
                <c:pt idx="63">
                  <c:v>All Others</c:v>
                </c:pt>
                <c:pt idx="64">
                  <c:v>All Others</c:v>
                </c:pt>
                <c:pt idx="65">
                  <c:v>All Others</c:v>
                </c:pt>
                <c:pt idx="66">
                  <c:v>All Others</c:v>
                </c:pt>
                <c:pt idx="67">
                  <c:v>Bouvet-Ladu</c:v>
                </c:pt>
                <c:pt idx="68">
                  <c:v>All Others</c:v>
                </c:pt>
                <c:pt idx="69">
                  <c:v>Bouvet-Ladu</c:v>
                </c:pt>
                <c:pt idx="70">
                  <c:v>All Others</c:v>
                </c:pt>
                <c:pt idx="71">
                  <c:v>All Others</c:v>
                </c:pt>
                <c:pt idx="72">
                  <c:v>All Others</c:v>
                </c:pt>
                <c:pt idx="73">
                  <c:v>Bouvet-Ladu</c:v>
                </c:pt>
                <c:pt idx="74">
                  <c:v>All Others</c:v>
                </c:pt>
                <c:pt idx="75">
                  <c:v>Bottega</c:v>
                </c:pt>
                <c:pt idx="76">
                  <c:v>All Others</c:v>
                </c:pt>
                <c:pt idx="77">
                  <c:v>Bottega</c:v>
                </c:pt>
                <c:pt idx="78">
                  <c:v>All Others</c:v>
                </c:pt>
                <c:pt idx="79">
                  <c:v>All Others</c:v>
                </c:pt>
                <c:pt idx="80">
                  <c:v>Mure</c:v>
                </c:pt>
                <c:pt idx="81">
                  <c:v>All Others</c:v>
                </c:pt>
                <c:pt idx="82">
                  <c:v>All Others</c:v>
                </c:pt>
                <c:pt idx="83">
                  <c:v>All Others</c:v>
                </c:pt>
                <c:pt idx="84">
                  <c:v>All Others</c:v>
                </c:pt>
                <c:pt idx="85">
                  <c:v>All Others</c:v>
                </c:pt>
                <c:pt idx="86">
                  <c:v>Bouvet-Ladu</c:v>
                </c:pt>
                <c:pt idx="87">
                  <c:v>All Others</c:v>
                </c:pt>
                <c:pt idx="88">
                  <c:v>All Others</c:v>
                </c:pt>
                <c:pt idx="89">
                  <c:v>All Others</c:v>
                </c:pt>
                <c:pt idx="90">
                  <c:v>Contarini</c:v>
                </c:pt>
                <c:pt idx="91">
                  <c:v>All Others</c:v>
                </c:pt>
                <c:pt idx="92">
                  <c:v>Bottega</c:v>
                </c:pt>
                <c:pt idx="93">
                  <c:v>French Bloo</c:v>
                </c:pt>
                <c:pt idx="94">
                  <c:v>All Others</c:v>
                </c:pt>
              </c:strCache>
            </c:strRef>
          </c:cat>
          <c:val>
            <c:numRef>
              <c:f>Sheet1!$B$2:$B$96</c:f>
              <c:numCache>
                <c:formatCode>General</c:formatCode>
                <c:ptCount val="95"/>
                <c:pt idx="0">
                  <c:v>0.75</c:v>
                </c:pt>
                <c:pt idx="1">
                  <c:v>0.78</c:v>
                </c:pt>
                <c:pt idx="2">
                  <c:v>0.7</c:v>
                </c:pt>
                <c:pt idx="3">
                  <c:v>0.55000000000000004</c:v>
                </c:pt>
                <c:pt idx="4">
                  <c:v>0.46</c:v>
                </c:pt>
                <c:pt idx="5">
                  <c:v>0.45</c:v>
                </c:pt>
                <c:pt idx="6">
                  <c:v>0.56999999999999995</c:v>
                </c:pt>
                <c:pt idx="7">
                  <c:v>0.08</c:v>
                </c:pt>
                <c:pt idx="8">
                  <c:v>0.36</c:v>
                </c:pt>
                <c:pt idx="9">
                  <c:v>0.33</c:v>
                </c:pt>
                <c:pt idx="10">
                  <c:v>0.28000000000000003</c:v>
                </c:pt>
                <c:pt idx="11">
                  <c:v>0.42</c:v>
                </c:pt>
                <c:pt idx="12">
                  <c:v>0.72</c:v>
                </c:pt>
                <c:pt idx="13">
                  <c:v>0.22</c:v>
                </c:pt>
                <c:pt idx="14">
                  <c:v>0.04</c:v>
                </c:pt>
                <c:pt idx="15">
                  <c:v>0.37</c:v>
                </c:pt>
                <c:pt idx="16">
                  <c:v>0.21</c:v>
                </c:pt>
                <c:pt idx="17">
                  <c:v>0.18</c:v>
                </c:pt>
                <c:pt idx="18">
                  <c:v>0.15</c:v>
                </c:pt>
                <c:pt idx="19">
                  <c:v>0.03</c:v>
                </c:pt>
                <c:pt idx="20">
                  <c:v>0.08</c:v>
                </c:pt>
                <c:pt idx="21">
                  <c:v>0.13</c:v>
                </c:pt>
                <c:pt idx="22">
                  <c:v>0.03</c:v>
                </c:pt>
                <c:pt idx="23">
                  <c:v>0.17</c:v>
                </c:pt>
                <c:pt idx="24">
                  <c:v>0.11</c:v>
                </c:pt>
                <c:pt idx="25">
                  <c:v>7.0000000000000007E-2</c:v>
                </c:pt>
                <c:pt idx="26">
                  <c:v>0.12</c:v>
                </c:pt>
                <c:pt idx="27">
                  <c:v>0.02</c:v>
                </c:pt>
                <c:pt idx="28">
                  <c:v>0.03</c:v>
                </c:pt>
                <c:pt idx="29">
                  <c:v>0.05</c:v>
                </c:pt>
                <c:pt idx="30">
                  <c:v>0.05</c:v>
                </c:pt>
                <c:pt idx="31">
                  <c:v>0.06</c:v>
                </c:pt>
                <c:pt idx="32">
                  <c:v>0.02</c:v>
                </c:pt>
                <c:pt idx="33">
                  <c:v>0.03</c:v>
                </c:pt>
                <c:pt idx="34">
                  <c:v>0.04</c:v>
                </c:pt>
                <c:pt idx="35">
                  <c:v>0.02</c:v>
                </c:pt>
                <c:pt idx="36">
                  <c:v>0.03</c:v>
                </c:pt>
                <c:pt idx="37">
                  <c:v>0.12</c:v>
                </c:pt>
                <c:pt idx="38">
                  <c:v>7.0000000000000007E-2</c:v>
                </c:pt>
                <c:pt idx="39">
                  <c:v>0.04</c:v>
                </c:pt>
                <c:pt idx="40">
                  <c:v>0.06</c:v>
                </c:pt>
                <c:pt idx="41">
                  <c:v>0.03</c:v>
                </c:pt>
                <c:pt idx="42">
                  <c:v>0.05</c:v>
                </c:pt>
                <c:pt idx="43">
                  <c:v>0.04</c:v>
                </c:pt>
                <c:pt idx="44">
                  <c:v>0.05</c:v>
                </c:pt>
                <c:pt idx="45">
                  <c:v>0.02</c:v>
                </c:pt>
                <c:pt idx="46">
                  <c:v>7.0000000000000007E-2</c:v>
                </c:pt>
                <c:pt idx="47">
                  <c:v>0.03</c:v>
                </c:pt>
                <c:pt idx="48">
                  <c:v>0.04</c:v>
                </c:pt>
                <c:pt idx="49">
                  <c:v>0.02</c:v>
                </c:pt>
                <c:pt idx="50">
                  <c:v>0.05</c:v>
                </c:pt>
                <c:pt idx="51">
                  <c:v>0.01</c:v>
                </c:pt>
                <c:pt idx="52">
                  <c:v>0.04</c:v>
                </c:pt>
                <c:pt idx="53">
                  <c:v>0.06</c:v>
                </c:pt>
                <c:pt idx="54">
                  <c:v>0.02</c:v>
                </c:pt>
                <c:pt idx="55">
                  <c:v>0.06</c:v>
                </c:pt>
                <c:pt idx="56">
                  <c:v>0.01</c:v>
                </c:pt>
                <c:pt idx="57">
                  <c:v>0.03</c:v>
                </c:pt>
                <c:pt idx="58">
                  <c:v>0.01</c:v>
                </c:pt>
                <c:pt idx="59">
                  <c:v>0.03</c:v>
                </c:pt>
                <c:pt idx="60">
                  <c:v>0.01</c:v>
                </c:pt>
                <c:pt idx="61">
                  <c:v>0.03</c:v>
                </c:pt>
                <c:pt idx="62">
                  <c:v>0.02</c:v>
                </c:pt>
                <c:pt idx="63">
                  <c:v>0.03</c:v>
                </c:pt>
                <c:pt idx="64">
                  <c:v>0.01</c:v>
                </c:pt>
                <c:pt idx="65">
                  <c:v>0.01</c:v>
                </c:pt>
                <c:pt idx="66">
                  <c:v>0.02</c:v>
                </c:pt>
                <c:pt idx="67">
                  <c:v>0.02</c:v>
                </c:pt>
                <c:pt idx="68">
                  <c:v>0.02</c:v>
                </c:pt>
                <c:pt idx="69">
                  <c:v>0.01</c:v>
                </c:pt>
                <c:pt idx="70">
                  <c:v>0.02</c:v>
                </c:pt>
                <c:pt idx="71">
                  <c:v>0.01</c:v>
                </c:pt>
                <c:pt idx="72">
                  <c:v>0.01</c:v>
                </c:pt>
                <c:pt idx="73">
                  <c:v>0.02</c:v>
                </c:pt>
                <c:pt idx="74">
                  <c:v>0.02</c:v>
                </c:pt>
                <c:pt idx="75">
                  <c:v>0.01</c:v>
                </c:pt>
                <c:pt idx="76">
                  <c:v>0.03</c:v>
                </c:pt>
                <c:pt idx="77">
                  <c:v>0.01</c:v>
                </c:pt>
                <c:pt idx="78">
                  <c:v>0.01</c:v>
                </c:pt>
                <c:pt idx="79">
                  <c:v>0.01</c:v>
                </c:pt>
                <c:pt idx="80">
                  <c:v>0.02</c:v>
                </c:pt>
                <c:pt idx="81">
                  <c:v>0.01</c:v>
                </c:pt>
                <c:pt idx="82">
                  <c:v>0.01</c:v>
                </c:pt>
                <c:pt idx="83">
                  <c:v>0.01</c:v>
                </c:pt>
                <c:pt idx="84">
                  <c:v>0.01</c:v>
                </c:pt>
                <c:pt idx="85">
                  <c:v>0.01</c:v>
                </c:pt>
                <c:pt idx="86">
                  <c:v>0.01</c:v>
                </c:pt>
                <c:pt idx="87">
                  <c:v>0.01</c:v>
                </c:pt>
                <c:pt idx="88">
                  <c:v>0.01</c:v>
                </c:pt>
                <c:pt idx="89">
                  <c:v>0.01</c:v>
                </c:pt>
                <c:pt idx="90">
                  <c:v>0.01</c:v>
                </c:pt>
                <c:pt idx="91">
                  <c:v>0.01</c:v>
                </c:pt>
                <c:pt idx="92">
                  <c:v>0.01</c:v>
                </c:pt>
                <c:pt idx="93">
                  <c:v>0.01</c:v>
                </c:pt>
                <c:pt idx="94">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7ECAC4"/>
              </a:solidFill>
            </c:spPr>
            <c:extLst>
              <c:ext xmlns:c16="http://schemas.microsoft.com/office/drawing/2014/chart" uri="{C3380CC4-5D6E-409C-BE32-E72D297353CC}">
                <c16:uniqueId val="{0000005B-2993-41DE-A2CB-63102DE87051}"/>
              </c:ext>
            </c:extLst>
          </c:dPt>
          <c:dPt>
            <c:idx val="18"/>
            <c:invertIfNegative val="1"/>
            <c:bubble3D val="0"/>
            <c:spPr>
              <a:solidFill>
                <a:srgbClr val="7ECAC4"/>
              </a:solidFill>
            </c:spPr>
            <c:extLst>
              <c:ext xmlns:c16="http://schemas.microsoft.com/office/drawing/2014/chart" uri="{C3380CC4-5D6E-409C-BE32-E72D297353CC}">
                <c16:uniqueId val="{0000005D-2993-41DE-A2CB-63102DE87051}"/>
              </c:ext>
            </c:extLst>
          </c:dPt>
          <c:dPt>
            <c:idx val="19"/>
            <c:invertIfNegative val="1"/>
            <c:bubble3D val="0"/>
            <c:spPr>
              <a:solidFill>
                <a:srgbClr val="7ECAC4"/>
              </a:solidFill>
            </c:spPr>
            <c:extLst>
              <c:ext xmlns:c16="http://schemas.microsoft.com/office/drawing/2014/chart" uri="{C3380CC4-5D6E-409C-BE32-E72D297353CC}">
                <c16:uniqueId val="{0000005F-2993-41DE-A2CB-63102DE87051}"/>
              </c:ext>
            </c:extLst>
          </c:dPt>
          <c:dPt>
            <c:idx val="20"/>
            <c:invertIfNegative val="1"/>
            <c:bubble3D val="0"/>
            <c:spPr>
              <a:solidFill>
                <a:srgbClr val="7ECAC4"/>
              </a:solidFill>
            </c:spPr>
            <c:extLst>
              <c:ext xmlns:c16="http://schemas.microsoft.com/office/drawing/2014/chart" uri="{C3380CC4-5D6E-409C-BE32-E72D297353CC}">
                <c16:uniqueId val="{00000061-2993-41DE-A2CB-63102DE87051}"/>
              </c:ext>
            </c:extLst>
          </c:dPt>
          <c:dPt>
            <c:idx val="21"/>
            <c:invertIfNegative val="1"/>
            <c:bubble3D val="0"/>
            <c:spPr>
              <a:solidFill>
                <a:srgbClr val="7ECAC4"/>
              </a:solidFill>
            </c:spPr>
            <c:extLst>
              <c:ext xmlns:c16="http://schemas.microsoft.com/office/drawing/2014/chart" uri="{C3380CC4-5D6E-409C-BE32-E72D297353CC}">
                <c16:uniqueId val="{00000063-2993-41DE-A2CB-63102DE87051}"/>
              </c:ext>
            </c:extLst>
          </c:dPt>
          <c:dPt>
            <c:idx val="22"/>
            <c:invertIfNegative val="1"/>
            <c:bubble3D val="0"/>
            <c:spPr>
              <a:solidFill>
                <a:srgbClr val="7ECAC4"/>
              </a:solidFill>
            </c:spPr>
            <c:extLst>
              <c:ext xmlns:c16="http://schemas.microsoft.com/office/drawing/2014/chart" uri="{C3380CC4-5D6E-409C-BE32-E72D297353CC}">
                <c16:uniqueId val="{00000065-2993-41DE-A2CB-63102DE87051}"/>
              </c:ext>
            </c:extLst>
          </c:dPt>
          <c:dPt>
            <c:idx val="23"/>
            <c:invertIfNegative val="1"/>
            <c:bubble3D val="0"/>
            <c:spPr>
              <a:solidFill>
                <a:srgbClr val="7ECAC4"/>
              </a:solidFill>
            </c:spPr>
            <c:extLst>
              <c:ext xmlns:c16="http://schemas.microsoft.com/office/drawing/2014/chart" uri="{C3380CC4-5D6E-409C-BE32-E72D297353CC}">
                <c16:uniqueId val="{00000067-2993-41DE-A2CB-63102DE87051}"/>
              </c:ext>
            </c:extLst>
          </c:dPt>
          <c:dPt>
            <c:idx val="24"/>
            <c:invertIfNegative val="1"/>
            <c:bubble3D val="0"/>
            <c:spPr>
              <a:solidFill>
                <a:srgbClr val="7ECAC4"/>
              </a:solidFill>
            </c:spPr>
            <c:extLst>
              <c:ext xmlns:c16="http://schemas.microsoft.com/office/drawing/2014/chart" uri="{C3380CC4-5D6E-409C-BE32-E72D297353CC}">
                <c16:uniqueId val="{00000069-2993-41DE-A2CB-63102DE87051}"/>
              </c:ext>
            </c:extLst>
          </c:dPt>
          <c:dPt>
            <c:idx val="25"/>
            <c:invertIfNegative val="1"/>
            <c:bubble3D val="0"/>
            <c:spPr>
              <a:solidFill>
                <a:srgbClr val="7ECAC4"/>
              </a:solidFill>
            </c:spPr>
            <c:extLst>
              <c:ext xmlns:c16="http://schemas.microsoft.com/office/drawing/2014/chart" uri="{C3380CC4-5D6E-409C-BE32-E72D297353CC}">
                <c16:uniqueId val="{0000006B-2993-41DE-A2CB-63102DE87051}"/>
              </c:ext>
            </c:extLst>
          </c:dPt>
          <c:dPt>
            <c:idx val="26"/>
            <c:invertIfNegative val="1"/>
            <c:bubble3D val="0"/>
            <c:spPr>
              <a:solidFill>
                <a:srgbClr val="7ECAC4"/>
              </a:solidFill>
            </c:spPr>
            <c:extLst>
              <c:ext xmlns:c16="http://schemas.microsoft.com/office/drawing/2014/chart" uri="{C3380CC4-5D6E-409C-BE32-E72D297353CC}">
                <c16:uniqueId val="{0000006D-2993-41DE-A2CB-63102DE87051}"/>
              </c:ext>
            </c:extLst>
          </c:dPt>
          <c:dPt>
            <c:idx val="27"/>
            <c:invertIfNegative val="1"/>
            <c:bubble3D val="0"/>
            <c:spPr>
              <a:solidFill>
                <a:srgbClr val="7ECAC4"/>
              </a:solidFill>
            </c:spPr>
            <c:extLst>
              <c:ext xmlns:c16="http://schemas.microsoft.com/office/drawing/2014/chart" uri="{C3380CC4-5D6E-409C-BE32-E72D297353CC}">
                <c16:uniqueId val="{0000006F-2993-41DE-A2CB-63102DE87051}"/>
              </c:ext>
            </c:extLst>
          </c:dPt>
          <c:dPt>
            <c:idx val="28"/>
            <c:invertIfNegative val="1"/>
            <c:bubble3D val="0"/>
            <c:spPr>
              <a:solidFill>
                <a:srgbClr val="7ECAC4"/>
              </a:solidFill>
            </c:spPr>
            <c:extLst>
              <c:ext xmlns:c16="http://schemas.microsoft.com/office/drawing/2014/chart" uri="{C3380CC4-5D6E-409C-BE32-E72D297353CC}">
                <c16:uniqueId val="{00000071-2993-41DE-A2CB-63102DE87051}"/>
              </c:ext>
            </c:extLst>
          </c:dPt>
          <c:dPt>
            <c:idx val="29"/>
            <c:invertIfNegative val="1"/>
            <c:bubble3D val="0"/>
            <c:spPr>
              <a:solidFill>
                <a:srgbClr val="7ECAC4"/>
              </a:solidFill>
            </c:spPr>
            <c:extLst>
              <c:ext xmlns:c16="http://schemas.microsoft.com/office/drawing/2014/chart" uri="{C3380CC4-5D6E-409C-BE32-E72D297353CC}">
                <c16:uniqueId val="{00000073-2993-41DE-A2CB-63102DE87051}"/>
              </c:ext>
            </c:extLst>
          </c:dPt>
          <c:dPt>
            <c:idx val="30"/>
            <c:invertIfNegative val="1"/>
            <c:bubble3D val="0"/>
            <c:spPr>
              <a:solidFill>
                <a:srgbClr val="7ECAC4"/>
              </a:solidFill>
            </c:spPr>
            <c:extLst>
              <c:ext xmlns:c16="http://schemas.microsoft.com/office/drawing/2014/chart" uri="{C3380CC4-5D6E-409C-BE32-E72D297353CC}">
                <c16:uniqueId val="{00000075-2993-41DE-A2CB-63102DE87051}"/>
              </c:ext>
            </c:extLst>
          </c:dPt>
          <c:dPt>
            <c:idx val="31"/>
            <c:invertIfNegative val="1"/>
            <c:bubble3D val="0"/>
            <c:spPr>
              <a:solidFill>
                <a:srgbClr val="7ECAC4"/>
              </a:solidFill>
            </c:spPr>
            <c:extLst>
              <c:ext xmlns:c16="http://schemas.microsoft.com/office/drawing/2014/chart" uri="{C3380CC4-5D6E-409C-BE32-E72D297353CC}">
                <c16:uniqueId val="{00000077-2993-41DE-A2CB-63102DE87051}"/>
              </c:ext>
            </c:extLst>
          </c:dPt>
          <c:dPt>
            <c:idx val="32"/>
            <c:invertIfNegative val="1"/>
            <c:bubble3D val="0"/>
            <c:spPr>
              <a:solidFill>
                <a:srgbClr val="7ECAC4"/>
              </a:solidFill>
            </c:spPr>
            <c:extLst>
              <c:ext xmlns:c16="http://schemas.microsoft.com/office/drawing/2014/chart" uri="{C3380CC4-5D6E-409C-BE32-E72D297353CC}">
                <c16:uniqueId val="{00000079-2993-41DE-A2CB-63102DE87051}"/>
              </c:ext>
            </c:extLst>
          </c:dPt>
          <c:dPt>
            <c:idx val="33"/>
            <c:invertIfNegative val="1"/>
            <c:bubble3D val="0"/>
            <c:spPr>
              <a:solidFill>
                <a:srgbClr val="7ECAC4"/>
              </a:solidFill>
            </c:spPr>
            <c:extLst>
              <c:ext xmlns:c16="http://schemas.microsoft.com/office/drawing/2014/chart" uri="{C3380CC4-5D6E-409C-BE32-E72D297353CC}">
                <c16:uniqueId val="{0000007B-2993-41DE-A2CB-63102DE87051}"/>
              </c:ext>
            </c:extLst>
          </c:dPt>
          <c:dPt>
            <c:idx val="34"/>
            <c:invertIfNegative val="1"/>
            <c:bubble3D val="0"/>
            <c:spPr>
              <a:solidFill>
                <a:srgbClr val="7ECAC4"/>
              </a:solidFill>
            </c:spPr>
            <c:extLst>
              <c:ext xmlns:c16="http://schemas.microsoft.com/office/drawing/2014/chart" uri="{C3380CC4-5D6E-409C-BE32-E72D297353CC}">
                <c16:uniqueId val="{0000007D-2993-41DE-A2CB-63102DE87051}"/>
              </c:ext>
            </c:extLst>
          </c:dPt>
          <c:dPt>
            <c:idx val="35"/>
            <c:invertIfNegative val="1"/>
            <c:bubble3D val="0"/>
            <c:spPr>
              <a:solidFill>
                <a:srgbClr val="7ECAC4"/>
              </a:solidFill>
            </c:spPr>
            <c:extLst>
              <c:ext xmlns:c16="http://schemas.microsoft.com/office/drawing/2014/chart" uri="{C3380CC4-5D6E-409C-BE32-E72D297353CC}">
                <c16:uniqueId val="{0000007F-2993-41DE-A2CB-63102DE87051}"/>
              </c:ext>
            </c:extLst>
          </c:dPt>
          <c:dPt>
            <c:idx val="36"/>
            <c:invertIfNegative val="1"/>
            <c:bubble3D val="0"/>
            <c:spPr>
              <a:solidFill>
                <a:srgbClr val="7ECAC4"/>
              </a:solidFill>
            </c:spPr>
            <c:extLst>
              <c:ext xmlns:c16="http://schemas.microsoft.com/office/drawing/2014/chart" uri="{C3380CC4-5D6E-409C-BE32-E72D297353CC}">
                <c16:uniqueId val="{00000081-2993-41DE-A2CB-63102DE87051}"/>
              </c:ext>
            </c:extLst>
          </c:dPt>
          <c:dPt>
            <c:idx val="37"/>
            <c:invertIfNegative val="1"/>
            <c:bubble3D val="0"/>
            <c:spPr>
              <a:solidFill>
                <a:srgbClr val="AEABAB"/>
              </a:solidFill>
            </c:spPr>
            <c:extLst>
              <c:ext xmlns:c16="http://schemas.microsoft.com/office/drawing/2014/chart" uri="{C3380CC4-5D6E-409C-BE32-E72D297353CC}">
                <c16:uniqueId val="{00000083-2993-41DE-A2CB-63102DE87051}"/>
              </c:ext>
            </c:extLst>
          </c:dPt>
          <c:dPt>
            <c:idx val="38"/>
            <c:invertIfNegative val="1"/>
            <c:bubble3D val="0"/>
            <c:spPr>
              <a:solidFill>
                <a:srgbClr val="AEABAB"/>
              </a:solidFill>
            </c:spPr>
            <c:extLst>
              <c:ext xmlns:c16="http://schemas.microsoft.com/office/drawing/2014/chart" uri="{C3380CC4-5D6E-409C-BE32-E72D297353CC}">
                <c16:uniqueId val="{00000085-2993-41DE-A2CB-63102DE87051}"/>
              </c:ext>
            </c:extLst>
          </c:dPt>
          <c:dPt>
            <c:idx val="39"/>
            <c:invertIfNegative val="1"/>
            <c:bubble3D val="0"/>
            <c:spPr>
              <a:solidFill>
                <a:srgbClr val="AEABAB"/>
              </a:solidFill>
            </c:spPr>
            <c:extLst>
              <c:ext xmlns:c16="http://schemas.microsoft.com/office/drawing/2014/chart" uri="{C3380CC4-5D6E-409C-BE32-E72D297353CC}">
                <c16:uniqueId val="{00000087-2993-41DE-A2CB-63102DE87051}"/>
              </c:ext>
            </c:extLst>
          </c:dPt>
          <c:dPt>
            <c:idx val="40"/>
            <c:invertIfNegative val="1"/>
            <c:bubble3D val="0"/>
            <c:spPr>
              <a:solidFill>
                <a:srgbClr val="AEABAB"/>
              </a:solidFill>
            </c:spPr>
            <c:extLst>
              <c:ext xmlns:c16="http://schemas.microsoft.com/office/drawing/2014/chart" uri="{C3380CC4-5D6E-409C-BE32-E72D297353CC}">
                <c16:uniqueId val="{00000089-2993-41DE-A2CB-63102DE87051}"/>
              </c:ext>
            </c:extLst>
          </c:dPt>
          <c:dPt>
            <c:idx val="41"/>
            <c:invertIfNegative val="1"/>
            <c:bubble3D val="0"/>
            <c:spPr>
              <a:solidFill>
                <a:srgbClr val="AEABAB"/>
              </a:solidFill>
            </c:spPr>
            <c:extLst>
              <c:ext xmlns:c16="http://schemas.microsoft.com/office/drawing/2014/chart" uri="{C3380CC4-5D6E-409C-BE32-E72D297353CC}">
                <c16:uniqueId val="{0000008B-2993-41DE-A2CB-63102DE87051}"/>
              </c:ext>
            </c:extLst>
          </c:dPt>
          <c:dPt>
            <c:idx val="42"/>
            <c:invertIfNegative val="1"/>
            <c:bubble3D val="0"/>
            <c:spPr>
              <a:solidFill>
                <a:srgbClr val="AEABAB"/>
              </a:solidFill>
            </c:spPr>
            <c:extLst>
              <c:ext xmlns:c16="http://schemas.microsoft.com/office/drawing/2014/chart" uri="{C3380CC4-5D6E-409C-BE32-E72D297353CC}">
                <c16:uniqueId val="{0000008D-2993-41DE-A2CB-63102DE87051}"/>
              </c:ext>
            </c:extLst>
          </c:dPt>
          <c:dPt>
            <c:idx val="43"/>
            <c:invertIfNegative val="1"/>
            <c:bubble3D val="0"/>
            <c:spPr>
              <a:solidFill>
                <a:srgbClr val="AEABAB"/>
              </a:solidFill>
            </c:spPr>
            <c:extLst>
              <c:ext xmlns:c16="http://schemas.microsoft.com/office/drawing/2014/chart" uri="{C3380CC4-5D6E-409C-BE32-E72D297353CC}">
                <c16:uniqueId val="{0000008F-2993-41DE-A2CB-63102DE87051}"/>
              </c:ext>
            </c:extLst>
          </c:dPt>
          <c:dPt>
            <c:idx val="44"/>
            <c:invertIfNegative val="1"/>
            <c:bubble3D val="0"/>
            <c:spPr>
              <a:solidFill>
                <a:srgbClr val="AEABAB"/>
              </a:solidFill>
            </c:spPr>
            <c:extLst>
              <c:ext xmlns:c16="http://schemas.microsoft.com/office/drawing/2014/chart" uri="{C3380CC4-5D6E-409C-BE32-E72D297353CC}">
                <c16:uniqueId val="{00000091-2993-41DE-A2CB-63102DE87051}"/>
              </c:ext>
            </c:extLst>
          </c:dPt>
          <c:dPt>
            <c:idx val="45"/>
            <c:invertIfNegative val="1"/>
            <c:bubble3D val="0"/>
            <c:spPr>
              <a:solidFill>
                <a:srgbClr val="AEABAB"/>
              </a:solidFill>
            </c:spPr>
            <c:extLst>
              <c:ext xmlns:c16="http://schemas.microsoft.com/office/drawing/2014/chart" uri="{C3380CC4-5D6E-409C-BE32-E72D297353CC}">
                <c16:uniqueId val="{00000093-2993-41DE-A2CB-63102DE87051}"/>
              </c:ext>
            </c:extLst>
          </c:dPt>
          <c:dPt>
            <c:idx val="46"/>
            <c:invertIfNegative val="1"/>
            <c:bubble3D val="0"/>
            <c:spPr>
              <a:solidFill>
                <a:srgbClr val="AEABAB"/>
              </a:solidFill>
            </c:spPr>
            <c:extLst>
              <c:ext xmlns:c16="http://schemas.microsoft.com/office/drawing/2014/chart" uri="{C3380CC4-5D6E-409C-BE32-E72D297353CC}">
                <c16:uniqueId val="{00000095-2993-41DE-A2CB-63102DE87051}"/>
              </c:ext>
            </c:extLst>
          </c:dPt>
          <c:dPt>
            <c:idx val="47"/>
            <c:invertIfNegative val="1"/>
            <c:bubble3D val="0"/>
            <c:spPr>
              <a:solidFill>
                <a:srgbClr val="AEABAB"/>
              </a:solidFill>
            </c:spPr>
            <c:extLst>
              <c:ext xmlns:c16="http://schemas.microsoft.com/office/drawing/2014/chart" uri="{C3380CC4-5D6E-409C-BE32-E72D297353CC}">
                <c16:uniqueId val="{00000097-2993-41DE-A2CB-63102DE87051}"/>
              </c:ext>
            </c:extLst>
          </c:dPt>
          <c:dPt>
            <c:idx val="48"/>
            <c:invertIfNegative val="1"/>
            <c:bubble3D val="0"/>
            <c:spPr>
              <a:solidFill>
                <a:srgbClr val="AEABAB"/>
              </a:solidFill>
            </c:spPr>
            <c:extLst>
              <c:ext xmlns:c16="http://schemas.microsoft.com/office/drawing/2014/chart" uri="{C3380CC4-5D6E-409C-BE32-E72D297353CC}">
                <c16:uniqueId val="{00000099-2993-41DE-A2CB-63102DE87051}"/>
              </c:ext>
            </c:extLst>
          </c:dPt>
          <c:dPt>
            <c:idx val="49"/>
            <c:invertIfNegative val="1"/>
            <c:bubble3D val="0"/>
            <c:spPr>
              <a:solidFill>
                <a:srgbClr val="AEABAB"/>
              </a:solidFill>
            </c:spPr>
            <c:extLst>
              <c:ext xmlns:c16="http://schemas.microsoft.com/office/drawing/2014/chart" uri="{C3380CC4-5D6E-409C-BE32-E72D297353CC}">
                <c16:uniqueId val="{0000009B-2993-41DE-A2CB-63102DE87051}"/>
              </c:ext>
            </c:extLst>
          </c:dPt>
          <c:dPt>
            <c:idx val="50"/>
            <c:invertIfNegative val="1"/>
            <c:bubble3D val="0"/>
            <c:spPr>
              <a:solidFill>
                <a:srgbClr val="AEABAB"/>
              </a:solidFill>
            </c:spPr>
            <c:extLst>
              <c:ext xmlns:c16="http://schemas.microsoft.com/office/drawing/2014/chart" uri="{C3380CC4-5D6E-409C-BE32-E72D297353CC}">
                <c16:uniqueId val="{0000009D-2993-41DE-A2CB-63102DE87051}"/>
              </c:ext>
            </c:extLst>
          </c:dPt>
          <c:dPt>
            <c:idx val="51"/>
            <c:invertIfNegative val="1"/>
            <c:bubble3D val="0"/>
            <c:spPr>
              <a:solidFill>
                <a:srgbClr val="AEABAB"/>
              </a:solidFill>
            </c:spPr>
            <c:extLst>
              <c:ext xmlns:c16="http://schemas.microsoft.com/office/drawing/2014/chart" uri="{C3380CC4-5D6E-409C-BE32-E72D297353CC}">
                <c16:uniqueId val="{0000009F-2993-41DE-A2CB-63102DE87051}"/>
              </c:ext>
            </c:extLst>
          </c:dPt>
          <c:dPt>
            <c:idx val="52"/>
            <c:invertIfNegative val="1"/>
            <c:bubble3D val="0"/>
            <c:spPr>
              <a:solidFill>
                <a:srgbClr val="AEABAB"/>
              </a:solidFill>
            </c:spPr>
            <c:extLst>
              <c:ext xmlns:c16="http://schemas.microsoft.com/office/drawing/2014/chart" uri="{C3380CC4-5D6E-409C-BE32-E72D297353CC}">
                <c16:uniqueId val="{000000A1-2993-41DE-A2CB-63102DE87051}"/>
              </c:ext>
            </c:extLst>
          </c:dPt>
          <c:dPt>
            <c:idx val="53"/>
            <c:invertIfNegative val="1"/>
            <c:bubble3D val="0"/>
            <c:spPr>
              <a:solidFill>
                <a:srgbClr val="AEABAB"/>
              </a:solidFill>
            </c:spPr>
            <c:extLst>
              <c:ext xmlns:c16="http://schemas.microsoft.com/office/drawing/2014/chart" uri="{C3380CC4-5D6E-409C-BE32-E72D297353CC}">
                <c16:uniqueId val="{000000A3-2993-41DE-A2CB-63102DE87051}"/>
              </c:ext>
            </c:extLst>
          </c:dPt>
          <c:dPt>
            <c:idx val="54"/>
            <c:invertIfNegative val="0"/>
            <c:bubble3D val="0"/>
            <c:spPr>
              <a:solidFill>
                <a:srgbClr val="AEABAB"/>
              </a:solidFill>
            </c:spPr>
            <c:extLst>
              <c:ext xmlns:c16="http://schemas.microsoft.com/office/drawing/2014/chart" uri="{C3380CC4-5D6E-409C-BE32-E72D297353CC}">
                <c16:uniqueId val="{00000072-C76F-4230-900D-40618C09729F}"/>
              </c:ext>
            </c:extLst>
          </c:dPt>
          <c:dPt>
            <c:idx val="55"/>
            <c:invertIfNegative val="0"/>
            <c:bubble3D val="0"/>
            <c:spPr>
              <a:solidFill>
                <a:srgbClr val="AEABAB"/>
              </a:solidFill>
            </c:spPr>
            <c:extLst>
              <c:ext xmlns:c16="http://schemas.microsoft.com/office/drawing/2014/chart" uri="{C3380CC4-5D6E-409C-BE32-E72D297353CC}">
                <c16:uniqueId val="{00000074-C76F-4230-900D-40618C09729F}"/>
              </c:ext>
            </c:extLst>
          </c:dPt>
          <c:dPt>
            <c:idx val="56"/>
            <c:invertIfNegative val="0"/>
            <c:bubble3D val="0"/>
            <c:spPr>
              <a:solidFill>
                <a:srgbClr val="AEABAB"/>
              </a:solidFill>
            </c:spPr>
            <c:extLst>
              <c:ext xmlns:c16="http://schemas.microsoft.com/office/drawing/2014/chart" uri="{C3380CC4-5D6E-409C-BE32-E72D297353CC}">
                <c16:uniqueId val="{00000076-C76F-4230-900D-40618C09729F}"/>
              </c:ext>
            </c:extLst>
          </c:dPt>
          <c:dPt>
            <c:idx val="57"/>
            <c:invertIfNegative val="0"/>
            <c:bubble3D val="0"/>
            <c:spPr>
              <a:solidFill>
                <a:srgbClr val="AEABAB"/>
              </a:solidFill>
            </c:spPr>
            <c:extLst>
              <c:ext xmlns:c16="http://schemas.microsoft.com/office/drawing/2014/chart" uri="{C3380CC4-5D6E-409C-BE32-E72D297353CC}">
                <c16:uniqueId val="{00000078-C76F-4230-900D-40618C09729F}"/>
              </c:ext>
            </c:extLst>
          </c:dPt>
          <c:dPt>
            <c:idx val="58"/>
            <c:invertIfNegative val="0"/>
            <c:bubble3D val="0"/>
            <c:spPr>
              <a:solidFill>
                <a:srgbClr val="AEABAB"/>
              </a:solidFill>
            </c:spPr>
            <c:extLst>
              <c:ext xmlns:c16="http://schemas.microsoft.com/office/drawing/2014/chart" uri="{C3380CC4-5D6E-409C-BE32-E72D297353CC}">
                <c16:uniqueId val="{0000007A-C76F-4230-900D-40618C09729F}"/>
              </c:ext>
            </c:extLst>
          </c:dPt>
          <c:dPt>
            <c:idx val="59"/>
            <c:invertIfNegative val="0"/>
            <c:bubble3D val="0"/>
            <c:spPr>
              <a:solidFill>
                <a:srgbClr val="AEABAB"/>
              </a:solidFill>
            </c:spPr>
            <c:extLst>
              <c:ext xmlns:c16="http://schemas.microsoft.com/office/drawing/2014/chart" uri="{C3380CC4-5D6E-409C-BE32-E72D297353CC}">
                <c16:uniqueId val="{0000007C-C76F-4230-900D-40618C09729F}"/>
              </c:ext>
            </c:extLst>
          </c:dPt>
          <c:dPt>
            <c:idx val="60"/>
            <c:invertIfNegative val="0"/>
            <c:bubble3D val="0"/>
            <c:spPr>
              <a:solidFill>
                <a:srgbClr val="AEABAB"/>
              </a:solidFill>
            </c:spPr>
            <c:extLst>
              <c:ext xmlns:c16="http://schemas.microsoft.com/office/drawing/2014/chart" uri="{C3380CC4-5D6E-409C-BE32-E72D297353CC}">
                <c16:uniqueId val="{0000007E-C76F-4230-900D-40618C09729F}"/>
              </c:ext>
            </c:extLst>
          </c:dPt>
          <c:dPt>
            <c:idx val="61"/>
            <c:invertIfNegative val="0"/>
            <c:bubble3D val="0"/>
            <c:spPr>
              <a:solidFill>
                <a:srgbClr val="AEABAB"/>
              </a:solidFill>
            </c:spPr>
            <c:extLst>
              <c:ext xmlns:c16="http://schemas.microsoft.com/office/drawing/2014/chart" uri="{C3380CC4-5D6E-409C-BE32-E72D297353CC}">
                <c16:uniqueId val="{00000080-C76F-4230-900D-40618C09729F}"/>
              </c:ext>
            </c:extLst>
          </c:dPt>
          <c:dPt>
            <c:idx val="62"/>
            <c:invertIfNegative val="0"/>
            <c:bubble3D val="0"/>
            <c:spPr>
              <a:solidFill>
                <a:srgbClr val="AEABAB"/>
              </a:solidFill>
            </c:spPr>
            <c:extLst>
              <c:ext xmlns:c16="http://schemas.microsoft.com/office/drawing/2014/chart" uri="{C3380CC4-5D6E-409C-BE32-E72D297353CC}">
                <c16:uniqueId val="{00000082-C76F-4230-900D-40618C09729F}"/>
              </c:ext>
            </c:extLst>
          </c:dPt>
          <c:dPt>
            <c:idx val="63"/>
            <c:invertIfNegative val="0"/>
            <c:bubble3D val="0"/>
            <c:spPr>
              <a:solidFill>
                <a:srgbClr val="AEABAB"/>
              </a:solidFill>
            </c:spPr>
            <c:extLst>
              <c:ext xmlns:c16="http://schemas.microsoft.com/office/drawing/2014/chart" uri="{C3380CC4-5D6E-409C-BE32-E72D297353CC}">
                <c16:uniqueId val="{00000084-C76F-4230-900D-40618C09729F}"/>
              </c:ext>
            </c:extLst>
          </c:dPt>
          <c:dPt>
            <c:idx val="64"/>
            <c:invertIfNegative val="0"/>
            <c:bubble3D val="0"/>
            <c:spPr>
              <a:solidFill>
                <a:srgbClr val="AEABAB"/>
              </a:solidFill>
            </c:spPr>
            <c:extLst>
              <c:ext xmlns:c16="http://schemas.microsoft.com/office/drawing/2014/chart" uri="{C3380CC4-5D6E-409C-BE32-E72D297353CC}">
                <c16:uniqueId val="{00000086-C76F-4230-900D-40618C09729F}"/>
              </c:ext>
            </c:extLst>
          </c:dPt>
          <c:dPt>
            <c:idx val="65"/>
            <c:invertIfNegative val="0"/>
            <c:bubble3D val="0"/>
            <c:spPr>
              <a:solidFill>
                <a:srgbClr val="AEABAB"/>
              </a:solidFill>
            </c:spPr>
            <c:extLst>
              <c:ext xmlns:c16="http://schemas.microsoft.com/office/drawing/2014/chart" uri="{C3380CC4-5D6E-409C-BE32-E72D297353CC}">
                <c16:uniqueId val="{00000088-C76F-4230-900D-40618C09729F}"/>
              </c:ext>
            </c:extLst>
          </c:dPt>
          <c:dPt>
            <c:idx val="66"/>
            <c:invertIfNegative val="0"/>
            <c:bubble3D val="0"/>
            <c:spPr>
              <a:solidFill>
                <a:srgbClr val="AEABAB"/>
              </a:solidFill>
            </c:spPr>
            <c:extLst>
              <c:ext xmlns:c16="http://schemas.microsoft.com/office/drawing/2014/chart" uri="{C3380CC4-5D6E-409C-BE32-E72D297353CC}">
                <c16:uniqueId val="{0000008A-C76F-4230-900D-40618C09729F}"/>
              </c:ext>
            </c:extLst>
          </c:dPt>
          <c:dPt>
            <c:idx val="67"/>
            <c:invertIfNegative val="0"/>
            <c:bubble3D val="0"/>
            <c:spPr>
              <a:solidFill>
                <a:srgbClr val="AEABAB"/>
              </a:solidFill>
            </c:spPr>
            <c:extLst>
              <c:ext xmlns:c16="http://schemas.microsoft.com/office/drawing/2014/chart" uri="{C3380CC4-5D6E-409C-BE32-E72D297353CC}">
                <c16:uniqueId val="{0000008C-C76F-4230-900D-40618C09729F}"/>
              </c:ext>
            </c:extLst>
          </c:dPt>
          <c:dPt>
            <c:idx val="68"/>
            <c:invertIfNegative val="0"/>
            <c:bubble3D val="0"/>
            <c:spPr>
              <a:solidFill>
                <a:srgbClr val="AEABAB"/>
              </a:solidFill>
            </c:spPr>
            <c:extLst>
              <c:ext xmlns:c16="http://schemas.microsoft.com/office/drawing/2014/chart" uri="{C3380CC4-5D6E-409C-BE32-E72D297353CC}">
                <c16:uniqueId val="{0000008E-C76F-4230-900D-40618C09729F}"/>
              </c:ext>
            </c:extLst>
          </c:dPt>
          <c:dPt>
            <c:idx val="69"/>
            <c:invertIfNegative val="0"/>
            <c:bubble3D val="0"/>
            <c:spPr>
              <a:solidFill>
                <a:srgbClr val="AEABAB"/>
              </a:solidFill>
            </c:spPr>
            <c:extLst>
              <c:ext xmlns:c16="http://schemas.microsoft.com/office/drawing/2014/chart" uri="{C3380CC4-5D6E-409C-BE32-E72D297353CC}">
                <c16:uniqueId val="{00000090-C76F-4230-900D-40618C09729F}"/>
              </c:ext>
            </c:extLst>
          </c:dPt>
          <c:dPt>
            <c:idx val="70"/>
            <c:invertIfNegative val="0"/>
            <c:bubble3D val="0"/>
            <c:spPr>
              <a:solidFill>
                <a:srgbClr val="AEABAB"/>
              </a:solidFill>
            </c:spPr>
            <c:extLst>
              <c:ext xmlns:c16="http://schemas.microsoft.com/office/drawing/2014/chart" uri="{C3380CC4-5D6E-409C-BE32-E72D297353CC}">
                <c16:uniqueId val="{00000092-C76F-4230-900D-40618C09729F}"/>
              </c:ext>
            </c:extLst>
          </c:dPt>
          <c:dPt>
            <c:idx val="71"/>
            <c:invertIfNegative val="0"/>
            <c:bubble3D val="0"/>
            <c:spPr>
              <a:solidFill>
                <a:srgbClr val="AEABAB"/>
              </a:solidFill>
            </c:spPr>
            <c:extLst>
              <c:ext xmlns:c16="http://schemas.microsoft.com/office/drawing/2014/chart" uri="{C3380CC4-5D6E-409C-BE32-E72D297353CC}">
                <c16:uniqueId val="{00000094-C76F-4230-900D-40618C09729F}"/>
              </c:ext>
            </c:extLst>
          </c:dPt>
          <c:dPt>
            <c:idx val="72"/>
            <c:invertIfNegative val="0"/>
            <c:bubble3D val="0"/>
            <c:spPr>
              <a:solidFill>
                <a:srgbClr val="AEABAB"/>
              </a:solidFill>
            </c:spPr>
            <c:extLst>
              <c:ext xmlns:c16="http://schemas.microsoft.com/office/drawing/2014/chart" uri="{C3380CC4-5D6E-409C-BE32-E72D297353CC}">
                <c16:uniqueId val="{00000096-C76F-4230-900D-40618C09729F}"/>
              </c:ext>
            </c:extLst>
          </c:dPt>
          <c:dPt>
            <c:idx val="73"/>
            <c:invertIfNegative val="0"/>
            <c:bubble3D val="0"/>
            <c:spPr>
              <a:solidFill>
                <a:srgbClr val="AEABAB"/>
              </a:solidFill>
            </c:spPr>
            <c:extLst>
              <c:ext xmlns:c16="http://schemas.microsoft.com/office/drawing/2014/chart" uri="{C3380CC4-5D6E-409C-BE32-E72D297353CC}">
                <c16:uniqueId val="{00000098-C76F-4230-900D-40618C09729F}"/>
              </c:ext>
            </c:extLst>
          </c:dPt>
          <c:dPt>
            <c:idx val="74"/>
            <c:invertIfNegative val="0"/>
            <c:bubble3D val="0"/>
            <c:spPr>
              <a:solidFill>
                <a:srgbClr val="AEABAB"/>
              </a:solidFill>
            </c:spPr>
            <c:extLst>
              <c:ext xmlns:c16="http://schemas.microsoft.com/office/drawing/2014/chart" uri="{C3380CC4-5D6E-409C-BE32-E72D297353CC}">
                <c16:uniqueId val="{0000009A-C76F-4230-900D-40618C09729F}"/>
              </c:ext>
            </c:extLst>
          </c:dPt>
          <c:dPt>
            <c:idx val="75"/>
            <c:invertIfNegative val="0"/>
            <c:bubble3D val="0"/>
            <c:spPr>
              <a:solidFill>
                <a:srgbClr val="AEABAB"/>
              </a:solidFill>
            </c:spPr>
            <c:extLst>
              <c:ext xmlns:c16="http://schemas.microsoft.com/office/drawing/2014/chart" uri="{C3380CC4-5D6E-409C-BE32-E72D297353CC}">
                <c16:uniqueId val="{0000009C-C76F-4230-900D-40618C09729F}"/>
              </c:ext>
            </c:extLst>
          </c:dPt>
          <c:dPt>
            <c:idx val="76"/>
            <c:invertIfNegative val="0"/>
            <c:bubble3D val="0"/>
            <c:spPr>
              <a:solidFill>
                <a:srgbClr val="AEABAB"/>
              </a:solidFill>
            </c:spPr>
            <c:extLst>
              <c:ext xmlns:c16="http://schemas.microsoft.com/office/drawing/2014/chart" uri="{C3380CC4-5D6E-409C-BE32-E72D297353CC}">
                <c16:uniqueId val="{0000009E-C76F-4230-900D-40618C09729F}"/>
              </c:ext>
            </c:extLst>
          </c:dPt>
          <c:dPt>
            <c:idx val="77"/>
            <c:invertIfNegative val="0"/>
            <c:bubble3D val="0"/>
            <c:spPr>
              <a:solidFill>
                <a:srgbClr val="AEABAB"/>
              </a:solidFill>
            </c:spPr>
            <c:extLst>
              <c:ext xmlns:c16="http://schemas.microsoft.com/office/drawing/2014/chart" uri="{C3380CC4-5D6E-409C-BE32-E72D297353CC}">
                <c16:uniqueId val="{000000A0-C76F-4230-900D-40618C09729F}"/>
              </c:ext>
            </c:extLst>
          </c:dPt>
          <c:dPt>
            <c:idx val="78"/>
            <c:invertIfNegative val="0"/>
            <c:bubble3D val="0"/>
            <c:spPr>
              <a:solidFill>
                <a:srgbClr val="AEABAB"/>
              </a:solidFill>
            </c:spPr>
            <c:extLst>
              <c:ext xmlns:c16="http://schemas.microsoft.com/office/drawing/2014/chart" uri="{C3380CC4-5D6E-409C-BE32-E72D297353CC}">
                <c16:uniqueId val="{000000A2-C76F-4230-900D-40618C09729F}"/>
              </c:ext>
            </c:extLst>
          </c:dPt>
          <c:dPt>
            <c:idx val="79"/>
            <c:invertIfNegative val="0"/>
            <c:bubble3D val="0"/>
            <c:spPr>
              <a:solidFill>
                <a:srgbClr val="AEABAB"/>
              </a:solidFill>
            </c:spPr>
            <c:extLst>
              <c:ext xmlns:c16="http://schemas.microsoft.com/office/drawing/2014/chart" uri="{C3380CC4-5D6E-409C-BE32-E72D297353CC}">
                <c16:uniqueId val="{000000A4-C76F-4230-900D-40618C09729F}"/>
              </c:ext>
            </c:extLst>
          </c:dPt>
          <c:dPt>
            <c:idx val="80"/>
            <c:invertIfNegative val="0"/>
            <c:bubble3D val="0"/>
            <c:spPr>
              <a:solidFill>
                <a:srgbClr val="AEABAB"/>
              </a:solidFill>
            </c:spPr>
            <c:extLst>
              <c:ext xmlns:c16="http://schemas.microsoft.com/office/drawing/2014/chart" uri="{C3380CC4-5D6E-409C-BE32-E72D297353CC}">
                <c16:uniqueId val="{000000A6-C76F-4230-900D-40618C09729F}"/>
              </c:ext>
            </c:extLst>
          </c:dPt>
          <c:dPt>
            <c:idx val="81"/>
            <c:invertIfNegative val="1"/>
            <c:bubble3D val="0"/>
            <c:spPr>
              <a:solidFill>
                <a:srgbClr val="AEABAB"/>
              </a:solidFill>
            </c:spPr>
            <c:extLst>
              <c:ext xmlns:c16="http://schemas.microsoft.com/office/drawing/2014/chart" uri="{C3380CC4-5D6E-409C-BE32-E72D297353CC}">
                <c16:uniqueId val="{000000A5-2993-41DE-A2CB-63102DE87051}"/>
              </c:ext>
            </c:extLst>
          </c:dPt>
          <c:dPt>
            <c:idx val="82"/>
            <c:invertIfNegative val="1"/>
            <c:bubble3D val="0"/>
            <c:spPr>
              <a:solidFill>
                <a:srgbClr val="AEABAB"/>
              </a:solidFill>
            </c:spPr>
            <c:extLst>
              <c:ext xmlns:c16="http://schemas.microsoft.com/office/drawing/2014/chart" uri="{C3380CC4-5D6E-409C-BE32-E72D297353CC}">
                <c16:uniqueId val="{000000A7-2993-41DE-A2CB-63102DE87051}"/>
              </c:ext>
            </c:extLst>
          </c:dPt>
          <c:dPt>
            <c:idx val="83"/>
            <c:invertIfNegative val="1"/>
            <c:bubble3D val="0"/>
            <c:spPr>
              <a:solidFill>
                <a:srgbClr val="AEABAB"/>
              </a:solidFill>
            </c:spPr>
            <c:extLst>
              <c:ext xmlns:c16="http://schemas.microsoft.com/office/drawing/2014/chart" uri="{C3380CC4-5D6E-409C-BE32-E72D297353CC}">
                <c16:uniqueId val="{000000A9-2993-41DE-A2CB-63102DE87051}"/>
              </c:ext>
            </c:extLst>
          </c:dPt>
          <c:dPt>
            <c:idx val="84"/>
            <c:invertIfNegative val="1"/>
            <c:bubble3D val="0"/>
            <c:spPr>
              <a:solidFill>
                <a:srgbClr val="AEABAB"/>
              </a:solidFill>
            </c:spPr>
            <c:extLst>
              <c:ext xmlns:c16="http://schemas.microsoft.com/office/drawing/2014/chart" uri="{C3380CC4-5D6E-409C-BE32-E72D297353CC}">
                <c16:uniqueId val="{000000AB-2993-41DE-A2CB-63102DE87051}"/>
              </c:ext>
            </c:extLst>
          </c:dPt>
          <c:dPt>
            <c:idx val="85"/>
            <c:invertIfNegative val="1"/>
            <c:bubble3D val="0"/>
            <c:spPr>
              <a:solidFill>
                <a:srgbClr val="AEABAB"/>
              </a:solidFill>
            </c:spPr>
            <c:extLst>
              <c:ext xmlns:c16="http://schemas.microsoft.com/office/drawing/2014/chart" uri="{C3380CC4-5D6E-409C-BE32-E72D297353CC}">
                <c16:uniqueId val="{000000AD-2993-41DE-A2CB-63102DE87051}"/>
              </c:ext>
            </c:extLst>
          </c:dPt>
          <c:dPt>
            <c:idx val="86"/>
            <c:invertIfNegative val="1"/>
            <c:bubble3D val="0"/>
            <c:spPr>
              <a:solidFill>
                <a:srgbClr val="AEABAB"/>
              </a:solidFill>
            </c:spPr>
            <c:extLst>
              <c:ext xmlns:c16="http://schemas.microsoft.com/office/drawing/2014/chart" uri="{C3380CC4-5D6E-409C-BE32-E72D297353CC}">
                <c16:uniqueId val="{000000AF-2993-41DE-A2CB-63102DE87051}"/>
              </c:ext>
            </c:extLst>
          </c:dPt>
          <c:dPt>
            <c:idx val="87"/>
            <c:invertIfNegative val="1"/>
            <c:bubble3D val="0"/>
            <c:spPr>
              <a:solidFill>
                <a:srgbClr val="AEABAB"/>
              </a:solidFill>
            </c:spPr>
            <c:extLst>
              <c:ext xmlns:c16="http://schemas.microsoft.com/office/drawing/2014/chart" uri="{C3380CC4-5D6E-409C-BE32-E72D297353CC}">
                <c16:uniqueId val="{000000B1-2993-41DE-A2CB-63102DE87051}"/>
              </c:ext>
            </c:extLst>
          </c:dPt>
          <c:dPt>
            <c:idx val="88"/>
            <c:invertIfNegative val="1"/>
            <c:bubble3D val="0"/>
            <c:spPr>
              <a:solidFill>
                <a:srgbClr val="AEABAB"/>
              </a:solidFill>
            </c:spPr>
            <c:extLst>
              <c:ext xmlns:c16="http://schemas.microsoft.com/office/drawing/2014/chart" uri="{C3380CC4-5D6E-409C-BE32-E72D297353CC}">
                <c16:uniqueId val="{000000B3-2993-41DE-A2CB-63102DE87051}"/>
              </c:ext>
            </c:extLst>
          </c:dPt>
          <c:dPt>
            <c:idx val="89"/>
            <c:invertIfNegative val="1"/>
            <c:bubble3D val="0"/>
            <c:spPr>
              <a:solidFill>
                <a:srgbClr val="AEABAB"/>
              </a:solidFill>
            </c:spPr>
            <c:extLst>
              <c:ext xmlns:c16="http://schemas.microsoft.com/office/drawing/2014/chart" uri="{C3380CC4-5D6E-409C-BE32-E72D297353CC}">
                <c16:uniqueId val="{000000B5-2993-41DE-A2CB-63102DE87051}"/>
              </c:ext>
            </c:extLst>
          </c:dPt>
          <c:dPt>
            <c:idx val="90"/>
            <c:invertIfNegative val="1"/>
            <c:bubble3D val="0"/>
            <c:spPr>
              <a:solidFill>
                <a:srgbClr val="AEABAB"/>
              </a:solidFill>
            </c:spPr>
            <c:extLst>
              <c:ext xmlns:c16="http://schemas.microsoft.com/office/drawing/2014/chart" uri="{C3380CC4-5D6E-409C-BE32-E72D297353CC}">
                <c16:uniqueId val="{000000B7-2993-41DE-A2CB-63102DE87051}"/>
              </c:ext>
            </c:extLst>
          </c:dPt>
          <c:dPt>
            <c:idx val="91"/>
            <c:invertIfNegative val="1"/>
            <c:bubble3D val="0"/>
            <c:spPr>
              <a:solidFill>
                <a:srgbClr val="AEABAB"/>
              </a:solidFill>
            </c:spPr>
            <c:extLst>
              <c:ext xmlns:c16="http://schemas.microsoft.com/office/drawing/2014/chart" uri="{C3380CC4-5D6E-409C-BE32-E72D297353CC}">
                <c16:uniqueId val="{000000B9-2993-41DE-A2CB-63102DE87051}"/>
              </c:ext>
            </c:extLst>
          </c:dPt>
          <c:dPt>
            <c:idx val="92"/>
            <c:invertIfNegative val="1"/>
            <c:bubble3D val="0"/>
            <c:spPr>
              <a:solidFill>
                <a:srgbClr val="AEABAB"/>
              </a:solidFill>
            </c:spPr>
            <c:extLst>
              <c:ext xmlns:c16="http://schemas.microsoft.com/office/drawing/2014/chart" uri="{C3380CC4-5D6E-409C-BE32-E72D297353CC}">
                <c16:uniqueId val="{000000BB-2993-41DE-A2CB-63102DE87051}"/>
              </c:ext>
            </c:extLst>
          </c:dPt>
          <c:dPt>
            <c:idx val="93"/>
            <c:invertIfNegative val="1"/>
            <c:bubble3D val="0"/>
            <c:spPr>
              <a:solidFill>
                <a:srgbClr val="AEABAB"/>
              </a:solidFill>
            </c:spPr>
            <c:extLst>
              <c:ext xmlns:c16="http://schemas.microsoft.com/office/drawing/2014/chart" uri="{C3380CC4-5D6E-409C-BE32-E72D297353CC}">
                <c16:uniqueId val="{000000BD-2993-41DE-A2CB-63102DE87051}"/>
              </c:ext>
            </c:extLst>
          </c:dPt>
          <c:dPt>
            <c:idx val="94"/>
            <c:invertIfNegative val="1"/>
            <c:bubble3D val="0"/>
            <c:spPr>
              <a:solidFill>
                <a:srgbClr val="AEABAB"/>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96</c:f>
              <c:strCache>
                <c:ptCount val="95"/>
                <c:pt idx="0">
                  <c:v>All Others</c:v>
                </c:pt>
                <c:pt idx="1">
                  <c:v>Patriarche</c:v>
                </c:pt>
                <c:pt idx="2">
                  <c:v>Mure</c:v>
                </c:pt>
                <c:pt idx="3">
                  <c:v>Bottega</c:v>
                </c:pt>
                <c:pt idx="4">
                  <c:v>Bouvet-Ladu</c:v>
                </c:pt>
                <c:pt idx="5">
                  <c:v>French Bloo</c:v>
                </c:pt>
                <c:pt idx="6">
                  <c:v>Savian</c:v>
                </c:pt>
                <c:pt idx="7">
                  <c:v>All Others</c:v>
                </c:pt>
                <c:pt idx="8">
                  <c:v>Kriter</c:v>
                </c:pt>
                <c:pt idx="9">
                  <c:v>De Chanceny</c:v>
                </c:pt>
                <c:pt idx="10">
                  <c:v>All Others</c:v>
                </c:pt>
                <c:pt idx="11">
                  <c:v>Patriarche</c:v>
                </c:pt>
                <c:pt idx="12">
                  <c:v>Contarini</c:v>
                </c:pt>
                <c:pt idx="13">
                  <c:v>All Others</c:v>
                </c:pt>
                <c:pt idx="14">
                  <c:v>All Others</c:v>
                </c:pt>
                <c:pt idx="15">
                  <c:v>All Others</c:v>
                </c:pt>
                <c:pt idx="16">
                  <c:v>Bottega</c:v>
                </c:pt>
                <c:pt idx="17">
                  <c:v>Cru La Maqu</c:v>
                </c:pt>
                <c:pt idx="18">
                  <c:v>All Others</c:v>
                </c:pt>
                <c:pt idx="19">
                  <c:v>All Others</c:v>
                </c:pt>
                <c:pt idx="20">
                  <c:v>All Others</c:v>
                </c:pt>
                <c:pt idx="21">
                  <c:v>All Others</c:v>
                </c:pt>
                <c:pt idx="22">
                  <c:v>All Others</c:v>
                </c:pt>
                <c:pt idx="23">
                  <c:v>All Others</c:v>
                </c:pt>
                <c:pt idx="24">
                  <c:v>Contarini</c:v>
                </c:pt>
                <c:pt idx="25">
                  <c:v>All Others</c:v>
                </c:pt>
                <c:pt idx="26">
                  <c:v>All Others</c:v>
                </c:pt>
                <c:pt idx="27">
                  <c:v>All Others</c:v>
                </c:pt>
                <c:pt idx="28">
                  <c:v>All Others</c:v>
                </c:pt>
                <c:pt idx="29">
                  <c:v>All Others</c:v>
                </c:pt>
                <c:pt idx="30">
                  <c:v>All Others</c:v>
                </c:pt>
                <c:pt idx="31">
                  <c:v>All Others</c:v>
                </c:pt>
                <c:pt idx="32">
                  <c:v>Mure</c:v>
                </c:pt>
                <c:pt idx="33">
                  <c:v>All Others</c:v>
                </c:pt>
                <c:pt idx="34">
                  <c:v>All Others</c:v>
                </c:pt>
                <c:pt idx="35">
                  <c:v>All Others</c:v>
                </c:pt>
                <c:pt idx="36">
                  <c:v>All Others</c:v>
                </c:pt>
                <c:pt idx="37">
                  <c:v>All Others</c:v>
                </c:pt>
                <c:pt idx="38">
                  <c:v>All Others</c:v>
                </c:pt>
                <c:pt idx="39">
                  <c:v>All Others</c:v>
                </c:pt>
                <c:pt idx="40">
                  <c:v>Celene</c:v>
                </c:pt>
                <c:pt idx="41">
                  <c:v>Mure</c:v>
                </c:pt>
                <c:pt idx="42">
                  <c:v>Bouvet-Ladu</c:v>
                </c:pt>
                <c:pt idx="43">
                  <c:v>Bouvet-Ladu</c:v>
                </c:pt>
                <c:pt idx="44">
                  <c:v>All Others</c:v>
                </c:pt>
                <c:pt idx="45">
                  <c:v>All Others</c:v>
                </c:pt>
                <c:pt idx="46">
                  <c:v>Celene</c:v>
                </c:pt>
                <c:pt idx="47">
                  <c:v>All Others</c:v>
                </c:pt>
                <c:pt idx="48">
                  <c:v>Bouvet-Ladu</c:v>
                </c:pt>
                <c:pt idx="49">
                  <c:v>All Others</c:v>
                </c:pt>
                <c:pt idx="50">
                  <c:v>All Others</c:v>
                </c:pt>
                <c:pt idx="51">
                  <c:v>All Others</c:v>
                </c:pt>
                <c:pt idx="52">
                  <c:v>All Others</c:v>
                </c:pt>
                <c:pt idx="53">
                  <c:v>Jaillance</c:v>
                </c:pt>
                <c:pt idx="54">
                  <c:v>All Others</c:v>
                </c:pt>
                <c:pt idx="55">
                  <c:v>Bottega</c:v>
                </c:pt>
                <c:pt idx="56">
                  <c:v>All Others</c:v>
                </c:pt>
                <c:pt idx="57">
                  <c:v>All Others</c:v>
                </c:pt>
                <c:pt idx="58">
                  <c:v>All Others</c:v>
                </c:pt>
                <c:pt idx="59">
                  <c:v>All Others</c:v>
                </c:pt>
                <c:pt idx="60">
                  <c:v>All Others</c:v>
                </c:pt>
                <c:pt idx="61">
                  <c:v>Bouvet-Ladu</c:v>
                </c:pt>
                <c:pt idx="62">
                  <c:v>All Others</c:v>
                </c:pt>
                <c:pt idx="63">
                  <c:v>All Others</c:v>
                </c:pt>
                <c:pt idx="64">
                  <c:v>All Others</c:v>
                </c:pt>
                <c:pt idx="65">
                  <c:v>All Others</c:v>
                </c:pt>
                <c:pt idx="66">
                  <c:v>All Others</c:v>
                </c:pt>
                <c:pt idx="67">
                  <c:v>Bouvet-Ladu</c:v>
                </c:pt>
                <c:pt idx="68">
                  <c:v>All Others</c:v>
                </c:pt>
                <c:pt idx="69">
                  <c:v>Bouvet-Ladu</c:v>
                </c:pt>
                <c:pt idx="70">
                  <c:v>All Others</c:v>
                </c:pt>
                <c:pt idx="71">
                  <c:v>All Others</c:v>
                </c:pt>
                <c:pt idx="72">
                  <c:v>All Others</c:v>
                </c:pt>
                <c:pt idx="73">
                  <c:v>Bouvet-Ladu</c:v>
                </c:pt>
                <c:pt idx="74">
                  <c:v>All Others</c:v>
                </c:pt>
                <c:pt idx="75">
                  <c:v>Bottega</c:v>
                </c:pt>
                <c:pt idx="76">
                  <c:v>All Others</c:v>
                </c:pt>
                <c:pt idx="77">
                  <c:v>Bottega</c:v>
                </c:pt>
                <c:pt idx="78">
                  <c:v>All Others</c:v>
                </c:pt>
                <c:pt idx="79">
                  <c:v>All Others</c:v>
                </c:pt>
                <c:pt idx="80">
                  <c:v>Mure</c:v>
                </c:pt>
                <c:pt idx="81">
                  <c:v>All Others</c:v>
                </c:pt>
                <c:pt idx="82">
                  <c:v>All Others</c:v>
                </c:pt>
                <c:pt idx="83">
                  <c:v>All Others</c:v>
                </c:pt>
                <c:pt idx="84">
                  <c:v>All Others</c:v>
                </c:pt>
                <c:pt idx="85">
                  <c:v>All Others</c:v>
                </c:pt>
                <c:pt idx="86">
                  <c:v>Bouvet-Ladu</c:v>
                </c:pt>
                <c:pt idx="87">
                  <c:v>All Others</c:v>
                </c:pt>
                <c:pt idx="88">
                  <c:v>All Others</c:v>
                </c:pt>
                <c:pt idx="89">
                  <c:v>All Others</c:v>
                </c:pt>
                <c:pt idx="90">
                  <c:v>Contarini</c:v>
                </c:pt>
                <c:pt idx="91">
                  <c:v>All Others</c:v>
                </c:pt>
                <c:pt idx="92">
                  <c:v>Bottega</c:v>
                </c:pt>
                <c:pt idx="93">
                  <c:v>French Bloo</c:v>
                </c:pt>
                <c:pt idx="94">
                  <c:v>All Others</c:v>
                </c:pt>
              </c:strCache>
            </c:strRef>
          </c:cat>
          <c:val>
            <c:numRef>
              <c:f>Sheet1!$C$2:$C$96</c:f>
              <c:numCache>
                <c:formatCode>General</c:formatCode>
                <c:ptCount val="95"/>
                <c:pt idx="0">
                  <c:v>0.13098130448860162</c:v>
                </c:pt>
                <c:pt idx="1">
                  <c:v>0.22307738430728274</c:v>
                </c:pt>
                <c:pt idx="2">
                  <c:v>0.31302809723104968</c:v>
                </c:pt>
                <c:pt idx="3">
                  <c:v>0.39105517514300447</c:v>
                </c:pt>
                <c:pt idx="4">
                  <c:v>0.45492930722277519</c:v>
                </c:pt>
                <c:pt idx="5">
                  <c:v>0.5155320246075622</c:v>
                </c:pt>
                <c:pt idx="6">
                  <c:v>0.56896233316144817</c:v>
                </c:pt>
                <c:pt idx="7">
                  <c:v>0.60516974660926504</c:v>
                </c:pt>
                <c:pt idx="8">
                  <c:v>0.63874371919557738</c:v>
                </c:pt>
                <c:pt idx="9">
                  <c:v>0.67129357589130467</c:v>
                </c:pt>
                <c:pt idx="10">
                  <c:v>0.69992684886495826</c:v>
                </c:pt>
                <c:pt idx="11">
                  <c:v>0.7255825108827304</c:v>
                </c:pt>
                <c:pt idx="12">
                  <c:v>0.74551559558215119</c:v>
                </c:pt>
                <c:pt idx="13">
                  <c:v>0.7626041804074879</c:v>
                </c:pt>
                <c:pt idx="14">
                  <c:v>0.77917471129285643</c:v>
                </c:pt>
                <c:pt idx="15">
                  <c:v>0.79426662989123276</c:v>
                </c:pt>
                <c:pt idx="16">
                  <c:v>0.80747940375828953</c:v>
                </c:pt>
                <c:pt idx="17">
                  <c:v>0.82066819364664412</c:v>
                </c:pt>
                <c:pt idx="18">
                  <c:v>0.8333940927460457</c:v>
                </c:pt>
                <c:pt idx="19">
                  <c:v>0.84589814004245167</c:v>
                </c:pt>
                <c:pt idx="20">
                  <c:v>0.85632397558430973</c:v>
                </c:pt>
                <c:pt idx="21">
                  <c:v>0.86448452433774248</c:v>
                </c:pt>
                <c:pt idx="22">
                  <c:v>0.87255153557423648</c:v>
                </c:pt>
                <c:pt idx="23">
                  <c:v>0.88058377004161226</c:v>
                </c:pt>
                <c:pt idx="24">
                  <c:v>0.88769981652256302</c:v>
                </c:pt>
                <c:pt idx="25">
                  <c:v>0.89465277194833859</c:v>
                </c:pt>
                <c:pt idx="26">
                  <c:v>0.90145942510403054</c:v>
                </c:pt>
                <c:pt idx="27">
                  <c:v>0.90794349374617755</c:v>
                </c:pt>
                <c:pt idx="28">
                  <c:v>0.91353655757953689</c:v>
                </c:pt>
                <c:pt idx="29">
                  <c:v>0.91911643022460998</c:v>
                </c:pt>
                <c:pt idx="30">
                  <c:v>0.92420463130628738</c:v>
                </c:pt>
                <c:pt idx="31">
                  <c:v>0.92881794960966069</c:v>
                </c:pt>
                <c:pt idx="32">
                  <c:v>0.93335931597692734</c:v>
                </c:pt>
                <c:pt idx="33">
                  <c:v>0.9374989507009317</c:v>
                </c:pt>
                <c:pt idx="34">
                  <c:v>0.94119128422213949</c:v>
                </c:pt>
                <c:pt idx="35">
                  <c:v>0.94450826847665748</c:v>
                </c:pt>
                <c:pt idx="36">
                  <c:v>0.94781445994075941</c:v>
                </c:pt>
                <c:pt idx="37">
                  <c:v>0.95102711388792271</c:v>
                </c:pt>
                <c:pt idx="38">
                  <c:v>0.95406468479055972</c:v>
                </c:pt>
                <c:pt idx="39">
                  <c:v>0.95709026370384565</c:v>
                </c:pt>
                <c:pt idx="40">
                  <c:v>0.96001271150871204</c:v>
                </c:pt>
                <c:pt idx="41">
                  <c:v>0.96273968988715519</c:v>
                </c:pt>
                <c:pt idx="42">
                  <c:v>0.96527719483385077</c:v>
                </c:pt>
                <c:pt idx="43">
                  <c:v>0.96776313422633664</c:v>
                </c:pt>
                <c:pt idx="44">
                  <c:v>0.97021789444650952</c:v>
                </c:pt>
                <c:pt idx="45">
                  <c:v>0.97246279485303799</c:v>
                </c:pt>
                <c:pt idx="46">
                  <c:v>0.9745697873820286</c:v>
                </c:pt>
                <c:pt idx="47">
                  <c:v>0.9765160872537143</c:v>
                </c:pt>
                <c:pt idx="48">
                  <c:v>0.97843120795308713</c:v>
                </c:pt>
                <c:pt idx="49">
                  <c:v>0.98014126563455595</c:v>
                </c:pt>
                <c:pt idx="50">
                  <c:v>0.9816210771204833</c:v>
                </c:pt>
                <c:pt idx="51">
                  <c:v>0.98306970943409777</c:v>
                </c:pt>
                <c:pt idx="52">
                  <c:v>0.98438642986485003</c:v>
                </c:pt>
                <c:pt idx="53">
                  <c:v>0.98562280396694979</c:v>
                </c:pt>
                <c:pt idx="54">
                  <c:v>0.98680401491803449</c:v>
                </c:pt>
                <c:pt idx="55">
                  <c:v>0.98796963628296275</c:v>
                </c:pt>
                <c:pt idx="56">
                  <c:v>0.98908489129261634</c:v>
                </c:pt>
                <c:pt idx="57">
                  <c:v>0.99015217834486546</c:v>
                </c:pt>
                <c:pt idx="58">
                  <c:v>0.99113672067059189</c:v>
                </c:pt>
                <c:pt idx="59">
                  <c:v>0.99201813188789878</c:v>
                </c:pt>
                <c:pt idx="60">
                  <c:v>0.99274484644257621</c:v>
                </c:pt>
                <c:pt idx="61">
                  <c:v>0.99346436580364306</c:v>
                </c:pt>
                <c:pt idx="62">
                  <c:v>0.99412992121262989</c:v>
                </c:pt>
                <c:pt idx="63">
                  <c:v>0.99472232548657491</c:v>
                </c:pt>
                <c:pt idx="64">
                  <c:v>0.99523198503399724</c:v>
                </c:pt>
                <c:pt idx="65">
                  <c:v>0.99563011908045418</c:v>
                </c:pt>
                <c:pt idx="66">
                  <c:v>0.99596469558335021</c:v>
                </c:pt>
                <c:pt idx="67">
                  <c:v>0.99629207689263566</c:v>
                </c:pt>
                <c:pt idx="68">
                  <c:v>0.99660027101895932</c:v>
                </c:pt>
                <c:pt idx="69">
                  <c:v>0.99689647315593177</c:v>
                </c:pt>
                <c:pt idx="70">
                  <c:v>0.9971722889110074</c:v>
                </c:pt>
                <c:pt idx="71">
                  <c:v>0.99744690546714787</c:v>
                </c:pt>
                <c:pt idx="72">
                  <c:v>0.99767355406588387</c:v>
                </c:pt>
                <c:pt idx="73">
                  <c:v>0.99789420666994433</c:v>
                </c:pt>
                <c:pt idx="74">
                  <c:v>0.99810646488145904</c:v>
                </c:pt>
                <c:pt idx="75">
                  <c:v>0.99826236074302355</c:v>
                </c:pt>
                <c:pt idx="76">
                  <c:v>0.99841345980884755</c:v>
                </c:pt>
                <c:pt idx="77">
                  <c:v>0.99856455887467155</c:v>
                </c:pt>
                <c:pt idx="78">
                  <c:v>0.99870606434901465</c:v>
                </c:pt>
                <c:pt idx="79">
                  <c:v>0.99883437863507152</c:v>
                </c:pt>
                <c:pt idx="80">
                  <c:v>0.99896029452325819</c:v>
                </c:pt>
                <c:pt idx="81">
                  <c:v>0.99907781601889911</c:v>
                </c:pt>
                <c:pt idx="82">
                  <c:v>0.9991821463262538</c:v>
                </c:pt>
                <c:pt idx="83">
                  <c:v>0.99928287903680313</c:v>
                </c:pt>
                <c:pt idx="84">
                  <c:v>0.99937641655374176</c:v>
                </c:pt>
                <c:pt idx="85">
                  <c:v>0.99946515727494001</c:v>
                </c:pt>
                <c:pt idx="86">
                  <c:v>0.99954430440465736</c:v>
                </c:pt>
                <c:pt idx="87">
                  <c:v>0.99962225233543955</c:v>
                </c:pt>
                <c:pt idx="88">
                  <c:v>0.99969420427154621</c:v>
                </c:pt>
                <c:pt idx="89">
                  <c:v>0.99976135941191246</c:v>
                </c:pt>
                <c:pt idx="90">
                  <c:v>0.99982491695547338</c:v>
                </c:pt>
                <c:pt idx="91">
                  <c:v>0.99996162563407609</c:v>
                </c:pt>
                <c:pt idx="92">
                  <c:v>0.99997841441916768</c:v>
                </c:pt>
                <c:pt idx="93">
                  <c:v>0.99999280480638897</c:v>
                </c:pt>
                <c:pt idx="94">
                  <c:v>0.99999999999999967</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8</c:f>
              <c:strCache>
                <c:ptCount val="7"/>
                <c:pt idx="0">
                  <c:v>De Chanceny</c:v>
                </c:pt>
                <c:pt idx="1">
                  <c:v>Lyre's</c:v>
                </c:pt>
                <c:pt idx="2">
                  <c:v>All Others</c:v>
                </c:pt>
                <c:pt idx="3">
                  <c:v>All Others</c:v>
                </c:pt>
                <c:pt idx="4">
                  <c:v>All Others</c:v>
                </c:pt>
                <c:pt idx="5">
                  <c:v>All Others</c:v>
                </c:pt>
                <c:pt idx="6">
                  <c:v>All Others</c:v>
                </c:pt>
              </c:strCache>
            </c:strRef>
          </c:cat>
          <c:val>
            <c:numRef>
              <c:f>Sheet1!$B$2:$B$8</c:f>
              <c:numCache>
                <c:formatCode>General</c:formatCode>
                <c:ptCount val="7"/>
                <c:pt idx="0">
                  <c:v>0.75</c:v>
                </c:pt>
                <c:pt idx="1">
                  <c:v>0.83299999999999996</c:v>
                </c:pt>
                <c:pt idx="2">
                  <c:v>0.27600000000000002</c:v>
                </c:pt>
                <c:pt idx="3">
                  <c:v>0.45700000000000002</c:v>
                </c:pt>
                <c:pt idx="4">
                  <c:v>0.34100000000000003</c:v>
                </c:pt>
                <c:pt idx="5">
                  <c:v>6.0000000000000001E-3</c:v>
                </c:pt>
                <c:pt idx="6">
                  <c:v>6.0000000000000001E-3</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AEABAB"/>
              </a:solidFill>
            </c:spPr>
            <c:extLst>
              <c:ext xmlns:c16="http://schemas.microsoft.com/office/drawing/2014/chart" uri="{C3380CC4-5D6E-409C-BE32-E72D297353CC}">
                <c16:uniqueId val="{0000000C-C76F-4230-900D-40618C09729F}"/>
              </c:ext>
            </c:extLst>
          </c:dPt>
          <c:dPt>
            <c:idx val="4"/>
            <c:invertIfNegative val="0"/>
            <c:bubble3D val="0"/>
            <c:spPr>
              <a:solidFill>
                <a:srgbClr val="AEABAB"/>
              </a:solidFill>
            </c:spPr>
            <c:extLst>
              <c:ext xmlns:c16="http://schemas.microsoft.com/office/drawing/2014/chart" uri="{C3380CC4-5D6E-409C-BE32-E72D297353CC}">
                <c16:uniqueId val="{0000000E-C76F-4230-900D-40618C09729F}"/>
              </c:ext>
            </c:extLst>
          </c:dPt>
          <c:dPt>
            <c:idx val="5"/>
            <c:invertIfNegative val="0"/>
            <c:bubble3D val="0"/>
            <c:spPr>
              <a:solidFill>
                <a:srgbClr val="AEABAB"/>
              </a:solidFill>
            </c:spPr>
            <c:extLst>
              <c:ext xmlns:c16="http://schemas.microsoft.com/office/drawing/2014/chart" uri="{C3380CC4-5D6E-409C-BE32-E72D297353CC}">
                <c16:uniqueId val="{00000010-C76F-4230-900D-40618C09729F}"/>
              </c:ext>
            </c:extLst>
          </c:dPt>
          <c:dPt>
            <c:idx val="6"/>
            <c:invertIfNegative val="1"/>
            <c:bubble3D val="0"/>
            <c:spPr>
              <a:solidFill>
                <a:srgbClr val="AEABAB"/>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8</c:f>
              <c:strCache>
                <c:ptCount val="7"/>
                <c:pt idx="0">
                  <c:v>De Chanceny</c:v>
                </c:pt>
                <c:pt idx="1">
                  <c:v>Lyre's</c:v>
                </c:pt>
                <c:pt idx="2">
                  <c:v>All Others</c:v>
                </c:pt>
                <c:pt idx="3">
                  <c:v>All Others</c:v>
                </c:pt>
                <c:pt idx="4">
                  <c:v>All Others</c:v>
                </c:pt>
                <c:pt idx="5">
                  <c:v>All Others</c:v>
                </c:pt>
                <c:pt idx="6">
                  <c:v>All Others</c:v>
                </c:pt>
              </c:strCache>
            </c:strRef>
          </c:cat>
          <c:val>
            <c:numRef>
              <c:f>Sheet1!$C$2:$C$8</c:f>
              <c:numCache>
                <c:formatCode>General</c:formatCode>
                <c:ptCount val="7"/>
                <c:pt idx="0">
                  <c:v>0.47312709434737021</c:v>
                </c:pt>
                <c:pt idx="1">
                  <c:v>0.79483498192536972</c:v>
                </c:pt>
                <c:pt idx="2">
                  <c:v>0.87518019636454292</c:v>
                </c:pt>
                <c:pt idx="3">
                  <c:v>0.95248535331685957</c:v>
                </c:pt>
                <c:pt idx="4">
                  <c:v>0.99792490046121463</c:v>
                </c:pt>
                <c:pt idx="5">
                  <c:v>0.99897051598853193</c:v>
                </c:pt>
                <c:pt idx="6">
                  <c:v>1</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6</c:f>
              <c:strCache>
                <c:ptCount val="5"/>
                <c:pt idx="0">
                  <c:v>De Chanceny</c:v>
                </c:pt>
                <c:pt idx="1">
                  <c:v>Lyre's</c:v>
                </c:pt>
                <c:pt idx="2">
                  <c:v>All Others</c:v>
                </c:pt>
                <c:pt idx="3">
                  <c:v>All Others</c:v>
                </c:pt>
                <c:pt idx="4">
                  <c:v>All Others</c:v>
                </c:pt>
              </c:strCache>
            </c:strRef>
          </c:cat>
          <c:val>
            <c:numRef>
              <c:f>Sheet1!$B$2:$B$6</c:f>
              <c:numCache>
                <c:formatCode>General</c:formatCode>
                <c:ptCount val="5"/>
                <c:pt idx="0">
                  <c:v>0.78</c:v>
                </c:pt>
                <c:pt idx="1">
                  <c:v>0.82</c:v>
                </c:pt>
                <c:pt idx="2">
                  <c:v>0.43</c:v>
                </c:pt>
                <c:pt idx="3">
                  <c:v>0.18</c:v>
                </c:pt>
                <c:pt idx="4">
                  <c:v>0.33</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7ECAC4"/>
              </a:solidFill>
            </c:spPr>
            <c:extLst>
              <c:ext xmlns:c16="http://schemas.microsoft.com/office/drawing/2014/chart" uri="{C3380CC4-5D6E-409C-BE32-E72D297353CC}">
                <c16:uniqueId val="{0000000A-C76F-4230-900D-40618C09729F}"/>
              </c:ext>
            </c:extLst>
          </c:dPt>
          <c:dPt>
            <c:idx val="3"/>
            <c:invertIfNegative val="0"/>
            <c:bubble3D val="0"/>
            <c:spPr>
              <a:solidFill>
                <a:srgbClr val="AEABAB"/>
              </a:solidFill>
            </c:spPr>
            <c:extLst>
              <c:ext xmlns:c16="http://schemas.microsoft.com/office/drawing/2014/chart" uri="{C3380CC4-5D6E-409C-BE32-E72D297353CC}">
                <c16:uniqueId val="{0000000C-C76F-4230-900D-40618C09729F}"/>
              </c:ext>
            </c:extLst>
          </c:dPt>
          <c:dPt>
            <c:idx val="4"/>
            <c:invertIfNegative val="0"/>
            <c:bubble3D val="0"/>
            <c:spPr>
              <a:solidFill>
                <a:srgbClr val="AEABAB"/>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6</c:f>
              <c:strCache>
                <c:ptCount val="5"/>
                <c:pt idx="0">
                  <c:v>De Chanceny</c:v>
                </c:pt>
                <c:pt idx="1">
                  <c:v>Lyre's</c:v>
                </c:pt>
                <c:pt idx="2">
                  <c:v>All Others</c:v>
                </c:pt>
                <c:pt idx="3">
                  <c:v>All Others</c:v>
                </c:pt>
                <c:pt idx="4">
                  <c:v>All Others</c:v>
                </c:pt>
              </c:strCache>
            </c:strRef>
          </c:cat>
          <c:val>
            <c:numRef>
              <c:f>Sheet1!$C$2:$C$6</c:f>
              <c:numCache>
                <c:formatCode>General</c:formatCode>
                <c:ptCount val="5"/>
                <c:pt idx="0">
                  <c:v>0.48051482547982505</c:v>
                </c:pt>
                <c:pt idx="1">
                  <c:v>0.81042241472788823</c:v>
                </c:pt>
                <c:pt idx="2">
                  <c:v>0.88464017638766723</c:v>
                </c:pt>
                <c:pt idx="3">
                  <c:v>0.95776756346462</c:v>
                </c:pt>
                <c:pt idx="4">
                  <c:v>1</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6</c:f>
              <c:strCache>
                <c:ptCount val="5"/>
                <c:pt idx="0">
                  <c:v>De Chanceny</c:v>
                </c:pt>
                <c:pt idx="1">
                  <c:v>Lyre's</c:v>
                </c:pt>
                <c:pt idx="2">
                  <c:v>All Others</c:v>
                </c:pt>
                <c:pt idx="3">
                  <c:v>All Others</c:v>
                </c:pt>
                <c:pt idx="4">
                  <c:v>All Others</c:v>
                </c:pt>
              </c:strCache>
            </c:strRef>
          </c:cat>
          <c:val>
            <c:numRef>
              <c:f>Sheet1!$B$2:$B$6</c:f>
              <c:numCache>
                <c:formatCode>General</c:formatCode>
                <c:ptCount val="5"/>
                <c:pt idx="0">
                  <c:v>0.62</c:v>
                </c:pt>
                <c:pt idx="1">
                  <c:v>0.83</c:v>
                </c:pt>
                <c:pt idx="2">
                  <c:v>0.38</c:v>
                </c:pt>
                <c:pt idx="3">
                  <c:v>0.18</c:v>
                </c:pt>
                <c:pt idx="4">
                  <c:v>0.39</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7ECAC4"/>
              </a:solidFill>
            </c:spPr>
            <c:extLst>
              <c:ext xmlns:c16="http://schemas.microsoft.com/office/drawing/2014/chart" uri="{C3380CC4-5D6E-409C-BE32-E72D297353CC}">
                <c16:uniqueId val="{0000000C-C76F-4230-900D-40618C09729F}"/>
              </c:ext>
            </c:extLst>
          </c:dPt>
          <c:dPt>
            <c:idx val="4"/>
            <c:invertIfNegative val="0"/>
            <c:bubble3D val="0"/>
            <c:spPr>
              <a:solidFill>
                <a:srgbClr val="AEABAB"/>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6</c:f>
              <c:strCache>
                <c:ptCount val="5"/>
                <c:pt idx="0">
                  <c:v>De Chanceny</c:v>
                </c:pt>
                <c:pt idx="1">
                  <c:v>Lyre's</c:v>
                </c:pt>
                <c:pt idx="2">
                  <c:v>All Others</c:v>
                </c:pt>
                <c:pt idx="3">
                  <c:v>All Others</c:v>
                </c:pt>
                <c:pt idx="4">
                  <c:v>All Others</c:v>
                </c:pt>
              </c:strCache>
            </c:strRef>
          </c:cat>
          <c:val>
            <c:numRef>
              <c:f>Sheet1!$C$2:$C$6</c:f>
              <c:numCache>
                <c:formatCode>General</c:formatCode>
                <c:ptCount val="5"/>
                <c:pt idx="0">
                  <c:v>0.40468413425762739</c:v>
                </c:pt>
                <c:pt idx="1">
                  <c:v>0.77489523361923784</c:v>
                </c:pt>
                <c:pt idx="2">
                  <c:v>0.86613402263737127</c:v>
                </c:pt>
                <c:pt idx="3">
                  <c:v>0.93378764735832065</c:v>
                </c:pt>
                <c:pt idx="4">
                  <c:v>0.99967101398190583</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6</c:f>
              <c:strCache>
                <c:ptCount val="5"/>
                <c:pt idx="0">
                  <c:v>De Chanceny</c:v>
                </c:pt>
                <c:pt idx="1">
                  <c:v>Lyre's</c:v>
                </c:pt>
                <c:pt idx="2">
                  <c:v>All Others</c:v>
                </c:pt>
                <c:pt idx="3">
                  <c:v>All Others</c:v>
                </c:pt>
                <c:pt idx="4">
                  <c:v>All Others</c:v>
                </c:pt>
              </c:strCache>
            </c:strRef>
          </c:cat>
          <c:val>
            <c:numRef>
              <c:f>Sheet1!$B$2:$B$6</c:f>
              <c:numCache>
                <c:formatCode>General</c:formatCode>
                <c:ptCount val="5"/>
                <c:pt idx="0">
                  <c:v>0.71</c:v>
                </c:pt>
                <c:pt idx="1">
                  <c:v>0.74</c:v>
                </c:pt>
                <c:pt idx="2">
                  <c:v>0.46</c:v>
                </c:pt>
                <c:pt idx="3">
                  <c:v>0.47</c:v>
                </c:pt>
                <c:pt idx="4">
                  <c:v>0.32</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AEABAB"/>
              </a:solidFill>
            </c:spPr>
            <c:extLst>
              <c:ext xmlns:c16="http://schemas.microsoft.com/office/drawing/2014/chart" uri="{C3380CC4-5D6E-409C-BE32-E72D297353CC}">
                <c16:uniqueId val="{0000000C-C76F-4230-900D-40618C09729F}"/>
              </c:ext>
            </c:extLst>
          </c:dPt>
          <c:dPt>
            <c:idx val="4"/>
            <c:invertIfNegative val="0"/>
            <c:bubble3D val="0"/>
            <c:spPr>
              <a:solidFill>
                <a:srgbClr val="AEABAB"/>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6</c:f>
              <c:strCache>
                <c:ptCount val="5"/>
                <c:pt idx="0">
                  <c:v>De Chanceny</c:v>
                </c:pt>
                <c:pt idx="1">
                  <c:v>Lyre's</c:v>
                </c:pt>
                <c:pt idx="2">
                  <c:v>All Others</c:v>
                </c:pt>
                <c:pt idx="3">
                  <c:v>All Others</c:v>
                </c:pt>
                <c:pt idx="4">
                  <c:v>All Others</c:v>
                </c:pt>
              </c:strCache>
            </c:strRef>
          </c:cat>
          <c:val>
            <c:numRef>
              <c:f>Sheet1!$C$2:$C$6</c:f>
              <c:numCache>
                <c:formatCode>General</c:formatCode>
                <c:ptCount val="5"/>
                <c:pt idx="0">
                  <c:v>0.49918972450633214</c:v>
                </c:pt>
                <c:pt idx="1">
                  <c:v>0.78860812676309944</c:v>
                </c:pt>
                <c:pt idx="2">
                  <c:v>0.87995918612328194</c:v>
                </c:pt>
                <c:pt idx="3">
                  <c:v>0.95590000600204073</c:v>
                </c:pt>
                <c:pt idx="4">
                  <c:v>1</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6</c:f>
              <c:strCache>
                <c:ptCount val="5"/>
                <c:pt idx="0">
                  <c:v>De Chanceny</c:v>
                </c:pt>
                <c:pt idx="1">
                  <c:v>Lyre's</c:v>
                </c:pt>
                <c:pt idx="2">
                  <c:v>All Others</c:v>
                </c:pt>
                <c:pt idx="3">
                  <c:v>All Others</c:v>
                </c:pt>
                <c:pt idx="4">
                  <c:v>All Others</c:v>
                </c:pt>
              </c:strCache>
            </c:strRef>
          </c:cat>
          <c:val>
            <c:numRef>
              <c:f>Sheet1!$B$2:$B$6</c:f>
              <c:numCache>
                <c:formatCode>General</c:formatCode>
                <c:ptCount val="5"/>
                <c:pt idx="0">
                  <c:v>0.92</c:v>
                </c:pt>
                <c:pt idx="1">
                  <c:v>0.91</c:v>
                </c:pt>
                <c:pt idx="2">
                  <c:v>0.46</c:v>
                </c:pt>
                <c:pt idx="3">
                  <c:v>0.6</c:v>
                </c:pt>
                <c:pt idx="4">
                  <c:v>0.3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AEABAB"/>
              </a:solidFill>
            </c:spPr>
            <c:extLst>
              <c:ext xmlns:c16="http://schemas.microsoft.com/office/drawing/2014/chart" uri="{C3380CC4-5D6E-409C-BE32-E72D297353CC}">
                <c16:uniqueId val="{0000000C-C76F-4230-900D-40618C09729F}"/>
              </c:ext>
            </c:extLst>
          </c:dPt>
          <c:dPt>
            <c:idx val="4"/>
            <c:invertIfNegative val="0"/>
            <c:bubble3D val="0"/>
            <c:spPr>
              <a:solidFill>
                <a:srgbClr val="AEABAB"/>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6</c:f>
              <c:strCache>
                <c:ptCount val="5"/>
                <c:pt idx="0">
                  <c:v>De Chanceny</c:v>
                </c:pt>
                <c:pt idx="1">
                  <c:v>Lyre's</c:v>
                </c:pt>
                <c:pt idx="2">
                  <c:v>All Others</c:v>
                </c:pt>
                <c:pt idx="3">
                  <c:v>All Others</c:v>
                </c:pt>
                <c:pt idx="4">
                  <c:v>All Others</c:v>
                </c:pt>
              </c:strCache>
            </c:strRef>
          </c:cat>
          <c:val>
            <c:numRef>
              <c:f>Sheet1!$C$2:$C$6</c:f>
              <c:numCache>
                <c:formatCode>General</c:formatCode>
                <c:ptCount val="5"/>
                <c:pt idx="0">
                  <c:v>0.56477253666809546</c:v>
                </c:pt>
                <c:pt idx="1">
                  <c:v>0.77699088655720594</c:v>
                </c:pt>
                <c:pt idx="2">
                  <c:v>0.92789384423281207</c:v>
                </c:pt>
                <c:pt idx="3">
                  <c:v>0.97871666324990214</c:v>
                </c:pt>
                <c:pt idx="4">
                  <c:v>1</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6</c:f>
              <c:strCache>
                <c:ptCount val="5"/>
                <c:pt idx="0">
                  <c:v>De Chanceny</c:v>
                </c:pt>
                <c:pt idx="1">
                  <c:v>Lyre's</c:v>
                </c:pt>
                <c:pt idx="2">
                  <c:v>All Others</c:v>
                </c:pt>
                <c:pt idx="3">
                  <c:v>All Others</c:v>
                </c:pt>
                <c:pt idx="4">
                  <c:v>All Others</c:v>
                </c:pt>
              </c:strCache>
            </c:strRef>
          </c:cat>
          <c:val>
            <c:numRef>
              <c:f>Sheet1!$B$2:$B$6</c:f>
              <c:numCache>
                <c:formatCode>General</c:formatCode>
                <c:ptCount val="5"/>
                <c:pt idx="0">
                  <c:v>0.8</c:v>
                </c:pt>
                <c:pt idx="1">
                  <c:v>0.94</c:v>
                </c:pt>
                <c:pt idx="2">
                  <c:v>0.66</c:v>
                </c:pt>
                <c:pt idx="3">
                  <c:v>0.43</c:v>
                </c:pt>
                <c:pt idx="4">
                  <c:v>0.28000000000000003</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7ECAC4"/>
              </a:solidFill>
            </c:spPr>
            <c:extLst>
              <c:ext xmlns:c16="http://schemas.microsoft.com/office/drawing/2014/chart" uri="{C3380CC4-5D6E-409C-BE32-E72D297353CC}">
                <c16:uniqueId val="{0000000A-C76F-4230-900D-40618C09729F}"/>
              </c:ext>
            </c:extLst>
          </c:dPt>
          <c:dPt>
            <c:idx val="3"/>
            <c:invertIfNegative val="0"/>
            <c:bubble3D val="0"/>
            <c:spPr>
              <a:solidFill>
                <a:srgbClr val="AEABAB"/>
              </a:solidFill>
            </c:spPr>
            <c:extLst>
              <c:ext xmlns:c16="http://schemas.microsoft.com/office/drawing/2014/chart" uri="{C3380CC4-5D6E-409C-BE32-E72D297353CC}">
                <c16:uniqueId val="{0000000C-C76F-4230-900D-40618C09729F}"/>
              </c:ext>
            </c:extLst>
          </c:dPt>
          <c:dPt>
            <c:idx val="4"/>
            <c:invertIfNegative val="0"/>
            <c:bubble3D val="0"/>
            <c:spPr>
              <a:solidFill>
                <a:srgbClr val="AEABAB"/>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6</c:f>
              <c:strCache>
                <c:ptCount val="5"/>
                <c:pt idx="0">
                  <c:v>De Chanceny</c:v>
                </c:pt>
                <c:pt idx="1">
                  <c:v>Lyre's</c:v>
                </c:pt>
                <c:pt idx="2">
                  <c:v>All Others</c:v>
                </c:pt>
                <c:pt idx="3">
                  <c:v>All Others</c:v>
                </c:pt>
                <c:pt idx="4">
                  <c:v>All Others</c:v>
                </c:pt>
              </c:strCache>
            </c:strRef>
          </c:cat>
          <c:val>
            <c:numRef>
              <c:f>Sheet1!$C$2:$C$6</c:f>
              <c:numCache>
                <c:formatCode>General</c:formatCode>
                <c:ptCount val="5"/>
                <c:pt idx="0">
                  <c:v>0.5149395860001873</c:v>
                </c:pt>
                <c:pt idx="1">
                  <c:v>0.82565799743982016</c:v>
                </c:pt>
                <c:pt idx="2">
                  <c:v>0.90736520028723966</c:v>
                </c:pt>
                <c:pt idx="3">
                  <c:v>0.96609322801211395</c:v>
                </c:pt>
                <c:pt idx="4">
                  <c:v>0.99999999999999989</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6</c:f>
              <c:strCache>
                <c:ptCount val="5"/>
                <c:pt idx="0">
                  <c:v>De Chanceny</c:v>
                </c:pt>
                <c:pt idx="1">
                  <c:v>Lyre's</c:v>
                </c:pt>
                <c:pt idx="2">
                  <c:v>All Others</c:v>
                </c:pt>
                <c:pt idx="3">
                  <c:v>All Others</c:v>
                </c:pt>
                <c:pt idx="4">
                  <c:v>All Others</c:v>
                </c:pt>
              </c:strCache>
            </c:strRef>
          </c:cat>
          <c:val>
            <c:numRef>
              <c:f>Sheet1!$B$2:$B$6</c:f>
              <c:numCache>
                <c:formatCode>General</c:formatCode>
                <c:ptCount val="5"/>
                <c:pt idx="0">
                  <c:v>0.74</c:v>
                </c:pt>
                <c:pt idx="1">
                  <c:v>0.78</c:v>
                </c:pt>
                <c:pt idx="2">
                  <c:v>0.19</c:v>
                </c:pt>
                <c:pt idx="3">
                  <c:v>0.45</c:v>
                </c:pt>
                <c:pt idx="4">
                  <c:v>0.27</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AEABAB"/>
              </a:solidFill>
            </c:spPr>
            <c:extLst>
              <c:ext xmlns:c16="http://schemas.microsoft.com/office/drawing/2014/chart" uri="{C3380CC4-5D6E-409C-BE32-E72D297353CC}">
                <c16:uniqueId val="{0000000C-C76F-4230-900D-40618C09729F}"/>
              </c:ext>
            </c:extLst>
          </c:dPt>
          <c:dPt>
            <c:idx val="4"/>
            <c:invertIfNegative val="0"/>
            <c:bubble3D val="0"/>
            <c:spPr>
              <a:solidFill>
                <a:srgbClr val="AEABAB"/>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6</c:f>
              <c:strCache>
                <c:ptCount val="5"/>
                <c:pt idx="0">
                  <c:v>De Chanceny</c:v>
                </c:pt>
                <c:pt idx="1">
                  <c:v>Lyre's</c:v>
                </c:pt>
                <c:pt idx="2">
                  <c:v>All Others</c:v>
                </c:pt>
                <c:pt idx="3">
                  <c:v>All Others</c:v>
                </c:pt>
                <c:pt idx="4">
                  <c:v>All Others</c:v>
                </c:pt>
              </c:strCache>
            </c:strRef>
          </c:cat>
          <c:val>
            <c:numRef>
              <c:f>Sheet1!$C$2:$C$6</c:f>
              <c:numCache>
                <c:formatCode>General</c:formatCode>
                <c:ptCount val="5"/>
                <c:pt idx="0">
                  <c:v>0.48347679049821229</c:v>
                </c:pt>
                <c:pt idx="1">
                  <c:v>0.79780994387344528</c:v>
                </c:pt>
                <c:pt idx="2">
                  <c:v>0.88285135121369851</c:v>
                </c:pt>
                <c:pt idx="3">
                  <c:v>0.9555143576005134</c:v>
                </c:pt>
                <c:pt idx="4">
                  <c:v>1</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6</c:f>
              <c:strCache>
                <c:ptCount val="5"/>
                <c:pt idx="0">
                  <c:v>De Chanceny</c:v>
                </c:pt>
                <c:pt idx="1">
                  <c:v>Lyre's</c:v>
                </c:pt>
                <c:pt idx="2">
                  <c:v>All Others</c:v>
                </c:pt>
                <c:pt idx="3">
                  <c:v>All Others</c:v>
                </c:pt>
                <c:pt idx="4">
                  <c:v>All Others</c:v>
                </c:pt>
              </c:strCache>
            </c:strRef>
          </c:cat>
          <c:val>
            <c:numRef>
              <c:f>Sheet1!$B$2:$B$6</c:f>
              <c:numCache>
                <c:formatCode>General</c:formatCode>
                <c:ptCount val="5"/>
                <c:pt idx="0">
                  <c:v>0.68</c:v>
                </c:pt>
                <c:pt idx="1">
                  <c:v>0.86</c:v>
                </c:pt>
                <c:pt idx="2">
                  <c:v>0.47</c:v>
                </c:pt>
                <c:pt idx="3">
                  <c:v>0.37</c:v>
                </c:pt>
                <c:pt idx="4">
                  <c:v>0.33</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AEABAB"/>
              </a:solidFill>
            </c:spPr>
            <c:extLst>
              <c:ext xmlns:c16="http://schemas.microsoft.com/office/drawing/2014/chart" uri="{C3380CC4-5D6E-409C-BE32-E72D297353CC}">
                <c16:uniqueId val="{0000000C-C76F-4230-900D-40618C09729F}"/>
              </c:ext>
            </c:extLst>
          </c:dPt>
          <c:dPt>
            <c:idx val="4"/>
            <c:invertIfNegative val="0"/>
            <c:bubble3D val="0"/>
            <c:spPr>
              <a:solidFill>
                <a:srgbClr val="AEABAB"/>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6</c:f>
              <c:strCache>
                <c:ptCount val="5"/>
                <c:pt idx="0">
                  <c:v>De Chanceny</c:v>
                </c:pt>
                <c:pt idx="1">
                  <c:v>Lyre's</c:v>
                </c:pt>
                <c:pt idx="2">
                  <c:v>All Others</c:v>
                </c:pt>
                <c:pt idx="3">
                  <c:v>All Others</c:v>
                </c:pt>
                <c:pt idx="4">
                  <c:v>All Others</c:v>
                </c:pt>
              </c:strCache>
            </c:strRef>
          </c:cat>
          <c:val>
            <c:numRef>
              <c:f>Sheet1!$C$2:$C$6</c:f>
              <c:numCache>
                <c:formatCode>General</c:formatCode>
                <c:ptCount val="5"/>
                <c:pt idx="0">
                  <c:v>0.49743570546176019</c:v>
                </c:pt>
                <c:pt idx="1">
                  <c:v>0.79341519110545433</c:v>
                </c:pt>
                <c:pt idx="2">
                  <c:v>0.87498596189121403</c:v>
                </c:pt>
                <c:pt idx="3">
                  <c:v>0.95352450117920118</c:v>
                </c:pt>
                <c:pt idx="4">
                  <c:v>1</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6</c:f>
              <c:strCache>
                <c:ptCount val="5"/>
                <c:pt idx="0">
                  <c:v>De Chanceny</c:v>
                </c:pt>
                <c:pt idx="1">
                  <c:v>Lyre's</c:v>
                </c:pt>
                <c:pt idx="2">
                  <c:v>All Others</c:v>
                </c:pt>
                <c:pt idx="3">
                  <c:v>All Others</c:v>
                </c:pt>
                <c:pt idx="4">
                  <c:v>All Others</c:v>
                </c:pt>
              </c:strCache>
            </c:strRef>
          </c:cat>
          <c:val>
            <c:numRef>
              <c:f>Sheet1!$B$2:$B$6</c:f>
              <c:numCache>
                <c:formatCode>General</c:formatCode>
                <c:ptCount val="5"/>
                <c:pt idx="0">
                  <c:v>0.82</c:v>
                </c:pt>
                <c:pt idx="1">
                  <c:v>0.9</c:v>
                </c:pt>
                <c:pt idx="2">
                  <c:v>0.49</c:v>
                </c:pt>
                <c:pt idx="3">
                  <c:v>0.3</c:v>
                </c:pt>
                <c:pt idx="4">
                  <c:v>0.39</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7ECAC4"/>
              </a:solidFill>
            </c:spPr>
            <c:extLst>
              <c:ext xmlns:c16="http://schemas.microsoft.com/office/drawing/2014/chart" uri="{C3380CC4-5D6E-409C-BE32-E72D297353CC}">
                <c16:uniqueId val="{0000000C-C76F-4230-900D-40618C09729F}"/>
              </c:ext>
            </c:extLst>
          </c:dPt>
          <c:dPt>
            <c:idx val="4"/>
            <c:invertIfNegative val="0"/>
            <c:bubble3D val="0"/>
            <c:spPr>
              <a:solidFill>
                <a:srgbClr val="AEABAB"/>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6</c:f>
              <c:strCache>
                <c:ptCount val="5"/>
                <c:pt idx="0">
                  <c:v>De Chanceny</c:v>
                </c:pt>
                <c:pt idx="1">
                  <c:v>Lyre's</c:v>
                </c:pt>
                <c:pt idx="2">
                  <c:v>All Others</c:v>
                </c:pt>
                <c:pt idx="3">
                  <c:v>All Others</c:v>
                </c:pt>
                <c:pt idx="4">
                  <c:v>All Others</c:v>
                </c:pt>
              </c:strCache>
            </c:strRef>
          </c:cat>
          <c:val>
            <c:numRef>
              <c:f>Sheet1!$C$2:$C$6</c:f>
              <c:numCache>
                <c:formatCode>General</c:formatCode>
                <c:ptCount val="5"/>
                <c:pt idx="0">
                  <c:v>0.46924881431995513</c:v>
                </c:pt>
                <c:pt idx="1">
                  <c:v>0.75179764393900761</c:v>
                </c:pt>
                <c:pt idx="2">
                  <c:v>0.85720842470294256</c:v>
                </c:pt>
                <c:pt idx="3">
                  <c:v>0.94581569687388445</c:v>
                </c:pt>
                <c:pt idx="4">
                  <c:v>1</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8</c:f>
              <c:strCache>
                <c:ptCount val="7"/>
                <c:pt idx="0">
                  <c:v>De Chanceny</c:v>
                </c:pt>
                <c:pt idx="1">
                  <c:v>Lyre's</c:v>
                </c:pt>
                <c:pt idx="2">
                  <c:v>All Others</c:v>
                </c:pt>
                <c:pt idx="3">
                  <c:v>All Others</c:v>
                </c:pt>
                <c:pt idx="4">
                  <c:v>All Others</c:v>
                </c:pt>
                <c:pt idx="5">
                  <c:v>All Others</c:v>
                </c:pt>
                <c:pt idx="6">
                  <c:v>All Others</c:v>
                </c:pt>
              </c:strCache>
            </c:strRef>
          </c:cat>
          <c:val>
            <c:numRef>
              <c:f>Sheet1!$B$2:$B$8</c:f>
              <c:numCache>
                <c:formatCode>General</c:formatCode>
                <c:ptCount val="7"/>
                <c:pt idx="0">
                  <c:v>0.75</c:v>
                </c:pt>
                <c:pt idx="1">
                  <c:v>0.92</c:v>
                </c:pt>
                <c:pt idx="2">
                  <c:v>0.78</c:v>
                </c:pt>
                <c:pt idx="3">
                  <c:v>0.26</c:v>
                </c:pt>
                <c:pt idx="4">
                  <c:v>0.28000000000000003</c:v>
                </c:pt>
                <c:pt idx="5">
                  <c:v>0.25</c:v>
                </c:pt>
                <c:pt idx="6">
                  <c:v>0.25</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7ECAC4"/>
              </a:solidFill>
            </c:spPr>
            <c:extLst>
              <c:ext xmlns:c16="http://schemas.microsoft.com/office/drawing/2014/chart" uri="{C3380CC4-5D6E-409C-BE32-E72D297353CC}">
                <c16:uniqueId val="{0000000A-C76F-4230-900D-40618C09729F}"/>
              </c:ext>
            </c:extLst>
          </c:dPt>
          <c:dPt>
            <c:idx val="3"/>
            <c:invertIfNegative val="0"/>
            <c:bubble3D val="0"/>
            <c:spPr>
              <a:solidFill>
                <a:srgbClr val="7ECAC4"/>
              </a:solidFill>
            </c:spPr>
            <c:extLst>
              <c:ext xmlns:c16="http://schemas.microsoft.com/office/drawing/2014/chart" uri="{C3380CC4-5D6E-409C-BE32-E72D297353CC}">
                <c16:uniqueId val="{0000000C-C76F-4230-900D-40618C09729F}"/>
              </c:ext>
            </c:extLst>
          </c:dPt>
          <c:dPt>
            <c:idx val="4"/>
            <c:invertIfNegative val="0"/>
            <c:bubble3D val="0"/>
            <c:spPr>
              <a:solidFill>
                <a:srgbClr val="7ECAC4"/>
              </a:solidFill>
            </c:spPr>
            <c:extLst>
              <c:ext xmlns:c16="http://schemas.microsoft.com/office/drawing/2014/chart" uri="{C3380CC4-5D6E-409C-BE32-E72D297353CC}">
                <c16:uniqueId val="{0000000E-C76F-4230-900D-40618C09729F}"/>
              </c:ext>
            </c:extLst>
          </c:dPt>
          <c:dPt>
            <c:idx val="5"/>
            <c:invertIfNegative val="0"/>
            <c:bubble3D val="0"/>
            <c:spPr>
              <a:solidFill>
                <a:srgbClr val="AEABAB"/>
              </a:solidFill>
            </c:spPr>
            <c:extLst>
              <c:ext xmlns:c16="http://schemas.microsoft.com/office/drawing/2014/chart" uri="{C3380CC4-5D6E-409C-BE32-E72D297353CC}">
                <c16:uniqueId val="{00000010-C76F-4230-900D-40618C09729F}"/>
              </c:ext>
            </c:extLst>
          </c:dPt>
          <c:dPt>
            <c:idx val="6"/>
            <c:invertIfNegative val="1"/>
            <c:bubble3D val="0"/>
            <c:spPr>
              <a:solidFill>
                <a:srgbClr val="AEABAB"/>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8</c:f>
              <c:strCache>
                <c:ptCount val="7"/>
                <c:pt idx="0">
                  <c:v>De Chanceny</c:v>
                </c:pt>
                <c:pt idx="1">
                  <c:v>Lyre's</c:v>
                </c:pt>
                <c:pt idx="2">
                  <c:v>All Others</c:v>
                </c:pt>
                <c:pt idx="3">
                  <c:v>All Others</c:v>
                </c:pt>
                <c:pt idx="4">
                  <c:v>All Others</c:v>
                </c:pt>
                <c:pt idx="5">
                  <c:v>All Others</c:v>
                </c:pt>
                <c:pt idx="6">
                  <c:v>All Others</c:v>
                </c:pt>
              </c:strCache>
            </c:strRef>
          </c:cat>
          <c:val>
            <c:numRef>
              <c:f>Sheet1!$C$2:$C$8</c:f>
              <c:numCache>
                <c:formatCode>General</c:formatCode>
                <c:ptCount val="7"/>
                <c:pt idx="0">
                  <c:v>0.43679013490334245</c:v>
                </c:pt>
                <c:pt idx="1">
                  <c:v>0.8011218765935747</c:v>
                </c:pt>
                <c:pt idx="2">
                  <c:v>0.86036808678318111</c:v>
                </c:pt>
                <c:pt idx="3">
                  <c:v>0.89986556024291875</c:v>
                </c:pt>
                <c:pt idx="4">
                  <c:v>0.93634972880255896</c:v>
                </c:pt>
                <c:pt idx="5">
                  <c:v>0.96893978026053496</c:v>
                </c:pt>
                <c:pt idx="6">
                  <c:v>1</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6</c:f>
              <c:strCache>
                <c:ptCount val="5"/>
                <c:pt idx="0">
                  <c:v>De Chanceny</c:v>
                </c:pt>
                <c:pt idx="1">
                  <c:v>Lyre's</c:v>
                </c:pt>
                <c:pt idx="2">
                  <c:v>All Others</c:v>
                </c:pt>
                <c:pt idx="3">
                  <c:v>All Others</c:v>
                </c:pt>
                <c:pt idx="4">
                  <c:v>All Others</c:v>
                </c:pt>
              </c:strCache>
            </c:strRef>
          </c:cat>
          <c:val>
            <c:numRef>
              <c:f>Sheet1!$B$2:$B$6</c:f>
              <c:numCache>
                <c:formatCode>General</c:formatCode>
                <c:ptCount val="5"/>
                <c:pt idx="0">
                  <c:v>0.48</c:v>
                </c:pt>
                <c:pt idx="1">
                  <c:v>0.8</c:v>
                </c:pt>
                <c:pt idx="2">
                  <c:v>0.38</c:v>
                </c:pt>
                <c:pt idx="3">
                  <c:v>0.52</c:v>
                </c:pt>
                <c:pt idx="4">
                  <c:v>0.45</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7ECAC4"/>
              </a:solidFill>
            </c:spPr>
            <c:extLst>
              <c:ext xmlns:c16="http://schemas.microsoft.com/office/drawing/2014/chart" uri="{C3380CC4-5D6E-409C-BE32-E72D297353CC}">
                <c16:uniqueId val="{0000000C-C76F-4230-900D-40618C09729F}"/>
              </c:ext>
            </c:extLst>
          </c:dPt>
          <c:dPt>
            <c:idx val="4"/>
            <c:invertIfNegative val="0"/>
            <c:bubble3D val="0"/>
            <c:spPr>
              <a:solidFill>
                <a:srgbClr val="AEABAB"/>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6</c:f>
              <c:strCache>
                <c:ptCount val="5"/>
                <c:pt idx="0">
                  <c:v>De Chanceny</c:v>
                </c:pt>
                <c:pt idx="1">
                  <c:v>Lyre's</c:v>
                </c:pt>
                <c:pt idx="2">
                  <c:v>All Others</c:v>
                </c:pt>
                <c:pt idx="3">
                  <c:v>All Others</c:v>
                </c:pt>
                <c:pt idx="4">
                  <c:v>All Others</c:v>
                </c:pt>
              </c:strCache>
            </c:strRef>
          </c:cat>
          <c:val>
            <c:numRef>
              <c:f>Sheet1!$C$2:$C$6</c:f>
              <c:numCache>
                <c:formatCode>General</c:formatCode>
                <c:ptCount val="5"/>
                <c:pt idx="0">
                  <c:v>0.40612391930835734</c:v>
                </c:pt>
                <c:pt idx="1">
                  <c:v>0.74589337175792503</c:v>
                </c:pt>
                <c:pt idx="2">
                  <c:v>0.83984149855907775</c:v>
                </c:pt>
                <c:pt idx="3">
                  <c:v>0.92204610951008636</c:v>
                </c:pt>
                <c:pt idx="4">
                  <c:v>0.99999999999999989</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Nicolas</c:v>
                </c:pt>
                <c:pt idx="2">
                  <c:v>Deutz</c:v>
                </c:pt>
                <c:pt idx="3">
                  <c:v>Malard</c:v>
                </c:pt>
                <c:pt idx="4">
                  <c:v>Laurent Perrier</c:v>
                </c:pt>
                <c:pt idx="5">
                  <c:v>Nicolas Feuillatte</c:v>
                </c:pt>
                <c:pt idx="6">
                  <c:v>De Bligny</c:v>
                </c:pt>
                <c:pt idx="7">
                  <c:v>Canard Duchêne</c:v>
                </c:pt>
                <c:pt idx="8">
                  <c:v>Heidsieck &amp; Co Monopole</c:v>
                </c:pt>
                <c:pt idx="9">
                  <c:v>Others</c:v>
                </c:pt>
              </c:strCache>
            </c:strRef>
          </c:cat>
          <c:val>
            <c:numRef>
              <c:f>Sheet1!$B$2:$B$11</c:f>
              <c:numCache>
                <c:formatCode>General</c:formatCode>
                <c:ptCount val="10"/>
                <c:pt idx="0">
                  <c:v>0.24106904642055263</c:v>
                </c:pt>
                <c:pt idx="1">
                  <c:v>9.4720304988055337E-2</c:v>
                </c:pt>
                <c:pt idx="2">
                  <c:v>6.5726980920894254E-2</c:v>
                </c:pt>
                <c:pt idx="3">
                  <c:v>5.0401576648579118E-2</c:v>
                </c:pt>
                <c:pt idx="4">
                  <c:v>3.833181014596608E-2</c:v>
                </c:pt>
                <c:pt idx="5">
                  <c:v>3.2347695597224453E-2</c:v>
                </c:pt>
                <c:pt idx="6">
                  <c:v>3.200830303186903E-2</c:v>
                </c:pt>
                <c:pt idx="7">
                  <c:v>3.1331260707365638E-2</c:v>
                </c:pt>
                <c:pt idx="8">
                  <c:v>2.7966583888423425E-2</c:v>
                </c:pt>
                <c:pt idx="9">
                  <c:v>0.38609643765106999</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Nicolas</c:v>
                </c:pt>
                <c:pt idx="2">
                  <c:v>Deutz</c:v>
                </c:pt>
                <c:pt idx="3">
                  <c:v>Malard</c:v>
                </c:pt>
                <c:pt idx="4">
                  <c:v>Laurent Perrier</c:v>
                </c:pt>
                <c:pt idx="5">
                  <c:v>Nicolas Feuillatte</c:v>
                </c:pt>
                <c:pt idx="6">
                  <c:v>De Bligny</c:v>
                </c:pt>
                <c:pt idx="7">
                  <c:v>Canard Duchêne</c:v>
                </c:pt>
                <c:pt idx="8">
                  <c:v>Heidsieck &amp; Co Monopole</c:v>
                </c:pt>
                <c:pt idx="9">
                  <c:v>Others</c:v>
                </c:pt>
              </c:strCache>
            </c:strRef>
          </c:cat>
          <c:val>
            <c:numRef>
              <c:f>Sheet1!$C$2:$C$11</c:f>
              <c:numCache>
                <c:formatCode>General</c:formatCode>
                <c:ptCount val="10"/>
                <c:pt idx="0">
                  <c:v>9.4755104764446665E-2</c:v>
                </c:pt>
                <c:pt idx="1">
                  <c:v>7.8606699586280457E-2</c:v>
                </c:pt>
                <c:pt idx="2">
                  <c:v>4.8178299746429926E-2</c:v>
                </c:pt>
                <c:pt idx="3">
                  <c:v>4.6042973441879027E-2</c:v>
                </c:pt>
                <c:pt idx="4">
                  <c:v>3.7101294541572079E-2</c:v>
                </c:pt>
                <c:pt idx="5">
                  <c:v>3.3231015614573561E-2</c:v>
                </c:pt>
                <c:pt idx="6">
                  <c:v>2.1086347257440251E-2</c:v>
                </c:pt>
                <c:pt idx="7">
                  <c:v>3.6567462965434352E-2</c:v>
                </c:pt>
                <c:pt idx="8">
                  <c:v>1.1877752569064445E-2</c:v>
                </c:pt>
                <c:pt idx="9">
                  <c:v>0.59255304951287779</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Nicolas</c:v>
                </c:pt>
                <c:pt idx="2">
                  <c:v>Deutz</c:v>
                </c:pt>
                <c:pt idx="3">
                  <c:v>Malard</c:v>
                </c:pt>
                <c:pt idx="4">
                  <c:v>Laurent Perrier</c:v>
                </c:pt>
                <c:pt idx="5">
                  <c:v>Nicolas Feuillatte</c:v>
                </c:pt>
                <c:pt idx="6">
                  <c:v>De Bligny</c:v>
                </c:pt>
                <c:pt idx="7">
                  <c:v>Canard Duchêne</c:v>
                </c:pt>
                <c:pt idx="8">
                  <c:v>Heidsieck &amp; Co Monopole</c:v>
                </c:pt>
                <c:pt idx="9">
                  <c:v>Others</c:v>
                </c:pt>
              </c:strCache>
            </c:strRef>
          </c:cat>
          <c:val>
            <c:numRef>
              <c:f>Sheet1!$D$2:$D$11</c:f>
              <c:numCache>
                <c:formatCode>General</c:formatCode>
                <c:ptCount val="10"/>
                <c:pt idx="0">
                  <c:v>39.306209640512442</c:v>
                </c:pt>
                <c:pt idx="1">
                  <c:v>82.988224748846733</c:v>
                </c:pt>
                <c:pt idx="2">
                  <c:v>73.300643162683741</c:v>
                </c:pt>
                <c:pt idx="3">
                  <c:v>91.352248289592026</c:v>
                </c:pt>
                <c:pt idx="4">
                  <c:v>96.789831735813564</c:v>
                </c:pt>
                <c:pt idx="5">
                  <c:v>102.73070461756448</c:v>
                </c:pt>
                <c:pt idx="6">
                  <c:v>65.877741898549431</c:v>
                </c:pt>
                <c:pt idx="7">
                  <c:v>116.71238928741141</c:v>
                </c:pt>
                <c:pt idx="8">
                  <c:v>42.471231439822574</c:v>
                </c:pt>
                <c:pt idx="9">
                  <c:v>153.47280931102256</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6</c:f>
              <c:strCache>
                <c:ptCount val="5"/>
                <c:pt idx="0">
                  <c:v>De Chanceny</c:v>
                </c:pt>
                <c:pt idx="1">
                  <c:v>Lyre's</c:v>
                </c:pt>
                <c:pt idx="2">
                  <c:v>All Others</c:v>
                </c:pt>
                <c:pt idx="3">
                  <c:v>All Others</c:v>
                </c:pt>
                <c:pt idx="4">
                  <c:v>All Others</c:v>
                </c:pt>
              </c:strCache>
            </c:strRef>
          </c:cat>
          <c:val>
            <c:numRef>
              <c:f>Sheet1!$B$2:$B$6</c:f>
              <c:numCache>
                <c:formatCode>General</c:formatCode>
                <c:ptCount val="5"/>
                <c:pt idx="0">
                  <c:v>0.94</c:v>
                </c:pt>
                <c:pt idx="1">
                  <c:v>0.91</c:v>
                </c:pt>
                <c:pt idx="2">
                  <c:v>0.34</c:v>
                </c:pt>
                <c:pt idx="3">
                  <c:v>0.64</c:v>
                </c:pt>
                <c:pt idx="4">
                  <c:v>0.48</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AEABAB"/>
              </a:solidFill>
            </c:spPr>
            <c:extLst>
              <c:ext xmlns:c16="http://schemas.microsoft.com/office/drawing/2014/chart" uri="{C3380CC4-5D6E-409C-BE32-E72D297353CC}">
                <c16:uniqueId val="{0000000C-C76F-4230-900D-40618C09729F}"/>
              </c:ext>
            </c:extLst>
          </c:dPt>
          <c:dPt>
            <c:idx val="4"/>
            <c:invertIfNegative val="0"/>
            <c:bubble3D val="0"/>
            <c:spPr>
              <a:solidFill>
                <a:srgbClr val="AEABAB"/>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6</c:f>
              <c:strCache>
                <c:ptCount val="5"/>
                <c:pt idx="0">
                  <c:v>De Chanceny</c:v>
                </c:pt>
                <c:pt idx="1">
                  <c:v>Lyre's</c:v>
                </c:pt>
                <c:pt idx="2">
                  <c:v>All Others</c:v>
                </c:pt>
                <c:pt idx="3">
                  <c:v>All Others</c:v>
                </c:pt>
                <c:pt idx="4">
                  <c:v>All Others</c:v>
                </c:pt>
              </c:strCache>
            </c:strRef>
          </c:cat>
          <c:val>
            <c:numRef>
              <c:f>Sheet1!$C$2:$C$6</c:f>
              <c:numCache>
                <c:formatCode>General</c:formatCode>
                <c:ptCount val="5"/>
                <c:pt idx="0">
                  <c:v>0.50925447868060358</c:v>
                </c:pt>
                <c:pt idx="1">
                  <c:v>0.78204241473702663</c:v>
                </c:pt>
                <c:pt idx="2">
                  <c:v>0.88715868021392452</c:v>
                </c:pt>
                <c:pt idx="3">
                  <c:v>0.95050315139352959</c:v>
                </c:pt>
                <c:pt idx="4">
                  <c:v>0.99999999999999989</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6</c:f>
              <c:strCache>
                <c:ptCount val="5"/>
                <c:pt idx="0">
                  <c:v>De Chanceny</c:v>
                </c:pt>
                <c:pt idx="1">
                  <c:v>Lyre's</c:v>
                </c:pt>
                <c:pt idx="2">
                  <c:v>All Others</c:v>
                </c:pt>
                <c:pt idx="3">
                  <c:v>All Others</c:v>
                </c:pt>
                <c:pt idx="4">
                  <c:v>All Others</c:v>
                </c:pt>
              </c:strCache>
            </c:strRef>
          </c:cat>
          <c:val>
            <c:numRef>
              <c:f>Sheet1!$B$2:$B$6</c:f>
              <c:numCache>
                <c:formatCode>General</c:formatCode>
                <c:ptCount val="5"/>
                <c:pt idx="0">
                  <c:v>0.7</c:v>
                </c:pt>
                <c:pt idx="1">
                  <c:v>0.9</c:v>
                </c:pt>
                <c:pt idx="2">
                  <c:v>0.25</c:v>
                </c:pt>
                <c:pt idx="3">
                  <c:v>0.41</c:v>
                </c:pt>
                <c:pt idx="4">
                  <c:v>0.35</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AEABAB"/>
              </a:solidFill>
            </c:spPr>
            <c:extLst>
              <c:ext xmlns:c16="http://schemas.microsoft.com/office/drawing/2014/chart" uri="{C3380CC4-5D6E-409C-BE32-E72D297353CC}">
                <c16:uniqueId val="{0000000C-C76F-4230-900D-40618C09729F}"/>
              </c:ext>
            </c:extLst>
          </c:dPt>
          <c:dPt>
            <c:idx val="4"/>
            <c:invertIfNegative val="0"/>
            <c:bubble3D val="0"/>
            <c:spPr>
              <a:solidFill>
                <a:srgbClr val="AEABAB"/>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6</c:f>
              <c:strCache>
                <c:ptCount val="5"/>
                <c:pt idx="0">
                  <c:v>De Chanceny</c:v>
                </c:pt>
                <c:pt idx="1">
                  <c:v>Lyre's</c:v>
                </c:pt>
                <c:pt idx="2">
                  <c:v>All Others</c:v>
                </c:pt>
                <c:pt idx="3">
                  <c:v>All Others</c:v>
                </c:pt>
                <c:pt idx="4">
                  <c:v>All Others</c:v>
                </c:pt>
              </c:strCache>
            </c:strRef>
          </c:cat>
          <c:val>
            <c:numRef>
              <c:f>Sheet1!$C$2:$C$6</c:f>
              <c:numCache>
                <c:formatCode>General</c:formatCode>
                <c:ptCount val="5"/>
                <c:pt idx="0">
                  <c:v>0.45973528942752351</c:v>
                </c:pt>
                <c:pt idx="1">
                  <c:v>0.79455031095519058</c:v>
                </c:pt>
                <c:pt idx="2">
                  <c:v>0.88388016265348435</c:v>
                </c:pt>
                <c:pt idx="3">
                  <c:v>0.9515129166002233</c:v>
                </c:pt>
                <c:pt idx="4">
                  <c:v>1</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8</c:f>
              <c:strCache>
                <c:ptCount val="7"/>
                <c:pt idx="0">
                  <c:v>De Chanceny</c:v>
                </c:pt>
                <c:pt idx="1">
                  <c:v>Lyre's</c:v>
                </c:pt>
                <c:pt idx="2">
                  <c:v>All Others</c:v>
                </c:pt>
                <c:pt idx="3">
                  <c:v>All Others</c:v>
                </c:pt>
                <c:pt idx="4">
                  <c:v>All Others</c:v>
                </c:pt>
                <c:pt idx="5">
                  <c:v>All Others</c:v>
                </c:pt>
                <c:pt idx="6">
                  <c:v>All Others</c:v>
                </c:pt>
              </c:strCache>
            </c:strRef>
          </c:cat>
          <c:val>
            <c:numRef>
              <c:f>Sheet1!$B$2:$B$8</c:f>
              <c:numCache>
                <c:formatCode>General</c:formatCode>
                <c:ptCount val="7"/>
                <c:pt idx="0">
                  <c:v>0.73</c:v>
                </c:pt>
                <c:pt idx="1">
                  <c:v>0.83</c:v>
                </c:pt>
                <c:pt idx="2">
                  <c:v>0.17</c:v>
                </c:pt>
                <c:pt idx="3">
                  <c:v>0.39</c:v>
                </c:pt>
                <c:pt idx="4">
                  <c:v>0.19</c:v>
                </c:pt>
                <c:pt idx="5">
                  <c:v>0.04</c:v>
                </c:pt>
                <c:pt idx="6">
                  <c:v>0.04</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7ECAC4"/>
              </a:solidFill>
            </c:spPr>
            <c:extLst>
              <c:ext xmlns:c16="http://schemas.microsoft.com/office/drawing/2014/chart" uri="{C3380CC4-5D6E-409C-BE32-E72D297353CC}">
                <c16:uniqueId val="{0000000C-C76F-4230-900D-40618C09729F}"/>
              </c:ext>
            </c:extLst>
          </c:dPt>
          <c:dPt>
            <c:idx val="4"/>
            <c:invertIfNegative val="0"/>
            <c:bubble3D val="0"/>
            <c:spPr>
              <a:solidFill>
                <a:srgbClr val="AEABAB"/>
              </a:solidFill>
            </c:spPr>
            <c:extLst>
              <c:ext xmlns:c16="http://schemas.microsoft.com/office/drawing/2014/chart" uri="{C3380CC4-5D6E-409C-BE32-E72D297353CC}">
                <c16:uniqueId val="{0000000E-C76F-4230-900D-40618C09729F}"/>
              </c:ext>
            </c:extLst>
          </c:dPt>
          <c:dPt>
            <c:idx val="5"/>
            <c:invertIfNegative val="0"/>
            <c:bubble3D val="0"/>
            <c:spPr>
              <a:solidFill>
                <a:srgbClr val="AEABAB"/>
              </a:solidFill>
            </c:spPr>
            <c:extLst>
              <c:ext xmlns:c16="http://schemas.microsoft.com/office/drawing/2014/chart" uri="{C3380CC4-5D6E-409C-BE32-E72D297353CC}">
                <c16:uniqueId val="{00000010-C76F-4230-900D-40618C09729F}"/>
              </c:ext>
            </c:extLst>
          </c:dPt>
          <c:dPt>
            <c:idx val="6"/>
            <c:invertIfNegative val="1"/>
            <c:bubble3D val="0"/>
            <c:spPr>
              <a:solidFill>
                <a:srgbClr val="AEABAB"/>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8</c:f>
              <c:strCache>
                <c:ptCount val="7"/>
                <c:pt idx="0">
                  <c:v>De Chanceny</c:v>
                </c:pt>
                <c:pt idx="1">
                  <c:v>Lyre's</c:v>
                </c:pt>
                <c:pt idx="2">
                  <c:v>All Others</c:v>
                </c:pt>
                <c:pt idx="3">
                  <c:v>All Others</c:v>
                </c:pt>
                <c:pt idx="4">
                  <c:v>All Others</c:v>
                </c:pt>
                <c:pt idx="5">
                  <c:v>All Others</c:v>
                </c:pt>
                <c:pt idx="6">
                  <c:v>All Others</c:v>
                </c:pt>
              </c:strCache>
            </c:strRef>
          </c:cat>
          <c:val>
            <c:numRef>
              <c:f>Sheet1!$C$2:$C$8</c:f>
              <c:numCache>
                <c:formatCode>General</c:formatCode>
                <c:ptCount val="7"/>
                <c:pt idx="0">
                  <c:v>0.47113411204297262</c:v>
                </c:pt>
                <c:pt idx="1">
                  <c:v>0.77495122507411263</c:v>
                </c:pt>
                <c:pt idx="2">
                  <c:v>0.86715483821927186</c:v>
                </c:pt>
                <c:pt idx="3">
                  <c:v>0.94863430207515143</c:v>
                </c:pt>
                <c:pt idx="4">
                  <c:v>0.99130286061773132</c:v>
                </c:pt>
                <c:pt idx="5">
                  <c:v>0.99575594800719591</c:v>
                </c:pt>
                <c:pt idx="6">
                  <c:v>1</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6</c:f>
              <c:strCache>
                <c:ptCount val="5"/>
                <c:pt idx="0">
                  <c:v>De Chanceny</c:v>
                </c:pt>
                <c:pt idx="1">
                  <c:v>Lyre's</c:v>
                </c:pt>
                <c:pt idx="2">
                  <c:v>All Others</c:v>
                </c:pt>
                <c:pt idx="3">
                  <c:v>All Others</c:v>
                </c:pt>
                <c:pt idx="4">
                  <c:v>All Others</c:v>
                </c:pt>
              </c:strCache>
            </c:strRef>
          </c:cat>
          <c:val>
            <c:numRef>
              <c:f>Sheet1!$B$2:$B$6</c:f>
              <c:numCache>
                <c:formatCode>General</c:formatCode>
                <c:ptCount val="5"/>
                <c:pt idx="0">
                  <c:v>0.66</c:v>
                </c:pt>
                <c:pt idx="1">
                  <c:v>0.73</c:v>
                </c:pt>
                <c:pt idx="2">
                  <c:v>0.3</c:v>
                </c:pt>
                <c:pt idx="3">
                  <c:v>0.12</c:v>
                </c:pt>
                <c:pt idx="4">
                  <c:v>0.19</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7ECAC4"/>
              </a:solidFill>
            </c:spPr>
            <c:extLst>
              <c:ext xmlns:c16="http://schemas.microsoft.com/office/drawing/2014/chart" uri="{C3380CC4-5D6E-409C-BE32-E72D297353CC}">
                <c16:uniqueId val="{0000000A-C76F-4230-900D-40618C09729F}"/>
              </c:ext>
            </c:extLst>
          </c:dPt>
          <c:dPt>
            <c:idx val="3"/>
            <c:invertIfNegative val="0"/>
            <c:bubble3D val="0"/>
            <c:spPr>
              <a:solidFill>
                <a:srgbClr val="AEABAB"/>
              </a:solidFill>
            </c:spPr>
            <c:extLst>
              <c:ext xmlns:c16="http://schemas.microsoft.com/office/drawing/2014/chart" uri="{C3380CC4-5D6E-409C-BE32-E72D297353CC}">
                <c16:uniqueId val="{0000000C-C76F-4230-900D-40618C09729F}"/>
              </c:ext>
            </c:extLst>
          </c:dPt>
          <c:dPt>
            <c:idx val="4"/>
            <c:invertIfNegative val="0"/>
            <c:bubble3D val="0"/>
            <c:spPr>
              <a:solidFill>
                <a:srgbClr val="AEABAB"/>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6</c:f>
              <c:strCache>
                <c:ptCount val="5"/>
                <c:pt idx="0">
                  <c:v>De Chanceny</c:v>
                </c:pt>
                <c:pt idx="1">
                  <c:v>Lyre's</c:v>
                </c:pt>
                <c:pt idx="2">
                  <c:v>All Others</c:v>
                </c:pt>
                <c:pt idx="3">
                  <c:v>All Others</c:v>
                </c:pt>
                <c:pt idx="4">
                  <c:v>All Others</c:v>
                </c:pt>
              </c:strCache>
            </c:strRef>
          </c:cat>
          <c:val>
            <c:numRef>
              <c:f>Sheet1!$C$2:$C$6</c:f>
              <c:numCache>
                <c:formatCode>General</c:formatCode>
                <c:ptCount val="5"/>
                <c:pt idx="0">
                  <c:v>0.44963406064137945</c:v>
                </c:pt>
                <c:pt idx="1">
                  <c:v>0.82097252455307412</c:v>
                </c:pt>
                <c:pt idx="2">
                  <c:v>0.90180484376874692</c:v>
                </c:pt>
                <c:pt idx="3">
                  <c:v>0.95106525204394698</c:v>
                </c:pt>
                <c:pt idx="4">
                  <c:v>1</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7</c:f>
              <c:strCache>
                <c:ptCount val="6"/>
                <c:pt idx="0">
                  <c:v>De Chanceny</c:v>
                </c:pt>
                <c:pt idx="1">
                  <c:v>Lyre's</c:v>
                </c:pt>
                <c:pt idx="2">
                  <c:v>All Others</c:v>
                </c:pt>
                <c:pt idx="3">
                  <c:v>All Others</c:v>
                </c:pt>
                <c:pt idx="4">
                  <c:v>All Others</c:v>
                </c:pt>
                <c:pt idx="5">
                  <c:v>All Others</c:v>
                </c:pt>
              </c:strCache>
            </c:strRef>
          </c:cat>
          <c:val>
            <c:numRef>
              <c:f>Sheet1!$B$2:$B$7</c:f>
              <c:numCache>
                <c:formatCode>General</c:formatCode>
                <c:ptCount val="6"/>
                <c:pt idx="0">
                  <c:v>0.46</c:v>
                </c:pt>
                <c:pt idx="1">
                  <c:v>0.66</c:v>
                </c:pt>
                <c:pt idx="2">
                  <c:v>0.31</c:v>
                </c:pt>
                <c:pt idx="3">
                  <c:v>0.11</c:v>
                </c:pt>
                <c:pt idx="4">
                  <c:v>0.12</c:v>
                </c:pt>
                <c:pt idx="5">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7ECAC4"/>
              </a:solidFill>
            </c:spPr>
            <c:extLst>
              <c:ext xmlns:c16="http://schemas.microsoft.com/office/drawing/2014/chart" uri="{C3380CC4-5D6E-409C-BE32-E72D297353CC}">
                <c16:uniqueId val="{0000000A-C76F-4230-900D-40618C09729F}"/>
              </c:ext>
            </c:extLst>
          </c:dPt>
          <c:dPt>
            <c:idx val="3"/>
            <c:invertIfNegative val="0"/>
            <c:bubble3D val="0"/>
            <c:spPr>
              <a:solidFill>
                <a:srgbClr val="AEABAB"/>
              </a:solidFill>
            </c:spPr>
            <c:extLst>
              <c:ext xmlns:c16="http://schemas.microsoft.com/office/drawing/2014/chart" uri="{C3380CC4-5D6E-409C-BE32-E72D297353CC}">
                <c16:uniqueId val="{0000000C-C76F-4230-900D-40618C09729F}"/>
              </c:ext>
            </c:extLst>
          </c:dPt>
          <c:dPt>
            <c:idx val="4"/>
            <c:invertIfNegative val="0"/>
            <c:bubble3D val="0"/>
            <c:spPr>
              <a:solidFill>
                <a:srgbClr val="AEABAB"/>
              </a:solidFill>
            </c:spPr>
            <c:extLst>
              <c:ext xmlns:c16="http://schemas.microsoft.com/office/drawing/2014/chart" uri="{C3380CC4-5D6E-409C-BE32-E72D297353CC}">
                <c16:uniqueId val="{0000000E-C76F-4230-900D-40618C09729F}"/>
              </c:ext>
            </c:extLst>
          </c:dPt>
          <c:dPt>
            <c:idx val="5"/>
            <c:invertIfNegative val="0"/>
            <c:bubble3D val="0"/>
            <c:spPr>
              <a:solidFill>
                <a:srgbClr val="AEABAB"/>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7</c:f>
              <c:strCache>
                <c:ptCount val="6"/>
                <c:pt idx="0">
                  <c:v>De Chanceny</c:v>
                </c:pt>
                <c:pt idx="1">
                  <c:v>Lyre's</c:v>
                </c:pt>
                <c:pt idx="2">
                  <c:v>All Others</c:v>
                </c:pt>
                <c:pt idx="3">
                  <c:v>All Others</c:v>
                </c:pt>
                <c:pt idx="4">
                  <c:v>All Others</c:v>
                </c:pt>
                <c:pt idx="5">
                  <c:v>All Others</c:v>
                </c:pt>
              </c:strCache>
            </c:strRef>
          </c:cat>
          <c:val>
            <c:numRef>
              <c:f>Sheet1!$C$2:$C$7</c:f>
              <c:numCache>
                <c:formatCode>General</c:formatCode>
                <c:ptCount val="6"/>
                <c:pt idx="0">
                  <c:v>0.44325561745315922</c:v>
                </c:pt>
                <c:pt idx="1">
                  <c:v>0.82154822609327871</c:v>
                </c:pt>
                <c:pt idx="2">
                  <c:v>0.92621412640866174</c:v>
                </c:pt>
                <c:pt idx="3">
                  <c:v>0.96503276642988378</c:v>
                </c:pt>
                <c:pt idx="4">
                  <c:v>0.9995873493088101</c:v>
                </c:pt>
                <c:pt idx="5">
                  <c:v>0.99990174983543101</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69</c:f>
              <c:strCache>
                <c:ptCount val="68"/>
                <c:pt idx="0">
                  <c:v>Ruinart</c:v>
                </c:pt>
                <c:pt idx="1">
                  <c:v>Ruinart</c:v>
                </c:pt>
                <c:pt idx="2">
                  <c:v>Ruinart</c:v>
                </c:pt>
                <c:pt idx="3">
                  <c:v>Malard</c:v>
                </c:pt>
                <c:pt idx="4">
                  <c:v>Nicolas</c:v>
                </c:pt>
                <c:pt idx="5">
                  <c:v>Besserat De</c:v>
                </c:pt>
                <c:pt idx="6">
                  <c:v>Ruinart</c:v>
                </c:pt>
                <c:pt idx="7">
                  <c:v>De Bligny</c:v>
                </c:pt>
                <c:pt idx="8">
                  <c:v>Delamotte</c:v>
                </c:pt>
                <c:pt idx="9">
                  <c:v>Henriot</c:v>
                </c:pt>
                <c:pt idx="10">
                  <c:v>Ayala</c:v>
                </c:pt>
                <c:pt idx="11">
                  <c:v>De Venoge</c:v>
                </c:pt>
                <c:pt idx="12">
                  <c:v>Perrier Jou</c:v>
                </c:pt>
                <c:pt idx="13">
                  <c:v>Henriot</c:v>
                </c:pt>
                <c:pt idx="14">
                  <c:v>Deutz</c:v>
                </c:pt>
                <c:pt idx="15">
                  <c:v>Ruinart</c:v>
                </c:pt>
                <c:pt idx="16">
                  <c:v>All Others</c:v>
                </c:pt>
                <c:pt idx="17">
                  <c:v>Nicolas</c:v>
                </c:pt>
                <c:pt idx="18">
                  <c:v>Nicolas</c:v>
                </c:pt>
                <c:pt idx="19">
                  <c:v>Taittinger</c:v>
                </c:pt>
                <c:pt idx="20">
                  <c:v>Laurent Per</c:v>
                </c:pt>
                <c:pt idx="21">
                  <c:v>Lanson</c:v>
                </c:pt>
                <c:pt idx="22">
                  <c:v>Vesselle</c:v>
                </c:pt>
                <c:pt idx="23">
                  <c:v>Taittinger</c:v>
                </c:pt>
                <c:pt idx="24">
                  <c:v>All Others</c:v>
                </c:pt>
                <c:pt idx="25">
                  <c:v>Delamotte</c:v>
                </c:pt>
                <c:pt idx="26">
                  <c:v>Deutz</c:v>
                </c:pt>
                <c:pt idx="27">
                  <c:v>Laurent Per</c:v>
                </c:pt>
                <c:pt idx="28">
                  <c:v>Nicolas</c:v>
                </c:pt>
                <c:pt idx="29">
                  <c:v>Ayala</c:v>
                </c:pt>
                <c:pt idx="30">
                  <c:v>All Others</c:v>
                </c:pt>
                <c:pt idx="31">
                  <c:v>Besserat De</c:v>
                </c:pt>
                <c:pt idx="32">
                  <c:v>Taittinger</c:v>
                </c:pt>
                <c:pt idx="33">
                  <c:v>De Venoge</c:v>
                </c:pt>
                <c:pt idx="34">
                  <c:v>Ruinart</c:v>
                </c:pt>
                <c:pt idx="35">
                  <c:v>Nicolas</c:v>
                </c:pt>
                <c:pt idx="36">
                  <c:v>All Others</c:v>
                </c:pt>
                <c:pt idx="37">
                  <c:v>Perrier Jou</c:v>
                </c:pt>
                <c:pt idx="38">
                  <c:v>Deutz</c:v>
                </c:pt>
                <c:pt idx="39">
                  <c:v>All Others</c:v>
                </c:pt>
                <c:pt idx="40">
                  <c:v>All Others</c:v>
                </c:pt>
                <c:pt idx="41">
                  <c:v>Deutz</c:v>
                </c:pt>
                <c:pt idx="42">
                  <c:v>Taittinger</c:v>
                </c:pt>
                <c:pt idx="43">
                  <c:v>Krug</c:v>
                </c:pt>
                <c:pt idx="44">
                  <c:v>Laurent Per</c:v>
                </c:pt>
                <c:pt idx="45">
                  <c:v>All Others</c:v>
                </c:pt>
                <c:pt idx="46">
                  <c:v>Deutz</c:v>
                </c:pt>
                <c:pt idx="47">
                  <c:v>Ruinart</c:v>
                </c:pt>
                <c:pt idx="48">
                  <c:v>All Others</c:v>
                </c:pt>
                <c:pt idx="49">
                  <c:v>Krug</c:v>
                </c:pt>
                <c:pt idx="50">
                  <c:v>All Others</c:v>
                </c:pt>
                <c:pt idx="51">
                  <c:v>Delamotte</c:v>
                </c:pt>
                <c:pt idx="52">
                  <c:v>Ayala</c:v>
                </c:pt>
                <c:pt idx="53">
                  <c:v>Vranken</c:v>
                </c:pt>
                <c:pt idx="54">
                  <c:v>Besserat De</c:v>
                </c:pt>
                <c:pt idx="55">
                  <c:v>Canard Duch</c:v>
                </c:pt>
                <c:pt idx="56">
                  <c:v>All Others</c:v>
                </c:pt>
                <c:pt idx="57">
                  <c:v>Piper Heids</c:v>
                </c:pt>
                <c:pt idx="58">
                  <c:v>Taittinger</c:v>
                </c:pt>
                <c:pt idx="59">
                  <c:v>Ruinart</c:v>
                </c:pt>
                <c:pt idx="60">
                  <c:v>All Others</c:v>
                </c:pt>
                <c:pt idx="61">
                  <c:v>Henriot</c:v>
                </c:pt>
                <c:pt idx="62">
                  <c:v>Taittinger</c:v>
                </c:pt>
                <c:pt idx="63">
                  <c:v>Pommery</c:v>
                </c:pt>
                <c:pt idx="64">
                  <c:v>De Venoge</c:v>
                </c:pt>
                <c:pt idx="65">
                  <c:v>Deutz</c:v>
                </c:pt>
                <c:pt idx="66">
                  <c:v>Ayala</c:v>
                </c:pt>
                <c:pt idx="67">
                  <c:v>All Others</c:v>
                </c:pt>
              </c:strCache>
            </c:strRef>
          </c:cat>
          <c:val>
            <c:numRef>
              <c:f>Sheet1!$B$2:$B$69</c:f>
              <c:numCache>
                <c:formatCode>General</c:formatCode>
                <c:ptCount val="68"/>
                <c:pt idx="0">
                  <c:v>0.83599999999999997</c:v>
                </c:pt>
                <c:pt idx="1">
                  <c:v>0.67300000000000004</c:v>
                </c:pt>
                <c:pt idx="2">
                  <c:v>0.39100000000000001</c:v>
                </c:pt>
                <c:pt idx="3">
                  <c:v>0.68200000000000005</c:v>
                </c:pt>
                <c:pt idx="4">
                  <c:v>0.58499999999999996</c:v>
                </c:pt>
                <c:pt idx="5">
                  <c:v>0.47299999999999998</c:v>
                </c:pt>
                <c:pt idx="6">
                  <c:v>0.38700000000000001</c:v>
                </c:pt>
                <c:pt idx="7">
                  <c:v>0.56799999999999995</c:v>
                </c:pt>
                <c:pt idx="8">
                  <c:v>0.315</c:v>
                </c:pt>
                <c:pt idx="9">
                  <c:v>0.40300000000000002</c:v>
                </c:pt>
                <c:pt idx="10">
                  <c:v>0.35899999999999999</c:v>
                </c:pt>
                <c:pt idx="11">
                  <c:v>0.26200000000000001</c:v>
                </c:pt>
                <c:pt idx="12">
                  <c:v>0.20599999999999999</c:v>
                </c:pt>
                <c:pt idx="13">
                  <c:v>0.34300000000000003</c:v>
                </c:pt>
                <c:pt idx="14">
                  <c:v>0.15</c:v>
                </c:pt>
                <c:pt idx="15">
                  <c:v>0.20899999999999999</c:v>
                </c:pt>
                <c:pt idx="16">
                  <c:v>0.02</c:v>
                </c:pt>
                <c:pt idx="17">
                  <c:v>0.315</c:v>
                </c:pt>
                <c:pt idx="18">
                  <c:v>0.17100000000000001</c:v>
                </c:pt>
                <c:pt idx="19">
                  <c:v>0.10100000000000001</c:v>
                </c:pt>
                <c:pt idx="20">
                  <c:v>0.11799999999999999</c:v>
                </c:pt>
                <c:pt idx="21">
                  <c:v>0.154</c:v>
                </c:pt>
                <c:pt idx="22">
                  <c:v>0.17499999999999999</c:v>
                </c:pt>
                <c:pt idx="23">
                  <c:v>7.8E-2</c:v>
                </c:pt>
                <c:pt idx="24">
                  <c:v>0.12</c:v>
                </c:pt>
                <c:pt idx="25">
                  <c:v>0.126</c:v>
                </c:pt>
                <c:pt idx="26">
                  <c:v>8.5000000000000006E-2</c:v>
                </c:pt>
                <c:pt idx="27">
                  <c:v>0.04</c:v>
                </c:pt>
                <c:pt idx="28">
                  <c:v>9.9000000000000005E-2</c:v>
                </c:pt>
                <c:pt idx="29">
                  <c:v>8.1000000000000003E-2</c:v>
                </c:pt>
                <c:pt idx="30">
                  <c:v>1.4E-2</c:v>
                </c:pt>
                <c:pt idx="31">
                  <c:v>0.111</c:v>
                </c:pt>
                <c:pt idx="32">
                  <c:v>3.1E-2</c:v>
                </c:pt>
                <c:pt idx="33">
                  <c:v>0.06</c:v>
                </c:pt>
                <c:pt idx="34">
                  <c:v>2.1999999999999999E-2</c:v>
                </c:pt>
                <c:pt idx="35">
                  <c:v>2.7E-2</c:v>
                </c:pt>
                <c:pt idx="36">
                  <c:v>1.4E-2</c:v>
                </c:pt>
                <c:pt idx="37">
                  <c:v>0.04</c:v>
                </c:pt>
                <c:pt idx="38">
                  <c:v>1.2E-2</c:v>
                </c:pt>
                <c:pt idx="39">
                  <c:v>1.6E-2</c:v>
                </c:pt>
                <c:pt idx="40">
                  <c:v>1.4E-2</c:v>
                </c:pt>
                <c:pt idx="41">
                  <c:v>3.4000000000000002E-2</c:v>
                </c:pt>
                <c:pt idx="42">
                  <c:v>1.7000000000000001E-2</c:v>
                </c:pt>
                <c:pt idx="43">
                  <c:v>3.1E-2</c:v>
                </c:pt>
                <c:pt idx="44">
                  <c:v>2.5000000000000001E-2</c:v>
                </c:pt>
                <c:pt idx="45">
                  <c:v>5.6000000000000001E-2</c:v>
                </c:pt>
                <c:pt idx="46">
                  <c:v>1.2999999999999999E-2</c:v>
                </c:pt>
                <c:pt idx="47">
                  <c:v>1.2E-2</c:v>
                </c:pt>
                <c:pt idx="48">
                  <c:v>8.0000000000000002E-3</c:v>
                </c:pt>
                <c:pt idx="49">
                  <c:v>7.0000000000000001E-3</c:v>
                </c:pt>
                <c:pt idx="50">
                  <c:v>6.3E-2</c:v>
                </c:pt>
                <c:pt idx="51">
                  <c:v>1.6E-2</c:v>
                </c:pt>
                <c:pt idx="52">
                  <c:v>1.2999999999999999E-2</c:v>
                </c:pt>
                <c:pt idx="53">
                  <c:v>2.4E-2</c:v>
                </c:pt>
                <c:pt idx="54">
                  <c:v>1.7999999999999999E-2</c:v>
                </c:pt>
                <c:pt idx="55">
                  <c:v>2.1999999999999999E-2</c:v>
                </c:pt>
                <c:pt idx="56">
                  <c:v>8.9999999999999993E-3</c:v>
                </c:pt>
                <c:pt idx="57">
                  <c:v>2.1999999999999999E-2</c:v>
                </c:pt>
                <c:pt idx="58">
                  <c:v>7.0000000000000001E-3</c:v>
                </c:pt>
                <c:pt idx="59">
                  <c:v>5.0000000000000001E-3</c:v>
                </c:pt>
                <c:pt idx="60">
                  <c:v>5.0000000000000001E-3</c:v>
                </c:pt>
                <c:pt idx="61">
                  <c:v>1E-3</c:v>
                </c:pt>
                <c:pt idx="62">
                  <c:v>5.0000000000000001E-3</c:v>
                </c:pt>
                <c:pt idx="63">
                  <c:v>1.4E-2</c:v>
                </c:pt>
                <c:pt idx="64">
                  <c:v>1E-3</c:v>
                </c:pt>
                <c:pt idx="65">
                  <c:v>6.0000000000000001E-3</c:v>
                </c:pt>
                <c:pt idx="66">
                  <c:v>1E-3</c:v>
                </c:pt>
                <c:pt idx="67">
                  <c:v>3.0000000000000001E-3</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7ECAC4"/>
              </a:solidFill>
            </c:spPr>
            <c:extLst>
              <c:ext xmlns:c16="http://schemas.microsoft.com/office/drawing/2014/chart" uri="{C3380CC4-5D6E-409C-BE32-E72D297353CC}">
                <c16:uniqueId val="{00000049-2993-41DE-A2CB-63102DE87051}"/>
              </c:ext>
            </c:extLst>
          </c:dPt>
          <c:dPt>
            <c:idx val="9"/>
            <c:invertIfNegative val="1"/>
            <c:bubble3D val="0"/>
            <c:spPr>
              <a:solidFill>
                <a:srgbClr val="7ECAC4"/>
              </a:solidFill>
            </c:spPr>
            <c:extLst>
              <c:ext xmlns:c16="http://schemas.microsoft.com/office/drawing/2014/chart" uri="{C3380CC4-5D6E-409C-BE32-E72D297353CC}">
                <c16:uniqueId val="{0000004B-2993-41DE-A2CB-63102DE87051}"/>
              </c:ext>
            </c:extLst>
          </c:dPt>
          <c:dPt>
            <c:idx val="10"/>
            <c:invertIfNegative val="1"/>
            <c:bubble3D val="0"/>
            <c:spPr>
              <a:solidFill>
                <a:srgbClr val="7ECAC4"/>
              </a:solidFill>
            </c:spPr>
            <c:extLst>
              <c:ext xmlns:c16="http://schemas.microsoft.com/office/drawing/2014/chart" uri="{C3380CC4-5D6E-409C-BE32-E72D297353CC}">
                <c16:uniqueId val="{0000004D-2993-41DE-A2CB-63102DE87051}"/>
              </c:ext>
            </c:extLst>
          </c:dPt>
          <c:dPt>
            <c:idx val="11"/>
            <c:invertIfNegative val="1"/>
            <c:bubble3D val="0"/>
            <c:spPr>
              <a:solidFill>
                <a:srgbClr val="7ECAC4"/>
              </a:solidFill>
            </c:spPr>
            <c:extLst>
              <c:ext xmlns:c16="http://schemas.microsoft.com/office/drawing/2014/chart" uri="{C3380CC4-5D6E-409C-BE32-E72D297353CC}">
                <c16:uniqueId val="{0000004F-2993-41DE-A2CB-63102DE87051}"/>
              </c:ext>
            </c:extLst>
          </c:dPt>
          <c:dPt>
            <c:idx val="12"/>
            <c:invertIfNegative val="1"/>
            <c:bubble3D val="0"/>
            <c:spPr>
              <a:solidFill>
                <a:srgbClr val="7ECAC4"/>
              </a:solidFill>
            </c:spPr>
            <c:extLst>
              <c:ext xmlns:c16="http://schemas.microsoft.com/office/drawing/2014/chart" uri="{C3380CC4-5D6E-409C-BE32-E72D297353CC}">
                <c16:uniqueId val="{00000051-2993-41DE-A2CB-63102DE87051}"/>
              </c:ext>
            </c:extLst>
          </c:dPt>
          <c:dPt>
            <c:idx val="13"/>
            <c:invertIfNegative val="1"/>
            <c:bubble3D val="0"/>
            <c:spPr>
              <a:solidFill>
                <a:srgbClr val="7ECAC4"/>
              </a:solidFill>
            </c:spPr>
            <c:extLst>
              <c:ext xmlns:c16="http://schemas.microsoft.com/office/drawing/2014/chart" uri="{C3380CC4-5D6E-409C-BE32-E72D297353CC}">
                <c16:uniqueId val="{00000053-2993-41DE-A2CB-63102DE87051}"/>
              </c:ext>
            </c:extLst>
          </c:dPt>
          <c:dPt>
            <c:idx val="14"/>
            <c:invertIfNegative val="1"/>
            <c:bubble3D val="0"/>
            <c:spPr>
              <a:solidFill>
                <a:srgbClr val="7ECAC4"/>
              </a:solidFill>
            </c:spPr>
            <c:extLst>
              <c:ext xmlns:c16="http://schemas.microsoft.com/office/drawing/2014/chart" uri="{C3380CC4-5D6E-409C-BE32-E72D297353CC}">
                <c16:uniqueId val="{00000055-2993-41DE-A2CB-63102DE87051}"/>
              </c:ext>
            </c:extLst>
          </c:dPt>
          <c:dPt>
            <c:idx val="15"/>
            <c:invertIfNegative val="1"/>
            <c:bubble3D val="0"/>
            <c:spPr>
              <a:solidFill>
                <a:srgbClr val="7ECAC4"/>
              </a:solidFill>
            </c:spPr>
            <c:extLst>
              <c:ext xmlns:c16="http://schemas.microsoft.com/office/drawing/2014/chart" uri="{C3380CC4-5D6E-409C-BE32-E72D297353CC}">
                <c16:uniqueId val="{00000057-2993-41DE-A2CB-63102DE87051}"/>
              </c:ext>
            </c:extLst>
          </c:dPt>
          <c:dPt>
            <c:idx val="16"/>
            <c:invertIfNegative val="1"/>
            <c:bubble3D val="0"/>
            <c:spPr>
              <a:solidFill>
                <a:srgbClr val="7ECAC4"/>
              </a:solidFill>
            </c:spPr>
            <c:extLst>
              <c:ext xmlns:c16="http://schemas.microsoft.com/office/drawing/2014/chart" uri="{C3380CC4-5D6E-409C-BE32-E72D297353CC}">
                <c16:uniqueId val="{00000059-2993-41DE-A2CB-63102DE87051}"/>
              </c:ext>
            </c:extLst>
          </c:dPt>
          <c:dPt>
            <c:idx val="17"/>
            <c:invertIfNegative val="1"/>
            <c:bubble3D val="0"/>
            <c:spPr>
              <a:solidFill>
                <a:srgbClr val="7ECAC4"/>
              </a:solidFill>
            </c:spPr>
            <c:extLst>
              <c:ext xmlns:c16="http://schemas.microsoft.com/office/drawing/2014/chart" uri="{C3380CC4-5D6E-409C-BE32-E72D297353CC}">
                <c16:uniqueId val="{0000005B-2993-41DE-A2CB-63102DE87051}"/>
              </c:ext>
            </c:extLst>
          </c:dPt>
          <c:dPt>
            <c:idx val="18"/>
            <c:invertIfNegative val="1"/>
            <c:bubble3D val="0"/>
            <c:spPr>
              <a:solidFill>
                <a:srgbClr val="7ECAC4"/>
              </a:solidFill>
            </c:spPr>
            <c:extLst>
              <c:ext xmlns:c16="http://schemas.microsoft.com/office/drawing/2014/chart" uri="{C3380CC4-5D6E-409C-BE32-E72D297353CC}">
                <c16:uniqueId val="{0000005D-2993-41DE-A2CB-63102DE87051}"/>
              </c:ext>
            </c:extLst>
          </c:dPt>
          <c:dPt>
            <c:idx val="19"/>
            <c:invertIfNegative val="1"/>
            <c:bubble3D val="0"/>
            <c:spPr>
              <a:solidFill>
                <a:srgbClr val="AEABAB"/>
              </a:solidFill>
            </c:spPr>
            <c:extLst>
              <c:ext xmlns:c16="http://schemas.microsoft.com/office/drawing/2014/chart" uri="{C3380CC4-5D6E-409C-BE32-E72D297353CC}">
                <c16:uniqueId val="{0000005F-2993-41DE-A2CB-63102DE87051}"/>
              </c:ext>
            </c:extLst>
          </c:dPt>
          <c:dPt>
            <c:idx val="20"/>
            <c:invertIfNegative val="1"/>
            <c:bubble3D val="0"/>
            <c:spPr>
              <a:solidFill>
                <a:srgbClr val="AEABAB"/>
              </a:solidFill>
            </c:spPr>
            <c:extLst>
              <c:ext xmlns:c16="http://schemas.microsoft.com/office/drawing/2014/chart" uri="{C3380CC4-5D6E-409C-BE32-E72D297353CC}">
                <c16:uniqueId val="{00000061-2993-41DE-A2CB-63102DE87051}"/>
              </c:ext>
            </c:extLst>
          </c:dPt>
          <c:dPt>
            <c:idx val="21"/>
            <c:invertIfNegative val="1"/>
            <c:bubble3D val="0"/>
            <c:spPr>
              <a:solidFill>
                <a:srgbClr val="AEABAB"/>
              </a:solidFill>
            </c:spPr>
            <c:extLst>
              <c:ext xmlns:c16="http://schemas.microsoft.com/office/drawing/2014/chart" uri="{C3380CC4-5D6E-409C-BE32-E72D297353CC}">
                <c16:uniqueId val="{00000063-2993-41DE-A2CB-63102DE87051}"/>
              </c:ext>
            </c:extLst>
          </c:dPt>
          <c:dPt>
            <c:idx val="22"/>
            <c:invertIfNegative val="1"/>
            <c:bubble3D val="0"/>
            <c:spPr>
              <a:solidFill>
                <a:srgbClr val="AEABAB"/>
              </a:solidFill>
            </c:spPr>
            <c:extLst>
              <c:ext xmlns:c16="http://schemas.microsoft.com/office/drawing/2014/chart" uri="{C3380CC4-5D6E-409C-BE32-E72D297353CC}">
                <c16:uniqueId val="{00000065-2993-41DE-A2CB-63102DE87051}"/>
              </c:ext>
            </c:extLst>
          </c:dPt>
          <c:dPt>
            <c:idx val="23"/>
            <c:invertIfNegative val="1"/>
            <c:bubble3D val="0"/>
            <c:spPr>
              <a:solidFill>
                <a:srgbClr val="AEABAB"/>
              </a:solidFill>
            </c:spPr>
            <c:extLst>
              <c:ext xmlns:c16="http://schemas.microsoft.com/office/drawing/2014/chart" uri="{C3380CC4-5D6E-409C-BE32-E72D297353CC}">
                <c16:uniqueId val="{00000067-2993-41DE-A2CB-63102DE87051}"/>
              </c:ext>
            </c:extLst>
          </c:dPt>
          <c:dPt>
            <c:idx val="24"/>
            <c:invertIfNegative val="1"/>
            <c:bubble3D val="0"/>
            <c:spPr>
              <a:solidFill>
                <a:srgbClr val="AEABAB"/>
              </a:solidFill>
            </c:spPr>
            <c:extLst>
              <c:ext xmlns:c16="http://schemas.microsoft.com/office/drawing/2014/chart" uri="{C3380CC4-5D6E-409C-BE32-E72D297353CC}">
                <c16:uniqueId val="{00000069-2993-41DE-A2CB-63102DE87051}"/>
              </c:ext>
            </c:extLst>
          </c:dPt>
          <c:dPt>
            <c:idx val="25"/>
            <c:invertIfNegative val="1"/>
            <c:bubble3D val="0"/>
            <c:spPr>
              <a:solidFill>
                <a:srgbClr val="AEABAB"/>
              </a:solidFill>
            </c:spPr>
            <c:extLst>
              <c:ext xmlns:c16="http://schemas.microsoft.com/office/drawing/2014/chart" uri="{C3380CC4-5D6E-409C-BE32-E72D297353CC}">
                <c16:uniqueId val="{0000006B-2993-41DE-A2CB-63102DE87051}"/>
              </c:ext>
            </c:extLst>
          </c:dPt>
          <c:dPt>
            <c:idx val="26"/>
            <c:invertIfNegative val="1"/>
            <c:bubble3D val="0"/>
            <c:spPr>
              <a:solidFill>
                <a:srgbClr val="AEABAB"/>
              </a:solidFill>
            </c:spPr>
            <c:extLst>
              <c:ext xmlns:c16="http://schemas.microsoft.com/office/drawing/2014/chart" uri="{C3380CC4-5D6E-409C-BE32-E72D297353CC}">
                <c16:uniqueId val="{0000006D-2993-41DE-A2CB-63102DE87051}"/>
              </c:ext>
            </c:extLst>
          </c:dPt>
          <c:dPt>
            <c:idx val="27"/>
            <c:invertIfNegative val="1"/>
            <c:bubble3D val="0"/>
            <c:spPr>
              <a:solidFill>
                <a:srgbClr val="AEABAB"/>
              </a:solidFill>
            </c:spPr>
            <c:extLst>
              <c:ext xmlns:c16="http://schemas.microsoft.com/office/drawing/2014/chart" uri="{C3380CC4-5D6E-409C-BE32-E72D297353CC}">
                <c16:uniqueId val="{0000006F-2993-41DE-A2CB-63102DE87051}"/>
              </c:ext>
            </c:extLst>
          </c:dPt>
          <c:dPt>
            <c:idx val="28"/>
            <c:invertIfNegative val="1"/>
            <c:bubble3D val="0"/>
            <c:spPr>
              <a:solidFill>
                <a:srgbClr val="AEABAB"/>
              </a:solidFill>
            </c:spPr>
            <c:extLst>
              <c:ext xmlns:c16="http://schemas.microsoft.com/office/drawing/2014/chart" uri="{C3380CC4-5D6E-409C-BE32-E72D297353CC}">
                <c16:uniqueId val="{00000071-2993-41DE-A2CB-63102DE87051}"/>
              </c:ext>
            </c:extLst>
          </c:dPt>
          <c:dPt>
            <c:idx val="29"/>
            <c:invertIfNegative val="1"/>
            <c:bubble3D val="0"/>
            <c:spPr>
              <a:solidFill>
                <a:srgbClr val="AEABAB"/>
              </a:solidFill>
            </c:spPr>
            <c:extLst>
              <c:ext xmlns:c16="http://schemas.microsoft.com/office/drawing/2014/chart" uri="{C3380CC4-5D6E-409C-BE32-E72D297353CC}">
                <c16:uniqueId val="{00000073-2993-41DE-A2CB-63102DE87051}"/>
              </c:ext>
            </c:extLst>
          </c:dPt>
          <c:dPt>
            <c:idx val="30"/>
            <c:invertIfNegative val="1"/>
            <c:bubble3D val="0"/>
            <c:spPr>
              <a:solidFill>
                <a:srgbClr val="AEABAB"/>
              </a:solidFill>
            </c:spPr>
            <c:extLst>
              <c:ext xmlns:c16="http://schemas.microsoft.com/office/drawing/2014/chart" uri="{C3380CC4-5D6E-409C-BE32-E72D297353CC}">
                <c16:uniqueId val="{00000075-2993-41DE-A2CB-63102DE87051}"/>
              </c:ext>
            </c:extLst>
          </c:dPt>
          <c:dPt>
            <c:idx val="31"/>
            <c:invertIfNegative val="1"/>
            <c:bubble3D val="0"/>
            <c:spPr>
              <a:solidFill>
                <a:srgbClr val="AEABAB"/>
              </a:solidFill>
            </c:spPr>
            <c:extLst>
              <c:ext xmlns:c16="http://schemas.microsoft.com/office/drawing/2014/chart" uri="{C3380CC4-5D6E-409C-BE32-E72D297353CC}">
                <c16:uniqueId val="{00000077-2993-41DE-A2CB-63102DE87051}"/>
              </c:ext>
            </c:extLst>
          </c:dPt>
          <c:dPt>
            <c:idx val="32"/>
            <c:invertIfNegative val="1"/>
            <c:bubble3D val="0"/>
            <c:spPr>
              <a:solidFill>
                <a:srgbClr val="AEABAB"/>
              </a:solidFill>
            </c:spPr>
            <c:extLst>
              <c:ext xmlns:c16="http://schemas.microsoft.com/office/drawing/2014/chart" uri="{C3380CC4-5D6E-409C-BE32-E72D297353CC}">
                <c16:uniqueId val="{00000079-2993-41DE-A2CB-63102DE87051}"/>
              </c:ext>
            </c:extLst>
          </c:dPt>
          <c:dPt>
            <c:idx val="33"/>
            <c:invertIfNegative val="1"/>
            <c:bubble3D val="0"/>
            <c:spPr>
              <a:solidFill>
                <a:srgbClr val="AEABAB"/>
              </a:solidFill>
            </c:spPr>
            <c:extLst>
              <c:ext xmlns:c16="http://schemas.microsoft.com/office/drawing/2014/chart" uri="{C3380CC4-5D6E-409C-BE32-E72D297353CC}">
                <c16:uniqueId val="{0000007B-2993-41DE-A2CB-63102DE87051}"/>
              </c:ext>
            </c:extLst>
          </c:dPt>
          <c:dPt>
            <c:idx val="34"/>
            <c:invertIfNegative val="1"/>
            <c:bubble3D val="0"/>
            <c:spPr>
              <a:solidFill>
                <a:srgbClr val="AEABAB"/>
              </a:solidFill>
            </c:spPr>
            <c:extLst>
              <c:ext xmlns:c16="http://schemas.microsoft.com/office/drawing/2014/chart" uri="{C3380CC4-5D6E-409C-BE32-E72D297353CC}">
                <c16:uniqueId val="{0000007D-2993-41DE-A2CB-63102DE87051}"/>
              </c:ext>
            </c:extLst>
          </c:dPt>
          <c:dPt>
            <c:idx val="35"/>
            <c:invertIfNegative val="1"/>
            <c:bubble3D val="0"/>
            <c:spPr>
              <a:solidFill>
                <a:srgbClr val="AEABAB"/>
              </a:solidFill>
            </c:spPr>
            <c:extLst>
              <c:ext xmlns:c16="http://schemas.microsoft.com/office/drawing/2014/chart" uri="{C3380CC4-5D6E-409C-BE32-E72D297353CC}">
                <c16:uniqueId val="{0000007F-2993-41DE-A2CB-63102DE87051}"/>
              </c:ext>
            </c:extLst>
          </c:dPt>
          <c:dPt>
            <c:idx val="36"/>
            <c:invertIfNegative val="1"/>
            <c:bubble3D val="0"/>
            <c:spPr>
              <a:solidFill>
                <a:srgbClr val="AEABAB"/>
              </a:solidFill>
            </c:spPr>
            <c:extLst>
              <c:ext xmlns:c16="http://schemas.microsoft.com/office/drawing/2014/chart" uri="{C3380CC4-5D6E-409C-BE32-E72D297353CC}">
                <c16:uniqueId val="{00000081-2993-41DE-A2CB-63102DE87051}"/>
              </c:ext>
            </c:extLst>
          </c:dPt>
          <c:dPt>
            <c:idx val="37"/>
            <c:invertIfNegative val="1"/>
            <c:bubble3D val="0"/>
            <c:spPr>
              <a:solidFill>
                <a:srgbClr val="AEABAB"/>
              </a:solidFill>
            </c:spPr>
            <c:extLst>
              <c:ext xmlns:c16="http://schemas.microsoft.com/office/drawing/2014/chart" uri="{C3380CC4-5D6E-409C-BE32-E72D297353CC}">
                <c16:uniqueId val="{00000083-2993-41DE-A2CB-63102DE87051}"/>
              </c:ext>
            </c:extLst>
          </c:dPt>
          <c:dPt>
            <c:idx val="38"/>
            <c:invertIfNegative val="1"/>
            <c:bubble3D val="0"/>
            <c:spPr>
              <a:solidFill>
                <a:srgbClr val="AEABAB"/>
              </a:solidFill>
            </c:spPr>
            <c:extLst>
              <c:ext xmlns:c16="http://schemas.microsoft.com/office/drawing/2014/chart" uri="{C3380CC4-5D6E-409C-BE32-E72D297353CC}">
                <c16:uniqueId val="{00000085-2993-41DE-A2CB-63102DE87051}"/>
              </c:ext>
            </c:extLst>
          </c:dPt>
          <c:dPt>
            <c:idx val="39"/>
            <c:invertIfNegative val="1"/>
            <c:bubble3D val="0"/>
            <c:spPr>
              <a:solidFill>
                <a:srgbClr val="AEABAB"/>
              </a:solidFill>
            </c:spPr>
            <c:extLst>
              <c:ext xmlns:c16="http://schemas.microsoft.com/office/drawing/2014/chart" uri="{C3380CC4-5D6E-409C-BE32-E72D297353CC}">
                <c16:uniqueId val="{00000087-2993-41DE-A2CB-63102DE87051}"/>
              </c:ext>
            </c:extLst>
          </c:dPt>
          <c:dPt>
            <c:idx val="40"/>
            <c:invertIfNegative val="1"/>
            <c:bubble3D val="0"/>
            <c:spPr>
              <a:solidFill>
                <a:srgbClr val="AEABAB"/>
              </a:solidFill>
            </c:spPr>
            <c:extLst>
              <c:ext xmlns:c16="http://schemas.microsoft.com/office/drawing/2014/chart" uri="{C3380CC4-5D6E-409C-BE32-E72D297353CC}">
                <c16:uniqueId val="{00000089-2993-41DE-A2CB-63102DE87051}"/>
              </c:ext>
            </c:extLst>
          </c:dPt>
          <c:dPt>
            <c:idx val="41"/>
            <c:invertIfNegative val="1"/>
            <c:bubble3D val="0"/>
            <c:spPr>
              <a:solidFill>
                <a:srgbClr val="AEABAB"/>
              </a:solidFill>
            </c:spPr>
            <c:extLst>
              <c:ext xmlns:c16="http://schemas.microsoft.com/office/drawing/2014/chart" uri="{C3380CC4-5D6E-409C-BE32-E72D297353CC}">
                <c16:uniqueId val="{0000008B-2993-41DE-A2CB-63102DE87051}"/>
              </c:ext>
            </c:extLst>
          </c:dPt>
          <c:dPt>
            <c:idx val="42"/>
            <c:invertIfNegative val="1"/>
            <c:bubble3D val="0"/>
            <c:spPr>
              <a:solidFill>
                <a:srgbClr val="AEABAB"/>
              </a:solidFill>
            </c:spPr>
            <c:extLst>
              <c:ext xmlns:c16="http://schemas.microsoft.com/office/drawing/2014/chart" uri="{C3380CC4-5D6E-409C-BE32-E72D297353CC}">
                <c16:uniqueId val="{0000008D-2993-41DE-A2CB-63102DE87051}"/>
              </c:ext>
            </c:extLst>
          </c:dPt>
          <c:dPt>
            <c:idx val="43"/>
            <c:invertIfNegative val="1"/>
            <c:bubble3D val="0"/>
            <c:spPr>
              <a:solidFill>
                <a:srgbClr val="AEABAB"/>
              </a:solidFill>
            </c:spPr>
            <c:extLst>
              <c:ext xmlns:c16="http://schemas.microsoft.com/office/drawing/2014/chart" uri="{C3380CC4-5D6E-409C-BE32-E72D297353CC}">
                <c16:uniqueId val="{0000008F-2993-41DE-A2CB-63102DE87051}"/>
              </c:ext>
            </c:extLst>
          </c:dPt>
          <c:dPt>
            <c:idx val="44"/>
            <c:invertIfNegative val="1"/>
            <c:bubble3D val="0"/>
            <c:spPr>
              <a:solidFill>
                <a:srgbClr val="AEABAB"/>
              </a:solidFill>
            </c:spPr>
            <c:extLst>
              <c:ext xmlns:c16="http://schemas.microsoft.com/office/drawing/2014/chart" uri="{C3380CC4-5D6E-409C-BE32-E72D297353CC}">
                <c16:uniqueId val="{00000091-2993-41DE-A2CB-63102DE87051}"/>
              </c:ext>
            </c:extLst>
          </c:dPt>
          <c:dPt>
            <c:idx val="45"/>
            <c:invertIfNegative val="1"/>
            <c:bubble3D val="0"/>
            <c:spPr>
              <a:solidFill>
                <a:srgbClr val="AEABAB"/>
              </a:solidFill>
            </c:spPr>
            <c:extLst>
              <c:ext xmlns:c16="http://schemas.microsoft.com/office/drawing/2014/chart" uri="{C3380CC4-5D6E-409C-BE32-E72D297353CC}">
                <c16:uniqueId val="{00000093-2993-41DE-A2CB-63102DE87051}"/>
              </c:ext>
            </c:extLst>
          </c:dPt>
          <c:dPt>
            <c:idx val="46"/>
            <c:invertIfNegative val="1"/>
            <c:bubble3D val="0"/>
            <c:spPr>
              <a:solidFill>
                <a:srgbClr val="AEABAB"/>
              </a:solidFill>
            </c:spPr>
            <c:extLst>
              <c:ext xmlns:c16="http://schemas.microsoft.com/office/drawing/2014/chart" uri="{C3380CC4-5D6E-409C-BE32-E72D297353CC}">
                <c16:uniqueId val="{00000095-2993-41DE-A2CB-63102DE87051}"/>
              </c:ext>
            </c:extLst>
          </c:dPt>
          <c:dPt>
            <c:idx val="47"/>
            <c:invertIfNegative val="1"/>
            <c:bubble3D val="0"/>
            <c:spPr>
              <a:solidFill>
                <a:srgbClr val="AEABAB"/>
              </a:solidFill>
            </c:spPr>
            <c:extLst>
              <c:ext xmlns:c16="http://schemas.microsoft.com/office/drawing/2014/chart" uri="{C3380CC4-5D6E-409C-BE32-E72D297353CC}">
                <c16:uniqueId val="{00000097-2993-41DE-A2CB-63102DE87051}"/>
              </c:ext>
            </c:extLst>
          </c:dPt>
          <c:dPt>
            <c:idx val="48"/>
            <c:invertIfNegative val="1"/>
            <c:bubble3D val="0"/>
            <c:spPr>
              <a:solidFill>
                <a:srgbClr val="AEABAB"/>
              </a:solidFill>
            </c:spPr>
            <c:extLst>
              <c:ext xmlns:c16="http://schemas.microsoft.com/office/drawing/2014/chart" uri="{C3380CC4-5D6E-409C-BE32-E72D297353CC}">
                <c16:uniqueId val="{00000099-2993-41DE-A2CB-63102DE87051}"/>
              </c:ext>
            </c:extLst>
          </c:dPt>
          <c:dPt>
            <c:idx val="49"/>
            <c:invertIfNegative val="1"/>
            <c:bubble3D val="0"/>
            <c:spPr>
              <a:solidFill>
                <a:srgbClr val="AEABAB"/>
              </a:solidFill>
            </c:spPr>
            <c:extLst>
              <c:ext xmlns:c16="http://schemas.microsoft.com/office/drawing/2014/chart" uri="{C3380CC4-5D6E-409C-BE32-E72D297353CC}">
                <c16:uniqueId val="{0000009B-2993-41DE-A2CB-63102DE87051}"/>
              </c:ext>
            </c:extLst>
          </c:dPt>
          <c:dPt>
            <c:idx val="50"/>
            <c:invertIfNegative val="1"/>
            <c:bubble3D val="0"/>
            <c:spPr>
              <a:solidFill>
                <a:srgbClr val="AEABAB"/>
              </a:solidFill>
            </c:spPr>
            <c:extLst>
              <c:ext xmlns:c16="http://schemas.microsoft.com/office/drawing/2014/chart" uri="{C3380CC4-5D6E-409C-BE32-E72D297353CC}">
                <c16:uniqueId val="{0000009D-2993-41DE-A2CB-63102DE87051}"/>
              </c:ext>
            </c:extLst>
          </c:dPt>
          <c:dPt>
            <c:idx val="51"/>
            <c:invertIfNegative val="1"/>
            <c:bubble3D val="0"/>
            <c:spPr>
              <a:solidFill>
                <a:srgbClr val="AEABAB"/>
              </a:solidFill>
            </c:spPr>
            <c:extLst>
              <c:ext xmlns:c16="http://schemas.microsoft.com/office/drawing/2014/chart" uri="{C3380CC4-5D6E-409C-BE32-E72D297353CC}">
                <c16:uniqueId val="{0000009F-2993-41DE-A2CB-63102DE87051}"/>
              </c:ext>
            </c:extLst>
          </c:dPt>
          <c:dPt>
            <c:idx val="52"/>
            <c:invertIfNegative val="1"/>
            <c:bubble3D val="0"/>
            <c:spPr>
              <a:solidFill>
                <a:srgbClr val="AEABAB"/>
              </a:solidFill>
            </c:spPr>
            <c:extLst>
              <c:ext xmlns:c16="http://schemas.microsoft.com/office/drawing/2014/chart" uri="{C3380CC4-5D6E-409C-BE32-E72D297353CC}">
                <c16:uniqueId val="{000000A1-2993-41DE-A2CB-63102DE87051}"/>
              </c:ext>
            </c:extLst>
          </c:dPt>
          <c:dPt>
            <c:idx val="53"/>
            <c:invertIfNegative val="1"/>
            <c:bubble3D val="0"/>
            <c:spPr>
              <a:solidFill>
                <a:srgbClr val="AEABAB"/>
              </a:solidFill>
            </c:spPr>
            <c:extLst>
              <c:ext xmlns:c16="http://schemas.microsoft.com/office/drawing/2014/chart" uri="{C3380CC4-5D6E-409C-BE32-E72D297353CC}">
                <c16:uniqueId val="{000000A3-2993-41DE-A2CB-63102DE87051}"/>
              </c:ext>
            </c:extLst>
          </c:dPt>
          <c:dPt>
            <c:idx val="54"/>
            <c:invertIfNegative val="0"/>
            <c:bubble3D val="0"/>
            <c:spPr>
              <a:solidFill>
                <a:srgbClr val="AEABAB"/>
              </a:solidFill>
            </c:spPr>
            <c:extLst>
              <c:ext xmlns:c16="http://schemas.microsoft.com/office/drawing/2014/chart" uri="{C3380CC4-5D6E-409C-BE32-E72D297353CC}">
                <c16:uniqueId val="{00000072-C76F-4230-900D-40618C09729F}"/>
              </c:ext>
            </c:extLst>
          </c:dPt>
          <c:dPt>
            <c:idx val="55"/>
            <c:invertIfNegative val="0"/>
            <c:bubble3D val="0"/>
            <c:spPr>
              <a:solidFill>
                <a:srgbClr val="AEABAB"/>
              </a:solidFill>
            </c:spPr>
            <c:extLst>
              <c:ext xmlns:c16="http://schemas.microsoft.com/office/drawing/2014/chart" uri="{C3380CC4-5D6E-409C-BE32-E72D297353CC}">
                <c16:uniqueId val="{00000074-C76F-4230-900D-40618C09729F}"/>
              </c:ext>
            </c:extLst>
          </c:dPt>
          <c:dPt>
            <c:idx val="56"/>
            <c:invertIfNegative val="0"/>
            <c:bubble3D val="0"/>
            <c:spPr>
              <a:solidFill>
                <a:srgbClr val="AEABAB"/>
              </a:solidFill>
            </c:spPr>
            <c:extLst>
              <c:ext xmlns:c16="http://schemas.microsoft.com/office/drawing/2014/chart" uri="{C3380CC4-5D6E-409C-BE32-E72D297353CC}">
                <c16:uniqueId val="{00000076-C76F-4230-900D-40618C09729F}"/>
              </c:ext>
            </c:extLst>
          </c:dPt>
          <c:dPt>
            <c:idx val="57"/>
            <c:invertIfNegative val="0"/>
            <c:bubble3D val="0"/>
            <c:spPr>
              <a:solidFill>
                <a:srgbClr val="AEABAB"/>
              </a:solidFill>
            </c:spPr>
            <c:extLst>
              <c:ext xmlns:c16="http://schemas.microsoft.com/office/drawing/2014/chart" uri="{C3380CC4-5D6E-409C-BE32-E72D297353CC}">
                <c16:uniqueId val="{00000078-C76F-4230-900D-40618C09729F}"/>
              </c:ext>
            </c:extLst>
          </c:dPt>
          <c:dPt>
            <c:idx val="58"/>
            <c:invertIfNegative val="0"/>
            <c:bubble3D val="0"/>
            <c:spPr>
              <a:solidFill>
                <a:srgbClr val="AEABAB"/>
              </a:solidFill>
            </c:spPr>
            <c:extLst>
              <c:ext xmlns:c16="http://schemas.microsoft.com/office/drawing/2014/chart" uri="{C3380CC4-5D6E-409C-BE32-E72D297353CC}">
                <c16:uniqueId val="{0000007A-C76F-4230-900D-40618C09729F}"/>
              </c:ext>
            </c:extLst>
          </c:dPt>
          <c:dPt>
            <c:idx val="59"/>
            <c:invertIfNegative val="0"/>
            <c:bubble3D val="0"/>
            <c:spPr>
              <a:solidFill>
                <a:srgbClr val="AEABAB"/>
              </a:solidFill>
            </c:spPr>
            <c:extLst>
              <c:ext xmlns:c16="http://schemas.microsoft.com/office/drawing/2014/chart" uri="{C3380CC4-5D6E-409C-BE32-E72D297353CC}">
                <c16:uniqueId val="{0000007C-C76F-4230-900D-40618C09729F}"/>
              </c:ext>
            </c:extLst>
          </c:dPt>
          <c:dPt>
            <c:idx val="60"/>
            <c:invertIfNegative val="0"/>
            <c:bubble3D val="0"/>
            <c:spPr>
              <a:solidFill>
                <a:srgbClr val="AEABAB"/>
              </a:solidFill>
            </c:spPr>
            <c:extLst>
              <c:ext xmlns:c16="http://schemas.microsoft.com/office/drawing/2014/chart" uri="{C3380CC4-5D6E-409C-BE32-E72D297353CC}">
                <c16:uniqueId val="{0000007E-C76F-4230-900D-40618C09729F}"/>
              </c:ext>
            </c:extLst>
          </c:dPt>
          <c:dPt>
            <c:idx val="61"/>
            <c:invertIfNegative val="0"/>
            <c:bubble3D val="0"/>
            <c:spPr>
              <a:solidFill>
                <a:srgbClr val="AEABAB"/>
              </a:solidFill>
            </c:spPr>
            <c:extLst>
              <c:ext xmlns:c16="http://schemas.microsoft.com/office/drawing/2014/chart" uri="{C3380CC4-5D6E-409C-BE32-E72D297353CC}">
                <c16:uniqueId val="{00000080-C76F-4230-900D-40618C09729F}"/>
              </c:ext>
            </c:extLst>
          </c:dPt>
          <c:dPt>
            <c:idx val="62"/>
            <c:invertIfNegative val="0"/>
            <c:bubble3D val="0"/>
            <c:spPr>
              <a:solidFill>
                <a:srgbClr val="AEABAB"/>
              </a:solidFill>
            </c:spPr>
            <c:extLst>
              <c:ext xmlns:c16="http://schemas.microsoft.com/office/drawing/2014/chart" uri="{C3380CC4-5D6E-409C-BE32-E72D297353CC}">
                <c16:uniqueId val="{00000082-C76F-4230-900D-40618C09729F}"/>
              </c:ext>
            </c:extLst>
          </c:dPt>
          <c:dPt>
            <c:idx val="63"/>
            <c:invertIfNegative val="0"/>
            <c:bubble3D val="0"/>
            <c:spPr>
              <a:solidFill>
                <a:srgbClr val="AEABAB"/>
              </a:solidFill>
            </c:spPr>
            <c:extLst>
              <c:ext xmlns:c16="http://schemas.microsoft.com/office/drawing/2014/chart" uri="{C3380CC4-5D6E-409C-BE32-E72D297353CC}">
                <c16:uniqueId val="{00000084-C76F-4230-900D-40618C09729F}"/>
              </c:ext>
            </c:extLst>
          </c:dPt>
          <c:dPt>
            <c:idx val="64"/>
            <c:invertIfNegative val="0"/>
            <c:bubble3D val="0"/>
            <c:spPr>
              <a:solidFill>
                <a:srgbClr val="AEABAB"/>
              </a:solidFill>
            </c:spPr>
            <c:extLst>
              <c:ext xmlns:c16="http://schemas.microsoft.com/office/drawing/2014/chart" uri="{C3380CC4-5D6E-409C-BE32-E72D297353CC}">
                <c16:uniqueId val="{00000086-C76F-4230-900D-40618C09729F}"/>
              </c:ext>
            </c:extLst>
          </c:dPt>
          <c:dPt>
            <c:idx val="65"/>
            <c:invertIfNegative val="0"/>
            <c:bubble3D val="0"/>
            <c:spPr>
              <a:solidFill>
                <a:srgbClr val="AEABAB"/>
              </a:solidFill>
            </c:spPr>
            <c:extLst>
              <c:ext xmlns:c16="http://schemas.microsoft.com/office/drawing/2014/chart" uri="{C3380CC4-5D6E-409C-BE32-E72D297353CC}">
                <c16:uniqueId val="{00000088-C76F-4230-900D-40618C09729F}"/>
              </c:ext>
            </c:extLst>
          </c:dPt>
          <c:dPt>
            <c:idx val="66"/>
            <c:invertIfNegative val="0"/>
            <c:bubble3D val="0"/>
            <c:spPr>
              <a:solidFill>
                <a:srgbClr val="AEABAB"/>
              </a:solidFill>
            </c:spPr>
            <c:extLst>
              <c:ext xmlns:c16="http://schemas.microsoft.com/office/drawing/2014/chart" uri="{C3380CC4-5D6E-409C-BE32-E72D297353CC}">
                <c16:uniqueId val="{0000008A-C76F-4230-900D-40618C09729F}"/>
              </c:ext>
            </c:extLst>
          </c:dPt>
          <c:dPt>
            <c:idx val="67"/>
            <c:invertIfNegative val="0"/>
            <c:bubble3D val="0"/>
            <c:spPr>
              <a:solidFill>
                <a:srgbClr val="AEABAB"/>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69</c:f>
              <c:strCache>
                <c:ptCount val="68"/>
                <c:pt idx="0">
                  <c:v>Ruinart</c:v>
                </c:pt>
                <c:pt idx="1">
                  <c:v>Ruinart</c:v>
                </c:pt>
                <c:pt idx="2">
                  <c:v>Ruinart</c:v>
                </c:pt>
                <c:pt idx="3">
                  <c:v>Malard</c:v>
                </c:pt>
                <c:pt idx="4">
                  <c:v>Nicolas</c:v>
                </c:pt>
                <c:pt idx="5">
                  <c:v>Besserat De</c:v>
                </c:pt>
                <c:pt idx="6">
                  <c:v>Ruinart</c:v>
                </c:pt>
                <c:pt idx="7">
                  <c:v>De Bligny</c:v>
                </c:pt>
                <c:pt idx="8">
                  <c:v>Delamotte</c:v>
                </c:pt>
                <c:pt idx="9">
                  <c:v>Henriot</c:v>
                </c:pt>
                <c:pt idx="10">
                  <c:v>Ayala</c:v>
                </c:pt>
                <c:pt idx="11">
                  <c:v>De Venoge</c:v>
                </c:pt>
                <c:pt idx="12">
                  <c:v>Perrier Jou</c:v>
                </c:pt>
                <c:pt idx="13">
                  <c:v>Henriot</c:v>
                </c:pt>
                <c:pt idx="14">
                  <c:v>Deutz</c:v>
                </c:pt>
                <c:pt idx="15">
                  <c:v>Ruinart</c:v>
                </c:pt>
                <c:pt idx="16">
                  <c:v>All Others</c:v>
                </c:pt>
                <c:pt idx="17">
                  <c:v>Nicolas</c:v>
                </c:pt>
                <c:pt idx="18">
                  <c:v>Nicolas</c:v>
                </c:pt>
                <c:pt idx="19">
                  <c:v>Taittinger</c:v>
                </c:pt>
                <c:pt idx="20">
                  <c:v>Laurent Per</c:v>
                </c:pt>
                <c:pt idx="21">
                  <c:v>Lanson</c:v>
                </c:pt>
                <c:pt idx="22">
                  <c:v>Vesselle</c:v>
                </c:pt>
                <c:pt idx="23">
                  <c:v>Taittinger</c:v>
                </c:pt>
                <c:pt idx="24">
                  <c:v>All Others</c:v>
                </c:pt>
                <c:pt idx="25">
                  <c:v>Delamotte</c:v>
                </c:pt>
                <c:pt idx="26">
                  <c:v>Deutz</c:v>
                </c:pt>
                <c:pt idx="27">
                  <c:v>Laurent Per</c:v>
                </c:pt>
                <c:pt idx="28">
                  <c:v>Nicolas</c:v>
                </c:pt>
                <c:pt idx="29">
                  <c:v>Ayala</c:v>
                </c:pt>
                <c:pt idx="30">
                  <c:v>All Others</c:v>
                </c:pt>
                <c:pt idx="31">
                  <c:v>Besserat De</c:v>
                </c:pt>
                <c:pt idx="32">
                  <c:v>Taittinger</c:v>
                </c:pt>
                <c:pt idx="33">
                  <c:v>De Venoge</c:v>
                </c:pt>
                <c:pt idx="34">
                  <c:v>Ruinart</c:v>
                </c:pt>
                <c:pt idx="35">
                  <c:v>Nicolas</c:v>
                </c:pt>
                <c:pt idx="36">
                  <c:v>All Others</c:v>
                </c:pt>
                <c:pt idx="37">
                  <c:v>Perrier Jou</c:v>
                </c:pt>
                <c:pt idx="38">
                  <c:v>Deutz</c:v>
                </c:pt>
                <c:pt idx="39">
                  <c:v>All Others</c:v>
                </c:pt>
                <c:pt idx="40">
                  <c:v>All Others</c:v>
                </c:pt>
                <c:pt idx="41">
                  <c:v>Deutz</c:v>
                </c:pt>
                <c:pt idx="42">
                  <c:v>Taittinger</c:v>
                </c:pt>
                <c:pt idx="43">
                  <c:v>Krug</c:v>
                </c:pt>
                <c:pt idx="44">
                  <c:v>Laurent Per</c:v>
                </c:pt>
                <c:pt idx="45">
                  <c:v>All Others</c:v>
                </c:pt>
                <c:pt idx="46">
                  <c:v>Deutz</c:v>
                </c:pt>
                <c:pt idx="47">
                  <c:v>Ruinart</c:v>
                </c:pt>
                <c:pt idx="48">
                  <c:v>All Others</c:v>
                </c:pt>
                <c:pt idx="49">
                  <c:v>Krug</c:v>
                </c:pt>
                <c:pt idx="50">
                  <c:v>All Others</c:v>
                </c:pt>
                <c:pt idx="51">
                  <c:v>Delamotte</c:v>
                </c:pt>
                <c:pt idx="52">
                  <c:v>Ayala</c:v>
                </c:pt>
                <c:pt idx="53">
                  <c:v>Vranken</c:v>
                </c:pt>
                <c:pt idx="54">
                  <c:v>Besserat De</c:v>
                </c:pt>
                <c:pt idx="55">
                  <c:v>Canard Duch</c:v>
                </c:pt>
                <c:pt idx="56">
                  <c:v>All Others</c:v>
                </c:pt>
                <c:pt idx="57">
                  <c:v>Piper Heids</c:v>
                </c:pt>
                <c:pt idx="58">
                  <c:v>Taittinger</c:v>
                </c:pt>
                <c:pt idx="59">
                  <c:v>Ruinart</c:v>
                </c:pt>
                <c:pt idx="60">
                  <c:v>All Others</c:v>
                </c:pt>
                <c:pt idx="61">
                  <c:v>Henriot</c:v>
                </c:pt>
                <c:pt idx="62">
                  <c:v>Taittinger</c:v>
                </c:pt>
                <c:pt idx="63">
                  <c:v>Pommery</c:v>
                </c:pt>
                <c:pt idx="64">
                  <c:v>De Venoge</c:v>
                </c:pt>
                <c:pt idx="65">
                  <c:v>Deutz</c:v>
                </c:pt>
                <c:pt idx="66">
                  <c:v>Ayala</c:v>
                </c:pt>
                <c:pt idx="67">
                  <c:v>All Others</c:v>
                </c:pt>
              </c:strCache>
            </c:strRef>
          </c:cat>
          <c:val>
            <c:numRef>
              <c:f>Sheet1!$C$2:$C$69</c:f>
              <c:numCache>
                <c:formatCode>General</c:formatCode>
                <c:ptCount val="68"/>
                <c:pt idx="0">
                  <c:v>0.39167270618573208</c:v>
                </c:pt>
                <c:pt idx="1">
                  <c:v>0.55434163001487424</c:v>
                </c:pt>
                <c:pt idx="2">
                  <c:v>0.61468036697283868</c:v>
                </c:pt>
                <c:pt idx="3">
                  <c:v>0.67016995723971229</c:v>
                </c:pt>
                <c:pt idx="4">
                  <c:v>0.71799506524897683</c:v>
                </c:pt>
                <c:pt idx="5">
                  <c:v>0.75454207964085107</c:v>
                </c:pt>
                <c:pt idx="6">
                  <c:v>0.7830994384848502</c:v>
                </c:pt>
                <c:pt idx="7">
                  <c:v>0.80545608756424025</c:v>
                </c:pt>
                <c:pt idx="8">
                  <c:v>0.82659875635997082</c:v>
                </c:pt>
                <c:pt idx="9">
                  <c:v>0.84566943080386292</c:v>
                </c:pt>
                <c:pt idx="10">
                  <c:v>0.86274386149194437</c:v>
                </c:pt>
                <c:pt idx="11">
                  <c:v>0.87678063169345821</c:v>
                </c:pt>
                <c:pt idx="12">
                  <c:v>0.8907724442241588</c:v>
                </c:pt>
                <c:pt idx="13">
                  <c:v>0.90459366394917062</c:v>
                </c:pt>
                <c:pt idx="14">
                  <c:v>0.91471529846720223</c:v>
                </c:pt>
                <c:pt idx="15">
                  <c:v>0.92420777193724957</c:v>
                </c:pt>
                <c:pt idx="16">
                  <c:v>0.93207967533910419</c:v>
                </c:pt>
                <c:pt idx="17">
                  <c:v>0.93930221753403376</c:v>
                </c:pt>
                <c:pt idx="18">
                  <c:v>0.94641489057179773</c:v>
                </c:pt>
                <c:pt idx="19">
                  <c:v>0.95204088118020191</c:v>
                </c:pt>
                <c:pt idx="20">
                  <c:v>0.95655684842047095</c:v>
                </c:pt>
                <c:pt idx="21">
                  <c:v>0.9607411142703286</c:v>
                </c:pt>
                <c:pt idx="22">
                  <c:v>0.96433009128993807</c:v>
                </c:pt>
                <c:pt idx="23">
                  <c:v>0.96769366409697677</c:v>
                </c:pt>
                <c:pt idx="24">
                  <c:v>0.97086188658645423</c:v>
                </c:pt>
                <c:pt idx="25">
                  <c:v>0.97400461253385395</c:v>
                </c:pt>
                <c:pt idx="26">
                  <c:v>0.97706850859270444</c:v>
                </c:pt>
                <c:pt idx="27">
                  <c:v>0.98007956399188667</c:v>
                </c:pt>
                <c:pt idx="28">
                  <c:v>0.98295993421645822</c:v>
                </c:pt>
                <c:pt idx="29">
                  <c:v>0.98562093564180109</c:v>
                </c:pt>
                <c:pt idx="30">
                  <c:v>0.9873885727208187</c:v>
                </c:pt>
                <c:pt idx="31">
                  <c:v>0.98910139839295441</c:v>
                </c:pt>
                <c:pt idx="32">
                  <c:v>0.99068477060748794</c:v>
                </c:pt>
                <c:pt idx="33">
                  <c:v>0.99153256142449564</c:v>
                </c:pt>
                <c:pt idx="34">
                  <c:v>0.99232935915734799</c:v>
                </c:pt>
                <c:pt idx="35">
                  <c:v>0.99308686511762656</c:v>
                </c:pt>
                <c:pt idx="36">
                  <c:v>0.99382774289828935</c:v>
                </c:pt>
                <c:pt idx="37">
                  <c:v>0.99448116877134263</c:v>
                </c:pt>
                <c:pt idx="38">
                  <c:v>0.9951182128081818</c:v>
                </c:pt>
                <c:pt idx="39">
                  <c:v>0.99573197739355879</c:v>
                </c:pt>
                <c:pt idx="40">
                  <c:v>0.99618303216210191</c:v>
                </c:pt>
                <c:pt idx="41">
                  <c:v>0.99661511848871287</c:v>
                </c:pt>
                <c:pt idx="42">
                  <c:v>0.99704621944171701</c:v>
                </c:pt>
                <c:pt idx="43">
                  <c:v>0.99740464909121473</c:v>
                </c:pt>
                <c:pt idx="44">
                  <c:v>0.99772329428133522</c:v>
                </c:pt>
                <c:pt idx="45">
                  <c:v>0.99800548064800165</c:v>
                </c:pt>
                <c:pt idx="46">
                  <c:v>0.99828631212595864</c:v>
                </c:pt>
                <c:pt idx="47">
                  <c:v>0.99852464936711949</c:v>
                </c:pt>
                <c:pt idx="48">
                  <c:v>0.99874869869098071</c:v>
                </c:pt>
                <c:pt idx="49">
                  <c:v>0.99892729765722521</c:v>
                </c:pt>
                <c:pt idx="50">
                  <c:v>0.99908520377772558</c:v>
                </c:pt>
                <c:pt idx="51">
                  <c:v>0.99923953791890108</c:v>
                </c:pt>
                <c:pt idx="52">
                  <c:v>0.99934669729864778</c:v>
                </c:pt>
                <c:pt idx="53">
                  <c:v>0.99944843712355669</c:v>
                </c:pt>
                <c:pt idx="54">
                  <c:v>0.99954697448424334</c:v>
                </c:pt>
                <c:pt idx="55">
                  <c:v>0.99962210922176686</c:v>
                </c:pt>
                <c:pt idx="56">
                  <c:v>0.99968739022322173</c:v>
                </c:pt>
                <c:pt idx="57">
                  <c:v>0.99974688215473628</c:v>
                </c:pt>
                <c:pt idx="58">
                  <c:v>0.99980120087481483</c:v>
                </c:pt>
                <c:pt idx="59">
                  <c:v>0.99984899149474782</c:v>
                </c:pt>
                <c:pt idx="60">
                  <c:v>0.99988902229752674</c:v>
                </c:pt>
                <c:pt idx="61">
                  <c:v>0.99991821399063019</c:v>
                </c:pt>
                <c:pt idx="62">
                  <c:v>0.99993915317977611</c:v>
                </c:pt>
                <c:pt idx="63">
                  <c:v>0.99995627404619536</c:v>
                </c:pt>
                <c:pt idx="64">
                  <c:v>0.99997105465029834</c:v>
                </c:pt>
                <c:pt idx="65">
                  <c:v>0.99997844495234989</c:v>
                </c:pt>
                <c:pt idx="66">
                  <c:v>0.99998472670909366</c:v>
                </c:pt>
                <c:pt idx="67">
                  <c:v>1.0000000000000002</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46</c:f>
              <c:strCache>
                <c:ptCount val="45"/>
                <c:pt idx="0">
                  <c:v>Ruinart</c:v>
                </c:pt>
                <c:pt idx="1">
                  <c:v>Ruinart</c:v>
                </c:pt>
                <c:pt idx="2">
                  <c:v>Malard</c:v>
                </c:pt>
                <c:pt idx="3">
                  <c:v>Nicolas</c:v>
                </c:pt>
                <c:pt idx="4">
                  <c:v>Ruinart</c:v>
                </c:pt>
                <c:pt idx="5">
                  <c:v>Besserat De</c:v>
                </c:pt>
                <c:pt idx="6">
                  <c:v>De Bligny</c:v>
                </c:pt>
                <c:pt idx="7">
                  <c:v>Delamotte</c:v>
                </c:pt>
                <c:pt idx="8">
                  <c:v>Ruinart</c:v>
                </c:pt>
                <c:pt idx="9">
                  <c:v>Henriot</c:v>
                </c:pt>
                <c:pt idx="10">
                  <c:v>Henriot</c:v>
                </c:pt>
                <c:pt idx="11">
                  <c:v>Ayala</c:v>
                </c:pt>
                <c:pt idx="12">
                  <c:v>De Venoge</c:v>
                </c:pt>
                <c:pt idx="13">
                  <c:v>Perrier Jou</c:v>
                </c:pt>
                <c:pt idx="14">
                  <c:v>Ruinart</c:v>
                </c:pt>
                <c:pt idx="15">
                  <c:v>Nicolas</c:v>
                </c:pt>
                <c:pt idx="16">
                  <c:v>Nicolas</c:v>
                </c:pt>
                <c:pt idx="17">
                  <c:v>Deutz</c:v>
                </c:pt>
                <c:pt idx="18">
                  <c:v>Taittinger</c:v>
                </c:pt>
                <c:pt idx="19">
                  <c:v>Lanson</c:v>
                </c:pt>
                <c:pt idx="20">
                  <c:v>All Others</c:v>
                </c:pt>
                <c:pt idx="21">
                  <c:v>Vesselle</c:v>
                </c:pt>
                <c:pt idx="22">
                  <c:v>Ayala</c:v>
                </c:pt>
                <c:pt idx="23">
                  <c:v>Laurent Per</c:v>
                </c:pt>
                <c:pt idx="24">
                  <c:v>Deutz</c:v>
                </c:pt>
                <c:pt idx="25">
                  <c:v>Nicolas</c:v>
                </c:pt>
                <c:pt idx="26">
                  <c:v>Delamotte</c:v>
                </c:pt>
                <c:pt idx="27">
                  <c:v>Taittinger</c:v>
                </c:pt>
                <c:pt idx="28">
                  <c:v>Taittinger</c:v>
                </c:pt>
                <c:pt idx="29">
                  <c:v>Besserat De</c:v>
                </c:pt>
                <c:pt idx="30">
                  <c:v>Nicolas</c:v>
                </c:pt>
                <c:pt idx="31">
                  <c:v>Ruinart</c:v>
                </c:pt>
                <c:pt idx="32">
                  <c:v>Ruinart</c:v>
                </c:pt>
                <c:pt idx="33">
                  <c:v>De Venoge</c:v>
                </c:pt>
                <c:pt idx="34">
                  <c:v>Laurent Per</c:v>
                </c:pt>
                <c:pt idx="35">
                  <c:v>Deutz</c:v>
                </c:pt>
                <c:pt idx="36">
                  <c:v>Deutz</c:v>
                </c:pt>
                <c:pt idx="37">
                  <c:v>Vranken</c:v>
                </c:pt>
                <c:pt idx="38">
                  <c:v>All Others</c:v>
                </c:pt>
                <c:pt idx="39">
                  <c:v>Besserat De</c:v>
                </c:pt>
                <c:pt idx="40">
                  <c:v>Ayala</c:v>
                </c:pt>
                <c:pt idx="41">
                  <c:v>Ruinart</c:v>
                </c:pt>
                <c:pt idx="42">
                  <c:v>Taittinger</c:v>
                </c:pt>
                <c:pt idx="43">
                  <c:v>Taittinger</c:v>
                </c:pt>
                <c:pt idx="44">
                  <c:v>Pommery</c:v>
                </c:pt>
              </c:strCache>
            </c:strRef>
          </c:cat>
          <c:val>
            <c:numRef>
              <c:f>Sheet1!$B$2:$B$46</c:f>
              <c:numCache>
                <c:formatCode>General</c:formatCode>
                <c:ptCount val="45"/>
                <c:pt idx="0">
                  <c:v>0.81</c:v>
                </c:pt>
                <c:pt idx="1">
                  <c:v>0.64</c:v>
                </c:pt>
                <c:pt idx="2">
                  <c:v>0.67</c:v>
                </c:pt>
                <c:pt idx="3">
                  <c:v>0.56999999999999995</c:v>
                </c:pt>
                <c:pt idx="4">
                  <c:v>0.36</c:v>
                </c:pt>
                <c:pt idx="5">
                  <c:v>0.4</c:v>
                </c:pt>
                <c:pt idx="6">
                  <c:v>0.56000000000000005</c:v>
                </c:pt>
                <c:pt idx="7">
                  <c:v>0.26</c:v>
                </c:pt>
                <c:pt idx="8">
                  <c:v>0.34</c:v>
                </c:pt>
                <c:pt idx="9">
                  <c:v>0.36</c:v>
                </c:pt>
                <c:pt idx="10">
                  <c:v>0.3</c:v>
                </c:pt>
                <c:pt idx="11">
                  <c:v>0.32</c:v>
                </c:pt>
                <c:pt idx="12">
                  <c:v>0.22</c:v>
                </c:pt>
                <c:pt idx="13">
                  <c:v>0.1</c:v>
                </c:pt>
                <c:pt idx="14">
                  <c:v>0.25</c:v>
                </c:pt>
                <c:pt idx="15">
                  <c:v>0.12</c:v>
                </c:pt>
                <c:pt idx="16">
                  <c:v>0.28000000000000003</c:v>
                </c:pt>
                <c:pt idx="17">
                  <c:v>0.08</c:v>
                </c:pt>
                <c:pt idx="18">
                  <c:v>0.04</c:v>
                </c:pt>
                <c:pt idx="19">
                  <c:v>0.09</c:v>
                </c:pt>
                <c:pt idx="20">
                  <c:v>0.05</c:v>
                </c:pt>
                <c:pt idx="21">
                  <c:v>0.13</c:v>
                </c:pt>
                <c:pt idx="22">
                  <c:v>0.06</c:v>
                </c:pt>
                <c:pt idx="23">
                  <c:v>0.05</c:v>
                </c:pt>
                <c:pt idx="24">
                  <c:v>0.03</c:v>
                </c:pt>
                <c:pt idx="25">
                  <c:v>0.03</c:v>
                </c:pt>
                <c:pt idx="26">
                  <c:v>0.08</c:v>
                </c:pt>
                <c:pt idx="27">
                  <c:v>0.03</c:v>
                </c:pt>
                <c:pt idx="28">
                  <c:v>0.01</c:v>
                </c:pt>
                <c:pt idx="29">
                  <c:v>0.05</c:v>
                </c:pt>
                <c:pt idx="30">
                  <c:v>0.02</c:v>
                </c:pt>
                <c:pt idx="31">
                  <c:v>0.01</c:v>
                </c:pt>
                <c:pt idx="32">
                  <c:v>0.02</c:v>
                </c:pt>
                <c:pt idx="33">
                  <c:v>0.03</c:v>
                </c:pt>
                <c:pt idx="34">
                  <c:v>0.01</c:v>
                </c:pt>
                <c:pt idx="35">
                  <c:v>0.01</c:v>
                </c:pt>
                <c:pt idx="36">
                  <c:v>0.01</c:v>
                </c:pt>
                <c:pt idx="37">
                  <c:v>0.01</c:v>
                </c:pt>
                <c:pt idx="38">
                  <c:v>0.01</c:v>
                </c:pt>
                <c:pt idx="39">
                  <c:v>0.01</c:v>
                </c:pt>
                <c:pt idx="40">
                  <c:v>0.01</c:v>
                </c:pt>
                <c:pt idx="41">
                  <c:v>0.01</c:v>
                </c:pt>
                <c:pt idx="42">
                  <c:v>0.01</c:v>
                </c:pt>
                <c:pt idx="43">
                  <c:v>0.01</c:v>
                </c:pt>
                <c:pt idx="44">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7ECAC4"/>
              </a:solidFill>
            </c:spPr>
            <c:extLst>
              <c:ext xmlns:c16="http://schemas.microsoft.com/office/drawing/2014/chart" uri="{C3380CC4-5D6E-409C-BE32-E72D297353CC}">
                <c16:uniqueId val="{00000049-2993-41DE-A2CB-63102DE87051}"/>
              </c:ext>
            </c:extLst>
          </c:dPt>
          <c:dPt>
            <c:idx val="9"/>
            <c:invertIfNegative val="1"/>
            <c:bubble3D val="0"/>
            <c:spPr>
              <a:solidFill>
                <a:srgbClr val="7ECAC4"/>
              </a:solidFill>
            </c:spPr>
            <c:extLst>
              <c:ext xmlns:c16="http://schemas.microsoft.com/office/drawing/2014/chart" uri="{C3380CC4-5D6E-409C-BE32-E72D297353CC}">
                <c16:uniqueId val="{0000004B-2993-41DE-A2CB-63102DE87051}"/>
              </c:ext>
            </c:extLst>
          </c:dPt>
          <c:dPt>
            <c:idx val="10"/>
            <c:invertIfNegative val="1"/>
            <c:bubble3D val="0"/>
            <c:spPr>
              <a:solidFill>
                <a:srgbClr val="7ECAC4"/>
              </a:solidFill>
            </c:spPr>
            <c:extLst>
              <c:ext xmlns:c16="http://schemas.microsoft.com/office/drawing/2014/chart" uri="{C3380CC4-5D6E-409C-BE32-E72D297353CC}">
                <c16:uniqueId val="{0000004D-2993-41DE-A2CB-63102DE87051}"/>
              </c:ext>
            </c:extLst>
          </c:dPt>
          <c:dPt>
            <c:idx val="11"/>
            <c:invertIfNegative val="1"/>
            <c:bubble3D val="0"/>
            <c:spPr>
              <a:solidFill>
                <a:srgbClr val="7ECAC4"/>
              </a:solidFill>
            </c:spPr>
            <c:extLst>
              <c:ext xmlns:c16="http://schemas.microsoft.com/office/drawing/2014/chart" uri="{C3380CC4-5D6E-409C-BE32-E72D297353CC}">
                <c16:uniqueId val="{0000004F-2993-41DE-A2CB-63102DE87051}"/>
              </c:ext>
            </c:extLst>
          </c:dPt>
          <c:dPt>
            <c:idx val="12"/>
            <c:invertIfNegative val="1"/>
            <c:bubble3D val="0"/>
            <c:spPr>
              <a:solidFill>
                <a:srgbClr val="7ECAC4"/>
              </a:solidFill>
            </c:spPr>
            <c:extLst>
              <c:ext xmlns:c16="http://schemas.microsoft.com/office/drawing/2014/chart" uri="{C3380CC4-5D6E-409C-BE32-E72D297353CC}">
                <c16:uniqueId val="{00000051-2993-41DE-A2CB-63102DE87051}"/>
              </c:ext>
            </c:extLst>
          </c:dPt>
          <c:dPt>
            <c:idx val="13"/>
            <c:invertIfNegative val="1"/>
            <c:bubble3D val="0"/>
            <c:spPr>
              <a:solidFill>
                <a:srgbClr val="7ECAC4"/>
              </a:solidFill>
            </c:spPr>
            <c:extLst>
              <c:ext xmlns:c16="http://schemas.microsoft.com/office/drawing/2014/chart" uri="{C3380CC4-5D6E-409C-BE32-E72D297353CC}">
                <c16:uniqueId val="{00000053-2993-41DE-A2CB-63102DE87051}"/>
              </c:ext>
            </c:extLst>
          </c:dPt>
          <c:dPt>
            <c:idx val="14"/>
            <c:invertIfNegative val="1"/>
            <c:bubble3D val="0"/>
            <c:spPr>
              <a:solidFill>
                <a:srgbClr val="7ECAC4"/>
              </a:solidFill>
            </c:spPr>
            <c:extLst>
              <c:ext xmlns:c16="http://schemas.microsoft.com/office/drawing/2014/chart" uri="{C3380CC4-5D6E-409C-BE32-E72D297353CC}">
                <c16:uniqueId val="{00000055-2993-41DE-A2CB-63102DE87051}"/>
              </c:ext>
            </c:extLst>
          </c:dPt>
          <c:dPt>
            <c:idx val="15"/>
            <c:invertIfNegative val="1"/>
            <c:bubble3D val="0"/>
            <c:spPr>
              <a:solidFill>
                <a:srgbClr val="7ECAC4"/>
              </a:solidFill>
            </c:spPr>
            <c:extLst>
              <c:ext xmlns:c16="http://schemas.microsoft.com/office/drawing/2014/chart" uri="{C3380CC4-5D6E-409C-BE32-E72D297353CC}">
                <c16:uniqueId val="{00000057-2993-41DE-A2CB-63102DE87051}"/>
              </c:ext>
            </c:extLst>
          </c:dPt>
          <c:dPt>
            <c:idx val="16"/>
            <c:invertIfNegative val="1"/>
            <c:bubble3D val="0"/>
            <c:spPr>
              <a:solidFill>
                <a:srgbClr val="7ECAC4"/>
              </a:solidFill>
            </c:spPr>
            <c:extLst>
              <c:ext xmlns:c16="http://schemas.microsoft.com/office/drawing/2014/chart" uri="{C3380CC4-5D6E-409C-BE32-E72D297353CC}">
                <c16:uniqueId val="{00000059-2993-41DE-A2CB-63102DE87051}"/>
              </c:ext>
            </c:extLst>
          </c:dPt>
          <c:dPt>
            <c:idx val="17"/>
            <c:invertIfNegative val="1"/>
            <c:bubble3D val="0"/>
            <c:spPr>
              <a:solidFill>
                <a:srgbClr val="AEABAB"/>
              </a:solidFill>
            </c:spPr>
            <c:extLst>
              <c:ext xmlns:c16="http://schemas.microsoft.com/office/drawing/2014/chart" uri="{C3380CC4-5D6E-409C-BE32-E72D297353CC}">
                <c16:uniqueId val="{0000005B-2993-41DE-A2CB-63102DE87051}"/>
              </c:ext>
            </c:extLst>
          </c:dPt>
          <c:dPt>
            <c:idx val="18"/>
            <c:invertIfNegative val="1"/>
            <c:bubble3D val="0"/>
            <c:spPr>
              <a:solidFill>
                <a:srgbClr val="AEABAB"/>
              </a:solidFill>
            </c:spPr>
            <c:extLst>
              <c:ext xmlns:c16="http://schemas.microsoft.com/office/drawing/2014/chart" uri="{C3380CC4-5D6E-409C-BE32-E72D297353CC}">
                <c16:uniqueId val="{0000005D-2993-41DE-A2CB-63102DE87051}"/>
              </c:ext>
            </c:extLst>
          </c:dPt>
          <c:dPt>
            <c:idx val="19"/>
            <c:invertIfNegative val="1"/>
            <c:bubble3D val="0"/>
            <c:spPr>
              <a:solidFill>
                <a:srgbClr val="AEABAB"/>
              </a:solidFill>
            </c:spPr>
            <c:extLst>
              <c:ext xmlns:c16="http://schemas.microsoft.com/office/drawing/2014/chart" uri="{C3380CC4-5D6E-409C-BE32-E72D297353CC}">
                <c16:uniqueId val="{0000005F-2993-41DE-A2CB-63102DE87051}"/>
              </c:ext>
            </c:extLst>
          </c:dPt>
          <c:dPt>
            <c:idx val="20"/>
            <c:invertIfNegative val="1"/>
            <c:bubble3D val="0"/>
            <c:spPr>
              <a:solidFill>
                <a:srgbClr val="AEABAB"/>
              </a:solidFill>
            </c:spPr>
            <c:extLst>
              <c:ext xmlns:c16="http://schemas.microsoft.com/office/drawing/2014/chart" uri="{C3380CC4-5D6E-409C-BE32-E72D297353CC}">
                <c16:uniqueId val="{00000061-2993-41DE-A2CB-63102DE87051}"/>
              </c:ext>
            </c:extLst>
          </c:dPt>
          <c:dPt>
            <c:idx val="21"/>
            <c:invertIfNegative val="1"/>
            <c:bubble3D val="0"/>
            <c:spPr>
              <a:solidFill>
                <a:srgbClr val="AEABAB"/>
              </a:solidFill>
            </c:spPr>
            <c:extLst>
              <c:ext xmlns:c16="http://schemas.microsoft.com/office/drawing/2014/chart" uri="{C3380CC4-5D6E-409C-BE32-E72D297353CC}">
                <c16:uniqueId val="{00000063-2993-41DE-A2CB-63102DE87051}"/>
              </c:ext>
            </c:extLst>
          </c:dPt>
          <c:dPt>
            <c:idx val="22"/>
            <c:invertIfNegative val="1"/>
            <c:bubble3D val="0"/>
            <c:spPr>
              <a:solidFill>
                <a:srgbClr val="AEABAB"/>
              </a:solidFill>
            </c:spPr>
            <c:extLst>
              <c:ext xmlns:c16="http://schemas.microsoft.com/office/drawing/2014/chart" uri="{C3380CC4-5D6E-409C-BE32-E72D297353CC}">
                <c16:uniqueId val="{00000065-2993-41DE-A2CB-63102DE87051}"/>
              </c:ext>
            </c:extLst>
          </c:dPt>
          <c:dPt>
            <c:idx val="23"/>
            <c:invertIfNegative val="1"/>
            <c:bubble3D val="0"/>
            <c:spPr>
              <a:solidFill>
                <a:srgbClr val="AEABAB"/>
              </a:solidFill>
            </c:spPr>
            <c:extLst>
              <c:ext xmlns:c16="http://schemas.microsoft.com/office/drawing/2014/chart" uri="{C3380CC4-5D6E-409C-BE32-E72D297353CC}">
                <c16:uniqueId val="{00000067-2993-41DE-A2CB-63102DE87051}"/>
              </c:ext>
            </c:extLst>
          </c:dPt>
          <c:dPt>
            <c:idx val="24"/>
            <c:invertIfNegative val="1"/>
            <c:bubble3D val="0"/>
            <c:spPr>
              <a:solidFill>
                <a:srgbClr val="AEABAB"/>
              </a:solidFill>
            </c:spPr>
            <c:extLst>
              <c:ext xmlns:c16="http://schemas.microsoft.com/office/drawing/2014/chart" uri="{C3380CC4-5D6E-409C-BE32-E72D297353CC}">
                <c16:uniqueId val="{00000069-2993-41DE-A2CB-63102DE87051}"/>
              </c:ext>
            </c:extLst>
          </c:dPt>
          <c:dPt>
            <c:idx val="25"/>
            <c:invertIfNegative val="1"/>
            <c:bubble3D val="0"/>
            <c:spPr>
              <a:solidFill>
                <a:srgbClr val="AEABAB"/>
              </a:solidFill>
            </c:spPr>
            <c:extLst>
              <c:ext xmlns:c16="http://schemas.microsoft.com/office/drawing/2014/chart" uri="{C3380CC4-5D6E-409C-BE32-E72D297353CC}">
                <c16:uniqueId val="{0000006B-2993-41DE-A2CB-63102DE87051}"/>
              </c:ext>
            </c:extLst>
          </c:dPt>
          <c:dPt>
            <c:idx val="26"/>
            <c:invertIfNegative val="1"/>
            <c:bubble3D val="0"/>
            <c:spPr>
              <a:solidFill>
                <a:srgbClr val="AEABAB"/>
              </a:solidFill>
            </c:spPr>
            <c:extLst>
              <c:ext xmlns:c16="http://schemas.microsoft.com/office/drawing/2014/chart" uri="{C3380CC4-5D6E-409C-BE32-E72D297353CC}">
                <c16:uniqueId val="{0000006D-2993-41DE-A2CB-63102DE87051}"/>
              </c:ext>
            </c:extLst>
          </c:dPt>
          <c:dPt>
            <c:idx val="27"/>
            <c:invertIfNegative val="1"/>
            <c:bubble3D val="0"/>
            <c:spPr>
              <a:solidFill>
                <a:srgbClr val="AEABAB"/>
              </a:solidFill>
            </c:spPr>
            <c:extLst>
              <c:ext xmlns:c16="http://schemas.microsoft.com/office/drawing/2014/chart" uri="{C3380CC4-5D6E-409C-BE32-E72D297353CC}">
                <c16:uniqueId val="{0000006F-2993-41DE-A2CB-63102DE87051}"/>
              </c:ext>
            </c:extLst>
          </c:dPt>
          <c:dPt>
            <c:idx val="28"/>
            <c:invertIfNegative val="1"/>
            <c:bubble3D val="0"/>
            <c:spPr>
              <a:solidFill>
                <a:srgbClr val="AEABAB"/>
              </a:solidFill>
            </c:spPr>
            <c:extLst>
              <c:ext xmlns:c16="http://schemas.microsoft.com/office/drawing/2014/chart" uri="{C3380CC4-5D6E-409C-BE32-E72D297353CC}">
                <c16:uniqueId val="{00000071-2993-41DE-A2CB-63102DE87051}"/>
              </c:ext>
            </c:extLst>
          </c:dPt>
          <c:dPt>
            <c:idx val="29"/>
            <c:invertIfNegative val="1"/>
            <c:bubble3D val="0"/>
            <c:spPr>
              <a:solidFill>
                <a:srgbClr val="AEABAB"/>
              </a:solidFill>
            </c:spPr>
            <c:extLst>
              <c:ext xmlns:c16="http://schemas.microsoft.com/office/drawing/2014/chart" uri="{C3380CC4-5D6E-409C-BE32-E72D297353CC}">
                <c16:uniqueId val="{00000073-2993-41DE-A2CB-63102DE87051}"/>
              </c:ext>
            </c:extLst>
          </c:dPt>
          <c:dPt>
            <c:idx val="30"/>
            <c:invertIfNegative val="1"/>
            <c:bubble3D val="0"/>
            <c:spPr>
              <a:solidFill>
                <a:srgbClr val="AEABAB"/>
              </a:solidFill>
            </c:spPr>
            <c:extLst>
              <c:ext xmlns:c16="http://schemas.microsoft.com/office/drawing/2014/chart" uri="{C3380CC4-5D6E-409C-BE32-E72D297353CC}">
                <c16:uniqueId val="{00000075-2993-41DE-A2CB-63102DE87051}"/>
              </c:ext>
            </c:extLst>
          </c:dPt>
          <c:dPt>
            <c:idx val="31"/>
            <c:invertIfNegative val="1"/>
            <c:bubble3D val="0"/>
            <c:spPr>
              <a:solidFill>
                <a:srgbClr val="AEABAB"/>
              </a:solidFill>
            </c:spPr>
            <c:extLst>
              <c:ext xmlns:c16="http://schemas.microsoft.com/office/drawing/2014/chart" uri="{C3380CC4-5D6E-409C-BE32-E72D297353CC}">
                <c16:uniqueId val="{00000077-2993-41DE-A2CB-63102DE87051}"/>
              </c:ext>
            </c:extLst>
          </c:dPt>
          <c:dPt>
            <c:idx val="32"/>
            <c:invertIfNegative val="1"/>
            <c:bubble3D val="0"/>
            <c:spPr>
              <a:solidFill>
                <a:srgbClr val="AEABAB"/>
              </a:solidFill>
            </c:spPr>
            <c:extLst>
              <c:ext xmlns:c16="http://schemas.microsoft.com/office/drawing/2014/chart" uri="{C3380CC4-5D6E-409C-BE32-E72D297353CC}">
                <c16:uniqueId val="{00000079-2993-41DE-A2CB-63102DE87051}"/>
              </c:ext>
            </c:extLst>
          </c:dPt>
          <c:dPt>
            <c:idx val="33"/>
            <c:invertIfNegative val="1"/>
            <c:bubble3D val="0"/>
            <c:spPr>
              <a:solidFill>
                <a:srgbClr val="AEABAB"/>
              </a:solidFill>
            </c:spPr>
            <c:extLst>
              <c:ext xmlns:c16="http://schemas.microsoft.com/office/drawing/2014/chart" uri="{C3380CC4-5D6E-409C-BE32-E72D297353CC}">
                <c16:uniqueId val="{0000007B-2993-41DE-A2CB-63102DE87051}"/>
              </c:ext>
            </c:extLst>
          </c:dPt>
          <c:dPt>
            <c:idx val="34"/>
            <c:invertIfNegative val="1"/>
            <c:bubble3D val="0"/>
            <c:spPr>
              <a:solidFill>
                <a:srgbClr val="AEABAB"/>
              </a:solidFill>
            </c:spPr>
            <c:extLst>
              <c:ext xmlns:c16="http://schemas.microsoft.com/office/drawing/2014/chart" uri="{C3380CC4-5D6E-409C-BE32-E72D297353CC}">
                <c16:uniqueId val="{0000007D-2993-41DE-A2CB-63102DE87051}"/>
              </c:ext>
            </c:extLst>
          </c:dPt>
          <c:dPt>
            <c:idx val="35"/>
            <c:invertIfNegative val="1"/>
            <c:bubble3D val="0"/>
            <c:spPr>
              <a:solidFill>
                <a:srgbClr val="AEABAB"/>
              </a:solidFill>
            </c:spPr>
            <c:extLst>
              <c:ext xmlns:c16="http://schemas.microsoft.com/office/drawing/2014/chart" uri="{C3380CC4-5D6E-409C-BE32-E72D297353CC}">
                <c16:uniqueId val="{0000007F-2993-41DE-A2CB-63102DE87051}"/>
              </c:ext>
            </c:extLst>
          </c:dPt>
          <c:dPt>
            <c:idx val="36"/>
            <c:invertIfNegative val="1"/>
            <c:bubble3D val="0"/>
            <c:spPr>
              <a:solidFill>
                <a:srgbClr val="AEABAB"/>
              </a:solidFill>
            </c:spPr>
            <c:extLst>
              <c:ext xmlns:c16="http://schemas.microsoft.com/office/drawing/2014/chart" uri="{C3380CC4-5D6E-409C-BE32-E72D297353CC}">
                <c16:uniqueId val="{00000081-2993-41DE-A2CB-63102DE87051}"/>
              </c:ext>
            </c:extLst>
          </c:dPt>
          <c:dPt>
            <c:idx val="37"/>
            <c:invertIfNegative val="1"/>
            <c:bubble3D val="0"/>
            <c:spPr>
              <a:solidFill>
                <a:srgbClr val="AEABAB"/>
              </a:solidFill>
            </c:spPr>
            <c:extLst>
              <c:ext xmlns:c16="http://schemas.microsoft.com/office/drawing/2014/chart" uri="{C3380CC4-5D6E-409C-BE32-E72D297353CC}">
                <c16:uniqueId val="{00000083-2993-41DE-A2CB-63102DE87051}"/>
              </c:ext>
            </c:extLst>
          </c:dPt>
          <c:dPt>
            <c:idx val="38"/>
            <c:invertIfNegative val="1"/>
            <c:bubble3D val="0"/>
            <c:spPr>
              <a:solidFill>
                <a:srgbClr val="AEABAB"/>
              </a:solidFill>
            </c:spPr>
            <c:extLst>
              <c:ext xmlns:c16="http://schemas.microsoft.com/office/drawing/2014/chart" uri="{C3380CC4-5D6E-409C-BE32-E72D297353CC}">
                <c16:uniqueId val="{00000085-2993-41DE-A2CB-63102DE87051}"/>
              </c:ext>
            </c:extLst>
          </c:dPt>
          <c:dPt>
            <c:idx val="39"/>
            <c:invertIfNegative val="1"/>
            <c:bubble3D val="0"/>
            <c:spPr>
              <a:solidFill>
                <a:srgbClr val="AEABAB"/>
              </a:solidFill>
            </c:spPr>
            <c:extLst>
              <c:ext xmlns:c16="http://schemas.microsoft.com/office/drawing/2014/chart" uri="{C3380CC4-5D6E-409C-BE32-E72D297353CC}">
                <c16:uniqueId val="{00000087-2993-41DE-A2CB-63102DE87051}"/>
              </c:ext>
            </c:extLst>
          </c:dPt>
          <c:dPt>
            <c:idx val="40"/>
            <c:invertIfNegative val="1"/>
            <c:bubble3D val="0"/>
            <c:spPr>
              <a:solidFill>
                <a:srgbClr val="AEABAB"/>
              </a:solidFill>
            </c:spPr>
            <c:extLst>
              <c:ext xmlns:c16="http://schemas.microsoft.com/office/drawing/2014/chart" uri="{C3380CC4-5D6E-409C-BE32-E72D297353CC}">
                <c16:uniqueId val="{00000089-2993-41DE-A2CB-63102DE87051}"/>
              </c:ext>
            </c:extLst>
          </c:dPt>
          <c:dPt>
            <c:idx val="41"/>
            <c:invertIfNegative val="1"/>
            <c:bubble3D val="0"/>
            <c:spPr>
              <a:solidFill>
                <a:srgbClr val="AEABAB"/>
              </a:solidFill>
            </c:spPr>
            <c:extLst>
              <c:ext xmlns:c16="http://schemas.microsoft.com/office/drawing/2014/chart" uri="{C3380CC4-5D6E-409C-BE32-E72D297353CC}">
                <c16:uniqueId val="{0000008B-2993-41DE-A2CB-63102DE87051}"/>
              </c:ext>
            </c:extLst>
          </c:dPt>
          <c:dPt>
            <c:idx val="42"/>
            <c:invertIfNegative val="1"/>
            <c:bubble3D val="0"/>
            <c:spPr>
              <a:solidFill>
                <a:srgbClr val="AEABAB"/>
              </a:solidFill>
            </c:spPr>
            <c:extLst>
              <c:ext xmlns:c16="http://schemas.microsoft.com/office/drawing/2014/chart" uri="{C3380CC4-5D6E-409C-BE32-E72D297353CC}">
                <c16:uniqueId val="{0000008D-2993-41DE-A2CB-63102DE87051}"/>
              </c:ext>
            </c:extLst>
          </c:dPt>
          <c:dPt>
            <c:idx val="43"/>
            <c:invertIfNegative val="1"/>
            <c:bubble3D val="0"/>
            <c:spPr>
              <a:solidFill>
                <a:srgbClr val="AEABAB"/>
              </a:solidFill>
            </c:spPr>
            <c:extLst>
              <c:ext xmlns:c16="http://schemas.microsoft.com/office/drawing/2014/chart" uri="{C3380CC4-5D6E-409C-BE32-E72D297353CC}">
                <c16:uniqueId val="{0000008F-2993-41DE-A2CB-63102DE87051}"/>
              </c:ext>
            </c:extLst>
          </c:dPt>
          <c:dPt>
            <c:idx val="44"/>
            <c:invertIfNegative val="1"/>
            <c:bubble3D val="0"/>
            <c:spPr>
              <a:solidFill>
                <a:srgbClr val="AEABAB"/>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46</c:f>
              <c:strCache>
                <c:ptCount val="45"/>
                <c:pt idx="0">
                  <c:v>Ruinart</c:v>
                </c:pt>
                <c:pt idx="1">
                  <c:v>Ruinart</c:v>
                </c:pt>
                <c:pt idx="2">
                  <c:v>Malard</c:v>
                </c:pt>
                <c:pt idx="3">
                  <c:v>Nicolas</c:v>
                </c:pt>
                <c:pt idx="4">
                  <c:v>Ruinart</c:v>
                </c:pt>
                <c:pt idx="5">
                  <c:v>Besserat De</c:v>
                </c:pt>
                <c:pt idx="6">
                  <c:v>De Bligny</c:v>
                </c:pt>
                <c:pt idx="7">
                  <c:v>Delamotte</c:v>
                </c:pt>
                <c:pt idx="8">
                  <c:v>Ruinart</c:v>
                </c:pt>
                <c:pt idx="9">
                  <c:v>Henriot</c:v>
                </c:pt>
                <c:pt idx="10">
                  <c:v>Henriot</c:v>
                </c:pt>
                <c:pt idx="11">
                  <c:v>Ayala</c:v>
                </c:pt>
                <c:pt idx="12">
                  <c:v>De Venoge</c:v>
                </c:pt>
                <c:pt idx="13">
                  <c:v>Perrier Jou</c:v>
                </c:pt>
                <c:pt idx="14">
                  <c:v>Ruinart</c:v>
                </c:pt>
                <c:pt idx="15">
                  <c:v>Nicolas</c:v>
                </c:pt>
                <c:pt idx="16">
                  <c:v>Nicolas</c:v>
                </c:pt>
                <c:pt idx="17">
                  <c:v>Deutz</c:v>
                </c:pt>
                <c:pt idx="18">
                  <c:v>Taittinger</c:v>
                </c:pt>
                <c:pt idx="19">
                  <c:v>Lanson</c:v>
                </c:pt>
                <c:pt idx="20">
                  <c:v>All Others</c:v>
                </c:pt>
                <c:pt idx="21">
                  <c:v>Vesselle</c:v>
                </c:pt>
                <c:pt idx="22">
                  <c:v>Ayala</c:v>
                </c:pt>
                <c:pt idx="23">
                  <c:v>Laurent Per</c:v>
                </c:pt>
                <c:pt idx="24">
                  <c:v>Deutz</c:v>
                </c:pt>
                <c:pt idx="25">
                  <c:v>Nicolas</c:v>
                </c:pt>
                <c:pt idx="26">
                  <c:v>Delamotte</c:v>
                </c:pt>
                <c:pt idx="27">
                  <c:v>Taittinger</c:v>
                </c:pt>
                <c:pt idx="28">
                  <c:v>Taittinger</c:v>
                </c:pt>
                <c:pt idx="29">
                  <c:v>Besserat De</c:v>
                </c:pt>
                <c:pt idx="30">
                  <c:v>Nicolas</c:v>
                </c:pt>
                <c:pt idx="31">
                  <c:v>Ruinart</c:v>
                </c:pt>
                <c:pt idx="32">
                  <c:v>Ruinart</c:v>
                </c:pt>
                <c:pt idx="33">
                  <c:v>De Venoge</c:v>
                </c:pt>
                <c:pt idx="34">
                  <c:v>Laurent Per</c:v>
                </c:pt>
                <c:pt idx="35">
                  <c:v>Deutz</c:v>
                </c:pt>
                <c:pt idx="36">
                  <c:v>Deutz</c:v>
                </c:pt>
                <c:pt idx="37">
                  <c:v>Vranken</c:v>
                </c:pt>
                <c:pt idx="38">
                  <c:v>All Others</c:v>
                </c:pt>
                <c:pt idx="39">
                  <c:v>Besserat De</c:v>
                </c:pt>
                <c:pt idx="40">
                  <c:v>Ayala</c:v>
                </c:pt>
                <c:pt idx="41">
                  <c:v>Ruinart</c:v>
                </c:pt>
                <c:pt idx="42">
                  <c:v>Taittinger</c:v>
                </c:pt>
                <c:pt idx="43">
                  <c:v>Taittinger</c:v>
                </c:pt>
                <c:pt idx="44">
                  <c:v>Pommery</c:v>
                </c:pt>
              </c:strCache>
            </c:strRef>
          </c:cat>
          <c:val>
            <c:numRef>
              <c:f>Sheet1!$C$2:$C$46</c:f>
              <c:numCache>
                <c:formatCode>General</c:formatCode>
                <c:ptCount val="45"/>
                <c:pt idx="0">
                  <c:v>0.36528544957013726</c:v>
                </c:pt>
                <c:pt idx="1">
                  <c:v>0.52003135584083671</c:v>
                </c:pt>
                <c:pt idx="2">
                  <c:v>0.59290267609986136</c:v>
                </c:pt>
                <c:pt idx="3">
                  <c:v>0.65428743166600989</c:v>
                </c:pt>
                <c:pt idx="4">
                  <c:v>0.70893767666055973</c:v>
                </c:pt>
                <c:pt idx="5">
                  <c:v>0.7460746605070373</c:v>
                </c:pt>
                <c:pt idx="6">
                  <c:v>0.77376775259462738</c:v>
                </c:pt>
                <c:pt idx="7">
                  <c:v>0.80070399199228948</c:v>
                </c:pt>
                <c:pt idx="8">
                  <c:v>0.82593433807120475</c:v>
                </c:pt>
                <c:pt idx="9">
                  <c:v>0.84870157756369879</c:v>
                </c:pt>
                <c:pt idx="10">
                  <c:v>0.86835775225929002</c:v>
                </c:pt>
                <c:pt idx="11">
                  <c:v>0.88716007885114156</c:v>
                </c:pt>
                <c:pt idx="12">
                  <c:v>0.9029108359742648</c:v>
                </c:pt>
                <c:pt idx="13">
                  <c:v>0.91683238218933427</c:v>
                </c:pt>
                <c:pt idx="14">
                  <c:v>0.93053505771227119</c:v>
                </c:pt>
                <c:pt idx="15">
                  <c:v>0.93974313162493994</c:v>
                </c:pt>
                <c:pt idx="16">
                  <c:v>0.94869807995955757</c:v>
                </c:pt>
                <c:pt idx="17">
                  <c:v>0.95702562301524485</c:v>
                </c:pt>
                <c:pt idx="18">
                  <c:v>0.9625229913385619</c:v>
                </c:pt>
                <c:pt idx="19">
                  <c:v>0.96690401095867884</c:v>
                </c:pt>
                <c:pt idx="20">
                  <c:v>0.9705141153567538</c:v>
                </c:pt>
                <c:pt idx="21">
                  <c:v>0.97411953224412406</c:v>
                </c:pt>
                <c:pt idx="22">
                  <c:v>0.97761533349655483</c:v>
                </c:pt>
                <c:pt idx="23">
                  <c:v>0.98079274459881571</c:v>
                </c:pt>
                <c:pt idx="24">
                  <c:v>0.9838057322486673</c:v>
                </c:pt>
                <c:pt idx="25">
                  <c:v>0.98677436883569791</c:v>
                </c:pt>
                <c:pt idx="26">
                  <c:v>0.98911163378858658</c:v>
                </c:pt>
                <c:pt idx="27">
                  <c:v>0.99127726373413572</c:v>
                </c:pt>
                <c:pt idx="28">
                  <c:v>0.99319986427853602</c:v>
                </c:pt>
                <c:pt idx="29">
                  <c:v>0.99493280092827119</c:v>
                </c:pt>
                <c:pt idx="30">
                  <c:v>0.99574770663538759</c:v>
                </c:pt>
                <c:pt idx="31">
                  <c:v>0.99646525635094585</c:v>
                </c:pt>
                <c:pt idx="32">
                  <c:v>0.99708545007494598</c:v>
                </c:pt>
                <c:pt idx="33">
                  <c:v>0.9976140570513321</c:v>
                </c:pt>
                <c:pt idx="34">
                  <c:v>0.99811886589644849</c:v>
                </c:pt>
                <c:pt idx="35">
                  <c:v>0.99850828986268114</c:v>
                </c:pt>
                <c:pt idx="36">
                  <c:v>0.9988508387218672</c:v>
                </c:pt>
                <c:pt idx="37">
                  <c:v>0.99907439692470446</c:v>
                </c:pt>
                <c:pt idx="38">
                  <c:v>0.9992806473957091</c:v>
                </c:pt>
                <c:pt idx="39">
                  <c:v>0.99946959013488124</c:v>
                </c:pt>
                <c:pt idx="40">
                  <c:v>0.9996368982092626</c:v>
                </c:pt>
                <c:pt idx="41">
                  <c:v>0.99977680237490918</c:v>
                </c:pt>
                <c:pt idx="42">
                  <c:v>0.99988281223238362</c:v>
                </c:pt>
                <c:pt idx="43">
                  <c:v>0.99994411044929066</c:v>
                </c:pt>
                <c:pt idx="44">
                  <c:v>0.99998377400140692</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47</c:f>
              <c:strCache>
                <c:ptCount val="46"/>
                <c:pt idx="0">
                  <c:v>Ruinart</c:v>
                </c:pt>
                <c:pt idx="1">
                  <c:v>Ruinart</c:v>
                </c:pt>
                <c:pt idx="2">
                  <c:v>Ruinart</c:v>
                </c:pt>
                <c:pt idx="3">
                  <c:v>Nicolas</c:v>
                </c:pt>
                <c:pt idx="4">
                  <c:v>Malard</c:v>
                </c:pt>
                <c:pt idx="5">
                  <c:v>Besserat De</c:v>
                </c:pt>
                <c:pt idx="6">
                  <c:v>All Others</c:v>
                </c:pt>
                <c:pt idx="7">
                  <c:v>De Bligny</c:v>
                </c:pt>
                <c:pt idx="8">
                  <c:v>Henriot</c:v>
                </c:pt>
                <c:pt idx="9">
                  <c:v>Ayala</c:v>
                </c:pt>
                <c:pt idx="10">
                  <c:v>Ruinart</c:v>
                </c:pt>
                <c:pt idx="11">
                  <c:v>Delamotte</c:v>
                </c:pt>
                <c:pt idx="12">
                  <c:v>De Venoge</c:v>
                </c:pt>
                <c:pt idx="13">
                  <c:v>Henriot</c:v>
                </c:pt>
                <c:pt idx="14">
                  <c:v>Deutz</c:v>
                </c:pt>
                <c:pt idx="15">
                  <c:v>Perrier Jou</c:v>
                </c:pt>
                <c:pt idx="16">
                  <c:v>Ruinart</c:v>
                </c:pt>
                <c:pt idx="17">
                  <c:v>All Others</c:v>
                </c:pt>
                <c:pt idx="18">
                  <c:v>Nicolas</c:v>
                </c:pt>
                <c:pt idx="19">
                  <c:v>Nicolas</c:v>
                </c:pt>
                <c:pt idx="20">
                  <c:v>Lanson</c:v>
                </c:pt>
                <c:pt idx="21">
                  <c:v>Vesselle</c:v>
                </c:pt>
                <c:pt idx="22">
                  <c:v>Delamotte</c:v>
                </c:pt>
                <c:pt idx="23">
                  <c:v>All Others</c:v>
                </c:pt>
                <c:pt idx="24">
                  <c:v>All Others</c:v>
                </c:pt>
                <c:pt idx="25">
                  <c:v>Taittinger</c:v>
                </c:pt>
                <c:pt idx="26">
                  <c:v>Nicolas</c:v>
                </c:pt>
                <c:pt idx="27">
                  <c:v>All Others</c:v>
                </c:pt>
                <c:pt idx="28">
                  <c:v>Deutz</c:v>
                </c:pt>
                <c:pt idx="29">
                  <c:v>Ayala</c:v>
                </c:pt>
                <c:pt idx="30">
                  <c:v>All Others</c:v>
                </c:pt>
                <c:pt idx="31">
                  <c:v>Taittinger</c:v>
                </c:pt>
                <c:pt idx="32">
                  <c:v>Besserat De</c:v>
                </c:pt>
                <c:pt idx="33">
                  <c:v>De Venoge</c:v>
                </c:pt>
                <c:pt idx="34">
                  <c:v>Laurent Per</c:v>
                </c:pt>
                <c:pt idx="35">
                  <c:v>All Others</c:v>
                </c:pt>
                <c:pt idx="36">
                  <c:v>Ruinart</c:v>
                </c:pt>
                <c:pt idx="37">
                  <c:v>Taittinger</c:v>
                </c:pt>
                <c:pt idx="38">
                  <c:v>Nicolas</c:v>
                </c:pt>
                <c:pt idx="39">
                  <c:v>Deutz</c:v>
                </c:pt>
                <c:pt idx="40">
                  <c:v>Deutz</c:v>
                </c:pt>
                <c:pt idx="41">
                  <c:v>Ayala</c:v>
                </c:pt>
                <c:pt idx="42">
                  <c:v>All Others</c:v>
                </c:pt>
                <c:pt idx="43">
                  <c:v>Taittinger</c:v>
                </c:pt>
                <c:pt idx="44">
                  <c:v>Besserat De</c:v>
                </c:pt>
                <c:pt idx="45">
                  <c:v>All Others</c:v>
                </c:pt>
              </c:strCache>
            </c:strRef>
          </c:cat>
          <c:val>
            <c:numRef>
              <c:f>Sheet1!$B$2:$B$47</c:f>
              <c:numCache>
                <c:formatCode>General</c:formatCode>
                <c:ptCount val="46"/>
                <c:pt idx="0">
                  <c:v>0.84</c:v>
                </c:pt>
                <c:pt idx="1">
                  <c:v>0.61</c:v>
                </c:pt>
                <c:pt idx="2">
                  <c:v>0.28000000000000003</c:v>
                </c:pt>
                <c:pt idx="3">
                  <c:v>0.56999999999999995</c:v>
                </c:pt>
                <c:pt idx="4">
                  <c:v>0.6</c:v>
                </c:pt>
                <c:pt idx="5">
                  <c:v>0.46</c:v>
                </c:pt>
                <c:pt idx="6">
                  <c:v>0.1</c:v>
                </c:pt>
                <c:pt idx="7">
                  <c:v>0.62</c:v>
                </c:pt>
                <c:pt idx="8">
                  <c:v>0.41</c:v>
                </c:pt>
                <c:pt idx="9">
                  <c:v>0.34</c:v>
                </c:pt>
                <c:pt idx="10">
                  <c:v>0.34</c:v>
                </c:pt>
                <c:pt idx="11">
                  <c:v>0.22</c:v>
                </c:pt>
                <c:pt idx="12">
                  <c:v>0.2</c:v>
                </c:pt>
                <c:pt idx="13">
                  <c:v>0.25</c:v>
                </c:pt>
                <c:pt idx="14">
                  <c:v>7.0000000000000007E-2</c:v>
                </c:pt>
                <c:pt idx="15">
                  <c:v>0.22</c:v>
                </c:pt>
                <c:pt idx="16">
                  <c:v>7.0000000000000007E-2</c:v>
                </c:pt>
                <c:pt idx="17">
                  <c:v>7.0000000000000007E-2</c:v>
                </c:pt>
                <c:pt idx="18">
                  <c:v>0.16</c:v>
                </c:pt>
                <c:pt idx="19">
                  <c:v>0.28000000000000003</c:v>
                </c:pt>
                <c:pt idx="20">
                  <c:v>0.15</c:v>
                </c:pt>
                <c:pt idx="21">
                  <c:v>0.16</c:v>
                </c:pt>
                <c:pt idx="22">
                  <c:v>0.13</c:v>
                </c:pt>
                <c:pt idx="23">
                  <c:v>7.0000000000000007E-2</c:v>
                </c:pt>
                <c:pt idx="24">
                  <c:v>0.11</c:v>
                </c:pt>
                <c:pt idx="25">
                  <c:v>7.0000000000000007E-2</c:v>
                </c:pt>
                <c:pt idx="26">
                  <c:v>0.08</c:v>
                </c:pt>
                <c:pt idx="27">
                  <c:v>0.08</c:v>
                </c:pt>
                <c:pt idx="28">
                  <c:v>0.03</c:v>
                </c:pt>
                <c:pt idx="29">
                  <c:v>0.03</c:v>
                </c:pt>
                <c:pt idx="30">
                  <c:v>7.0000000000000007E-2</c:v>
                </c:pt>
                <c:pt idx="31">
                  <c:v>0.04</c:v>
                </c:pt>
                <c:pt idx="32">
                  <c:v>0.1</c:v>
                </c:pt>
                <c:pt idx="33">
                  <c:v>0.06</c:v>
                </c:pt>
                <c:pt idx="34">
                  <c:v>0.06</c:v>
                </c:pt>
                <c:pt idx="35">
                  <c:v>0.04</c:v>
                </c:pt>
                <c:pt idx="36">
                  <c:v>0.03</c:v>
                </c:pt>
                <c:pt idx="37">
                  <c:v>0.03</c:v>
                </c:pt>
                <c:pt idx="38">
                  <c:v>0.04</c:v>
                </c:pt>
                <c:pt idx="39">
                  <c:v>0.01</c:v>
                </c:pt>
                <c:pt idx="40">
                  <c:v>0.01</c:v>
                </c:pt>
                <c:pt idx="41">
                  <c:v>0.01</c:v>
                </c:pt>
                <c:pt idx="42">
                  <c:v>0.01</c:v>
                </c:pt>
                <c:pt idx="43">
                  <c:v>0.01</c:v>
                </c:pt>
                <c:pt idx="44">
                  <c:v>0.01</c:v>
                </c:pt>
                <c:pt idx="45">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7ECAC4"/>
              </a:solidFill>
            </c:spPr>
            <c:extLst>
              <c:ext xmlns:c16="http://schemas.microsoft.com/office/drawing/2014/chart" uri="{C3380CC4-5D6E-409C-BE32-E72D297353CC}">
                <c16:uniqueId val="{00000049-2993-41DE-A2CB-63102DE87051}"/>
              </c:ext>
            </c:extLst>
          </c:dPt>
          <c:dPt>
            <c:idx val="9"/>
            <c:invertIfNegative val="1"/>
            <c:bubble3D val="0"/>
            <c:spPr>
              <a:solidFill>
                <a:srgbClr val="7ECAC4"/>
              </a:solidFill>
            </c:spPr>
            <c:extLst>
              <c:ext xmlns:c16="http://schemas.microsoft.com/office/drawing/2014/chart" uri="{C3380CC4-5D6E-409C-BE32-E72D297353CC}">
                <c16:uniqueId val="{0000004B-2993-41DE-A2CB-63102DE87051}"/>
              </c:ext>
            </c:extLst>
          </c:dPt>
          <c:dPt>
            <c:idx val="10"/>
            <c:invertIfNegative val="1"/>
            <c:bubble3D val="0"/>
            <c:spPr>
              <a:solidFill>
                <a:srgbClr val="7ECAC4"/>
              </a:solidFill>
            </c:spPr>
            <c:extLst>
              <c:ext xmlns:c16="http://schemas.microsoft.com/office/drawing/2014/chart" uri="{C3380CC4-5D6E-409C-BE32-E72D297353CC}">
                <c16:uniqueId val="{0000004D-2993-41DE-A2CB-63102DE87051}"/>
              </c:ext>
            </c:extLst>
          </c:dPt>
          <c:dPt>
            <c:idx val="11"/>
            <c:invertIfNegative val="1"/>
            <c:bubble3D val="0"/>
            <c:spPr>
              <a:solidFill>
                <a:srgbClr val="7ECAC4"/>
              </a:solidFill>
            </c:spPr>
            <c:extLst>
              <c:ext xmlns:c16="http://schemas.microsoft.com/office/drawing/2014/chart" uri="{C3380CC4-5D6E-409C-BE32-E72D297353CC}">
                <c16:uniqueId val="{0000004F-2993-41DE-A2CB-63102DE87051}"/>
              </c:ext>
            </c:extLst>
          </c:dPt>
          <c:dPt>
            <c:idx val="12"/>
            <c:invertIfNegative val="1"/>
            <c:bubble3D val="0"/>
            <c:spPr>
              <a:solidFill>
                <a:srgbClr val="7ECAC4"/>
              </a:solidFill>
            </c:spPr>
            <c:extLst>
              <c:ext xmlns:c16="http://schemas.microsoft.com/office/drawing/2014/chart" uri="{C3380CC4-5D6E-409C-BE32-E72D297353CC}">
                <c16:uniqueId val="{00000051-2993-41DE-A2CB-63102DE87051}"/>
              </c:ext>
            </c:extLst>
          </c:dPt>
          <c:dPt>
            <c:idx val="13"/>
            <c:invertIfNegative val="1"/>
            <c:bubble3D val="0"/>
            <c:spPr>
              <a:solidFill>
                <a:srgbClr val="7ECAC4"/>
              </a:solidFill>
            </c:spPr>
            <c:extLst>
              <c:ext xmlns:c16="http://schemas.microsoft.com/office/drawing/2014/chart" uri="{C3380CC4-5D6E-409C-BE32-E72D297353CC}">
                <c16:uniqueId val="{00000053-2993-41DE-A2CB-63102DE87051}"/>
              </c:ext>
            </c:extLst>
          </c:dPt>
          <c:dPt>
            <c:idx val="14"/>
            <c:invertIfNegative val="1"/>
            <c:bubble3D val="0"/>
            <c:spPr>
              <a:solidFill>
                <a:srgbClr val="7ECAC4"/>
              </a:solidFill>
            </c:spPr>
            <c:extLst>
              <c:ext xmlns:c16="http://schemas.microsoft.com/office/drawing/2014/chart" uri="{C3380CC4-5D6E-409C-BE32-E72D297353CC}">
                <c16:uniqueId val="{00000055-2993-41DE-A2CB-63102DE87051}"/>
              </c:ext>
            </c:extLst>
          </c:dPt>
          <c:dPt>
            <c:idx val="15"/>
            <c:invertIfNegative val="1"/>
            <c:bubble3D val="0"/>
            <c:spPr>
              <a:solidFill>
                <a:srgbClr val="7ECAC4"/>
              </a:solidFill>
            </c:spPr>
            <c:extLst>
              <c:ext xmlns:c16="http://schemas.microsoft.com/office/drawing/2014/chart" uri="{C3380CC4-5D6E-409C-BE32-E72D297353CC}">
                <c16:uniqueId val="{00000057-2993-41DE-A2CB-63102DE87051}"/>
              </c:ext>
            </c:extLst>
          </c:dPt>
          <c:dPt>
            <c:idx val="16"/>
            <c:invertIfNegative val="1"/>
            <c:bubble3D val="0"/>
            <c:spPr>
              <a:solidFill>
                <a:srgbClr val="7ECAC4"/>
              </a:solidFill>
            </c:spPr>
            <c:extLst>
              <c:ext xmlns:c16="http://schemas.microsoft.com/office/drawing/2014/chart" uri="{C3380CC4-5D6E-409C-BE32-E72D297353CC}">
                <c16:uniqueId val="{00000059-2993-41DE-A2CB-63102DE87051}"/>
              </c:ext>
            </c:extLst>
          </c:dPt>
          <c:dPt>
            <c:idx val="17"/>
            <c:invertIfNegative val="1"/>
            <c:bubble3D val="0"/>
            <c:spPr>
              <a:solidFill>
                <a:srgbClr val="7ECAC4"/>
              </a:solidFill>
            </c:spPr>
            <c:extLst>
              <c:ext xmlns:c16="http://schemas.microsoft.com/office/drawing/2014/chart" uri="{C3380CC4-5D6E-409C-BE32-E72D297353CC}">
                <c16:uniqueId val="{0000005B-2993-41DE-A2CB-63102DE87051}"/>
              </c:ext>
            </c:extLst>
          </c:dPt>
          <c:dPt>
            <c:idx val="18"/>
            <c:invertIfNegative val="1"/>
            <c:bubble3D val="0"/>
            <c:spPr>
              <a:solidFill>
                <a:srgbClr val="7ECAC4"/>
              </a:solidFill>
            </c:spPr>
            <c:extLst>
              <c:ext xmlns:c16="http://schemas.microsoft.com/office/drawing/2014/chart" uri="{C3380CC4-5D6E-409C-BE32-E72D297353CC}">
                <c16:uniqueId val="{0000005D-2993-41DE-A2CB-63102DE87051}"/>
              </c:ext>
            </c:extLst>
          </c:dPt>
          <c:dPt>
            <c:idx val="19"/>
            <c:invertIfNegative val="1"/>
            <c:bubble3D val="0"/>
            <c:spPr>
              <a:solidFill>
                <a:srgbClr val="AEABAB"/>
              </a:solidFill>
            </c:spPr>
            <c:extLst>
              <c:ext xmlns:c16="http://schemas.microsoft.com/office/drawing/2014/chart" uri="{C3380CC4-5D6E-409C-BE32-E72D297353CC}">
                <c16:uniqueId val="{0000005F-2993-41DE-A2CB-63102DE87051}"/>
              </c:ext>
            </c:extLst>
          </c:dPt>
          <c:dPt>
            <c:idx val="20"/>
            <c:invertIfNegative val="1"/>
            <c:bubble3D val="0"/>
            <c:spPr>
              <a:solidFill>
                <a:srgbClr val="AEABAB"/>
              </a:solidFill>
            </c:spPr>
            <c:extLst>
              <c:ext xmlns:c16="http://schemas.microsoft.com/office/drawing/2014/chart" uri="{C3380CC4-5D6E-409C-BE32-E72D297353CC}">
                <c16:uniqueId val="{00000061-2993-41DE-A2CB-63102DE87051}"/>
              </c:ext>
            </c:extLst>
          </c:dPt>
          <c:dPt>
            <c:idx val="21"/>
            <c:invertIfNegative val="1"/>
            <c:bubble3D val="0"/>
            <c:spPr>
              <a:solidFill>
                <a:srgbClr val="AEABAB"/>
              </a:solidFill>
            </c:spPr>
            <c:extLst>
              <c:ext xmlns:c16="http://schemas.microsoft.com/office/drawing/2014/chart" uri="{C3380CC4-5D6E-409C-BE32-E72D297353CC}">
                <c16:uniqueId val="{00000063-2993-41DE-A2CB-63102DE87051}"/>
              </c:ext>
            </c:extLst>
          </c:dPt>
          <c:dPt>
            <c:idx val="22"/>
            <c:invertIfNegative val="1"/>
            <c:bubble3D val="0"/>
            <c:spPr>
              <a:solidFill>
                <a:srgbClr val="AEABAB"/>
              </a:solidFill>
            </c:spPr>
            <c:extLst>
              <c:ext xmlns:c16="http://schemas.microsoft.com/office/drawing/2014/chart" uri="{C3380CC4-5D6E-409C-BE32-E72D297353CC}">
                <c16:uniqueId val="{00000065-2993-41DE-A2CB-63102DE87051}"/>
              </c:ext>
            </c:extLst>
          </c:dPt>
          <c:dPt>
            <c:idx val="23"/>
            <c:invertIfNegative val="1"/>
            <c:bubble3D val="0"/>
            <c:spPr>
              <a:solidFill>
                <a:srgbClr val="AEABAB"/>
              </a:solidFill>
            </c:spPr>
            <c:extLst>
              <c:ext xmlns:c16="http://schemas.microsoft.com/office/drawing/2014/chart" uri="{C3380CC4-5D6E-409C-BE32-E72D297353CC}">
                <c16:uniqueId val="{00000067-2993-41DE-A2CB-63102DE87051}"/>
              </c:ext>
            </c:extLst>
          </c:dPt>
          <c:dPt>
            <c:idx val="24"/>
            <c:invertIfNegative val="1"/>
            <c:bubble3D val="0"/>
            <c:spPr>
              <a:solidFill>
                <a:srgbClr val="AEABAB"/>
              </a:solidFill>
            </c:spPr>
            <c:extLst>
              <c:ext xmlns:c16="http://schemas.microsoft.com/office/drawing/2014/chart" uri="{C3380CC4-5D6E-409C-BE32-E72D297353CC}">
                <c16:uniqueId val="{00000069-2993-41DE-A2CB-63102DE87051}"/>
              </c:ext>
            </c:extLst>
          </c:dPt>
          <c:dPt>
            <c:idx val="25"/>
            <c:invertIfNegative val="1"/>
            <c:bubble3D val="0"/>
            <c:spPr>
              <a:solidFill>
                <a:srgbClr val="AEABAB"/>
              </a:solidFill>
            </c:spPr>
            <c:extLst>
              <c:ext xmlns:c16="http://schemas.microsoft.com/office/drawing/2014/chart" uri="{C3380CC4-5D6E-409C-BE32-E72D297353CC}">
                <c16:uniqueId val="{0000006B-2993-41DE-A2CB-63102DE87051}"/>
              </c:ext>
            </c:extLst>
          </c:dPt>
          <c:dPt>
            <c:idx val="26"/>
            <c:invertIfNegative val="1"/>
            <c:bubble3D val="0"/>
            <c:spPr>
              <a:solidFill>
                <a:srgbClr val="AEABAB"/>
              </a:solidFill>
            </c:spPr>
            <c:extLst>
              <c:ext xmlns:c16="http://schemas.microsoft.com/office/drawing/2014/chart" uri="{C3380CC4-5D6E-409C-BE32-E72D297353CC}">
                <c16:uniqueId val="{0000006D-2993-41DE-A2CB-63102DE87051}"/>
              </c:ext>
            </c:extLst>
          </c:dPt>
          <c:dPt>
            <c:idx val="27"/>
            <c:invertIfNegative val="1"/>
            <c:bubble3D val="0"/>
            <c:spPr>
              <a:solidFill>
                <a:srgbClr val="AEABAB"/>
              </a:solidFill>
            </c:spPr>
            <c:extLst>
              <c:ext xmlns:c16="http://schemas.microsoft.com/office/drawing/2014/chart" uri="{C3380CC4-5D6E-409C-BE32-E72D297353CC}">
                <c16:uniqueId val="{0000006F-2993-41DE-A2CB-63102DE87051}"/>
              </c:ext>
            </c:extLst>
          </c:dPt>
          <c:dPt>
            <c:idx val="28"/>
            <c:invertIfNegative val="1"/>
            <c:bubble3D val="0"/>
            <c:spPr>
              <a:solidFill>
                <a:srgbClr val="AEABAB"/>
              </a:solidFill>
            </c:spPr>
            <c:extLst>
              <c:ext xmlns:c16="http://schemas.microsoft.com/office/drawing/2014/chart" uri="{C3380CC4-5D6E-409C-BE32-E72D297353CC}">
                <c16:uniqueId val="{00000071-2993-41DE-A2CB-63102DE87051}"/>
              </c:ext>
            </c:extLst>
          </c:dPt>
          <c:dPt>
            <c:idx val="29"/>
            <c:invertIfNegative val="1"/>
            <c:bubble3D val="0"/>
            <c:spPr>
              <a:solidFill>
                <a:srgbClr val="AEABAB"/>
              </a:solidFill>
            </c:spPr>
            <c:extLst>
              <c:ext xmlns:c16="http://schemas.microsoft.com/office/drawing/2014/chart" uri="{C3380CC4-5D6E-409C-BE32-E72D297353CC}">
                <c16:uniqueId val="{00000073-2993-41DE-A2CB-63102DE87051}"/>
              </c:ext>
            </c:extLst>
          </c:dPt>
          <c:dPt>
            <c:idx val="30"/>
            <c:invertIfNegative val="1"/>
            <c:bubble3D val="0"/>
            <c:spPr>
              <a:solidFill>
                <a:srgbClr val="AEABAB"/>
              </a:solidFill>
            </c:spPr>
            <c:extLst>
              <c:ext xmlns:c16="http://schemas.microsoft.com/office/drawing/2014/chart" uri="{C3380CC4-5D6E-409C-BE32-E72D297353CC}">
                <c16:uniqueId val="{00000075-2993-41DE-A2CB-63102DE87051}"/>
              </c:ext>
            </c:extLst>
          </c:dPt>
          <c:dPt>
            <c:idx val="31"/>
            <c:invertIfNegative val="1"/>
            <c:bubble3D val="0"/>
            <c:spPr>
              <a:solidFill>
                <a:srgbClr val="AEABAB"/>
              </a:solidFill>
            </c:spPr>
            <c:extLst>
              <c:ext xmlns:c16="http://schemas.microsoft.com/office/drawing/2014/chart" uri="{C3380CC4-5D6E-409C-BE32-E72D297353CC}">
                <c16:uniqueId val="{00000077-2993-41DE-A2CB-63102DE87051}"/>
              </c:ext>
            </c:extLst>
          </c:dPt>
          <c:dPt>
            <c:idx val="32"/>
            <c:invertIfNegative val="1"/>
            <c:bubble3D val="0"/>
            <c:spPr>
              <a:solidFill>
                <a:srgbClr val="AEABAB"/>
              </a:solidFill>
            </c:spPr>
            <c:extLst>
              <c:ext xmlns:c16="http://schemas.microsoft.com/office/drawing/2014/chart" uri="{C3380CC4-5D6E-409C-BE32-E72D297353CC}">
                <c16:uniqueId val="{00000079-2993-41DE-A2CB-63102DE87051}"/>
              </c:ext>
            </c:extLst>
          </c:dPt>
          <c:dPt>
            <c:idx val="33"/>
            <c:invertIfNegative val="1"/>
            <c:bubble3D val="0"/>
            <c:spPr>
              <a:solidFill>
                <a:srgbClr val="AEABAB"/>
              </a:solidFill>
            </c:spPr>
            <c:extLst>
              <c:ext xmlns:c16="http://schemas.microsoft.com/office/drawing/2014/chart" uri="{C3380CC4-5D6E-409C-BE32-E72D297353CC}">
                <c16:uniqueId val="{0000007B-2993-41DE-A2CB-63102DE87051}"/>
              </c:ext>
            </c:extLst>
          </c:dPt>
          <c:dPt>
            <c:idx val="34"/>
            <c:invertIfNegative val="1"/>
            <c:bubble3D val="0"/>
            <c:spPr>
              <a:solidFill>
                <a:srgbClr val="AEABAB"/>
              </a:solidFill>
            </c:spPr>
            <c:extLst>
              <c:ext xmlns:c16="http://schemas.microsoft.com/office/drawing/2014/chart" uri="{C3380CC4-5D6E-409C-BE32-E72D297353CC}">
                <c16:uniqueId val="{0000007D-2993-41DE-A2CB-63102DE87051}"/>
              </c:ext>
            </c:extLst>
          </c:dPt>
          <c:dPt>
            <c:idx val="35"/>
            <c:invertIfNegative val="1"/>
            <c:bubble3D val="0"/>
            <c:spPr>
              <a:solidFill>
                <a:srgbClr val="AEABAB"/>
              </a:solidFill>
            </c:spPr>
            <c:extLst>
              <c:ext xmlns:c16="http://schemas.microsoft.com/office/drawing/2014/chart" uri="{C3380CC4-5D6E-409C-BE32-E72D297353CC}">
                <c16:uniqueId val="{0000007F-2993-41DE-A2CB-63102DE87051}"/>
              </c:ext>
            </c:extLst>
          </c:dPt>
          <c:dPt>
            <c:idx val="36"/>
            <c:invertIfNegative val="1"/>
            <c:bubble3D val="0"/>
            <c:spPr>
              <a:solidFill>
                <a:srgbClr val="AEABAB"/>
              </a:solidFill>
            </c:spPr>
            <c:extLst>
              <c:ext xmlns:c16="http://schemas.microsoft.com/office/drawing/2014/chart" uri="{C3380CC4-5D6E-409C-BE32-E72D297353CC}">
                <c16:uniqueId val="{00000081-2993-41DE-A2CB-63102DE87051}"/>
              </c:ext>
            </c:extLst>
          </c:dPt>
          <c:dPt>
            <c:idx val="37"/>
            <c:invertIfNegative val="1"/>
            <c:bubble3D val="0"/>
            <c:spPr>
              <a:solidFill>
                <a:srgbClr val="AEABAB"/>
              </a:solidFill>
            </c:spPr>
            <c:extLst>
              <c:ext xmlns:c16="http://schemas.microsoft.com/office/drawing/2014/chart" uri="{C3380CC4-5D6E-409C-BE32-E72D297353CC}">
                <c16:uniqueId val="{00000083-2993-41DE-A2CB-63102DE87051}"/>
              </c:ext>
            </c:extLst>
          </c:dPt>
          <c:dPt>
            <c:idx val="38"/>
            <c:invertIfNegative val="1"/>
            <c:bubble3D val="0"/>
            <c:spPr>
              <a:solidFill>
                <a:srgbClr val="AEABAB"/>
              </a:solidFill>
            </c:spPr>
            <c:extLst>
              <c:ext xmlns:c16="http://schemas.microsoft.com/office/drawing/2014/chart" uri="{C3380CC4-5D6E-409C-BE32-E72D297353CC}">
                <c16:uniqueId val="{00000085-2993-41DE-A2CB-63102DE87051}"/>
              </c:ext>
            </c:extLst>
          </c:dPt>
          <c:dPt>
            <c:idx val="39"/>
            <c:invertIfNegative val="1"/>
            <c:bubble3D val="0"/>
            <c:spPr>
              <a:solidFill>
                <a:srgbClr val="AEABAB"/>
              </a:solidFill>
            </c:spPr>
            <c:extLst>
              <c:ext xmlns:c16="http://schemas.microsoft.com/office/drawing/2014/chart" uri="{C3380CC4-5D6E-409C-BE32-E72D297353CC}">
                <c16:uniqueId val="{00000087-2993-41DE-A2CB-63102DE87051}"/>
              </c:ext>
            </c:extLst>
          </c:dPt>
          <c:dPt>
            <c:idx val="40"/>
            <c:invertIfNegative val="1"/>
            <c:bubble3D val="0"/>
            <c:spPr>
              <a:solidFill>
                <a:srgbClr val="AEABAB"/>
              </a:solidFill>
            </c:spPr>
            <c:extLst>
              <c:ext xmlns:c16="http://schemas.microsoft.com/office/drawing/2014/chart" uri="{C3380CC4-5D6E-409C-BE32-E72D297353CC}">
                <c16:uniqueId val="{00000089-2993-41DE-A2CB-63102DE87051}"/>
              </c:ext>
            </c:extLst>
          </c:dPt>
          <c:dPt>
            <c:idx val="41"/>
            <c:invertIfNegative val="1"/>
            <c:bubble3D val="0"/>
            <c:spPr>
              <a:solidFill>
                <a:srgbClr val="AEABAB"/>
              </a:solidFill>
            </c:spPr>
            <c:extLst>
              <c:ext xmlns:c16="http://schemas.microsoft.com/office/drawing/2014/chart" uri="{C3380CC4-5D6E-409C-BE32-E72D297353CC}">
                <c16:uniqueId val="{0000008B-2993-41DE-A2CB-63102DE87051}"/>
              </c:ext>
            </c:extLst>
          </c:dPt>
          <c:dPt>
            <c:idx val="42"/>
            <c:invertIfNegative val="1"/>
            <c:bubble3D val="0"/>
            <c:spPr>
              <a:solidFill>
                <a:srgbClr val="AEABAB"/>
              </a:solidFill>
            </c:spPr>
            <c:extLst>
              <c:ext xmlns:c16="http://schemas.microsoft.com/office/drawing/2014/chart" uri="{C3380CC4-5D6E-409C-BE32-E72D297353CC}">
                <c16:uniqueId val="{0000008D-2993-41DE-A2CB-63102DE87051}"/>
              </c:ext>
            </c:extLst>
          </c:dPt>
          <c:dPt>
            <c:idx val="43"/>
            <c:invertIfNegative val="1"/>
            <c:bubble3D val="0"/>
            <c:spPr>
              <a:solidFill>
                <a:srgbClr val="AEABAB"/>
              </a:solidFill>
            </c:spPr>
            <c:extLst>
              <c:ext xmlns:c16="http://schemas.microsoft.com/office/drawing/2014/chart" uri="{C3380CC4-5D6E-409C-BE32-E72D297353CC}">
                <c16:uniqueId val="{0000008F-2993-41DE-A2CB-63102DE87051}"/>
              </c:ext>
            </c:extLst>
          </c:dPt>
          <c:dPt>
            <c:idx val="44"/>
            <c:invertIfNegative val="1"/>
            <c:bubble3D val="0"/>
            <c:spPr>
              <a:solidFill>
                <a:srgbClr val="AEABAB"/>
              </a:solidFill>
            </c:spPr>
            <c:extLst>
              <c:ext xmlns:c16="http://schemas.microsoft.com/office/drawing/2014/chart" uri="{C3380CC4-5D6E-409C-BE32-E72D297353CC}">
                <c16:uniqueId val="{00000091-2993-41DE-A2CB-63102DE87051}"/>
              </c:ext>
            </c:extLst>
          </c:dPt>
          <c:dPt>
            <c:idx val="45"/>
            <c:invertIfNegative val="1"/>
            <c:bubble3D val="0"/>
            <c:spPr>
              <a:solidFill>
                <a:srgbClr val="AEABAB"/>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47</c:f>
              <c:strCache>
                <c:ptCount val="46"/>
                <c:pt idx="0">
                  <c:v>Ruinart</c:v>
                </c:pt>
                <c:pt idx="1">
                  <c:v>Ruinart</c:v>
                </c:pt>
                <c:pt idx="2">
                  <c:v>Ruinart</c:v>
                </c:pt>
                <c:pt idx="3">
                  <c:v>Nicolas</c:v>
                </c:pt>
                <c:pt idx="4">
                  <c:v>Malard</c:v>
                </c:pt>
                <c:pt idx="5">
                  <c:v>Besserat De</c:v>
                </c:pt>
                <c:pt idx="6">
                  <c:v>All Others</c:v>
                </c:pt>
                <c:pt idx="7">
                  <c:v>De Bligny</c:v>
                </c:pt>
                <c:pt idx="8">
                  <c:v>Henriot</c:v>
                </c:pt>
                <c:pt idx="9">
                  <c:v>Ayala</c:v>
                </c:pt>
                <c:pt idx="10">
                  <c:v>Ruinart</c:v>
                </c:pt>
                <c:pt idx="11">
                  <c:v>Delamotte</c:v>
                </c:pt>
                <c:pt idx="12">
                  <c:v>De Venoge</c:v>
                </c:pt>
                <c:pt idx="13">
                  <c:v>Henriot</c:v>
                </c:pt>
                <c:pt idx="14">
                  <c:v>Deutz</c:v>
                </c:pt>
                <c:pt idx="15">
                  <c:v>Perrier Jou</c:v>
                </c:pt>
                <c:pt idx="16">
                  <c:v>Ruinart</c:v>
                </c:pt>
                <c:pt idx="17">
                  <c:v>All Others</c:v>
                </c:pt>
                <c:pt idx="18">
                  <c:v>Nicolas</c:v>
                </c:pt>
                <c:pt idx="19">
                  <c:v>Nicolas</c:v>
                </c:pt>
                <c:pt idx="20">
                  <c:v>Lanson</c:v>
                </c:pt>
                <c:pt idx="21">
                  <c:v>Vesselle</c:v>
                </c:pt>
                <c:pt idx="22">
                  <c:v>Delamotte</c:v>
                </c:pt>
                <c:pt idx="23">
                  <c:v>All Others</c:v>
                </c:pt>
                <c:pt idx="24">
                  <c:v>All Others</c:v>
                </c:pt>
                <c:pt idx="25">
                  <c:v>Taittinger</c:v>
                </c:pt>
                <c:pt idx="26">
                  <c:v>Nicolas</c:v>
                </c:pt>
                <c:pt idx="27">
                  <c:v>All Others</c:v>
                </c:pt>
                <c:pt idx="28">
                  <c:v>Deutz</c:v>
                </c:pt>
                <c:pt idx="29">
                  <c:v>Ayala</c:v>
                </c:pt>
                <c:pt idx="30">
                  <c:v>All Others</c:v>
                </c:pt>
                <c:pt idx="31">
                  <c:v>Taittinger</c:v>
                </c:pt>
                <c:pt idx="32">
                  <c:v>Besserat De</c:v>
                </c:pt>
                <c:pt idx="33">
                  <c:v>De Venoge</c:v>
                </c:pt>
                <c:pt idx="34">
                  <c:v>Laurent Per</c:v>
                </c:pt>
                <c:pt idx="35">
                  <c:v>All Others</c:v>
                </c:pt>
                <c:pt idx="36">
                  <c:v>Ruinart</c:v>
                </c:pt>
                <c:pt idx="37">
                  <c:v>Taittinger</c:v>
                </c:pt>
                <c:pt idx="38">
                  <c:v>Nicolas</c:v>
                </c:pt>
                <c:pt idx="39">
                  <c:v>Deutz</c:v>
                </c:pt>
                <c:pt idx="40">
                  <c:v>Deutz</c:v>
                </c:pt>
                <c:pt idx="41">
                  <c:v>Ayala</c:v>
                </c:pt>
                <c:pt idx="42">
                  <c:v>All Others</c:v>
                </c:pt>
                <c:pt idx="43">
                  <c:v>Taittinger</c:v>
                </c:pt>
                <c:pt idx="44">
                  <c:v>Besserat De</c:v>
                </c:pt>
                <c:pt idx="45">
                  <c:v>All Others</c:v>
                </c:pt>
              </c:strCache>
            </c:strRef>
          </c:cat>
          <c:val>
            <c:numRef>
              <c:f>Sheet1!$C$2:$C$47</c:f>
              <c:numCache>
                <c:formatCode>General</c:formatCode>
                <c:ptCount val="46"/>
                <c:pt idx="0">
                  <c:v>0.36938116534744553</c:v>
                </c:pt>
                <c:pt idx="1">
                  <c:v>0.53140740707005385</c:v>
                </c:pt>
                <c:pt idx="2">
                  <c:v>0.58943169500942738</c:v>
                </c:pt>
                <c:pt idx="3">
                  <c:v>0.64363950194467467</c:v>
                </c:pt>
                <c:pt idx="4">
                  <c:v>0.69752281690910578</c:v>
                </c:pt>
                <c:pt idx="5">
                  <c:v>0.74147383114576404</c:v>
                </c:pt>
                <c:pt idx="6">
                  <c:v>0.77785678176833317</c:v>
                </c:pt>
                <c:pt idx="7">
                  <c:v>0.80410305864993115</c:v>
                </c:pt>
                <c:pt idx="8">
                  <c:v>0.82490640968420659</c:v>
                </c:pt>
                <c:pt idx="9">
                  <c:v>0.84464975361381578</c:v>
                </c:pt>
                <c:pt idx="10">
                  <c:v>0.86129562243252833</c:v>
                </c:pt>
                <c:pt idx="11">
                  <c:v>0.8774826482188236</c:v>
                </c:pt>
                <c:pt idx="12">
                  <c:v>0.89190090812209089</c:v>
                </c:pt>
                <c:pt idx="13">
                  <c:v>0.90488741836465147</c:v>
                </c:pt>
                <c:pt idx="14">
                  <c:v>0.9143614453441663</c:v>
                </c:pt>
                <c:pt idx="15">
                  <c:v>0.92365102425605938</c:v>
                </c:pt>
                <c:pt idx="16">
                  <c:v>0.93268727171705201</c:v>
                </c:pt>
                <c:pt idx="17">
                  <c:v>0.94085706868754948</c:v>
                </c:pt>
                <c:pt idx="18">
                  <c:v>0.94808128466940522</c:v>
                </c:pt>
                <c:pt idx="19">
                  <c:v>0.95483242551486047</c:v>
                </c:pt>
                <c:pt idx="20">
                  <c:v>0.95941459371328108</c:v>
                </c:pt>
                <c:pt idx="21">
                  <c:v>0.96346903549600582</c:v>
                </c:pt>
                <c:pt idx="22">
                  <c:v>0.96707488136118114</c:v>
                </c:pt>
                <c:pt idx="23">
                  <c:v>0.97049912557953122</c:v>
                </c:pt>
                <c:pt idx="24">
                  <c:v>0.97377080164318175</c:v>
                </c:pt>
                <c:pt idx="25">
                  <c:v>0.97703223059196442</c:v>
                </c:pt>
                <c:pt idx="26">
                  <c:v>0.97988832921930646</c:v>
                </c:pt>
                <c:pt idx="27">
                  <c:v>0.98272507218523142</c:v>
                </c:pt>
                <c:pt idx="28">
                  <c:v>0.98510411068705772</c:v>
                </c:pt>
                <c:pt idx="29">
                  <c:v>0.98726226693506525</c:v>
                </c:pt>
                <c:pt idx="30">
                  <c:v>0.98934698552651956</c:v>
                </c:pt>
                <c:pt idx="31">
                  <c:v>0.99113510707096475</c:v>
                </c:pt>
                <c:pt idx="32">
                  <c:v>0.99256230245839683</c:v>
                </c:pt>
                <c:pt idx="33">
                  <c:v>0.99393256942989616</c:v>
                </c:pt>
                <c:pt idx="34">
                  <c:v>0.99527095648847319</c:v>
                </c:pt>
                <c:pt idx="35">
                  <c:v>0.99630648437428848</c:v>
                </c:pt>
                <c:pt idx="36">
                  <c:v>0.99729703881151688</c:v>
                </c:pt>
                <c:pt idx="37">
                  <c:v>0.99822895698033465</c:v>
                </c:pt>
                <c:pt idx="38">
                  <c:v>0.99916030586499316</c:v>
                </c:pt>
                <c:pt idx="39">
                  <c:v>0.99948479783580935</c:v>
                </c:pt>
                <c:pt idx="40">
                  <c:v>0.99958726898448813</c:v>
                </c:pt>
                <c:pt idx="41">
                  <c:v>0.99968689371237029</c:v>
                </c:pt>
                <c:pt idx="42">
                  <c:v>0.99978367201945584</c:v>
                </c:pt>
                <c:pt idx="43">
                  <c:v>0.9998673567908769</c:v>
                </c:pt>
                <c:pt idx="44">
                  <c:v>0.99992485449096891</c:v>
                </c:pt>
                <c:pt idx="45">
                  <c:v>0.99997153579203368</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49</c:f>
              <c:strCache>
                <c:ptCount val="48"/>
                <c:pt idx="0">
                  <c:v>Ruinart</c:v>
                </c:pt>
                <c:pt idx="1">
                  <c:v>Ruinart</c:v>
                </c:pt>
                <c:pt idx="2">
                  <c:v>Ruinart</c:v>
                </c:pt>
                <c:pt idx="3">
                  <c:v>Malard</c:v>
                </c:pt>
                <c:pt idx="4">
                  <c:v>Nicolas</c:v>
                </c:pt>
                <c:pt idx="5">
                  <c:v>Besserat De</c:v>
                </c:pt>
                <c:pt idx="6">
                  <c:v>Ruinart</c:v>
                </c:pt>
                <c:pt idx="7">
                  <c:v>Delamotte</c:v>
                </c:pt>
                <c:pt idx="8">
                  <c:v>Henriot</c:v>
                </c:pt>
                <c:pt idx="9">
                  <c:v>De Bligny</c:v>
                </c:pt>
                <c:pt idx="10">
                  <c:v>Henriot</c:v>
                </c:pt>
                <c:pt idx="11">
                  <c:v>Laurent Per</c:v>
                </c:pt>
                <c:pt idx="12">
                  <c:v>Deutz</c:v>
                </c:pt>
                <c:pt idx="13">
                  <c:v>Perrier Jou</c:v>
                </c:pt>
                <c:pt idx="14">
                  <c:v>Laurent Per</c:v>
                </c:pt>
                <c:pt idx="15">
                  <c:v>De Venoge</c:v>
                </c:pt>
                <c:pt idx="16">
                  <c:v>Ayala</c:v>
                </c:pt>
                <c:pt idx="17">
                  <c:v>Ruinart</c:v>
                </c:pt>
                <c:pt idx="18">
                  <c:v>Taittinger</c:v>
                </c:pt>
                <c:pt idx="19">
                  <c:v>Taittinger</c:v>
                </c:pt>
                <c:pt idx="20">
                  <c:v>Nicolas</c:v>
                </c:pt>
                <c:pt idx="21">
                  <c:v>Deutz</c:v>
                </c:pt>
                <c:pt idx="22">
                  <c:v>Nicolas</c:v>
                </c:pt>
                <c:pt idx="23">
                  <c:v>All Others</c:v>
                </c:pt>
                <c:pt idx="24">
                  <c:v>Lanson</c:v>
                </c:pt>
                <c:pt idx="25">
                  <c:v>Taittinger</c:v>
                </c:pt>
                <c:pt idx="26">
                  <c:v>Nicolas</c:v>
                </c:pt>
                <c:pt idx="27">
                  <c:v>Deutz</c:v>
                </c:pt>
                <c:pt idx="28">
                  <c:v>Taittinger</c:v>
                </c:pt>
                <c:pt idx="29">
                  <c:v>Laurent Per</c:v>
                </c:pt>
                <c:pt idx="30">
                  <c:v>Vesselle</c:v>
                </c:pt>
                <c:pt idx="31">
                  <c:v>Besserat De</c:v>
                </c:pt>
                <c:pt idx="32">
                  <c:v>Ayala</c:v>
                </c:pt>
                <c:pt idx="33">
                  <c:v>Delamotte</c:v>
                </c:pt>
                <c:pt idx="34">
                  <c:v>Perrier Jou</c:v>
                </c:pt>
                <c:pt idx="35">
                  <c:v>Krug</c:v>
                </c:pt>
                <c:pt idx="36">
                  <c:v>Delamotte</c:v>
                </c:pt>
                <c:pt idx="37">
                  <c:v>All Others</c:v>
                </c:pt>
                <c:pt idx="38">
                  <c:v>All Others</c:v>
                </c:pt>
                <c:pt idx="39">
                  <c:v>All Others</c:v>
                </c:pt>
                <c:pt idx="40">
                  <c:v>De Venoge</c:v>
                </c:pt>
                <c:pt idx="41">
                  <c:v>Ruinart</c:v>
                </c:pt>
                <c:pt idx="42">
                  <c:v>Piper Heids</c:v>
                </c:pt>
                <c:pt idx="43">
                  <c:v>Nicolas</c:v>
                </c:pt>
                <c:pt idx="44">
                  <c:v>Canard Duch</c:v>
                </c:pt>
                <c:pt idx="45">
                  <c:v>Vranken</c:v>
                </c:pt>
                <c:pt idx="46">
                  <c:v>Deutz</c:v>
                </c:pt>
                <c:pt idx="47">
                  <c:v>Besserat De</c:v>
                </c:pt>
              </c:strCache>
            </c:strRef>
          </c:cat>
          <c:val>
            <c:numRef>
              <c:f>Sheet1!$B$2:$B$49</c:f>
              <c:numCache>
                <c:formatCode>General</c:formatCode>
                <c:ptCount val="48"/>
                <c:pt idx="0">
                  <c:v>0.78</c:v>
                </c:pt>
                <c:pt idx="1">
                  <c:v>0.71</c:v>
                </c:pt>
                <c:pt idx="2">
                  <c:v>0.36</c:v>
                </c:pt>
                <c:pt idx="3">
                  <c:v>0.75</c:v>
                </c:pt>
                <c:pt idx="4">
                  <c:v>0.51</c:v>
                </c:pt>
                <c:pt idx="5">
                  <c:v>0.47</c:v>
                </c:pt>
                <c:pt idx="6">
                  <c:v>0.39</c:v>
                </c:pt>
                <c:pt idx="7">
                  <c:v>0.51</c:v>
                </c:pt>
                <c:pt idx="8">
                  <c:v>0.44</c:v>
                </c:pt>
                <c:pt idx="9">
                  <c:v>0.56000000000000005</c:v>
                </c:pt>
                <c:pt idx="10">
                  <c:v>0.62</c:v>
                </c:pt>
                <c:pt idx="11">
                  <c:v>0.19</c:v>
                </c:pt>
                <c:pt idx="12">
                  <c:v>0.19</c:v>
                </c:pt>
                <c:pt idx="13">
                  <c:v>0.32</c:v>
                </c:pt>
                <c:pt idx="14">
                  <c:v>0.21</c:v>
                </c:pt>
                <c:pt idx="15">
                  <c:v>0.41</c:v>
                </c:pt>
                <c:pt idx="16">
                  <c:v>0.42</c:v>
                </c:pt>
                <c:pt idx="17">
                  <c:v>0.19</c:v>
                </c:pt>
                <c:pt idx="18">
                  <c:v>0.18</c:v>
                </c:pt>
                <c:pt idx="19">
                  <c:v>0.19</c:v>
                </c:pt>
                <c:pt idx="20">
                  <c:v>0.33</c:v>
                </c:pt>
                <c:pt idx="21">
                  <c:v>0.11</c:v>
                </c:pt>
                <c:pt idx="22">
                  <c:v>0.2</c:v>
                </c:pt>
                <c:pt idx="23">
                  <c:v>0.24</c:v>
                </c:pt>
                <c:pt idx="24">
                  <c:v>0.2</c:v>
                </c:pt>
                <c:pt idx="25">
                  <c:v>0.15</c:v>
                </c:pt>
                <c:pt idx="26">
                  <c:v>0.13</c:v>
                </c:pt>
                <c:pt idx="27">
                  <c:v>0.18</c:v>
                </c:pt>
                <c:pt idx="28">
                  <c:v>0.03</c:v>
                </c:pt>
                <c:pt idx="29">
                  <c:v>0.22</c:v>
                </c:pt>
                <c:pt idx="30">
                  <c:v>0.2</c:v>
                </c:pt>
                <c:pt idx="31">
                  <c:v>0.18</c:v>
                </c:pt>
                <c:pt idx="32">
                  <c:v>0.12</c:v>
                </c:pt>
                <c:pt idx="33">
                  <c:v>0.08</c:v>
                </c:pt>
                <c:pt idx="34">
                  <c:v>0.1</c:v>
                </c:pt>
                <c:pt idx="35">
                  <c:v>0.15</c:v>
                </c:pt>
                <c:pt idx="36">
                  <c:v>0.14000000000000001</c:v>
                </c:pt>
                <c:pt idx="37">
                  <c:v>0.22</c:v>
                </c:pt>
                <c:pt idx="38">
                  <c:v>0.19</c:v>
                </c:pt>
                <c:pt idx="39">
                  <c:v>0.08</c:v>
                </c:pt>
                <c:pt idx="40">
                  <c:v>0.13</c:v>
                </c:pt>
                <c:pt idx="41">
                  <c:v>0.02</c:v>
                </c:pt>
                <c:pt idx="42">
                  <c:v>0.19</c:v>
                </c:pt>
                <c:pt idx="43">
                  <c:v>0.03</c:v>
                </c:pt>
                <c:pt idx="44">
                  <c:v>0.12</c:v>
                </c:pt>
                <c:pt idx="45">
                  <c:v>0.17</c:v>
                </c:pt>
                <c:pt idx="46">
                  <c:v>0.03</c:v>
                </c:pt>
                <c:pt idx="47">
                  <c:v>0.02</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7ECAC4"/>
              </a:solidFill>
            </c:spPr>
            <c:extLst>
              <c:ext xmlns:c16="http://schemas.microsoft.com/office/drawing/2014/chart" uri="{C3380CC4-5D6E-409C-BE32-E72D297353CC}">
                <c16:uniqueId val="{0000004B-2993-41DE-A2CB-63102DE87051}"/>
              </c:ext>
            </c:extLst>
          </c:dPt>
          <c:dPt>
            <c:idx val="10"/>
            <c:invertIfNegative val="1"/>
            <c:bubble3D val="0"/>
            <c:spPr>
              <a:solidFill>
                <a:srgbClr val="7ECAC4"/>
              </a:solidFill>
            </c:spPr>
            <c:extLst>
              <c:ext xmlns:c16="http://schemas.microsoft.com/office/drawing/2014/chart" uri="{C3380CC4-5D6E-409C-BE32-E72D297353CC}">
                <c16:uniqueId val="{0000004D-2993-41DE-A2CB-63102DE87051}"/>
              </c:ext>
            </c:extLst>
          </c:dPt>
          <c:dPt>
            <c:idx val="11"/>
            <c:invertIfNegative val="1"/>
            <c:bubble3D val="0"/>
            <c:spPr>
              <a:solidFill>
                <a:srgbClr val="7ECAC4"/>
              </a:solidFill>
            </c:spPr>
            <c:extLst>
              <c:ext xmlns:c16="http://schemas.microsoft.com/office/drawing/2014/chart" uri="{C3380CC4-5D6E-409C-BE32-E72D297353CC}">
                <c16:uniqueId val="{0000004F-2993-41DE-A2CB-63102DE87051}"/>
              </c:ext>
            </c:extLst>
          </c:dPt>
          <c:dPt>
            <c:idx val="12"/>
            <c:invertIfNegative val="1"/>
            <c:bubble3D val="0"/>
            <c:spPr>
              <a:solidFill>
                <a:srgbClr val="7ECAC4"/>
              </a:solidFill>
            </c:spPr>
            <c:extLst>
              <c:ext xmlns:c16="http://schemas.microsoft.com/office/drawing/2014/chart" uri="{C3380CC4-5D6E-409C-BE32-E72D297353CC}">
                <c16:uniqueId val="{00000051-2993-41DE-A2CB-63102DE87051}"/>
              </c:ext>
            </c:extLst>
          </c:dPt>
          <c:dPt>
            <c:idx val="13"/>
            <c:invertIfNegative val="1"/>
            <c:bubble3D val="0"/>
            <c:spPr>
              <a:solidFill>
                <a:srgbClr val="7ECAC4"/>
              </a:solidFill>
            </c:spPr>
            <c:extLst>
              <c:ext xmlns:c16="http://schemas.microsoft.com/office/drawing/2014/chart" uri="{C3380CC4-5D6E-409C-BE32-E72D297353CC}">
                <c16:uniqueId val="{00000053-2993-41DE-A2CB-63102DE87051}"/>
              </c:ext>
            </c:extLst>
          </c:dPt>
          <c:dPt>
            <c:idx val="14"/>
            <c:invertIfNegative val="1"/>
            <c:bubble3D val="0"/>
            <c:spPr>
              <a:solidFill>
                <a:srgbClr val="7ECAC4"/>
              </a:solidFill>
            </c:spPr>
            <c:extLst>
              <c:ext xmlns:c16="http://schemas.microsoft.com/office/drawing/2014/chart" uri="{C3380CC4-5D6E-409C-BE32-E72D297353CC}">
                <c16:uniqueId val="{00000055-2993-41DE-A2CB-63102DE87051}"/>
              </c:ext>
            </c:extLst>
          </c:dPt>
          <c:dPt>
            <c:idx val="15"/>
            <c:invertIfNegative val="1"/>
            <c:bubble3D val="0"/>
            <c:spPr>
              <a:solidFill>
                <a:srgbClr val="7ECAC4"/>
              </a:solidFill>
            </c:spPr>
            <c:extLst>
              <c:ext xmlns:c16="http://schemas.microsoft.com/office/drawing/2014/chart" uri="{C3380CC4-5D6E-409C-BE32-E72D297353CC}">
                <c16:uniqueId val="{00000057-2993-41DE-A2CB-63102DE87051}"/>
              </c:ext>
            </c:extLst>
          </c:dPt>
          <c:dPt>
            <c:idx val="16"/>
            <c:invertIfNegative val="1"/>
            <c:bubble3D val="0"/>
            <c:spPr>
              <a:solidFill>
                <a:srgbClr val="7ECAC4"/>
              </a:solidFill>
            </c:spPr>
            <c:extLst>
              <c:ext xmlns:c16="http://schemas.microsoft.com/office/drawing/2014/chart" uri="{C3380CC4-5D6E-409C-BE32-E72D297353CC}">
                <c16:uniqueId val="{00000059-2993-41DE-A2CB-63102DE87051}"/>
              </c:ext>
            </c:extLst>
          </c:dPt>
          <c:dPt>
            <c:idx val="17"/>
            <c:invertIfNegative val="1"/>
            <c:bubble3D val="0"/>
            <c:spPr>
              <a:solidFill>
                <a:srgbClr val="7ECAC4"/>
              </a:solidFill>
            </c:spPr>
            <c:extLst>
              <c:ext xmlns:c16="http://schemas.microsoft.com/office/drawing/2014/chart" uri="{C3380CC4-5D6E-409C-BE32-E72D297353CC}">
                <c16:uniqueId val="{0000005B-2993-41DE-A2CB-63102DE87051}"/>
              </c:ext>
            </c:extLst>
          </c:dPt>
          <c:dPt>
            <c:idx val="18"/>
            <c:invertIfNegative val="1"/>
            <c:bubble3D val="0"/>
            <c:spPr>
              <a:solidFill>
                <a:srgbClr val="7ECAC4"/>
              </a:solidFill>
            </c:spPr>
            <c:extLst>
              <c:ext xmlns:c16="http://schemas.microsoft.com/office/drawing/2014/chart" uri="{C3380CC4-5D6E-409C-BE32-E72D297353CC}">
                <c16:uniqueId val="{0000005D-2993-41DE-A2CB-63102DE87051}"/>
              </c:ext>
            </c:extLst>
          </c:dPt>
          <c:dPt>
            <c:idx val="19"/>
            <c:invertIfNegative val="1"/>
            <c:bubble3D val="0"/>
            <c:spPr>
              <a:solidFill>
                <a:srgbClr val="7ECAC4"/>
              </a:solidFill>
            </c:spPr>
            <c:extLst>
              <c:ext xmlns:c16="http://schemas.microsoft.com/office/drawing/2014/chart" uri="{C3380CC4-5D6E-409C-BE32-E72D297353CC}">
                <c16:uniqueId val="{0000005F-2993-41DE-A2CB-63102DE87051}"/>
              </c:ext>
            </c:extLst>
          </c:dPt>
          <c:dPt>
            <c:idx val="20"/>
            <c:invertIfNegative val="1"/>
            <c:bubble3D val="0"/>
            <c:spPr>
              <a:solidFill>
                <a:srgbClr val="7ECAC4"/>
              </a:solidFill>
            </c:spPr>
            <c:extLst>
              <c:ext xmlns:c16="http://schemas.microsoft.com/office/drawing/2014/chart" uri="{C3380CC4-5D6E-409C-BE32-E72D297353CC}">
                <c16:uniqueId val="{00000061-2993-41DE-A2CB-63102DE87051}"/>
              </c:ext>
            </c:extLst>
          </c:dPt>
          <c:dPt>
            <c:idx val="21"/>
            <c:invertIfNegative val="1"/>
            <c:bubble3D val="0"/>
            <c:spPr>
              <a:solidFill>
                <a:srgbClr val="AEABAB"/>
              </a:solidFill>
            </c:spPr>
            <c:extLst>
              <c:ext xmlns:c16="http://schemas.microsoft.com/office/drawing/2014/chart" uri="{C3380CC4-5D6E-409C-BE32-E72D297353CC}">
                <c16:uniqueId val="{00000063-2993-41DE-A2CB-63102DE87051}"/>
              </c:ext>
            </c:extLst>
          </c:dPt>
          <c:dPt>
            <c:idx val="22"/>
            <c:invertIfNegative val="1"/>
            <c:bubble3D val="0"/>
            <c:spPr>
              <a:solidFill>
                <a:srgbClr val="AEABAB"/>
              </a:solidFill>
            </c:spPr>
            <c:extLst>
              <c:ext xmlns:c16="http://schemas.microsoft.com/office/drawing/2014/chart" uri="{C3380CC4-5D6E-409C-BE32-E72D297353CC}">
                <c16:uniqueId val="{00000065-2993-41DE-A2CB-63102DE87051}"/>
              </c:ext>
            </c:extLst>
          </c:dPt>
          <c:dPt>
            <c:idx val="23"/>
            <c:invertIfNegative val="1"/>
            <c:bubble3D val="0"/>
            <c:spPr>
              <a:solidFill>
                <a:srgbClr val="AEABAB"/>
              </a:solidFill>
            </c:spPr>
            <c:extLst>
              <c:ext xmlns:c16="http://schemas.microsoft.com/office/drawing/2014/chart" uri="{C3380CC4-5D6E-409C-BE32-E72D297353CC}">
                <c16:uniqueId val="{00000067-2993-41DE-A2CB-63102DE87051}"/>
              </c:ext>
            </c:extLst>
          </c:dPt>
          <c:dPt>
            <c:idx val="24"/>
            <c:invertIfNegative val="1"/>
            <c:bubble3D val="0"/>
            <c:spPr>
              <a:solidFill>
                <a:srgbClr val="AEABAB"/>
              </a:solidFill>
            </c:spPr>
            <c:extLst>
              <c:ext xmlns:c16="http://schemas.microsoft.com/office/drawing/2014/chart" uri="{C3380CC4-5D6E-409C-BE32-E72D297353CC}">
                <c16:uniqueId val="{00000069-2993-41DE-A2CB-63102DE87051}"/>
              </c:ext>
            </c:extLst>
          </c:dPt>
          <c:dPt>
            <c:idx val="25"/>
            <c:invertIfNegative val="1"/>
            <c:bubble3D val="0"/>
            <c:spPr>
              <a:solidFill>
                <a:srgbClr val="AEABAB"/>
              </a:solidFill>
            </c:spPr>
            <c:extLst>
              <c:ext xmlns:c16="http://schemas.microsoft.com/office/drawing/2014/chart" uri="{C3380CC4-5D6E-409C-BE32-E72D297353CC}">
                <c16:uniqueId val="{0000006B-2993-41DE-A2CB-63102DE87051}"/>
              </c:ext>
            </c:extLst>
          </c:dPt>
          <c:dPt>
            <c:idx val="26"/>
            <c:invertIfNegative val="1"/>
            <c:bubble3D val="0"/>
            <c:spPr>
              <a:solidFill>
                <a:srgbClr val="AEABAB"/>
              </a:solidFill>
            </c:spPr>
            <c:extLst>
              <c:ext xmlns:c16="http://schemas.microsoft.com/office/drawing/2014/chart" uri="{C3380CC4-5D6E-409C-BE32-E72D297353CC}">
                <c16:uniqueId val="{0000006D-2993-41DE-A2CB-63102DE87051}"/>
              </c:ext>
            </c:extLst>
          </c:dPt>
          <c:dPt>
            <c:idx val="27"/>
            <c:invertIfNegative val="1"/>
            <c:bubble3D val="0"/>
            <c:spPr>
              <a:solidFill>
                <a:srgbClr val="AEABAB"/>
              </a:solidFill>
            </c:spPr>
            <c:extLst>
              <c:ext xmlns:c16="http://schemas.microsoft.com/office/drawing/2014/chart" uri="{C3380CC4-5D6E-409C-BE32-E72D297353CC}">
                <c16:uniqueId val="{0000006F-2993-41DE-A2CB-63102DE87051}"/>
              </c:ext>
            </c:extLst>
          </c:dPt>
          <c:dPt>
            <c:idx val="28"/>
            <c:invertIfNegative val="1"/>
            <c:bubble3D val="0"/>
            <c:spPr>
              <a:solidFill>
                <a:srgbClr val="AEABAB"/>
              </a:solidFill>
            </c:spPr>
            <c:extLst>
              <c:ext xmlns:c16="http://schemas.microsoft.com/office/drawing/2014/chart" uri="{C3380CC4-5D6E-409C-BE32-E72D297353CC}">
                <c16:uniqueId val="{00000071-2993-41DE-A2CB-63102DE87051}"/>
              </c:ext>
            </c:extLst>
          </c:dPt>
          <c:dPt>
            <c:idx val="29"/>
            <c:invertIfNegative val="1"/>
            <c:bubble3D val="0"/>
            <c:spPr>
              <a:solidFill>
                <a:srgbClr val="AEABAB"/>
              </a:solidFill>
            </c:spPr>
            <c:extLst>
              <c:ext xmlns:c16="http://schemas.microsoft.com/office/drawing/2014/chart" uri="{C3380CC4-5D6E-409C-BE32-E72D297353CC}">
                <c16:uniqueId val="{00000073-2993-41DE-A2CB-63102DE87051}"/>
              </c:ext>
            </c:extLst>
          </c:dPt>
          <c:dPt>
            <c:idx val="30"/>
            <c:invertIfNegative val="1"/>
            <c:bubble3D val="0"/>
            <c:spPr>
              <a:solidFill>
                <a:srgbClr val="AEABAB"/>
              </a:solidFill>
            </c:spPr>
            <c:extLst>
              <c:ext xmlns:c16="http://schemas.microsoft.com/office/drawing/2014/chart" uri="{C3380CC4-5D6E-409C-BE32-E72D297353CC}">
                <c16:uniqueId val="{00000075-2993-41DE-A2CB-63102DE87051}"/>
              </c:ext>
            </c:extLst>
          </c:dPt>
          <c:dPt>
            <c:idx val="31"/>
            <c:invertIfNegative val="1"/>
            <c:bubble3D val="0"/>
            <c:spPr>
              <a:solidFill>
                <a:srgbClr val="AEABAB"/>
              </a:solidFill>
            </c:spPr>
            <c:extLst>
              <c:ext xmlns:c16="http://schemas.microsoft.com/office/drawing/2014/chart" uri="{C3380CC4-5D6E-409C-BE32-E72D297353CC}">
                <c16:uniqueId val="{00000077-2993-41DE-A2CB-63102DE87051}"/>
              </c:ext>
            </c:extLst>
          </c:dPt>
          <c:dPt>
            <c:idx val="32"/>
            <c:invertIfNegative val="1"/>
            <c:bubble3D val="0"/>
            <c:spPr>
              <a:solidFill>
                <a:srgbClr val="AEABAB"/>
              </a:solidFill>
            </c:spPr>
            <c:extLst>
              <c:ext xmlns:c16="http://schemas.microsoft.com/office/drawing/2014/chart" uri="{C3380CC4-5D6E-409C-BE32-E72D297353CC}">
                <c16:uniqueId val="{00000079-2993-41DE-A2CB-63102DE87051}"/>
              </c:ext>
            </c:extLst>
          </c:dPt>
          <c:dPt>
            <c:idx val="33"/>
            <c:invertIfNegative val="1"/>
            <c:bubble3D val="0"/>
            <c:spPr>
              <a:solidFill>
                <a:srgbClr val="AEABAB"/>
              </a:solidFill>
            </c:spPr>
            <c:extLst>
              <c:ext xmlns:c16="http://schemas.microsoft.com/office/drawing/2014/chart" uri="{C3380CC4-5D6E-409C-BE32-E72D297353CC}">
                <c16:uniqueId val="{0000007B-2993-41DE-A2CB-63102DE87051}"/>
              </c:ext>
            </c:extLst>
          </c:dPt>
          <c:dPt>
            <c:idx val="34"/>
            <c:invertIfNegative val="1"/>
            <c:bubble3D val="0"/>
            <c:spPr>
              <a:solidFill>
                <a:srgbClr val="AEABAB"/>
              </a:solidFill>
            </c:spPr>
            <c:extLst>
              <c:ext xmlns:c16="http://schemas.microsoft.com/office/drawing/2014/chart" uri="{C3380CC4-5D6E-409C-BE32-E72D297353CC}">
                <c16:uniqueId val="{0000007D-2993-41DE-A2CB-63102DE87051}"/>
              </c:ext>
            </c:extLst>
          </c:dPt>
          <c:dPt>
            <c:idx val="35"/>
            <c:invertIfNegative val="1"/>
            <c:bubble3D val="0"/>
            <c:spPr>
              <a:solidFill>
                <a:srgbClr val="AEABAB"/>
              </a:solidFill>
            </c:spPr>
            <c:extLst>
              <c:ext xmlns:c16="http://schemas.microsoft.com/office/drawing/2014/chart" uri="{C3380CC4-5D6E-409C-BE32-E72D297353CC}">
                <c16:uniqueId val="{0000007F-2993-41DE-A2CB-63102DE87051}"/>
              </c:ext>
            </c:extLst>
          </c:dPt>
          <c:dPt>
            <c:idx val="36"/>
            <c:invertIfNegative val="1"/>
            <c:bubble3D val="0"/>
            <c:spPr>
              <a:solidFill>
                <a:srgbClr val="AEABAB"/>
              </a:solidFill>
            </c:spPr>
            <c:extLst>
              <c:ext xmlns:c16="http://schemas.microsoft.com/office/drawing/2014/chart" uri="{C3380CC4-5D6E-409C-BE32-E72D297353CC}">
                <c16:uniqueId val="{00000081-2993-41DE-A2CB-63102DE87051}"/>
              </c:ext>
            </c:extLst>
          </c:dPt>
          <c:dPt>
            <c:idx val="37"/>
            <c:invertIfNegative val="1"/>
            <c:bubble3D val="0"/>
            <c:spPr>
              <a:solidFill>
                <a:srgbClr val="AEABAB"/>
              </a:solidFill>
            </c:spPr>
            <c:extLst>
              <c:ext xmlns:c16="http://schemas.microsoft.com/office/drawing/2014/chart" uri="{C3380CC4-5D6E-409C-BE32-E72D297353CC}">
                <c16:uniqueId val="{00000083-2993-41DE-A2CB-63102DE87051}"/>
              </c:ext>
            </c:extLst>
          </c:dPt>
          <c:dPt>
            <c:idx val="38"/>
            <c:invertIfNegative val="1"/>
            <c:bubble3D val="0"/>
            <c:spPr>
              <a:solidFill>
                <a:srgbClr val="AEABAB"/>
              </a:solidFill>
            </c:spPr>
            <c:extLst>
              <c:ext xmlns:c16="http://schemas.microsoft.com/office/drawing/2014/chart" uri="{C3380CC4-5D6E-409C-BE32-E72D297353CC}">
                <c16:uniqueId val="{00000085-2993-41DE-A2CB-63102DE87051}"/>
              </c:ext>
            </c:extLst>
          </c:dPt>
          <c:dPt>
            <c:idx val="39"/>
            <c:invertIfNegative val="1"/>
            <c:bubble3D val="0"/>
            <c:spPr>
              <a:solidFill>
                <a:srgbClr val="AEABAB"/>
              </a:solidFill>
            </c:spPr>
            <c:extLst>
              <c:ext xmlns:c16="http://schemas.microsoft.com/office/drawing/2014/chart" uri="{C3380CC4-5D6E-409C-BE32-E72D297353CC}">
                <c16:uniqueId val="{00000087-2993-41DE-A2CB-63102DE87051}"/>
              </c:ext>
            </c:extLst>
          </c:dPt>
          <c:dPt>
            <c:idx val="40"/>
            <c:invertIfNegative val="1"/>
            <c:bubble3D val="0"/>
            <c:spPr>
              <a:solidFill>
                <a:srgbClr val="AEABAB"/>
              </a:solidFill>
            </c:spPr>
            <c:extLst>
              <c:ext xmlns:c16="http://schemas.microsoft.com/office/drawing/2014/chart" uri="{C3380CC4-5D6E-409C-BE32-E72D297353CC}">
                <c16:uniqueId val="{00000089-2993-41DE-A2CB-63102DE87051}"/>
              </c:ext>
            </c:extLst>
          </c:dPt>
          <c:dPt>
            <c:idx val="41"/>
            <c:invertIfNegative val="1"/>
            <c:bubble3D val="0"/>
            <c:spPr>
              <a:solidFill>
                <a:srgbClr val="AEABAB"/>
              </a:solidFill>
            </c:spPr>
            <c:extLst>
              <c:ext xmlns:c16="http://schemas.microsoft.com/office/drawing/2014/chart" uri="{C3380CC4-5D6E-409C-BE32-E72D297353CC}">
                <c16:uniqueId val="{0000008B-2993-41DE-A2CB-63102DE87051}"/>
              </c:ext>
            </c:extLst>
          </c:dPt>
          <c:dPt>
            <c:idx val="42"/>
            <c:invertIfNegative val="1"/>
            <c:bubble3D val="0"/>
            <c:spPr>
              <a:solidFill>
                <a:srgbClr val="AEABAB"/>
              </a:solidFill>
            </c:spPr>
            <c:extLst>
              <c:ext xmlns:c16="http://schemas.microsoft.com/office/drawing/2014/chart" uri="{C3380CC4-5D6E-409C-BE32-E72D297353CC}">
                <c16:uniqueId val="{0000008D-2993-41DE-A2CB-63102DE87051}"/>
              </c:ext>
            </c:extLst>
          </c:dPt>
          <c:dPt>
            <c:idx val="43"/>
            <c:invertIfNegative val="1"/>
            <c:bubble3D val="0"/>
            <c:spPr>
              <a:solidFill>
                <a:srgbClr val="AEABAB"/>
              </a:solidFill>
            </c:spPr>
            <c:extLst>
              <c:ext xmlns:c16="http://schemas.microsoft.com/office/drawing/2014/chart" uri="{C3380CC4-5D6E-409C-BE32-E72D297353CC}">
                <c16:uniqueId val="{0000008F-2993-41DE-A2CB-63102DE87051}"/>
              </c:ext>
            </c:extLst>
          </c:dPt>
          <c:dPt>
            <c:idx val="44"/>
            <c:invertIfNegative val="1"/>
            <c:bubble3D val="0"/>
            <c:spPr>
              <a:solidFill>
                <a:srgbClr val="AEABAB"/>
              </a:solidFill>
            </c:spPr>
            <c:extLst>
              <c:ext xmlns:c16="http://schemas.microsoft.com/office/drawing/2014/chart" uri="{C3380CC4-5D6E-409C-BE32-E72D297353CC}">
                <c16:uniqueId val="{00000091-2993-41DE-A2CB-63102DE87051}"/>
              </c:ext>
            </c:extLst>
          </c:dPt>
          <c:dPt>
            <c:idx val="45"/>
            <c:invertIfNegative val="1"/>
            <c:bubble3D val="0"/>
            <c:spPr>
              <a:solidFill>
                <a:srgbClr val="AEABAB"/>
              </a:solidFill>
            </c:spPr>
            <c:extLst>
              <c:ext xmlns:c16="http://schemas.microsoft.com/office/drawing/2014/chart" uri="{C3380CC4-5D6E-409C-BE32-E72D297353CC}">
                <c16:uniqueId val="{00000093-2993-41DE-A2CB-63102DE87051}"/>
              </c:ext>
            </c:extLst>
          </c:dPt>
          <c:dPt>
            <c:idx val="46"/>
            <c:invertIfNegative val="1"/>
            <c:bubble3D val="0"/>
            <c:spPr>
              <a:solidFill>
                <a:srgbClr val="AEABAB"/>
              </a:solidFill>
            </c:spPr>
            <c:extLst>
              <c:ext xmlns:c16="http://schemas.microsoft.com/office/drawing/2014/chart" uri="{C3380CC4-5D6E-409C-BE32-E72D297353CC}">
                <c16:uniqueId val="{00000095-2993-41DE-A2CB-63102DE87051}"/>
              </c:ext>
            </c:extLst>
          </c:dPt>
          <c:dPt>
            <c:idx val="47"/>
            <c:invertIfNegative val="1"/>
            <c:bubble3D val="0"/>
            <c:spPr>
              <a:solidFill>
                <a:srgbClr val="AEABAB"/>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49</c:f>
              <c:strCache>
                <c:ptCount val="48"/>
                <c:pt idx="0">
                  <c:v>Ruinart</c:v>
                </c:pt>
                <c:pt idx="1">
                  <c:v>Ruinart</c:v>
                </c:pt>
                <c:pt idx="2">
                  <c:v>Ruinart</c:v>
                </c:pt>
                <c:pt idx="3">
                  <c:v>Malard</c:v>
                </c:pt>
                <c:pt idx="4">
                  <c:v>Nicolas</c:v>
                </c:pt>
                <c:pt idx="5">
                  <c:v>Besserat De</c:v>
                </c:pt>
                <c:pt idx="6">
                  <c:v>Ruinart</c:v>
                </c:pt>
                <c:pt idx="7">
                  <c:v>Delamotte</c:v>
                </c:pt>
                <c:pt idx="8">
                  <c:v>Henriot</c:v>
                </c:pt>
                <c:pt idx="9">
                  <c:v>De Bligny</c:v>
                </c:pt>
                <c:pt idx="10">
                  <c:v>Henriot</c:v>
                </c:pt>
                <c:pt idx="11">
                  <c:v>Laurent Per</c:v>
                </c:pt>
                <c:pt idx="12">
                  <c:v>Deutz</c:v>
                </c:pt>
                <c:pt idx="13">
                  <c:v>Perrier Jou</c:v>
                </c:pt>
                <c:pt idx="14">
                  <c:v>Laurent Per</c:v>
                </c:pt>
                <c:pt idx="15">
                  <c:v>De Venoge</c:v>
                </c:pt>
                <c:pt idx="16">
                  <c:v>Ayala</c:v>
                </c:pt>
                <c:pt idx="17">
                  <c:v>Ruinart</c:v>
                </c:pt>
                <c:pt idx="18">
                  <c:v>Taittinger</c:v>
                </c:pt>
                <c:pt idx="19">
                  <c:v>Taittinger</c:v>
                </c:pt>
                <c:pt idx="20">
                  <c:v>Nicolas</c:v>
                </c:pt>
                <c:pt idx="21">
                  <c:v>Deutz</c:v>
                </c:pt>
                <c:pt idx="22">
                  <c:v>Nicolas</c:v>
                </c:pt>
                <c:pt idx="23">
                  <c:v>All Others</c:v>
                </c:pt>
                <c:pt idx="24">
                  <c:v>Lanson</c:v>
                </c:pt>
                <c:pt idx="25">
                  <c:v>Taittinger</c:v>
                </c:pt>
                <c:pt idx="26">
                  <c:v>Nicolas</c:v>
                </c:pt>
                <c:pt idx="27">
                  <c:v>Deutz</c:v>
                </c:pt>
                <c:pt idx="28">
                  <c:v>Taittinger</c:v>
                </c:pt>
                <c:pt idx="29">
                  <c:v>Laurent Per</c:v>
                </c:pt>
                <c:pt idx="30">
                  <c:v>Vesselle</c:v>
                </c:pt>
                <c:pt idx="31">
                  <c:v>Besserat De</c:v>
                </c:pt>
                <c:pt idx="32">
                  <c:v>Ayala</c:v>
                </c:pt>
                <c:pt idx="33">
                  <c:v>Delamotte</c:v>
                </c:pt>
                <c:pt idx="34">
                  <c:v>Perrier Jou</c:v>
                </c:pt>
                <c:pt idx="35">
                  <c:v>Krug</c:v>
                </c:pt>
                <c:pt idx="36">
                  <c:v>Delamotte</c:v>
                </c:pt>
                <c:pt idx="37">
                  <c:v>All Others</c:v>
                </c:pt>
                <c:pt idx="38">
                  <c:v>All Others</c:v>
                </c:pt>
                <c:pt idx="39">
                  <c:v>All Others</c:v>
                </c:pt>
                <c:pt idx="40">
                  <c:v>De Venoge</c:v>
                </c:pt>
                <c:pt idx="41">
                  <c:v>Ruinart</c:v>
                </c:pt>
                <c:pt idx="42">
                  <c:v>Piper Heids</c:v>
                </c:pt>
                <c:pt idx="43">
                  <c:v>Nicolas</c:v>
                </c:pt>
                <c:pt idx="44">
                  <c:v>Canard Duch</c:v>
                </c:pt>
                <c:pt idx="45">
                  <c:v>Vranken</c:v>
                </c:pt>
                <c:pt idx="46">
                  <c:v>Deutz</c:v>
                </c:pt>
                <c:pt idx="47">
                  <c:v>Besserat De</c:v>
                </c:pt>
              </c:strCache>
            </c:strRef>
          </c:cat>
          <c:val>
            <c:numRef>
              <c:f>Sheet1!$C$2:$C$49</c:f>
              <c:numCache>
                <c:formatCode>General</c:formatCode>
                <c:ptCount val="48"/>
                <c:pt idx="0">
                  <c:v>0.35294040312410563</c:v>
                </c:pt>
                <c:pt idx="1">
                  <c:v>0.55927275448587066</c:v>
                </c:pt>
                <c:pt idx="2">
                  <c:v>0.61636261954821225</c:v>
                </c:pt>
                <c:pt idx="3">
                  <c:v>0.66254663353650345</c:v>
                </c:pt>
                <c:pt idx="4">
                  <c:v>0.6951185596671613</c:v>
                </c:pt>
                <c:pt idx="5">
                  <c:v>0.72467378014556649</c:v>
                </c:pt>
                <c:pt idx="6">
                  <c:v>0.75404595546035869</c:v>
                </c:pt>
                <c:pt idx="7">
                  <c:v>0.78330082006255908</c:v>
                </c:pt>
                <c:pt idx="8">
                  <c:v>0.8021109860471044</c:v>
                </c:pt>
                <c:pt idx="9">
                  <c:v>0.82088373395952996</c:v>
                </c:pt>
                <c:pt idx="10">
                  <c:v>0.83459290654482543</c:v>
                </c:pt>
                <c:pt idx="11">
                  <c:v>0.84798857636371183</c:v>
                </c:pt>
                <c:pt idx="12">
                  <c:v>0.86094635360887206</c:v>
                </c:pt>
                <c:pt idx="13">
                  <c:v>0.87369074671302471</c:v>
                </c:pt>
                <c:pt idx="14">
                  <c:v>0.8863147952068462</c:v>
                </c:pt>
                <c:pt idx="15">
                  <c:v>0.89827543139497612</c:v>
                </c:pt>
                <c:pt idx="16">
                  <c:v>0.90959894905782313</c:v>
                </c:pt>
                <c:pt idx="17">
                  <c:v>0.9201852295699855</c:v>
                </c:pt>
                <c:pt idx="18">
                  <c:v>0.93064914287332368</c:v>
                </c:pt>
                <c:pt idx="19">
                  <c:v>0.93905910740705911</c:v>
                </c:pt>
                <c:pt idx="20">
                  <c:v>0.94631012300432737</c:v>
                </c:pt>
                <c:pt idx="21">
                  <c:v>0.95154056270712672</c:v>
                </c:pt>
                <c:pt idx="22">
                  <c:v>0.95657481035610881</c:v>
                </c:pt>
                <c:pt idx="23">
                  <c:v>0.96121970779519572</c:v>
                </c:pt>
                <c:pt idx="24">
                  <c:v>0.96521231722030243</c:v>
                </c:pt>
                <c:pt idx="25">
                  <c:v>0.96875186458298568</c:v>
                </c:pt>
                <c:pt idx="26">
                  <c:v>0.97222163229766179</c:v>
                </c:pt>
                <c:pt idx="27">
                  <c:v>0.97567926442138009</c:v>
                </c:pt>
                <c:pt idx="28">
                  <c:v>0.97902868752572492</c:v>
                </c:pt>
                <c:pt idx="29">
                  <c:v>0.98164491867637105</c:v>
                </c:pt>
                <c:pt idx="30">
                  <c:v>0.98423182214886928</c:v>
                </c:pt>
                <c:pt idx="31">
                  <c:v>0.98658916069241631</c:v>
                </c:pt>
                <c:pt idx="32">
                  <c:v>0.98891009246309003</c:v>
                </c:pt>
                <c:pt idx="33">
                  <c:v>0.99090943107338281</c:v>
                </c:pt>
                <c:pt idx="34">
                  <c:v>0.99256290534137914</c:v>
                </c:pt>
                <c:pt idx="35">
                  <c:v>0.99400906326384686</c:v>
                </c:pt>
                <c:pt idx="36">
                  <c:v>0.99527622121968751</c:v>
                </c:pt>
                <c:pt idx="37">
                  <c:v>0.99602053746509744</c:v>
                </c:pt>
                <c:pt idx="38">
                  <c:v>0.9966202379182606</c:v>
                </c:pt>
                <c:pt idx="39">
                  <c:v>0.99715622651889546</c:v>
                </c:pt>
                <c:pt idx="40">
                  <c:v>0.99766389874062888</c:v>
                </c:pt>
                <c:pt idx="41">
                  <c:v>0.99816752576537637</c:v>
                </c:pt>
                <c:pt idx="42">
                  <c:v>0.99865598330142669</c:v>
                </c:pt>
                <c:pt idx="43">
                  <c:v>0.99908780807967401</c:v>
                </c:pt>
                <c:pt idx="44">
                  <c:v>0.99944884191066774</c:v>
                </c:pt>
                <c:pt idx="45">
                  <c:v>0.99965716955544281</c:v>
                </c:pt>
                <c:pt idx="46">
                  <c:v>0.99984931641227415</c:v>
                </c:pt>
                <c:pt idx="47">
                  <c:v>0.99999999999999989</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39</c:f>
              <c:strCache>
                <c:ptCount val="38"/>
                <c:pt idx="0">
                  <c:v>Ruinart</c:v>
                </c:pt>
                <c:pt idx="1">
                  <c:v>Ruinart</c:v>
                </c:pt>
                <c:pt idx="2">
                  <c:v>Ruinart</c:v>
                </c:pt>
                <c:pt idx="3">
                  <c:v>Ruinart</c:v>
                </c:pt>
                <c:pt idx="4">
                  <c:v>Perrier Jou</c:v>
                </c:pt>
                <c:pt idx="5">
                  <c:v>Malard</c:v>
                </c:pt>
                <c:pt idx="6">
                  <c:v>Nicolas</c:v>
                </c:pt>
                <c:pt idx="7">
                  <c:v>Besserat De</c:v>
                </c:pt>
                <c:pt idx="8">
                  <c:v>Henriot</c:v>
                </c:pt>
                <c:pt idx="9">
                  <c:v>Delamotte</c:v>
                </c:pt>
                <c:pt idx="10">
                  <c:v>Laurent Per</c:v>
                </c:pt>
                <c:pt idx="11">
                  <c:v>Deutz</c:v>
                </c:pt>
                <c:pt idx="12">
                  <c:v>Henriot</c:v>
                </c:pt>
                <c:pt idx="13">
                  <c:v>De Venoge</c:v>
                </c:pt>
                <c:pt idx="14">
                  <c:v>Ayala</c:v>
                </c:pt>
                <c:pt idx="15">
                  <c:v>Laurent Per</c:v>
                </c:pt>
                <c:pt idx="16">
                  <c:v>De Bligny</c:v>
                </c:pt>
                <c:pt idx="17">
                  <c:v>Nicolas</c:v>
                </c:pt>
                <c:pt idx="18">
                  <c:v>Taittinger</c:v>
                </c:pt>
                <c:pt idx="19">
                  <c:v>Taittinger</c:v>
                </c:pt>
                <c:pt idx="20">
                  <c:v>Ruinart</c:v>
                </c:pt>
                <c:pt idx="21">
                  <c:v>Lanson</c:v>
                </c:pt>
                <c:pt idx="22">
                  <c:v>Nicolas</c:v>
                </c:pt>
                <c:pt idx="23">
                  <c:v>Perrier Jou</c:v>
                </c:pt>
                <c:pt idx="24">
                  <c:v>Deutz</c:v>
                </c:pt>
                <c:pt idx="25">
                  <c:v>Krug</c:v>
                </c:pt>
                <c:pt idx="26">
                  <c:v>Nicolas</c:v>
                </c:pt>
                <c:pt idx="27">
                  <c:v>Besserat De</c:v>
                </c:pt>
                <c:pt idx="28">
                  <c:v>Vesselle</c:v>
                </c:pt>
                <c:pt idx="29">
                  <c:v>All Others</c:v>
                </c:pt>
                <c:pt idx="30">
                  <c:v>Deutz</c:v>
                </c:pt>
                <c:pt idx="31">
                  <c:v>Ayala</c:v>
                </c:pt>
                <c:pt idx="32">
                  <c:v>De Venoge</c:v>
                </c:pt>
                <c:pt idx="33">
                  <c:v>Ruinart</c:v>
                </c:pt>
                <c:pt idx="34">
                  <c:v>Deutz</c:v>
                </c:pt>
                <c:pt idx="35">
                  <c:v>Delamotte</c:v>
                </c:pt>
                <c:pt idx="36">
                  <c:v>Taittinger</c:v>
                </c:pt>
                <c:pt idx="37">
                  <c:v>Pommery</c:v>
                </c:pt>
              </c:strCache>
            </c:strRef>
          </c:cat>
          <c:val>
            <c:numRef>
              <c:f>Sheet1!$B$2:$B$39</c:f>
              <c:numCache>
                <c:formatCode>General</c:formatCode>
                <c:ptCount val="38"/>
                <c:pt idx="0">
                  <c:v>0.9</c:v>
                </c:pt>
                <c:pt idx="1">
                  <c:v>0.79</c:v>
                </c:pt>
                <c:pt idx="2">
                  <c:v>0.56000000000000005</c:v>
                </c:pt>
                <c:pt idx="3">
                  <c:v>0.62</c:v>
                </c:pt>
                <c:pt idx="4">
                  <c:v>0.39</c:v>
                </c:pt>
                <c:pt idx="5">
                  <c:v>0.75</c:v>
                </c:pt>
                <c:pt idx="6">
                  <c:v>0.59</c:v>
                </c:pt>
                <c:pt idx="7">
                  <c:v>0.61</c:v>
                </c:pt>
                <c:pt idx="8">
                  <c:v>0.54</c:v>
                </c:pt>
                <c:pt idx="9">
                  <c:v>0.44</c:v>
                </c:pt>
                <c:pt idx="10">
                  <c:v>0.2</c:v>
                </c:pt>
                <c:pt idx="11">
                  <c:v>0.2</c:v>
                </c:pt>
                <c:pt idx="12">
                  <c:v>0.53</c:v>
                </c:pt>
                <c:pt idx="13">
                  <c:v>0.24</c:v>
                </c:pt>
                <c:pt idx="14">
                  <c:v>0.42</c:v>
                </c:pt>
                <c:pt idx="15">
                  <c:v>0.31</c:v>
                </c:pt>
                <c:pt idx="16">
                  <c:v>0.56000000000000005</c:v>
                </c:pt>
                <c:pt idx="17">
                  <c:v>0.39</c:v>
                </c:pt>
                <c:pt idx="18">
                  <c:v>0.14000000000000001</c:v>
                </c:pt>
                <c:pt idx="19">
                  <c:v>0.12</c:v>
                </c:pt>
                <c:pt idx="20">
                  <c:v>0.2</c:v>
                </c:pt>
                <c:pt idx="21">
                  <c:v>0.18</c:v>
                </c:pt>
                <c:pt idx="22">
                  <c:v>0.19</c:v>
                </c:pt>
                <c:pt idx="23">
                  <c:v>0.19</c:v>
                </c:pt>
                <c:pt idx="24">
                  <c:v>0.13</c:v>
                </c:pt>
                <c:pt idx="25">
                  <c:v>0.2</c:v>
                </c:pt>
                <c:pt idx="26">
                  <c:v>0.28000000000000003</c:v>
                </c:pt>
                <c:pt idx="27">
                  <c:v>0.25</c:v>
                </c:pt>
                <c:pt idx="28">
                  <c:v>0.17</c:v>
                </c:pt>
                <c:pt idx="29">
                  <c:v>0.21</c:v>
                </c:pt>
                <c:pt idx="30">
                  <c:v>0.23</c:v>
                </c:pt>
                <c:pt idx="31">
                  <c:v>0.11</c:v>
                </c:pt>
                <c:pt idx="32">
                  <c:v>0.09</c:v>
                </c:pt>
                <c:pt idx="33">
                  <c:v>0.05</c:v>
                </c:pt>
                <c:pt idx="34">
                  <c:v>0.03</c:v>
                </c:pt>
                <c:pt idx="35">
                  <c:v>0.1</c:v>
                </c:pt>
                <c:pt idx="36">
                  <c:v>0.02</c:v>
                </c:pt>
                <c:pt idx="37">
                  <c:v>0.12</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7ECAC4"/>
              </a:solidFill>
            </c:spPr>
            <c:extLst>
              <c:ext xmlns:c16="http://schemas.microsoft.com/office/drawing/2014/chart" uri="{C3380CC4-5D6E-409C-BE32-E72D297353CC}">
                <c16:uniqueId val="{00000045-2993-41DE-A2CB-63102DE87051}"/>
              </c:ext>
            </c:extLst>
          </c:dPt>
          <c:dPt>
            <c:idx val="7"/>
            <c:invertIfNegative val="1"/>
            <c:bubble3D val="0"/>
            <c:spPr>
              <a:solidFill>
                <a:srgbClr val="7ECAC4"/>
              </a:solidFill>
            </c:spPr>
            <c:extLst>
              <c:ext xmlns:c16="http://schemas.microsoft.com/office/drawing/2014/chart" uri="{C3380CC4-5D6E-409C-BE32-E72D297353CC}">
                <c16:uniqueId val="{00000047-2993-41DE-A2CB-63102DE87051}"/>
              </c:ext>
            </c:extLst>
          </c:dPt>
          <c:dPt>
            <c:idx val="8"/>
            <c:invertIfNegative val="1"/>
            <c:bubble3D val="0"/>
            <c:spPr>
              <a:solidFill>
                <a:srgbClr val="7ECAC4"/>
              </a:solidFill>
            </c:spPr>
            <c:extLst>
              <c:ext xmlns:c16="http://schemas.microsoft.com/office/drawing/2014/chart" uri="{C3380CC4-5D6E-409C-BE32-E72D297353CC}">
                <c16:uniqueId val="{00000049-2993-41DE-A2CB-63102DE87051}"/>
              </c:ext>
            </c:extLst>
          </c:dPt>
          <c:dPt>
            <c:idx val="9"/>
            <c:invertIfNegative val="1"/>
            <c:bubble3D val="0"/>
            <c:spPr>
              <a:solidFill>
                <a:srgbClr val="7ECAC4"/>
              </a:solidFill>
            </c:spPr>
            <c:extLst>
              <c:ext xmlns:c16="http://schemas.microsoft.com/office/drawing/2014/chart" uri="{C3380CC4-5D6E-409C-BE32-E72D297353CC}">
                <c16:uniqueId val="{0000004B-2993-41DE-A2CB-63102DE87051}"/>
              </c:ext>
            </c:extLst>
          </c:dPt>
          <c:dPt>
            <c:idx val="10"/>
            <c:invertIfNegative val="1"/>
            <c:bubble3D val="0"/>
            <c:spPr>
              <a:solidFill>
                <a:srgbClr val="7ECAC4"/>
              </a:solidFill>
            </c:spPr>
            <c:extLst>
              <c:ext xmlns:c16="http://schemas.microsoft.com/office/drawing/2014/chart" uri="{C3380CC4-5D6E-409C-BE32-E72D297353CC}">
                <c16:uniqueId val="{0000004D-2993-41DE-A2CB-63102DE87051}"/>
              </c:ext>
            </c:extLst>
          </c:dPt>
          <c:dPt>
            <c:idx val="11"/>
            <c:invertIfNegative val="1"/>
            <c:bubble3D val="0"/>
            <c:spPr>
              <a:solidFill>
                <a:srgbClr val="7ECAC4"/>
              </a:solidFill>
            </c:spPr>
            <c:extLst>
              <c:ext xmlns:c16="http://schemas.microsoft.com/office/drawing/2014/chart" uri="{C3380CC4-5D6E-409C-BE32-E72D297353CC}">
                <c16:uniqueId val="{0000004F-2993-41DE-A2CB-63102DE87051}"/>
              </c:ext>
            </c:extLst>
          </c:dPt>
          <c:dPt>
            <c:idx val="12"/>
            <c:invertIfNegative val="1"/>
            <c:bubble3D val="0"/>
            <c:spPr>
              <a:solidFill>
                <a:srgbClr val="7ECAC4"/>
              </a:solidFill>
            </c:spPr>
            <c:extLst>
              <c:ext xmlns:c16="http://schemas.microsoft.com/office/drawing/2014/chart" uri="{C3380CC4-5D6E-409C-BE32-E72D297353CC}">
                <c16:uniqueId val="{00000051-2993-41DE-A2CB-63102DE87051}"/>
              </c:ext>
            </c:extLst>
          </c:dPt>
          <c:dPt>
            <c:idx val="13"/>
            <c:invertIfNegative val="1"/>
            <c:bubble3D val="0"/>
            <c:spPr>
              <a:solidFill>
                <a:srgbClr val="7ECAC4"/>
              </a:solidFill>
            </c:spPr>
            <c:extLst>
              <c:ext xmlns:c16="http://schemas.microsoft.com/office/drawing/2014/chart" uri="{C3380CC4-5D6E-409C-BE32-E72D297353CC}">
                <c16:uniqueId val="{00000053-2993-41DE-A2CB-63102DE87051}"/>
              </c:ext>
            </c:extLst>
          </c:dPt>
          <c:dPt>
            <c:idx val="14"/>
            <c:invertIfNegative val="1"/>
            <c:bubble3D val="0"/>
            <c:spPr>
              <a:solidFill>
                <a:srgbClr val="7ECAC4"/>
              </a:solidFill>
            </c:spPr>
            <c:extLst>
              <c:ext xmlns:c16="http://schemas.microsoft.com/office/drawing/2014/chart" uri="{C3380CC4-5D6E-409C-BE32-E72D297353CC}">
                <c16:uniqueId val="{00000055-2993-41DE-A2CB-63102DE87051}"/>
              </c:ext>
            </c:extLst>
          </c:dPt>
          <c:dPt>
            <c:idx val="15"/>
            <c:invertIfNegative val="1"/>
            <c:bubble3D val="0"/>
            <c:spPr>
              <a:solidFill>
                <a:srgbClr val="AEABAB"/>
              </a:solidFill>
            </c:spPr>
            <c:extLst>
              <c:ext xmlns:c16="http://schemas.microsoft.com/office/drawing/2014/chart" uri="{C3380CC4-5D6E-409C-BE32-E72D297353CC}">
                <c16:uniqueId val="{00000057-2993-41DE-A2CB-63102DE87051}"/>
              </c:ext>
            </c:extLst>
          </c:dPt>
          <c:dPt>
            <c:idx val="16"/>
            <c:invertIfNegative val="1"/>
            <c:bubble3D val="0"/>
            <c:spPr>
              <a:solidFill>
                <a:srgbClr val="AEABAB"/>
              </a:solidFill>
            </c:spPr>
            <c:extLst>
              <c:ext xmlns:c16="http://schemas.microsoft.com/office/drawing/2014/chart" uri="{C3380CC4-5D6E-409C-BE32-E72D297353CC}">
                <c16:uniqueId val="{00000059-2993-41DE-A2CB-63102DE87051}"/>
              </c:ext>
            </c:extLst>
          </c:dPt>
          <c:dPt>
            <c:idx val="17"/>
            <c:invertIfNegative val="1"/>
            <c:bubble3D val="0"/>
            <c:spPr>
              <a:solidFill>
                <a:srgbClr val="AEABAB"/>
              </a:solidFill>
            </c:spPr>
            <c:extLst>
              <c:ext xmlns:c16="http://schemas.microsoft.com/office/drawing/2014/chart" uri="{C3380CC4-5D6E-409C-BE32-E72D297353CC}">
                <c16:uniqueId val="{0000005B-2993-41DE-A2CB-63102DE87051}"/>
              </c:ext>
            </c:extLst>
          </c:dPt>
          <c:dPt>
            <c:idx val="18"/>
            <c:invertIfNegative val="1"/>
            <c:bubble3D val="0"/>
            <c:spPr>
              <a:solidFill>
                <a:srgbClr val="AEABAB"/>
              </a:solidFill>
            </c:spPr>
            <c:extLst>
              <c:ext xmlns:c16="http://schemas.microsoft.com/office/drawing/2014/chart" uri="{C3380CC4-5D6E-409C-BE32-E72D297353CC}">
                <c16:uniqueId val="{0000005D-2993-41DE-A2CB-63102DE87051}"/>
              </c:ext>
            </c:extLst>
          </c:dPt>
          <c:dPt>
            <c:idx val="19"/>
            <c:invertIfNegative val="1"/>
            <c:bubble3D val="0"/>
            <c:spPr>
              <a:solidFill>
                <a:srgbClr val="AEABAB"/>
              </a:solidFill>
            </c:spPr>
            <c:extLst>
              <c:ext xmlns:c16="http://schemas.microsoft.com/office/drawing/2014/chart" uri="{C3380CC4-5D6E-409C-BE32-E72D297353CC}">
                <c16:uniqueId val="{0000005F-2993-41DE-A2CB-63102DE87051}"/>
              </c:ext>
            </c:extLst>
          </c:dPt>
          <c:dPt>
            <c:idx val="20"/>
            <c:invertIfNegative val="1"/>
            <c:bubble3D val="0"/>
            <c:spPr>
              <a:solidFill>
                <a:srgbClr val="AEABAB"/>
              </a:solidFill>
            </c:spPr>
            <c:extLst>
              <c:ext xmlns:c16="http://schemas.microsoft.com/office/drawing/2014/chart" uri="{C3380CC4-5D6E-409C-BE32-E72D297353CC}">
                <c16:uniqueId val="{00000061-2993-41DE-A2CB-63102DE87051}"/>
              </c:ext>
            </c:extLst>
          </c:dPt>
          <c:dPt>
            <c:idx val="21"/>
            <c:invertIfNegative val="1"/>
            <c:bubble3D val="0"/>
            <c:spPr>
              <a:solidFill>
                <a:srgbClr val="AEABAB"/>
              </a:solidFill>
            </c:spPr>
            <c:extLst>
              <c:ext xmlns:c16="http://schemas.microsoft.com/office/drawing/2014/chart" uri="{C3380CC4-5D6E-409C-BE32-E72D297353CC}">
                <c16:uniqueId val="{00000063-2993-41DE-A2CB-63102DE87051}"/>
              </c:ext>
            </c:extLst>
          </c:dPt>
          <c:dPt>
            <c:idx val="22"/>
            <c:invertIfNegative val="1"/>
            <c:bubble3D val="0"/>
            <c:spPr>
              <a:solidFill>
                <a:srgbClr val="AEABAB"/>
              </a:solidFill>
            </c:spPr>
            <c:extLst>
              <c:ext xmlns:c16="http://schemas.microsoft.com/office/drawing/2014/chart" uri="{C3380CC4-5D6E-409C-BE32-E72D297353CC}">
                <c16:uniqueId val="{00000065-2993-41DE-A2CB-63102DE87051}"/>
              </c:ext>
            </c:extLst>
          </c:dPt>
          <c:dPt>
            <c:idx val="23"/>
            <c:invertIfNegative val="1"/>
            <c:bubble3D val="0"/>
            <c:spPr>
              <a:solidFill>
                <a:srgbClr val="AEABAB"/>
              </a:solidFill>
            </c:spPr>
            <c:extLst>
              <c:ext xmlns:c16="http://schemas.microsoft.com/office/drawing/2014/chart" uri="{C3380CC4-5D6E-409C-BE32-E72D297353CC}">
                <c16:uniqueId val="{00000067-2993-41DE-A2CB-63102DE87051}"/>
              </c:ext>
            </c:extLst>
          </c:dPt>
          <c:dPt>
            <c:idx val="24"/>
            <c:invertIfNegative val="1"/>
            <c:bubble3D val="0"/>
            <c:spPr>
              <a:solidFill>
                <a:srgbClr val="AEABAB"/>
              </a:solidFill>
            </c:spPr>
            <c:extLst>
              <c:ext xmlns:c16="http://schemas.microsoft.com/office/drawing/2014/chart" uri="{C3380CC4-5D6E-409C-BE32-E72D297353CC}">
                <c16:uniqueId val="{00000069-2993-41DE-A2CB-63102DE87051}"/>
              </c:ext>
            </c:extLst>
          </c:dPt>
          <c:dPt>
            <c:idx val="25"/>
            <c:invertIfNegative val="1"/>
            <c:bubble3D val="0"/>
            <c:spPr>
              <a:solidFill>
                <a:srgbClr val="AEABAB"/>
              </a:solidFill>
            </c:spPr>
            <c:extLst>
              <c:ext xmlns:c16="http://schemas.microsoft.com/office/drawing/2014/chart" uri="{C3380CC4-5D6E-409C-BE32-E72D297353CC}">
                <c16:uniqueId val="{0000006B-2993-41DE-A2CB-63102DE87051}"/>
              </c:ext>
            </c:extLst>
          </c:dPt>
          <c:dPt>
            <c:idx val="26"/>
            <c:invertIfNegative val="1"/>
            <c:bubble3D val="0"/>
            <c:spPr>
              <a:solidFill>
                <a:srgbClr val="AEABAB"/>
              </a:solidFill>
            </c:spPr>
            <c:extLst>
              <c:ext xmlns:c16="http://schemas.microsoft.com/office/drawing/2014/chart" uri="{C3380CC4-5D6E-409C-BE32-E72D297353CC}">
                <c16:uniqueId val="{0000006D-2993-41DE-A2CB-63102DE87051}"/>
              </c:ext>
            </c:extLst>
          </c:dPt>
          <c:dPt>
            <c:idx val="27"/>
            <c:invertIfNegative val="1"/>
            <c:bubble3D val="0"/>
            <c:spPr>
              <a:solidFill>
                <a:srgbClr val="AEABAB"/>
              </a:solidFill>
            </c:spPr>
            <c:extLst>
              <c:ext xmlns:c16="http://schemas.microsoft.com/office/drawing/2014/chart" uri="{C3380CC4-5D6E-409C-BE32-E72D297353CC}">
                <c16:uniqueId val="{0000006F-2993-41DE-A2CB-63102DE87051}"/>
              </c:ext>
            </c:extLst>
          </c:dPt>
          <c:dPt>
            <c:idx val="28"/>
            <c:invertIfNegative val="1"/>
            <c:bubble3D val="0"/>
            <c:spPr>
              <a:solidFill>
                <a:srgbClr val="AEABAB"/>
              </a:solidFill>
            </c:spPr>
            <c:extLst>
              <c:ext xmlns:c16="http://schemas.microsoft.com/office/drawing/2014/chart" uri="{C3380CC4-5D6E-409C-BE32-E72D297353CC}">
                <c16:uniqueId val="{00000071-2993-41DE-A2CB-63102DE87051}"/>
              </c:ext>
            </c:extLst>
          </c:dPt>
          <c:dPt>
            <c:idx val="29"/>
            <c:invertIfNegative val="1"/>
            <c:bubble3D val="0"/>
            <c:spPr>
              <a:solidFill>
                <a:srgbClr val="AEABAB"/>
              </a:solidFill>
            </c:spPr>
            <c:extLst>
              <c:ext xmlns:c16="http://schemas.microsoft.com/office/drawing/2014/chart" uri="{C3380CC4-5D6E-409C-BE32-E72D297353CC}">
                <c16:uniqueId val="{00000073-2993-41DE-A2CB-63102DE87051}"/>
              </c:ext>
            </c:extLst>
          </c:dPt>
          <c:dPt>
            <c:idx val="30"/>
            <c:invertIfNegative val="1"/>
            <c:bubble3D val="0"/>
            <c:spPr>
              <a:solidFill>
                <a:srgbClr val="AEABAB"/>
              </a:solidFill>
            </c:spPr>
            <c:extLst>
              <c:ext xmlns:c16="http://schemas.microsoft.com/office/drawing/2014/chart" uri="{C3380CC4-5D6E-409C-BE32-E72D297353CC}">
                <c16:uniqueId val="{00000075-2993-41DE-A2CB-63102DE87051}"/>
              </c:ext>
            </c:extLst>
          </c:dPt>
          <c:dPt>
            <c:idx val="31"/>
            <c:invertIfNegative val="1"/>
            <c:bubble3D val="0"/>
            <c:spPr>
              <a:solidFill>
                <a:srgbClr val="AEABAB"/>
              </a:solidFill>
            </c:spPr>
            <c:extLst>
              <c:ext xmlns:c16="http://schemas.microsoft.com/office/drawing/2014/chart" uri="{C3380CC4-5D6E-409C-BE32-E72D297353CC}">
                <c16:uniqueId val="{00000077-2993-41DE-A2CB-63102DE87051}"/>
              </c:ext>
            </c:extLst>
          </c:dPt>
          <c:dPt>
            <c:idx val="32"/>
            <c:invertIfNegative val="1"/>
            <c:bubble3D val="0"/>
            <c:spPr>
              <a:solidFill>
                <a:srgbClr val="AEABAB"/>
              </a:solidFill>
            </c:spPr>
            <c:extLst>
              <c:ext xmlns:c16="http://schemas.microsoft.com/office/drawing/2014/chart" uri="{C3380CC4-5D6E-409C-BE32-E72D297353CC}">
                <c16:uniqueId val="{00000079-2993-41DE-A2CB-63102DE87051}"/>
              </c:ext>
            </c:extLst>
          </c:dPt>
          <c:dPt>
            <c:idx val="33"/>
            <c:invertIfNegative val="1"/>
            <c:bubble3D val="0"/>
            <c:spPr>
              <a:solidFill>
                <a:srgbClr val="AEABAB"/>
              </a:solidFill>
            </c:spPr>
            <c:extLst>
              <c:ext xmlns:c16="http://schemas.microsoft.com/office/drawing/2014/chart" uri="{C3380CC4-5D6E-409C-BE32-E72D297353CC}">
                <c16:uniqueId val="{0000007B-2993-41DE-A2CB-63102DE87051}"/>
              </c:ext>
            </c:extLst>
          </c:dPt>
          <c:dPt>
            <c:idx val="34"/>
            <c:invertIfNegative val="1"/>
            <c:bubble3D val="0"/>
            <c:spPr>
              <a:solidFill>
                <a:srgbClr val="AEABAB"/>
              </a:solidFill>
            </c:spPr>
            <c:extLst>
              <c:ext xmlns:c16="http://schemas.microsoft.com/office/drawing/2014/chart" uri="{C3380CC4-5D6E-409C-BE32-E72D297353CC}">
                <c16:uniqueId val="{0000007D-2993-41DE-A2CB-63102DE87051}"/>
              </c:ext>
            </c:extLst>
          </c:dPt>
          <c:dPt>
            <c:idx val="35"/>
            <c:invertIfNegative val="1"/>
            <c:bubble3D val="0"/>
            <c:spPr>
              <a:solidFill>
                <a:srgbClr val="AEABAB"/>
              </a:solidFill>
            </c:spPr>
            <c:extLst>
              <c:ext xmlns:c16="http://schemas.microsoft.com/office/drawing/2014/chart" uri="{C3380CC4-5D6E-409C-BE32-E72D297353CC}">
                <c16:uniqueId val="{0000007F-2993-41DE-A2CB-63102DE87051}"/>
              </c:ext>
            </c:extLst>
          </c:dPt>
          <c:dPt>
            <c:idx val="36"/>
            <c:invertIfNegative val="1"/>
            <c:bubble3D val="0"/>
            <c:spPr>
              <a:solidFill>
                <a:srgbClr val="AEABAB"/>
              </a:solidFill>
            </c:spPr>
            <c:extLst>
              <c:ext xmlns:c16="http://schemas.microsoft.com/office/drawing/2014/chart" uri="{C3380CC4-5D6E-409C-BE32-E72D297353CC}">
                <c16:uniqueId val="{00000081-2993-41DE-A2CB-63102DE87051}"/>
              </c:ext>
            </c:extLst>
          </c:dPt>
          <c:dPt>
            <c:idx val="37"/>
            <c:invertIfNegative val="1"/>
            <c:bubble3D val="0"/>
            <c:spPr>
              <a:solidFill>
                <a:srgbClr val="AEABAB"/>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39</c:f>
              <c:strCache>
                <c:ptCount val="38"/>
                <c:pt idx="0">
                  <c:v>Ruinart</c:v>
                </c:pt>
                <c:pt idx="1">
                  <c:v>Ruinart</c:v>
                </c:pt>
                <c:pt idx="2">
                  <c:v>Ruinart</c:v>
                </c:pt>
                <c:pt idx="3">
                  <c:v>Ruinart</c:v>
                </c:pt>
                <c:pt idx="4">
                  <c:v>Perrier Jou</c:v>
                </c:pt>
                <c:pt idx="5">
                  <c:v>Malard</c:v>
                </c:pt>
                <c:pt idx="6">
                  <c:v>Nicolas</c:v>
                </c:pt>
                <c:pt idx="7">
                  <c:v>Besserat De</c:v>
                </c:pt>
                <c:pt idx="8">
                  <c:v>Henriot</c:v>
                </c:pt>
                <c:pt idx="9">
                  <c:v>Delamotte</c:v>
                </c:pt>
                <c:pt idx="10">
                  <c:v>Laurent Per</c:v>
                </c:pt>
                <c:pt idx="11">
                  <c:v>Deutz</c:v>
                </c:pt>
                <c:pt idx="12">
                  <c:v>Henriot</c:v>
                </c:pt>
                <c:pt idx="13">
                  <c:v>De Venoge</c:v>
                </c:pt>
                <c:pt idx="14">
                  <c:v>Ayala</c:v>
                </c:pt>
                <c:pt idx="15">
                  <c:v>Laurent Per</c:v>
                </c:pt>
                <c:pt idx="16">
                  <c:v>De Bligny</c:v>
                </c:pt>
                <c:pt idx="17">
                  <c:v>Nicolas</c:v>
                </c:pt>
                <c:pt idx="18">
                  <c:v>Taittinger</c:v>
                </c:pt>
                <c:pt idx="19">
                  <c:v>Taittinger</c:v>
                </c:pt>
                <c:pt idx="20">
                  <c:v>Ruinart</c:v>
                </c:pt>
                <c:pt idx="21">
                  <c:v>Lanson</c:v>
                </c:pt>
                <c:pt idx="22">
                  <c:v>Nicolas</c:v>
                </c:pt>
                <c:pt idx="23">
                  <c:v>Perrier Jou</c:v>
                </c:pt>
                <c:pt idx="24">
                  <c:v>Deutz</c:v>
                </c:pt>
                <c:pt idx="25">
                  <c:v>Krug</c:v>
                </c:pt>
                <c:pt idx="26">
                  <c:v>Nicolas</c:v>
                </c:pt>
                <c:pt idx="27">
                  <c:v>Besserat De</c:v>
                </c:pt>
                <c:pt idx="28">
                  <c:v>Vesselle</c:v>
                </c:pt>
                <c:pt idx="29">
                  <c:v>All Others</c:v>
                </c:pt>
                <c:pt idx="30">
                  <c:v>Deutz</c:v>
                </c:pt>
                <c:pt idx="31">
                  <c:v>Ayala</c:v>
                </c:pt>
                <c:pt idx="32">
                  <c:v>De Venoge</c:v>
                </c:pt>
                <c:pt idx="33">
                  <c:v>Ruinart</c:v>
                </c:pt>
                <c:pt idx="34">
                  <c:v>Deutz</c:v>
                </c:pt>
                <c:pt idx="35">
                  <c:v>Delamotte</c:v>
                </c:pt>
                <c:pt idx="36">
                  <c:v>Taittinger</c:v>
                </c:pt>
                <c:pt idx="37">
                  <c:v>Pommery</c:v>
                </c:pt>
              </c:strCache>
            </c:strRef>
          </c:cat>
          <c:val>
            <c:numRef>
              <c:f>Sheet1!$C$2:$C$39</c:f>
              <c:numCache>
                <c:formatCode>General</c:formatCode>
                <c:ptCount val="38"/>
                <c:pt idx="0">
                  <c:v>0.53305889288900188</c:v>
                </c:pt>
                <c:pt idx="1">
                  <c:v>0.6744279604122575</c:v>
                </c:pt>
                <c:pt idx="2">
                  <c:v>0.73231459064920157</c:v>
                </c:pt>
                <c:pt idx="3">
                  <c:v>0.76241901314618432</c:v>
                </c:pt>
                <c:pt idx="4">
                  <c:v>0.79219727610485258</c:v>
                </c:pt>
                <c:pt idx="5">
                  <c:v>0.82182737826378183</c:v>
                </c:pt>
                <c:pt idx="6">
                  <c:v>0.84574814516054364</c:v>
                </c:pt>
                <c:pt idx="7">
                  <c:v>0.86730554152257866</c:v>
                </c:pt>
                <c:pt idx="8">
                  <c:v>0.88259182625676891</c:v>
                </c:pt>
                <c:pt idx="9">
                  <c:v>0.89771143009125276</c:v>
                </c:pt>
                <c:pt idx="10">
                  <c:v>0.90779459562905074</c:v>
                </c:pt>
                <c:pt idx="11">
                  <c:v>0.91782322976138919</c:v>
                </c:pt>
                <c:pt idx="12">
                  <c:v>0.9273765146612315</c:v>
                </c:pt>
                <c:pt idx="13">
                  <c:v>0.93603980586819668</c:v>
                </c:pt>
                <c:pt idx="14">
                  <c:v>0.94451583828660279</c:v>
                </c:pt>
                <c:pt idx="15">
                  <c:v>0.9521162815343287</c:v>
                </c:pt>
                <c:pt idx="16">
                  <c:v>0.95967145342657878</c:v>
                </c:pt>
                <c:pt idx="17">
                  <c:v>0.96497643317279169</c:v>
                </c:pt>
                <c:pt idx="18">
                  <c:v>0.96995113780291953</c:v>
                </c:pt>
                <c:pt idx="19">
                  <c:v>0.97418812511767994</c:v>
                </c:pt>
                <c:pt idx="20">
                  <c:v>0.97818949560507751</c:v>
                </c:pt>
                <c:pt idx="21">
                  <c:v>0.9813770105883528</c:v>
                </c:pt>
                <c:pt idx="22">
                  <c:v>0.98431861979983892</c:v>
                </c:pt>
                <c:pt idx="23">
                  <c:v>0.98653074285149867</c:v>
                </c:pt>
                <c:pt idx="24">
                  <c:v>0.9880926046154147</c:v>
                </c:pt>
                <c:pt idx="25">
                  <c:v>0.98961536839051067</c:v>
                </c:pt>
                <c:pt idx="26">
                  <c:v>0.99109903417678669</c:v>
                </c:pt>
                <c:pt idx="27">
                  <c:v>0.99253639971314422</c:v>
                </c:pt>
                <c:pt idx="28">
                  <c:v>0.99388630922187804</c:v>
                </c:pt>
                <c:pt idx="29">
                  <c:v>0.99520123631956225</c:v>
                </c:pt>
                <c:pt idx="30">
                  <c:v>0.99640504281744224</c:v>
                </c:pt>
                <c:pt idx="31">
                  <c:v>0.99752036439325587</c:v>
                </c:pt>
                <c:pt idx="32">
                  <c:v>0.99837331788619821</c:v>
                </c:pt>
                <c:pt idx="33">
                  <c:v>0.99914190203484465</c:v>
                </c:pt>
                <c:pt idx="34">
                  <c:v>0.99953288192304501</c:v>
                </c:pt>
                <c:pt idx="35">
                  <c:v>0.99975923870042416</c:v>
                </c:pt>
                <c:pt idx="36">
                  <c:v>0.99994855527786852</c:v>
                </c:pt>
                <c:pt idx="37">
                  <c:v>1.0000000000000002</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42</c:f>
              <c:strCache>
                <c:ptCount val="41"/>
                <c:pt idx="0">
                  <c:v>Ruinart</c:v>
                </c:pt>
                <c:pt idx="1">
                  <c:v>Ruinart</c:v>
                </c:pt>
                <c:pt idx="2">
                  <c:v>Ruinart</c:v>
                </c:pt>
                <c:pt idx="3">
                  <c:v>Ruinart</c:v>
                </c:pt>
                <c:pt idx="4">
                  <c:v>Malard</c:v>
                </c:pt>
                <c:pt idx="5">
                  <c:v>Nicolas</c:v>
                </c:pt>
                <c:pt idx="6">
                  <c:v>Besserat De</c:v>
                </c:pt>
                <c:pt idx="7">
                  <c:v>Ayala</c:v>
                </c:pt>
                <c:pt idx="8">
                  <c:v>De Venoge</c:v>
                </c:pt>
                <c:pt idx="9">
                  <c:v>De Bligny</c:v>
                </c:pt>
                <c:pt idx="10">
                  <c:v>Perrier Jou</c:v>
                </c:pt>
                <c:pt idx="11">
                  <c:v>Deutz</c:v>
                </c:pt>
                <c:pt idx="12">
                  <c:v>Henriot</c:v>
                </c:pt>
                <c:pt idx="13">
                  <c:v>Vesselle</c:v>
                </c:pt>
                <c:pt idx="14">
                  <c:v>Delamotte</c:v>
                </c:pt>
                <c:pt idx="15">
                  <c:v>Delamotte</c:v>
                </c:pt>
                <c:pt idx="16">
                  <c:v>Henriot</c:v>
                </c:pt>
                <c:pt idx="17">
                  <c:v>Nicolas</c:v>
                </c:pt>
                <c:pt idx="18">
                  <c:v>Taittinger</c:v>
                </c:pt>
                <c:pt idx="19">
                  <c:v>Ruinart</c:v>
                </c:pt>
                <c:pt idx="20">
                  <c:v>Lanson</c:v>
                </c:pt>
                <c:pt idx="21">
                  <c:v>Nicolas</c:v>
                </c:pt>
                <c:pt idx="22">
                  <c:v>Deutz</c:v>
                </c:pt>
                <c:pt idx="23">
                  <c:v>Ayala</c:v>
                </c:pt>
                <c:pt idx="24">
                  <c:v>Nicolas</c:v>
                </c:pt>
                <c:pt idx="25">
                  <c:v>Taittinger</c:v>
                </c:pt>
                <c:pt idx="26">
                  <c:v>Nicolas</c:v>
                </c:pt>
                <c:pt idx="27">
                  <c:v>Laurent Per</c:v>
                </c:pt>
                <c:pt idx="28">
                  <c:v>Ruinart</c:v>
                </c:pt>
                <c:pt idx="29">
                  <c:v>All Others</c:v>
                </c:pt>
                <c:pt idx="30">
                  <c:v>Deutz</c:v>
                </c:pt>
                <c:pt idx="31">
                  <c:v>Besserat De</c:v>
                </c:pt>
                <c:pt idx="32">
                  <c:v>De Venoge</c:v>
                </c:pt>
                <c:pt idx="33">
                  <c:v>Taittinger</c:v>
                </c:pt>
                <c:pt idx="34">
                  <c:v>Perrier Jou</c:v>
                </c:pt>
                <c:pt idx="35">
                  <c:v>All Others</c:v>
                </c:pt>
                <c:pt idx="36">
                  <c:v>All Others</c:v>
                </c:pt>
                <c:pt idx="37">
                  <c:v>Canard Duch</c:v>
                </c:pt>
                <c:pt idx="38">
                  <c:v>Deutz</c:v>
                </c:pt>
                <c:pt idx="39">
                  <c:v>De Venoge</c:v>
                </c:pt>
                <c:pt idx="40">
                  <c:v>Besserat De</c:v>
                </c:pt>
              </c:strCache>
            </c:strRef>
          </c:cat>
          <c:val>
            <c:numRef>
              <c:f>Sheet1!$B$2:$B$42</c:f>
              <c:numCache>
                <c:formatCode>General</c:formatCode>
                <c:ptCount val="41"/>
                <c:pt idx="0">
                  <c:v>0.97</c:v>
                </c:pt>
                <c:pt idx="1">
                  <c:v>0.81</c:v>
                </c:pt>
                <c:pt idx="2">
                  <c:v>0.56000000000000005</c:v>
                </c:pt>
                <c:pt idx="3">
                  <c:v>0.45</c:v>
                </c:pt>
                <c:pt idx="4">
                  <c:v>0.66</c:v>
                </c:pt>
                <c:pt idx="5">
                  <c:v>0.65</c:v>
                </c:pt>
                <c:pt idx="6">
                  <c:v>0.67</c:v>
                </c:pt>
                <c:pt idx="7">
                  <c:v>0.49</c:v>
                </c:pt>
                <c:pt idx="8">
                  <c:v>0.37</c:v>
                </c:pt>
                <c:pt idx="9">
                  <c:v>0.44</c:v>
                </c:pt>
                <c:pt idx="10">
                  <c:v>0.42</c:v>
                </c:pt>
                <c:pt idx="11">
                  <c:v>0.31</c:v>
                </c:pt>
                <c:pt idx="12">
                  <c:v>0.45</c:v>
                </c:pt>
                <c:pt idx="13">
                  <c:v>0.47</c:v>
                </c:pt>
                <c:pt idx="14">
                  <c:v>0.31</c:v>
                </c:pt>
                <c:pt idx="15">
                  <c:v>0.36</c:v>
                </c:pt>
                <c:pt idx="16">
                  <c:v>0.32</c:v>
                </c:pt>
                <c:pt idx="17">
                  <c:v>0.34</c:v>
                </c:pt>
                <c:pt idx="18">
                  <c:v>0.24</c:v>
                </c:pt>
                <c:pt idx="19">
                  <c:v>0.26</c:v>
                </c:pt>
                <c:pt idx="20">
                  <c:v>0.28000000000000003</c:v>
                </c:pt>
                <c:pt idx="21">
                  <c:v>0.53</c:v>
                </c:pt>
                <c:pt idx="22">
                  <c:v>0.16</c:v>
                </c:pt>
                <c:pt idx="23">
                  <c:v>0.17</c:v>
                </c:pt>
                <c:pt idx="24">
                  <c:v>0.17</c:v>
                </c:pt>
                <c:pt idx="25">
                  <c:v>0.15</c:v>
                </c:pt>
                <c:pt idx="26">
                  <c:v>0.05</c:v>
                </c:pt>
                <c:pt idx="27">
                  <c:v>0.27</c:v>
                </c:pt>
                <c:pt idx="28">
                  <c:v>0.1</c:v>
                </c:pt>
                <c:pt idx="29">
                  <c:v>0.19</c:v>
                </c:pt>
                <c:pt idx="30">
                  <c:v>0.23</c:v>
                </c:pt>
                <c:pt idx="31">
                  <c:v>0.2</c:v>
                </c:pt>
                <c:pt idx="32">
                  <c:v>0.06</c:v>
                </c:pt>
                <c:pt idx="33">
                  <c:v>0.08</c:v>
                </c:pt>
                <c:pt idx="34">
                  <c:v>0.14000000000000001</c:v>
                </c:pt>
                <c:pt idx="35">
                  <c:v>0.18</c:v>
                </c:pt>
                <c:pt idx="36">
                  <c:v>0.11</c:v>
                </c:pt>
                <c:pt idx="37">
                  <c:v>0.17</c:v>
                </c:pt>
                <c:pt idx="38">
                  <c:v>0.12</c:v>
                </c:pt>
                <c:pt idx="39">
                  <c:v>0.03</c:v>
                </c:pt>
                <c:pt idx="40">
                  <c:v>0.02</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7ECAC4"/>
              </a:solidFill>
            </c:spPr>
            <c:extLst>
              <c:ext xmlns:c16="http://schemas.microsoft.com/office/drawing/2014/chart" uri="{C3380CC4-5D6E-409C-BE32-E72D297353CC}">
                <c16:uniqueId val="{00000047-2993-41DE-A2CB-63102DE87051}"/>
              </c:ext>
            </c:extLst>
          </c:dPt>
          <c:dPt>
            <c:idx val="8"/>
            <c:invertIfNegative val="1"/>
            <c:bubble3D val="0"/>
            <c:spPr>
              <a:solidFill>
                <a:srgbClr val="7ECAC4"/>
              </a:solidFill>
            </c:spPr>
            <c:extLst>
              <c:ext xmlns:c16="http://schemas.microsoft.com/office/drawing/2014/chart" uri="{C3380CC4-5D6E-409C-BE32-E72D297353CC}">
                <c16:uniqueId val="{00000049-2993-41DE-A2CB-63102DE87051}"/>
              </c:ext>
            </c:extLst>
          </c:dPt>
          <c:dPt>
            <c:idx val="9"/>
            <c:invertIfNegative val="1"/>
            <c:bubble3D val="0"/>
            <c:spPr>
              <a:solidFill>
                <a:srgbClr val="7ECAC4"/>
              </a:solidFill>
            </c:spPr>
            <c:extLst>
              <c:ext xmlns:c16="http://schemas.microsoft.com/office/drawing/2014/chart" uri="{C3380CC4-5D6E-409C-BE32-E72D297353CC}">
                <c16:uniqueId val="{0000004B-2993-41DE-A2CB-63102DE87051}"/>
              </c:ext>
            </c:extLst>
          </c:dPt>
          <c:dPt>
            <c:idx val="10"/>
            <c:invertIfNegative val="1"/>
            <c:bubble3D val="0"/>
            <c:spPr>
              <a:solidFill>
                <a:srgbClr val="7ECAC4"/>
              </a:solidFill>
            </c:spPr>
            <c:extLst>
              <c:ext xmlns:c16="http://schemas.microsoft.com/office/drawing/2014/chart" uri="{C3380CC4-5D6E-409C-BE32-E72D297353CC}">
                <c16:uniqueId val="{0000004D-2993-41DE-A2CB-63102DE87051}"/>
              </c:ext>
            </c:extLst>
          </c:dPt>
          <c:dPt>
            <c:idx val="11"/>
            <c:invertIfNegative val="1"/>
            <c:bubble3D val="0"/>
            <c:spPr>
              <a:solidFill>
                <a:srgbClr val="7ECAC4"/>
              </a:solidFill>
            </c:spPr>
            <c:extLst>
              <c:ext xmlns:c16="http://schemas.microsoft.com/office/drawing/2014/chart" uri="{C3380CC4-5D6E-409C-BE32-E72D297353CC}">
                <c16:uniqueId val="{0000004F-2993-41DE-A2CB-63102DE87051}"/>
              </c:ext>
            </c:extLst>
          </c:dPt>
          <c:dPt>
            <c:idx val="12"/>
            <c:invertIfNegative val="1"/>
            <c:bubble3D val="0"/>
            <c:spPr>
              <a:solidFill>
                <a:srgbClr val="7ECAC4"/>
              </a:solidFill>
            </c:spPr>
            <c:extLst>
              <c:ext xmlns:c16="http://schemas.microsoft.com/office/drawing/2014/chart" uri="{C3380CC4-5D6E-409C-BE32-E72D297353CC}">
                <c16:uniqueId val="{00000051-2993-41DE-A2CB-63102DE87051}"/>
              </c:ext>
            </c:extLst>
          </c:dPt>
          <c:dPt>
            <c:idx val="13"/>
            <c:invertIfNegative val="1"/>
            <c:bubble3D val="0"/>
            <c:spPr>
              <a:solidFill>
                <a:srgbClr val="7ECAC4"/>
              </a:solidFill>
            </c:spPr>
            <c:extLst>
              <c:ext xmlns:c16="http://schemas.microsoft.com/office/drawing/2014/chart" uri="{C3380CC4-5D6E-409C-BE32-E72D297353CC}">
                <c16:uniqueId val="{00000053-2993-41DE-A2CB-63102DE87051}"/>
              </c:ext>
            </c:extLst>
          </c:dPt>
          <c:dPt>
            <c:idx val="14"/>
            <c:invertIfNegative val="1"/>
            <c:bubble3D val="0"/>
            <c:spPr>
              <a:solidFill>
                <a:srgbClr val="7ECAC4"/>
              </a:solidFill>
            </c:spPr>
            <c:extLst>
              <c:ext xmlns:c16="http://schemas.microsoft.com/office/drawing/2014/chart" uri="{C3380CC4-5D6E-409C-BE32-E72D297353CC}">
                <c16:uniqueId val="{00000055-2993-41DE-A2CB-63102DE87051}"/>
              </c:ext>
            </c:extLst>
          </c:dPt>
          <c:dPt>
            <c:idx val="15"/>
            <c:invertIfNegative val="1"/>
            <c:bubble3D val="0"/>
            <c:spPr>
              <a:solidFill>
                <a:srgbClr val="7ECAC4"/>
              </a:solidFill>
            </c:spPr>
            <c:extLst>
              <c:ext xmlns:c16="http://schemas.microsoft.com/office/drawing/2014/chart" uri="{C3380CC4-5D6E-409C-BE32-E72D297353CC}">
                <c16:uniqueId val="{00000057-2993-41DE-A2CB-63102DE87051}"/>
              </c:ext>
            </c:extLst>
          </c:dPt>
          <c:dPt>
            <c:idx val="16"/>
            <c:invertIfNegative val="1"/>
            <c:bubble3D val="0"/>
            <c:spPr>
              <a:solidFill>
                <a:srgbClr val="7ECAC4"/>
              </a:solidFill>
            </c:spPr>
            <c:extLst>
              <c:ext xmlns:c16="http://schemas.microsoft.com/office/drawing/2014/chart" uri="{C3380CC4-5D6E-409C-BE32-E72D297353CC}">
                <c16:uniqueId val="{00000059-2993-41DE-A2CB-63102DE87051}"/>
              </c:ext>
            </c:extLst>
          </c:dPt>
          <c:dPt>
            <c:idx val="17"/>
            <c:invertIfNegative val="1"/>
            <c:bubble3D val="0"/>
            <c:spPr>
              <a:solidFill>
                <a:srgbClr val="7ECAC4"/>
              </a:solidFill>
            </c:spPr>
            <c:extLst>
              <c:ext xmlns:c16="http://schemas.microsoft.com/office/drawing/2014/chart" uri="{C3380CC4-5D6E-409C-BE32-E72D297353CC}">
                <c16:uniqueId val="{0000005B-2993-41DE-A2CB-63102DE87051}"/>
              </c:ext>
            </c:extLst>
          </c:dPt>
          <c:dPt>
            <c:idx val="18"/>
            <c:invertIfNegative val="1"/>
            <c:bubble3D val="0"/>
            <c:spPr>
              <a:solidFill>
                <a:srgbClr val="AEABAB"/>
              </a:solidFill>
            </c:spPr>
            <c:extLst>
              <c:ext xmlns:c16="http://schemas.microsoft.com/office/drawing/2014/chart" uri="{C3380CC4-5D6E-409C-BE32-E72D297353CC}">
                <c16:uniqueId val="{0000005D-2993-41DE-A2CB-63102DE87051}"/>
              </c:ext>
            </c:extLst>
          </c:dPt>
          <c:dPt>
            <c:idx val="19"/>
            <c:invertIfNegative val="1"/>
            <c:bubble3D val="0"/>
            <c:spPr>
              <a:solidFill>
                <a:srgbClr val="AEABAB"/>
              </a:solidFill>
            </c:spPr>
            <c:extLst>
              <c:ext xmlns:c16="http://schemas.microsoft.com/office/drawing/2014/chart" uri="{C3380CC4-5D6E-409C-BE32-E72D297353CC}">
                <c16:uniqueId val="{0000005F-2993-41DE-A2CB-63102DE87051}"/>
              </c:ext>
            </c:extLst>
          </c:dPt>
          <c:dPt>
            <c:idx val="20"/>
            <c:invertIfNegative val="1"/>
            <c:bubble3D val="0"/>
            <c:spPr>
              <a:solidFill>
                <a:srgbClr val="AEABAB"/>
              </a:solidFill>
            </c:spPr>
            <c:extLst>
              <c:ext xmlns:c16="http://schemas.microsoft.com/office/drawing/2014/chart" uri="{C3380CC4-5D6E-409C-BE32-E72D297353CC}">
                <c16:uniqueId val="{00000061-2993-41DE-A2CB-63102DE87051}"/>
              </c:ext>
            </c:extLst>
          </c:dPt>
          <c:dPt>
            <c:idx val="21"/>
            <c:invertIfNegative val="1"/>
            <c:bubble3D val="0"/>
            <c:spPr>
              <a:solidFill>
                <a:srgbClr val="AEABAB"/>
              </a:solidFill>
            </c:spPr>
            <c:extLst>
              <c:ext xmlns:c16="http://schemas.microsoft.com/office/drawing/2014/chart" uri="{C3380CC4-5D6E-409C-BE32-E72D297353CC}">
                <c16:uniqueId val="{00000063-2993-41DE-A2CB-63102DE87051}"/>
              </c:ext>
            </c:extLst>
          </c:dPt>
          <c:dPt>
            <c:idx val="22"/>
            <c:invertIfNegative val="1"/>
            <c:bubble3D val="0"/>
            <c:spPr>
              <a:solidFill>
                <a:srgbClr val="AEABAB"/>
              </a:solidFill>
            </c:spPr>
            <c:extLst>
              <c:ext xmlns:c16="http://schemas.microsoft.com/office/drawing/2014/chart" uri="{C3380CC4-5D6E-409C-BE32-E72D297353CC}">
                <c16:uniqueId val="{00000065-2993-41DE-A2CB-63102DE87051}"/>
              </c:ext>
            </c:extLst>
          </c:dPt>
          <c:dPt>
            <c:idx val="23"/>
            <c:invertIfNegative val="1"/>
            <c:bubble3D val="0"/>
            <c:spPr>
              <a:solidFill>
                <a:srgbClr val="AEABAB"/>
              </a:solidFill>
            </c:spPr>
            <c:extLst>
              <c:ext xmlns:c16="http://schemas.microsoft.com/office/drawing/2014/chart" uri="{C3380CC4-5D6E-409C-BE32-E72D297353CC}">
                <c16:uniqueId val="{00000067-2993-41DE-A2CB-63102DE87051}"/>
              </c:ext>
            </c:extLst>
          </c:dPt>
          <c:dPt>
            <c:idx val="24"/>
            <c:invertIfNegative val="1"/>
            <c:bubble3D val="0"/>
            <c:spPr>
              <a:solidFill>
                <a:srgbClr val="AEABAB"/>
              </a:solidFill>
            </c:spPr>
            <c:extLst>
              <c:ext xmlns:c16="http://schemas.microsoft.com/office/drawing/2014/chart" uri="{C3380CC4-5D6E-409C-BE32-E72D297353CC}">
                <c16:uniqueId val="{00000069-2993-41DE-A2CB-63102DE87051}"/>
              </c:ext>
            </c:extLst>
          </c:dPt>
          <c:dPt>
            <c:idx val="25"/>
            <c:invertIfNegative val="1"/>
            <c:bubble3D val="0"/>
            <c:spPr>
              <a:solidFill>
                <a:srgbClr val="AEABAB"/>
              </a:solidFill>
            </c:spPr>
            <c:extLst>
              <c:ext xmlns:c16="http://schemas.microsoft.com/office/drawing/2014/chart" uri="{C3380CC4-5D6E-409C-BE32-E72D297353CC}">
                <c16:uniqueId val="{0000006B-2993-41DE-A2CB-63102DE87051}"/>
              </c:ext>
            </c:extLst>
          </c:dPt>
          <c:dPt>
            <c:idx val="26"/>
            <c:invertIfNegative val="1"/>
            <c:bubble3D val="0"/>
            <c:spPr>
              <a:solidFill>
                <a:srgbClr val="AEABAB"/>
              </a:solidFill>
            </c:spPr>
            <c:extLst>
              <c:ext xmlns:c16="http://schemas.microsoft.com/office/drawing/2014/chart" uri="{C3380CC4-5D6E-409C-BE32-E72D297353CC}">
                <c16:uniqueId val="{0000006D-2993-41DE-A2CB-63102DE87051}"/>
              </c:ext>
            </c:extLst>
          </c:dPt>
          <c:dPt>
            <c:idx val="27"/>
            <c:invertIfNegative val="1"/>
            <c:bubble3D val="0"/>
            <c:spPr>
              <a:solidFill>
                <a:srgbClr val="AEABAB"/>
              </a:solidFill>
            </c:spPr>
            <c:extLst>
              <c:ext xmlns:c16="http://schemas.microsoft.com/office/drawing/2014/chart" uri="{C3380CC4-5D6E-409C-BE32-E72D297353CC}">
                <c16:uniqueId val="{0000006F-2993-41DE-A2CB-63102DE87051}"/>
              </c:ext>
            </c:extLst>
          </c:dPt>
          <c:dPt>
            <c:idx val="28"/>
            <c:invertIfNegative val="1"/>
            <c:bubble3D val="0"/>
            <c:spPr>
              <a:solidFill>
                <a:srgbClr val="AEABAB"/>
              </a:solidFill>
            </c:spPr>
            <c:extLst>
              <c:ext xmlns:c16="http://schemas.microsoft.com/office/drawing/2014/chart" uri="{C3380CC4-5D6E-409C-BE32-E72D297353CC}">
                <c16:uniqueId val="{00000071-2993-41DE-A2CB-63102DE87051}"/>
              </c:ext>
            </c:extLst>
          </c:dPt>
          <c:dPt>
            <c:idx val="29"/>
            <c:invertIfNegative val="1"/>
            <c:bubble3D val="0"/>
            <c:spPr>
              <a:solidFill>
                <a:srgbClr val="AEABAB"/>
              </a:solidFill>
            </c:spPr>
            <c:extLst>
              <c:ext xmlns:c16="http://schemas.microsoft.com/office/drawing/2014/chart" uri="{C3380CC4-5D6E-409C-BE32-E72D297353CC}">
                <c16:uniqueId val="{00000073-2993-41DE-A2CB-63102DE87051}"/>
              </c:ext>
            </c:extLst>
          </c:dPt>
          <c:dPt>
            <c:idx val="30"/>
            <c:invertIfNegative val="1"/>
            <c:bubble3D val="0"/>
            <c:spPr>
              <a:solidFill>
                <a:srgbClr val="AEABAB"/>
              </a:solidFill>
            </c:spPr>
            <c:extLst>
              <c:ext xmlns:c16="http://schemas.microsoft.com/office/drawing/2014/chart" uri="{C3380CC4-5D6E-409C-BE32-E72D297353CC}">
                <c16:uniqueId val="{00000075-2993-41DE-A2CB-63102DE87051}"/>
              </c:ext>
            </c:extLst>
          </c:dPt>
          <c:dPt>
            <c:idx val="31"/>
            <c:invertIfNegative val="1"/>
            <c:bubble3D val="0"/>
            <c:spPr>
              <a:solidFill>
                <a:srgbClr val="AEABAB"/>
              </a:solidFill>
            </c:spPr>
            <c:extLst>
              <c:ext xmlns:c16="http://schemas.microsoft.com/office/drawing/2014/chart" uri="{C3380CC4-5D6E-409C-BE32-E72D297353CC}">
                <c16:uniqueId val="{00000077-2993-41DE-A2CB-63102DE87051}"/>
              </c:ext>
            </c:extLst>
          </c:dPt>
          <c:dPt>
            <c:idx val="32"/>
            <c:invertIfNegative val="1"/>
            <c:bubble3D val="0"/>
            <c:spPr>
              <a:solidFill>
                <a:srgbClr val="AEABAB"/>
              </a:solidFill>
            </c:spPr>
            <c:extLst>
              <c:ext xmlns:c16="http://schemas.microsoft.com/office/drawing/2014/chart" uri="{C3380CC4-5D6E-409C-BE32-E72D297353CC}">
                <c16:uniqueId val="{00000079-2993-41DE-A2CB-63102DE87051}"/>
              </c:ext>
            </c:extLst>
          </c:dPt>
          <c:dPt>
            <c:idx val="33"/>
            <c:invertIfNegative val="1"/>
            <c:bubble3D val="0"/>
            <c:spPr>
              <a:solidFill>
                <a:srgbClr val="AEABAB"/>
              </a:solidFill>
            </c:spPr>
            <c:extLst>
              <c:ext xmlns:c16="http://schemas.microsoft.com/office/drawing/2014/chart" uri="{C3380CC4-5D6E-409C-BE32-E72D297353CC}">
                <c16:uniqueId val="{0000007B-2993-41DE-A2CB-63102DE87051}"/>
              </c:ext>
            </c:extLst>
          </c:dPt>
          <c:dPt>
            <c:idx val="34"/>
            <c:invertIfNegative val="1"/>
            <c:bubble3D val="0"/>
            <c:spPr>
              <a:solidFill>
                <a:srgbClr val="AEABAB"/>
              </a:solidFill>
            </c:spPr>
            <c:extLst>
              <c:ext xmlns:c16="http://schemas.microsoft.com/office/drawing/2014/chart" uri="{C3380CC4-5D6E-409C-BE32-E72D297353CC}">
                <c16:uniqueId val="{0000007D-2993-41DE-A2CB-63102DE87051}"/>
              </c:ext>
            </c:extLst>
          </c:dPt>
          <c:dPt>
            <c:idx val="35"/>
            <c:invertIfNegative val="1"/>
            <c:bubble3D val="0"/>
            <c:spPr>
              <a:solidFill>
                <a:srgbClr val="AEABAB"/>
              </a:solidFill>
            </c:spPr>
            <c:extLst>
              <c:ext xmlns:c16="http://schemas.microsoft.com/office/drawing/2014/chart" uri="{C3380CC4-5D6E-409C-BE32-E72D297353CC}">
                <c16:uniqueId val="{0000007F-2993-41DE-A2CB-63102DE87051}"/>
              </c:ext>
            </c:extLst>
          </c:dPt>
          <c:dPt>
            <c:idx val="36"/>
            <c:invertIfNegative val="1"/>
            <c:bubble3D val="0"/>
            <c:spPr>
              <a:solidFill>
                <a:srgbClr val="AEABAB"/>
              </a:solidFill>
            </c:spPr>
            <c:extLst>
              <c:ext xmlns:c16="http://schemas.microsoft.com/office/drawing/2014/chart" uri="{C3380CC4-5D6E-409C-BE32-E72D297353CC}">
                <c16:uniqueId val="{00000081-2993-41DE-A2CB-63102DE87051}"/>
              </c:ext>
            </c:extLst>
          </c:dPt>
          <c:dPt>
            <c:idx val="37"/>
            <c:invertIfNegative val="1"/>
            <c:bubble3D val="0"/>
            <c:spPr>
              <a:solidFill>
                <a:srgbClr val="AEABAB"/>
              </a:solidFill>
            </c:spPr>
            <c:extLst>
              <c:ext xmlns:c16="http://schemas.microsoft.com/office/drawing/2014/chart" uri="{C3380CC4-5D6E-409C-BE32-E72D297353CC}">
                <c16:uniqueId val="{00000083-2993-41DE-A2CB-63102DE87051}"/>
              </c:ext>
            </c:extLst>
          </c:dPt>
          <c:dPt>
            <c:idx val="38"/>
            <c:invertIfNegative val="1"/>
            <c:bubble3D val="0"/>
            <c:spPr>
              <a:solidFill>
                <a:srgbClr val="AEABAB"/>
              </a:solidFill>
            </c:spPr>
            <c:extLst>
              <c:ext xmlns:c16="http://schemas.microsoft.com/office/drawing/2014/chart" uri="{C3380CC4-5D6E-409C-BE32-E72D297353CC}">
                <c16:uniqueId val="{00000085-2993-41DE-A2CB-63102DE87051}"/>
              </c:ext>
            </c:extLst>
          </c:dPt>
          <c:dPt>
            <c:idx val="39"/>
            <c:invertIfNegative val="1"/>
            <c:bubble3D val="0"/>
            <c:spPr>
              <a:solidFill>
                <a:srgbClr val="AEABAB"/>
              </a:solidFill>
            </c:spPr>
            <c:extLst>
              <c:ext xmlns:c16="http://schemas.microsoft.com/office/drawing/2014/chart" uri="{C3380CC4-5D6E-409C-BE32-E72D297353CC}">
                <c16:uniqueId val="{00000087-2993-41DE-A2CB-63102DE87051}"/>
              </c:ext>
            </c:extLst>
          </c:dPt>
          <c:dPt>
            <c:idx val="40"/>
            <c:invertIfNegative val="1"/>
            <c:bubble3D val="0"/>
            <c:spPr>
              <a:solidFill>
                <a:srgbClr val="AEABAB"/>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42</c:f>
              <c:strCache>
                <c:ptCount val="41"/>
                <c:pt idx="0">
                  <c:v>Ruinart</c:v>
                </c:pt>
                <c:pt idx="1">
                  <c:v>Ruinart</c:v>
                </c:pt>
                <c:pt idx="2">
                  <c:v>Ruinart</c:v>
                </c:pt>
                <c:pt idx="3">
                  <c:v>Ruinart</c:v>
                </c:pt>
                <c:pt idx="4">
                  <c:v>Malard</c:v>
                </c:pt>
                <c:pt idx="5">
                  <c:v>Nicolas</c:v>
                </c:pt>
                <c:pt idx="6">
                  <c:v>Besserat De</c:v>
                </c:pt>
                <c:pt idx="7">
                  <c:v>Ayala</c:v>
                </c:pt>
                <c:pt idx="8">
                  <c:v>De Venoge</c:v>
                </c:pt>
                <c:pt idx="9">
                  <c:v>De Bligny</c:v>
                </c:pt>
                <c:pt idx="10">
                  <c:v>Perrier Jou</c:v>
                </c:pt>
                <c:pt idx="11">
                  <c:v>Deutz</c:v>
                </c:pt>
                <c:pt idx="12">
                  <c:v>Henriot</c:v>
                </c:pt>
                <c:pt idx="13">
                  <c:v>Vesselle</c:v>
                </c:pt>
                <c:pt idx="14">
                  <c:v>Delamotte</c:v>
                </c:pt>
                <c:pt idx="15">
                  <c:v>Delamotte</c:v>
                </c:pt>
                <c:pt idx="16">
                  <c:v>Henriot</c:v>
                </c:pt>
                <c:pt idx="17">
                  <c:v>Nicolas</c:v>
                </c:pt>
                <c:pt idx="18">
                  <c:v>Taittinger</c:v>
                </c:pt>
                <c:pt idx="19">
                  <c:v>Ruinart</c:v>
                </c:pt>
                <c:pt idx="20">
                  <c:v>Lanson</c:v>
                </c:pt>
                <c:pt idx="21">
                  <c:v>Nicolas</c:v>
                </c:pt>
                <c:pt idx="22">
                  <c:v>Deutz</c:v>
                </c:pt>
                <c:pt idx="23">
                  <c:v>Ayala</c:v>
                </c:pt>
                <c:pt idx="24">
                  <c:v>Nicolas</c:v>
                </c:pt>
                <c:pt idx="25">
                  <c:v>Taittinger</c:v>
                </c:pt>
                <c:pt idx="26">
                  <c:v>Nicolas</c:v>
                </c:pt>
                <c:pt idx="27">
                  <c:v>Laurent Per</c:v>
                </c:pt>
                <c:pt idx="28">
                  <c:v>Ruinart</c:v>
                </c:pt>
                <c:pt idx="29">
                  <c:v>All Others</c:v>
                </c:pt>
                <c:pt idx="30">
                  <c:v>Deutz</c:v>
                </c:pt>
                <c:pt idx="31">
                  <c:v>Besserat De</c:v>
                </c:pt>
                <c:pt idx="32">
                  <c:v>De Venoge</c:v>
                </c:pt>
                <c:pt idx="33">
                  <c:v>Taittinger</c:v>
                </c:pt>
                <c:pt idx="34">
                  <c:v>Perrier Jou</c:v>
                </c:pt>
                <c:pt idx="35">
                  <c:v>All Others</c:v>
                </c:pt>
                <c:pt idx="36">
                  <c:v>All Others</c:v>
                </c:pt>
                <c:pt idx="37">
                  <c:v>Canard Duch</c:v>
                </c:pt>
                <c:pt idx="38">
                  <c:v>Deutz</c:v>
                </c:pt>
                <c:pt idx="39">
                  <c:v>De Venoge</c:v>
                </c:pt>
                <c:pt idx="40">
                  <c:v>Besserat De</c:v>
                </c:pt>
              </c:strCache>
            </c:strRef>
          </c:cat>
          <c:val>
            <c:numRef>
              <c:f>Sheet1!$C$2:$C$42</c:f>
              <c:numCache>
                <c:formatCode>General</c:formatCode>
                <c:ptCount val="41"/>
                <c:pt idx="0">
                  <c:v>0.39933762612109996</c:v>
                </c:pt>
                <c:pt idx="1">
                  <c:v>0.58683921348181434</c:v>
                </c:pt>
                <c:pt idx="2">
                  <c:v>0.67113780322822603</c:v>
                </c:pt>
                <c:pt idx="3">
                  <c:v>0.72486594209646749</c:v>
                </c:pt>
                <c:pt idx="4">
                  <c:v>0.76803707397354903</c:v>
                </c:pt>
                <c:pt idx="5">
                  <c:v>0.79844836548408993</c:v>
                </c:pt>
                <c:pt idx="6">
                  <c:v>0.82522100294106182</c:v>
                </c:pt>
                <c:pt idx="7">
                  <c:v>0.84361237582606241</c:v>
                </c:pt>
                <c:pt idx="8">
                  <c:v>0.86003457483284018</c:v>
                </c:pt>
                <c:pt idx="9">
                  <c:v>0.87363931439562603</c:v>
                </c:pt>
                <c:pt idx="10">
                  <c:v>0.88593183576785073</c:v>
                </c:pt>
                <c:pt idx="11">
                  <c:v>0.8981634024886429</c:v>
                </c:pt>
                <c:pt idx="12">
                  <c:v>0.90918264891983269</c:v>
                </c:pt>
                <c:pt idx="13">
                  <c:v>0.91932990519858504</c:v>
                </c:pt>
                <c:pt idx="14">
                  <c:v>0.92947546829257544</c:v>
                </c:pt>
                <c:pt idx="15">
                  <c:v>0.93637011664349812</c:v>
                </c:pt>
                <c:pt idx="16">
                  <c:v>0.94263997981723746</c:v>
                </c:pt>
                <c:pt idx="17">
                  <c:v>0.9486050697338142</c:v>
                </c:pt>
                <c:pt idx="18">
                  <c:v>0.95447195493419412</c:v>
                </c:pt>
                <c:pt idx="19">
                  <c:v>0.96011703293075024</c:v>
                </c:pt>
                <c:pt idx="20">
                  <c:v>0.96558771289681877</c:v>
                </c:pt>
                <c:pt idx="21">
                  <c:v>0.97008819799425305</c:v>
                </c:pt>
                <c:pt idx="22">
                  <c:v>0.97426697798690465</c:v>
                </c:pt>
                <c:pt idx="23">
                  <c:v>0.97793272299666589</c:v>
                </c:pt>
                <c:pt idx="24">
                  <c:v>0.98076034154922997</c:v>
                </c:pt>
                <c:pt idx="25">
                  <c:v>0.98349822130940734</c:v>
                </c:pt>
                <c:pt idx="26">
                  <c:v>0.98567057735907182</c:v>
                </c:pt>
                <c:pt idx="27">
                  <c:v>0.98783785385445022</c:v>
                </c:pt>
                <c:pt idx="28">
                  <c:v>0.98994586888315816</c:v>
                </c:pt>
                <c:pt idx="29">
                  <c:v>0.99188964498995069</c:v>
                </c:pt>
                <c:pt idx="30">
                  <c:v>0.99371489816340219</c:v>
                </c:pt>
                <c:pt idx="31">
                  <c:v>0.99534374190446007</c:v>
                </c:pt>
                <c:pt idx="32">
                  <c:v>0.99652389168358413</c:v>
                </c:pt>
                <c:pt idx="33">
                  <c:v>0.99745683648745409</c:v>
                </c:pt>
                <c:pt idx="34">
                  <c:v>0.99818490593512033</c:v>
                </c:pt>
                <c:pt idx="35">
                  <c:v>0.99875889556944319</c:v>
                </c:pt>
                <c:pt idx="36">
                  <c:v>0.99930918061709784</c:v>
                </c:pt>
                <c:pt idx="37">
                  <c:v>0.99973755636188744</c:v>
                </c:pt>
                <c:pt idx="38">
                  <c:v>0.99983914744760827</c:v>
                </c:pt>
                <c:pt idx="39">
                  <c:v>0.9999407385333291</c:v>
                </c:pt>
                <c:pt idx="40">
                  <c:v>0.99999999999999956</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55</c:f>
              <c:strCache>
                <c:ptCount val="54"/>
                <c:pt idx="0">
                  <c:v>Ruinart</c:v>
                </c:pt>
                <c:pt idx="1">
                  <c:v>Ruinart</c:v>
                </c:pt>
                <c:pt idx="2">
                  <c:v>Malard</c:v>
                </c:pt>
                <c:pt idx="3">
                  <c:v>Ruinart</c:v>
                </c:pt>
                <c:pt idx="4">
                  <c:v>Nicolas</c:v>
                </c:pt>
                <c:pt idx="5">
                  <c:v>Besserat De</c:v>
                </c:pt>
                <c:pt idx="6">
                  <c:v>Ruinart</c:v>
                </c:pt>
                <c:pt idx="7">
                  <c:v>Delamotte</c:v>
                </c:pt>
                <c:pt idx="8">
                  <c:v>De Bligny</c:v>
                </c:pt>
                <c:pt idx="9">
                  <c:v>Henriot</c:v>
                </c:pt>
                <c:pt idx="10">
                  <c:v>Perrier Jou</c:v>
                </c:pt>
                <c:pt idx="11">
                  <c:v>Ayala</c:v>
                </c:pt>
                <c:pt idx="12">
                  <c:v>Henriot</c:v>
                </c:pt>
                <c:pt idx="13">
                  <c:v>De Venoge</c:v>
                </c:pt>
                <c:pt idx="14">
                  <c:v>Ruinart</c:v>
                </c:pt>
                <c:pt idx="15">
                  <c:v>Deutz</c:v>
                </c:pt>
                <c:pt idx="16">
                  <c:v>Nicolas</c:v>
                </c:pt>
                <c:pt idx="17">
                  <c:v>Nicolas</c:v>
                </c:pt>
                <c:pt idx="18">
                  <c:v>Taittinger</c:v>
                </c:pt>
                <c:pt idx="19">
                  <c:v>Laurent Per</c:v>
                </c:pt>
                <c:pt idx="20">
                  <c:v>Laurent Per</c:v>
                </c:pt>
                <c:pt idx="21">
                  <c:v>Lanson</c:v>
                </c:pt>
                <c:pt idx="22">
                  <c:v>Vesselle</c:v>
                </c:pt>
                <c:pt idx="23">
                  <c:v>All Others</c:v>
                </c:pt>
                <c:pt idx="24">
                  <c:v>Taittinger</c:v>
                </c:pt>
                <c:pt idx="25">
                  <c:v>Delamotte</c:v>
                </c:pt>
                <c:pt idx="26">
                  <c:v>Deutz</c:v>
                </c:pt>
                <c:pt idx="27">
                  <c:v>Ayala</c:v>
                </c:pt>
                <c:pt idx="28">
                  <c:v>Nicolas</c:v>
                </c:pt>
                <c:pt idx="29">
                  <c:v>Besserat De</c:v>
                </c:pt>
                <c:pt idx="30">
                  <c:v>Taittinger</c:v>
                </c:pt>
                <c:pt idx="31">
                  <c:v>Deutz</c:v>
                </c:pt>
                <c:pt idx="32">
                  <c:v>Perrier Jou</c:v>
                </c:pt>
                <c:pt idx="33">
                  <c:v>Nicolas</c:v>
                </c:pt>
                <c:pt idx="34">
                  <c:v>De Venoge</c:v>
                </c:pt>
                <c:pt idx="35">
                  <c:v>Taittinger</c:v>
                </c:pt>
                <c:pt idx="36">
                  <c:v>Ruinart</c:v>
                </c:pt>
                <c:pt idx="37">
                  <c:v>Krug</c:v>
                </c:pt>
                <c:pt idx="38">
                  <c:v>Deutz</c:v>
                </c:pt>
                <c:pt idx="39">
                  <c:v>Laurent Per</c:v>
                </c:pt>
                <c:pt idx="40">
                  <c:v>All Others</c:v>
                </c:pt>
                <c:pt idx="41">
                  <c:v>Delamotte</c:v>
                </c:pt>
                <c:pt idx="42">
                  <c:v>Ruinart</c:v>
                </c:pt>
                <c:pt idx="43">
                  <c:v>All Others</c:v>
                </c:pt>
                <c:pt idx="44">
                  <c:v>Vranken</c:v>
                </c:pt>
                <c:pt idx="45">
                  <c:v>Canard Duch</c:v>
                </c:pt>
                <c:pt idx="46">
                  <c:v>All Others</c:v>
                </c:pt>
                <c:pt idx="47">
                  <c:v>Piper Heids</c:v>
                </c:pt>
                <c:pt idx="48">
                  <c:v>Ayala</c:v>
                </c:pt>
                <c:pt idx="49">
                  <c:v>Ruinart</c:v>
                </c:pt>
                <c:pt idx="50">
                  <c:v>Besserat De</c:v>
                </c:pt>
                <c:pt idx="51">
                  <c:v>All Others</c:v>
                </c:pt>
                <c:pt idx="52">
                  <c:v>Taittinger</c:v>
                </c:pt>
                <c:pt idx="53">
                  <c:v>Pommery</c:v>
                </c:pt>
              </c:strCache>
            </c:strRef>
          </c:cat>
          <c:val>
            <c:numRef>
              <c:f>Sheet1!$B$2:$B$55</c:f>
              <c:numCache>
                <c:formatCode>General</c:formatCode>
                <c:ptCount val="54"/>
                <c:pt idx="0">
                  <c:v>0.83</c:v>
                </c:pt>
                <c:pt idx="1">
                  <c:v>0.65</c:v>
                </c:pt>
                <c:pt idx="2">
                  <c:v>0.68</c:v>
                </c:pt>
                <c:pt idx="3">
                  <c:v>0.35</c:v>
                </c:pt>
                <c:pt idx="4">
                  <c:v>0.55000000000000004</c:v>
                </c:pt>
                <c:pt idx="5">
                  <c:v>0.4</c:v>
                </c:pt>
                <c:pt idx="6">
                  <c:v>0.37</c:v>
                </c:pt>
                <c:pt idx="7">
                  <c:v>0.26</c:v>
                </c:pt>
                <c:pt idx="8">
                  <c:v>0.59</c:v>
                </c:pt>
                <c:pt idx="9">
                  <c:v>0.39</c:v>
                </c:pt>
                <c:pt idx="10">
                  <c:v>0.17</c:v>
                </c:pt>
                <c:pt idx="11">
                  <c:v>0.31</c:v>
                </c:pt>
                <c:pt idx="12">
                  <c:v>0.33</c:v>
                </c:pt>
                <c:pt idx="13">
                  <c:v>0.22</c:v>
                </c:pt>
                <c:pt idx="14">
                  <c:v>0.18</c:v>
                </c:pt>
                <c:pt idx="15">
                  <c:v>0.12</c:v>
                </c:pt>
                <c:pt idx="16">
                  <c:v>0.24</c:v>
                </c:pt>
                <c:pt idx="17">
                  <c:v>0.14000000000000001</c:v>
                </c:pt>
                <c:pt idx="18">
                  <c:v>0.05</c:v>
                </c:pt>
                <c:pt idx="19">
                  <c:v>0.08</c:v>
                </c:pt>
                <c:pt idx="20">
                  <c:v>0.04</c:v>
                </c:pt>
                <c:pt idx="21">
                  <c:v>0.09</c:v>
                </c:pt>
                <c:pt idx="22">
                  <c:v>0.16</c:v>
                </c:pt>
                <c:pt idx="23">
                  <c:v>0.09</c:v>
                </c:pt>
                <c:pt idx="24">
                  <c:v>0.02</c:v>
                </c:pt>
                <c:pt idx="25">
                  <c:v>0.09</c:v>
                </c:pt>
                <c:pt idx="26">
                  <c:v>0.03</c:v>
                </c:pt>
                <c:pt idx="27">
                  <c:v>0.05</c:v>
                </c:pt>
                <c:pt idx="28">
                  <c:v>0.04</c:v>
                </c:pt>
                <c:pt idx="29">
                  <c:v>7.0000000000000007E-2</c:v>
                </c:pt>
                <c:pt idx="30">
                  <c:v>0.01</c:v>
                </c:pt>
                <c:pt idx="31">
                  <c:v>0.02</c:v>
                </c:pt>
                <c:pt idx="32">
                  <c:v>0.02</c:v>
                </c:pt>
                <c:pt idx="33">
                  <c:v>0.02</c:v>
                </c:pt>
                <c:pt idx="34">
                  <c:v>0.04</c:v>
                </c:pt>
                <c:pt idx="35">
                  <c:v>0.03</c:v>
                </c:pt>
                <c:pt idx="36">
                  <c:v>0.01</c:v>
                </c:pt>
                <c:pt idx="37">
                  <c:v>0.03</c:v>
                </c:pt>
                <c:pt idx="38">
                  <c:v>0.04</c:v>
                </c:pt>
                <c:pt idx="39">
                  <c:v>0.06</c:v>
                </c:pt>
                <c:pt idx="40">
                  <c:v>0.06</c:v>
                </c:pt>
                <c:pt idx="41">
                  <c:v>0.03</c:v>
                </c:pt>
                <c:pt idx="42">
                  <c:v>0.01</c:v>
                </c:pt>
                <c:pt idx="43">
                  <c:v>0.04</c:v>
                </c:pt>
                <c:pt idx="44">
                  <c:v>0.03</c:v>
                </c:pt>
                <c:pt idx="45">
                  <c:v>0.02</c:v>
                </c:pt>
                <c:pt idx="46">
                  <c:v>0.01</c:v>
                </c:pt>
                <c:pt idx="47">
                  <c:v>0.04</c:v>
                </c:pt>
                <c:pt idx="48">
                  <c:v>0.01</c:v>
                </c:pt>
                <c:pt idx="49">
                  <c:v>0.01</c:v>
                </c:pt>
                <c:pt idx="50">
                  <c:v>0.01</c:v>
                </c:pt>
                <c:pt idx="51">
                  <c:v>0.01</c:v>
                </c:pt>
                <c:pt idx="52">
                  <c:v>0.01</c:v>
                </c:pt>
                <c:pt idx="53">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7ECAC4"/>
              </a:solidFill>
            </c:spPr>
            <c:extLst>
              <c:ext xmlns:c16="http://schemas.microsoft.com/office/drawing/2014/chart" uri="{C3380CC4-5D6E-409C-BE32-E72D297353CC}">
                <c16:uniqueId val="{00000049-2993-41DE-A2CB-63102DE87051}"/>
              </c:ext>
            </c:extLst>
          </c:dPt>
          <c:dPt>
            <c:idx val="9"/>
            <c:invertIfNegative val="1"/>
            <c:bubble3D val="0"/>
            <c:spPr>
              <a:solidFill>
                <a:srgbClr val="7ECAC4"/>
              </a:solidFill>
            </c:spPr>
            <c:extLst>
              <c:ext xmlns:c16="http://schemas.microsoft.com/office/drawing/2014/chart" uri="{C3380CC4-5D6E-409C-BE32-E72D297353CC}">
                <c16:uniqueId val="{0000004B-2993-41DE-A2CB-63102DE87051}"/>
              </c:ext>
            </c:extLst>
          </c:dPt>
          <c:dPt>
            <c:idx val="10"/>
            <c:invertIfNegative val="1"/>
            <c:bubble3D val="0"/>
            <c:spPr>
              <a:solidFill>
                <a:srgbClr val="7ECAC4"/>
              </a:solidFill>
            </c:spPr>
            <c:extLst>
              <c:ext xmlns:c16="http://schemas.microsoft.com/office/drawing/2014/chart" uri="{C3380CC4-5D6E-409C-BE32-E72D297353CC}">
                <c16:uniqueId val="{0000004D-2993-41DE-A2CB-63102DE87051}"/>
              </c:ext>
            </c:extLst>
          </c:dPt>
          <c:dPt>
            <c:idx val="11"/>
            <c:invertIfNegative val="1"/>
            <c:bubble3D val="0"/>
            <c:spPr>
              <a:solidFill>
                <a:srgbClr val="7ECAC4"/>
              </a:solidFill>
            </c:spPr>
            <c:extLst>
              <c:ext xmlns:c16="http://schemas.microsoft.com/office/drawing/2014/chart" uri="{C3380CC4-5D6E-409C-BE32-E72D297353CC}">
                <c16:uniqueId val="{0000004F-2993-41DE-A2CB-63102DE87051}"/>
              </c:ext>
            </c:extLst>
          </c:dPt>
          <c:dPt>
            <c:idx val="12"/>
            <c:invertIfNegative val="1"/>
            <c:bubble3D val="0"/>
            <c:spPr>
              <a:solidFill>
                <a:srgbClr val="7ECAC4"/>
              </a:solidFill>
            </c:spPr>
            <c:extLst>
              <c:ext xmlns:c16="http://schemas.microsoft.com/office/drawing/2014/chart" uri="{C3380CC4-5D6E-409C-BE32-E72D297353CC}">
                <c16:uniqueId val="{00000051-2993-41DE-A2CB-63102DE87051}"/>
              </c:ext>
            </c:extLst>
          </c:dPt>
          <c:dPt>
            <c:idx val="13"/>
            <c:invertIfNegative val="1"/>
            <c:bubble3D val="0"/>
            <c:spPr>
              <a:solidFill>
                <a:srgbClr val="7ECAC4"/>
              </a:solidFill>
            </c:spPr>
            <c:extLst>
              <c:ext xmlns:c16="http://schemas.microsoft.com/office/drawing/2014/chart" uri="{C3380CC4-5D6E-409C-BE32-E72D297353CC}">
                <c16:uniqueId val="{00000053-2993-41DE-A2CB-63102DE87051}"/>
              </c:ext>
            </c:extLst>
          </c:dPt>
          <c:dPt>
            <c:idx val="14"/>
            <c:invertIfNegative val="1"/>
            <c:bubble3D val="0"/>
            <c:spPr>
              <a:solidFill>
                <a:srgbClr val="7ECAC4"/>
              </a:solidFill>
            </c:spPr>
            <c:extLst>
              <c:ext xmlns:c16="http://schemas.microsoft.com/office/drawing/2014/chart" uri="{C3380CC4-5D6E-409C-BE32-E72D297353CC}">
                <c16:uniqueId val="{00000055-2993-41DE-A2CB-63102DE87051}"/>
              </c:ext>
            </c:extLst>
          </c:dPt>
          <c:dPt>
            <c:idx val="15"/>
            <c:invertIfNegative val="1"/>
            <c:bubble3D val="0"/>
            <c:spPr>
              <a:solidFill>
                <a:srgbClr val="7ECAC4"/>
              </a:solidFill>
            </c:spPr>
            <c:extLst>
              <c:ext xmlns:c16="http://schemas.microsoft.com/office/drawing/2014/chart" uri="{C3380CC4-5D6E-409C-BE32-E72D297353CC}">
                <c16:uniqueId val="{00000057-2993-41DE-A2CB-63102DE87051}"/>
              </c:ext>
            </c:extLst>
          </c:dPt>
          <c:dPt>
            <c:idx val="16"/>
            <c:invertIfNegative val="1"/>
            <c:bubble3D val="0"/>
            <c:spPr>
              <a:solidFill>
                <a:srgbClr val="7ECAC4"/>
              </a:solidFill>
            </c:spPr>
            <c:extLst>
              <c:ext xmlns:c16="http://schemas.microsoft.com/office/drawing/2014/chart" uri="{C3380CC4-5D6E-409C-BE32-E72D297353CC}">
                <c16:uniqueId val="{00000059-2993-41DE-A2CB-63102DE87051}"/>
              </c:ext>
            </c:extLst>
          </c:dPt>
          <c:dPt>
            <c:idx val="17"/>
            <c:invertIfNegative val="1"/>
            <c:bubble3D val="0"/>
            <c:spPr>
              <a:solidFill>
                <a:srgbClr val="AEABAB"/>
              </a:solidFill>
            </c:spPr>
            <c:extLst>
              <c:ext xmlns:c16="http://schemas.microsoft.com/office/drawing/2014/chart" uri="{C3380CC4-5D6E-409C-BE32-E72D297353CC}">
                <c16:uniqueId val="{0000005B-2993-41DE-A2CB-63102DE87051}"/>
              </c:ext>
            </c:extLst>
          </c:dPt>
          <c:dPt>
            <c:idx val="18"/>
            <c:invertIfNegative val="1"/>
            <c:bubble3D val="0"/>
            <c:spPr>
              <a:solidFill>
                <a:srgbClr val="AEABAB"/>
              </a:solidFill>
            </c:spPr>
            <c:extLst>
              <c:ext xmlns:c16="http://schemas.microsoft.com/office/drawing/2014/chart" uri="{C3380CC4-5D6E-409C-BE32-E72D297353CC}">
                <c16:uniqueId val="{0000005D-2993-41DE-A2CB-63102DE87051}"/>
              </c:ext>
            </c:extLst>
          </c:dPt>
          <c:dPt>
            <c:idx val="19"/>
            <c:invertIfNegative val="1"/>
            <c:bubble3D val="0"/>
            <c:spPr>
              <a:solidFill>
                <a:srgbClr val="AEABAB"/>
              </a:solidFill>
            </c:spPr>
            <c:extLst>
              <c:ext xmlns:c16="http://schemas.microsoft.com/office/drawing/2014/chart" uri="{C3380CC4-5D6E-409C-BE32-E72D297353CC}">
                <c16:uniqueId val="{0000005F-2993-41DE-A2CB-63102DE87051}"/>
              </c:ext>
            </c:extLst>
          </c:dPt>
          <c:dPt>
            <c:idx val="20"/>
            <c:invertIfNegative val="1"/>
            <c:bubble3D val="0"/>
            <c:spPr>
              <a:solidFill>
                <a:srgbClr val="AEABAB"/>
              </a:solidFill>
            </c:spPr>
            <c:extLst>
              <c:ext xmlns:c16="http://schemas.microsoft.com/office/drawing/2014/chart" uri="{C3380CC4-5D6E-409C-BE32-E72D297353CC}">
                <c16:uniqueId val="{00000061-2993-41DE-A2CB-63102DE87051}"/>
              </c:ext>
            </c:extLst>
          </c:dPt>
          <c:dPt>
            <c:idx val="21"/>
            <c:invertIfNegative val="1"/>
            <c:bubble3D val="0"/>
            <c:spPr>
              <a:solidFill>
                <a:srgbClr val="AEABAB"/>
              </a:solidFill>
            </c:spPr>
            <c:extLst>
              <c:ext xmlns:c16="http://schemas.microsoft.com/office/drawing/2014/chart" uri="{C3380CC4-5D6E-409C-BE32-E72D297353CC}">
                <c16:uniqueId val="{00000063-2993-41DE-A2CB-63102DE87051}"/>
              </c:ext>
            </c:extLst>
          </c:dPt>
          <c:dPt>
            <c:idx val="22"/>
            <c:invertIfNegative val="1"/>
            <c:bubble3D val="0"/>
            <c:spPr>
              <a:solidFill>
                <a:srgbClr val="AEABAB"/>
              </a:solidFill>
            </c:spPr>
            <c:extLst>
              <c:ext xmlns:c16="http://schemas.microsoft.com/office/drawing/2014/chart" uri="{C3380CC4-5D6E-409C-BE32-E72D297353CC}">
                <c16:uniqueId val="{00000065-2993-41DE-A2CB-63102DE87051}"/>
              </c:ext>
            </c:extLst>
          </c:dPt>
          <c:dPt>
            <c:idx val="23"/>
            <c:invertIfNegative val="1"/>
            <c:bubble3D val="0"/>
            <c:spPr>
              <a:solidFill>
                <a:srgbClr val="AEABAB"/>
              </a:solidFill>
            </c:spPr>
            <c:extLst>
              <c:ext xmlns:c16="http://schemas.microsoft.com/office/drawing/2014/chart" uri="{C3380CC4-5D6E-409C-BE32-E72D297353CC}">
                <c16:uniqueId val="{00000067-2993-41DE-A2CB-63102DE87051}"/>
              </c:ext>
            </c:extLst>
          </c:dPt>
          <c:dPt>
            <c:idx val="24"/>
            <c:invertIfNegative val="1"/>
            <c:bubble3D val="0"/>
            <c:spPr>
              <a:solidFill>
                <a:srgbClr val="AEABAB"/>
              </a:solidFill>
            </c:spPr>
            <c:extLst>
              <c:ext xmlns:c16="http://schemas.microsoft.com/office/drawing/2014/chart" uri="{C3380CC4-5D6E-409C-BE32-E72D297353CC}">
                <c16:uniqueId val="{00000069-2993-41DE-A2CB-63102DE87051}"/>
              </c:ext>
            </c:extLst>
          </c:dPt>
          <c:dPt>
            <c:idx val="25"/>
            <c:invertIfNegative val="1"/>
            <c:bubble3D val="0"/>
            <c:spPr>
              <a:solidFill>
                <a:srgbClr val="AEABAB"/>
              </a:solidFill>
            </c:spPr>
            <c:extLst>
              <c:ext xmlns:c16="http://schemas.microsoft.com/office/drawing/2014/chart" uri="{C3380CC4-5D6E-409C-BE32-E72D297353CC}">
                <c16:uniqueId val="{0000006B-2993-41DE-A2CB-63102DE87051}"/>
              </c:ext>
            </c:extLst>
          </c:dPt>
          <c:dPt>
            <c:idx val="26"/>
            <c:invertIfNegative val="1"/>
            <c:bubble3D val="0"/>
            <c:spPr>
              <a:solidFill>
                <a:srgbClr val="AEABAB"/>
              </a:solidFill>
            </c:spPr>
            <c:extLst>
              <c:ext xmlns:c16="http://schemas.microsoft.com/office/drawing/2014/chart" uri="{C3380CC4-5D6E-409C-BE32-E72D297353CC}">
                <c16:uniqueId val="{0000006D-2993-41DE-A2CB-63102DE87051}"/>
              </c:ext>
            </c:extLst>
          </c:dPt>
          <c:dPt>
            <c:idx val="27"/>
            <c:invertIfNegative val="1"/>
            <c:bubble3D val="0"/>
            <c:spPr>
              <a:solidFill>
                <a:srgbClr val="AEABAB"/>
              </a:solidFill>
            </c:spPr>
            <c:extLst>
              <c:ext xmlns:c16="http://schemas.microsoft.com/office/drawing/2014/chart" uri="{C3380CC4-5D6E-409C-BE32-E72D297353CC}">
                <c16:uniqueId val="{0000006F-2993-41DE-A2CB-63102DE87051}"/>
              </c:ext>
            </c:extLst>
          </c:dPt>
          <c:dPt>
            <c:idx val="28"/>
            <c:invertIfNegative val="1"/>
            <c:bubble3D val="0"/>
            <c:spPr>
              <a:solidFill>
                <a:srgbClr val="AEABAB"/>
              </a:solidFill>
            </c:spPr>
            <c:extLst>
              <c:ext xmlns:c16="http://schemas.microsoft.com/office/drawing/2014/chart" uri="{C3380CC4-5D6E-409C-BE32-E72D297353CC}">
                <c16:uniqueId val="{00000071-2993-41DE-A2CB-63102DE87051}"/>
              </c:ext>
            </c:extLst>
          </c:dPt>
          <c:dPt>
            <c:idx val="29"/>
            <c:invertIfNegative val="1"/>
            <c:bubble3D val="0"/>
            <c:spPr>
              <a:solidFill>
                <a:srgbClr val="AEABAB"/>
              </a:solidFill>
            </c:spPr>
            <c:extLst>
              <c:ext xmlns:c16="http://schemas.microsoft.com/office/drawing/2014/chart" uri="{C3380CC4-5D6E-409C-BE32-E72D297353CC}">
                <c16:uniqueId val="{00000073-2993-41DE-A2CB-63102DE87051}"/>
              </c:ext>
            </c:extLst>
          </c:dPt>
          <c:dPt>
            <c:idx val="30"/>
            <c:invertIfNegative val="1"/>
            <c:bubble3D val="0"/>
            <c:spPr>
              <a:solidFill>
                <a:srgbClr val="AEABAB"/>
              </a:solidFill>
            </c:spPr>
            <c:extLst>
              <c:ext xmlns:c16="http://schemas.microsoft.com/office/drawing/2014/chart" uri="{C3380CC4-5D6E-409C-BE32-E72D297353CC}">
                <c16:uniqueId val="{00000075-2993-41DE-A2CB-63102DE87051}"/>
              </c:ext>
            </c:extLst>
          </c:dPt>
          <c:dPt>
            <c:idx val="31"/>
            <c:invertIfNegative val="1"/>
            <c:bubble3D val="0"/>
            <c:spPr>
              <a:solidFill>
                <a:srgbClr val="AEABAB"/>
              </a:solidFill>
            </c:spPr>
            <c:extLst>
              <c:ext xmlns:c16="http://schemas.microsoft.com/office/drawing/2014/chart" uri="{C3380CC4-5D6E-409C-BE32-E72D297353CC}">
                <c16:uniqueId val="{00000077-2993-41DE-A2CB-63102DE87051}"/>
              </c:ext>
            </c:extLst>
          </c:dPt>
          <c:dPt>
            <c:idx val="32"/>
            <c:invertIfNegative val="1"/>
            <c:bubble3D val="0"/>
            <c:spPr>
              <a:solidFill>
                <a:srgbClr val="AEABAB"/>
              </a:solidFill>
            </c:spPr>
            <c:extLst>
              <c:ext xmlns:c16="http://schemas.microsoft.com/office/drawing/2014/chart" uri="{C3380CC4-5D6E-409C-BE32-E72D297353CC}">
                <c16:uniqueId val="{00000079-2993-41DE-A2CB-63102DE87051}"/>
              </c:ext>
            </c:extLst>
          </c:dPt>
          <c:dPt>
            <c:idx val="33"/>
            <c:invertIfNegative val="1"/>
            <c:bubble3D val="0"/>
            <c:spPr>
              <a:solidFill>
                <a:srgbClr val="AEABAB"/>
              </a:solidFill>
            </c:spPr>
            <c:extLst>
              <c:ext xmlns:c16="http://schemas.microsoft.com/office/drawing/2014/chart" uri="{C3380CC4-5D6E-409C-BE32-E72D297353CC}">
                <c16:uniqueId val="{0000007B-2993-41DE-A2CB-63102DE87051}"/>
              </c:ext>
            </c:extLst>
          </c:dPt>
          <c:dPt>
            <c:idx val="34"/>
            <c:invertIfNegative val="1"/>
            <c:bubble3D val="0"/>
            <c:spPr>
              <a:solidFill>
                <a:srgbClr val="AEABAB"/>
              </a:solidFill>
            </c:spPr>
            <c:extLst>
              <c:ext xmlns:c16="http://schemas.microsoft.com/office/drawing/2014/chart" uri="{C3380CC4-5D6E-409C-BE32-E72D297353CC}">
                <c16:uniqueId val="{0000007D-2993-41DE-A2CB-63102DE87051}"/>
              </c:ext>
            </c:extLst>
          </c:dPt>
          <c:dPt>
            <c:idx val="35"/>
            <c:invertIfNegative val="1"/>
            <c:bubble3D val="0"/>
            <c:spPr>
              <a:solidFill>
                <a:srgbClr val="AEABAB"/>
              </a:solidFill>
            </c:spPr>
            <c:extLst>
              <c:ext xmlns:c16="http://schemas.microsoft.com/office/drawing/2014/chart" uri="{C3380CC4-5D6E-409C-BE32-E72D297353CC}">
                <c16:uniqueId val="{0000007F-2993-41DE-A2CB-63102DE87051}"/>
              </c:ext>
            </c:extLst>
          </c:dPt>
          <c:dPt>
            <c:idx val="36"/>
            <c:invertIfNegative val="1"/>
            <c:bubble3D val="0"/>
            <c:spPr>
              <a:solidFill>
                <a:srgbClr val="AEABAB"/>
              </a:solidFill>
            </c:spPr>
            <c:extLst>
              <c:ext xmlns:c16="http://schemas.microsoft.com/office/drawing/2014/chart" uri="{C3380CC4-5D6E-409C-BE32-E72D297353CC}">
                <c16:uniqueId val="{00000081-2993-41DE-A2CB-63102DE87051}"/>
              </c:ext>
            </c:extLst>
          </c:dPt>
          <c:dPt>
            <c:idx val="37"/>
            <c:invertIfNegative val="1"/>
            <c:bubble3D val="0"/>
            <c:spPr>
              <a:solidFill>
                <a:srgbClr val="AEABAB"/>
              </a:solidFill>
            </c:spPr>
            <c:extLst>
              <c:ext xmlns:c16="http://schemas.microsoft.com/office/drawing/2014/chart" uri="{C3380CC4-5D6E-409C-BE32-E72D297353CC}">
                <c16:uniqueId val="{00000083-2993-41DE-A2CB-63102DE87051}"/>
              </c:ext>
            </c:extLst>
          </c:dPt>
          <c:dPt>
            <c:idx val="38"/>
            <c:invertIfNegative val="1"/>
            <c:bubble3D val="0"/>
            <c:spPr>
              <a:solidFill>
                <a:srgbClr val="AEABAB"/>
              </a:solidFill>
            </c:spPr>
            <c:extLst>
              <c:ext xmlns:c16="http://schemas.microsoft.com/office/drawing/2014/chart" uri="{C3380CC4-5D6E-409C-BE32-E72D297353CC}">
                <c16:uniqueId val="{00000085-2993-41DE-A2CB-63102DE87051}"/>
              </c:ext>
            </c:extLst>
          </c:dPt>
          <c:dPt>
            <c:idx val="39"/>
            <c:invertIfNegative val="1"/>
            <c:bubble3D val="0"/>
            <c:spPr>
              <a:solidFill>
                <a:srgbClr val="AEABAB"/>
              </a:solidFill>
            </c:spPr>
            <c:extLst>
              <c:ext xmlns:c16="http://schemas.microsoft.com/office/drawing/2014/chart" uri="{C3380CC4-5D6E-409C-BE32-E72D297353CC}">
                <c16:uniqueId val="{00000087-2993-41DE-A2CB-63102DE87051}"/>
              </c:ext>
            </c:extLst>
          </c:dPt>
          <c:dPt>
            <c:idx val="40"/>
            <c:invertIfNegative val="1"/>
            <c:bubble3D val="0"/>
            <c:spPr>
              <a:solidFill>
                <a:srgbClr val="AEABAB"/>
              </a:solidFill>
            </c:spPr>
            <c:extLst>
              <c:ext xmlns:c16="http://schemas.microsoft.com/office/drawing/2014/chart" uri="{C3380CC4-5D6E-409C-BE32-E72D297353CC}">
                <c16:uniqueId val="{00000089-2993-41DE-A2CB-63102DE87051}"/>
              </c:ext>
            </c:extLst>
          </c:dPt>
          <c:dPt>
            <c:idx val="41"/>
            <c:invertIfNegative val="1"/>
            <c:bubble3D val="0"/>
            <c:spPr>
              <a:solidFill>
                <a:srgbClr val="AEABAB"/>
              </a:solidFill>
            </c:spPr>
            <c:extLst>
              <c:ext xmlns:c16="http://schemas.microsoft.com/office/drawing/2014/chart" uri="{C3380CC4-5D6E-409C-BE32-E72D297353CC}">
                <c16:uniqueId val="{0000008B-2993-41DE-A2CB-63102DE87051}"/>
              </c:ext>
            </c:extLst>
          </c:dPt>
          <c:dPt>
            <c:idx val="42"/>
            <c:invertIfNegative val="1"/>
            <c:bubble3D val="0"/>
            <c:spPr>
              <a:solidFill>
                <a:srgbClr val="AEABAB"/>
              </a:solidFill>
            </c:spPr>
            <c:extLst>
              <c:ext xmlns:c16="http://schemas.microsoft.com/office/drawing/2014/chart" uri="{C3380CC4-5D6E-409C-BE32-E72D297353CC}">
                <c16:uniqueId val="{0000008D-2993-41DE-A2CB-63102DE87051}"/>
              </c:ext>
            </c:extLst>
          </c:dPt>
          <c:dPt>
            <c:idx val="43"/>
            <c:invertIfNegative val="1"/>
            <c:bubble3D val="0"/>
            <c:spPr>
              <a:solidFill>
                <a:srgbClr val="AEABAB"/>
              </a:solidFill>
            </c:spPr>
            <c:extLst>
              <c:ext xmlns:c16="http://schemas.microsoft.com/office/drawing/2014/chart" uri="{C3380CC4-5D6E-409C-BE32-E72D297353CC}">
                <c16:uniqueId val="{0000008F-2993-41DE-A2CB-63102DE87051}"/>
              </c:ext>
            </c:extLst>
          </c:dPt>
          <c:dPt>
            <c:idx val="44"/>
            <c:invertIfNegative val="1"/>
            <c:bubble3D val="0"/>
            <c:spPr>
              <a:solidFill>
                <a:srgbClr val="AEABAB"/>
              </a:solidFill>
            </c:spPr>
            <c:extLst>
              <c:ext xmlns:c16="http://schemas.microsoft.com/office/drawing/2014/chart" uri="{C3380CC4-5D6E-409C-BE32-E72D297353CC}">
                <c16:uniqueId val="{00000091-2993-41DE-A2CB-63102DE87051}"/>
              </c:ext>
            </c:extLst>
          </c:dPt>
          <c:dPt>
            <c:idx val="45"/>
            <c:invertIfNegative val="1"/>
            <c:bubble3D val="0"/>
            <c:spPr>
              <a:solidFill>
                <a:srgbClr val="AEABAB"/>
              </a:solidFill>
            </c:spPr>
            <c:extLst>
              <c:ext xmlns:c16="http://schemas.microsoft.com/office/drawing/2014/chart" uri="{C3380CC4-5D6E-409C-BE32-E72D297353CC}">
                <c16:uniqueId val="{00000093-2993-41DE-A2CB-63102DE87051}"/>
              </c:ext>
            </c:extLst>
          </c:dPt>
          <c:dPt>
            <c:idx val="46"/>
            <c:invertIfNegative val="1"/>
            <c:bubble3D val="0"/>
            <c:spPr>
              <a:solidFill>
                <a:srgbClr val="AEABAB"/>
              </a:solidFill>
            </c:spPr>
            <c:extLst>
              <c:ext xmlns:c16="http://schemas.microsoft.com/office/drawing/2014/chart" uri="{C3380CC4-5D6E-409C-BE32-E72D297353CC}">
                <c16:uniqueId val="{00000095-2993-41DE-A2CB-63102DE87051}"/>
              </c:ext>
            </c:extLst>
          </c:dPt>
          <c:dPt>
            <c:idx val="47"/>
            <c:invertIfNegative val="1"/>
            <c:bubble3D val="0"/>
            <c:spPr>
              <a:solidFill>
                <a:srgbClr val="AEABAB"/>
              </a:solidFill>
            </c:spPr>
            <c:extLst>
              <c:ext xmlns:c16="http://schemas.microsoft.com/office/drawing/2014/chart" uri="{C3380CC4-5D6E-409C-BE32-E72D297353CC}">
                <c16:uniqueId val="{00000097-2993-41DE-A2CB-63102DE87051}"/>
              </c:ext>
            </c:extLst>
          </c:dPt>
          <c:dPt>
            <c:idx val="48"/>
            <c:invertIfNegative val="1"/>
            <c:bubble3D val="0"/>
            <c:spPr>
              <a:solidFill>
                <a:srgbClr val="AEABAB"/>
              </a:solidFill>
            </c:spPr>
            <c:extLst>
              <c:ext xmlns:c16="http://schemas.microsoft.com/office/drawing/2014/chart" uri="{C3380CC4-5D6E-409C-BE32-E72D297353CC}">
                <c16:uniqueId val="{00000099-2993-41DE-A2CB-63102DE87051}"/>
              </c:ext>
            </c:extLst>
          </c:dPt>
          <c:dPt>
            <c:idx val="49"/>
            <c:invertIfNegative val="1"/>
            <c:bubble3D val="0"/>
            <c:spPr>
              <a:solidFill>
                <a:srgbClr val="AEABAB"/>
              </a:solidFill>
            </c:spPr>
            <c:extLst>
              <c:ext xmlns:c16="http://schemas.microsoft.com/office/drawing/2014/chart" uri="{C3380CC4-5D6E-409C-BE32-E72D297353CC}">
                <c16:uniqueId val="{0000009B-2993-41DE-A2CB-63102DE87051}"/>
              </c:ext>
            </c:extLst>
          </c:dPt>
          <c:dPt>
            <c:idx val="50"/>
            <c:invertIfNegative val="1"/>
            <c:bubble3D val="0"/>
            <c:spPr>
              <a:solidFill>
                <a:srgbClr val="AEABAB"/>
              </a:solidFill>
            </c:spPr>
            <c:extLst>
              <c:ext xmlns:c16="http://schemas.microsoft.com/office/drawing/2014/chart" uri="{C3380CC4-5D6E-409C-BE32-E72D297353CC}">
                <c16:uniqueId val="{0000009D-2993-41DE-A2CB-63102DE87051}"/>
              </c:ext>
            </c:extLst>
          </c:dPt>
          <c:dPt>
            <c:idx val="51"/>
            <c:invertIfNegative val="1"/>
            <c:bubble3D val="0"/>
            <c:spPr>
              <a:solidFill>
                <a:srgbClr val="AEABAB"/>
              </a:solidFill>
            </c:spPr>
            <c:extLst>
              <c:ext xmlns:c16="http://schemas.microsoft.com/office/drawing/2014/chart" uri="{C3380CC4-5D6E-409C-BE32-E72D297353CC}">
                <c16:uniqueId val="{0000009F-2993-41DE-A2CB-63102DE87051}"/>
              </c:ext>
            </c:extLst>
          </c:dPt>
          <c:dPt>
            <c:idx val="52"/>
            <c:invertIfNegative val="1"/>
            <c:bubble3D val="0"/>
            <c:spPr>
              <a:solidFill>
                <a:srgbClr val="AEABAB"/>
              </a:solidFill>
            </c:spPr>
            <c:extLst>
              <c:ext xmlns:c16="http://schemas.microsoft.com/office/drawing/2014/chart" uri="{C3380CC4-5D6E-409C-BE32-E72D297353CC}">
                <c16:uniqueId val="{000000A1-2993-41DE-A2CB-63102DE87051}"/>
              </c:ext>
            </c:extLst>
          </c:dPt>
          <c:dPt>
            <c:idx val="53"/>
            <c:invertIfNegative val="1"/>
            <c:bubble3D val="0"/>
            <c:spPr>
              <a:solidFill>
                <a:srgbClr val="AEABAB"/>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55</c:f>
              <c:strCache>
                <c:ptCount val="54"/>
                <c:pt idx="0">
                  <c:v>Ruinart</c:v>
                </c:pt>
                <c:pt idx="1">
                  <c:v>Ruinart</c:v>
                </c:pt>
                <c:pt idx="2">
                  <c:v>Malard</c:v>
                </c:pt>
                <c:pt idx="3">
                  <c:v>Ruinart</c:v>
                </c:pt>
                <c:pt idx="4">
                  <c:v>Nicolas</c:v>
                </c:pt>
                <c:pt idx="5">
                  <c:v>Besserat De</c:v>
                </c:pt>
                <c:pt idx="6">
                  <c:v>Ruinart</c:v>
                </c:pt>
                <c:pt idx="7">
                  <c:v>Delamotte</c:v>
                </c:pt>
                <c:pt idx="8">
                  <c:v>De Bligny</c:v>
                </c:pt>
                <c:pt idx="9">
                  <c:v>Henriot</c:v>
                </c:pt>
                <c:pt idx="10">
                  <c:v>Perrier Jou</c:v>
                </c:pt>
                <c:pt idx="11">
                  <c:v>Ayala</c:v>
                </c:pt>
                <c:pt idx="12">
                  <c:v>Henriot</c:v>
                </c:pt>
                <c:pt idx="13">
                  <c:v>De Venoge</c:v>
                </c:pt>
                <c:pt idx="14">
                  <c:v>Ruinart</c:v>
                </c:pt>
                <c:pt idx="15">
                  <c:v>Deutz</c:v>
                </c:pt>
                <c:pt idx="16">
                  <c:v>Nicolas</c:v>
                </c:pt>
                <c:pt idx="17">
                  <c:v>Nicolas</c:v>
                </c:pt>
                <c:pt idx="18">
                  <c:v>Taittinger</c:v>
                </c:pt>
                <c:pt idx="19">
                  <c:v>Laurent Per</c:v>
                </c:pt>
                <c:pt idx="20">
                  <c:v>Laurent Per</c:v>
                </c:pt>
                <c:pt idx="21">
                  <c:v>Lanson</c:v>
                </c:pt>
                <c:pt idx="22">
                  <c:v>Vesselle</c:v>
                </c:pt>
                <c:pt idx="23">
                  <c:v>All Others</c:v>
                </c:pt>
                <c:pt idx="24">
                  <c:v>Taittinger</c:v>
                </c:pt>
                <c:pt idx="25">
                  <c:v>Delamotte</c:v>
                </c:pt>
                <c:pt idx="26">
                  <c:v>Deutz</c:v>
                </c:pt>
                <c:pt idx="27">
                  <c:v>Ayala</c:v>
                </c:pt>
                <c:pt idx="28">
                  <c:v>Nicolas</c:v>
                </c:pt>
                <c:pt idx="29">
                  <c:v>Besserat De</c:v>
                </c:pt>
                <c:pt idx="30">
                  <c:v>Taittinger</c:v>
                </c:pt>
                <c:pt idx="31">
                  <c:v>Deutz</c:v>
                </c:pt>
                <c:pt idx="32">
                  <c:v>Perrier Jou</c:v>
                </c:pt>
                <c:pt idx="33">
                  <c:v>Nicolas</c:v>
                </c:pt>
                <c:pt idx="34">
                  <c:v>De Venoge</c:v>
                </c:pt>
                <c:pt idx="35">
                  <c:v>Taittinger</c:v>
                </c:pt>
                <c:pt idx="36">
                  <c:v>Ruinart</c:v>
                </c:pt>
                <c:pt idx="37">
                  <c:v>Krug</c:v>
                </c:pt>
                <c:pt idx="38">
                  <c:v>Deutz</c:v>
                </c:pt>
                <c:pt idx="39">
                  <c:v>Laurent Per</c:v>
                </c:pt>
                <c:pt idx="40">
                  <c:v>All Others</c:v>
                </c:pt>
                <c:pt idx="41">
                  <c:v>Delamotte</c:v>
                </c:pt>
                <c:pt idx="42">
                  <c:v>Ruinart</c:v>
                </c:pt>
                <c:pt idx="43">
                  <c:v>All Others</c:v>
                </c:pt>
                <c:pt idx="44">
                  <c:v>Vranken</c:v>
                </c:pt>
                <c:pt idx="45">
                  <c:v>Canard Duch</c:v>
                </c:pt>
                <c:pt idx="46">
                  <c:v>All Others</c:v>
                </c:pt>
                <c:pt idx="47">
                  <c:v>Piper Heids</c:v>
                </c:pt>
                <c:pt idx="48">
                  <c:v>Ayala</c:v>
                </c:pt>
                <c:pt idx="49">
                  <c:v>Ruinart</c:v>
                </c:pt>
                <c:pt idx="50">
                  <c:v>Besserat De</c:v>
                </c:pt>
                <c:pt idx="51">
                  <c:v>All Others</c:v>
                </c:pt>
                <c:pt idx="52">
                  <c:v>Taittinger</c:v>
                </c:pt>
                <c:pt idx="53">
                  <c:v>Pommery</c:v>
                </c:pt>
              </c:strCache>
            </c:strRef>
          </c:cat>
          <c:val>
            <c:numRef>
              <c:f>Sheet1!$C$2:$C$55</c:f>
              <c:numCache>
                <c:formatCode>General</c:formatCode>
                <c:ptCount val="54"/>
                <c:pt idx="0">
                  <c:v>0.40164593321528053</c:v>
                </c:pt>
                <c:pt idx="1">
                  <c:v>0.56209328849426943</c:v>
                </c:pt>
                <c:pt idx="2">
                  <c:v>0.61843806491165865</c:v>
                </c:pt>
                <c:pt idx="3">
                  <c:v>0.67414551554153601</c:v>
                </c:pt>
                <c:pt idx="4">
                  <c:v>0.722836590283506</c:v>
                </c:pt>
                <c:pt idx="5">
                  <c:v>0.76027789648822819</c:v>
                </c:pt>
                <c:pt idx="6">
                  <c:v>0.79118430553119512</c:v>
                </c:pt>
                <c:pt idx="7">
                  <c:v>0.813710269633517</c:v>
                </c:pt>
                <c:pt idx="8">
                  <c:v>0.83464246674945941</c:v>
                </c:pt>
                <c:pt idx="9">
                  <c:v>0.85506893019590224</c:v>
                </c:pt>
                <c:pt idx="10">
                  <c:v>0.87119321831784013</c:v>
                </c:pt>
                <c:pt idx="11">
                  <c:v>0.88731388629897989</c:v>
                </c:pt>
                <c:pt idx="12">
                  <c:v>0.90225565542920672</c:v>
                </c:pt>
                <c:pt idx="13">
                  <c:v>0.91719398542567532</c:v>
                </c:pt>
                <c:pt idx="14">
                  <c:v>0.9277823542391036</c:v>
                </c:pt>
                <c:pt idx="15">
                  <c:v>0.93740740358614782</c:v>
                </c:pt>
                <c:pt idx="16">
                  <c:v>0.94437364052400108</c:v>
                </c:pt>
                <c:pt idx="17">
                  <c:v>0.95085170147522569</c:v>
                </c:pt>
                <c:pt idx="18">
                  <c:v>0.95657713515451781</c:v>
                </c:pt>
                <c:pt idx="19">
                  <c:v>0.96114412377840641</c:v>
                </c:pt>
                <c:pt idx="20">
                  <c:v>0.96556902187596816</c:v>
                </c:pt>
                <c:pt idx="21">
                  <c:v>0.96984513218672652</c:v>
                </c:pt>
                <c:pt idx="22">
                  <c:v>0.97375615129799287</c:v>
                </c:pt>
                <c:pt idx="23">
                  <c:v>0.97709772226171232</c:v>
                </c:pt>
                <c:pt idx="24">
                  <c:v>0.97974314014995023</c:v>
                </c:pt>
                <c:pt idx="25">
                  <c:v>0.98220085373780486</c:v>
                </c:pt>
                <c:pt idx="26">
                  <c:v>0.98460716132632586</c:v>
                </c:pt>
                <c:pt idx="27">
                  <c:v>0.98689110815586989</c:v>
                </c:pt>
                <c:pt idx="28">
                  <c:v>0.98905305624051676</c:v>
                </c:pt>
                <c:pt idx="29">
                  <c:v>0.99063903992418012</c:v>
                </c:pt>
                <c:pt idx="30">
                  <c:v>0.9920373193074602</c:v>
                </c:pt>
                <c:pt idx="31">
                  <c:v>0.99297348771785821</c:v>
                </c:pt>
                <c:pt idx="32">
                  <c:v>0.99373643239106535</c:v>
                </c:pt>
                <c:pt idx="33">
                  <c:v>0.99447675118428414</c:v>
                </c:pt>
                <c:pt idx="34">
                  <c:v>0.99520059833687147</c:v>
                </c:pt>
                <c:pt idx="35">
                  <c:v>0.99583412297654528</c:v>
                </c:pt>
                <c:pt idx="36">
                  <c:v>0.9964647515035806</c:v>
                </c:pt>
                <c:pt idx="37">
                  <c:v>0.99699148198970944</c:v>
                </c:pt>
                <c:pt idx="38">
                  <c:v>0.99749612961696965</c:v>
                </c:pt>
                <c:pt idx="39">
                  <c:v>0.99796439482920851</c:v>
                </c:pt>
                <c:pt idx="40">
                  <c:v>0.9985946613421639</c:v>
                </c:pt>
                <c:pt idx="41">
                  <c:v>0.99882146316316711</c:v>
                </c:pt>
                <c:pt idx="42">
                  <c:v>0.99901604573106695</c:v>
                </c:pt>
                <c:pt idx="43">
                  <c:v>0.99918474429226012</c:v>
                </c:pt>
                <c:pt idx="44">
                  <c:v>0.99929696865700235</c:v>
                </c:pt>
                <c:pt idx="45">
                  <c:v>0.99940738295134546</c:v>
                </c:pt>
                <c:pt idx="46">
                  <c:v>0.99950331668249603</c:v>
                </c:pt>
                <c:pt idx="47">
                  <c:v>0.99959074308277107</c:v>
                </c:pt>
                <c:pt idx="48">
                  <c:v>0.99967473034928778</c:v>
                </c:pt>
                <c:pt idx="49">
                  <c:v>0.9997449610807716</c:v>
                </c:pt>
                <c:pt idx="50">
                  <c:v>0.99980813253769907</c:v>
                </c:pt>
                <c:pt idx="51">
                  <c:v>0.99986695982566876</c:v>
                </c:pt>
                <c:pt idx="52">
                  <c:v>0.99992017589540139</c:v>
                </c:pt>
                <c:pt idx="53">
                  <c:v>0.99999076864096503</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42</c:f>
              <c:strCache>
                <c:ptCount val="41"/>
                <c:pt idx="0">
                  <c:v>Ruinart</c:v>
                </c:pt>
                <c:pt idx="1">
                  <c:v>Ruinart</c:v>
                </c:pt>
                <c:pt idx="2">
                  <c:v>Ruinart</c:v>
                </c:pt>
                <c:pt idx="3">
                  <c:v>Nicolas</c:v>
                </c:pt>
                <c:pt idx="4">
                  <c:v>Malard</c:v>
                </c:pt>
                <c:pt idx="5">
                  <c:v>Besserat De</c:v>
                </c:pt>
                <c:pt idx="6">
                  <c:v>Ruinart</c:v>
                </c:pt>
                <c:pt idx="7">
                  <c:v>De Bligny</c:v>
                </c:pt>
                <c:pt idx="8">
                  <c:v>Delamotte</c:v>
                </c:pt>
                <c:pt idx="9">
                  <c:v>Deutz</c:v>
                </c:pt>
                <c:pt idx="10">
                  <c:v>Ayala</c:v>
                </c:pt>
                <c:pt idx="11">
                  <c:v>Henriot</c:v>
                </c:pt>
                <c:pt idx="12">
                  <c:v>Taittinger</c:v>
                </c:pt>
                <c:pt idx="13">
                  <c:v>Ruinart</c:v>
                </c:pt>
                <c:pt idx="14">
                  <c:v>Perrier Jou</c:v>
                </c:pt>
                <c:pt idx="15">
                  <c:v>Nicolas</c:v>
                </c:pt>
                <c:pt idx="16">
                  <c:v>Henriot</c:v>
                </c:pt>
                <c:pt idx="17">
                  <c:v>Taittinger</c:v>
                </c:pt>
                <c:pt idx="18">
                  <c:v>Nicolas</c:v>
                </c:pt>
                <c:pt idx="19">
                  <c:v>Laurent Per</c:v>
                </c:pt>
                <c:pt idx="20">
                  <c:v>De Venoge</c:v>
                </c:pt>
                <c:pt idx="21">
                  <c:v>Delamotte</c:v>
                </c:pt>
                <c:pt idx="22">
                  <c:v>Nicolas</c:v>
                </c:pt>
                <c:pt idx="23">
                  <c:v>Deutz</c:v>
                </c:pt>
                <c:pt idx="24">
                  <c:v>Lanson</c:v>
                </c:pt>
                <c:pt idx="25">
                  <c:v>All Others</c:v>
                </c:pt>
                <c:pt idx="26">
                  <c:v>Krug</c:v>
                </c:pt>
                <c:pt idx="27">
                  <c:v>Vesselle</c:v>
                </c:pt>
                <c:pt idx="28">
                  <c:v>Perrier Jou</c:v>
                </c:pt>
                <c:pt idx="29">
                  <c:v>Taittinger</c:v>
                </c:pt>
                <c:pt idx="30">
                  <c:v>De Venoge</c:v>
                </c:pt>
                <c:pt idx="31">
                  <c:v>Deutz</c:v>
                </c:pt>
                <c:pt idx="32">
                  <c:v>Besserat De</c:v>
                </c:pt>
                <c:pt idx="33">
                  <c:v>Ayala</c:v>
                </c:pt>
                <c:pt idx="34">
                  <c:v>Ruinart</c:v>
                </c:pt>
                <c:pt idx="35">
                  <c:v>Ruinart</c:v>
                </c:pt>
                <c:pt idx="36">
                  <c:v>All Others</c:v>
                </c:pt>
                <c:pt idx="37">
                  <c:v>Besserat De</c:v>
                </c:pt>
                <c:pt idx="38">
                  <c:v>All Others</c:v>
                </c:pt>
                <c:pt idx="39">
                  <c:v>Nicolas</c:v>
                </c:pt>
                <c:pt idx="40">
                  <c:v>Deutz</c:v>
                </c:pt>
              </c:strCache>
            </c:strRef>
          </c:cat>
          <c:val>
            <c:numRef>
              <c:f>Sheet1!$B$2:$B$42</c:f>
              <c:numCache>
                <c:formatCode>General</c:formatCode>
                <c:ptCount val="41"/>
                <c:pt idx="0">
                  <c:v>0.89</c:v>
                </c:pt>
                <c:pt idx="1">
                  <c:v>0.81</c:v>
                </c:pt>
                <c:pt idx="2">
                  <c:v>0.52</c:v>
                </c:pt>
                <c:pt idx="3">
                  <c:v>0.73</c:v>
                </c:pt>
                <c:pt idx="4">
                  <c:v>0.63</c:v>
                </c:pt>
                <c:pt idx="5">
                  <c:v>0.48</c:v>
                </c:pt>
                <c:pt idx="6">
                  <c:v>0.45</c:v>
                </c:pt>
                <c:pt idx="7">
                  <c:v>0.51</c:v>
                </c:pt>
                <c:pt idx="8">
                  <c:v>0.36</c:v>
                </c:pt>
                <c:pt idx="9">
                  <c:v>0.24</c:v>
                </c:pt>
                <c:pt idx="10">
                  <c:v>0.32</c:v>
                </c:pt>
                <c:pt idx="11">
                  <c:v>0.37</c:v>
                </c:pt>
                <c:pt idx="12">
                  <c:v>0.14000000000000001</c:v>
                </c:pt>
                <c:pt idx="13">
                  <c:v>0.2</c:v>
                </c:pt>
                <c:pt idx="14">
                  <c:v>0.28000000000000003</c:v>
                </c:pt>
                <c:pt idx="15">
                  <c:v>0.37</c:v>
                </c:pt>
                <c:pt idx="16">
                  <c:v>0.3</c:v>
                </c:pt>
                <c:pt idx="17">
                  <c:v>0.24</c:v>
                </c:pt>
                <c:pt idx="18">
                  <c:v>0.2</c:v>
                </c:pt>
                <c:pt idx="19">
                  <c:v>0.16</c:v>
                </c:pt>
                <c:pt idx="20">
                  <c:v>0.23</c:v>
                </c:pt>
                <c:pt idx="21">
                  <c:v>0.2</c:v>
                </c:pt>
                <c:pt idx="22">
                  <c:v>0.17</c:v>
                </c:pt>
                <c:pt idx="23">
                  <c:v>0.15</c:v>
                </c:pt>
                <c:pt idx="24">
                  <c:v>0.21</c:v>
                </c:pt>
                <c:pt idx="25">
                  <c:v>0.19</c:v>
                </c:pt>
                <c:pt idx="26">
                  <c:v>0.09</c:v>
                </c:pt>
                <c:pt idx="27">
                  <c:v>0.27</c:v>
                </c:pt>
                <c:pt idx="28">
                  <c:v>0.14000000000000001</c:v>
                </c:pt>
                <c:pt idx="29">
                  <c:v>0.05</c:v>
                </c:pt>
                <c:pt idx="30">
                  <c:v>7.0000000000000007E-2</c:v>
                </c:pt>
                <c:pt idx="31">
                  <c:v>0.09</c:v>
                </c:pt>
                <c:pt idx="32">
                  <c:v>7.0000000000000007E-2</c:v>
                </c:pt>
                <c:pt idx="33">
                  <c:v>7.0000000000000007E-2</c:v>
                </c:pt>
                <c:pt idx="34">
                  <c:v>0.01</c:v>
                </c:pt>
                <c:pt idx="35">
                  <c:v>0.03</c:v>
                </c:pt>
                <c:pt idx="36">
                  <c:v>0.17</c:v>
                </c:pt>
                <c:pt idx="37">
                  <c:v>7.0000000000000007E-2</c:v>
                </c:pt>
                <c:pt idx="38">
                  <c:v>0.19</c:v>
                </c:pt>
                <c:pt idx="39">
                  <c:v>0.03</c:v>
                </c:pt>
                <c:pt idx="40">
                  <c:v>0.08</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7ECAC4"/>
              </a:solidFill>
            </c:spPr>
            <c:extLst>
              <c:ext xmlns:c16="http://schemas.microsoft.com/office/drawing/2014/chart" uri="{C3380CC4-5D6E-409C-BE32-E72D297353CC}">
                <c16:uniqueId val="{00000045-2993-41DE-A2CB-63102DE87051}"/>
              </c:ext>
            </c:extLst>
          </c:dPt>
          <c:dPt>
            <c:idx val="7"/>
            <c:invertIfNegative val="1"/>
            <c:bubble3D val="0"/>
            <c:spPr>
              <a:solidFill>
                <a:srgbClr val="7ECAC4"/>
              </a:solidFill>
            </c:spPr>
            <c:extLst>
              <c:ext xmlns:c16="http://schemas.microsoft.com/office/drawing/2014/chart" uri="{C3380CC4-5D6E-409C-BE32-E72D297353CC}">
                <c16:uniqueId val="{00000047-2993-41DE-A2CB-63102DE87051}"/>
              </c:ext>
            </c:extLst>
          </c:dPt>
          <c:dPt>
            <c:idx val="8"/>
            <c:invertIfNegative val="1"/>
            <c:bubble3D val="0"/>
            <c:spPr>
              <a:solidFill>
                <a:srgbClr val="7ECAC4"/>
              </a:solidFill>
            </c:spPr>
            <c:extLst>
              <c:ext xmlns:c16="http://schemas.microsoft.com/office/drawing/2014/chart" uri="{C3380CC4-5D6E-409C-BE32-E72D297353CC}">
                <c16:uniqueId val="{00000049-2993-41DE-A2CB-63102DE87051}"/>
              </c:ext>
            </c:extLst>
          </c:dPt>
          <c:dPt>
            <c:idx val="9"/>
            <c:invertIfNegative val="1"/>
            <c:bubble3D val="0"/>
            <c:spPr>
              <a:solidFill>
                <a:srgbClr val="7ECAC4"/>
              </a:solidFill>
            </c:spPr>
            <c:extLst>
              <c:ext xmlns:c16="http://schemas.microsoft.com/office/drawing/2014/chart" uri="{C3380CC4-5D6E-409C-BE32-E72D297353CC}">
                <c16:uniqueId val="{0000004B-2993-41DE-A2CB-63102DE87051}"/>
              </c:ext>
            </c:extLst>
          </c:dPt>
          <c:dPt>
            <c:idx val="10"/>
            <c:invertIfNegative val="1"/>
            <c:bubble3D val="0"/>
            <c:spPr>
              <a:solidFill>
                <a:srgbClr val="7ECAC4"/>
              </a:solidFill>
            </c:spPr>
            <c:extLst>
              <c:ext xmlns:c16="http://schemas.microsoft.com/office/drawing/2014/chart" uri="{C3380CC4-5D6E-409C-BE32-E72D297353CC}">
                <c16:uniqueId val="{0000004D-2993-41DE-A2CB-63102DE87051}"/>
              </c:ext>
            </c:extLst>
          </c:dPt>
          <c:dPt>
            <c:idx val="11"/>
            <c:invertIfNegative val="1"/>
            <c:bubble3D val="0"/>
            <c:spPr>
              <a:solidFill>
                <a:srgbClr val="7ECAC4"/>
              </a:solidFill>
            </c:spPr>
            <c:extLst>
              <c:ext xmlns:c16="http://schemas.microsoft.com/office/drawing/2014/chart" uri="{C3380CC4-5D6E-409C-BE32-E72D297353CC}">
                <c16:uniqueId val="{0000004F-2993-41DE-A2CB-63102DE87051}"/>
              </c:ext>
            </c:extLst>
          </c:dPt>
          <c:dPt>
            <c:idx val="12"/>
            <c:invertIfNegative val="1"/>
            <c:bubble3D val="0"/>
            <c:spPr>
              <a:solidFill>
                <a:srgbClr val="7ECAC4"/>
              </a:solidFill>
            </c:spPr>
            <c:extLst>
              <c:ext xmlns:c16="http://schemas.microsoft.com/office/drawing/2014/chart" uri="{C3380CC4-5D6E-409C-BE32-E72D297353CC}">
                <c16:uniqueId val="{00000051-2993-41DE-A2CB-63102DE87051}"/>
              </c:ext>
            </c:extLst>
          </c:dPt>
          <c:dPt>
            <c:idx val="13"/>
            <c:invertIfNegative val="1"/>
            <c:bubble3D val="0"/>
            <c:spPr>
              <a:solidFill>
                <a:srgbClr val="7ECAC4"/>
              </a:solidFill>
            </c:spPr>
            <c:extLst>
              <c:ext xmlns:c16="http://schemas.microsoft.com/office/drawing/2014/chart" uri="{C3380CC4-5D6E-409C-BE32-E72D297353CC}">
                <c16:uniqueId val="{00000053-2993-41DE-A2CB-63102DE87051}"/>
              </c:ext>
            </c:extLst>
          </c:dPt>
          <c:dPt>
            <c:idx val="14"/>
            <c:invertIfNegative val="1"/>
            <c:bubble3D val="0"/>
            <c:spPr>
              <a:solidFill>
                <a:srgbClr val="7ECAC4"/>
              </a:solidFill>
            </c:spPr>
            <c:extLst>
              <c:ext xmlns:c16="http://schemas.microsoft.com/office/drawing/2014/chart" uri="{C3380CC4-5D6E-409C-BE32-E72D297353CC}">
                <c16:uniqueId val="{00000055-2993-41DE-A2CB-63102DE87051}"/>
              </c:ext>
            </c:extLst>
          </c:dPt>
          <c:dPt>
            <c:idx val="15"/>
            <c:invertIfNegative val="1"/>
            <c:bubble3D val="0"/>
            <c:spPr>
              <a:solidFill>
                <a:srgbClr val="7ECAC4"/>
              </a:solidFill>
            </c:spPr>
            <c:extLst>
              <c:ext xmlns:c16="http://schemas.microsoft.com/office/drawing/2014/chart" uri="{C3380CC4-5D6E-409C-BE32-E72D297353CC}">
                <c16:uniqueId val="{00000057-2993-41DE-A2CB-63102DE87051}"/>
              </c:ext>
            </c:extLst>
          </c:dPt>
          <c:dPt>
            <c:idx val="16"/>
            <c:invertIfNegative val="1"/>
            <c:bubble3D val="0"/>
            <c:spPr>
              <a:solidFill>
                <a:srgbClr val="7ECAC4"/>
              </a:solidFill>
            </c:spPr>
            <c:extLst>
              <c:ext xmlns:c16="http://schemas.microsoft.com/office/drawing/2014/chart" uri="{C3380CC4-5D6E-409C-BE32-E72D297353CC}">
                <c16:uniqueId val="{00000059-2993-41DE-A2CB-63102DE87051}"/>
              </c:ext>
            </c:extLst>
          </c:dPt>
          <c:dPt>
            <c:idx val="17"/>
            <c:invertIfNegative val="1"/>
            <c:bubble3D val="0"/>
            <c:spPr>
              <a:solidFill>
                <a:srgbClr val="AEABAB"/>
              </a:solidFill>
            </c:spPr>
            <c:extLst>
              <c:ext xmlns:c16="http://schemas.microsoft.com/office/drawing/2014/chart" uri="{C3380CC4-5D6E-409C-BE32-E72D297353CC}">
                <c16:uniqueId val="{0000005B-2993-41DE-A2CB-63102DE87051}"/>
              </c:ext>
            </c:extLst>
          </c:dPt>
          <c:dPt>
            <c:idx val="18"/>
            <c:invertIfNegative val="1"/>
            <c:bubble3D val="0"/>
            <c:spPr>
              <a:solidFill>
                <a:srgbClr val="AEABAB"/>
              </a:solidFill>
            </c:spPr>
            <c:extLst>
              <c:ext xmlns:c16="http://schemas.microsoft.com/office/drawing/2014/chart" uri="{C3380CC4-5D6E-409C-BE32-E72D297353CC}">
                <c16:uniqueId val="{0000005D-2993-41DE-A2CB-63102DE87051}"/>
              </c:ext>
            </c:extLst>
          </c:dPt>
          <c:dPt>
            <c:idx val="19"/>
            <c:invertIfNegative val="1"/>
            <c:bubble3D val="0"/>
            <c:spPr>
              <a:solidFill>
                <a:srgbClr val="AEABAB"/>
              </a:solidFill>
            </c:spPr>
            <c:extLst>
              <c:ext xmlns:c16="http://schemas.microsoft.com/office/drawing/2014/chart" uri="{C3380CC4-5D6E-409C-BE32-E72D297353CC}">
                <c16:uniqueId val="{0000005F-2993-41DE-A2CB-63102DE87051}"/>
              </c:ext>
            </c:extLst>
          </c:dPt>
          <c:dPt>
            <c:idx val="20"/>
            <c:invertIfNegative val="1"/>
            <c:bubble3D val="0"/>
            <c:spPr>
              <a:solidFill>
                <a:srgbClr val="AEABAB"/>
              </a:solidFill>
            </c:spPr>
            <c:extLst>
              <c:ext xmlns:c16="http://schemas.microsoft.com/office/drawing/2014/chart" uri="{C3380CC4-5D6E-409C-BE32-E72D297353CC}">
                <c16:uniqueId val="{00000061-2993-41DE-A2CB-63102DE87051}"/>
              </c:ext>
            </c:extLst>
          </c:dPt>
          <c:dPt>
            <c:idx val="21"/>
            <c:invertIfNegative val="1"/>
            <c:bubble3D val="0"/>
            <c:spPr>
              <a:solidFill>
                <a:srgbClr val="AEABAB"/>
              </a:solidFill>
            </c:spPr>
            <c:extLst>
              <c:ext xmlns:c16="http://schemas.microsoft.com/office/drawing/2014/chart" uri="{C3380CC4-5D6E-409C-BE32-E72D297353CC}">
                <c16:uniqueId val="{00000063-2993-41DE-A2CB-63102DE87051}"/>
              </c:ext>
            </c:extLst>
          </c:dPt>
          <c:dPt>
            <c:idx val="22"/>
            <c:invertIfNegative val="1"/>
            <c:bubble3D val="0"/>
            <c:spPr>
              <a:solidFill>
                <a:srgbClr val="AEABAB"/>
              </a:solidFill>
            </c:spPr>
            <c:extLst>
              <c:ext xmlns:c16="http://schemas.microsoft.com/office/drawing/2014/chart" uri="{C3380CC4-5D6E-409C-BE32-E72D297353CC}">
                <c16:uniqueId val="{00000065-2993-41DE-A2CB-63102DE87051}"/>
              </c:ext>
            </c:extLst>
          </c:dPt>
          <c:dPt>
            <c:idx val="23"/>
            <c:invertIfNegative val="1"/>
            <c:bubble3D val="0"/>
            <c:spPr>
              <a:solidFill>
                <a:srgbClr val="AEABAB"/>
              </a:solidFill>
            </c:spPr>
            <c:extLst>
              <c:ext xmlns:c16="http://schemas.microsoft.com/office/drawing/2014/chart" uri="{C3380CC4-5D6E-409C-BE32-E72D297353CC}">
                <c16:uniqueId val="{00000067-2993-41DE-A2CB-63102DE87051}"/>
              </c:ext>
            </c:extLst>
          </c:dPt>
          <c:dPt>
            <c:idx val="24"/>
            <c:invertIfNegative val="1"/>
            <c:bubble3D val="0"/>
            <c:spPr>
              <a:solidFill>
                <a:srgbClr val="AEABAB"/>
              </a:solidFill>
            </c:spPr>
            <c:extLst>
              <c:ext xmlns:c16="http://schemas.microsoft.com/office/drawing/2014/chart" uri="{C3380CC4-5D6E-409C-BE32-E72D297353CC}">
                <c16:uniqueId val="{00000069-2993-41DE-A2CB-63102DE87051}"/>
              </c:ext>
            </c:extLst>
          </c:dPt>
          <c:dPt>
            <c:idx val="25"/>
            <c:invertIfNegative val="1"/>
            <c:bubble3D val="0"/>
            <c:spPr>
              <a:solidFill>
                <a:srgbClr val="AEABAB"/>
              </a:solidFill>
            </c:spPr>
            <c:extLst>
              <c:ext xmlns:c16="http://schemas.microsoft.com/office/drawing/2014/chart" uri="{C3380CC4-5D6E-409C-BE32-E72D297353CC}">
                <c16:uniqueId val="{0000006B-2993-41DE-A2CB-63102DE87051}"/>
              </c:ext>
            </c:extLst>
          </c:dPt>
          <c:dPt>
            <c:idx val="26"/>
            <c:invertIfNegative val="1"/>
            <c:bubble3D val="0"/>
            <c:spPr>
              <a:solidFill>
                <a:srgbClr val="AEABAB"/>
              </a:solidFill>
            </c:spPr>
            <c:extLst>
              <c:ext xmlns:c16="http://schemas.microsoft.com/office/drawing/2014/chart" uri="{C3380CC4-5D6E-409C-BE32-E72D297353CC}">
                <c16:uniqueId val="{0000006D-2993-41DE-A2CB-63102DE87051}"/>
              </c:ext>
            </c:extLst>
          </c:dPt>
          <c:dPt>
            <c:idx val="27"/>
            <c:invertIfNegative val="1"/>
            <c:bubble3D val="0"/>
            <c:spPr>
              <a:solidFill>
                <a:srgbClr val="AEABAB"/>
              </a:solidFill>
            </c:spPr>
            <c:extLst>
              <c:ext xmlns:c16="http://schemas.microsoft.com/office/drawing/2014/chart" uri="{C3380CC4-5D6E-409C-BE32-E72D297353CC}">
                <c16:uniqueId val="{0000006F-2993-41DE-A2CB-63102DE87051}"/>
              </c:ext>
            </c:extLst>
          </c:dPt>
          <c:dPt>
            <c:idx val="28"/>
            <c:invertIfNegative val="1"/>
            <c:bubble3D val="0"/>
            <c:spPr>
              <a:solidFill>
                <a:srgbClr val="AEABAB"/>
              </a:solidFill>
            </c:spPr>
            <c:extLst>
              <c:ext xmlns:c16="http://schemas.microsoft.com/office/drawing/2014/chart" uri="{C3380CC4-5D6E-409C-BE32-E72D297353CC}">
                <c16:uniqueId val="{00000071-2993-41DE-A2CB-63102DE87051}"/>
              </c:ext>
            </c:extLst>
          </c:dPt>
          <c:dPt>
            <c:idx val="29"/>
            <c:invertIfNegative val="1"/>
            <c:bubble3D val="0"/>
            <c:spPr>
              <a:solidFill>
                <a:srgbClr val="AEABAB"/>
              </a:solidFill>
            </c:spPr>
            <c:extLst>
              <c:ext xmlns:c16="http://schemas.microsoft.com/office/drawing/2014/chart" uri="{C3380CC4-5D6E-409C-BE32-E72D297353CC}">
                <c16:uniqueId val="{00000073-2993-41DE-A2CB-63102DE87051}"/>
              </c:ext>
            </c:extLst>
          </c:dPt>
          <c:dPt>
            <c:idx val="30"/>
            <c:invertIfNegative val="1"/>
            <c:bubble3D val="0"/>
            <c:spPr>
              <a:solidFill>
                <a:srgbClr val="AEABAB"/>
              </a:solidFill>
            </c:spPr>
            <c:extLst>
              <c:ext xmlns:c16="http://schemas.microsoft.com/office/drawing/2014/chart" uri="{C3380CC4-5D6E-409C-BE32-E72D297353CC}">
                <c16:uniqueId val="{00000075-2993-41DE-A2CB-63102DE87051}"/>
              </c:ext>
            </c:extLst>
          </c:dPt>
          <c:dPt>
            <c:idx val="31"/>
            <c:invertIfNegative val="1"/>
            <c:bubble3D val="0"/>
            <c:spPr>
              <a:solidFill>
                <a:srgbClr val="AEABAB"/>
              </a:solidFill>
            </c:spPr>
            <c:extLst>
              <c:ext xmlns:c16="http://schemas.microsoft.com/office/drawing/2014/chart" uri="{C3380CC4-5D6E-409C-BE32-E72D297353CC}">
                <c16:uniqueId val="{00000077-2993-41DE-A2CB-63102DE87051}"/>
              </c:ext>
            </c:extLst>
          </c:dPt>
          <c:dPt>
            <c:idx val="32"/>
            <c:invertIfNegative val="1"/>
            <c:bubble3D val="0"/>
            <c:spPr>
              <a:solidFill>
                <a:srgbClr val="AEABAB"/>
              </a:solidFill>
            </c:spPr>
            <c:extLst>
              <c:ext xmlns:c16="http://schemas.microsoft.com/office/drawing/2014/chart" uri="{C3380CC4-5D6E-409C-BE32-E72D297353CC}">
                <c16:uniqueId val="{00000079-2993-41DE-A2CB-63102DE87051}"/>
              </c:ext>
            </c:extLst>
          </c:dPt>
          <c:dPt>
            <c:idx val="33"/>
            <c:invertIfNegative val="1"/>
            <c:bubble3D val="0"/>
            <c:spPr>
              <a:solidFill>
                <a:srgbClr val="AEABAB"/>
              </a:solidFill>
            </c:spPr>
            <c:extLst>
              <c:ext xmlns:c16="http://schemas.microsoft.com/office/drawing/2014/chart" uri="{C3380CC4-5D6E-409C-BE32-E72D297353CC}">
                <c16:uniqueId val="{0000007B-2993-41DE-A2CB-63102DE87051}"/>
              </c:ext>
            </c:extLst>
          </c:dPt>
          <c:dPt>
            <c:idx val="34"/>
            <c:invertIfNegative val="1"/>
            <c:bubble3D val="0"/>
            <c:spPr>
              <a:solidFill>
                <a:srgbClr val="AEABAB"/>
              </a:solidFill>
            </c:spPr>
            <c:extLst>
              <c:ext xmlns:c16="http://schemas.microsoft.com/office/drawing/2014/chart" uri="{C3380CC4-5D6E-409C-BE32-E72D297353CC}">
                <c16:uniqueId val="{0000007D-2993-41DE-A2CB-63102DE87051}"/>
              </c:ext>
            </c:extLst>
          </c:dPt>
          <c:dPt>
            <c:idx val="35"/>
            <c:invertIfNegative val="1"/>
            <c:bubble3D val="0"/>
            <c:spPr>
              <a:solidFill>
                <a:srgbClr val="AEABAB"/>
              </a:solidFill>
            </c:spPr>
            <c:extLst>
              <c:ext xmlns:c16="http://schemas.microsoft.com/office/drawing/2014/chart" uri="{C3380CC4-5D6E-409C-BE32-E72D297353CC}">
                <c16:uniqueId val="{0000007F-2993-41DE-A2CB-63102DE87051}"/>
              </c:ext>
            </c:extLst>
          </c:dPt>
          <c:dPt>
            <c:idx val="36"/>
            <c:invertIfNegative val="1"/>
            <c:bubble3D val="0"/>
            <c:spPr>
              <a:solidFill>
                <a:srgbClr val="AEABAB"/>
              </a:solidFill>
            </c:spPr>
            <c:extLst>
              <c:ext xmlns:c16="http://schemas.microsoft.com/office/drawing/2014/chart" uri="{C3380CC4-5D6E-409C-BE32-E72D297353CC}">
                <c16:uniqueId val="{00000081-2993-41DE-A2CB-63102DE87051}"/>
              </c:ext>
            </c:extLst>
          </c:dPt>
          <c:dPt>
            <c:idx val="37"/>
            <c:invertIfNegative val="1"/>
            <c:bubble3D val="0"/>
            <c:spPr>
              <a:solidFill>
                <a:srgbClr val="AEABAB"/>
              </a:solidFill>
            </c:spPr>
            <c:extLst>
              <c:ext xmlns:c16="http://schemas.microsoft.com/office/drawing/2014/chart" uri="{C3380CC4-5D6E-409C-BE32-E72D297353CC}">
                <c16:uniqueId val="{00000083-2993-41DE-A2CB-63102DE87051}"/>
              </c:ext>
            </c:extLst>
          </c:dPt>
          <c:dPt>
            <c:idx val="38"/>
            <c:invertIfNegative val="1"/>
            <c:bubble3D val="0"/>
            <c:spPr>
              <a:solidFill>
                <a:srgbClr val="AEABAB"/>
              </a:solidFill>
            </c:spPr>
            <c:extLst>
              <c:ext xmlns:c16="http://schemas.microsoft.com/office/drawing/2014/chart" uri="{C3380CC4-5D6E-409C-BE32-E72D297353CC}">
                <c16:uniqueId val="{00000085-2993-41DE-A2CB-63102DE87051}"/>
              </c:ext>
            </c:extLst>
          </c:dPt>
          <c:dPt>
            <c:idx val="39"/>
            <c:invertIfNegative val="1"/>
            <c:bubble3D val="0"/>
            <c:spPr>
              <a:solidFill>
                <a:srgbClr val="AEABAB"/>
              </a:solidFill>
            </c:spPr>
            <c:extLst>
              <c:ext xmlns:c16="http://schemas.microsoft.com/office/drawing/2014/chart" uri="{C3380CC4-5D6E-409C-BE32-E72D297353CC}">
                <c16:uniqueId val="{00000087-2993-41DE-A2CB-63102DE87051}"/>
              </c:ext>
            </c:extLst>
          </c:dPt>
          <c:dPt>
            <c:idx val="40"/>
            <c:invertIfNegative val="1"/>
            <c:bubble3D val="0"/>
            <c:spPr>
              <a:solidFill>
                <a:srgbClr val="AEABAB"/>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42</c:f>
              <c:strCache>
                <c:ptCount val="41"/>
                <c:pt idx="0">
                  <c:v>Ruinart</c:v>
                </c:pt>
                <c:pt idx="1">
                  <c:v>Ruinart</c:v>
                </c:pt>
                <c:pt idx="2">
                  <c:v>Ruinart</c:v>
                </c:pt>
                <c:pt idx="3">
                  <c:v>Nicolas</c:v>
                </c:pt>
                <c:pt idx="4">
                  <c:v>Malard</c:v>
                </c:pt>
                <c:pt idx="5">
                  <c:v>Besserat De</c:v>
                </c:pt>
                <c:pt idx="6">
                  <c:v>Ruinart</c:v>
                </c:pt>
                <c:pt idx="7">
                  <c:v>De Bligny</c:v>
                </c:pt>
                <c:pt idx="8">
                  <c:v>Delamotte</c:v>
                </c:pt>
                <c:pt idx="9">
                  <c:v>Deutz</c:v>
                </c:pt>
                <c:pt idx="10">
                  <c:v>Ayala</c:v>
                </c:pt>
                <c:pt idx="11">
                  <c:v>Henriot</c:v>
                </c:pt>
                <c:pt idx="12">
                  <c:v>Taittinger</c:v>
                </c:pt>
                <c:pt idx="13">
                  <c:v>Ruinart</c:v>
                </c:pt>
                <c:pt idx="14">
                  <c:v>Perrier Jou</c:v>
                </c:pt>
                <c:pt idx="15">
                  <c:v>Nicolas</c:v>
                </c:pt>
                <c:pt idx="16">
                  <c:v>Henriot</c:v>
                </c:pt>
                <c:pt idx="17">
                  <c:v>Taittinger</c:v>
                </c:pt>
                <c:pt idx="18">
                  <c:v>Nicolas</c:v>
                </c:pt>
                <c:pt idx="19">
                  <c:v>Laurent Per</c:v>
                </c:pt>
                <c:pt idx="20">
                  <c:v>De Venoge</c:v>
                </c:pt>
                <c:pt idx="21">
                  <c:v>Delamotte</c:v>
                </c:pt>
                <c:pt idx="22">
                  <c:v>Nicolas</c:v>
                </c:pt>
                <c:pt idx="23">
                  <c:v>Deutz</c:v>
                </c:pt>
                <c:pt idx="24">
                  <c:v>Lanson</c:v>
                </c:pt>
                <c:pt idx="25">
                  <c:v>All Others</c:v>
                </c:pt>
                <c:pt idx="26">
                  <c:v>Krug</c:v>
                </c:pt>
                <c:pt idx="27">
                  <c:v>Vesselle</c:v>
                </c:pt>
                <c:pt idx="28">
                  <c:v>Perrier Jou</c:v>
                </c:pt>
                <c:pt idx="29">
                  <c:v>Taittinger</c:v>
                </c:pt>
                <c:pt idx="30">
                  <c:v>De Venoge</c:v>
                </c:pt>
                <c:pt idx="31">
                  <c:v>Deutz</c:v>
                </c:pt>
                <c:pt idx="32">
                  <c:v>Besserat De</c:v>
                </c:pt>
                <c:pt idx="33">
                  <c:v>Ayala</c:v>
                </c:pt>
                <c:pt idx="34">
                  <c:v>Ruinart</c:v>
                </c:pt>
                <c:pt idx="35">
                  <c:v>Ruinart</c:v>
                </c:pt>
                <c:pt idx="36">
                  <c:v>All Others</c:v>
                </c:pt>
                <c:pt idx="37">
                  <c:v>Besserat De</c:v>
                </c:pt>
                <c:pt idx="38">
                  <c:v>All Others</c:v>
                </c:pt>
                <c:pt idx="39">
                  <c:v>Nicolas</c:v>
                </c:pt>
                <c:pt idx="40">
                  <c:v>Deutz</c:v>
                </c:pt>
              </c:strCache>
            </c:strRef>
          </c:cat>
          <c:val>
            <c:numRef>
              <c:f>Sheet1!$C$2:$C$42</c:f>
              <c:numCache>
                <c:formatCode>General</c:formatCode>
                <c:ptCount val="41"/>
                <c:pt idx="0">
                  <c:v>0.42816892258622896</c:v>
                </c:pt>
                <c:pt idx="1">
                  <c:v>0.61772484277718054</c:v>
                </c:pt>
                <c:pt idx="2">
                  <c:v>0.69977095029432779</c:v>
                </c:pt>
                <c:pt idx="3">
                  <c:v>0.74405424265856923</c:v>
                </c:pt>
                <c:pt idx="4">
                  <c:v>0.77875956905963883</c:v>
                </c:pt>
                <c:pt idx="5">
                  <c:v>0.8080540414804197</c:v>
                </c:pt>
                <c:pt idx="6">
                  <c:v>0.83553791055535642</c:v>
                </c:pt>
                <c:pt idx="7">
                  <c:v>0.85473680239904937</c:v>
                </c:pt>
                <c:pt idx="8">
                  <c:v>0.86879517340089563</c:v>
                </c:pt>
                <c:pt idx="9">
                  <c:v>0.88122106754346807</c:v>
                </c:pt>
                <c:pt idx="10">
                  <c:v>0.8933703417304254</c:v>
                </c:pt>
                <c:pt idx="11">
                  <c:v>0.90442047071495768</c:v>
                </c:pt>
                <c:pt idx="12">
                  <c:v>0.91442908365448483</c:v>
                </c:pt>
                <c:pt idx="13">
                  <c:v>0.92421241897864359</c:v>
                </c:pt>
                <c:pt idx="14">
                  <c:v>0.93397584604842099</c:v>
                </c:pt>
                <c:pt idx="15">
                  <c:v>0.94228492274549491</c:v>
                </c:pt>
                <c:pt idx="16">
                  <c:v>0.94979033464727802</c:v>
                </c:pt>
                <c:pt idx="17">
                  <c:v>0.95705160848217363</c:v>
                </c:pt>
                <c:pt idx="18">
                  <c:v>0.96398701562693179</c:v>
                </c:pt>
                <c:pt idx="19">
                  <c:v>0.96958542631955047</c:v>
                </c:pt>
                <c:pt idx="20">
                  <c:v>0.9748789263792752</c:v>
                </c:pt>
                <c:pt idx="21">
                  <c:v>0.978850099226931</c:v>
                </c:pt>
                <c:pt idx="22">
                  <c:v>0.98272068299981763</c:v>
                </c:pt>
                <c:pt idx="23">
                  <c:v>0.98570692115702574</c:v>
                </c:pt>
                <c:pt idx="24">
                  <c:v>0.98867953787702556</c:v>
                </c:pt>
                <c:pt idx="25">
                  <c:v>0.99089564093053262</c:v>
                </c:pt>
                <c:pt idx="26">
                  <c:v>0.99241495508069111</c:v>
                </c:pt>
                <c:pt idx="27">
                  <c:v>0.99369432237541078</c:v>
                </c:pt>
                <c:pt idx="28">
                  <c:v>0.99483642749518508</c:v>
                </c:pt>
                <c:pt idx="29">
                  <c:v>0.99580040612838916</c:v>
                </c:pt>
                <c:pt idx="30">
                  <c:v>0.99659568850078251</c:v>
                </c:pt>
                <c:pt idx="31">
                  <c:v>0.99735010656155088</c:v>
                </c:pt>
                <c:pt idx="32">
                  <c:v>0.99806156470496998</c:v>
                </c:pt>
                <c:pt idx="33">
                  <c:v>0.99876254481976723</c:v>
                </c:pt>
                <c:pt idx="34">
                  <c:v>0.9992131000505039</c:v>
                </c:pt>
                <c:pt idx="35">
                  <c:v>0.99947400296318634</c:v>
                </c:pt>
                <c:pt idx="36">
                  <c:v>0.9996458426325836</c:v>
                </c:pt>
                <c:pt idx="37">
                  <c:v>0.99975586193311228</c:v>
                </c:pt>
                <c:pt idx="38">
                  <c:v>0.9998554032050192</c:v>
                </c:pt>
                <c:pt idx="39">
                  <c:v>0.99993713182826915</c:v>
                </c:pt>
                <c:pt idx="40">
                  <c:v>0.99999999999999989</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38</c:f>
              <c:strCache>
                <c:ptCount val="37"/>
                <c:pt idx="0">
                  <c:v>Ruinart</c:v>
                </c:pt>
                <c:pt idx="1">
                  <c:v>Ruinart</c:v>
                </c:pt>
                <c:pt idx="2">
                  <c:v>Ruinart</c:v>
                </c:pt>
                <c:pt idx="3">
                  <c:v>Malard</c:v>
                </c:pt>
                <c:pt idx="4">
                  <c:v>Nicolas</c:v>
                </c:pt>
                <c:pt idx="5">
                  <c:v>Besserat De</c:v>
                </c:pt>
                <c:pt idx="6">
                  <c:v>Ruinart</c:v>
                </c:pt>
                <c:pt idx="7">
                  <c:v>De Bligny</c:v>
                </c:pt>
                <c:pt idx="8">
                  <c:v>Ayala</c:v>
                </c:pt>
                <c:pt idx="9">
                  <c:v>Delamotte</c:v>
                </c:pt>
                <c:pt idx="10">
                  <c:v>Henriot</c:v>
                </c:pt>
                <c:pt idx="11">
                  <c:v>De Venoge</c:v>
                </c:pt>
                <c:pt idx="12">
                  <c:v>Perrier Jou</c:v>
                </c:pt>
                <c:pt idx="13">
                  <c:v>Henriot</c:v>
                </c:pt>
                <c:pt idx="14">
                  <c:v>Nicolas</c:v>
                </c:pt>
                <c:pt idx="15">
                  <c:v>Deutz</c:v>
                </c:pt>
                <c:pt idx="16">
                  <c:v>Deutz</c:v>
                </c:pt>
                <c:pt idx="17">
                  <c:v>Laurent Per</c:v>
                </c:pt>
                <c:pt idx="18">
                  <c:v>Lanson</c:v>
                </c:pt>
                <c:pt idx="19">
                  <c:v>Ruinart</c:v>
                </c:pt>
                <c:pt idx="20">
                  <c:v>Nicolas</c:v>
                </c:pt>
                <c:pt idx="21">
                  <c:v>Delamotte</c:v>
                </c:pt>
                <c:pt idx="22">
                  <c:v>Ayala</c:v>
                </c:pt>
                <c:pt idx="23">
                  <c:v>Taittinger</c:v>
                </c:pt>
                <c:pt idx="24">
                  <c:v>Besserat De</c:v>
                </c:pt>
                <c:pt idx="25">
                  <c:v>Nicolas</c:v>
                </c:pt>
                <c:pt idx="26">
                  <c:v>Taittinger</c:v>
                </c:pt>
                <c:pt idx="27">
                  <c:v>Vesselle</c:v>
                </c:pt>
                <c:pt idx="28">
                  <c:v>All Others</c:v>
                </c:pt>
                <c:pt idx="29">
                  <c:v>Ruinart</c:v>
                </c:pt>
                <c:pt idx="30">
                  <c:v>All Others</c:v>
                </c:pt>
                <c:pt idx="31">
                  <c:v>Taittinger</c:v>
                </c:pt>
                <c:pt idx="32">
                  <c:v>Nicolas</c:v>
                </c:pt>
                <c:pt idx="33">
                  <c:v>All Others</c:v>
                </c:pt>
                <c:pt idx="34">
                  <c:v>Delamotte</c:v>
                </c:pt>
                <c:pt idx="35">
                  <c:v>Pommery</c:v>
                </c:pt>
                <c:pt idx="36">
                  <c:v>Besserat De</c:v>
                </c:pt>
              </c:strCache>
            </c:strRef>
          </c:cat>
          <c:val>
            <c:numRef>
              <c:f>Sheet1!$B$2:$B$38</c:f>
              <c:numCache>
                <c:formatCode>General</c:formatCode>
                <c:ptCount val="37"/>
                <c:pt idx="0">
                  <c:v>0.93</c:v>
                </c:pt>
                <c:pt idx="1">
                  <c:v>0.72</c:v>
                </c:pt>
                <c:pt idx="2">
                  <c:v>0.38</c:v>
                </c:pt>
                <c:pt idx="3">
                  <c:v>0.72</c:v>
                </c:pt>
                <c:pt idx="4">
                  <c:v>0.63</c:v>
                </c:pt>
                <c:pt idx="5">
                  <c:v>0.56000000000000005</c:v>
                </c:pt>
                <c:pt idx="6">
                  <c:v>0.62</c:v>
                </c:pt>
                <c:pt idx="7">
                  <c:v>0.5</c:v>
                </c:pt>
                <c:pt idx="8">
                  <c:v>0.35</c:v>
                </c:pt>
                <c:pt idx="9">
                  <c:v>0.34</c:v>
                </c:pt>
                <c:pt idx="10">
                  <c:v>0.41</c:v>
                </c:pt>
                <c:pt idx="11">
                  <c:v>0.27</c:v>
                </c:pt>
                <c:pt idx="12">
                  <c:v>0.28000000000000003</c:v>
                </c:pt>
                <c:pt idx="13">
                  <c:v>0.26</c:v>
                </c:pt>
                <c:pt idx="14">
                  <c:v>0.27</c:v>
                </c:pt>
                <c:pt idx="15">
                  <c:v>0.19</c:v>
                </c:pt>
                <c:pt idx="16">
                  <c:v>0.17</c:v>
                </c:pt>
                <c:pt idx="17">
                  <c:v>0.22</c:v>
                </c:pt>
                <c:pt idx="18">
                  <c:v>0.42</c:v>
                </c:pt>
                <c:pt idx="19">
                  <c:v>0.27</c:v>
                </c:pt>
                <c:pt idx="20">
                  <c:v>0.33</c:v>
                </c:pt>
                <c:pt idx="21">
                  <c:v>0.14000000000000001</c:v>
                </c:pt>
                <c:pt idx="22">
                  <c:v>0.14000000000000001</c:v>
                </c:pt>
                <c:pt idx="23">
                  <c:v>7.0000000000000007E-2</c:v>
                </c:pt>
                <c:pt idx="24">
                  <c:v>0.13</c:v>
                </c:pt>
                <c:pt idx="25">
                  <c:v>0.19</c:v>
                </c:pt>
                <c:pt idx="26">
                  <c:v>0.09</c:v>
                </c:pt>
                <c:pt idx="27">
                  <c:v>0.18</c:v>
                </c:pt>
                <c:pt idx="28">
                  <c:v>0.2</c:v>
                </c:pt>
                <c:pt idx="29">
                  <c:v>0.1</c:v>
                </c:pt>
                <c:pt idx="30">
                  <c:v>0.18</c:v>
                </c:pt>
                <c:pt idx="31">
                  <c:v>0.04</c:v>
                </c:pt>
                <c:pt idx="32">
                  <c:v>0.05</c:v>
                </c:pt>
                <c:pt idx="33">
                  <c:v>0.19</c:v>
                </c:pt>
                <c:pt idx="34">
                  <c:v>0.03</c:v>
                </c:pt>
                <c:pt idx="35">
                  <c:v>0.03</c:v>
                </c:pt>
                <c:pt idx="36">
                  <c:v>0.03</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7ECAC4"/>
              </a:solidFill>
            </c:spPr>
            <c:extLst>
              <c:ext xmlns:c16="http://schemas.microsoft.com/office/drawing/2014/chart" uri="{C3380CC4-5D6E-409C-BE32-E72D297353CC}">
                <c16:uniqueId val="{00000049-2993-41DE-A2CB-63102DE87051}"/>
              </c:ext>
            </c:extLst>
          </c:dPt>
          <c:dPt>
            <c:idx val="9"/>
            <c:invertIfNegative val="1"/>
            <c:bubble3D val="0"/>
            <c:spPr>
              <a:solidFill>
                <a:srgbClr val="7ECAC4"/>
              </a:solidFill>
            </c:spPr>
            <c:extLst>
              <c:ext xmlns:c16="http://schemas.microsoft.com/office/drawing/2014/chart" uri="{C3380CC4-5D6E-409C-BE32-E72D297353CC}">
                <c16:uniqueId val="{0000004B-2993-41DE-A2CB-63102DE87051}"/>
              </c:ext>
            </c:extLst>
          </c:dPt>
          <c:dPt>
            <c:idx val="10"/>
            <c:invertIfNegative val="1"/>
            <c:bubble3D val="0"/>
            <c:spPr>
              <a:solidFill>
                <a:srgbClr val="7ECAC4"/>
              </a:solidFill>
            </c:spPr>
            <c:extLst>
              <c:ext xmlns:c16="http://schemas.microsoft.com/office/drawing/2014/chart" uri="{C3380CC4-5D6E-409C-BE32-E72D297353CC}">
                <c16:uniqueId val="{0000004D-2993-41DE-A2CB-63102DE87051}"/>
              </c:ext>
            </c:extLst>
          </c:dPt>
          <c:dPt>
            <c:idx val="11"/>
            <c:invertIfNegative val="1"/>
            <c:bubble3D val="0"/>
            <c:spPr>
              <a:solidFill>
                <a:srgbClr val="7ECAC4"/>
              </a:solidFill>
            </c:spPr>
            <c:extLst>
              <c:ext xmlns:c16="http://schemas.microsoft.com/office/drawing/2014/chart" uri="{C3380CC4-5D6E-409C-BE32-E72D297353CC}">
                <c16:uniqueId val="{0000004F-2993-41DE-A2CB-63102DE87051}"/>
              </c:ext>
            </c:extLst>
          </c:dPt>
          <c:dPt>
            <c:idx val="12"/>
            <c:invertIfNegative val="1"/>
            <c:bubble3D val="0"/>
            <c:spPr>
              <a:solidFill>
                <a:srgbClr val="7ECAC4"/>
              </a:solidFill>
            </c:spPr>
            <c:extLst>
              <c:ext xmlns:c16="http://schemas.microsoft.com/office/drawing/2014/chart" uri="{C3380CC4-5D6E-409C-BE32-E72D297353CC}">
                <c16:uniqueId val="{00000051-2993-41DE-A2CB-63102DE87051}"/>
              </c:ext>
            </c:extLst>
          </c:dPt>
          <c:dPt>
            <c:idx val="13"/>
            <c:invertIfNegative val="1"/>
            <c:bubble3D val="0"/>
            <c:spPr>
              <a:solidFill>
                <a:srgbClr val="7ECAC4"/>
              </a:solidFill>
            </c:spPr>
            <c:extLst>
              <c:ext xmlns:c16="http://schemas.microsoft.com/office/drawing/2014/chart" uri="{C3380CC4-5D6E-409C-BE32-E72D297353CC}">
                <c16:uniqueId val="{00000053-2993-41DE-A2CB-63102DE87051}"/>
              </c:ext>
            </c:extLst>
          </c:dPt>
          <c:dPt>
            <c:idx val="14"/>
            <c:invertIfNegative val="1"/>
            <c:bubble3D val="0"/>
            <c:spPr>
              <a:solidFill>
                <a:srgbClr val="7ECAC4"/>
              </a:solidFill>
            </c:spPr>
            <c:extLst>
              <c:ext xmlns:c16="http://schemas.microsoft.com/office/drawing/2014/chart" uri="{C3380CC4-5D6E-409C-BE32-E72D297353CC}">
                <c16:uniqueId val="{00000055-2993-41DE-A2CB-63102DE87051}"/>
              </c:ext>
            </c:extLst>
          </c:dPt>
          <c:dPt>
            <c:idx val="15"/>
            <c:invertIfNegative val="1"/>
            <c:bubble3D val="0"/>
            <c:spPr>
              <a:solidFill>
                <a:srgbClr val="7ECAC4"/>
              </a:solidFill>
            </c:spPr>
            <c:extLst>
              <c:ext xmlns:c16="http://schemas.microsoft.com/office/drawing/2014/chart" uri="{C3380CC4-5D6E-409C-BE32-E72D297353CC}">
                <c16:uniqueId val="{00000057-2993-41DE-A2CB-63102DE87051}"/>
              </c:ext>
            </c:extLst>
          </c:dPt>
          <c:dPt>
            <c:idx val="16"/>
            <c:invertIfNegative val="1"/>
            <c:bubble3D val="0"/>
            <c:spPr>
              <a:solidFill>
                <a:srgbClr val="7ECAC4"/>
              </a:solidFill>
            </c:spPr>
            <c:extLst>
              <c:ext xmlns:c16="http://schemas.microsoft.com/office/drawing/2014/chart" uri="{C3380CC4-5D6E-409C-BE32-E72D297353CC}">
                <c16:uniqueId val="{00000059-2993-41DE-A2CB-63102DE87051}"/>
              </c:ext>
            </c:extLst>
          </c:dPt>
          <c:dPt>
            <c:idx val="17"/>
            <c:invertIfNegative val="1"/>
            <c:bubble3D val="0"/>
            <c:spPr>
              <a:solidFill>
                <a:srgbClr val="7ECAC4"/>
              </a:solidFill>
            </c:spPr>
            <c:extLst>
              <c:ext xmlns:c16="http://schemas.microsoft.com/office/drawing/2014/chart" uri="{C3380CC4-5D6E-409C-BE32-E72D297353CC}">
                <c16:uniqueId val="{0000005B-2993-41DE-A2CB-63102DE87051}"/>
              </c:ext>
            </c:extLst>
          </c:dPt>
          <c:dPt>
            <c:idx val="18"/>
            <c:invertIfNegative val="1"/>
            <c:bubble3D val="0"/>
            <c:spPr>
              <a:solidFill>
                <a:srgbClr val="7ECAC4"/>
              </a:solidFill>
            </c:spPr>
            <c:extLst>
              <c:ext xmlns:c16="http://schemas.microsoft.com/office/drawing/2014/chart" uri="{C3380CC4-5D6E-409C-BE32-E72D297353CC}">
                <c16:uniqueId val="{0000005D-2993-41DE-A2CB-63102DE87051}"/>
              </c:ext>
            </c:extLst>
          </c:dPt>
          <c:dPt>
            <c:idx val="19"/>
            <c:invertIfNegative val="1"/>
            <c:bubble3D val="0"/>
            <c:spPr>
              <a:solidFill>
                <a:srgbClr val="AEABAB"/>
              </a:solidFill>
            </c:spPr>
            <c:extLst>
              <c:ext xmlns:c16="http://schemas.microsoft.com/office/drawing/2014/chart" uri="{C3380CC4-5D6E-409C-BE32-E72D297353CC}">
                <c16:uniqueId val="{0000005F-2993-41DE-A2CB-63102DE87051}"/>
              </c:ext>
            </c:extLst>
          </c:dPt>
          <c:dPt>
            <c:idx val="20"/>
            <c:invertIfNegative val="1"/>
            <c:bubble3D val="0"/>
            <c:spPr>
              <a:solidFill>
                <a:srgbClr val="AEABAB"/>
              </a:solidFill>
            </c:spPr>
            <c:extLst>
              <c:ext xmlns:c16="http://schemas.microsoft.com/office/drawing/2014/chart" uri="{C3380CC4-5D6E-409C-BE32-E72D297353CC}">
                <c16:uniqueId val="{00000061-2993-41DE-A2CB-63102DE87051}"/>
              </c:ext>
            </c:extLst>
          </c:dPt>
          <c:dPt>
            <c:idx val="21"/>
            <c:invertIfNegative val="1"/>
            <c:bubble3D val="0"/>
            <c:spPr>
              <a:solidFill>
                <a:srgbClr val="AEABAB"/>
              </a:solidFill>
            </c:spPr>
            <c:extLst>
              <c:ext xmlns:c16="http://schemas.microsoft.com/office/drawing/2014/chart" uri="{C3380CC4-5D6E-409C-BE32-E72D297353CC}">
                <c16:uniqueId val="{00000063-2993-41DE-A2CB-63102DE87051}"/>
              </c:ext>
            </c:extLst>
          </c:dPt>
          <c:dPt>
            <c:idx val="22"/>
            <c:invertIfNegative val="1"/>
            <c:bubble3D val="0"/>
            <c:spPr>
              <a:solidFill>
                <a:srgbClr val="AEABAB"/>
              </a:solidFill>
            </c:spPr>
            <c:extLst>
              <c:ext xmlns:c16="http://schemas.microsoft.com/office/drawing/2014/chart" uri="{C3380CC4-5D6E-409C-BE32-E72D297353CC}">
                <c16:uniqueId val="{00000065-2993-41DE-A2CB-63102DE87051}"/>
              </c:ext>
            </c:extLst>
          </c:dPt>
          <c:dPt>
            <c:idx val="23"/>
            <c:invertIfNegative val="1"/>
            <c:bubble3D val="0"/>
            <c:spPr>
              <a:solidFill>
                <a:srgbClr val="AEABAB"/>
              </a:solidFill>
            </c:spPr>
            <c:extLst>
              <c:ext xmlns:c16="http://schemas.microsoft.com/office/drawing/2014/chart" uri="{C3380CC4-5D6E-409C-BE32-E72D297353CC}">
                <c16:uniqueId val="{00000067-2993-41DE-A2CB-63102DE87051}"/>
              </c:ext>
            </c:extLst>
          </c:dPt>
          <c:dPt>
            <c:idx val="24"/>
            <c:invertIfNegative val="1"/>
            <c:bubble3D val="0"/>
            <c:spPr>
              <a:solidFill>
                <a:srgbClr val="AEABAB"/>
              </a:solidFill>
            </c:spPr>
            <c:extLst>
              <c:ext xmlns:c16="http://schemas.microsoft.com/office/drawing/2014/chart" uri="{C3380CC4-5D6E-409C-BE32-E72D297353CC}">
                <c16:uniqueId val="{00000069-2993-41DE-A2CB-63102DE87051}"/>
              </c:ext>
            </c:extLst>
          </c:dPt>
          <c:dPt>
            <c:idx val="25"/>
            <c:invertIfNegative val="1"/>
            <c:bubble3D val="0"/>
            <c:spPr>
              <a:solidFill>
                <a:srgbClr val="AEABAB"/>
              </a:solidFill>
            </c:spPr>
            <c:extLst>
              <c:ext xmlns:c16="http://schemas.microsoft.com/office/drawing/2014/chart" uri="{C3380CC4-5D6E-409C-BE32-E72D297353CC}">
                <c16:uniqueId val="{0000006B-2993-41DE-A2CB-63102DE87051}"/>
              </c:ext>
            </c:extLst>
          </c:dPt>
          <c:dPt>
            <c:idx val="26"/>
            <c:invertIfNegative val="1"/>
            <c:bubble3D val="0"/>
            <c:spPr>
              <a:solidFill>
                <a:srgbClr val="AEABAB"/>
              </a:solidFill>
            </c:spPr>
            <c:extLst>
              <c:ext xmlns:c16="http://schemas.microsoft.com/office/drawing/2014/chart" uri="{C3380CC4-5D6E-409C-BE32-E72D297353CC}">
                <c16:uniqueId val="{0000006D-2993-41DE-A2CB-63102DE87051}"/>
              </c:ext>
            </c:extLst>
          </c:dPt>
          <c:dPt>
            <c:idx val="27"/>
            <c:invertIfNegative val="1"/>
            <c:bubble3D val="0"/>
            <c:spPr>
              <a:solidFill>
                <a:srgbClr val="AEABAB"/>
              </a:solidFill>
            </c:spPr>
            <c:extLst>
              <c:ext xmlns:c16="http://schemas.microsoft.com/office/drawing/2014/chart" uri="{C3380CC4-5D6E-409C-BE32-E72D297353CC}">
                <c16:uniqueId val="{0000006F-2993-41DE-A2CB-63102DE87051}"/>
              </c:ext>
            </c:extLst>
          </c:dPt>
          <c:dPt>
            <c:idx val="28"/>
            <c:invertIfNegative val="1"/>
            <c:bubble3D val="0"/>
            <c:spPr>
              <a:solidFill>
                <a:srgbClr val="AEABAB"/>
              </a:solidFill>
            </c:spPr>
            <c:extLst>
              <c:ext xmlns:c16="http://schemas.microsoft.com/office/drawing/2014/chart" uri="{C3380CC4-5D6E-409C-BE32-E72D297353CC}">
                <c16:uniqueId val="{00000071-2993-41DE-A2CB-63102DE87051}"/>
              </c:ext>
            </c:extLst>
          </c:dPt>
          <c:dPt>
            <c:idx val="29"/>
            <c:invertIfNegative val="1"/>
            <c:bubble3D val="0"/>
            <c:spPr>
              <a:solidFill>
                <a:srgbClr val="AEABAB"/>
              </a:solidFill>
            </c:spPr>
            <c:extLst>
              <c:ext xmlns:c16="http://schemas.microsoft.com/office/drawing/2014/chart" uri="{C3380CC4-5D6E-409C-BE32-E72D297353CC}">
                <c16:uniqueId val="{00000073-2993-41DE-A2CB-63102DE87051}"/>
              </c:ext>
            </c:extLst>
          </c:dPt>
          <c:dPt>
            <c:idx val="30"/>
            <c:invertIfNegative val="1"/>
            <c:bubble3D val="0"/>
            <c:spPr>
              <a:solidFill>
                <a:srgbClr val="AEABAB"/>
              </a:solidFill>
            </c:spPr>
            <c:extLst>
              <c:ext xmlns:c16="http://schemas.microsoft.com/office/drawing/2014/chart" uri="{C3380CC4-5D6E-409C-BE32-E72D297353CC}">
                <c16:uniqueId val="{00000075-2993-41DE-A2CB-63102DE87051}"/>
              </c:ext>
            </c:extLst>
          </c:dPt>
          <c:dPt>
            <c:idx val="31"/>
            <c:invertIfNegative val="1"/>
            <c:bubble3D val="0"/>
            <c:spPr>
              <a:solidFill>
                <a:srgbClr val="AEABAB"/>
              </a:solidFill>
            </c:spPr>
            <c:extLst>
              <c:ext xmlns:c16="http://schemas.microsoft.com/office/drawing/2014/chart" uri="{C3380CC4-5D6E-409C-BE32-E72D297353CC}">
                <c16:uniqueId val="{00000077-2993-41DE-A2CB-63102DE87051}"/>
              </c:ext>
            </c:extLst>
          </c:dPt>
          <c:dPt>
            <c:idx val="32"/>
            <c:invertIfNegative val="1"/>
            <c:bubble3D val="0"/>
            <c:spPr>
              <a:solidFill>
                <a:srgbClr val="AEABAB"/>
              </a:solidFill>
            </c:spPr>
            <c:extLst>
              <c:ext xmlns:c16="http://schemas.microsoft.com/office/drawing/2014/chart" uri="{C3380CC4-5D6E-409C-BE32-E72D297353CC}">
                <c16:uniqueId val="{00000079-2993-41DE-A2CB-63102DE87051}"/>
              </c:ext>
            </c:extLst>
          </c:dPt>
          <c:dPt>
            <c:idx val="33"/>
            <c:invertIfNegative val="1"/>
            <c:bubble3D val="0"/>
            <c:spPr>
              <a:solidFill>
                <a:srgbClr val="AEABAB"/>
              </a:solidFill>
            </c:spPr>
            <c:extLst>
              <c:ext xmlns:c16="http://schemas.microsoft.com/office/drawing/2014/chart" uri="{C3380CC4-5D6E-409C-BE32-E72D297353CC}">
                <c16:uniqueId val="{0000007B-2993-41DE-A2CB-63102DE87051}"/>
              </c:ext>
            </c:extLst>
          </c:dPt>
          <c:dPt>
            <c:idx val="34"/>
            <c:invertIfNegative val="1"/>
            <c:bubble3D val="0"/>
            <c:spPr>
              <a:solidFill>
                <a:srgbClr val="AEABAB"/>
              </a:solidFill>
            </c:spPr>
            <c:extLst>
              <c:ext xmlns:c16="http://schemas.microsoft.com/office/drawing/2014/chart" uri="{C3380CC4-5D6E-409C-BE32-E72D297353CC}">
                <c16:uniqueId val="{0000007D-2993-41DE-A2CB-63102DE87051}"/>
              </c:ext>
            </c:extLst>
          </c:dPt>
          <c:dPt>
            <c:idx val="35"/>
            <c:invertIfNegative val="1"/>
            <c:bubble3D val="0"/>
            <c:spPr>
              <a:solidFill>
                <a:srgbClr val="AEABAB"/>
              </a:solidFill>
            </c:spPr>
            <c:extLst>
              <c:ext xmlns:c16="http://schemas.microsoft.com/office/drawing/2014/chart" uri="{C3380CC4-5D6E-409C-BE32-E72D297353CC}">
                <c16:uniqueId val="{0000007F-2993-41DE-A2CB-63102DE87051}"/>
              </c:ext>
            </c:extLst>
          </c:dPt>
          <c:dPt>
            <c:idx val="36"/>
            <c:invertIfNegative val="1"/>
            <c:bubble3D val="0"/>
            <c:spPr>
              <a:solidFill>
                <a:srgbClr val="AEABAB"/>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38</c:f>
              <c:strCache>
                <c:ptCount val="37"/>
                <c:pt idx="0">
                  <c:v>Ruinart</c:v>
                </c:pt>
                <c:pt idx="1">
                  <c:v>Ruinart</c:v>
                </c:pt>
                <c:pt idx="2">
                  <c:v>Ruinart</c:v>
                </c:pt>
                <c:pt idx="3">
                  <c:v>Malard</c:v>
                </c:pt>
                <c:pt idx="4">
                  <c:v>Nicolas</c:v>
                </c:pt>
                <c:pt idx="5">
                  <c:v>Besserat De</c:v>
                </c:pt>
                <c:pt idx="6">
                  <c:v>Ruinart</c:v>
                </c:pt>
                <c:pt idx="7">
                  <c:v>De Bligny</c:v>
                </c:pt>
                <c:pt idx="8">
                  <c:v>Ayala</c:v>
                </c:pt>
                <c:pt idx="9">
                  <c:v>Delamotte</c:v>
                </c:pt>
                <c:pt idx="10">
                  <c:v>Henriot</c:v>
                </c:pt>
                <c:pt idx="11">
                  <c:v>De Venoge</c:v>
                </c:pt>
                <c:pt idx="12">
                  <c:v>Perrier Jou</c:v>
                </c:pt>
                <c:pt idx="13">
                  <c:v>Henriot</c:v>
                </c:pt>
                <c:pt idx="14">
                  <c:v>Nicolas</c:v>
                </c:pt>
                <c:pt idx="15">
                  <c:v>Deutz</c:v>
                </c:pt>
                <c:pt idx="16">
                  <c:v>Deutz</c:v>
                </c:pt>
                <c:pt idx="17">
                  <c:v>Laurent Per</c:v>
                </c:pt>
                <c:pt idx="18">
                  <c:v>Lanson</c:v>
                </c:pt>
                <c:pt idx="19">
                  <c:v>Ruinart</c:v>
                </c:pt>
                <c:pt idx="20">
                  <c:v>Nicolas</c:v>
                </c:pt>
                <c:pt idx="21">
                  <c:v>Delamotte</c:v>
                </c:pt>
                <c:pt idx="22">
                  <c:v>Ayala</c:v>
                </c:pt>
                <c:pt idx="23">
                  <c:v>Taittinger</c:v>
                </c:pt>
                <c:pt idx="24">
                  <c:v>Besserat De</c:v>
                </c:pt>
                <c:pt idx="25">
                  <c:v>Nicolas</c:v>
                </c:pt>
                <c:pt idx="26">
                  <c:v>Taittinger</c:v>
                </c:pt>
                <c:pt idx="27">
                  <c:v>Vesselle</c:v>
                </c:pt>
                <c:pt idx="28">
                  <c:v>All Others</c:v>
                </c:pt>
                <c:pt idx="29">
                  <c:v>Ruinart</c:v>
                </c:pt>
                <c:pt idx="30">
                  <c:v>All Others</c:v>
                </c:pt>
                <c:pt idx="31">
                  <c:v>Taittinger</c:v>
                </c:pt>
                <c:pt idx="32">
                  <c:v>Nicolas</c:v>
                </c:pt>
                <c:pt idx="33">
                  <c:v>All Others</c:v>
                </c:pt>
                <c:pt idx="34">
                  <c:v>Delamotte</c:v>
                </c:pt>
                <c:pt idx="35">
                  <c:v>Pommery</c:v>
                </c:pt>
                <c:pt idx="36">
                  <c:v>Besserat De</c:v>
                </c:pt>
              </c:strCache>
            </c:strRef>
          </c:cat>
          <c:val>
            <c:numRef>
              <c:f>Sheet1!$C$2:$C$38</c:f>
              <c:numCache>
                <c:formatCode>General</c:formatCode>
                <c:ptCount val="37"/>
                <c:pt idx="0">
                  <c:v>0.33025414666332964</c:v>
                </c:pt>
                <c:pt idx="1">
                  <c:v>0.52446133193783995</c:v>
                </c:pt>
                <c:pt idx="2">
                  <c:v>0.61133307547041027</c:v>
                </c:pt>
                <c:pt idx="3">
                  <c:v>0.6798616641259585</c:v>
                </c:pt>
                <c:pt idx="4">
                  <c:v>0.71794270892584933</c:v>
                </c:pt>
                <c:pt idx="5">
                  <c:v>0.75338445086573691</c:v>
                </c:pt>
                <c:pt idx="6">
                  <c:v>0.78351800869149746</c:v>
                </c:pt>
                <c:pt idx="7">
                  <c:v>0.80905781438420066</c:v>
                </c:pt>
                <c:pt idx="8">
                  <c:v>0.83077745671315795</c:v>
                </c:pt>
                <c:pt idx="9">
                  <c:v>0.84882255238788662</c:v>
                </c:pt>
                <c:pt idx="10">
                  <c:v>0.86520898273076852</c:v>
                </c:pt>
                <c:pt idx="11">
                  <c:v>0.87802552842938741</c:v>
                </c:pt>
                <c:pt idx="12">
                  <c:v>0.89072603581260967</c:v>
                </c:pt>
                <c:pt idx="13">
                  <c:v>0.90305795089986596</c:v>
                </c:pt>
                <c:pt idx="14">
                  <c:v>0.91420445496120695</c:v>
                </c:pt>
                <c:pt idx="15">
                  <c:v>0.92284362130554498</c:v>
                </c:pt>
                <c:pt idx="16">
                  <c:v>0.93105731382676182</c:v>
                </c:pt>
                <c:pt idx="17">
                  <c:v>0.9387636231257539</c:v>
                </c:pt>
                <c:pt idx="18">
                  <c:v>0.94611271643421102</c:v>
                </c:pt>
                <c:pt idx="19">
                  <c:v>0.95312962162408155</c:v>
                </c:pt>
                <c:pt idx="20">
                  <c:v>0.9601146731587451</c:v>
                </c:pt>
                <c:pt idx="21">
                  <c:v>0.96535914996245831</c:v>
                </c:pt>
                <c:pt idx="22">
                  <c:v>0.97059225046074049</c:v>
                </c:pt>
                <c:pt idx="23">
                  <c:v>0.97532251825897032</c:v>
                </c:pt>
                <c:pt idx="24">
                  <c:v>0.98003685922959671</c:v>
                </c:pt>
                <c:pt idx="25">
                  <c:v>0.98462833610156775</c:v>
                </c:pt>
                <c:pt idx="26">
                  <c:v>0.98797296989829597</c:v>
                </c:pt>
                <c:pt idx="27">
                  <c:v>0.99063730063024746</c:v>
                </c:pt>
                <c:pt idx="28">
                  <c:v>0.9931332620418194</c:v>
                </c:pt>
                <c:pt idx="29">
                  <c:v>0.99539942208368415</c:v>
                </c:pt>
                <c:pt idx="30">
                  <c:v>0.99707628950422067</c:v>
                </c:pt>
                <c:pt idx="31">
                  <c:v>0.99865304543696398</c:v>
                </c:pt>
                <c:pt idx="32">
                  <c:v>0.99953584673841334</c:v>
                </c:pt>
                <c:pt idx="33">
                  <c:v>0.99972924393074114</c:v>
                </c:pt>
                <c:pt idx="34">
                  <c:v>0.99983163067962055</c:v>
                </c:pt>
                <c:pt idx="35">
                  <c:v>0.99992036586198274</c:v>
                </c:pt>
                <c:pt idx="36">
                  <c:v>1</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34</c:f>
              <c:strCache>
                <c:ptCount val="33"/>
                <c:pt idx="0">
                  <c:v>Ruinart</c:v>
                </c:pt>
                <c:pt idx="1">
                  <c:v>Ruinart</c:v>
                </c:pt>
                <c:pt idx="2">
                  <c:v>Malard</c:v>
                </c:pt>
                <c:pt idx="3">
                  <c:v>Besserat De</c:v>
                </c:pt>
                <c:pt idx="4">
                  <c:v>Ruinart</c:v>
                </c:pt>
                <c:pt idx="5">
                  <c:v>Nicolas</c:v>
                </c:pt>
                <c:pt idx="6">
                  <c:v>Delamotte</c:v>
                </c:pt>
                <c:pt idx="7">
                  <c:v>De Bligny</c:v>
                </c:pt>
                <c:pt idx="8">
                  <c:v>Ayala</c:v>
                </c:pt>
                <c:pt idx="9">
                  <c:v>Ruinart</c:v>
                </c:pt>
                <c:pt idx="10">
                  <c:v>Henriot</c:v>
                </c:pt>
                <c:pt idx="11">
                  <c:v>Henriot</c:v>
                </c:pt>
                <c:pt idx="12">
                  <c:v>De Venoge</c:v>
                </c:pt>
                <c:pt idx="13">
                  <c:v>Perrier Jou</c:v>
                </c:pt>
                <c:pt idx="14">
                  <c:v>Deutz</c:v>
                </c:pt>
                <c:pt idx="15">
                  <c:v>Nicolas</c:v>
                </c:pt>
                <c:pt idx="16">
                  <c:v>Deutz</c:v>
                </c:pt>
                <c:pt idx="17">
                  <c:v>Nicolas</c:v>
                </c:pt>
                <c:pt idx="18">
                  <c:v>Taittinger</c:v>
                </c:pt>
                <c:pt idx="19">
                  <c:v>Ayala</c:v>
                </c:pt>
                <c:pt idx="20">
                  <c:v>Nicolas</c:v>
                </c:pt>
                <c:pt idx="21">
                  <c:v>Laurent Per</c:v>
                </c:pt>
                <c:pt idx="22">
                  <c:v>Lanson</c:v>
                </c:pt>
                <c:pt idx="23">
                  <c:v>Vesselle</c:v>
                </c:pt>
                <c:pt idx="24">
                  <c:v>Besserat De</c:v>
                </c:pt>
                <c:pt idx="25">
                  <c:v>Ruinart</c:v>
                </c:pt>
                <c:pt idx="26">
                  <c:v>Delamotte</c:v>
                </c:pt>
                <c:pt idx="27">
                  <c:v>Taittinger</c:v>
                </c:pt>
                <c:pt idx="28">
                  <c:v>All Others</c:v>
                </c:pt>
                <c:pt idx="29">
                  <c:v>Ruinart</c:v>
                </c:pt>
                <c:pt idx="30">
                  <c:v>Ruinart</c:v>
                </c:pt>
                <c:pt idx="31">
                  <c:v>Ayala</c:v>
                </c:pt>
                <c:pt idx="32">
                  <c:v>Nicolas</c:v>
                </c:pt>
              </c:strCache>
            </c:strRef>
          </c:cat>
          <c:val>
            <c:numRef>
              <c:f>Sheet1!$B$2:$B$34</c:f>
              <c:numCache>
                <c:formatCode>General</c:formatCode>
                <c:ptCount val="33"/>
                <c:pt idx="0">
                  <c:v>0.84</c:v>
                </c:pt>
                <c:pt idx="1">
                  <c:v>0.76</c:v>
                </c:pt>
                <c:pt idx="2">
                  <c:v>0.84</c:v>
                </c:pt>
                <c:pt idx="3">
                  <c:v>0.52</c:v>
                </c:pt>
                <c:pt idx="4">
                  <c:v>0.67</c:v>
                </c:pt>
                <c:pt idx="5">
                  <c:v>0.56000000000000005</c:v>
                </c:pt>
                <c:pt idx="6">
                  <c:v>0.51</c:v>
                </c:pt>
                <c:pt idx="7">
                  <c:v>0.67</c:v>
                </c:pt>
                <c:pt idx="8">
                  <c:v>0.43</c:v>
                </c:pt>
                <c:pt idx="9">
                  <c:v>0.39</c:v>
                </c:pt>
                <c:pt idx="10">
                  <c:v>0.43</c:v>
                </c:pt>
                <c:pt idx="11">
                  <c:v>0.47</c:v>
                </c:pt>
                <c:pt idx="12">
                  <c:v>0.48</c:v>
                </c:pt>
                <c:pt idx="13">
                  <c:v>0.4</c:v>
                </c:pt>
                <c:pt idx="14">
                  <c:v>0.13</c:v>
                </c:pt>
                <c:pt idx="15">
                  <c:v>0.16</c:v>
                </c:pt>
                <c:pt idx="16">
                  <c:v>0.23</c:v>
                </c:pt>
                <c:pt idx="17">
                  <c:v>0.32</c:v>
                </c:pt>
                <c:pt idx="18">
                  <c:v>0.27</c:v>
                </c:pt>
                <c:pt idx="19">
                  <c:v>0.31</c:v>
                </c:pt>
                <c:pt idx="20">
                  <c:v>0.18</c:v>
                </c:pt>
                <c:pt idx="21">
                  <c:v>0.14000000000000001</c:v>
                </c:pt>
                <c:pt idx="22">
                  <c:v>0.25</c:v>
                </c:pt>
                <c:pt idx="23">
                  <c:v>0.19</c:v>
                </c:pt>
                <c:pt idx="24">
                  <c:v>0.3</c:v>
                </c:pt>
                <c:pt idx="25">
                  <c:v>0.06</c:v>
                </c:pt>
                <c:pt idx="26">
                  <c:v>0.52</c:v>
                </c:pt>
                <c:pt idx="27">
                  <c:v>0.1</c:v>
                </c:pt>
                <c:pt idx="28">
                  <c:v>0.1</c:v>
                </c:pt>
                <c:pt idx="29">
                  <c:v>0.05</c:v>
                </c:pt>
                <c:pt idx="30">
                  <c:v>0.09</c:v>
                </c:pt>
                <c:pt idx="31">
                  <c:v>0.22</c:v>
                </c:pt>
                <c:pt idx="32">
                  <c:v>0.03</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7ECAC4"/>
              </a:solidFill>
            </c:spPr>
            <c:extLst>
              <c:ext xmlns:c16="http://schemas.microsoft.com/office/drawing/2014/chart" uri="{C3380CC4-5D6E-409C-BE32-E72D297353CC}">
                <c16:uniqueId val="{0000004B-2993-41DE-A2CB-63102DE87051}"/>
              </c:ext>
            </c:extLst>
          </c:dPt>
          <c:dPt>
            <c:idx val="10"/>
            <c:invertIfNegative val="1"/>
            <c:bubble3D val="0"/>
            <c:spPr>
              <a:solidFill>
                <a:srgbClr val="7ECAC4"/>
              </a:solidFill>
            </c:spPr>
            <c:extLst>
              <c:ext xmlns:c16="http://schemas.microsoft.com/office/drawing/2014/chart" uri="{C3380CC4-5D6E-409C-BE32-E72D297353CC}">
                <c16:uniqueId val="{0000004D-2993-41DE-A2CB-63102DE87051}"/>
              </c:ext>
            </c:extLst>
          </c:dPt>
          <c:dPt>
            <c:idx val="11"/>
            <c:invertIfNegative val="1"/>
            <c:bubble3D val="0"/>
            <c:spPr>
              <a:solidFill>
                <a:srgbClr val="7ECAC4"/>
              </a:solidFill>
            </c:spPr>
            <c:extLst>
              <c:ext xmlns:c16="http://schemas.microsoft.com/office/drawing/2014/chart" uri="{C3380CC4-5D6E-409C-BE32-E72D297353CC}">
                <c16:uniqueId val="{0000004F-2993-41DE-A2CB-63102DE87051}"/>
              </c:ext>
            </c:extLst>
          </c:dPt>
          <c:dPt>
            <c:idx val="12"/>
            <c:invertIfNegative val="1"/>
            <c:bubble3D val="0"/>
            <c:spPr>
              <a:solidFill>
                <a:srgbClr val="7ECAC4"/>
              </a:solidFill>
            </c:spPr>
            <c:extLst>
              <c:ext xmlns:c16="http://schemas.microsoft.com/office/drawing/2014/chart" uri="{C3380CC4-5D6E-409C-BE32-E72D297353CC}">
                <c16:uniqueId val="{00000051-2993-41DE-A2CB-63102DE87051}"/>
              </c:ext>
            </c:extLst>
          </c:dPt>
          <c:dPt>
            <c:idx val="13"/>
            <c:invertIfNegative val="1"/>
            <c:bubble3D val="0"/>
            <c:spPr>
              <a:solidFill>
                <a:srgbClr val="7ECAC4"/>
              </a:solidFill>
            </c:spPr>
            <c:extLst>
              <c:ext xmlns:c16="http://schemas.microsoft.com/office/drawing/2014/chart" uri="{C3380CC4-5D6E-409C-BE32-E72D297353CC}">
                <c16:uniqueId val="{00000053-2993-41DE-A2CB-63102DE87051}"/>
              </c:ext>
            </c:extLst>
          </c:dPt>
          <c:dPt>
            <c:idx val="14"/>
            <c:invertIfNegative val="1"/>
            <c:bubble3D val="0"/>
            <c:spPr>
              <a:solidFill>
                <a:srgbClr val="7ECAC4"/>
              </a:solidFill>
            </c:spPr>
            <c:extLst>
              <c:ext xmlns:c16="http://schemas.microsoft.com/office/drawing/2014/chart" uri="{C3380CC4-5D6E-409C-BE32-E72D297353CC}">
                <c16:uniqueId val="{00000055-2993-41DE-A2CB-63102DE87051}"/>
              </c:ext>
            </c:extLst>
          </c:dPt>
          <c:dPt>
            <c:idx val="15"/>
            <c:invertIfNegative val="1"/>
            <c:bubble3D val="0"/>
            <c:spPr>
              <a:solidFill>
                <a:srgbClr val="7ECAC4"/>
              </a:solidFill>
            </c:spPr>
            <c:extLst>
              <c:ext xmlns:c16="http://schemas.microsoft.com/office/drawing/2014/chart" uri="{C3380CC4-5D6E-409C-BE32-E72D297353CC}">
                <c16:uniqueId val="{00000057-2993-41DE-A2CB-63102DE87051}"/>
              </c:ext>
            </c:extLst>
          </c:dPt>
          <c:dPt>
            <c:idx val="16"/>
            <c:invertIfNegative val="1"/>
            <c:bubble3D val="0"/>
            <c:spPr>
              <a:solidFill>
                <a:srgbClr val="AEABAB"/>
              </a:solidFill>
            </c:spPr>
            <c:extLst>
              <c:ext xmlns:c16="http://schemas.microsoft.com/office/drawing/2014/chart" uri="{C3380CC4-5D6E-409C-BE32-E72D297353CC}">
                <c16:uniqueId val="{00000059-2993-41DE-A2CB-63102DE87051}"/>
              </c:ext>
            </c:extLst>
          </c:dPt>
          <c:dPt>
            <c:idx val="17"/>
            <c:invertIfNegative val="1"/>
            <c:bubble3D val="0"/>
            <c:spPr>
              <a:solidFill>
                <a:srgbClr val="AEABAB"/>
              </a:solidFill>
            </c:spPr>
            <c:extLst>
              <c:ext xmlns:c16="http://schemas.microsoft.com/office/drawing/2014/chart" uri="{C3380CC4-5D6E-409C-BE32-E72D297353CC}">
                <c16:uniqueId val="{0000005B-2993-41DE-A2CB-63102DE87051}"/>
              </c:ext>
            </c:extLst>
          </c:dPt>
          <c:dPt>
            <c:idx val="18"/>
            <c:invertIfNegative val="1"/>
            <c:bubble3D val="0"/>
            <c:spPr>
              <a:solidFill>
                <a:srgbClr val="AEABAB"/>
              </a:solidFill>
            </c:spPr>
            <c:extLst>
              <c:ext xmlns:c16="http://schemas.microsoft.com/office/drawing/2014/chart" uri="{C3380CC4-5D6E-409C-BE32-E72D297353CC}">
                <c16:uniqueId val="{0000005D-2993-41DE-A2CB-63102DE87051}"/>
              </c:ext>
            </c:extLst>
          </c:dPt>
          <c:dPt>
            <c:idx val="19"/>
            <c:invertIfNegative val="1"/>
            <c:bubble3D val="0"/>
            <c:spPr>
              <a:solidFill>
                <a:srgbClr val="AEABAB"/>
              </a:solidFill>
            </c:spPr>
            <c:extLst>
              <c:ext xmlns:c16="http://schemas.microsoft.com/office/drawing/2014/chart" uri="{C3380CC4-5D6E-409C-BE32-E72D297353CC}">
                <c16:uniqueId val="{0000005F-2993-41DE-A2CB-63102DE87051}"/>
              </c:ext>
            </c:extLst>
          </c:dPt>
          <c:dPt>
            <c:idx val="20"/>
            <c:invertIfNegative val="1"/>
            <c:bubble3D val="0"/>
            <c:spPr>
              <a:solidFill>
                <a:srgbClr val="AEABAB"/>
              </a:solidFill>
            </c:spPr>
            <c:extLst>
              <c:ext xmlns:c16="http://schemas.microsoft.com/office/drawing/2014/chart" uri="{C3380CC4-5D6E-409C-BE32-E72D297353CC}">
                <c16:uniqueId val="{00000061-2993-41DE-A2CB-63102DE87051}"/>
              </c:ext>
            </c:extLst>
          </c:dPt>
          <c:dPt>
            <c:idx val="21"/>
            <c:invertIfNegative val="1"/>
            <c:bubble3D val="0"/>
            <c:spPr>
              <a:solidFill>
                <a:srgbClr val="AEABAB"/>
              </a:solidFill>
            </c:spPr>
            <c:extLst>
              <c:ext xmlns:c16="http://schemas.microsoft.com/office/drawing/2014/chart" uri="{C3380CC4-5D6E-409C-BE32-E72D297353CC}">
                <c16:uniqueId val="{00000063-2993-41DE-A2CB-63102DE87051}"/>
              </c:ext>
            </c:extLst>
          </c:dPt>
          <c:dPt>
            <c:idx val="22"/>
            <c:invertIfNegative val="1"/>
            <c:bubble3D val="0"/>
            <c:spPr>
              <a:solidFill>
                <a:srgbClr val="AEABAB"/>
              </a:solidFill>
            </c:spPr>
            <c:extLst>
              <c:ext xmlns:c16="http://schemas.microsoft.com/office/drawing/2014/chart" uri="{C3380CC4-5D6E-409C-BE32-E72D297353CC}">
                <c16:uniqueId val="{00000065-2993-41DE-A2CB-63102DE87051}"/>
              </c:ext>
            </c:extLst>
          </c:dPt>
          <c:dPt>
            <c:idx val="23"/>
            <c:invertIfNegative val="1"/>
            <c:bubble3D val="0"/>
            <c:spPr>
              <a:solidFill>
                <a:srgbClr val="AEABAB"/>
              </a:solidFill>
            </c:spPr>
            <c:extLst>
              <c:ext xmlns:c16="http://schemas.microsoft.com/office/drawing/2014/chart" uri="{C3380CC4-5D6E-409C-BE32-E72D297353CC}">
                <c16:uniqueId val="{00000067-2993-41DE-A2CB-63102DE87051}"/>
              </c:ext>
            </c:extLst>
          </c:dPt>
          <c:dPt>
            <c:idx val="24"/>
            <c:invertIfNegative val="1"/>
            <c:bubble3D val="0"/>
            <c:spPr>
              <a:solidFill>
                <a:srgbClr val="AEABAB"/>
              </a:solidFill>
            </c:spPr>
            <c:extLst>
              <c:ext xmlns:c16="http://schemas.microsoft.com/office/drawing/2014/chart" uri="{C3380CC4-5D6E-409C-BE32-E72D297353CC}">
                <c16:uniqueId val="{00000069-2993-41DE-A2CB-63102DE87051}"/>
              </c:ext>
            </c:extLst>
          </c:dPt>
          <c:dPt>
            <c:idx val="25"/>
            <c:invertIfNegative val="1"/>
            <c:bubble3D val="0"/>
            <c:spPr>
              <a:solidFill>
                <a:srgbClr val="AEABAB"/>
              </a:solidFill>
            </c:spPr>
            <c:extLst>
              <c:ext xmlns:c16="http://schemas.microsoft.com/office/drawing/2014/chart" uri="{C3380CC4-5D6E-409C-BE32-E72D297353CC}">
                <c16:uniqueId val="{0000006B-2993-41DE-A2CB-63102DE87051}"/>
              </c:ext>
            </c:extLst>
          </c:dPt>
          <c:dPt>
            <c:idx val="26"/>
            <c:invertIfNegative val="1"/>
            <c:bubble3D val="0"/>
            <c:spPr>
              <a:solidFill>
                <a:srgbClr val="AEABAB"/>
              </a:solidFill>
            </c:spPr>
            <c:extLst>
              <c:ext xmlns:c16="http://schemas.microsoft.com/office/drawing/2014/chart" uri="{C3380CC4-5D6E-409C-BE32-E72D297353CC}">
                <c16:uniqueId val="{0000006D-2993-41DE-A2CB-63102DE87051}"/>
              </c:ext>
            </c:extLst>
          </c:dPt>
          <c:dPt>
            <c:idx val="27"/>
            <c:invertIfNegative val="1"/>
            <c:bubble3D val="0"/>
            <c:spPr>
              <a:solidFill>
                <a:srgbClr val="AEABAB"/>
              </a:solidFill>
            </c:spPr>
            <c:extLst>
              <c:ext xmlns:c16="http://schemas.microsoft.com/office/drawing/2014/chart" uri="{C3380CC4-5D6E-409C-BE32-E72D297353CC}">
                <c16:uniqueId val="{0000006F-2993-41DE-A2CB-63102DE87051}"/>
              </c:ext>
            </c:extLst>
          </c:dPt>
          <c:dPt>
            <c:idx val="28"/>
            <c:invertIfNegative val="1"/>
            <c:bubble3D val="0"/>
            <c:spPr>
              <a:solidFill>
                <a:srgbClr val="AEABAB"/>
              </a:solidFill>
            </c:spPr>
            <c:extLst>
              <c:ext xmlns:c16="http://schemas.microsoft.com/office/drawing/2014/chart" uri="{C3380CC4-5D6E-409C-BE32-E72D297353CC}">
                <c16:uniqueId val="{00000071-2993-41DE-A2CB-63102DE87051}"/>
              </c:ext>
            </c:extLst>
          </c:dPt>
          <c:dPt>
            <c:idx val="29"/>
            <c:invertIfNegative val="1"/>
            <c:bubble3D val="0"/>
            <c:spPr>
              <a:solidFill>
                <a:srgbClr val="AEABAB"/>
              </a:solidFill>
            </c:spPr>
            <c:extLst>
              <c:ext xmlns:c16="http://schemas.microsoft.com/office/drawing/2014/chart" uri="{C3380CC4-5D6E-409C-BE32-E72D297353CC}">
                <c16:uniqueId val="{00000073-2993-41DE-A2CB-63102DE87051}"/>
              </c:ext>
            </c:extLst>
          </c:dPt>
          <c:dPt>
            <c:idx val="30"/>
            <c:invertIfNegative val="1"/>
            <c:bubble3D val="0"/>
            <c:spPr>
              <a:solidFill>
                <a:srgbClr val="AEABAB"/>
              </a:solidFill>
            </c:spPr>
            <c:extLst>
              <c:ext xmlns:c16="http://schemas.microsoft.com/office/drawing/2014/chart" uri="{C3380CC4-5D6E-409C-BE32-E72D297353CC}">
                <c16:uniqueId val="{00000075-2993-41DE-A2CB-63102DE87051}"/>
              </c:ext>
            </c:extLst>
          </c:dPt>
          <c:dPt>
            <c:idx val="31"/>
            <c:invertIfNegative val="1"/>
            <c:bubble3D val="0"/>
            <c:spPr>
              <a:solidFill>
                <a:srgbClr val="AEABAB"/>
              </a:solidFill>
            </c:spPr>
            <c:extLst>
              <c:ext xmlns:c16="http://schemas.microsoft.com/office/drawing/2014/chart" uri="{C3380CC4-5D6E-409C-BE32-E72D297353CC}">
                <c16:uniqueId val="{00000077-2993-41DE-A2CB-63102DE87051}"/>
              </c:ext>
            </c:extLst>
          </c:dPt>
          <c:dPt>
            <c:idx val="32"/>
            <c:invertIfNegative val="1"/>
            <c:bubble3D val="0"/>
            <c:spPr>
              <a:solidFill>
                <a:srgbClr val="AEABAB"/>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34</c:f>
              <c:strCache>
                <c:ptCount val="33"/>
                <c:pt idx="0">
                  <c:v>Ruinart</c:v>
                </c:pt>
                <c:pt idx="1">
                  <c:v>Ruinart</c:v>
                </c:pt>
                <c:pt idx="2">
                  <c:v>Malard</c:v>
                </c:pt>
                <c:pt idx="3">
                  <c:v>Besserat De</c:v>
                </c:pt>
                <c:pt idx="4">
                  <c:v>Ruinart</c:v>
                </c:pt>
                <c:pt idx="5">
                  <c:v>Nicolas</c:v>
                </c:pt>
                <c:pt idx="6">
                  <c:v>Delamotte</c:v>
                </c:pt>
                <c:pt idx="7">
                  <c:v>De Bligny</c:v>
                </c:pt>
                <c:pt idx="8">
                  <c:v>Ayala</c:v>
                </c:pt>
                <c:pt idx="9">
                  <c:v>Ruinart</c:v>
                </c:pt>
                <c:pt idx="10">
                  <c:v>Henriot</c:v>
                </c:pt>
                <c:pt idx="11">
                  <c:v>Henriot</c:v>
                </c:pt>
                <c:pt idx="12">
                  <c:v>De Venoge</c:v>
                </c:pt>
                <c:pt idx="13">
                  <c:v>Perrier Jou</c:v>
                </c:pt>
                <c:pt idx="14">
                  <c:v>Deutz</c:v>
                </c:pt>
                <c:pt idx="15">
                  <c:v>Nicolas</c:v>
                </c:pt>
                <c:pt idx="16">
                  <c:v>Deutz</c:v>
                </c:pt>
                <c:pt idx="17">
                  <c:v>Nicolas</c:v>
                </c:pt>
                <c:pt idx="18">
                  <c:v>Taittinger</c:v>
                </c:pt>
                <c:pt idx="19">
                  <c:v>Ayala</c:v>
                </c:pt>
                <c:pt idx="20">
                  <c:v>Nicolas</c:v>
                </c:pt>
                <c:pt idx="21">
                  <c:v>Laurent Per</c:v>
                </c:pt>
                <c:pt idx="22">
                  <c:v>Lanson</c:v>
                </c:pt>
                <c:pt idx="23">
                  <c:v>Vesselle</c:v>
                </c:pt>
                <c:pt idx="24">
                  <c:v>Besserat De</c:v>
                </c:pt>
                <c:pt idx="25">
                  <c:v>Ruinart</c:v>
                </c:pt>
                <c:pt idx="26">
                  <c:v>Delamotte</c:v>
                </c:pt>
                <c:pt idx="27">
                  <c:v>Taittinger</c:v>
                </c:pt>
                <c:pt idx="28">
                  <c:v>All Others</c:v>
                </c:pt>
                <c:pt idx="29">
                  <c:v>Ruinart</c:v>
                </c:pt>
                <c:pt idx="30">
                  <c:v>Ruinart</c:v>
                </c:pt>
                <c:pt idx="31">
                  <c:v>Ayala</c:v>
                </c:pt>
                <c:pt idx="32">
                  <c:v>Nicolas</c:v>
                </c:pt>
              </c:strCache>
            </c:strRef>
          </c:cat>
          <c:val>
            <c:numRef>
              <c:f>Sheet1!$C$2:$C$34</c:f>
              <c:numCache>
                <c:formatCode>General</c:formatCode>
                <c:ptCount val="33"/>
                <c:pt idx="0">
                  <c:v>0.34625979865907758</c:v>
                </c:pt>
                <c:pt idx="1">
                  <c:v>0.48544633271891269</c:v>
                </c:pt>
                <c:pt idx="2">
                  <c:v>0.55495857724482978</c:v>
                </c:pt>
                <c:pt idx="3">
                  <c:v>0.62212116915473281</c:v>
                </c:pt>
                <c:pt idx="4">
                  <c:v>0.68068524782758422</c:v>
                </c:pt>
                <c:pt idx="5">
                  <c:v>0.72540460612935254</c:v>
                </c:pt>
                <c:pt idx="6">
                  <c:v>0.7642447689845856</c:v>
                </c:pt>
                <c:pt idx="7">
                  <c:v>0.79448135469626702</c:v>
                </c:pt>
                <c:pt idx="8">
                  <c:v>0.82458627883894764</c:v>
                </c:pt>
                <c:pt idx="9">
                  <c:v>0.8518402236221112</c:v>
                </c:pt>
                <c:pt idx="10">
                  <c:v>0.87649638437075916</c:v>
                </c:pt>
                <c:pt idx="11">
                  <c:v>0.8964836233263791</c:v>
                </c:pt>
                <c:pt idx="12">
                  <c:v>0.91358949948348178</c:v>
                </c:pt>
                <c:pt idx="13">
                  <c:v>0.92888756102007353</c:v>
                </c:pt>
                <c:pt idx="14">
                  <c:v>0.93757216066762561</c:v>
                </c:pt>
                <c:pt idx="15">
                  <c:v>0.94497052806417003</c:v>
                </c:pt>
                <c:pt idx="16">
                  <c:v>0.95170045980271045</c:v>
                </c:pt>
                <c:pt idx="17">
                  <c:v>0.95812149324474893</c:v>
                </c:pt>
                <c:pt idx="18">
                  <c:v>0.963970305252284</c:v>
                </c:pt>
                <c:pt idx="19">
                  <c:v>0.96877088861431282</c:v>
                </c:pt>
                <c:pt idx="20">
                  <c:v>0.97298912272883809</c:v>
                </c:pt>
                <c:pt idx="21">
                  <c:v>0.97708582308736269</c:v>
                </c:pt>
                <c:pt idx="22">
                  <c:v>0.98042293747088272</c:v>
                </c:pt>
                <c:pt idx="23">
                  <c:v>0.98373473232190256</c:v>
                </c:pt>
                <c:pt idx="24">
                  <c:v>0.98663635074641998</c:v>
                </c:pt>
                <c:pt idx="25">
                  <c:v>0.98948733010593704</c:v>
                </c:pt>
                <c:pt idx="26">
                  <c:v>0.99201421944945223</c:v>
                </c:pt>
                <c:pt idx="27">
                  <c:v>0.99435374425246625</c:v>
                </c:pt>
                <c:pt idx="28">
                  <c:v>0.99658186311247965</c:v>
                </c:pt>
                <c:pt idx="29">
                  <c:v>0.99784277583098724</c:v>
                </c:pt>
                <c:pt idx="30">
                  <c:v>0.99893151572849381</c:v>
                </c:pt>
                <c:pt idx="31">
                  <c:v>0.99980757155299904</c:v>
                </c:pt>
                <c:pt idx="32">
                  <c:v>1.0000000000000002</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44</c:f>
              <c:strCache>
                <c:ptCount val="43"/>
                <c:pt idx="0">
                  <c:v>All Others</c:v>
                </c:pt>
                <c:pt idx="1">
                  <c:v>Ruinart</c:v>
                </c:pt>
                <c:pt idx="2">
                  <c:v>Ruinart</c:v>
                </c:pt>
                <c:pt idx="3">
                  <c:v>All Others</c:v>
                </c:pt>
                <c:pt idx="4">
                  <c:v>Malard</c:v>
                </c:pt>
                <c:pt idx="5">
                  <c:v>Ruinart</c:v>
                </c:pt>
                <c:pt idx="6">
                  <c:v>Nicolas</c:v>
                </c:pt>
                <c:pt idx="7">
                  <c:v>Ayala</c:v>
                </c:pt>
                <c:pt idx="8">
                  <c:v>All Others</c:v>
                </c:pt>
                <c:pt idx="9">
                  <c:v>De Bligny</c:v>
                </c:pt>
                <c:pt idx="10">
                  <c:v>All Others</c:v>
                </c:pt>
                <c:pt idx="11">
                  <c:v>Delamotte</c:v>
                </c:pt>
                <c:pt idx="12">
                  <c:v>Deutz</c:v>
                </c:pt>
                <c:pt idx="13">
                  <c:v>De Venoge</c:v>
                </c:pt>
                <c:pt idx="14">
                  <c:v>All Others</c:v>
                </c:pt>
                <c:pt idx="15">
                  <c:v>Delamotte</c:v>
                </c:pt>
                <c:pt idx="16">
                  <c:v>Besserat De</c:v>
                </c:pt>
                <c:pt idx="17">
                  <c:v>Henriot</c:v>
                </c:pt>
                <c:pt idx="18">
                  <c:v>Henriot</c:v>
                </c:pt>
                <c:pt idx="19">
                  <c:v>Perrier Jou</c:v>
                </c:pt>
                <c:pt idx="20">
                  <c:v>Ruinart</c:v>
                </c:pt>
                <c:pt idx="21">
                  <c:v>Nicolas</c:v>
                </c:pt>
                <c:pt idx="22">
                  <c:v>Taittinger</c:v>
                </c:pt>
                <c:pt idx="23">
                  <c:v>Lanson</c:v>
                </c:pt>
                <c:pt idx="24">
                  <c:v>Vesselle</c:v>
                </c:pt>
                <c:pt idx="25">
                  <c:v>All Others</c:v>
                </c:pt>
                <c:pt idx="26">
                  <c:v>Ruinart</c:v>
                </c:pt>
                <c:pt idx="27">
                  <c:v>Nicolas</c:v>
                </c:pt>
                <c:pt idx="28">
                  <c:v>All Others</c:v>
                </c:pt>
                <c:pt idx="29">
                  <c:v>Laurent Per</c:v>
                </c:pt>
                <c:pt idx="30">
                  <c:v>Ayala</c:v>
                </c:pt>
                <c:pt idx="31">
                  <c:v>Nicolas</c:v>
                </c:pt>
                <c:pt idx="32">
                  <c:v>Taittinger</c:v>
                </c:pt>
                <c:pt idx="33">
                  <c:v>De Venoge</c:v>
                </c:pt>
                <c:pt idx="34">
                  <c:v>Nicolas</c:v>
                </c:pt>
                <c:pt idx="35">
                  <c:v>Deutz</c:v>
                </c:pt>
                <c:pt idx="36">
                  <c:v>Taittinger</c:v>
                </c:pt>
                <c:pt idx="37">
                  <c:v>Besserat De</c:v>
                </c:pt>
                <c:pt idx="38">
                  <c:v>Ruinart</c:v>
                </c:pt>
                <c:pt idx="39">
                  <c:v>Vranken</c:v>
                </c:pt>
                <c:pt idx="40">
                  <c:v>Besserat De</c:v>
                </c:pt>
                <c:pt idx="41">
                  <c:v>All Others</c:v>
                </c:pt>
                <c:pt idx="42">
                  <c:v>Henriot</c:v>
                </c:pt>
              </c:strCache>
            </c:strRef>
          </c:cat>
          <c:val>
            <c:numRef>
              <c:f>Sheet1!$B$2:$B$44</c:f>
              <c:numCache>
                <c:formatCode>General</c:formatCode>
                <c:ptCount val="43"/>
                <c:pt idx="0">
                  <c:v>0.48</c:v>
                </c:pt>
                <c:pt idx="1">
                  <c:v>0.82</c:v>
                </c:pt>
                <c:pt idx="2">
                  <c:v>0.71</c:v>
                </c:pt>
                <c:pt idx="3">
                  <c:v>0.41</c:v>
                </c:pt>
                <c:pt idx="4">
                  <c:v>0.7</c:v>
                </c:pt>
                <c:pt idx="5">
                  <c:v>0.34</c:v>
                </c:pt>
                <c:pt idx="6">
                  <c:v>0.43</c:v>
                </c:pt>
                <c:pt idx="7">
                  <c:v>0.46</c:v>
                </c:pt>
                <c:pt idx="8">
                  <c:v>0.41</c:v>
                </c:pt>
                <c:pt idx="9">
                  <c:v>0.5</c:v>
                </c:pt>
                <c:pt idx="10">
                  <c:v>0.44</c:v>
                </c:pt>
                <c:pt idx="11">
                  <c:v>0.34</c:v>
                </c:pt>
                <c:pt idx="12">
                  <c:v>0.23</c:v>
                </c:pt>
                <c:pt idx="13">
                  <c:v>0.44</c:v>
                </c:pt>
                <c:pt idx="14">
                  <c:v>0.46</c:v>
                </c:pt>
                <c:pt idx="15">
                  <c:v>0.44</c:v>
                </c:pt>
                <c:pt idx="16">
                  <c:v>0.43</c:v>
                </c:pt>
                <c:pt idx="17">
                  <c:v>0.35</c:v>
                </c:pt>
                <c:pt idx="18">
                  <c:v>0.31</c:v>
                </c:pt>
                <c:pt idx="19">
                  <c:v>0.31</c:v>
                </c:pt>
                <c:pt idx="20">
                  <c:v>0.28000000000000003</c:v>
                </c:pt>
                <c:pt idx="21">
                  <c:v>0.33</c:v>
                </c:pt>
                <c:pt idx="22">
                  <c:v>0.21</c:v>
                </c:pt>
                <c:pt idx="23">
                  <c:v>0.41</c:v>
                </c:pt>
                <c:pt idx="24">
                  <c:v>0.28000000000000003</c:v>
                </c:pt>
                <c:pt idx="25">
                  <c:v>0.22</c:v>
                </c:pt>
                <c:pt idx="26">
                  <c:v>0.2</c:v>
                </c:pt>
                <c:pt idx="27">
                  <c:v>0.34</c:v>
                </c:pt>
                <c:pt idx="28">
                  <c:v>0.35</c:v>
                </c:pt>
                <c:pt idx="29">
                  <c:v>0.27</c:v>
                </c:pt>
                <c:pt idx="30">
                  <c:v>0.2</c:v>
                </c:pt>
                <c:pt idx="31">
                  <c:v>0.26</c:v>
                </c:pt>
                <c:pt idx="32">
                  <c:v>0.25</c:v>
                </c:pt>
                <c:pt idx="33">
                  <c:v>0.1</c:v>
                </c:pt>
                <c:pt idx="34">
                  <c:v>0.13</c:v>
                </c:pt>
                <c:pt idx="35">
                  <c:v>7.0000000000000007E-2</c:v>
                </c:pt>
                <c:pt idx="36">
                  <c:v>0.11</c:v>
                </c:pt>
                <c:pt idx="37">
                  <c:v>0.2</c:v>
                </c:pt>
                <c:pt idx="38">
                  <c:v>0.22</c:v>
                </c:pt>
                <c:pt idx="39">
                  <c:v>0.04</c:v>
                </c:pt>
                <c:pt idx="40">
                  <c:v>0.11</c:v>
                </c:pt>
                <c:pt idx="41">
                  <c:v>0.09</c:v>
                </c:pt>
                <c:pt idx="42">
                  <c:v>0.03</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7ECAC4"/>
              </a:solidFill>
            </c:spPr>
            <c:extLst>
              <c:ext xmlns:c16="http://schemas.microsoft.com/office/drawing/2014/chart" uri="{C3380CC4-5D6E-409C-BE32-E72D297353CC}">
                <c16:uniqueId val="{00000051-2993-41DE-A2CB-63102DE87051}"/>
              </c:ext>
            </c:extLst>
          </c:dPt>
          <c:dPt>
            <c:idx val="13"/>
            <c:invertIfNegative val="1"/>
            <c:bubble3D val="0"/>
            <c:spPr>
              <a:solidFill>
                <a:srgbClr val="7ECAC4"/>
              </a:solidFill>
            </c:spPr>
            <c:extLst>
              <c:ext xmlns:c16="http://schemas.microsoft.com/office/drawing/2014/chart" uri="{C3380CC4-5D6E-409C-BE32-E72D297353CC}">
                <c16:uniqueId val="{00000053-2993-41DE-A2CB-63102DE87051}"/>
              </c:ext>
            </c:extLst>
          </c:dPt>
          <c:dPt>
            <c:idx val="14"/>
            <c:invertIfNegative val="1"/>
            <c:bubble3D val="0"/>
            <c:spPr>
              <a:solidFill>
                <a:srgbClr val="7ECAC4"/>
              </a:solidFill>
            </c:spPr>
            <c:extLst>
              <c:ext xmlns:c16="http://schemas.microsoft.com/office/drawing/2014/chart" uri="{C3380CC4-5D6E-409C-BE32-E72D297353CC}">
                <c16:uniqueId val="{00000055-2993-41DE-A2CB-63102DE87051}"/>
              </c:ext>
            </c:extLst>
          </c:dPt>
          <c:dPt>
            <c:idx val="15"/>
            <c:invertIfNegative val="1"/>
            <c:bubble3D val="0"/>
            <c:spPr>
              <a:solidFill>
                <a:srgbClr val="7ECAC4"/>
              </a:solidFill>
            </c:spPr>
            <c:extLst>
              <c:ext xmlns:c16="http://schemas.microsoft.com/office/drawing/2014/chart" uri="{C3380CC4-5D6E-409C-BE32-E72D297353CC}">
                <c16:uniqueId val="{00000057-2993-41DE-A2CB-63102DE87051}"/>
              </c:ext>
            </c:extLst>
          </c:dPt>
          <c:dPt>
            <c:idx val="16"/>
            <c:invertIfNegative val="1"/>
            <c:bubble3D val="0"/>
            <c:spPr>
              <a:solidFill>
                <a:srgbClr val="7ECAC4"/>
              </a:solidFill>
            </c:spPr>
            <c:extLst>
              <c:ext xmlns:c16="http://schemas.microsoft.com/office/drawing/2014/chart" uri="{C3380CC4-5D6E-409C-BE32-E72D297353CC}">
                <c16:uniqueId val="{00000059-2993-41DE-A2CB-63102DE87051}"/>
              </c:ext>
            </c:extLst>
          </c:dPt>
          <c:dPt>
            <c:idx val="17"/>
            <c:invertIfNegative val="1"/>
            <c:bubble3D val="0"/>
            <c:spPr>
              <a:solidFill>
                <a:srgbClr val="7ECAC4"/>
              </a:solidFill>
            </c:spPr>
            <c:extLst>
              <c:ext xmlns:c16="http://schemas.microsoft.com/office/drawing/2014/chart" uri="{C3380CC4-5D6E-409C-BE32-E72D297353CC}">
                <c16:uniqueId val="{0000005B-2993-41DE-A2CB-63102DE87051}"/>
              </c:ext>
            </c:extLst>
          </c:dPt>
          <c:dPt>
            <c:idx val="18"/>
            <c:invertIfNegative val="1"/>
            <c:bubble3D val="0"/>
            <c:spPr>
              <a:solidFill>
                <a:srgbClr val="7ECAC4"/>
              </a:solidFill>
            </c:spPr>
            <c:extLst>
              <c:ext xmlns:c16="http://schemas.microsoft.com/office/drawing/2014/chart" uri="{C3380CC4-5D6E-409C-BE32-E72D297353CC}">
                <c16:uniqueId val="{0000005D-2993-41DE-A2CB-63102DE87051}"/>
              </c:ext>
            </c:extLst>
          </c:dPt>
          <c:dPt>
            <c:idx val="19"/>
            <c:invertIfNegative val="1"/>
            <c:bubble3D val="0"/>
            <c:spPr>
              <a:solidFill>
                <a:srgbClr val="7ECAC4"/>
              </a:solidFill>
            </c:spPr>
            <c:extLst>
              <c:ext xmlns:c16="http://schemas.microsoft.com/office/drawing/2014/chart" uri="{C3380CC4-5D6E-409C-BE32-E72D297353CC}">
                <c16:uniqueId val="{0000005F-2993-41DE-A2CB-63102DE87051}"/>
              </c:ext>
            </c:extLst>
          </c:dPt>
          <c:dPt>
            <c:idx val="20"/>
            <c:invertIfNegative val="1"/>
            <c:bubble3D val="0"/>
            <c:spPr>
              <a:solidFill>
                <a:srgbClr val="7ECAC4"/>
              </a:solidFill>
            </c:spPr>
            <c:extLst>
              <c:ext xmlns:c16="http://schemas.microsoft.com/office/drawing/2014/chart" uri="{C3380CC4-5D6E-409C-BE32-E72D297353CC}">
                <c16:uniqueId val="{00000061-2993-41DE-A2CB-63102DE87051}"/>
              </c:ext>
            </c:extLst>
          </c:dPt>
          <c:dPt>
            <c:idx val="21"/>
            <c:invertIfNegative val="1"/>
            <c:bubble3D val="0"/>
            <c:spPr>
              <a:solidFill>
                <a:srgbClr val="7ECAC4"/>
              </a:solidFill>
            </c:spPr>
            <c:extLst>
              <c:ext xmlns:c16="http://schemas.microsoft.com/office/drawing/2014/chart" uri="{C3380CC4-5D6E-409C-BE32-E72D297353CC}">
                <c16:uniqueId val="{00000063-2993-41DE-A2CB-63102DE87051}"/>
              </c:ext>
            </c:extLst>
          </c:dPt>
          <c:dPt>
            <c:idx val="22"/>
            <c:invertIfNegative val="1"/>
            <c:bubble3D val="0"/>
            <c:spPr>
              <a:solidFill>
                <a:srgbClr val="7ECAC4"/>
              </a:solidFill>
            </c:spPr>
            <c:extLst>
              <c:ext xmlns:c16="http://schemas.microsoft.com/office/drawing/2014/chart" uri="{C3380CC4-5D6E-409C-BE32-E72D297353CC}">
                <c16:uniqueId val="{00000065-2993-41DE-A2CB-63102DE87051}"/>
              </c:ext>
            </c:extLst>
          </c:dPt>
          <c:dPt>
            <c:idx val="23"/>
            <c:invertIfNegative val="1"/>
            <c:bubble3D val="0"/>
            <c:spPr>
              <a:solidFill>
                <a:srgbClr val="7ECAC4"/>
              </a:solidFill>
            </c:spPr>
            <c:extLst>
              <c:ext xmlns:c16="http://schemas.microsoft.com/office/drawing/2014/chart" uri="{C3380CC4-5D6E-409C-BE32-E72D297353CC}">
                <c16:uniqueId val="{00000067-2993-41DE-A2CB-63102DE87051}"/>
              </c:ext>
            </c:extLst>
          </c:dPt>
          <c:dPt>
            <c:idx val="24"/>
            <c:invertIfNegative val="1"/>
            <c:bubble3D val="0"/>
            <c:spPr>
              <a:solidFill>
                <a:srgbClr val="7ECAC4"/>
              </a:solidFill>
            </c:spPr>
            <c:extLst>
              <c:ext xmlns:c16="http://schemas.microsoft.com/office/drawing/2014/chart" uri="{C3380CC4-5D6E-409C-BE32-E72D297353CC}">
                <c16:uniqueId val="{00000069-2993-41DE-A2CB-63102DE87051}"/>
              </c:ext>
            </c:extLst>
          </c:dPt>
          <c:dPt>
            <c:idx val="25"/>
            <c:invertIfNegative val="1"/>
            <c:bubble3D val="0"/>
            <c:spPr>
              <a:solidFill>
                <a:srgbClr val="AEABAB"/>
              </a:solidFill>
            </c:spPr>
            <c:extLst>
              <c:ext xmlns:c16="http://schemas.microsoft.com/office/drawing/2014/chart" uri="{C3380CC4-5D6E-409C-BE32-E72D297353CC}">
                <c16:uniqueId val="{0000006B-2993-41DE-A2CB-63102DE87051}"/>
              </c:ext>
            </c:extLst>
          </c:dPt>
          <c:dPt>
            <c:idx val="26"/>
            <c:invertIfNegative val="1"/>
            <c:bubble3D val="0"/>
            <c:spPr>
              <a:solidFill>
                <a:srgbClr val="AEABAB"/>
              </a:solidFill>
            </c:spPr>
            <c:extLst>
              <c:ext xmlns:c16="http://schemas.microsoft.com/office/drawing/2014/chart" uri="{C3380CC4-5D6E-409C-BE32-E72D297353CC}">
                <c16:uniqueId val="{0000006D-2993-41DE-A2CB-63102DE87051}"/>
              </c:ext>
            </c:extLst>
          </c:dPt>
          <c:dPt>
            <c:idx val="27"/>
            <c:invertIfNegative val="1"/>
            <c:bubble3D val="0"/>
            <c:spPr>
              <a:solidFill>
                <a:srgbClr val="AEABAB"/>
              </a:solidFill>
            </c:spPr>
            <c:extLst>
              <c:ext xmlns:c16="http://schemas.microsoft.com/office/drawing/2014/chart" uri="{C3380CC4-5D6E-409C-BE32-E72D297353CC}">
                <c16:uniqueId val="{0000006F-2993-41DE-A2CB-63102DE87051}"/>
              </c:ext>
            </c:extLst>
          </c:dPt>
          <c:dPt>
            <c:idx val="28"/>
            <c:invertIfNegative val="1"/>
            <c:bubble3D val="0"/>
            <c:spPr>
              <a:solidFill>
                <a:srgbClr val="AEABAB"/>
              </a:solidFill>
            </c:spPr>
            <c:extLst>
              <c:ext xmlns:c16="http://schemas.microsoft.com/office/drawing/2014/chart" uri="{C3380CC4-5D6E-409C-BE32-E72D297353CC}">
                <c16:uniqueId val="{00000071-2993-41DE-A2CB-63102DE87051}"/>
              </c:ext>
            </c:extLst>
          </c:dPt>
          <c:dPt>
            <c:idx val="29"/>
            <c:invertIfNegative val="1"/>
            <c:bubble3D val="0"/>
            <c:spPr>
              <a:solidFill>
                <a:srgbClr val="AEABAB"/>
              </a:solidFill>
            </c:spPr>
            <c:extLst>
              <c:ext xmlns:c16="http://schemas.microsoft.com/office/drawing/2014/chart" uri="{C3380CC4-5D6E-409C-BE32-E72D297353CC}">
                <c16:uniqueId val="{00000073-2993-41DE-A2CB-63102DE87051}"/>
              </c:ext>
            </c:extLst>
          </c:dPt>
          <c:dPt>
            <c:idx val="30"/>
            <c:invertIfNegative val="1"/>
            <c:bubble3D val="0"/>
            <c:spPr>
              <a:solidFill>
                <a:srgbClr val="AEABAB"/>
              </a:solidFill>
            </c:spPr>
            <c:extLst>
              <c:ext xmlns:c16="http://schemas.microsoft.com/office/drawing/2014/chart" uri="{C3380CC4-5D6E-409C-BE32-E72D297353CC}">
                <c16:uniqueId val="{00000075-2993-41DE-A2CB-63102DE87051}"/>
              </c:ext>
            </c:extLst>
          </c:dPt>
          <c:dPt>
            <c:idx val="31"/>
            <c:invertIfNegative val="1"/>
            <c:bubble3D val="0"/>
            <c:spPr>
              <a:solidFill>
                <a:srgbClr val="AEABAB"/>
              </a:solidFill>
            </c:spPr>
            <c:extLst>
              <c:ext xmlns:c16="http://schemas.microsoft.com/office/drawing/2014/chart" uri="{C3380CC4-5D6E-409C-BE32-E72D297353CC}">
                <c16:uniqueId val="{00000077-2993-41DE-A2CB-63102DE87051}"/>
              </c:ext>
            </c:extLst>
          </c:dPt>
          <c:dPt>
            <c:idx val="32"/>
            <c:invertIfNegative val="1"/>
            <c:bubble3D val="0"/>
            <c:spPr>
              <a:solidFill>
                <a:srgbClr val="AEABAB"/>
              </a:solidFill>
            </c:spPr>
            <c:extLst>
              <c:ext xmlns:c16="http://schemas.microsoft.com/office/drawing/2014/chart" uri="{C3380CC4-5D6E-409C-BE32-E72D297353CC}">
                <c16:uniqueId val="{00000079-2993-41DE-A2CB-63102DE87051}"/>
              </c:ext>
            </c:extLst>
          </c:dPt>
          <c:dPt>
            <c:idx val="33"/>
            <c:invertIfNegative val="1"/>
            <c:bubble3D val="0"/>
            <c:spPr>
              <a:solidFill>
                <a:srgbClr val="AEABAB"/>
              </a:solidFill>
            </c:spPr>
            <c:extLst>
              <c:ext xmlns:c16="http://schemas.microsoft.com/office/drawing/2014/chart" uri="{C3380CC4-5D6E-409C-BE32-E72D297353CC}">
                <c16:uniqueId val="{0000007B-2993-41DE-A2CB-63102DE87051}"/>
              </c:ext>
            </c:extLst>
          </c:dPt>
          <c:dPt>
            <c:idx val="34"/>
            <c:invertIfNegative val="1"/>
            <c:bubble3D val="0"/>
            <c:spPr>
              <a:solidFill>
                <a:srgbClr val="AEABAB"/>
              </a:solidFill>
            </c:spPr>
            <c:extLst>
              <c:ext xmlns:c16="http://schemas.microsoft.com/office/drawing/2014/chart" uri="{C3380CC4-5D6E-409C-BE32-E72D297353CC}">
                <c16:uniqueId val="{0000007D-2993-41DE-A2CB-63102DE87051}"/>
              </c:ext>
            </c:extLst>
          </c:dPt>
          <c:dPt>
            <c:idx val="35"/>
            <c:invertIfNegative val="1"/>
            <c:bubble3D val="0"/>
            <c:spPr>
              <a:solidFill>
                <a:srgbClr val="AEABAB"/>
              </a:solidFill>
            </c:spPr>
            <c:extLst>
              <c:ext xmlns:c16="http://schemas.microsoft.com/office/drawing/2014/chart" uri="{C3380CC4-5D6E-409C-BE32-E72D297353CC}">
                <c16:uniqueId val="{0000007F-2993-41DE-A2CB-63102DE87051}"/>
              </c:ext>
            </c:extLst>
          </c:dPt>
          <c:dPt>
            <c:idx val="36"/>
            <c:invertIfNegative val="1"/>
            <c:bubble3D val="0"/>
            <c:spPr>
              <a:solidFill>
                <a:srgbClr val="AEABAB"/>
              </a:solidFill>
            </c:spPr>
            <c:extLst>
              <c:ext xmlns:c16="http://schemas.microsoft.com/office/drawing/2014/chart" uri="{C3380CC4-5D6E-409C-BE32-E72D297353CC}">
                <c16:uniqueId val="{00000081-2993-41DE-A2CB-63102DE87051}"/>
              </c:ext>
            </c:extLst>
          </c:dPt>
          <c:dPt>
            <c:idx val="37"/>
            <c:invertIfNegative val="1"/>
            <c:bubble3D val="0"/>
            <c:spPr>
              <a:solidFill>
                <a:srgbClr val="AEABAB"/>
              </a:solidFill>
            </c:spPr>
            <c:extLst>
              <c:ext xmlns:c16="http://schemas.microsoft.com/office/drawing/2014/chart" uri="{C3380CC4-5D6E-409C-BE32-E72D297353CC}">
                <c16:uniqueId val="{00000083-2993-41DE-A2CB-63102DE87051}"/>
              </c:ext>
            </c:extLst>
          </c:dPt>
          <c:dPt>
            <c:idx val="38"/>
            <c:invertIfNegative val="1"/>
            <c:bubble3D val="0"/>
            <c:spPr>
              <a:solidFill>
                <a:srgbClr val="AEABAB"/>
              </a:solidFill>
            </c:spPr>
            <c:extLst>
              <c:ext xmlns:c16="http://schemas.microsoft.com/office/drawing/2014/chart" uri="{C3380CC4-5D6E-409C-BE32-E72D297353CC}">
                <c16:uniqueId val="{00000085-2993-41DE-A2CB-63102DE87051}"/>
              </c:ext>
            </c:extLst>
          </c:dPt>
          <c:dPt>
            <c:idx val="39"/>
            <c:invertIfNegative val="1"/>
            <c:bubble3D val="0"/>
            <c:spPr>
              <a:solidFill>
                <a:srgbClr val="AEABAB"/>
              </a:solidFill>
            </c:spPr>
            <c:extLst>
              <c:ext xmlns:c16="http://schemas.microsoft.com/office/drawing/2014/chart" uri="{C3380CC4-5D6E-409C-BE32-E72D297353CC}">
                <c16:uniqueId val="{00000087-2993-41DE-A2CB-63102DE87051}"/>
              </c:ext>
            </c:extLst>
          </c:dPt>
          <c:dPt>
            <c:idx val="40"/>
            <c:invertIfNegative val="1"/>
            <c:bubble3D val="0"/>
            <c:spPr>
              <a:solidFill>
                <a:srgbClr val="AEABAB"/>
              </a:solidFill>
            </c:spPr>
            <c:extLst>
              <c:ext xmlns:c16="http://schemas.microsoft.com/office/drawing/2014/chart" uri="{C3380CC4-5D6E-409C-BE32-E72D297353CC}">
                <c16:uniqueId val="{00000089-2993-41DE-A2CB-63102DE87051}"/>
              </c:ext>
            </c:extLst>
          </c:dPt>
          <c:dPt>
            <c:idx val="41"/>
            <c:invertIfNegative val="1"/>
            <c:bubble3D val="0"/>
            <c:spPr>
              <a:solidFill>
                <a:srgbClr val="AEABAB"/>
              </a:solidFill>
            </c:spPr>
            <c:extLst>
              <c:ext xmlns:c16="http://schemas.microsoft.com/office/drawing/2014/chart" uri="{C3380CC4-5D6E-409C-BE32-E72D297353CC}">
                <c16:uniqueId val="{0000008B-2993-41DE-A2CB-63102DE87051}"/>
              </c:ext>
            </c:extLst>
          </c:dPt>
          <c:dPt>
            <c:idx val="42"/>
            <c:invertIfNegative val="1"/>
            <c:bubble3D val="0"/>
            <c:spPr>
              <a:solidFill>
                <a:srgbClr val="AEABAB"/>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44</c:f>
              <c:strCache>
                <c:ptCount val="43"/>
                <c:pt idx="0">
                  <c:v>All Others</c:v>
                </c:pt>
                <c:pt idx="1">
                  <c:v>Ruinart</c:v>
                </c:pt>
                <c:pt idx="2">
                  <c:v>Ruinart</c:v>
                </c:pt>
                <c:pt idx="3">
                  <c:v>All Others</c:v>
                </c:pt>
                <c:pt idx="4">
                  <c:v>Malard</c:v>
                </c:pt>
                <c:pt idx="5">
                  <c:v>Ruinart</c:v>
                </c:pt>
                <c:pt idx="6">
                  <c:v>Nicolas</c:v>
                </c:pt>
                <c:pt idx="7">
                  <c:v>Ayala</c:v>
                </c:pt>
                <c:pt idx="8">
                  <c:v>All Others</c:v>
                </c:pt>
                <c:pt idx="9">
                  <c:v>De Bligny</c:v>
                </c:pt>
                <c:pt idx="10">
                  <c:v>All Others</c:v>
                </c:pt>
                <c:pt idx="11">
                  <c:v>Delamotte</c:v>
                </c:pt>
                <c:pt idx="12">
                  <c:v>Deutz</c:v>
                </c:pt>
                <c:pt idx="13">
                  <c:v>De Venoge</c:v>
                </c:pt>
                <c:pt idx="14">
                  <c:v>All Others</c:v>
                </c:pt>
                <c:pt idx="15">
                  <c:v>Delamotte</c:v>
                </c:pt>
                <c:pt idx="16">
                  <c:v>Besserat De</c:v>
                </c:pt>
                <c:pt idx="17">
                  <c:v>Henriot</c:v>
                </c:pt>
                <c:pt idx="18">
                  <c:v>Henriot</c:v>
                </c:pt>
                <c:pt idx="19">
                  <c:v>Perrier Jou</c:v>
                </c:pt>
                <c:pt idx="20">
                  <c:v>Ruinart</c:v>
                </c:pt>
                <c:pt idx="21">
                  <c:v>Nicolas</c:v>
                </c:pt>
                <c:pt idx="22">
                  <c:v>Taittinger</c:v>
                </c:pt>
                <c:pt idx="23">
                  <c:v>Lanson</c:v>
                </c:pt>
                <c:pt idx="24">
                  <c:v>Vesselle</c:v>
                </c:pt>
                <c:pt idx="25">
                  <c:v>All Others</c:v>
                </c:pt>
                <c:pt idx="26">
                  <c:v>Ruinart</c:v>
                </c:pt>
                <c:pt idx="27">
                  <c:v>Nicolas</c:v>
                </c:pt>
                <c:pt idx="28">
                  <c:v>All Others</c:v>
                </c:pt>
                <c:pt idx="29">
                  <c:v>Laurent Per</c:v>
                </c:pt>
                <c:pt idx="30">
                  <c:v>Ayala</c:v>
                </c:pt>
                <c:pt idx="31">
                  <c:v>Nicolas</c:v>
                </c:pt>
                <c:pt idx="32">
                  <c:v>Taittinger</c:v>
                </c:pt>
                <c:pt idx="33">
                  <c:v>De Venoge</c:v>
                </c:pt>
                <c:pt idx="34">
                  <c:v>Nicolas</c:v>
                </c:pt>
                <c:pt idx="35">
                  <c:v>Deutz</c:v>
                </c:pt>
                <c:pt idx="36">
                  <c:v>Taittinger</c:v>
                </c:pt>
                <c:pt idx="37">
                  <c:v>Besserat De</c:v>
                </c:pt>
                <c:pt idx="38">
                  <c:v>Ruinart</c:v>
                </c:pt>
                <c:pt idx="39">
                  <c:v>Vranken</c:v>
                </c:pt>
                <c:pt idx="40">
                  <c:v>Besserat De</c:v>
                </c:pt>
                <c:pt idx="41">
                  <c:v>All Others</c:v>
                </c:pt>
                <c:pt idx="42">
                  <c:v>Henriot</c:v>
                </c:pt>
              </c:strCache>
            </c:strRef>
          </c:cat>
          <c:val>
            <c:numRef>
              <c:f>Sheet1!$C$2:$C$44</c:f>
              <c:numCache>
                <c:formatCode>General</c:formatCode>
                <c:ptCount val="43"/>
                <c:pt idx="0">
                  <c:v>0.25111983542329175</c:v>
                </c:pt>
                <c:pt idx="1">
                  <c:v>0.44696772227279469</c:v>
                </c:pt>
                <c:pt idx="2">
                  <c:v>0.52970120344712812</c:v>
                </c:pt>
                <c:pt idx="3">
                  <c:v>0.58639675658767998</c:v>
                </c:pt>
                <c:pt idx="4">
                  <c:v>0.62198286060304686</c:v>
                </c:pt>
                <c:pt idx="5">
                  <c:v>0.65571627360476725</c:v>
                </c:pt>
                <c:pt idx="6">
                  <c:v>0.68890430570203753</c:v>
                </c:pt>
                <c:pt idx="7">
                  <c:v>0.7170676152016906</c:v>
                </c:pt>
                <c:pt idx="8">
                  <c:v>0.74118868976247854</c:v>
                </c:pt>
                <c:pt idx="9">
                  <c:v>0.76354930684493127</c:v>
                </c:pt>
                <c:pt idx="10">
                  <c:v>0.78315093817546022</c:v>
                </c:pt>
                <c:pt idx="11">
                  <c:v>0.80246383843892732</c:v>
                </c:pt>
                <c:pt idx="12">
                  <c:v>0.82078623073622403</c:v>
                </c:pt>
                <c:pt idx="13">
                  <c:v>0.8382303993712078</c:v>
                </c:pt>
                <c:pt idx="14">
                  <c:v>0.85241030288690955</c:v>
                </c:pt>
                <c:pt idx="15">
                  <c:v>0.86524680491003214</c:v>
                </c:pt>
                <c:pt idx="16">
                  <c:v>0.87775848448271021</c:v>
                </c:pt>
                <c:pt idx="17">
                  <c:v>0.88965661053788192</c:v>
                </c:pt>
                <c:pt idx="18">
                  <c:v>0.90108153845536898</c:v>
                </c:pt>
                <c:pt idx="19">
                  <c:v>0.91131144056751689</c:v>
                </c:pt>
                <c:pt idx="20">
                  <c:v>0.92120047961438356</c:v>
                </c:pt>
                <c:pt idx="21">
                  <c:v>0.92899220827134299</c:v>
                </c:pt>
                <c:pt idx="22">
                  <c:v>0.93621850525530637</c:v>
                </c:pt>
                <c:pt idx="23">
                  <c:v>0.94204525859476185</c:v>
                </c:pt>
                <c:pt idx="24">
                  <c:v>0.94762739255795669</c:v>
                </c:pt>
                <c:pt idx="25">
                  <c:v>0.95320150621373312</c:v>
                </c:pt>
                <c:pt idx="26">
                  <c:v>0.95877160971580033</c:v>
                </c:pt>
                <c:pt idx="27">
                  <c:v>0.96415323599353553</c:v>
                </c:pt>
                <c:pt idx="28">
                  <c:v>0.96946668965821448</c:v>
                </c:pt>
                <c:pt idx="29">
                  <c:v>0.9747280113246739</c:v>
                </c:pt>
                <c:pt idx="30">
                  <c:v>0.97961237854246941</c:v>
                </c:pt>
                <c:pt idx="31">
                  <c:v>0.98375085717035526</c:v>
                </c:pt>
                <c:pt idx="32">
                  <c:v>0.98708329490269353</c:v>
                </c:pt>
                <c:pt idx="33">
                  <c:v>0.99040370217390428</c:v>
                </c:pt>
                <c:pt idx="34">
                  <c:v>0.99243283995075526</c:v>
                </c:pt>
                <c:pt idx="35">
                  <c:v>0.99395268820653893</c:v>
                </c:pt>
                <c:pt idx="36">
                  <c:v>0.99535223185104682</c:v>
                </c:pt>
                <c:pt idx="37">
                  <c:v>0.99649111550445724</c:v>
                </c:pt>
                <c:pt idx="38">
                  <c:v>0.99748563362433673</c:v>
                </c:pt>
                <c:pt idx="39">
                  <c:v>0.99831573544213936</c:v>
                </c:pt>
                <c:pt idx="40">
                  <c:v>0.99900147172641118</c:v>
                </c:pt>
                <c:pt idx="41">
                  <c:v>0.99968319785697379</c:v>
                </c:pt>
                <c:pt idx="42">
                  <c:v>0.99999999999999989</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62</c:f>
              <c:strCache>
                <c:ptCount val="61"/>
                <c:pt idx="0">
                  <c:v>Ruinart</c:v>
                </c:pt>
                <c:pt idx="1">
                  <c:v>Ruinart</c:v>
                </c:pt>
                <c:pt idx="2">
                  <c:v>Ruinart</c:v>
                </c:pt>
                <c:pt idx="3">
                  <c:v>Ruinart</c:v>
                </c:pt>
                <c:pt idx="4">
                  <c:v>Malard</c:v>
                </c:pt>
                <c:pt idx="5">
                  <c:v>Nicolas</c:v>
                </c:pt>
                <c:pt idx="6">
                  <c:v>Besserat De</c:v>
                </c:pt>
                <c:pt idx="7">
                  <c:v>Perrier Jou</c:v>
                </c:pt>
                <c:pt idx="8">
                  <c:v>Delamotte</c:v>
                </c:pt>
                <c:pt idx="9">
                  <c:v>Ruinart</c:v>
                </c:pt>
                <c:pt idx="10">
                  <c:v>Ayala</c:v>
                </c:pt>
                <c:pt idx="11">
                  <c:v>All Others</c:v>
                </c:pt>
                <c:pt idx="12">
                  <c:v>Henriot</c:v>
                </c:pt>
                <c:pt idx="13">
                  <c:v>De Bligny</c:v>
                </c:pt>
                <c:pt idx="14">
                  <c:v>Henriot</c:v>
                </c:pt>
                <c:pt idx="15">
                  <c:v>Deutz</c:v>
                </c:pt>
                <c:pt idx="16">
                  <c:v>De Venoge</c:v>
                </c:pt>
                <c:pt idx="17">
                  <c:v>Laurent Per</c:v>
                </c:pt>
                <c:pt idx="18">
                  <c:v>Laurent Per</c:v>
                </c:pt>
                <c:pt idx="19">
                  <c:v>Taittinger</c:v>
                </c:pt>
                <c:pt idx="20">
                  <c:v>Taittinger</c:v>
                </c:pt>
                <c:pt idx="21">
                  <c:v>Nicolas</c:v>
                </c:pt>
                <c:pt idx="22">
                  <c:v>Nicolas</c:v>
                </c:pt>
                <c:pt idx="23">
                  <c:v>Lanson</c:v>
                </c:pt>
                <c:pt idx="24">
                  <c:v>All Others</c:v>
                </c:pt>
                <c:pt idx="25">
                  <c:v>Vesselle</c:v>
                </c:pt>
                <c:pt idx="26">
                  <c:v>Deutz</c:v>
                </c:pt>
                <c:pt idx="27">
                  <c:v>Delamotte</c:v>
                </c:pt>
                <c:pt idx="28">
                  <c:v>All Others</c:v>
                </c:pt>
                <c:pt idx="29">
                  <c:v>Nicolas</c:v>
                </c:pt>
                <c:pt idx="30">
                  <c:v>Perrier Jou</c:v>
                </c:pt>
                <c:pt idx="31">
                  <c:v>Deutz</c:v>
                </c:pt>
                <c:pt idx="32">
                  <c:v>All Others</c:v>
                </c:pt>
                <c:pt idx="33">
                  <c:v>Taittinger</c:v>
                </c:pt>
                <c:pt idx="34">
                  <c:v>Ayala</c:v>
                </c:pt>
                <c:pt idx="35">
                  <c:v>Deutz</c:v>
                </c:pt>
                <c:pt idx="36">
                  <c:v>Krug</c:v>
                </c:pt>
                <c:pt idx="37">
                  <c:v>Laurent Per</c:v>
                </c:pt>
                <c:pt idx="38">
                  <c:v>All Others</c:v>
                </c:pt>
                <c:pt idx="39">
                  <c:v>Besserat De</c:v>
                </c:pt>
                <c:pt idx="40">
                  <c:v>Ruinart</c:v>
                </c:pt>
                <c:pt idx="41">
                  <c:v>All Others</c:v>
                </c:pt>
                <c:pt idx="42">
                  <c:v>All Others</c:v>
                </c:pt>
                <c:pt idx="43">
                  <c:v>Krug</c:v>
                </c:pt>
                <c:pt idx="44">
                  <c:v>Taittinger</c:v>
                </c:pt>
                <c:pt idx="45">
                  <c:v>De Venoge</c:v>
                </c:pt>
                <c:pt idx="46">
                  <c:v>Delamotte</c:v>
                </c:pt>
                <c:pt idx="47">
                  <c:v>All Others</c:v>
                </c:pt>
                <c:pt idx="48">
                  <c:v>All Others</c:v>
                </c:pt>
                <c:pt idx="49">
                  <c:v>Vranken</c:v>
                </c:pt>
                <c:pt idx="50">
                  <c:v>Canard Duch</c:v>
                </c:pt>
                <c:pt idx="51">
                  <c:v>All Others</c:v>
                </c:pt>
                <c:pt idx="52">
                  <c:v>Piper Heids</c:v>
                </c:pt>
                <c:pt idx="53">
                  <c:v>Ruinart</c:v>
                </c:pt>
                <c:pt idx="54">
                  <c:v>All Others</c:v>
                </c:pt>
                <c:pt idx="55">
                  <c:v>Ayala</c:v>
                </c:pt>
                <c:pt idx="56">
                  <c:v>Ruinart</c:v>
                </c:pt>
                <c:pt idx="57">
                  <c:v>Nicolas</c:v>
                </c:pt>
                <c:pt idx="58">
                  <c:v>Besserat De</c:v>
                </c:pt>
                <c:pt idx="59">
                  <c:v>Deutz</c:v>
                </c:pt>
                <c:pt idx="60">
                  <c:v>Pommery</c:v>
                </c:pt>
              </c:strCache>
            </c:strRef>
          </c:cat>
          <c:val>
            <c:numRef>
              <c:f>Sheet1!$B$2:$B$62</c:f>
              <c:numCache>
                <c:formatCode>General</c:formatCode>
                <c:ptCount val="61"/>
                <c:pt idx="0">
                  <c:v>0.9</c:v>
                </c:pt>
                <c:pt idx="1">
                  <c:v>0.89</c:v>
                </c:pt>
                <c:pt idx="2">
                  <c:v>0.51</c:v>
                </c:pt>
                <c:pt idx="3">
                  <c:v>0.66</c:v>
                </c:pt>
                <c:pt idx="4">
                  <c:v>0.8</c:v>
                </c:pt>
                <c:pt idx="5">
                  <c:v>0.7</c:v>
                </c:pt>
                <c:pt idx="6">
                  <c:v>0.55000000000000004</c:v>
                </c:pt>
                <c:pt idx="7">
                  <c:v>0.35</c:v>
                </c:pt>
                <c:pt idx="8">
                  <c:v>0.43</c:v>
                </c:pt>
                <c:pt idx="9">
                  <c:v>0.26</c:v>
                </c:pt>
                <c:pt idx="10">
                  <c:v>0.42</c:v>
                </c:pt>
                <c:pt idx="11">
                  <c:v>0.03</c:v>
                </c:pt>
                <c:pt idx="12">
                  <c:v>0.49</c:v>
                </c:pt>
                <c:pt idx="13">
                  <c:v>0.67</c:v>
                </c:pt>
                <c:pt idx="14">
                  <c:v>0.47</c:v>
                </c:pt>
                <c:pt idx="15">
                  <c:v>0.2</c:v>
                </c:pt>
                <c:pt idx="16">
                  <c:v>0.31</c:v>
                </c:pt>
                <c:pt idx="17">
                  <c:v>0.19</c:v>
                </c:pt>
                <c:pt idx="18">
                  <c:v>0.09</c:v>
                </c:pt>
                <c:pt idx="19">
                  <c:v>0.15</c:v>
                </c:pt>
                <c:pt idx="20">
                  <c:v>0.1</c:v>
                </c:pt>
                <c:pt idx="21">
                  <c:v>0.23</c:v>
                </c:pt>
                <c:pt idx="22">
                  <c:v>0.35</c:v>
                </c:pt>
                <c:pt idx="23">
                  <c:v>0.2</c:v>
                </c:pt>
                <c:pt idx="24">
                  <c:v>0.03</c:v>
                </c:pt>
                <c:pt idx="25">
                  <c:v>0.21</c:v>
                </c:pt>
                <c:pt idx="26">
                  <c:v>0.12</c:v>
                </c:pt>
                <c:pt idx="27">
                  <c:v>0.18</c:v>
                </c:pt>
                <c:pt idx="28">
                  <c:v>0.13</c:v>
                </c:pt>
                <c:pt idx="29">
                  <c:v>7.0000000000000007E-2</c:v>
                </c:pt>
                <c:pt idx="30">
                  <c:v>7.0000000000000007E-2</c:v>
                </c:pt>
                <c:pt idx="31">
                  <c:v>0.05</c:v>
                </c:pt>
                <c:pt idx="32">
                  <c:v>0.03</c:v>
                </c:pt>
                <c:pt idx="33">
                  <c:v>7.0000000000000007E-2</c:v>
                </c:pt>
                <c:pt idx="34">
                  <c:v>0.08</c:v>
                </c:pt>
                <c:pt idx="35">
                  <c:v>0.09</c:v>
                </c:pt>
                <c:pt idx="36">
                  <c:v>7.0000000000000007E-2</c:v>
                </c:pt>
                <c:pt idx="37">
                  <c:v>0.09</c:v>
                </c:pt>
                <c:pt idx="38">
                  <c:v>0.03</c:v>
                </c:pt>
                <c:pt idx="39">
                  <c:v>0.1</c:v>
                </c:pt>
                <c:pt idx="40">
                  <c:v>0.04</c:v>
                </c:pt>
                <c:pt idx="41">
                  <c:v>0.03</c:v>
                </c:pt>
                <c:pt idx="42">
                  <c:v>0.11</c:v>
                </c:pt>
                <c:pt idx="43">
                  <c:v>0.05</c:v>
                </c:pt>
                <c:pt idx="44">
                  <c:v>0.02</c:v>
                </c:pt>
                <c:pt idx="45">
                  <c:v>0.06</c:v>
                </c:pt>
                <c:pt idx="46">
                  <c:v>7.0000000000000007E-2</c:v>
                </c:pt>
                <c:pt idx="47">
                  <c:v>0.09</c:v>
                </c:pt>
                <c:pt idx="48">
                  <c:v>0.02</c:v>
                </c:pt>
                <c:pt idx="49">
                  <c:v>7.0000000000000007E-2</c:v>
                </c:pt>
                <c:pt idx="50">
                  <c:v>0.05</c:v>
                </c:pt>
                <c:pt idx="51">
                  <c:v>0.03</c:v>
                </c:pt>
                <c:pt idx="52">
                  <c:v>0.09</c:v>
                </c:pt>
                <c:pt idx="53">
                  <c:v>0.02</c:v>
                </c:pt>
                <c:pt idx="54">
                  <c:v>0.03</c:v>
                </c:pt>
                <c:pt idx="55">
                  <c:v>0.04</c:v>
                </c:pt>
                <c:pt idx="56">
                  <c:v>0.03</c:v>
                </c:pt>
                <c:pt idx="57">
                  <c:v>0.02</c:v>
                </c:pt>
                <c:pt idx="58">
                  <c:v>0.03</c:v>
                </c:pt>
                <c:pt idx="59">
                  <c:v>0.03</c:v>
                </c:pt>
                <c:pt idx="60">
                  <c:v>0.03</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7ECAC4"/>
              </a:solidFill>
            </c:spPr>
            <c:extLst>
              <c:ext xmlns:c16="http://schemas.microsoft.com/office/drawing/2014/chart" uri="{C3380CC4-5D6E-409C-BE32-E72D297353CC}">
                <c16:uniqueId val="{0000004B-2993-41DE-A2CB-63102DE87051}"/>
              </c:ext>
            </c:extLst>
          </c:dPt>
          <c:dPt>
            <c:idx val="10"/>
            <c:invertIfNegative val="1"/>
            <c:bubble3D val="0"/>
            <c:spPr>
              <a:solidFill>
                <a:srgbClr val="7ECAC4"/>
              </a:solidFill>
            </c:spPr>
            <c:extLst>
              <c:ext xmlns:c16="http://schemas.microsoft.com/office/drawing/2014/chart" uri="{C3380CC4-5D6E-409C-BE32-E72D297353CC}">
                <c16:uniqueId val="{0000004D-2993-41DE-A2CB-63102DE87051}"/>
              </c:ext>
            </c:extLst>
          </c:dPt>
          <c:dPt>
            <c:idx val="11"/>
            <c:invertIfNegative val="1"/>
            <c:bubble3D val="0"/>
            <c:spPr>
              <a:solidFill>
                <a:srgbClr val="7ECAC4"/>
              </a:solidFill>
            </c:spPr>
            <c:extLst>
              <c:ext xmlns:c16="http://schemas.microsoft.com/office/drawing/2014/chart" uri="{C3380CC4-5D6E-409C-BE32-E72D297353CC}">
                <c16:uniqueId val="{0000004F-2993-41DE-A2CB-63102DE87051}"/>
              </c:ext>
            </c:extLst>
          </c:dPt>
          <c:dPt>
            <c:idx val="12"/>
            <c:invertIfNegative val="1"/>
            <c:bubble3D val="0"/>
            <c:spPr>
              <a:solidFill>
                <a:srgbClr val="7ECAC4"/>
              </a:solidFill>
            </c:spPr>
            <c:extLst>
              <c:ext xmlns:c16="http://schemas.microsoft.com/office/drawing/2014/chart" uri="{C3380CC4-5D6E-409C-BE32-E72D297353CC}">
                <c16:uniqueId val="{00000051-2993-41DE-A2CB-63102DE87051}"/>
              </c:ext>
            </c:extLst>
          </c:dPt>
          <c:dPt>
            <c:idx val="13"/>
            <c:invertIfNegative val="1"/>
            <c:bubble3D val="0"/>
            <c:spPr>
              <a:solidFill>
                <a:srgbClr val="7ECAC4"/>
              </a:solidFill>
            </c:spPr>
            <c:extLst>
              <c:ext xmlns:c16="http://schemas.microsoft.com/office/drawing/2014/chart" uri="{C3380CC4-5D6E-409C-BE32-E72D297353CC}">
                <c16:uniqueId val="{00000053-2993-41DE-A2CB-63102DE87051}"/>
              </c:ext>
            </c:extLst>
          </c:dPt>
          <c:dPt>
            <c:idx val="14"/>
            <c:invertIfNegative val="1"/>
            <c:bubble3D val="0"/>
            <c:spPr>
              <a:solidFill>
                <a:srgbClr val="7ECAC4"/>
              </a:solidFill>
            </c:spPr>
            <c:extLst>
              <c:ext xmlns:c16="http://schemas.microsoft.com/office/drawing/2014/chart" uri="{C3380CC4-5D6E-409C-BE32-E72D297353CC}">
                <c16:uniqueId val="{00000055-2993-41DE-A2CB-63102DE87051}"/>
              </c:ext>
            </c:extLst>
          </c:dPt>
          <c:dPt>
            <c:idx val="15"/>
            <c:invertIfNegative val="1"/>
            <c:bubble3D val="0"/>
            <c:spPr>
              <a:solidFill>
                <a:srgbClr val="7ECAC4"/>
              </a:solidFill>
            </c:spPr>
            <c:extLst>
              <c:ext xmlns:c16="http://schemas.microsoft.com/office/drawing/2014/chart" uri="{C3380CC4-5D6E-409C-BE32-E72D297353CC}">
                <c16:uniqueId val="{00000057-2993-41DE-A2CB-63102DE87051}"/>
              </c:ext>
            </c:extLst>
          </c:dPt>
          <c:dPt>
            <c:idx val="16"/>
            <c:invertIfNegative val="1"/>
            <c:bubble3D val="0"/>
            <c:spPr>
              <a:solidFill>
                <a:srgbClr val="7ECAC4"/>
              </a:solidFill>
            </c:spPr>
            <c:extLst>
              <c:ext xmlns:c16="http://schemas.microsoft.com/office/drawing/2014/chart" uri="{C3380CC4-5D6E-409C-BE32-E72D297353CC}">
                <c16:uniqueId val="{00000059-2993-41DE-A2CB-63102DE87051}"/>
              </c:ext>
            </c:extLst>
          </c:dPt>
          <c:dPt>
            <c:idx val="17"/>
            <c:invertIfNegative val="1"/>
            <c:bubble3D val="0"/>
            <c:spPr>
              <a:solidFill>
                <a:srgbClr val="7ECAC4"/>
              </a:solidFill>
            </c:spPr>
            <c:extLst>
              <c:ext xmlns:c16="http://schemas.microsoft.com/office/drawing/2014/chart" uri="{C3380CC4-5D6E-409C-BE32-E72D297353CC}">
                <c16:uniqueId val="{0000005B-2993-41DE-A2CB-63102DE87051}"/>
              </c:ext>
            </c:extLst>
          </c:dPt>
          <c:dPt>
            <c:idx val="18"/>
            <c:invertIfNegative val="1"/>
            <c:bubble3D val="0"/>
            <c:spPr>
              <a:solidFill>
                <a:srgbClr val="7ECAC4"/>
              </a:solidFill>
            </c:spPr>
            <c:extLst>
              <c:ext xmlns:c16="http://schemas.microsoft.com/office/drawing/2014/chart" uri="{C3380CC4-5D6E-409C-BE32-E72D297353CC}">
                <c16:uniqueId val="{0000005D-2993-41DE-A2CB-63102DE87051}"/>
              </c:ext>
            </c:extLst>
          </c:dPt>
          <c:dPt>
            <c:idx val="19"/>
            <c:invertIfNegative val="1"/>
            <c:bubble3D val="0"/>
            <c:spPr>
              <a:solidFill>
                <a:srgbClr val="7ECAC4"/>
              </a:solidFill>
            </c:spPr>
            <c:extLst>
              <c:ext xmlns:c16="http://schemas.microsoft.com/office/drawing/2014/chart" uri="{C3380CC4-5D6E-409C-BE32-E72D297353CC}">
                <c16:uniqueId val="{0000005F-2993-41DE-A2CB-63102DE87051}"/>
              </c:ext>
            </c:extLst>
          </c:dPt>
          <c:dPt>
            <c:idx val="20"/>
            <c:invertIfNegative val="1"/>
            <c:bubble3D val="0"/>
            <c:spPr>
              <a:solidFill>
                <a:srgbClr val="7ECAC4"/>
              </a:solidFill>
            </c:spPr>
            <c:extLst>
              <c:ext xmlns:c16="http://schemas.microsoft.com/office/drawing/2014/chart" uri="{C3380CC4-5D6E-409C-BE32-E72D297353CC}">
                <c16:uniqueId val="{00000061-2993-41DE-A2CB-63102DE87051}"/>
              </c:ext>
            </c:extLst>
          </c:dPt>
          <c:dPt>
            <c:idx val="21"/>
            <c:invertIfNegative val="1"/>
            <c:bubble3D val="0"/>
            <c:spPr>
              <a:solidFill>
                <a:srgbClr val="AEABAB"/>
              </a:solidFill>
            </c:spPr>
            <c:extLst>
              <c:ext xmlns:c16="http://schemas.microsoft.com/office/drawing/2014/chart" uri="{C3380CC4-5D6E-409C-BE32-E72D297353CC}">
                <c16:uniqueId val="{00000063-2993-41DE-A2CB-63102DE87051}"/>
              </c:ext>
            </c:extLst>
          </c:dPt>
          <c:dPt>
            <c:idx val="22"/>
            <c:invertIfNegative val="1"/>
            <c:bubble3D val="0"/>
            <c:spPr>
              <a:solidFill>
                <a:srgbClr val="AEABAB"/>
              </a:solidFill>
            </c:spPr>
            <c:extLst>
              <c:ext xmlns:c16="http://schemas.microsoft.com/office/drawing/2014/chart" uri="{C3380CC4-5D6E-409C-BE32-E72D297353CC}">
                <c16:uniqueId val="{00000065-2993-41DE-A2CB-63102DE87051}"/>
              </c:ext>
            </c:extLst>
          </c:dPt>
          <c:dPt>
            <c:idx val="23"/>
            <c:invertIfNegative val="1"/>
            <c:bubble3D val="0"/>
            <c:spPr>
              <a:solidFill>
                <a:srgbClr val="AEABAB"/>
              </a:solidFill>
            </c:spPr>
            <c:extLst>
              <c:ext xmlns:c16="http://schemas.microsoft.com/office/drawing/2014/chart" uri="{C3380CC4-5D6E-409C-BE32-E72D297353CC}">
                <c16:uniqueId val="{00000067-2993-41DE-A2CB-63102DE87051}"/>
              </c:ext>
            </c:extLst>
          </c:dPt>
          <c:dPt>
            <c:idx val="24"/>
            <c:invertIfNegative val="1"/>
            <c:bubble3D val="0"/>
            <c:spPr>
              <a:solidFill>
                <a:srgbClr val="AEABAB"/>
              </a:solidFill>
            </c:spPr>
            <c:extLst>
              <c:ext xmlns:c16="http://schemas.microsoft.com/office/drawing/2014/chart" uri="{C3380CC4-5D6E-409C-BE32-E72D297353CC}">
                <c16:uniqueId val="{00000069-2993-41DE-A2CB-63102DE87051}"/>
              </c:ext>
            </c:extLst>
          </c:dPt>
          <c:dPt>
            <c:idx val="25"/>
            <c:invertIfNegative val="1"/>
            <c:bubble3D val="0"/>
            <c:spPr>
              <a:solidFill>
                <a:srgbClr val="AEABAB"/>
              </a:solidFill>
            </c:spPr>
            <c:extLst>
              <c:ext xmlns:c16="http://schemas.microsoft.com/office/drawing/2014/chart" uri="{C3380CC4-5D6E-409C-BE32-E72D297353CC}">
                <c16:uniqueId val="{0000006B-2993-41DE-A2CB-63102DE87051}"/>
              </c:ext>
            </c:extLst>
          </c:dPt>
          <c:dPt>
            <c:idx val="26"/>
            <c:invertIfNegative val="1"/>
            <c:bubble3D val="0"/>
            <c:spPr>
              <a:solidFill>
                <a:srgbClr val="AEABAB"/>
              </a:solidFill>
            </c:spPr>
            <c:extLst>
              <c:ext xmlns:c16="http://schemas.microsoft.com/office/drawing/2014/chart" uri="{C3380CC4-5D6E-409C-BE32-E72D297353CC}">
                <c16:uniqueId val="{0000006D-2993-41DE-A2CB-63102DE87051}"/>
              </c:ext>
            </c:extLst>
          </c:dPt>
          <c:dPt>
            <c:idx val="27"/>
            <c:invertIfNegative val="1"/>
            <c:bubble3D val="0"/>
            <c:spPr>
              <a:solidFill>
                <a:srgbClr val="AEABAB"/>
              </a:solidFill>
            </c:spPr>
            <c:extLst>
              <c:ext xmlns:c16="http://schemas.microsoft.com/office/drawing/2014/chart" uri="{C3380CC4-5D6E-409C-BE32-E72D297353CC}">
                <c16:uniqueId val="{0000006F-2993-41DE-A2CB-63102DE87051}"/>
              </c:ext>
            </c:extLst>
          </c:dPt>
          <c:dPt>
            <c:idx val="28"/>
            <c:invertIfNegative val="1"/>
            <c:bubble3D val="0"/>
            <c:spPr>
              <a:solidFill>
                <a:srgbClr val="AEABAB"/>
              </a:solidFill>
            </c:spPr>
            <c:extLst>
              <c:ext xmlns:c16="http://schemas.microsoft.com/office/drawing/2014/chart" uri="{C3380CC4-5D6E-409C-BE32-E72D297353CC}">
                <c16:uniqueId val="{00000071-2993-41DE-A2CB-63102DE87051}"/>
              </c:ext>
            </c:extLst>
          </c:dPt>
          <c:dPt>
            <c:idx val="29"/>
            <c:invertIfNegative val="1"/>
            <c:bubble3D val="0"/>
            <c:spPr>
              <a:solidFill>
                <a:srgbClr val="AEABAB"/>
              </a:solidFill>
            </c:spPr>
            <c:extLst>
              <c:ext xmlns:c16="http://schemas.microsoft.com/office/drawing/2014/chart" uri="{C3380CC4-5D6E-409C-BE32-E72D297353CC}">
                <c16:uniqueId val="{00000073-2993-41DE-A2CB-63102DE87051}"/>
              </c:ext>
            </c:extLst>
          </c:dPt>
          <c:dPt>
            <c:idx val="30"/>
            <c:invertIfNegative val="1"/>
            <c:bubble3D val="0"/>
            <c:spPr>
              <a:solidFill>
                <a:srgbClr val="AEABAB"/>
              </a:solidFill>
            </c:spPr>
            <c:extLst>
              <c:ext xmlns:c16="http://schemas.microsoft.com/office/drawing/2014/chart" uri="{C3380CC4-5D6E-409C-BE32-E72D297353CC}">
                <c16:uniqueId val="{00000075-2993-41DE-A2CB-63102DE87051}"/>
              </c:ext>
            </c:extLst>
          </c:dPt>
          <c:dPt>
            <c:idx val="31"/>
            <c:invertIfNegative val="1"/>
            <c:bubble3D val="0"/>
            <c:spPr>
              <a:solidFill>
                <a:srgbClr val="AEABAB"/>
              </a:solidFill>
            </c:spPr>
            <c:extLst>
              <c:ext xmlns:c16="http://schemas.microsoft.com/office/drawing/2014/chart" uri="{C3380CC4-5D6E-409C-BE32-E72D297353CC}">
                <c16:uniqueId val="{00000077-2993-41DE-A2CB-63102DE87051}"/>
              </c:ext>
            </c:extLst>
          </c:dPt>
          <c:dPt>
            <c:idx val="32"/>
            <c:invertIfNegative val="1"/>
            <c:bubble3D val="0"/>
            <c:spPr>
              <a:solidFill>
                <a:srgbClr val="AEABAB"/>
              </a:solidFill>
            </c:spPr>
            <c:extLst>
              <c:ext xmlns:c16="http://schemas.microsoft.com/office/drawing/2014/chart" uri="{C3380CC4-5D6E-409C-BE32-E72D297353CC}">
                <c16:uniqueId val="{00000079-2993-41DE-A2CB-63102DE87051}"/>
              </c:ext>
            </c:extLst>
          </c:dPt>
          <c:dPt>
            <c:idx val="33"/>
            <c:invertIfNegative val="1"/>
            <c:bubble3D val="0"/>
            <c:spPr>
              <a:solidFill>
                <a:srgbClr val="AEABAB"/>
              </a:solidFill>
            </c:spPr>
            <c:extLst>
              <c:ext xmlns:c16="http://schemas.microsoft.com/office/drawing/2014/chart" uri="{C3380CC4-5D6E-409C-BE32-E72D297353CC}">
                <c16:uniqueId val="{0000007B-2993-41DE-A2CB-63102DE87051}"/>
              </c:ext>
            </c:extLst>
          </c:dPt>
          <c:dPt>
            <c:idx val="34"/>
            <c:invertIfNegative val="1"/>
            <c:bubble3D val="0"/>
            <c:spPr>
              <a:solidFill>
                <a:srgbClr val="AEABAB"/>
              </a:solidFill>
            </c:spPr>
            <c:extLst>
              <c:ext xmlns:c16="http://schemas.microsoft.com/office/drawing/2014/chart" uri="{C3380CC4-5D6E-409C-BE32-E72D297353CC}">
                <c16:uniqueId val="{0000007D-2993-41DE-A2CB-63102DE87051}"/>
              </c:ext>
            </c:extLst>
          </c:dPt>
          <c:dPt>
            <c:idx val="35"/>
            <c:invertIfNegative val="1"/>
            <c:bubble3D val="0"/>
            <c:spPr>
              <a:solidFill>
                <a:srgbClr val="AEABAB"/>
              </a:solidFill>
            </c:spPr>
            <c:extLst>
              <c:ext xmlns:c16="http://schemas.microsoft.com/office/drawing/2014/chart" uri="{C3380CC4-5D6E-409C-BE32-E72D297353CC}">
                <c16:uniqueId val="{0000007F-2993-41DE-A2CB-63102DE87051}"/>
              </c:ext>
            </c:extLst>
          </c:dPt>
          <c:dPt>
            <c:idx val="36"/>
            <c:invertIfNegative val="1"/>
            <c:bubble3D val="0"/>
            <c:spPr>
              <a:solidFill>
                <a:srgbClr val="AEABAB"/>
              </a:solidFill>
            </c:spPr>
            <c:extLst>
              <c:ext xmlns:c16="http://schemas.microsoft.com/office/drawing/2014/chart" uri="{C3380CC4-5D6E-409C-BE32-E72D297353CC}">
                <c16:uniqueId val="{00000081-2993-41DE-A2CB-63102DE87051}"/>
              </c:ext>
            </c:extLst>
          </c:dPt>
          <c:dPt>
            <c:idx val="37"/>
            <c:invertIfNegative val="1"/>
            <c:bubble3D val="0"/>
            <c:spPr>
              <a:solidFill>
                <a:srgbClr val="AEABAB"/>
              </a:solidFill>
            </c:spPr>
            <c:extLst>
              <c:ext xmlns:c16="http://schemas.microsoft.com/office/drawing/2014/chart" uri="{C3380CC4-5D6E-409C-BE32-E72D297353CC}">
                <c16:uniqueId val="{00000083-2993-41DE-A2CB-63102DE87051}"/>
              </c:ext>
            </c:extLst>
          </c:dPt>
          <c:dPt>
            <c:idx val="38"/>
            <c:invertIfNegative val="1"/>
            <c:bubble3D val="0"/>
            <c:spPr>
              <a:solidFill>
                <a:srgbClr val="AEABAB"/>
              </a:solidFill>
            </c:spPr>
            <c:extLst>
              <c:ext xmlns:c16="http://schemas.microsoft.com/office/drawing/2014/chart" uri="{C3380CC4-5D6E-409C-BE32-E72D297353CC}">
                <c16:uniqueId val="{00000085-2993-41DE-A2CB-63102DE87051}"/>
              </c:ext>
            </c:extLst>
          </c:dPt>
          <c:dPt>
            <c:idx val="39"/>
            <c:invertIfNegative val="1"/>
            <c:bubble3D val="0"/>
            <c:spPr>
              <a:solidFill>
                <a:srgbClr val="AEABAB"/>
              </a:solidFill>
            </c:spPr>
            <c:extLst>
              <c:ext xmlns:c16="http://schemas.microsoft.com/office/drawing/2014/chart" uri="{C3380CC4-5D6E-409C-BE32-E72D297353CC}">
                <c16:uniqueId val="{00000087-2993-41DE-A2CB-63102DE87051}"/>
              </c:ext>
            </c:extLst>
          </c:dPt>
          <c:dPt>
            <c:idx val="40"/>
            <c:invertIfNegative val="1"/>
            <c:bubble3D val="0"/>
            <c:spPr>
              <a:solidFill>
                <a:srgbClr val="AEABAB"/>
              </a:solidFill>
            </c:spPr>
            <c:extLst>
              <c:ext xmlns:c16="http://schemas.microsoft.com/office/drawing/2014/chart" uri="{C3380CC4-5D6E-409C-BE32-E72D297353CC}">
                <c16:uniqueId val="{00000089-2993-41DE-A2CB-63102DE87051}"/>
              </c:ext>
            </c:extLst>
          </c:dPt>
          <c:dPt>
            <c:idx val="41"/>
            <c:invertIfNegative val="1"/>
            <c:bubble3D val="0"/>
            <c:spPr>
              <a:solidFill>
                <a:srgbClr val="AEABAB"/>
              </a:solidFill>
            </c:spPr>
            <c:extLst>
              <c:ext xmlns:c16="http://schemas.microsoft.com/office/drawing/2014/chart" uri="{C3380CC4-5D6E-409C-BE32-E72D297353CC}">
                <c16:uniqueId val="{0000008B-2993-41DE-A2CB-63102DE87051}"/>
              </c:ext>
            </c:extLst>
          </c:dPt>
          <c:dPt>
            <c:idx val="42"/>
            <c:invertIfNegative val="1"/>
            <c:bubble3D val="0"/>
            <c:spPr>
              <a:solidFill>
                <a:srgbClr val="AEABAB"/>
              </a:solidFill>
            </c:spPr>
            <c:extLst>
              <c:ext xmlns:c16="http://schemas.microsoft.com/office/drawing/2014/chart" uri="{C3380CC4-5D6E-409C-BE32-E72D297353CC}">
                <c16:uniqueId val="{0000008D-2993-41DE-A2CB-63102DE87051}"/>
              </c:ext>
            </c:extLst>
          </c:dPt>
          <c:dPt>
            <c:idx val="43"/>
            <c:invertIfNegative val="1"/>
            <c:bubble3D val="0"/>
            <c:spPr>
              <a:solidFill>
                <a:srgbClr val="AEABAB"/>
              </a:solidFill>
            </c:spPr>
            <c:extLst>
              <c:ext xmlns:c16="http://schemas.microsoft.com/office/drawing/2014/chart" uri="{C3380CC4-5D6E-409C-BE32-E72D297353CC}">
                <c16:uniqueId val="{0000008F-2993-41DE-A2CB-63102DE87051}"/>
              </c:ext>
            </c:extLst>
          </c:dPt>
          <c:dPt>
            <c:idx val="44"/>
            <c:invertIfNegative val="1"/>
            <c:bubble3D val="0"/>
            <c:spPr>
              <a:solidFill>
                <a:srgbClr val="AEABAB"/>
              </a:solidFill>
            </c:spPr>
            <c:extLst>
              <c:ext xmlns:c16="http://schemas.microsoft.com/office/drawing/2014/chart" uri="{C3380CC4-5D6E-409C-BE32-E72D297353CC}">
                <c16:uniqueId val="{00000091-2993-41DE-A2CB-63102DE87051}"/>
              </c:ext>
            </c:extLst>
          </c:dPt>
          <c:dPt>
            <c:idx val="45"/>
            <c:invertIfNegative val="1"/>
            <c:bubble3D val="0"/>
            <c:spPr>
              <a:solidFill>
                <a:srgbClr val="AEABAB"/>
              </a:solidFill>
            </c:spPr>
            <c:extLst>
              <c:ext xmlns:c16="http://schemas.microsoft.com/office/drawing/2014/chart" uri="{C3380CC4-5D6E-409C-BE32-E72D297353CC}">
                <c16:uniqueId val="{00000093-2993-41DE-A2CB-63102DE87051}"/>
              </c:ext>
            </c:extLst>
          </c:dPt>
          <c:dPt>
            <c:idx val="46"/>
            <c:invertIfNegative val="1"/>
            <c:bubble3D val="0"/>
            <c:spPr>
              <a:solidFill>
                <a:srgbClr val="AEABAB"/>
              </a:solidFill>
            </c:spPr>
            <c:extLst>
              <c:ext xmlns:c16="http://schemas.microsoft.com/office/drawing/2014/chart" uri="{C3380CC4-5D6E-409C-BE32-E72D297353CC}">
                <c16:uniqueId val="{00000095-2993-41DE-A2CB-63102DE87051}"/>
              </c:ext>
            </c:extLst>
          </c:dPt>
          <c:dPt>
            <c:idx val="47"/>
            <c:invertIfNegative val="1"/>
            <c:bubble3D val="0"/>
            <c:spPr>
              <a:solidFill>
                <a:srgbClr val="AEABAB"/>
              </a:solidFill>
            </c:spPr>
            <c:extLst>
              <c:ext xmlns:c16="http://schemas.microsoft.com/office/drawing/2014/chart" uri="{C3380CC4-5D6E-409C-BE32-E72D297353CC}">
                <c16:uniqueId val="{00000097-2993-41DE-A2CB-63102DE87051}"/>
              </c:ext>
            </c:extLst>
          </c:dPt>
          <c:dPt>
            <c:idx val="48"/>
            <c:invertIfNegative val="1"/>
            <c:bubble3D val="0"/>
            <c:spPr>
              <a:solidFill>
                <a:srgbClr val="AEABAB"/>
              </a:solidFill>
            </c:spPr>
            <c:extLst>
              <c:ext xmlns:c16="http://schemas.microsoft.com/office/drawing/2014/chart" uri="{C3380CC4-5D6E-409C-BE32-E72D297353CC}">
                <c16:uniqueId val="{00000099-2993-41DE-A2CB-63102DE87051}"/>
              </c:ext>
            </c:extLst>
          </c:dPt>
          <c:dPt>
            <c:idx val="49"/>
            <c:invertIfNegative val="1"/>
            <c:bubble3D val="0"/>
            <c:spPr>
              <a:solidFill>
                <a:srgbClr val="AEABAB"/>
              </a:solidFill>
            </c:spPr>
            <c:extLst>
              <c:ext xmlns:c16="http://schemas.microsoft.com/office/drawing/2014/chart" uri="{C3380CC4-5D6E-409C-BE32-E72D297353CC}">
                <c16:uniqueId val="{0000009B-2993-41DE-A2CB-63102DE87051}"/>
              </c:ext>
            </c:extLst>
          </c:dPt>
          <c:dPt>
            <c:idx val="50"/>
            <c:invertIfNegative val="1"/>
            <c:bubble3D val="0"/>
            <c:spPr>
              <a:solidFill>
                <a:srgbClr val="AEABAB"/>
              </a:solidFill>
            </c:spPr>
            <c:extLst>
              <c:ext xmlns:c16="http://schemas.microsoft.com/office/drawing/2014/chart" uri="{C3380CC4-5D6E-409C-BE32-E72D297353CC}">
                <c16:uniqueId val="{0000009D-2993-41DE-A2CB-63102DE87051}"/>
              </c:ext>
            </c:extLst>
          </c:dPt>
          <c:dPt>
            <c:idx val="51"/>
            <c:invertIfNegative val="1"/>
            <c:bubble3D val="0"/>
            <c:spPr>
              <a:solidFill>
                <a:srgbClr val="AEABAB"/>
              </a:solidFill>
            </c:spPr>
            <c:extLst>
              <c:ext xmlns:c16="http://schemas.microsoft.com/office/drawing/2014/chart" uri="{C3380CC4-5D6E-409C-BE32-E72D297353CC}">
                <c16:uniqueId val="{0000009F-2993-41DE-A2CB-63102DE87051}"/>
              </c:ext>
            </c:extLst>
          </c:dPt>
          <c:dPt>
            <c:idx val="52"/>
            <c:invertIfNegative val="1"/>
            <c:bubble3D val="0"/>
            <c:spPr>
              <a:solidFill>
                <a:srgbClr val="AEABAB"/>
              </a:solidFill>
            </c:spPr>
            <c:extLst>
              <c:ext xmlns:c16="http://schemas.microsoft.com/office/drawing/2014/chart" uri="{C3380CC4-5D6E-409C-BE32-E72D297353CC}">
                <c16:uniqueId val="{000000A1-2993-41DE-A2CB-63102DE87051}"/>
              </c:ext>
            </c:extLst>
          </c:dPt>
          <c:dPt>
            <c:idx val="53"/>
            <c:invertIfNegative val="1"/>
            <c:bubble3D val="0"/>
            <c:spPr>
              <a:solidFill>
                <a:srgbClr val="AEABAB"/>
              </a:solidFill>
            </c:spPr>
            <c:extLst>
              <c:ext xmlns:c16="http://schemas.microsoft.com/office/drawing/2014/chart" uri="{C3380CC4-5D6E-409C-BE32-E72D297353CC}">
                <c16:uniqueId val="{000000A3-2993-41DE-A2CB-63102DE87051}"/>
              </c:ext>
            </c:extLst>
          </c:dPt>
          <c:dPt>
            <c:idx val="54"/>
            <c:invertIfNegative val="0"/>
            <c:bubble3D val="0"/>
            <c:spPr>
              <a:solidFill>
                <a:srgbClr val="AEABAB"/>
              </a:solidFill>
            </c:spPr>
            <c:extLst>
              <c:ext xmlns:c16="http://schemas.microsoft.com/office/drawing/2014/chart" uri="{C3380CC4-5D6E-409C-BE32-E72D297353CC}">
                <c16:uniqueId val="{00000072-C76F-4230-900D-40618C09729F}"/>
              </c:ext>
            </c:extLst>
          </c:dPt>
          <c:dPt>
            <c:idx val="55"/>
            <c:invertIfNegative val="0"/>
            <c:bubble3D val="0"/>
            <c:spPr>
              <a:solidFill>
                <a:srgbClr val="AEABAB"/>
              </a:solidFill>
            </c:spPr>
            <c:extLst>
              <c:ext xmlns:c16="http://schemas.microsoft.com/office/drawing/2014/chart" uri="{C3380CC4-5D6E-409C-BE32-E72D297353CC}">
                <c16:uniqueId val="{00000074-C76F-4230-900D-40618C09729F}"/>
              </c:ext>
            </c:extLst>
          </c:dPt>
          <c:dPt>
            <c:idx val="56"/>
            <c:invertIfNegative val="0"/>
            <c:bubble3D val="0"/>
            <c:spPr>
              <a:solidFill>
                <a:srgbClr val="AEABAB"/>
              </a:solidFill>
            </c:spPr>
            <c:extLst>
              <c:ext xmlns:c16="http://schemas.microsoft.com/office/drawing/2014/chart" uri="{C3380CC4-5D6E-409C-BE32-E72D297353CC}">
                <c16:uniqueId val="{00000076-C76F-4230-900D-40618C09729F}"/>
              </c:ext>
            </c:extLst>
          </c:dPt>
          <c:dPt>
            <c:idx val="57"/>
            <c:invertIfNegative val="0"/>
            <c:bubble3D val="0"/>
            <c:spPr>
              <a:solidFill>
                <a:srgbClr val="AEABAB"/>
              </a:solidFill>
            </c:spPr>
            <c:extLst>
              <c:ext xmlns:c16="http://schemas.microsoft.com/office/drawing/2014/chart" uri="{C3380CC4-5D6E-409C-BE32-E72D297353CC}">
                <c16:uniqueId val="{00000078-C76F-4230-900D-40618C09729F}"/>
              </c:ext>
            </c:extLst>
          </c:dPt>
          <c:dPt>
            <c:idx val="58"/>
            <c:invertIfNegative val="0"/>
            <c:bubble3D val="0"/>
            <c:spPr>
              <a:solidFill>
                <a:srgbClr val="AEABAB"/>
              </a:solidFill>
            </c:spPr>
            <c:extLst>
              <c:ext xmlns:c16="http://schemas.microsoft.com/office/drawing/2014/chart" uri="{C3380CC4-5D6E-409C-BE32-E72D297353CC}">
                <c16:uniqueId val="{0000007A-C76F-4230-900D-40618C09729F}"/>
              </c:ext>
            </c:extLst>
          </c:dPt>
          <c:dPt>
            <c:idx val="59"/>
            <c:invertIfNegative val="0"/>
            <c:bubble3D val="0"/>
            <c:spPr>
              <a:solidFill>
                <a:srgbClr val="AEABAB"/>
              </a:solidFill>
            </c:spPr>
            <c:extLst>
              <c:ext xmlns:c16="http://schemas.microsoft.com/office/drawing/2014/chart" uri="{C3380CC4-5D6E-409C-BE32-E72D297353CC}">
                <c16:uniqueId val="{0000007C-C76F-4230-900D-40618C09729F}"/>
              </c:ext>
            </c:extLst>
          </c:dPt>
          <c:dPt>
            <c:idx val="60"/>
            <c:invertIfNegative val="0"/>
            <c:bubble3D val="0"/>
            <c:spPr>
              <a:solidFill>
                <a:srgbClr val="AEABAB"/>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62</c:f>
              <c:strCache>
                <c:ptCount val="61"/>
                <c:pt idx="0">
                  <c:v>Ruinart</c:v>
                </c:pt>
                <c:pt idx="1">
                  <c:v>Ruinart</c:v>
                </c:pt>
                <c:pt idx="2">
                  <c:v>Ruinart</c:v>
                </c:pt>
                <c:pt idx="3">
                  <c:v>Ruinart</c:v>
                </c:pt>
                <c:pt idx="4">
                  <c:v>Malard</c:v>
                </c:pt>
                <c:pt idx="5">
                  <c:v>Nicolas</c:v>
                </c:pt>
                <c:pt idx="6">
                  <c:v>Besserat De</c:v>
                </c:pt>
                <c:pt idx="7">
                  <c:v>Perrier Jou</c:v>
                </c:pt>
                <c:pt idx="8">
                  <c:v>Delamotte</c:v>
                </c:pt>
                <c:pt idx="9">
                  <c:v>Ruinart</c:v>
                </c:pt>
                <c:pt idx="10">
                  <c:v>Ayala</c:v>
                </c:pt>
                <c:pt idx="11">
                  <c:v>All Others</c:v>
                </c:pt>
                <c:pt idx="12">
                  <c:v>Henriot</c:v>
                </c:pt>
                <c:pt idx="13">
                  <c:v>De Bligny</c:v>
                </c:pt>
                <c:pt idx="14">
                  <c:v>Henriot</c:v>
                </c:pt>
                <c:pt idx="15">
                  <c:v>Deutz</c:v>
                </c:pt>
                <c:pt idx="16">
                  <c:v>De Venoge</c:v>
                </c:pt>
                <c:pt idx="17">
                  <c:v>Laurent Per</c:v>
                </c:pt>
                <c:pt idx="18">
                  <c:v>Laurent Per</c:v>
                </c:pt>
                <c:pt idx="19">
                  <c:v>Taittinger</c:v>
                </c:pt>
                <c:pt idx="20">
                  <c:v>Taittinger</c:v>
                </c:pt>
                <c:pt idx="21">
                  <c:v>Nicolas</c:v>
                </c:pt>
                <c:pt idx="22">
                  <c:v>Nicolas</c:v>
                </c:pt>
                <c:pt idx="23">
                  <c:v>Lanson</c:v>
                </c:pt>
                <c:pt idx="24">
                  <c:v>All Others</c:v>
                </c:pt>
                <c:pt idx="25">
                  <c:v>Vesselle</c:v>
                </c:pt>
                <c:pt idx="26">
                  <c:v>Deutz</c:v>
                </c:pt>
                <c:pt idx="27">
                  <c:v>Delamotte</c:v>
                </c:pt>
                <c:pt idx="28">
                  <c:v>All Others</c:v>
                </c:pt>
                <c:pt idx="29">
                  <c:v>Nicolas</c:v>
                </c:pt>
                <c:pt idx="30">
                  <c:v>Perrier Jou</c:v>
                </c:pt>
                <c:pt idx="31">
                  <c:v>Deutz</c:v>
                </c:pt>
                <c:pt idx="32">
                  <c:v>All Others</c:v>
                </c:pt>
                <c:pt idx="33">
                  <c:v>Taittinger</c:v>
                </c:pt>
                <c:pt idx="34">
                  <c:v>Ayala</c:v>
                </c:pt>
                <c:pt idx="35">
                  <c:v>Deutz</c:v>
                </c:pt>
                <c:pt idx="36">
                  <c:v>Krug</c:v>
                </c:pt>
                <c:pt idx="37">
                  <c:v>Laurent Per</c:v>
                </c:pt>
                <c:pt idx="38">
                  <c:v>All Others</c:v>
                </c:pt>
                <c:pt idx="39">
                  <c:v>Besserat De</c:v>
                </c:pt>
                <c:pt idx="40">
                  <c:v>Ruinart</c:v>
                </c:pt>
                <c:pt idx="41">
                  <c:v>All Others</c:v>
                </c:pt>
                <c:pt idx="42">
                  <c:v>All Others</c:v>
                </c:pt>
                <c:pt idx="43">
                  <c:v>Krug</c:v>
                </c:pt>
                <c:pt idx="44">
                  <c:v>Taittinger</c:v>
                </c:pt>
                <c:pt idx="45">
                  <c:v>De Venoge</c:v>
                </c:pt>
                <c:pt idx="46">
                  <c:v>Delamotte</c:v>
                </c:pt>
                <c:pt idx="47">
                  <c:v>All Others</c:v>
                </c:pt>
                <c:pt idx="48">
                  <c:v>All Others</c:v>
                </c:pt>
                <c:pt idx="49">
                  <c:v>Vranken</c:v>
                </c:pt>
                <c:pt idx="50">
                  <c:v>Canard Duch</c:v>
                </c:pt>
                <c:pt idx="51">
                  <c:v>All Others</c:v>
                </c:pt>
                <c:pt idx="52">
                  <c:v>Piper Heids</c:v>
                </c:pt>
                <c:pt idx="53">
                  <c:v>Ruinart</c:v>
                </c:pt>
                <c:pt idx="54">
                  <c:v>All Others</c:v>
                </c:pt>
                <c:pt idx="55">
                  <c:v>Ayala</c:v>
                </c:pt>
                <c:pt idx="56">
                  <c:v>Ruinart</c:v>
                </c:pt>
                <c:pt idx="57">
                  <c:v>Nicolas</c:v>
                </c:pt>
                <c:pt idx="58">
                  <c:v>Besserat De</c:v>
                </c:pt>
                <c:pt idx="59">
                  <c:v>Deutz</c:v>
                </c:pt>
                <c:pt idx="60">
                  <c:v>Pommery</c:v>
                </c:pt>
              </c:strCache>
            </c:strRef>
          </c:cat>
          <c:val>
            <c:numRef>
              <c:f>Sheet1!$C$2:$C$62</c:f>
              <c:numCache>
                <c:formatCode>General</c:formatCode>
                <c:ptCount val="61"/>
                <c:pt idx="0">
                  <c:v>0.39108002892463772</c:v>
                </c:pt>
                <c:pt idx="1">
                  <c:v>0.55231826926063743</c:v>
                </c:pt>
                <c:pt idx="2">
                  <c:v>0.61637146054250314</c:v>
                </c:pt>
                <c:pt idx="3">
                  <c:v>0.66416321181951432</c:v>
                </c:pt>
                <c:pt idx="4">
                  <c:v>0.70623252259105229</c:v>
                </c:pt>
                <c:pt idx="5">
                  <c:v>0.74529848217891237</c:v>
                </c:pt>
                <c:pt idx="6">
                  <c:v>0.7718608930084585</c:v>
                </c:pt>
                <c:pt idx="7">
                  <c:v>0.79450504122338794</c:v>
                </c:pt>
                <c:pt idx="8">
                  <c:v>0.81352566339205667</c:v>
                </c:pt>
                <c:pt idx="9">
                  <c:v>0.82980407964533365</c:v>
                </c:pt>
                <c:pt idx="10">
                  <c:v>0.84500035036087173</c:v>
                </c:pt>
                <c:pt idx="11">
                  <c:v>0.85906571397405307</c:v>
                </c:pt>
                <c:pt idx="12">
                  <c:v>0.87205687837854429</c:v>
                </c:pt>
                <c:pt idx="13">
                  <c:v>0.88504190243786152</c:v>
                </c:pt>
                <c:pt idx="14">
                  <c:v>0.89619782602885101</c:v>
                </c:pt>
                <c:pt idx="15">
                  <c:v>0.90733207781334368</c:v>
                </c:pt>
                <c:pt idx="16">
                  <c:v>0.91610482508323787</c:v>
                </c:pt>
                <c:pt idx="17">
                  <c:v>0.92479738666909395</c:v>
                </c:pt>
                <c:pt idx="18">
                  <c:v>0.93312152754450495</c:v>
                </c:pt>
                <c:pt idx="19">
                  <c:v>0.94144277884571637</c:v>
                </c:pt>
                <c:pt idx="20">
                  <c:v>0.94794034763022417</c:v>
                </c:pt>
                <c:pt idx="21">
                  <c:v>0.9537379170648862</c:v>
                </c:pt>
                <c:pt idx="22">
                  <c:v>0.9593473029798012</c:v>
                </c:pt>
                <c:pt idx="23">
                  <c:v>0.96386515224082869</c:v>
                </c:pt>
                <c:pt idx="24">
                  <c:v>0.96738465361590487</c:v>
                </c:pt>
                <c:pt idx="25">
                  <c:v>0.97090126541678146</c:v>
                </c:pt>
                <c:pt idx="26">
                  <c:v>0.97378253209052756</c:v>
                </c:pt>
                <c:pt idx="27">
                  <c:v>0.9765193200542952</c:v>
                </c:pt>
                <c:pt idx="28">
                  <c:v>0.97908201117253879</c:v>
                </c:pt>
                <c:pt idx="29">
                  <c:v>0.98137055393859818</c:v>
                </c:pt>
                <c:pt idx="30">
                  <c:v>0.983286702829688</c:v>
                </c:pt>
                <c:pt idx="31">
                  <c:v>0.98515481254970994</c:v>
                </c:pt>
                <c:pt idx="32">
                  <c:v>0.98670217953357964</c:v>
                </c:pt>
                <c:pt idx="33">
                  <c:v>0.98796636824589146</c:v>
                </c:pt>
                <c:pt idx="34">
                  <c:v>0.98921394190655576</c:v>
                </c:pt>
                <c:pt idx="35">
                  <c:v>0.99041600477357683</c:v>
                </c:pt>
                <c:pt idx="36">
                  <c:v>0.9914670873886704</c:v>
                </c:pt>
                <c:pt idx="37">
                  <c:v>0.9924015034454563</c:v>
                </c:pt>
                <c:pt idx="38">
                  <c:v>0.99331966564736962</c:v>
                </c:pt>
                <c:pt idx="39">
                  <c:v>0.99421037689438707</c:v>
                </c:pt>
                <c:pt idx="40">
                  <c:v>0.99483958167634345</c:v>
                </c:pt>
                <c:pt idx="41">
                  <c:v>0.99546770286797492</c:v>
                </c:pt>
                <c:pt idx="42">
                  <c:v>0.99608896132088243</c:v>
                </c:pt>
                <c:pt idx="43">
                  <c:v>0.99661269664455443</c:v>
                </c:pt>
                <c:pt idx="44">
                  <c:v>0.9970775568939102</c:v>
                </c:pt>
                <c:pt idx="45">
                  <c:v>0.99753158124001762</c:v>
                </c:pt>
                <c:pt idx="46">
                  <c:v>0.9979841607990253</c:v>
                </c:pt>
                <c:pt idx="47">
                  <c:v>0.99838581161276552</c:v>
                </c:pt>
                <c:pt idx="48">
                  <c:v>0.9986639331294741</c:v>
                </c:pt>
                <c:pt idx="49">
                  <c:v>0.99888787512994082</c:v>
                </c:pt>
                <c:pt idx="50">
                  <c:v>0.99910820516265797</c:v>
                </c:pt>
                <c:pt idx="51">
                  <c:v>0.99929963945337952</c:v>
                </c:pt>
                <c:pt idx="52">
                  <c:v>0.9994740974956785</c:v>
                </c:pt>
                <c:pt idx="53">
                  <c:v>0.99961424184435765</c:v>
                </c:pt>
                <c:pt idx="54">
                  <c:v>0.99973163079621519</c:v>
                </c:pt>
                <c:pt idx="55">
                  <c:v>0.99981506725122782</c:v>
                </c:pt>
                <c:pt idx="56">
                  <c:v>0.99989272455784128</c:v>
                </c:pt>
                <c:pt idx="57">
                  <c:v>0.99993498458051</c:v>
                </c:pt>
                <c:pt idx="58">
                  <c:v>0.99996026835475627</c:v>
                </c:pt>
                <c:pt idx="59">
                  <c:v>0.99998194016125308</c:v>
                </c:pt>
                <c:pt idx="60">
                  <c:v>1.000000000000000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39</c:f>
              <c:strCache>
                <c:ptCount val="38"/>
                <c:pt idx="0">
                  <c:v>Ruinart</c:v>
                </c:pt>
                <c:pt idx="1">
                  <c:v>Ruinart</c:v>
                </c:pt>
                <c:pt idx="2">
                  <c:v>Malard</c:v>
                </c:pt>
                <c:pt idx="3">
                  <c:v>Ruinart</c:v>
                </c:pt>
                <c:pt idx="4">
                  <c:v>Nicolas</c:v>
                </c:pt>
                <c:pt idx="5">
                  <c:v>Besserat De</c:v>
                </c:pt>
                <c:pt idx="6">
                  <c:v>Delamotte</c:v>
                </c:pt>
                <c:pt idx="7">
                  <c:v>Ruinart</c:v>
                </c:pt>
                <c:pt idx="8">
                  <c:v>Henriot</c:v>
                </c:pt>
                <c:pt idx="9">
                  <c:v>De Bligny</c:v>
                </c:pt>
                <c:pt idx="10">
                  <c:v>Ayala</c:v>
                </c:pt>
                <c:pt idx="11">
                  <c:v>Henriot</c:v>
                </c:pt>
                <c:pt idx="12">
                  <c:v>De Venoge</c:v>
                </c:pt>
                <c:pt idx="13">
                  <c:v>Perrier Jou</c:v>
                </c:pt>
                <c:pt idx="14">
                  <c:v>Deutz</c:v>
                </c:pt>
                <c:pt idx="15">
                  <c:v>Nicolas</c:v>
                </c:pt>
                <c:pt idx="16">
                  <c:v>Taittinger</c:v>
                </c:pt>
                <c:pt idx="17">
                  <c:v>Nicolas</c:v>
                </c:pt>
                <c:pt idx="18">
                  <c:v>Ruinart</c:v>
                </c:pt>
                <c:pt idx="19">
                  <c:v>Delamotte</c:v>
                </c:pt>
                <c:pt idx="20">
                  <c:v>Lanson</c:v>
                </c:pt>
                <c:pt idx="21">
                  <c:v>Vesselle</c:v>
                </c:pt>
                <c:pt idx="22">
                  <c:v>Ayala</c:v>
                </c:pt>
                <c:pt idx="23">
                  <c:v>Laurent Per</c:v>
                </c:pt>
                <c:pt idx="24">
                  <c:v>Nicolas</c:v>
                </c:pt>
                <c:pt idx="25">
                  <c:v>Deutz</c:v>
                </c:pt>
                <c:pt idx="26">
                  <c:v>Taittinger</c:v>
                </c:pt>
                <c:pt idx="27">
                  <c:v>All Others</c:v>
                </c:pt>
                <c:pt idx="28">
                  <c:v>Besserat De</c:v>
                </c:pt>
                <c:pt idx="29">
                  <c:v>Laurent Per</c:v>
                </c:pt>
                <c:pt idx="30">
                  <c:v>Taittinger</c:v>
                </c:pt>
                <c:pt idx="31">
                  <c:v>De Venoge</c:v>
                </c:pt>
                <c:pt idx="32">
                  <c:v>Ruinart</c:v>
                </c:pt>
                <c:pt idx="33">
                  <c:v>Nicolas</c:v>
                </c:pt>
                <c:pt idx="34">
                  <c:v>All Others</c:v>
                </c:pt>
                <c:pt idx="35">
                  <c:v>Deutz</c:v>
                </c:pt>
                <c:pt idx="36">
                  <c:v>Besserat De</c:v>
                </c:pt>
                <c:pt idx="37">
                  <c:v>All Others</c:v>
                </c:pt>
              </c:strCache>
            </c:strRef>
          </c:cat>
          <c:val>
            <c:numRef>
              <c:f>Sheet1!$B$2:$B$39</c:f>
              <c:numCache>
                <c:formatCode>General</c:formatCode>
                <c:ptCount val="38"/>
                <c:pt idx="0">
                  <c:v>0.88</c:v>
                </c:pt>
                <c:pt idx="1">
                  <c:v>0.73</c:v>
                </c:pt>
                <c:pt idx="2">
                  <c:v>0.7</c:v>
                </c:pt>
                <c:pt idx="3">
                  <c:v>0.37</c:v>
                </c:pt>
                <c:pt idx="4">
                  <c:v>0.69</c:v>
                </c:pt>
                <c:pt idx="5">
                  <c:v>0.39</c:v>
                </c:pt>
                <c:pt idx="6">
                  <c:v>0.31</c:v>
                </c:pt>
                <c:pt idx="7">
                  <c:v>0.36</c:v>
                </c:pt>
                <c:pt idx="8">
                  <c:v>0.43</c:v>
                </c:pt>
                <c:pt idx="9">
                  <c:v>0.55000000000000004</c:v>
                </c:pt>
                <c:pt idx="10">
                  <c:v>0.38</c:v>
                </c:pt>
                <c:pt idx="11">
                  <c:v>0.41</c:v>
                </c:pt>
                <c:pt idx="12">
                  <c:v>0.37</c:v>
                </c:pt>
                <c:pt idx="13">
                  <c:v>0.23</c:v>
                </c:pt>
                <c:pt idx="14">
                  <c:v>0.12</c:v>
                </c:pt>
                <c:pt idx="15">
                  <c:v>0.19</c:v>
                </c:pt>
                <c:pt idx="16">
                  <c:v>7.0000000000000007E-2</c:v>
                </c:pt>
                <c:pt idx="17">
                  <c:v>0.3</c:v>
                </c:pt>
                <c:pt idx="18">
                  <c:v>0.08</c:v>
                </c:pt>
                <c:pt idx="19">
                  <c:v>0.18</c:v>
                </c:pt>
                <c:pt idx="20">
                  <c:v>0.17</c:v>
                </c:pt>
                <c:pt idx="21">
                  <c:v>0.18</c:v>
                </c:pt>
                <c:pt idx="22">
                  <c:v>0.08</c:v>
                </c:pt>
                <c:pt idx="23">
                  <c:v>0.09</c:v>
                </c:pt>
                <c:pt idx="24">
                  <c:v>0.05</c:v>
                </c:pt>
                <c:pt idx="25">
                  <c:v>0.06</c:v>
                </c:pt>
                <c:pt idx="26">
                  <c:v>0.04</c:v>
                </c:pt>
                <c:pt idx="27">
                  <c:v>0.1</c:v>
                </c:pt>
                <c:pt idx="28">
                  <c:v>0.11</c:v>
                </c:pt>
                <c:pt idx="29">
                  <c:v>0.04</c:v>
                </c:pt>
                <c:pt idx="30">
                  <c:v>0.08</c:v>
                </c:pt>
                <c:pt idx="31">
                  <c:v>0.05</c:v>
                </c:pt>
                <c:pt idx="32">
                  <c:v>0.04</c:v>
                </c:pt>
                <c:pt idx="33">
                  <c:v>0.05</c:v>
                </c:pt>
                <c:pt idx="34">
                  <c:v>0.03</c:v>
                </c:pt>
                <c:pt idx="35">
                  <c:v>0.02</c:v>
                </c:pt>
                <c:pt idx="36">
                  <c:v>0.01</c:v>
                </c:pt>
                <c:pt idx="37">
                  <c:v>0.02</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7ECAC4"/>
              </a:solidFill>
            </c:spPr>
            <c:extLst>
              <c:ext xmlns:c16="http://schemas.microsoft.com/office/drawing/2014/chart" uri="{C3380CC4-5D6E-409C-BE32-E72D297353CC}">
                <c16:uniqueId val="{00000049-2993-41DE-A2CB-63102DE87051}"/>
              </c:ext>
            </c:extLst>
          </c:dPt>
          <c:dPt>
            <c:idx val="9"/>
            <c:invertIfNegative val="1"/>
            <c:bubble3D val="0"/>
            <c:spPr>
              <a:solidFill>
                <a:srgbClr val="7ECAC4"/>
              </a:solidFill>
            </c:spPr>
            <c:extLst>
              <c:ext xmlns:c16="http://schemas.microsoft.com/office/drawing/2014/chart" uri="{C3380CC4-5D6E-409C-BE32-E72D297353CC}">
                <c16:uniqueId val="{0000004B-2993-41DE-A2CB-63102DE87051}"/>
              </c:ext>
            </c:extLst>
          </c:dPt>
          <c:dPt>
            <c:idx val="10"/>
            <c:invertIfNegative val="1"/>
            <c:bubble3D val="0"/>
            <c:spPr>
              <a:solidFill>
                <a:srgbClr val="7ECAC4"/>
              </a:solidFill>
            </c:spPr>
            <c:extLst>
              <c:ext xmlns:c16="http://schemas.microsoft.com/office/drawing/2014/chart" uri="{C3380CC4-5D6E-409C-BE32-E72D297353CC}">
                <c16:uniqueId val="{0000004D-2993-41DE-A2CB-63102DE87051}"/>
              </c:ext>
            </c:extLst>
          </c:dPt>
          <c:dPt>
            <c:idx val="11"/>
            <c:invertIfNegative val="1"/>
            <c:bubble3D val="0"/>
            <c:spPr>
              <a:solidFill>
                <a:srgbClr val="7ECAC4"/>
              </a:solidFill>
            </c:spPr>
            <c:extLst>
              <c:ext xmlns:c16="http://schemas.microsoft.com/office/drawing/2014/chart" uri="{C3380CC4-5D6E-409C-BE32-E72D297353CC}">
                <c16:uniqueId val="{0000004F-2993-41DE-A2CB-63102DE87051}"/>
              </c:ext>
            </c:extLst>
          </c:dPt>
          <c:dPt>
            <c:idx val="12"/>
            <c:invertIfNegative val="1"/>
            <c:bubble3D val="0"/>
            <c:spPr>
              <a:solidFill>
                <a:srgbClr val="7ECAC4"/>
              </a:solidFill>
            </c:spPr>
            <c:extLst>
              <c:ext xmlns:c16="http://schemas.microsoft.com/office/drawing/2014/chart" uri="{C3380CC4-5D6E-409C-BE32-E72D297353CC}">
                <c16:uniqueId val="{00000051-2993-41DE-A2CB-63102DE87051}"/>
              </c:ext>
            </c:extLst>
          </c:dPt>
          <c:dPt>
            <c:idx val="13"/>
            <c:invertIfNegative val="1"/>
            <c:bubble3D val="0"/>
            <c:spPr>
              <a:solidFill>
                <a:srgbClr val="7ECAC4"/>
              </a:solidFill>
            </c:spPr>
            <c:extLst>
              <c:ext xmlns:c16="http://schemas.microsoft.com/office/drawing/2014/chart" uri="{C3380CC4-5D6E-409C-BE32-E72D297353CC}">
                <c16:uniqueId val="{00000053-2993-41DE-A2CB-63102DE87051}"/>
              </c:ext>
            </c:extLst>
          </c:dPt>
          <c:dPt>
            <c:idx val="14"/>
            <c:invertIfNegative val="1"/>
            <c:bubble3D val="0"/>
            <c:spPr>
              <a:solidFill>
                <a:srgbClr val="7ECAC4"/>
              </a:solidFill>
            </c:spPr>
            <c:extLst>
              <c:ext xmlns:c16="http://schemas.microsoft.com/office/drawing/2014/chart" uri="{C3380CC4-5D6E-409C-BE32-E72D297353CC}">
                <c16:uniqueId val="{00000055-2993-41DE-A2CB-63102DE87051}"/>
              </c:ext>
            </c:extLst>
          </c:dPt>
          <c:dPt>
            <c:idx val="15"/>
            <c:invertIfNegative val="1"/>
            <c:bubble3D val="0"/>
            <c:spPr>
              <a:solidFill>
                <a:srgbClr val="7ECAC4"/>
              </a:solidFill>
            </c:spPr>
            <c:extLst>
              <c:ext xmlns:c16="http://schemas.microsoft.com/office/drawing/2014/chart" uri="{C3380CC4-5D6E-409C-BE32-E72D297353CC}">
                <c16:uniqueId val="{00000057-2993-41DE-A2CB-63102DE87051}"/>
              </c:ext>
            </c:extLst>
          </c:dPt>
          <c:dPt>
            <c:idx val="16"/>
            <c:invertIfNegative val="1"/>
            <c:bubble3D val="0"/>
            <c:spPr>
              <a:solidFill>
                <a:srgbClr val="7ECAC4"/>
              </a:solidFill>
            </c:spPr>
            <c:extLst>
              <c:ext xmlns:c16="http://schemas.microsoft.com/office/drawing/2014/chart" uri="{C3380CC4-5D6E-409C-BE32-E72D297353CC}">
                <c16:uniqueId val="{00000059-2993-41DE-A2CB-63102DE87051}"/>
              </c:ext>
            </c:extLst>
          </c:dPt>
          <c:dPt>
            <c:idx val="17"/>
            <c:invertIfNegative val="1"/>
            <c:bubble3D val="0"/>
            <c:spPr>
              <a:solidFill>
                <a:srgbClr val="AEABAB"/>
              </a:solidFill>
            </c:spPr>
            <c:extLst>
              <c:ext xmlns:c16="http://schemas.microsoft.com/office/drawing/2014/chart" uri="{C3380CC4-5D6E-409C-BE32-E72D297353CC}">
                <c16:uniqueId val="{0000005B-2993-41DE-A2CB-63102DE87051}"/>
              </c:ext>
            </c:extLst>
          </c:dPt>
          <c:dPt>
            <c:idx val="18"/>
            <c:invertIfNegative val="1"/>
            <c:bubble3D val="0"/>
            <c:spPr>
              <a:solidFill>
                <a:srgbClr val="AEABAB"/>
              </a:solidFill>
            </c:spPr>
            <c:extLst>
              <c:ext xmlns:c16="http://schemas.microsoft.com/office/drawing/2014/chart" uri="{C3380CC4-5D6E-409C-BE32-E72D297353CC}">
                <c16:uniqueId val="{0000005D-2993-41DE-A2CB-63102DE87051}"/>
              </c:ext>
            </c:extLst>
          </c:dPt>
          <c:dPt>
            <c:idx val="19"/>
            <c:invertIfNegative val="1"/>
            <c:bubble3D val="0"/>
            <c:spPr>
              <a:solidFill>
                <a:srgbClr val="AEABAB"/>
              </a:solidFill>
            </c:spPr>
            <c:extLst>
              <c:ext xmlns:c16="http://schemas.microsoft.com/office/drawing/2014/chart" uri="{C3380CC4-5D6E-409C-BE32-E72D297353CC}">
                <c16:uniqueId val="{0000005F-2993-41DE-A2CB-63102DE87051}"/>
              </c:ext>
            </c:extLst>
          </c:dPt>
          <c:dPt>
            <c:idx val="20"/>
            <c:invertIfNegative val="1"/>
            <c:bubble3D val="0"/>
            <c:spPr>
              <a:solidFill>
                <a:srgbClr val="AEABAB"/>
              </a:solidFill>
            </c:spPr>
            <c:extLst>
              <c:ext xmlns:c16="http://schemas.microsoft.com/office/drawing/2014/chart" uri="{C3380CC4-5D6E-409C-BE32-E72D297353CC}">
                <c16:uniqueId val="{00000061-2993-41DE-A2CB-63102DE87051}"/>
              </c:ext>
            </c:extLst>
          </c:dPt>
          <c:dPt>
            <c:idx val="21"/>
            <c:invertIfNegative val="1"/>
            <c:bubble3D val="0"/>
            <c:spPr>
              <a:solidFill>
                <a:srgbClr val="AEABAB"/>
              </a:solidFill>
            </c:spPr>
            <c:extLst>
              <c:ext xmlns:c16="http://schemas.microsoft.com/office/drawing/2014/chart" uri="{C3380CC4-5D6E-409C-BE32-E72D297353CC}">
                <c16:uniqueId val="{00000063-2993-41DE-A2CB-63102DE87051}"/>
              </c:ext>
            </c:extLst>
          </c:dPt>
          <c:dPt>
            <c:idx val="22"/>
            <c:invertIfNegative val="1"/>
            <c:bubble3D val="0"/>
            <c:spPr>
              <a:solidFill>
                <a:srgbClr val="AEABAB"/>
              </a:solidFill>
            </c:spPr>
            <c:extLst>
              <c:ext xmlns:c16="http://schemas.microsoft.com/office/drawing/2014/chart" uri="{C3380CC4-5D6E-409C-BE32-E72D297353CC}">
                <c16:uniqueId val="{00000065-2993-41DE-A2CB-63102DE87051}"/>
              </c:ext>
            </c:extLst>
          </c:dPt>
          <c:dPt>
            <c:idx val="23"/>
            <c:invertIfNegative val="1"/>
            <c:bubble3D val="0"/>
            <c:spPr>
              <a:solidFill>
                <a:srgbClr val="AEABAB"/>
              </a:solidFill>
            </c:spPr>
            <c:extLst>
              <c:ext xmlns:c16="http://schemas.microsoft.com/office/drawing/2014/chart" uri="{C3380CC4-5D6E-409C-BE32-E72D297353CC}">
                <c16:uniqueId val="{00000067-2993-41DE-A2CB-63102DE87051}"/>
              </c:ext>
            </c:extLst>
          </c:dPt>
          <c:dPt>
            <c:idx val="24"/>
            <c:invertIfNegative val="1"/>
            <c:bubble3D val="0"/>
            <c:spPr>
              <a:solidFill>
                <a:srgbClr val="AEABAB"/>
              </a:solidFill>
            </c:spPr>
            <c:extLst>
              <c:ext xmlns:c16="http://schemas.microsoft.com/office/drawing/2014/chart" uri="{C3380CC4-5D6E-409C-BE32-E72D297353CC}">
                <c16:uniqueId val="{00000069-2993-41DE-A2CB-63102DE87051}"/>
              </c:ext>
            </c:extLst>
          </c:dPt>
          <c:dPt>
            <c:idx val="25"/>
            <c:invertIfNegative val="1"/>
            <c:bubble3D val="0"/>
            <c:spPr>
              <a:solidFill>
                <a:srgbClr val="AEABAB"/>
              </a:solidFill>
            </c:spPr>
            <c:extLst>
              <c:ext xmlns:c16="http://schemas.microsoft.com/office/drawing/2014/chart" uri="{C3380CC4-5D6E-409C-BE32-E72D297353CC}">
                <c16:uniqueId val="{0000006B-2993-41DE-A2CB-63102DE87051}"/>
              </c:ext>
            </c:extLst>
          </c:dPt>
          <c:dPt>
            <c:idx val="26"/>
            <c:invertIfNegative val="1"/>
            <c:bubble3D val="0"/>
            <c:spPr>
              <a:solidFill>
                <a:srgbClr val="AEABAB"/>
              </a:solidFill>
            </c:spPr>
            <c:extLst>
              <c:ext xmlns:c16="http://schemas.microsoft.com/office/drawing/2014/chart" uri="{C3380CC4-5D6E-409C-BE32-E72D297353CC}">
                <c16:uniqueId val="{0000006D-2993-41DE-A2CB-63102DE87051}"/>
              </c:ext>
            </c:extLst>
          </c:dPt>
          <c:dPt>
            <c:idx val="27"/>
            <c:invertIfNegative val="1"/>
            <c:bubble3D val="0"/>
            <c:spPr>
              <a:solidFill>
                <a:srgbClr val="AEABAB"/>
              </a:solidFill>
            </c:spPr>
            <c:extLst>
              <c:ext xmlns:c16="http://schemas.microsoft.com/office/drawing/2014/chart" uri="{C3380CC4-5D6E-409C-BE32-E72D297353CC}">
                <c16:uniqueId val="{0000006F-2993-41DE-A2CB-63102DE87051}"/>
              </c:ext>
            </c:extLst>
          </c:dPt>
          <c:dPt>
            <c:idx val="28"/>
            <c:invertIfNegative val="1"/>
            <c:bubble3D val="0"/>
            <c:spPr>
              <a:solidFill>
                <a:srgbClr val="AEABAB"/>
              </a:solidFill>
            </c:spPr>
            <c:extLst>
              <c:ext xmlns:c16="http://schemas.microsoft.com/office/drawing/2014/chart" uri="{C3380CC4-5D6E-409C-BE32-E72D297353CC}">
                <c16:uniqueId val="{00000071-2993-41DE-A2CB-63102DE87051}"/>
              </c:ext>
            </c:extLst>
          </c:dPt>
          <c:dPt>
            <c:idx val="29"/>
            <c:invertIfNegative val="1"/>
            <c:bubble3D val="0"/>
            <c:spPr>
              <a:solidFill>
                <a:srgbClr val="AEABAB"/>
              </a:solidFill>
            </c:spPr>
            <c:extLst>
              <c:ext xmlns:c16="http://schemas.microsoft.com/office/drawing/2014/chart" uri="{C3380CC4-5D6E-409C-BE32-E72D297353CC}">
                <c16:uniqueId val="{00000073-2993-41DE-A2CB-63102DE87051}"/>
              </c:ext>
            </c:extLst>
          </c:dPt>
          <c:dPt>
            <c:idx val="30"/>
            <c:invertIfNegative val="1"/>
            <c:bubble3D val="0"/>
            <c:spPr>
              <a:solidFill>
                <a:srgbClr val="AEABAB"/>
              </a:solidFill>
            </c:spPr>
            <c:extLst>
              <c:ext xmlns:c16="http://schemas.microsoft.com/office/drawing/2014/chart" uri="{C3380CC4-5D6E-409C-BE32-E72D297353CC}">
                <c16:uniqueId val="{00000075-2993-41DE-A2CB-63102DE87051}"/>
              </c:ext>
            </c:extLst>
          </c:dPt>
          <c:dPt>
            <c:idx val="31"/>
            <c:invertIfNegative val="1"/>
            <c:bubble3D val="0"/>
            <c:spPr>
              <a:solidFill>
                <a:srgbClr val="AEABAB"/>
              </a:solidFill>
            </c:spPr>
            <c:extLst>
              <c:ext xmlns:c16="http://schemas.microsoft.com/office/drawing/2014/chart" uri="{C3380CC4-5D6E-409C-BE32-E72D297353CC}">
                <c16:uniqueId val="{00000077-2993-41DE-A2CB-63102DE87051}"/>
              </c:ext>
            </c:extLst>
          </c:dPt>
          <c:dPt>
            <c:idx val="32"/>
            <c:invertIfNegative val="1"/>
            <c:bubble3D val="0"/>
            <c:spPr>
              <a:solidFill>
                <a:srgbClr val="AEABAB"/>
              </a:solidFill>
            </c:spPr>
            <c:extLst>
              <c:ext xmlns:c16="http://schemas.microsoft.com/office/drawing/2014/chart" uri="{C3380CC4-5D6E-409C-BE32-E72D297353CC}">
                <c16:uniqueId val="{00000079-2993-41DE-A2CB-63102DE87051}"/>
              </c:ext>
            </c:extLst>
          </c:dPt>
          <c:dPt>
            <c:idx val="33"/>
            <c:invertIfNegative val="1"/>
            <c:bubble3D val="0"/>
            <c:spPr>
              <a:solidFill>
                <a:srgbClr val="AEABAB"/>
              </a:solidFill>
            </c:spPr>
            <c:extLst>
              <c:ext xmlns:c16="http://schemas.microsoft.com/office/drawing/2014/chart" uri="{C3380CC4-5D6E-409C-BE32-E72D297353CC}">
                <c16:uniqueId val="{0000007B-2993-41DE-A2CB-63102DE87051}"/>
              </c:ext>
            </c:extLst>
          </c:dPt>
          <c:dPt>
            <c:idx val="34"/>
            <c:invertIfNegative val="1"/>
            <c:bubble3D val="0"/>
            <c:spPr>
              <a:solidFill>
                <a:srgbClr val="AEABAB"/>
              </a:solidFill>
            </c:spPr>
            <c:extLst>
              <c:ext xmlns:c16="http://schemas.microsoft.com/office/drawing/2014/chart" uri="{C3380CC4-5D6E-409C-BE32-E72D297353CC}">
                <c16:uniqueId val="{0000007D-2993-41DE-A2CB-63102DE87051}"/>
              </c:ext>
            </c:extLst>
          </c:dPt>
          <c:dPt>
            <c:idx val="35"/>
            <c:invertIfNegative val="1"/>
            <c:bubble3D val="0"/>
            <c:spPr>
              <a:solidFill>
                <a:srgbClr val="AEABAB"/>
              </a:solidFill>
            </c:spPr>
            <c:extLst>
              <c:ext xmlns:c16="http://schemas.microsoft.com/office/drawing/2014/chart" uri="{C3380CC4-5D6E-409C-BE32-E72D297353CC}">
                <c16:uniqueId val="{0000007F-2993-41DE-A2CB-63102DE87051}"/>
              </c:ext>
            </c:extLst>
          </c:dPt>
          <c:dPt>
            <c:idx val="36"/>
            <c:invertIfNegative val="1"/>
            <c:bubble3D val="0"/>
            <c:spPr>
              <a:solidFill>
                <a:srgbClr val="AEABAB"/>
              </a:solidFill>
            </c:spPr>
            <c:extLst>
              <c:ext xmlns:c16="http://schemas.microsoft.com/office/drawing/2014/chart" uri="{C3380CC4-5D6E-409C-BE32-E72D297353CC}">
                <c16:uniqueId val="{00000081-2993-41DE-A2CB-63102DE87051}"/>
              </c:ext>
            </c:extLst>
          </c:dPt>
          <c:dPt>
            <c:idx val="37"/>
            <c:invertIfNegative val="1"/>
            <c:bubble3D val="0"/>
            <c:spPr>
              <a:solidFill>
                <a:srgbClr val="AEABAB"/>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39</c:f>
              <c:strCache>
                <c:ptCount val="38"/>
                <c:pt idx="0">
                  <c:v>Ruinart</c:v>
                </c:pt>
                <c:pt idx="1">
                  <c:v>Ruinart</c:v>
                </c:pt>
                <c:pt idx="2">
                  <c:v>Malard</c:v>
                </c:pt>
                <c:pt idx="3">
                  <c:v>Ruinart</c:v>
                </c:pt>
                <c:pt idx="4">
                  <c:v>Nicolas</c:v>
                </c:pt>
                <c:pt idx="5">
                  <c:v>Besserat De</c:v>
                </c:pt>
                <c:pt idx="6">
                  <c:v>Delamotte</c:v>
                </c:pt>
                <c:pt idx="7">
                  <c:v>Ruinart</c:v>
                </c:pt>
                <c:pt idx="8">
                  <c:v>Henriot</c:v>
                </c:pt>
                <c:pt idx="9">
                  <c:v>De Bligny</c:v>
                </c:pt>
                <c:pt idx="10">
                  <c:v>Ayala</c:v>
                </c:pt>
                <c:pt idx="11">
                  <c:v>Henriot</c:v>
                </c:pt>
                <c:pt idx="12">
                  <c:v>De Venoge</c:v>
                </c:pt>
                <c:pt idx="13">
                  <c:v>Perrier Jou</c:v>
                </c:pt>
                <c:pt idx="14">
                  <c:v>Deutz</c:v>
                </c:pt>
                <c:pt idx="15">
                  <c:v>Nicolas</c:v>
                </c:pt>
                <c:pt idx="16">
                  <c:v>Taittinger</c:v>
                </c:pt>
                <c:pt idx="17">
                  <c:v>Nicolas</c:v>
                </c:pt>
                <c:pt idx="18">
                  <c:v>Ruinart</c:v>
                </c:pt>
                <c:pt idx="19">
                  <c:v>Delamotte</c:v>
                </c:pt>
                <c:pt idx="20">
                  <c:v>Lanson</c:v>
                </c:pt>
                <c:pt idx="21">
                  <c:v>Vesselle</c:v>
                </c:pt>
                <c:pt idx="22">
                  <c:v>Ayala</c:v>
                </c:pt>
                <c:pt idx="23">
                  <c:v>Laurent Per</c:v>
                </c:pt>
                <c:pt idx="24">
                  <c:v>Nicolas</c:v>
                </c:pt>
                <c:pt idx="25">
                  <c:v>Deutz</c:v>
                </c:pt>
                <c:pt idx="26">
                  <c:v>Taittinger</c:v>
                </c:pt>
                <c:pt idx="27">
                  <c:v>All Others</c:v>
                </c:pt>
                <c:pt idx="28">
                  <c:v>Besserat De</c:v>
                </c:pt>
                <c:pt idx="29">
                  <c:v>Laurent Per</c:v>
                </c:pt>
                <c:pt idx="30">
                  <c:v>Taittinger</c:v>
                </c:pt>
                <c:pt idx="31">
                  <c:v>De Venoge</c:v>
                </c:pt>
                <c:pt idx="32">
                  <c:v>Ruinart</c:v>
                </c:pt>
                <c:pt idx="33">
                  <c:v>Nicolas</c:v>
                </c:pt>
                <c:pt idx="34">
                  <c:v>All Others</c:v>
                </c:pt>
                <c:pt idx="35">
                  <c:v>Deutz</c:v>
                </c:pt>
                <c:pt idx="36">
                  <c:v>Besserat De</c:v>
                </c:pt>
                <c:pt idx="37">
                  <c:v>All Others</c:v>
                </c:pt>
              </c:strCache>
            </c:strRef>
          </c:cat>
          <c:val>
            <c:numRef>
              <c:f>Sheet1!$C$2:$C$39</c:f>
              <c:numCache>
                <c:formatCode>General</c:formatCode>
                <c:ptCount val="38"/>
                <c:pt idx="0">
                  <c:v>0.37582203304064299</c:v>
                </c:pt>
                <c:pt idx="1">
                  <c:v>0.55225690217168033</c:v>
                </c:pt>
                <c:pt idx="2">
                  <c:v>0.61289220357461005</c:v>
                </c:pt>
                <c:pt idx="3">
                  <c:v>0.67055250440137759</c:v>
                </c:pt>
                <c:pt idx="4">
                  <c:v>0.72530393804303284</c:v>
                </c:pt>
                <c:pt idx="5">
                  <c:v>0.76844996357653395</c:v>
                </c:pt>
                <c:pt idx="6">
                  <c:v>0.79524500918352325</c:v>
                </c:pt>
                <c:pt idx="7">
                  <c:v>0.81751192154575791</c:v>
                </c:pt>
                <c:pt idx="8">
                  <c:v>0.83921269199976367</c:v>
                </c:pt>
                <c:pt idx="9">
                  <c:v>0.85973909375209812</c:v>
                </c:pt>
                <c:pt idx="10">
                  <c:v>0.87699790477392914</c:v>
                </c:pt>
                <c:pt idx="11">
                  <c:v>0.89231179288625173</c:v>
                </c:pt>
                <c:pt idx="12">
                  <c:v>0.90713970077646633</c:v>
                </c:pt>
                <c:pt idx="13">
                  <c:v>0.92133032326201969</c:v>
                </c:pt>
                <c:pt idx="14">
                  <c:v>0.93243872891622426</c:v>
                </c:pt>
                <c:pt idx="15">
                  <c:v>0.94113627186034254</c:v>
                </c:pt>
                <c:pt idx="16">
                  <c:v>0.94877467852658837</c:v>
                </c:pt>
                <c:pt idx="17">
                  <c:v>0.95557840163610031</c:v>
                </c:pt>
                <c:pt idx="18">
                  <c:v>0.96215767202447366</c:v>
                </c:pt>
                <c:pt idx="19">
                  <c:v>0.968160780293853</c:v>
                </c:pt>
                <c:pt idx="20">
                  <c:v>0.97272097821305603</c:v>
                </c:pt>
                <c:pt idx="21">
                  <c:v>0.9758693284354546</c:v>
                </c:pt>
                <c:pt idx="22">
                  <c:v>0.97892549271881413</c:v>
                </c:pt>
                <c:pt idx="23">
                  <c:v>0.98184037203038554</c:v>
                </c:pt>
                <c:pt idx="24">
                  <c:v>0.98473921900473282</c:v>
                </c:pt>
                <c:pt idx="25">
                  <c:v>0.98759297503063703</c:v>
                </c:pt>
                <c:pt idx="26">
                  <c:v>0.98990764371737816</c:v>
                </c:pt>
                <c:pt idx="27">
                  <c:v>0.99202591627312309</c:v>
                </c:pt>
                <c:pt idx="28">
                  <c:v>0.99407104129028268</c:v>
                </c:pt>
                <c:pt idx="29">
                  <c:v>0.99547387079739857</c:v>
                </c:pt>
                <c:pt idx="30">
                  <c:v>0.99676447394394518</c:v>
                </c:pt>
                <c:pt idx="31">
                  <c:v>0.99796890327791177</c:v>
                </c:pt>
                <c:pt idx="32">
                  <c:v>0.99871641100098918</c:v>
                </c:pt>
                <c:pt idx="33">
                  <c:v>0.99930159130967178</c:v>
                </c:pt>
                <c:pt idx="34">
                  <c:v>0.99971041590888843</c:v>
                </c:pt>
                <c:pt idx="35">
                  <c:v>0.99990079991342562</c:v>
                </c:pt>
                <c:pt idx="36">
                  <c:v>0.9999709413887814</c:v>
                </c:pt>
                <c:pt idx="37">
                  <c:v>1.0000000000000002</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48</c:f>
              <c:strCache>
                <c:ptCount val="47"/>
                <c:pt idx="0">
                  <c:v>Ruinart</c:v>
                </c:pt>
                <c:pt idx="1">
                  <c:v>Ruinart</c:v>
                </c:pt>
                <c:pt idx="2">
                  <c:v>Malard</c:v>
                </c:pt>
                <c:pt idx="3">
                  <c:v>Ruinart</c:v>
                </c:pt>
                <c:pt idx="4">
                  <c:v>Nicolas</c:v>
                </c:pt>
                <c:pt idx="5">
                  <c:v>Besserat De</c:v>
                </c:pt>
                <c:pt idx="6">
                  <c:v>De Bligny</c:v>
                </c:pt>
                <c:pt idx="7">
                  <c:v>Henriot</c:v>
                </c:pt>
                <c:pt idx="8">
                  <c:v>Ruinart</c:v>
                </c:pt>
                <c:pt idx="9">
                  <c:v>Delamotte</c:v>
                </c:pt>
                <c:pt idx="10">
                  <c:v>Ayala</c:v>
                </c:pt>
                <c:pt idx="11">
                  <c:v>De Venoge</c:v>
                </c:pt>
                <c:pt idx="12">
                  <c:v>Henriot</c:v>
                </c:pt>
                <c:pt idx="13">
                  <c:v>Deutz</c:v>
                </c:pt>
                <c:pt idx="14">
                  <c:v>Perrier Jou</c:v>
                </c:pt>
                <c:pt idx="15">
                  <c:v>All Others</c:v>
                </c:pt>
                <c:pt idx="16">
                  <c:v>Nicolas</c:v>
                </c:pt>
                <c:pt idx="17">
                  <c:v>Nicolas</c:v>
                </c:pt>
                <c:pt idx="18">
                  <c:v>Ruinart</c:v>
                </c:pt>
                <c:pt idx="19">
                  <c:v>Vesselle</c:v>
                </c:pt>
                <c:pt idx="20">
                  <c:v>Lanson</c:v>
                </c:pt>
                <c:pt idx="21">
                  <c:v>Laurent Per</c:v>
                </c:pt>
                <c:pt idx="22">
                  <c:v>Taittinger</c:v>
                </c:pt>
                <c:pt idx="23">
                  <c:v>Nicolas</c:v>
                </c:pt>
                <c:pt idx="24">
                  <c:v>All Others</c:v>
                </c:pt>
                <c:pt idx="25">
                  <c:v>Ayala</c:v>
                </c:pt>
                <c:pt idx="26">
                  <c:v>Deutz</c:v>
                </c:pt>
                <c:pt idx="27">
                  <c:v>Delamotte</c:v>
                </c:pt>
                <c:pt idx="28">
                  <c:v>All Others</c:v>
                </c:pt>
                <c:pt idx="29">
                  <c:v>Taittinger</c:v>
                </c:pt>
                <c:pt idx="30">
                  <c:v>Besserat De</c:v>
                </c:pt>
                <c:pt idx="31">
                  <c:v>Taittinger</c:v>
                </c:pt>
                <c:pt idx="32">
                  <c:v>Ruinart</c:v>
                </c:pt>
                <c:pt idx="33">
                  <c:v>All Others</c:v>
                </c:pt>
                <c:pt idx="34">
                  <c:v>Nicolas</c:v>
                </c:pt>
                <c:pt idx="35">
                  <c:v>All Others</c:v>
                </c:pt>
                <c:pt idx="36">
                  <c:v>De Venoge</c:v>
                </c:pt>
                <c:pt idx="37">
                  <c:v>All Others</c:v>
                </c:pt>
                <c:pt idx="38">
                  <c:v>Ayala</c:v>
                </c:pt>
                <c:pt idx="39">
                  <c:v>Ruinart</c:v>
                </c:pt>
                <c:pt idx="40">
                  <c:v>All Others</c:v>
                </c:pt>
                <c:pt idx="41">
                  <c:v>Taittinger</c:v>
                </c:pt>
                <c:pt idx="42">
                  <c:v>All Others</c:v>
                </c:pt>
                <c:pt idx="43">
                  <c:v>Besserat De</c:v>
                </c:pt>
                <c:pt idx="44">
                  <c:v>De Venoge</c:v>
                </c:pt>
                <c:pt idx="45">
                  <c:v>Ayala</c:v>
                </c:pt>
                <c:pt idx="46">
                  <c:v>Pommery</c:v>
                </c:pt>
              </c:strCache>
            </c:strRef>
          </c:cat>
          <c:val>
            <c:numRef>
              <c:f>Sheet1!$B$2:$B$48</c:f>
              <c:numCache>
                <c:formatCode>General</c:formatCode>
                <c:ptCount val="47"/>
                <c:pt idx="0">
                  <c:v>0.82</c:v>
                </c:pt>
                <c:pt idx="1">
                  <c:v>0.66</c:v>
                </c:pt>
                <c:pt idx="2">
                  <c:v>0.67</c:v>
                </c:pt>
                <c:pt idx="3">
                  <c:v>0.32</c:v>
                </c:pt>
                <c:pt idx="4">
                  <c:v>0.51</c:v>
                </c:pt>
                <c:pt idx="5">
                  <c:v>0.43</c:v>
                </c:pt>
                <c:pt idx="6">
                  <c:v>0.56000000000000005</c:v>
                </c:pt>
                <c:pt idx="7">
                  <c:v>0.37</c:v>
                </c:pt>
                <c:pt idx="8">
                  <c:v>0.36</c:v>
                </c:pt>
                <c:pt idx="9">
                  <c:v>0.22</c:v>
                </c:pt>
                <c:pt idx="10">
                  <c:v>0.38</c:v>
                </c:pt>
                <c:pt idx="11">
                  <c:v>0.25</c:v>
                </c:pt>
                <c:pt idx="12">
                  <c:v>0.28000000000000003</c:v>
                </c:pt>
                <c:pt idx="13">
                  <c:v>0.09</c:v>
                </c:pt>
                <c:pt idx="14">
                  <c:v>0.11</c:v>
                </c:pt>
                <c:pt idx="15">
                  <c:v>0.03</c:v>
                </c:pt>
                <c:pt idx="16">
                  <c:v>0.25</c:v>
                </c:pt>
                <c:pt idx="17">
                  <c:v>0.13</c:v>
                </c:pt>
                <c:pt idx="18">
                  <c:v>0.05</c:v>
                </c:pt>
                <c:pt idx="19">
                  <c:v>0.13</c:v>
                </c:pt>
                <c:pt idx="20">
                  <c:v>0.09</c:v>
                </c:pt>
                <c:pt idx="21">
                  <c:v>0.04</c:v>
                </c:pt>
                <c:pt idx="22">
                  <c:v>0.04</c:v>
                </c:pt>
                <c:pt idx="23">
                  <c:v>0.06</c:v>
                </c:pt>
                <c:pt idx="24">
                  <c:v>0.11</c:v>
                </c:pt>
                <c:pt idx="25">
                  <c:v>7.0000000000000007E-2</c:v>
                </c:pt>
                <c:pt idx="26">
                  <c:v>0.04</c:v>
                </c:pt>
                <c:pt idx="27">
                  <c:v>0.1</c:v>
                </c:pt>
                <c:pt idx="28">
                  <c:v>0.03</c:v>
                </c:pt>
                <c:pt idx="29">
                  <c:v>0.03</c:v>
                </c:pt>
                <c:pt idx="30">
                  <c:v>7.0000000000000007E-2</c:v>
                </c:pt>
                <c:pt idx="31">
                  <c:v>0.01</c:v>
                </c:pt>
                <c:pt idx="32">
                  <c:v>0.02</c:v>
                </c:pt>
                <c:pt idx="33">
                  <c:v>0.03</c:v>
                </c:pt>
                <c:pt idx="34">
                  <c:v>0.03</c:v>
                </c:pt>
                <c:pt idx="35">
                  <c:v>0.02</c:v>
                </c:pt>
                <c:pt idx="36">
                  <c:v>0.03</c:v>
                </c:pt>
                <c:pt idx="37">
                  <c:v>0.03</c:v>
                </c:pt>
                <c:pt idx="38">
                  <c:v>0.02</c:v>
                </c:pt>
                <c:pt idx="39">
                  <c:v>0.01</c:v>
                </c:pt>
                <c:pt idx="40">
                  <c:v>0.01</c:v>
                </c:pt>
                <c:pt idx="41">
                  <c:v>0.01</c:v>
                </c:pt>
                <c:pt idx="42">
                  <c:v>0.01</c:v>
                </c:pt>
                <c:pt idx="43">
                  <c:v>0.02</c:v>
                </c:pt>
                <c:pt idx="44">
                  <c:v>0.01</c:v>
                </c:pt>
                <c:pt idx="45">
                  <c:v>0.01</c:v>
                </c:pt>
                <c:pt idx="46">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7ECAC4"/>
              </a:solidFill>
            </c:spPr>
            <c:extLst>
              <c:ext xmlns:c16="http://schemas.microsoft.com/office/drawing/2014/chart" uri="{C3380CC4-5D6E-409C-BE32-E72D297353CC}">
                <c16:uniqueId val="{00000049-2993-41DE-A2CB-63102DE87051}"/>
              </c:ext>
            </c:extLst>
          </c:dPt>
          <c:dPt>
            <c:idx val="9"/>
            <c:invertIfNegative val="1"/>
            <c:bubble3D val="0"/>
            <c:spPr>
              <a:solidFill>
                <a:srgbClr val="7ECAC4"/>
              </a:solidFill>
            </c:spPr>
            <c:extLst>
              <c:ext xmlns:c16="http://schemas.microsoft.com/office/drawing/2014/chart" uri="{C3380CC4-5D6E-409C-BE32-E72D297353CC}">
                <c16:uniqueId val="{0000004B-2993-41DE-A2CB-63102DE87051}"/>
              </c:ext>
            </c:extLst>
          </c:dPt>
          <c:dPt>
            <c:idx val="10"/>
            <c:invertIfNegative val="1"/>
            <c:bubble3D val="0"/>
            <c:spPr>
              <a:solidFill>
                <a:srgbClr val="7ECAC4"/>
              </a:solidFill>
            </c:spPr>
            <c:extLst>
              <c:ext xmlns:c16="http://schemas.microsoft.com/office/drawing/2014/chart" uri="{C3380CC4-5D6E-409C-BE32-E72D297353CC}">
                <c16:uniqueId val="{0000004D-2993-41DE-A2CB-63102DE87051}"/>
              </c:ext>
            </c:extLst>
          </c:dPt>
          <c:dPt>
            <c:idx val="11"/>
            <c:invertIfNegative val="1"/>
            <c:bubble3D val="0"/>
            <c:spPr>
              <a:solidFill>
                <a:srgbClr val="7ECAC4"/>
              </a:solidFill>
            </c:spPr>
            <c:extLst>
              <c:ext xmlns:c16="http://schemas.microsoft.com/office/drawing/2014/chart" uri="{C3380CC4-5D6E-409C-BE32-E72D297353CC}">
                <c16:uniqueId val="{0000004F-2993-41DE-A2CB-63102DE87051}"/>
              </c:ext>
            </c:extLst>
          </c:dPt>
          <c:dPt>
            <c:idx val="12"/>
            <c:invertIfNegative val="1"/>
            <c:bubble3D val="0"/>
            <c:spPr>
              <a:solidFill>
                <a:srgbClr val="7ECAC4"/>
              </a:solidFill>
            </c:spPr>
            <c:extLst>
              <c:ext xmlns:c16="http://schemas.microsoft.com/office/drawing/2014/chart" uri="{C3380CC4-5D6E-409C-BE32-E72D297353CC}">
                <c16:uniqueId val="{00000051-2993-41DE-A2CB-63102DE87051}"/>
              </c:ext>
            </c:extLst>
          </c:dPt>
          <c:dPt>
            <c:idx val="13"/>
            <c:invertIfNegative val="1"/>
            <c:bubble3D val="0"/>
            <c:spPr>
              <a:solidFill>
                <a:srgbClr val="7ECAC4"/>
              </a:solidFill>
            </c:spPr>
            <c:extLst>
              <c:ext xmlns:c16="http://schemas.microsoft.com/office/drawing/2014/chart" uri="{C3380CC4-5D6E-409C-BE32-E72D297353CC}">
                <c16:uniqueId val="{00000053-2993-41DE-A2CB-63102DE87051}"/>
              </c:ext>
            </c:extLst>
          </c:dPt>
          <c:dPt>
            <c:idx val="14"/>
            <c:invertIfNegative val="1"/>
            <c:bubble3D val="0"/>
            <c:spPr>
              <a:solidFill>
                <a:srgbClr val="7ECAC4"/>
              </a:solidFill>
            </c:spPr>
            <c:extLst>
              <c:ext xmlns:c16="http://schemas.microsoft.com/office/drawing/2014/chart" uri="{C3380CC4-5D6E-409C-BE32-E72D297353CC}">
                <c16:uniqueId val="{00000055-2993-41DE-A2CB-63102DE87051}"/>
              </c:ext>
            </c:extLst>
          </c:dPt>
          <c:dPt>
            <c:idx val="15"/>
            <c:invertIfNegative val="1"/>
            <c:bubble3D val="0"/>
            <c:spPr>
              <a:solidFill>
                <a:srgbClr val="7ECAC4"/>
              </a:solidFill>
            </c:spPr>
            <c:extLst>
              <c:ext xmlns:c16="http://schemas.microsoft.com/office/drawing/2014/chart" uri="{C3380CC4-5D6E-409C-BE32-E72D297353CC}">
                <c16:uniqueId val="{00000057-2993-41DE-A2CB-63102DE87051}"/>
              </c:ext>
            </c:extLst>
          </c:dPt>
          <c:dPt>
            <c:idx val="16"/>
            <c:invertIfNegative val="1"/>
            <c:bubble3D val="0"/>
            <c:spPr>
              <a:solidFill>
                <a:srgbClr val="7ECAC4"/>
              </a:solidFill>
            </c:spPr>
            <c:extLst>
              <c:ext xmlns:c16="http://schemas.microsoft.com/office/drawing/2014/chart" uri="{C3380CC4-5D6E-409C-BE32-E72D297353CC}">
                <c16:uniqueId val="{00000059-2993-41DE-A2CB-63102DE87051}"/>
              </c:ext>
            </c:extLst>
          </c:dPt>
          <c:dPt>
            <c:idx val="17"/>
            <c:invertIfNegative val="1"/>
            <c:bubble3D val="0"/>
            <c:spPr>
              <a:solidFill>
                <a:srgbClr val="AEABAB"/>
              </a:solidFill>
            </c:spPr>
            <c:extLst>
              <c:ext xmlns:c16="http://schemas.microsoft.com/office/drawing/2014/chart" uri="{C3380CC4-5D6E-409C-BE32-E72D297353CC}">
                <c16:uniqueId val="{0000005B-2993-41DE-A2CB-63102DE87051}"/>
              </c:ext>
            </c:extLst>
          </c:dPt>
          <c:dPt>
            <c:idx val="18"/>
            <c:invertIfNegative val="1"/>
            <c:bubble3D val="0"/>
            <c:spPr>
              <a:solidFill>
                <a:srgbClr val="AEABAB"/>
              </a:solidFill>
            </c:spPr>
            <c:extLst>
              <c:ext xmlns:c16="http://schemas.microsoft.com/office/drawing/2014/chart" uri="{C3380CC4-5D6E-409C-BE32-E72D297353CC}">
                <c16:uniqueId val="{0000005D-2993-41DE-A2CB-63102DE87051}"/>
              </c:ext>
            </c:extLst>
          </c:dPt>
          <c:dPt>
            <c:idx val="19"/>
            <c:invertIfNegative val="1"/>
            <c:bubble3D val="0"/>
            <c:spPr>
              <a:solidFill>
                <a:srgbClr val="AEABAB"/>
              </a:solidFill>
            </c:spPr>
            <c:extLst>
              <c:ext xmlns:c16="http://schemas.microsoft.com/office/drawing/2014/chart" uri="{C3380CC4-5D6E-409C-BE32-E72D297353CC}">
                <c16:uniqueId val="{0000005F-2993-41DE-A2CB-63102DE87051}"/>
              </c:ext>
            </c:extLst>
          </c:dPt>
          <c:dPt>
            <c:idx val="20"/>
            <c:invertIfNegative val="1"/>
            <c:bubble3D val="0"/>
            <c:spPr>
              <a:solidFill>
                <a:srgbClr val="AEABAB"/>
              </a:solidFill>
            </c:spPr>
            <c:extLst>
              <c:ext xmlns:c16="http://schemas.microsoft.com/office/drawing/2014/chart" uri="{C3380CC4-5D6E-409C-BE32-E72D297353CC}">
                <c16:uniqueId val="{00000061-2993-41DE-A2CB-63102DE87051}"/>
              </c:ext>
            </c:extLst>
          </c:dPt>
          <c:dPt>
            <c:idx val="21"/>
            <c:invertIfNegative val="1"/>
            <c:bubble3D val="0"/>
            <c:spPr>
              <a:solidFill>
                <a:srgbClr val="AEABAB"/>
              </a:solidFill>
            </c:spPr>
            <c:extLst>
              <c:ext xmlns:c16="http://schemas.microsoft.com/office/drawing/2014/chart" uri="{C3380CC4-5D6E-409C-BE32-E72D297353CC}">
                <c16:uniqueId val="{00000063-2993-41DE-A2CB-63102DE87051}"/>
              </c:ext>
            </c:extLst>
          </c:dPt>
          <c:dPt>
            <c:idx val="22"/>
            <c:invertIfNegative val="1"/>
            <c:bubble3D val="0"/>
            <c:spPr>
              <a:solidFill>
                <a:srgbClr val="AEABAB"/>
              </a:solidFill>
            </c:spPr>
            <c:extLst>
              <c:ext xmlns:c16="http://schemas.microsoft.com/office/drawing/2014/chart" uri="{C3380CC4-5D6E-409C-BE32-E72D297353CC}">
                <c16:uniqueId val="{00000065-2993-41DE-A2CB-63102DE87051}"/>
              </c:ext>
            </c:extLst>
          </c:dPt>
          <c:dPt>
            <c:idx val="23"/>
            <c:invertIfNegative val="1"/>
            <c:bubble3D val="0"/>
            <c:spPr>
              <a:solidFill>
                <a:srgbClr val="AEABAB"/>
              </a:solidFill>
            </c:spPr>
            <c:extLst>
              <c:ext xmlns:c16="http://schemas.microsoft.com/office/drawing/2014/chart" uri="{C3380CC4-5D6E-409C-BE32-E72D297353CC}">
                <c16:uniqueId val="{00000067-2993-41DE-A2CB-63102DE87051}"/>
              </c:ext>
            </c:extLst>
          </c:dPt>
          <c:dPt>
            <c:idx val="24"/>
            <c:invertIfNegative val="1"/>
            <c:bubble3D val="0"/>
            <c:spPr>
              <a:solidFill>
                <a:srgbClr val="AEABAB"/>
              </a:solidFill>
            </c:spPr>
            <c:extLst>
              <c:ext xmlns:c16="http://schemas.microsoft.com/office/drawing/2014/chart" uri="{C3380CC4-5D6E-409C-BE32-E72D297353CC}">
                <c16:uniqueId val="{00000069-2993-41DE-A2CB-63102DE87051}"/>
              </c:ext>
            </c:extLst>
          </c:dPt>
          <c:dPt>
            <c:idx val="25"/>
            <c:invertIfNegative val="1"/>
            <c:bubble3D val="0"/>
            <c:spPr>
              <a:solidFill>
                <a:srgbClr val="AEABAB"/>
              </a:solidFill>
            </c:spPr>
            <c:extLst>
              <c:ext xmlns:c16="http://schemas.microsoft.com/office/drawing/2014/chart" uri="{C3380CC4-5D6E-409C-BE32-E72D297353CC}">
                <c16:uniqueId val="{0000006B-2993-41DE-A2CB-63102DE87051}"/>
              </c:ext>
            </c:extLst>
          </c:dPt>
          <c:dPt>
            <c:idx val="26"/>
            <c:invertIfNegative val="1"/>
            <c:bubble3D val="0"/>
            <c:spPr>
              <a:solidFill>
                <a:srgbClr val="AEABAB"/>
              </a:solidFill>
            </c:spPr>
            <c:extLst>
              <c:ext xmlns:c16="http://schemas.microsoft.com/office/drawing/2014/chart" uri="{C3380CC4-5D6E-409C-BE32-E72D297353CC}">
                <c16:uniqueId val="{0000006D-2993-41DE-A2CB-63102DE87051}"/>
              </c:ext>
            </c:extLst>
          </c:dPt>
          <c:dPt>
            <c:idx val="27"/>
            <c:invertIfNegative val="1"/>
            <c:bubble3D val="0"/>
            <c:spPr>
              <a:solidFill>
                <a:srgbClr val="AEABAB"/>
              </a:solidFill>
            </c:spPr>
            <c:extLst>
              <c:ext xmlns:c16="http://schemas.microsoft.com/office/drawing/2014/chart" uri="{C3380CC4-5D6E-409C-BE32-E72D297353CC}">
                <c16:uniqueId val="{0000006F-2993-41DE-A2CB-63102DE87051}"/>
              </c:ext>
            </c:extLst>
          </c:dPt>
          <c:dPt>
            <c:idx val="28"/>
            <c:invertIfNegative val="1"/>
            <c:bubble3D val="0"/>
            <c:spPr>
              <a:solidFill>
                <a:srgbClr val="AEABAB"/>
              </a:solidFill>
            </c:spPr>
            <c:extLst>
              <c:ext xmlns:c16="http://schemas.microsoft.com/office/drawing/2014/chart" uri="{C3380CC4-5D6E-409C-BE32-E72D297353CC}">
                <c16:uniqueId val="{00000071-2993-41DE-A2CB-63102DE87051}"/>
              </c:ext>
            </c:extLst>
          </c:dPt>
          <c:dPt>
            <c:idx val="29"/>
            <c:invertIfNegative val="1"/>
            <c:bubble3D val="0"/>
            <c:spPr>
              <a:solidFill>
                <a:srgbClr val="AEABAB"/>
              </a:solidFill>
            </c:spPr>
            <c:extLst>
              <c:ext xmlns:c16="http://schemas.microsoft.com/office/drawing/2014/chart" uri="{C3380CC4-5D6E-409C-BE32-E72D297353CC}">
                <c16:uniqueId val="{00000073-2993-41DE-A2CB-63102DE87051}"/>
              </c:ext>
            </c:extLst>
          </c:dPt>
          <c:dPt>
            <c:idx val="30"/>
            <c:invertIfNegative val="1"/>
            <c:bubble3D val="0"/>
            <c:spPr>
              <a:solidFill>
                <a:srgbClr val="AEABAB"/>
              </a:solidFill>
            </c:spPr>
            <c:extLst>
              <c:ext xmlns:c16="http://schemas.microsoft.com/office/drawing/2014/chart" uri="{C3380CC4-5D6E-409C-BE32-E72D297353CC}">
                <c16:uniqueId val="{00000075-2993-41DE-A2CB-63102DE87051}"/>
              </c:ext>
            </c:extLst>
          </c:dPt>
          <c:dPt>
            <c:idx val="31"/>
            <c:invertIfNegative val="1"/>
            <c:bubble3D val="0"/>
            <c:spPr>
              <a:solidFill>
                <a:srgbClr val="AEABAB"/>
              </a:solidFill>
            </c:spPr>
            <c:extLst>
              <c:ext xmlns:c16="http://schemas.microsoft.com/office/drawing/2014/chart" uri="{C3380CC4-5D6E-409C-BE32-E72D297353CC}">
                <c16:uniqueId val="{00000077-2993-41DE-A2CB-63102DE87051}"/>
              </c:ext>
            </c:extLst>
          </c:dPt>
          <c:dPt>
            <c:idx val="32"/>
            <c:invertIfNegative val="1"/>
            <c:bubble3D val="0"/>
            <c:spPr>
              <a:solidFill>
                <a:srgbClr val="AEABAB"/>
              </a:solidFill>
            </c:spPr>
            <c:extLst>
              <c:ext xmlns:c16="http://schemas.microsoft.com/office/drawing/2014/chart" uri="{C3380CC4-5D6E-409C-BE32-E72D297353CC}">
                <c16:uniqueId val="{00000079-2993-41DE-A2CB-63102DE87051}"/>
              </c:ext>
            </c:extLst>
          </c:dPt>
          <c:dPt>
            <c:idx val="33"/>
            <c:invertIfNegative val="1"/>
            <c:bubble3D val="0"/>
            <c:spPr>
              <a:solidFill>
                <a:srgbClr val="AEABAB"/>
              </a:solidFill>
            </c:spPr>
            <c:extLst>
              <c:ext xmlns:c16="http://schemas.microsoft.com/office/drawing/2014/chart" uri="{C3380CC4-5D6E-409C-BE32-E72D297353CC}">
                <c16:uniqueId val="{0000007B-2993-41DE-A2CB-63102DE87051}"/>
              </c:ext>
            </c:extLst>
          </c:dPt>
          <c:dPt>
            <c:idx val="34"/>
            <c:invertIfNegative val="1"/>
            <c:bubble3D val="0"/>
            <c:spPr>
              <a:solidFill>
                <a:srgbClr val="AEABAB"/>
              </a:solidFill>
            </c:spPr>
            <c:extLst>
              <c:ext xmlns:c16="http://schemas.microsoft.com/office/drawing/2014/chart" uri="{C3380CC4-5D6E-409C-BE32-E72D297353CC}">
                <c16:uniqueId val="{0000007D-2993-41DE-A2CB-63102DE87051}"/>
              </c:ext>
            </c:extLst>
          </c:dPt>
          <c:dPt>
            <c:idx val="35"/>
            <c:invertIfNegative val="1"/>
            <c:bubble3D val="0"/>
            <c:spPr>
              <a:solidFill>
                <a:srgbClr val="AEABAB"/>
              </a:solidFill>
            </c:spPr>
            <c:extLst>
              <c:ext xmlns:c16="http://schemas.microsoft.com/office/drawing/2014/chart" uri="{C3380CC4-5D6E-409C-BE32-E72D297353CC}">
                <c16:uniqueId val="{0000007F-2993-41DE-A2CB-63102DE87051}"/>
              </c:ext>
            </c:extLst>
          </c:dPt>
          <c:dPt>
            <c:idx val="36"/>
            <c:invertIfNegative val="1"/>
            <c:bubble3D val="0"/>
            <c:spPr>
              <a:solidFill>
                <a:srgbClr val="AEABAB"/>
              </a:solidFill>
            </c:spPr>
            <c:extLst>
              <c:ext xmlns:c16="http://schemas.microsoft.com/office/drawing/2014/chart" uri="{C3380CC4-5D6E-409C-BE32-E72D297353CC}">
                <c16:uniqueId val="{00000081-2993-41DE-A2CB-63102DE87051}"/>
              </c:ext>
            </c:extLst>
          </c:dPt>
          <c:dPt>
            <c:idx val="37"/>
            <c:invertIfNegative val="1"/>
            <c:bubble3D val="0"/>
            <c:spPr>
              <a:solidFill>
                <a:srgbClr val="AEABAB"/>
              </a:solidFill>
            </c:spPr>
            <c:extLst>
              <c:ext xmlns:c16="http://schemas.microsoft.com/office/drawing/2014/chart" uri="{C3380CC4-5D6E-409C-BE32-E72D297353CC}">
                <c16:uniqueId val="{00000083-2993-41DE-A2CB-63102DE87051}"/>
              </c:ext>
            </c:extLst>
          </c:dPt>
          <c:dPt>
            <c:idx val="38"/>
            <c:invertIfNegative val="1"/>
            <c:bubble3D val="0"/>
            <c:spPr>
              <a:solidFill>
                <a:srgbClr val="AEABAB"/>
              </a:solidFill>
            </c:spPr>
            <c:extLst>
              <c:ext xmlns:c16="http://schemas.microsoft.com/office/drawing/2014/chart" uri="{C3380CC4-5D6E-409C-BE32-E72D297353CC}">
                <c16:uniqueId val="{00000085-2993-41DE-A2CB-63102DE87051}"/>
              </c:ext>
            </c:extLst>
          </c:dPt>
          <c:dPt>
            <c:idx val="39"/>
            <c:invertIfNegative val="1"/>
            <c:bubble3D val="0"/>
            <c:spPr>
              <a:solidFill>
                <a:srgbClr val="AEABAB"/>
              </a:solidFill>
            </c:spPr>
            <c:extLst>
              <c:ext xmlns:c16="http://schemas.microsoft.com/office/drawing/2014/chart" uri="{C3380CC4-5D6E-409C-BE32-E72D297353CC}">
                <c16:uniqueId val="{00000087-2993-41DE-A2CB-63102DE87051}"/>
              </c:ext>
            </c:extLst>
          </c:dPt>
          <c:dPt>
            <c:idx val="40"/>
            <c:invertIfNegative val="1"/>
            <c:bubble3D val="0"/>
            <c:spPr>
              <a:solidFill>
                <a:srgbClr val="AEABAB"/>
              </a:solidFill>
            </c:spPr>
            <c:extLst>
              <c:ext xmlns:c16="http://schemas.microsoft.com/office/drawing/2014/chart" uri="{C3380CC4-5D6E-409C-BE32-E72D297353CC}">
                <c16:uniqueId val="{00000089-2993-41DE-A2CB-63102DE87051}"/>
              </c:ext>
            </c:extLst>
          </c:dPt>
          <c:dPt>
            <c:idx val="41"/>
            <c:invertIfNegative val="1"/>
            <c:bubble3D val="0"/>
            <c:spPr>
              <a:solidFill>
                <a:srgbClr val="AEABAB"/>
              </a:solidFill>
            </c:spPr>
            <c:extLst>
              <c:ext xmlns:c16="http://schemas.microsoft.com/office/drawing/2014/chart" uri="{C3380CC4-5D6E-409C-BE32-E72D297353CC}">
                <c16:uniqueId val="{0000008B-2993-41DE-A2CB-63102DE87051}"/>
              </c:ext>
            </c:extLst>
          </c:dPt>
          <c:dPt>
            <c:idx val="42"/>
            <c:invertIfNegative val="1"/>
            <c:bubble3D val="0"/>
            <c:spPr>
              <a:solidFill>
                <a:srgbClr val="AEABAB"/>
              </a:solidFill>
            </c:spPr>
            <c:extLst>
              <c:ext xmlns:c16="http://schemas.microsoft.com/office/drawing/2014/chart" uri="{C3380CC4-5D6E-409C-BE32-E72D297353CC}">
                <c16:uniqueId val="{0000008D-2993-41DE-A2CB-63102DE87051}"/>
              </c:ext>
            </c:extLst>
          </c:dPt>
          <c:dPt>
            <c:idx val="43"/>
            <c:invertIfNegative val="1"/>
            <c:bubble3D val="0"/>
            <c:spPr>
              <a:solidFill>
                <a:srgbClr val="AEABAB"/>
              </a:solidFill>
            </c:spPr>
            <c:extLst>
              <c:ext xmlns:c16="http://schemas.microsoft.com/office/drawing/2014/chart" uri="{C3380CC4-5D6E-409C-BE32-E72D297353CC}">
                <c16:uniqueId val="{0000008F-2993-41DE-A2CB-63102DE87051}"/>
              </c:ext>
            </c:extLst>
          </c:dPt>
          <c:dPt>
            <c:idx val="44"/>
            <c:invertIfNegative val="1"/>
            <c:bubble3D val="0"/>
            <c:spPr>
              <a:solidFill>
                <a:srgbClr val="AEABAB"/>
              </a:solidFill>
            </c:spPr>
            <c:extLst>
              <c:ext xmlns:c16="http://schemas.microsoft.com/office/drawing/2014/chart" uri="{C3380CC4-5D6E-409C-BE32-E72D297353CC}">
                <c16:uniqueId val="{00000091-2993-41DE-A2CB-63102DE87051}"/>
              </c:ext>
            </c:extLst>
          </c:dPt>
          <c:dPt>
            <c:idx val="45"/>
            <c:invertIfNegative val="1"/>
            <c:bubble3D val="0"/>
            <c:spPr>
              <a:solidFill>
                <a:srgbClr val="AEABAB"/>
              </a:solidFill>
            </c:spPr>
            <c:extLst>
              <c:ext xmlns:c16="http://schemas.microsoft.com/office/drawing/2014/chart" uri="{C3380CC4-5D6E-409C-BE32-E72D297353CC}">
                <c16:uniqueId val="{00000093-2993-41DE-A2CB-63102DE87051}"/>
              </c:ext>
            </c:extLst>
          </c:dPt>
          <c:dPt>
            <c:idx val="46"/>
            <c:invertIfNegative val="1"/>
            <c:bubble3D val="0"/>
            <c:spPr>
              <a:solidFill>
                <a:srgbClr val="AEABAB"/>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48</c:f>
              <c:strCache>
                <c:ptCount val="47"/>
                <c:pt idx="0">
                  <c:v>Ruinart</c:v>
                </c:pt>
                <c:pt idx="1">
                  <c:v>Ruinart</c:v>
                </c:pt>
                <c:pt idx="2">
                  <c:v>Malard</c:v>
                </c:pt>
                <c:pt idx="3">
                  <c:v>Ruinart</c:v>
                </c:pt>
                <c:pt idx="4">
                  <c:v>Nicolas</c:v>
                </c:pt>
                <c:pt idx="5">
                  <c:v>Besserat De</c:v>
                </c:pt>
                <c:pt idx="6">
                  <c:v>De Bligny</c:v>
                </c:pt>
                <c:pt idx="7">
                  <c:v>Henriot</c:v>
                </c:pt>
                <c:pt idx="8">
                  <c:v>Ruinart</c:v>
                </c:pt>
                <c:pt idx="9">
                  <c:v>Delamotte</c:v>
                </c:pt>
                <c:pt idx="10">
                  <c:v>Ayala</c:v>
                </c:pt>
                <c:pt idx="11">
                  <c:v>De Venoge</c:v>
                </c:pt>
                <c:pt idx="12">
                  <c:v>Henriot</c:v>
                </c:pt>
                <c:pt idx="13">
                  <c:v>Deutz</c:v>
                </c:pt>
                <c:pt idx="14">
                  <c:v>Perrier Jou</c:v>
                </c:pt>
                <c:pt idx="15">
                  <c:v>All Others</c:v>
                </c:pt>
                <c:pt idx="16">
                  <c:v>Nicolas</c:v>
                </c:pt>
                <c:pt idx="17">
                  <c:v>Nicolas</c:v>
                </c:pt>
                <c:pt idx="18">
                  <c:v>Ruinart</c:v>
                </c:pt>
                <c:pt idx="19">
                  <c:v>Vesselle</c:v>
                </c:pt>
                <c:pt idx="20">
                  <c:v>Lanson</c:v>
                </c:pt>
                <c:pt idx="21">
                  <c:v>Laurent Per</c:v>
                </c:pt>
                <c:pt idx="22">
                  <c:v>Taittinger</c:v>
                </c:pt>
                <c:pt idx="23">
                  <c:v>Nicolas</c:v>
                </c:pt>
                <c:pt idx="24">
                  <c:v>All Others</c:v>
                </c:pt>
                <c:pt idx="25">
                  <c:v>Ayala</c:v>
                </c:pt>
                <c:pt idx="26">
                  <c:v>Deutz</c:v>
                </c:pt>
                <c:pt idx="27">
                  <c:v>Delamotte</c:v>
                </c:pt>
                <c:pt idx="28">
                  <c:v>All Others</c:v>
                </c:pt>
                <c:pt idx="29">
                  <c:v>Taittinger</c:v>
                </c:pt>
                <c:pt idx="30">
                  <c:v>Besserat De</c:v>
                </c:pt>
                <c:pt idx="31">
                  <c:v>Taittinger</c:v>
                </c:pt>
                <c:pt idx="32">
                  <c:v>Ruinart</c:v>
                </c:pt>
                <c:pt idx="33">
                  <c:v>All Others</c:v>
                </c:pt>
                <c:pt idx="34">
                  <c:v>Nicolas</c:v>
                </c:pt>
                <c:pt idx="35">
                  <c:v>All Others</c:v>
                </c:pt>
                <c:pt idx="36">
                  <c:v>De Venoge</c:v>
                </c:pt>
                <c:pt idx="37">
                  <c:v>All Others</c:v>
                </c:pt>
                <c:pt idx="38">
                  <c:v>Ayala</c:v>
                </c:pt>
                <c:pt idx="39">
                  <c:v>Ruinart</c:v>
                </c:pt>
                <c:pt idx="40">
                  <c:v>All Others</c:v>
                </c:pt>
                <c:pt idx="41">
                  <c:v>Taittinger</c:v>
                </c:pt>
                <c:pt idx="42">
                  <c:v>All Others</c:v>
                </c:pt>
                <c:pt idx="43">
                  <c:v>Besserat De</c:v>
                </c:pt>
                <c:pt idx="44">
                  <c:v>De Venoge</c:v>
                </c:pt>
                <c:pt idx="45">
                  <c:v>Ayala</c:v>
                </c:pt>
                <c:pt idx="46">
                  <c:v>Pommery</c:v>
                </c:pt>
              </c:strCache>
            </c:strRef>
          </c:cat>
          <c:val>
            <c:numRef>
              <c:f>Sheet1!$C$2:$C$48</c:f>
              <c:numCache>
                <c:formatCode>General</c:formatCode>
                <c:ptCount val="47"/>
                <c:pt idx="0">
                  <c:v>0.39754412759820967</c:v>
                </c:pt>
                <c:pt idx="1">
                  <c:v>0.55874199307549977</c:v>
                </c:pt>
                <c:pt idx="2">
                  <c:v>0.62161972537415899</c:v>
                </c:pt>
                <c:pt idx="3">
                  <c:v>0.67805538788392217</c:v>
                </c:pt>
                <c:pt idx="4">
                  <c:v>0.72683246733592299</c:v>
                </c:pt>
                <c:pt idx="5">
                  <c:v>0.76745519688322117</c:v>
                </c:pt>
                <c:pt idx="6">
                  <c:v>0.78959307109296595</c:v>
                </c:pt>
                <c:pt idx="7">
                  <c:v>0.81086871688002049</c:v>
                </c:pt>
                <c:pt idx="8">
                  <c:v>0.83087624325858578</c:v>
                </c:pt>
                <c:pt idx="9">
                  <c:v>0.85044540737248808</c:v>
                </c:pt>
                <c:pt idx="10">
                  <c:v>0.86846580745343438</c:v>
                </c:pt>
                <c:pt idx="11">
                  <c:v>0.8838363192413784</c:v>
                </c:pt>
                <c:pt idx="12">
                  <c:v>0.89880615864191216</c:v>
                </c:pt>
                <c:pt idx="13">
                  <c:v>0.91349709295077552</c:v>
                </c:pt>
                <c:pt idx="14">
                  <c:v>0.92696861476944548</c:v>
                </c:pt>
                <c:pt idx="15">
                  <c:v>0.93742494640789398</c:v>
                </c:pt>
                <c:pt idx="16">
                  <c:v>0.94647921461253959</c:v>
                </c:pt>
                <c:pt idx="17">
                  <c:v>0.9536165176756829</c:v>
                </c:pt>
                <c:pt idx="18">
                  <c:v>0.96057870777066723</c:v>
                </c:pt>
                <c:pt idx="19">
                  <c:v>0.96440683961101759</c:v>
                </c:pt>
                <c:pt idx="20">
                  <c:v>0.96805985848320886</c:v>
                </c:pt>
                <c:pt idx="21">
                  <c:v>0.97156849613330876</c:v>
                </c:pt>
                <c:pt idx="22">
                  <c:v>0.97505104079146443</c:v>
                </c:pt>
                <c:pt idx="23">
                  <c:v>0.97832426166980091</c:v>
                </c:pt>
                <c:pt idx="24">
                  <c:v>0.9813064007268929</c:v>
                </c:pt>
                <c:pt idx="25">
                  <c:v>0.98421547940654108</c:v>
                </c:pt>
                <c:pt idx="26">
                  <c:v>0.98696800013452402</c:v>
                </c:pt>
                <c:pt idx="27">
                  <c:v>0.98953149163197762</c:v>
                </c:pt>
                <c:pt idx="28">
                  <c:v>0.99134118558437589</c:v>
                </c:pt>
                <c:pt idx="29">
                  <c:v>0.99294851388814009</c:v>
                </c:pt>
                <c:pt idx="30">
                  <c:v>0.99427809678876466</c:v>
                </c:pt>
                <c:pt idx="31">
                  <c:v>0.99533341335184211</c:v>
                </c:pt>
                <c:pt idx="32">
                  <c:v>0.99634292221795084</c:v>
                </c:pt>
                <c:pt idx="33">
                  <c:v>0.99728806837059714</c:v>
                </c:pt>
                <c:pt idx="34">
                  <c:v>0.99789632500503023</c:v>
                </c:pt>
                <c:pt idx="35">
                  <c:v>0.99848544677870421</c:v>
                </c:pt>
                <c:pt idx="36">
                  <c:v>0.99899455004374926</c:v>
                </c:pt>
                <c:pt idx="37">
                  <c:v>0.99923518541390155</c:v>
                </c:pt>
                <c:pt idx="38">
                  <c:v>0.99943697121827024</c:v>
                </c:pt>
                <c:pt idx="39">
                  <c:v>0.99956163773533713</c:v>
                </c:pt>
                <c:pt idx="40">
                  <c:v>0.99967238799003377</c:v>
                </c:pt>
                <c:pt idx="41">
                  <c:v>0.99977096151515643</c:v>
                </c:pt>
                <c:pt idx="42">
                  <c:v>0.99986605597468647</c:v>
                </c:pt>
                <c:pt idx="43">
                  <c:v>0.99990664507326643</c:v>
                </c:pt>
                <c:pt idx="44">
                  <c:v>0.99994143572919203</c:v>
                </c:pt>
                <c:pt idx="45">
                  <c:v>0.99997100778672887</c:v>
                </c:pt>
                <c:pt idx="46">
                  <c:v>1.0000000000000002</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48</c:f>
              <c:strCache>
                <c:ptCount val="47"/>
                <c:pt idx="0">
                  <c:v>Ruinart</c:v>
                </c:pt>
                <c:pt idx="1">
                  <c:v>Ruinart</c:v>
                </c:pt>
                <c:pt idx="2">
                  <c:v>Ruinart</c:v>
                </c:pt>
                <c:pt idx="3">
                  <c:v>Malard</c:v>
                </c:pt>
                <c:pt idx="4">
                  <c:v>Nicolas</c:v>
                </c:pt>
                <c:pt idx="5">
                  <c:v>Besserat De</c:v>
                </c:pt>
                <c:pt idx="6">
                  <c:v>De Bligny</c:v>
                </c:pt>
                <c:pt idx="7">
                  <c:v>Henriot</c:v>
                </c:pt>
                <c:pt idx="8">
                  <c:v>Delamotte</c:v>
                </c:pt>
                <c:pt idx="9">
                  <c:v>Ayala</c:v>
                </c:pt>
                <c:pt idx="10">
                  <c:v>De Venoge</c:v>
                </c:pt>
                <c:pt idx="11">
                  <c:v>Ruinart</c:v>
                </c:pt>
                <c:pt idx="12">
                  <c:v>Henriot</c:v>
                </c:pt>
                <c:pt idx="13">
                  <c:v>Nicolas</c:v>
                </c:pt>
                <c:pt idx="14">
                  <c:v>Perrier Jou</c:v>
                </c:pt>
                <c:pt idx="15">
                  <c:v>Nicolas</c:v>
                </c:pt>
                <c:pt idx="16">
                  <c:v>Deutz</c:v>
                </c:pt>
                <c:pt idx="17">
                  <c:v>Ruinart</c:v>
                </c:pt>
                <c:pt idx="18">
                  <c:v>Lanson</c:v>
                </c:pt>
                <c:pt idx="19">
                  <c:v>Taittinger</c:v>
                </c:pt>
                <c:pt idx="20">
                  <c:v>All Others</c:v>
                </c:pt>
                <c:pt idx="21">
                  <c:v>Vesselle</c:v>
                </c:pt>
                <c:pt idx="22">
                  <c:v>Deutz</c:v>
                </c:pt>
                <c:pt idx="23">
                  <c:v>Ayala</c:v>
                </c:pt>
                <c:pt idx="24">
                  <c:v>Nicolas</c:v>
                </c:pt>
                <c:pt idx="25">
                  <c:v>Besserat De</c:v>
                </c:pt>
                <c:pt idx="26">
                  <c:v>Delamotte</c:v>
                </c:pt>
                <c:pt idx="27">
                  <c:v>Taittinger</c:v>
                </c:pt>
                <c:pt idx="28">
                  <c:v>All Others</c:v>
                </c:pt>
                <c:pt idx="29">
                  <c:v>Taittinger</c:v>
                </c:pt>
                <c:pt idx="30">
                  <c:v>De Venoge</c:v>
                </c:pt>
                <c:pt idx="31">
                  <c:v>Laurent Per</c:v>
                </c:pt>
                <c:pt idx="32">
                  <c:v>Ruinart</c:v>
                </c:pt>
                <c:pt idx="33">
                  <c:v>Nicolas</c:v>
                </c:pt>
                <c:pt idx="34">
                  <c:v>Deutz</c:v>
                </c:pt>
                <c:pt idx="35">
                  <c:v>Ruinart</c:v>
                </c:pt>
                <c:pt idx="36">
                  <c:v>All Others</c:v>
                </c:pt>
                <c:pt idx="37">
                  <c:v>All Others</c:v>
                </c:pt>
                <c:pt idx="38">
                  <c:v>All Others</c:v>
                </c:pt>
                <c:pt idx="39">
                  <c:v>All Others</c:v>
                </c:pt>
                <c:pt idx="40">
                  <c:v>All Others</c:v>
                </c:pt>
                <c:pt idx="41">
                  <c:v>Taittinger</c:v>
                </c:pt>
                <c:pt idx="42">
                  <c:v>Besserat De</c:v>
                </c:pt>
                <c:pt idx="43">
                  <c:v>All Others</c:v>
                </c:pt>
                <c:pt idx="44">
                  <c:v>Ayala</c:v>
                </c:pt>
                <c:pt idx="45">
                  <c:v>Delamotte</c:v>
                </c:pt>
                <c:pt idx="46">
                  <c:v>Pommery</c:v>
                </c:pt>
              </c:strCache>
            </c:strRef>
          </c:cat>
          <c:val>
            <c:numRef>
              <c:f>Sheet1!$B$2:$B$48</c:f>
              <c:numCache>
                <c:formatCode>General</c:formatCode>
                <c:ptCount val="47"/>
                <c:pt idx="0">
                  <c:v>0.87</c:v>
                </c:pt>
                <c:pt idx="1">
                  <c:v>0.55000000000000004</c:v>
                </c:pt>
                <c:pt idx="2">
                  <c:v>0.31</c:v>
                </c:pt>
                <c:pt idx="3">
                  <c:v>0.5</c:v>
                </c:pt>
                <c:pt idx="4">
                  <c:v>0.51</c:v>
                </c:pt>
                <c:pt idx="5">
                  <c:v>0.37</c:v>
                </c:pt>
                <c:pt idx="6">
                  <c:v>0.51</c:v>
                </c:pt>
                <c:pt idx="7">
                  <c:v>0.33</c:v>
                </c:pt>
                <c:pt idx="8">
                  <c:v>0.21</c:v>
                </c:pt>
                <c:pt idx="9">
                  <c:v>0.23</c:v>
                </c:pt>
                <c:pt idx="10">
                  <c:v>0.2</c:v>
                </c:pt>
                <c:pt idx="11">
                  <c:v>0.25</c:v>
                </c:pt>
                <c:pt idx="12">
                  <c:v>0.18</c:v>
                </c:pt>
                <c:pt idx="13">
                  <c:v>0.15</c:v>
                </c:pt>
                <c:pt idx="14">
                  <c:v>0.11</c:v>
                </c:pt>
                <c:pt idx="15">
                  <c:v>0.08</c:v>
                </c:pt>
                <c:pt idx="16">
                  <c:v>0.05</c:v>
                </c:pt>
                <c:pt idx="17">
                  <c:v>0.04</c:v>
                </c:pt>
                <c:pt idx="18">
                  <c:v>0.1</c:v>
                </c:pt>
                <c:pt idx="19">
                  <c:v>0.03</c:v>
                </c:pt>
                <c:pt idx="20">
                  <c:v>0.05</c:v>
                </c:pt>
                <c:pt idx="21">
                  <c:v>0.13</c:v>
                </c:pt>
                <c:pt idx="22">
                  <c:v>0.04</c:v>
                </c:pt>
                <c:pt idx="23">
                  <c:v>0.05</c:v>
                </c:pt>
                <c:pt idx="24">
                  <c:v>0.03</c:v>
                </c:pt>
                <c:pt idx="25">
                  <c:v>0.06</c:v>
                </c:pt>
                <c:pt idx="26">
                  <c:v>0.06</c:v>
                </c:pt>
                <c:pt idx="27">
                  <c:v>0.01</c:v>
                </c:pt>
                <c:pt idx="28">
                  <c:v>0.02</c:v>
                </c:pt>
                <c:pt idx="29">
                  <c:v>0.02</c:v>
                </c:pt>
                <c:pt idx="30">
                  <c:v>0.03</c:v>
                </c:pt>
                <c:pt idx="31">
                  <c:v>0.03</c:v>
                </c:pt>
                <c:pt idx="32">
                  <c:v>0.02</c:v>
                </c:pt>
                <c:pt idx="33">
                  <c:v>0.04</c:v>
                </c:pt>
                <c:pt idx="34">
                  <c:v>0.02</c:v>
                </c:pt>
                <c:pt idx="35">
                  <c:v>0.01</c:v>
                </c:pt>
                <c:pt idx="36">
                  <c:v>0.02</c:v>
                </c:pt>
                <c:pt idx="37">
                  <c:v>0.02</c:v>
                </c:pt>
                <c:pt idx="38">
                  <c:v>0.02</c:v>
                </c:pt>
                <c:pt idx="39">
                  <c:v>0.01</c:v>
                </c:pt>
                <c:pt idx="40">
                  <c:v>0.02</c:v>
                </c:pt>
                <c:pt idx="41">
                  <c:v>0.02</c:v>
                </c:pt>
                <c:pt idx="42">
                  <c:v>0.01</c:v>
                </c:pt>
                <c:pt idx="43">
                  <c:v>0.01</c:v>
                </c:pt>
                <c:pt idx="44">
                  <c:v>0.01</c:v>
                </c:pt>
                <c:pt idx="45">
                  <c:v>0.01</c:v>
                </c:pt>
                <c:pt idx="46">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7ECAC4"/>
              </a:solidFill>
            </c:spPr>
            <c:extLst>
              <c:ext xmlns:c16="http://schemas.microsoft.com/office/drawing/2014/chart" uri="{C3380CC4-5D6E-409C-BE32-E72D297353CC}">
                <c16:uniqueId val="{00000047-2993-41DE-A2CB-63102DE87051}"/>
              </c:ext>
            </c:extLst>
          </c:dPt>
          <c:dPt>
            <c:idx val="8"/>
            <c:invertIfNegative val="1"/>
            <c:bubble3D val="0"/>
            <c:spPr>
              <a:solidFill>
                <a:srgbClr val="7ECAC4"/>
              </a:solidFill>
            </c:spPr>
            <c:extLst>
              <c:ext xmlns:c16="http://schemas.microsoft.com/office/drawing/2014/chart" uri="{C3380CC4-5D6E-409C-BE32-E72D297353CC}">
                <c16:uniqueId val="{00000049-2993-41DE-A2CB-63102DE87051}"/>
              </c:ext>
            </c:extLst>
          </c:dPt>
          <c:dPt>
            <c:idx val="9"/>
            <c:invertIfNegative val="1"/>
            <c:bubble3D val="0"/>
            <c:spPr>
              <a:solidFill>
                <a:srgbClr val="7ECAC4"/>
              </a:solidFill>
            </c:spPr>
            <c:extLst>
              <c:ext xmlns:c16="http://schemas.microsoft.com/office/drawing/2014/chart" uri="{C3380CC4-5D6E-409C-BE32-E72D297353CC}">
                <c16:uniqueId val="{0000004B-2993-41DE-A2CB-63102DE87051}"/>
              </c:ext>
            </c:extLst>
          </c:dPt>
          <c:dPt>
            <c:idx val="10"/>
            <c:invertIfNegative val="1"/>
            <c:bubble3D val="0"/>
            <c:spPr>
              <a:solidFill>
                <a:srgbClr val="7ECAC4"/>
              </a:solidFill>
            </c:spPr>
            <c:extLst>
              <c:ext xmlns:c16="http://schemas.microsoft.com/office/drawing/2014/chart" uri="{C3380CC4-5D6E-409C-BE32-E72D297353CC}">
                <c16:uniqueId val="{0000004D-2993-41DE-A2CB-63102DE87051}"/>
              </c:ext>
            </c:extLst>
          </c:dPt>
          <c:dPt>
            <c:idx val="11"/>
            <c:invertIfNegative val="1"/>
            <c:bubble3D val="0"/>
            <c:spPr>
              <a:solidFill>
                <a:srgbClr val="7ECAC4"/>
              </a:solidFill>
            </c:spPr>
            <c:extLst>
              <c:ext xmlns:c16="http://schemas.microsoft.com/office/drawing/2014/chart" uri="{C3380CC4-5D6E-409C-BE32-E72D297353CC}">
                <c16:uniqueId val="{0000004F-2993-41DE-A2CB-63102DE87051}"/>
              </c:ext>
            </c:extLst>
          </c:dPt>
          <c:dPt>
            <c:idx val="12"/>
            <c:invertIfNegative val="1"/>
            <c:bubble3D val="0"/>
            <c:spPr>
              <a:solidFill>
                <a:srgbClr val="7ECAC4"/>
              </a:solidFill>
            </c:spPr>
            <c:extLst>
              <c:ext xmlns:c16="http://schemas.microsoft.com/office/drawing/2014/chart" uri="{C3380CC4-5D6E-409C-BE32-E72D297353CC}">
                <c16:uniqueId val="{00000051-2993-41DE-A2CB-63102DE87051}"/>
              </c:ext>
            </c:extLst>
          </c:dPt>
          <c:dPt>
            <c:idx val="13"/>
            <c:invertIfNegative val="1"/>
            <c:bubble3D val="0"/>
            <c:spPr>
              <a:solidFill>
                <a:srgbClr val="7ECAC4"/>
              </a:solidFill>
            </c:spPr>
            <c:extLst>
              <c:ext xmlns:c16="http://schemas.microsoft.com/office/drawing/2014/chart" uri="{C3380CC4-5D6E-409C-BE32-E72D297353CC}">
                <c16:uniqueId val="{00000053-2993-41DE-A2CB-63102DE87051}"/>
              </c:ext>
            </c:extLst>
          </c:dPt>
          <c:dPt>
            <c:idx val="14"/>
            <c:invertIfNegative val="1"/>
            <c:bubble3D val="0"/>
            <c:spPr>
              <a:solidFill>
                <a:srgbClr val="7ECAC4"/>
              </a:solidFill>
            </c:spPr>
            <c:extLst>
              <c:ext xmlns:c16="http://schemas.microsoft.com/office/drawing/2014/chart" uri="{C3380CC4-5D6E-409C-BE32-E72D297353CC}">
                <c16:uniqueId val="{00000055-2993-41DE-A2CB-63102DE87051}"/>
              </c:ext>
            </c:extLst>
          </c:dPt>
          <c:dPt>
            <c:idx val="15"/>
            <c:invertIfNegative val="1"/>
            <c:bubble3D val="0"/>
            <c:spPr>
              <a:solidFill>
                <a:srgbClr val="7ECAC4"/>
              </a:solidFill>
            </c:spPr>
            <c:extLst>
              <c:ext xmlns:c16="http://schemas.microsoft.com/office/drawing/2014/chart" uri="{C3380CC4-5D6E-409C-BE32-E72D297353CC}">
                <c16:uniqueId val="{00000057-2993-41DE-A2CB-63102DE87051}"/>
              </c:ext>
            </c:extLst>
          </c:dPt>
          <c:dPt>
            <c:idx val="16"/>
            <c:invertIfNegative val="1"/>
            <c:bubble3D val="0"/>
            <c:spPr>
              <a:solidFill>
                <a:srgbClr val="AEABAB"/>
              </a:solidFill>
            </c:spPr>
            <c:extLst>
              <c:ext xmlns:c16="http://schemas.microsoft.com/office/drawing/2014/chart" uri="{C3380CC4-5D6E-409C-BE32-E72D297353CC}">
                <c16:uniqueId val="{00000059-2993-41DE-A2CB-63102DE87051}"/>
              </c:ext>
            </c:extLst>
          </c:dPt>
          <c:dPt>
            <c:idx val="17"/>
            <c:invertIfNegative val="1"/>
            <c:bubble3D val="0"/>
            <c:spPr>
              <a:solidFill>
                <a:srgbClr val="AEABAB"/>
              </a:solidFill>
            </c:spPr>
            <c:extLst>
              <c:ext xmlns:c16="http://schemas.microsoft.com/office/drawing/2014/chart" uri="{C3380CC4-5D6E-409C-BE32-E72D297353CC}">
                <c16:uniqueId val="{0000005B-2993-41DE-A2CB-63102DE87051}"/>
              </c:ext>
            </c:extLst>
          </c:dPt>
          <c:dPt>
            <c:idx val="18"/>
            <c:invertIfNegative val="1"/>
            <c:bubble3D val="0"/>
            <c:spPr>
              <a:solidFill>
                <a:srgbClr val="AEABAB"/>
              </a:solidFill>
            </c:spPr>
            <c:extLst>
              <c:ext xmlns:c16="http://schemas.microsoft.com/office/drawing/2014/chart" uri="{C3380CC4-5D6E-409C-BE32-E72D297353CC}">
                <c16:uniqueId val="{0000005D-2993-41DE-A2CB-63102DE87051}"/>
              </c:ext>
            </c:extLst>
          </c:dPt>
          <c:dPt>
            <c:idx val="19"/>
            <c:invertIfNegative val="1"/>
            <c:bubble3D val="0"/>
            <c:spPr>
              <a:solidFill>
                <a:srgbClr val="AEABAB"/>
              </a:solidFill>
            </c:spPr>
            <c:extLst>
              <c:ext xmlns:c16="http://schemas.microsoft.com/office/drawing/2014/chart" uri="{C3380CC4-5D6E-409C-BE32-E72D297353CC}">
                <c16:uniqueId val="{0000005F-2993-41DE-A2CB-63102DE87051}"/>
              </c:ext>
            </c:extLst>
          </c:dPt>
          <c:dPt>
            <c:idx val="20"/>
            <c:invertIfNegative val="1"/>
            <c:bubble3D val="0"/>
            <c:spPr>
              <a:solidFill>
                <a:srgbClr val="AEABAB"/>
              </a:solidFill>
            </c:spPr>
            <c:extLst>
              <c:ext xmlns:c16="http://schemas.microsoft.com/office/drawing/2014/chart" uri="{C3380CC4-5D6E-409C-BE32-E72D297353CC}">
                <c16:uniqueId val="{00000061-2993-41DE-A2CB-63102DE87051}"/>
              </c:ext>
            </c:extLst>
          </c:dPt>
          <c:dPt>
            <c:idx val="21"/>
            <c:invertIfNegative val="1"/>
            <c:bubble3D val="0"/>
            <c:spPr>
              <a:solidFill>
                <a:srgbClr val="AEABAB"/>
              </a:solidFill>
            </c:spPr>
            <c:extLst>
              <c:ext xmlns:c16="http://schemas.microsoft.com/office/drawing/2014/chart" uri="{C3380CC4-5D6E-409C-BE32-E72D297353CC}">
                <c16:uniqueId val="{00000063-2993-41DE-A2CB-63102DE87051}"/>
              </c:ext>
            </c:extLst>
          </c:dPt>
          <c:dPt>
            <c:idx val="22"/>
            <c:invertIfNegative val="1"/>
            <c:bubble3D val="0"/>
            <c:spPr>
              <a:solidFill>
                <a:srgbClr val="AEABAB"/>
              </a:solidFill>
            </c:spPr>
            <c:extLst>
              <c:ext xmlns:c16="http://schemas.microsoft.com/office/drawing/2014/chart" uri="{C3380CC4-5D6E-409C-BE32-E72D297353CC}">
                <c16:uniqueId val="{00000065-2993-41DE-A2CB-63102DE87051}"/>
              </c:ext>
            </c:extLst>
          </c:dPt>
          <c:dPt>
            <c:idx val="23"/>
            <c:invertIfNegative val="1"/>
            <c:bubble3D val="0"/>
            <c:spPr>
              <a:solidFill>
                <a:srgbClr val="AEABAB"/>
              </a:solidFill>
            </c:spPr>
            <c:extLst>
              <c:ext xmlns:c16="http://schemas.microsoft.com/office/drawing/2014/chart" uri="{C3380CC4-5D6E-409C-BE32-E72D297353CC}">
                <c16:uniqueId val="{00000067-2993-41DE-A2CB-63102DE87051}"/>
              </c:ext>
            </c:extLst>
          </c:dPt>
          <c:dPt>
            <c:idx val="24"/>
            <c:invertIfNegative val="1"/>
            <c:bubble3D val="0"/>
            <c:spPr>
              <a:solidFill>
                <a:srgbClr val="AEABAB"/>
              </a:solidFill>
            </c:spPr>
            <c:extLst>
              <c:ext xmlns:c16="http://schemas.microsoft.com/office/drawing/2014/chart" uri="{C3380CC4-5D6E-409C-BE32-E72D297353CC}">
                <c16:uniqueId val="{00000069-2993-41DE-A2CB-63102DE87051}"/>
              </c:ext>
            </c:extLst>
          </c:dPt>
          <c:dPt>
            <c:idx val="25"/>
            <c:invertIfNegative val="1"/>
            <c:bubble3D val="0"/>
            <c:spPr>
              <a:solidFill>
                <a:srgbClr val="AEABAB"/>
              </a:solidFill>
            </c:spPr>
            <c:extLst>
              <c:ext xmlns:c16="http://schemas.microsoft.com/office/drawing/2014/chart" uri="{C3380CC4-5D6E-409C-BE32-E72D297353CC}">
                <c16:uniqueId val="{0000006B-2993-41DE-A2CB-63102DE87051}"/>
              </c:ext>
            </c:extLst>
          </c:dPt>
          <c:dPt>
            <c:idx val="26"/>
            <c:invertIfNegative val="1"/>
            <c:bubble3D val="0"/>
            <c:spPr>
              <a:solidFill>
                <a:srgbClr val="AEABAB"/>
              </a:solidFill>
            </c:spPr>
            <c:extLst>
              <c:ext xmlns:c16="http://schemas.microsoft.com/office/drawing/2014/chart" uri="{C3380CC4-5D6E-409C-BE32-E72D297353CC}">
                <c16:uniqueId val="{0000006D-2993-41DE-A2CB-63102DE87051}"/>
              </c:ext>
            </c:extLst>
          </c:dPt>
          <c:dPt>
            <c:idx val="27"/>
            <c:invertIfNegative val="1"/>
            <c:bubble3D val="0"/>
            <c:spPr>
              <a:solidFill>
                <a:srgbClr val="AEABAB"/>
              </a:solidFill>
            </c:spPr>
            <c:extLst>
              <c:ext xmlns:c16="http://schemas.microsoft.com/office/drawing/2014/chart" uri="{C3380CC4-5D6E-409C-BE32-E72D297353CC}">
                <c16:uniqueId val="{0000006F-2993-41DE-A2CB-63102DE87051}"/>
              </c:ext>
            </c:extLst>
          </c:dPt>
          <c:dPt>
            <c:idx val="28"/>
            <c:invertIfNegative val="1"/>
            <c:bubble3D val="0"/>
            <c:spPr>
              <a:solidFill>
                <a:srgbClr val="AEABAB"/>
              </a:solidFill>
            </c:spPr>
            <c:extLst>
              <c:ext xmlns:c16="http://schemas.microsoft.com/office/drawing/2014/chart" uri="{C3380CC4-5D6E-409C-BE32-E72D297353CC}">
                <c16:uniqueId val="{00000071-2993-41DE-A2CB-63102DE87051}"/>
              </c:ext>
            </c:extLst>
          </c:dPt>
          <c:dPt>
            <c:idx val="29"/>
            <c:invertIfNegative val="1"/>
            <c:bubble3D val="0"/>
            <c:spPr>
              <a:solidFill>
                <a:srgbClr val="AEABAB"/>
              </a:solidFill>
            </c:spPr>
            <c:extLst>
              <c:ext xmlns:c16="http://schemas.microsoft.com/office/drawing/2014/chart" uri="{C3380CC4-5D6E-409C-BE32-E72D297353CC}">
                <c16:uniqueId val="{00000073-2993-41DE-A2CB-63102DE87051}"/>
              </c:ext>
            </c:extLst>
          </c:dPt>
          <c:dPt>
            <c:idx val="30"/>
            <c:invertIfNegative val="1"/>
            <c:bubble3D val="0"/>
            <c:spPr>
              <a:solidFill>
                <a:srgbClr val="AEABAB"/>
              </a:solidFill>
            </c:spPr>
            <c:extLst>
              <c:ext xmlns:c16="http://schemas.microsoft.com/office/drawing/2014/chart" uri="{C3380CC4-5D6E-409C-BE32-E72D297353CC}">
                <c16:uniqueId val="{00000075-2993-41DE-A2CB-63102DE87051}"/>
              </c:ext>
            </c:extLst>
          </c:dPt>
          <c:dPt>
            <c:idx val="31"/>
            <c:invertIfNegative val="1"/>
            <c:bubble3D val="0"/>
            <c:spPr>
              <a:solidFill>
                <a:srgbClr val="AEABAB"/>
              </a:solidFill>
            </c:spPr>
            <c:extLst>
              <c:ext xmlns:c16="http://schemas.microsoft.com/office/drawing/2014/chart" uri="{C3380CC4-5D6E-409C-BE32-E72D297353CC}">
                <c16:uniqueId val="{00000077-2993-41DE-A2CB-63102DE87051}"/>
              </c:ext>
            </c:extLst>
          </c:dPt>
          <c:dPt>
            <c:idx val="32"/>
            <c:invertIfNegative val="1"/>
            <c:bubble3D val="0"/>
            <c:spPr>
              <a:solidFill>
                <a:srgbClr val="AEABAB"/>
              </a:solidFill>
            </c:spPr>
            <c:extLst>
              <c:ext xmlns:c16="http://schemas.microsoft.com/office/drawing/2014/chart" uri="{C3380CC4-5D6E-409C-BE32-E72D297353CC}">
                <c16:uniqueId val="{00000079-2993-41DE-A2CB-63102DE87051}"/>
              </c:ext>
            </c:extLst>
          </c:dPt>
          <c:dPt>
            <c:idx val="33"/>
            <c:invertIfNegative val="1"/>
            <c:bubble3D val="0"/>
            <c:spPr>
              <a:solidFill>
                <a:srgbClr val="AEABAB"/>
              </a:solidFill>
            </c:spPr>
            <c:extLst>
              <c:ext xmlns:c16="http://schemas.microsoft.com/office/drawing/2014/chart" uri="{C3380CC4-5D6E-409C-BE32-E72D297353CC}">
                <c16:uniqueId val="{0000007B-2993-41DE-A2CB-63102DE87051}"/>
              </c:ext>
            </c:extLst>
          </c:dPt>
          <c:dPt>
            <c:idx val="34"/>
            <c:invertIfNegative val="1"/>
            <c:bubble3D val="0"/>
            <c:spPr>
              <a:solidFill>
                <a:srgbClr val="AEABAB"/>
              </a:solidFill>
            </c:spPr>
            <c:extLst>
              <c:ext xmlns:c16="http://schemas.microsoft.com/office/drawing/2014/chart" uri="{C3380CC4-5D6E-409C-BE32-E72D297353CC}">
                <c16:uniqueId val="{0000007D-2993-41DE-A2CB-63102DE87051}"/>
              </c:ext>
            </c:extLst>
          </c:dPt>
          <c:dPt>
            <c:idx val="35"/>
            <c:invertIfNegative val="1"/>
            <c:bubble3D val="0"/>
            <c:spPr>
              <a:solidFill>
                <a:srgbClr val="AEABAB"/>
              </a:solidFill>
            </c:spPr>
            <c:extLst>
              <c:ext xmlns:c16="http://schemas.microsoft.com/office/drawing/2014/chart" uri="{C3380CC4-5D6E-409C-BE32-E72D297353CC}">
                <c16:uniqueId val="{0000007F-2993-41DE-A2CB-63102DE87051}"/>
              </c:ext>
            </c:extLst>
          </c:dPt>
          <c:dPt>
            <c:idx val="36"/>
            <c:invertIfNegative val="1"/>
            <c:bubble3D val="0"/>
            <c:spPr>
              <a:solidFill>
                <a:srgbClr val="AEABAB"/>
              </a:solidFill>
            </c:spPr>
            <c:extLst>
              <c:ext xmlns:c16="http://schemas.microsoft.com/office/drawing/2014/chart" uri="{C3380CC4-5D6E-409C-BE32-E72D297353CC}">
                <c16:uniqueId val="{00000081-2993-41DE-A2CB-63102DE87051}"/>
              </c:ext>
            </c:extLst>
          </c:dPt>
          <c:dPt>
            <c:idx val="37"/>
            <c:invertIfNegative val="1"/>
            <c:bubble3D val="0"/>
            <c:spPr>
              <a:solidFill>
                <a:srgbClr val="AEABAB"/>
              </a:solidFill>
            </c:spPr>
            <c:extLst>
              <c:ext xmlns:c16="http://schemas.microsoft.com/office/drawing/2014/chart" uri="{C3380CC4-5D6E-409C-BE32-E72D297353CC}">
                <c16:uniqueId val="{00000083-2993-41DE-A2CB-63102DE87051}"/>
              </c:ext>
            </c:extLst>
          </c:dPt>
          <c:dPt>
            <c:idx val="38"/>
            <c:invertIfNegative val="1"/>
            <c:bubble3D val="0"/>
            <c:spPr>
              <a:solidFill>
                <a:srgbClr val="AEABAB"/>
              </a:solidFill>
            </c:spPr>
            <c:extLst>
              <c:ext xmlns:c16="http://schemas.microsoft.com/office/drawing/2014/chart" uri="{C3380CC4-5D6E-409C-BE32-E72D297353CC}">
                <c16:uniqueId val="{00000085-2993-41DE-A2CB-63102DE87051}"/>
              </c:ext>
            </c:extLst>
          </c:dPt>
          <c:dPt>
            <c:idx val="39"/>
            <c:invertIfNegative val="1"/>
            <c:bubble3D val="0"/>
            <c:spPr>
              <a:solidFill>
                <a:srgbClr val="AEABAB"/>
              </a:solidFill>
            </c:spPr>
            <c:extLst>
              <c:ext xmlns:c16="http://schemas.microsoft.com/office/drawing/2014/chart" uri="{C3380CC4-5D6E-409C-BE32-E72D297353CC}">
                <c16:uniqueId val="{00000087-2993-41DE-A2CB-63102DE87051}"/>
              </c:ext>
            </c:extLst>
          </c:dPt>
          <c:dPt>
            <c:idx val="40"/>
            <c:invertIfNegative val="1"/>
            <c:bubble3D val="0"/>
            <c:spPr>
              <a:solidFill>
                <a:srgbClr val="AEABAB"/>
              </a:solidFill>
            </c:spPr>
            <c:extLst>
              <c:ext xmlns:c16="http://schemas.microsoft.com/office/drawing/2014/chart" uri="{C3380CC4-5D6E-409C-BE32-E72D297353CC}">
                <c16:uniqueId val="{00000089-2993-41DE-A2CB-63102DE87051}"/>
              </c:ext>
            </c:extLst>
          </c:dPt>
          <c:dPt>
            <c:idx val="41"/>
            <c:invertIfNegative val="1"/>
            <c:bubble3D val="0"/>
            <c:spPr>
              <a:solidFill>
                <a:srgbClr val="AEABAB"/>
              </a:solidFill>
            </c:spPr>
            <c:extLst>
              <c:ext xmlns:c16="http://schemas.microsoft.com/office/drawing/2014/chart" uri="{C3380CC4-5D6E-409C-BE32-E72D297353CC}">
                <c16:uniqueId val="{0000008B-2993-41DE-A2CB-63102DE87051}"/>
              </c:ext>
            </c:extLst>
          </c:dPt>
          <c:dPt>
            <c:idx val="42"/>
            <c:invertIfNegative val="1"/>
            <c:bubble3D val="0"/>
            <c:spPr>
              <a:solidFill>
                <a:srgbClr val="AEABAB"/>
              </a:solidFill>
            </c:spPr>
            <c:extLst>
              <c:ext xmlns:c16="http://schemas.microsoft.com/office/drawing/2014/chart" uri="{C3380CC4-5D6E-409C-BE32-E72D297353CC}">
                <c16:uniqueId val="{0000008D-2993-41DE-A2CB-63102DE87051}"/>
              </c:ext>
            </c:extLst>
          </c:dPt>
          <c:dPt>
            <c:idx val="43"/>
            <c:invertIfNegative val="1"/>
            <c:bubble3D val="0"/>
            <c:spPr>
              <a:solidFill>
                <a:srgbClr val="AEABAB"/>
              </a:solidFill>
            </c:spPr>
            <c:extLst>
              <c:ext xmlns:c16="http://schemas.microsoft.com/office/drawing/2014/chart" uri="{C3380CC4-5D6E-409C-BE32-E72D297353CC}">
                <c16:uniqueId val="{0000008F-2993-41DE-A2CB-63102DE87051}"/>
              </c:ext>
            </c:extLst>
          </c:dPt>
          <c:dPt>
            <c:idx val="44"/>
            <c:invertIfNegative val="1"/>
            <c:bubble3D val="0"/>
            <c:spPr>
              <a:solidFill>
                <a:srgbClr val="AEABAB"/>
              </a:solidFill>
            </c:spPr>
            <c:extLst>
              <c:ext xmlns:c16="http://schemas.microsoft.com/office/drawing/2014/chart" uri="{C3380CC4-5D6E-409C-BE32-E72D297353CC}">
                <c16:uniqueId val="{00000091-2993-41DE-A2CB-63102DE87051}"/>
              </c:ext>
            </c:extLst>
          </c:dPt>
          <c:dPt>
            <c:idx val="45"/>
            <c:invertIfNegative val="1"/>
            <c:bubble3D val="0"/>
            <c:spPr>
              <a:solidFill>
                <a:srgbClr val="AEABAB"/>
              </a:solidFill>
            </c:spPr>
            <c:extLst>
              <c:ext xmlns:c16="http://schemas.microsoft.com/office/drawing/2014/chart" uri="{C3380CC4-5D6E-409C-BE32-E72D297353CC}">
                <c16:uniqueId val="{00000093-2993-41DE-A2CB-63102DE87051}"/>
              </c:ext>
            </c:extLst>
          </c:dPt>
          <c:dPt>
            <c:idx val="46"/>
            <c:invertIfNegative val="1"/>
            <c:bubble3D val="0"/>
            <c:spPr>
              <a:solidFill>
                <a:srgbClr val="AEABAB"/>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48</c:f>
              <c:strCache>
                <c:ptCount val="47"/>
                <c:pt idx="0">
                  <c:v>Ruinart</c:v>
                </c:pt>
                <c:pt idx="1">
                  <c:v>Ruinart</c:v>
                </c:pt>
                <c:pt idx="2">
                  <c:v>Ruinart</c:v>
                </c:pt>
                <c:pt idx="3">
                  <c:v>Malard</c:v>
                </c:pt>
                <c:pt idx="4">
                  <c:v>Nicolas</c:v>
                </c:pt>
                <c:pt idx="5">
                  <c:v>Besserat De</c:v>
                </c:pt>
                <c:pt idx="6">
                  <c:v>De Bligny</c:v>
                </c:pt>
                <c:pt idx="7">
                  <c:v>Henriot</c:v>
                </c:pt>
                <c:pt idx="8">
                  <c:v>Delamotte</c:v>
                </c:pt>
                <c:pt idx="9">
                  <c:v>Ayala</c:v>
                </c:pt>
                <c:pt idx="10">
                  <c:v>De Venoge</c:v>
                </c:pt>
                <c:pt idx="11">
                  <c:v>Ruinart</c:v>
                </c:pt>
                <c:pt idx="12">
                  <c:v>Henriot</c:v>
                </c:pt>
                <c:pt idx="13">
                  <c:v>Nicolas</c:v>
                </c:pt>
                <c:pt idx="14">
                  <c:v>Perrier Jou</c:v>
                </c:pt>
                <c:pt idx="15">
                  <c:v>Nicolas</c:v>
                </c:pt>
                <c:pt idx="16">
                  <c:v>Deutz</c:v>
                </c:pt>
                <c:pt idx="17">
                  <c:v>Ruinart</c:v>
                </c:pt>
                <c:pt idx="18">
                  <c:v>Lanson</c:v>
                </c:pt>
                <c:pt idx="19">
                  <c:v>Taittinger</c:v>
                </c:pt>
                <c:pt idx="20">
                  <c:v>All Others</c:v>
                </c:pt>
                <c:pt idx="21">
                  <c:v>Vesselle</c:v>
                </c:pt>
                <c:pt idx="22">
                  <c:v>Deutz</c:v>
                </c:pt>
                <c:pt idx="23">
                  <c:v>Ayala</c:v>
                </c:pt>
                <c:pt idx="24">
                  <c:v>Nicolas</c:v>
                </c:pt>
                <c:pt idx="25">
                  <c:v>Besserat De</c:v>
                </c:pt>
                <c:pt idx="26">
                  <c:v>Delamotte</c:v>
                </c:pt>
                <c:pt idx="27">
                  <c:v>Taittinger</c:v>
                </c:pt>
                <c:pt idx="28">
                  <c:v>All Others</c:v>
                </c:pt>
                <c:pt idx="29">
                  <c:v>Taittinger</c:v>
                </c:pt>
                <c:pt idx="30">
                  <c:v>De Venoge</c:v>
                </c:pt>
                <c:pt idx="31">
                  <c:v>Laurent Per</c:v>
                </c:pt>
                <c:pt idx="32">
                  <c:v>Ruinart</c:v>
                </c:pt>
                <c:pt idx="33">
                  <c:v>Nicolas</c:v>
                </c:pt>
                <c:pt idx="34">
                  <c:v>Deutz</c:v>
                </c:pt>
                <c:pt idx="35">
                  <c:v>Ruinart</c:v>
                </c:pt>
                <c:pt idx="36">
                  <c:v>All Others</c:v>
                </c:pt>
                <c:pt idx="37">
                  <c:v>All Others</c:v>
                </c:pt>
                <c:pt idx="38">
                  <c:v>All Others</c:v>
                </c:pt>
                <c:pt idx="39">
                  <c:v>All Others</c:v>
                </c:pt>
                <c:pt idx="40">
                  <c:v>All Others</c:v>
                </c:pt>
                <c:pt idx="41">
                  <c:v>Taittinger</c:v>
                </c:pt>
                <c:pt idx="42">
                  <c:v>Besserat De</c:v>
                </c:pt>
                <c:pt idx="43">
                  <c:v>All Others</c:v>
                </c:pt>
                <c:pt idx="44">
                  <c:v>Ayala</c:v>
                </c:pt>
                <c:pt idx="45">
                  <c:v>Delamotte</c:v>
                </c:pt>
                <c:pt idx="46">
                  <c:v>Pommery</c:v>
                </c:pt>
              </c:strCache>
            </c:strRef>
          </c:cat>
          <c:val>
            <c:numRef>
              <c:f>Sheet1!$C$2:$C$48</c:f>
              <c:numCache>
                <c:formatCode>General</c:formatCode>
                <c:ptCount val="47"/>
                <c:pt idx="0">
                  <c:v>0.4014338037131579</c:v>
                </c:pt>
                <c:pt idx="1">
                  <c:v>0.57492783037850737</c:v>
                </c:pt>
                <c:pt idx="2">
                  <c:v>0.63807388832631862</c:v>
                </c:pt>
                <c:pt idx="3">
                  <c:v>0.69670598524790472</c:v>
                </c:pt>
                <c:pt idx="4">
                  <c:v>0.74358173436639652</c:v>
                </c:pt>
                <c:pt idx="5">
                  <c:v>0.78498174511738195</c:v>
                </c:pt>
                <c:pt idx="6">
                  <c:v>0.81329969534031965</c:v>
                </c:pt>
                <c:pt idx="7">
                  <c:v>0.83867347368696343</c:v>
                </c:pt>
                <c:pt idx="8">
                  <c:v>0.86235978317877593</c:v>
                </c:pt>
                <c:pt idx="9">
                  <c:v>0.88014176772350805</c:v>
                </c:pt>
                <c:pt idx="10">
                  <c:v>0.89718861732158106</c:v>
                </c:pt>
                <c:pt idx="11">
                  <c:v>0.91400664527123743</c:v>
                </c:pt>
                <c:pt idx="12">
                  <c:v>0.92862217405264225</c:v>
                </c:pt>
                <c:pt idx="13">
                  <c:v>0.93574324903495398</c:v>
                </c:pt>
                <c:pt idx="14">
                  <c:v>0.94192651846772324</c:v>
                </c:pt>
                <c:pt idx="15">
                  <c:v>0.9477945225182296</c:v>
                </c:pt>
                <c:pt idx="16">
                  <c:v>0.95335089327613043</c:v>
                </c:pt>
                <c:pt idx="17">
                  <c:v>0.95863485730972575</c:v>
                </c:pt>
                <c:pt idx="18">
                  <c:v>0.96337836640229901</c:v>
                </c:pt>
                <c:pt idx="19">
                  <c:v>0.96757342995660389</c:v>
                </c:pt>
                <c:pt idx="20">
                  <c:v>0.97167914410533651</c:v>
                </c:pt>
                <c:pt idx="21">
                  <c:v>0.9750163080825619</c:v>
                </c:pt>
                <c:pt idx="22">
                  <c:v>0.97832441534252801</c:v>
                </c:pt>
                <c:pt idx="23">
                  <c:v>0.98132815348920344</c:v>
                </c:pt>
                <c:pt idx="24">
                  <c:v>0.98406456983709367</c:v>
                </c:pt>
                <c:pt idx="25">
                  <c:v>0.98667313662904321</c:v>
                </c:pt>
                <c:pt idx="26">
                  <c:v>0.98854874772812806</c:v>
                </c:pt>
                <c:pt idx="27">
                  <c:v>0.99005897060767778</c:v>
                </c:pt>
                <c:pt idx="28">
                  <c:v>0.99132656989811274</c:v>
                </c:pt>
                <c:pt idx="29">
                  <c:v>0.99252879157471441</c:v>
                </c:pt>
                <c:pt idx="30">
                  <c:v>0.99352616339463828</c:v>
                </c:pt>
                <c:pt idx="31">
                  <c:v>0.99443345939105854</c:v>
                </c:pt>
                <c:pt idx="32">
                  <c:v>0.99533784971575279</c:v>
                </c:pt>
                <c:pt idx="33">
                  <c:v>0.9961579755603952</c:v>
                </c:pt>
                <c:pt idx="34">
                  <c:v>0.9968480725953025</c:v>
                </c:pt>
                <c:pt idx="35">
                  <c:v>0.99747279201637651</c:v>
                </c:pt>
                <c:pt idx="36">
                  <c:v>0.99808879442227272</c:v>
                </c:pt>
                <c:pt idx="37">
                  <c:v>0.99845490905973933</c:v>
                </c:pt>
                <c:pt idx="38">
                  <c:v>0.99879632548753561</c:v>
                </c:pt>
                <c:pt idx="39">
                  <c:v>0.99910795878014114</c:v>
                </c:pt>
                <c:pt idx="40">
                  <c:v>0.99938254475824106</c:v>
                </c:pt>
                <c:pt idx="41">
                  <c:v>0.99959611163009654</c:v>
                </c:pt>
                <c:pt idx="42">
                  <c:v>0.999773357605378</c:v>
                </c:pt>
                <c:pt idx="43">
                  <c:v>0.99989684865372985</c:v>
                </c:pt>
                <c:pt idx="44">
                  <c:v>0.99993898089375577</c:v>
                </c:pt>
                <c:pt idx="45">
                  <c:v>0.99997166970067242</c:v>
                </c:pt>
                <c:pt idx="46">
                  <c:v>1.0000000000000002</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50</c:f>
              <c:strCache>
                <c:ptCount val="49"/>
                <c:pt idx="0">
                  <c:v>Ruinart</c:v>
                </c:pt>
                <c:pt idx="1">
                  <c:v>Ruinart</c:v>
                </c:pt>
                <c:pt idx="2">
                  <c:v>Malard</c:v>
                </c:pt>
                <c:pt idx="3">
                  <c:v>Nicolas</c:v>
                </c:pt>
                <c:pt idx="4">
                  <c:v>Ruinart</c:v>
                </c:pt>
                <c:pt idx="5">
                  <c:v>Besserat De</c:v>
                </c:pt>
                <c:pt idx="6">
                  <c:v>De Bligny</c:v>
                </c:pt>
                <c:pt idx="7">
                  <c:v>Henriot</c:v>
                </c:pt>
                <c:pt idx="8">
                  <c:v>Delamotte</c:v>
                </c:pt>
                <c:pt idx="9">
                  <c:v>De Venoge</c:v>
                </c:pt>
                <c:pt idx="10">
                  <c:v>Ayala</c:v>
                </c:pt>
                <c:pt idx="11">
                  <c:v>Ruinart</c:v>
                </c:pt>
                <c:pt idx="12">
                  <c:v>Henriot</c:v>
                </c:pt>
                <c:pt idx="13">
                  <c:v>Nicolas</c:v>
                </c:pt>
                <c:pt idx="14">
                  <c:v>Nicolas</c:v>
                </c:pt>
                <c:pt idx="15">
                  <c:v>Deutz</c:v>
                </c:pt>
                <c:pt idx="16">
                  <c:v>Taittinger</c:v>
                </c:pt>
                <c:pt idx="17">
                  <c:v>Ruinart</c:v>
                </c:pt>
                <c:pt idx="18">
                  <c:v>Ayala</c:v>
                </c:pt>
                <c:pt idx="19">
                  <c:v>All Others</c:v>
                </c:pt>
                <c:pt idx="20">
                  <c:v>All Others</c:v>
                </c:pt>
                <c:pt idx="21">
                  <c:v>Vesselle</c:v>
                </c:pt>
                <c:pt idx="22">
                  <c:v>Perrier Jou</c:v>
                </c:pt>
                <c:pt idx="23">
                  <c:v>Delamotte</c:v>
                </c:pt>
                <c:pt idx="24">
                  <c:v>Deutz</c:v>
                </c:pt>
                <c:pt idx="25">
                  <c:v>Nicolas</c:v>
                </c:pt>
                <c:pt idx="26">
                  <c:v>Lanson</c:v>
                </c:pt>
                <c:pt idx="27">
                  <c:v>Besserat De</c:v>
                </c:pt>
                <c:pt idx="28">
                  <c:v>Nicolas</c:v>
                </c:pt>
                <c:pt idx="29">
                  <c:v>Taittinger</c:v>
                </c:pt>
                <c:pt idx="30">
                  <c:v>Laurent Per</c:v>
                </c:pt>
                <c:pt idx="31">
                  <c:v>De Venoge</c:v>
                </c:pt>
                <c:pt idx="32">
                  <c:v>Taittinger</c:v>
                </c:pt>
                <c:pt idx="33">
                  <c:v>Deutz</c:v>
                </c:pt>
                <c:pt idx="34">
                  <c:v>All Others</c:v>
                </c:pt>
                <c:pt idx="35">
                  <c:v>Ruinart</c:v>
                </c:pt>
                <c:pt idx="36">
                  <c:v>Ruinart</c:v>
                </c:pt>
                <c:pt idx="37">
                  <c:v>All Others</c:v>
                </c:pt>
                <c:pt idx="38">
                  <c:v>All Others</c:v>
                </c:pt>
                <c:pt idx="39">
                  <c:v>Besserat De</c:v>
                </c:pt>
                <c:pt idx="40">
                  <c:v>All Others</c:v>
                </c:pt>
                <c:pt idx="41">
                  <c:v>All Others</c:v>
                </c:pt>
                <c:pt idx="42">
                  <c:v>Henriot</c:v>
                </c:pt>
                <c:pt idx="43">
                  <c:v>Ayala</c:v>
                </c:pt>
                <c:pt idx="44">
                  <c:v>Vranken</c:v>
                </c:pt>
                <c:pt idx="45">
                  <c:v>Deutz</c:v>
                </c:pt>
                <c:pt idx="46">
                  <c:v>Taittinger</c:v>
                </c:pt>
                <c:pt idx="47">
                  <c:v>De Venoge</c:v>
                </c:pt>
                <c:pt idx="48">
                  <c:v>Ayala</c:v>
                </c:pt>
              </c:strCache>
            </c:strRef>
          </c:cat>
          <c:val>
            <c:numRef>
              <c:f>Sheet1!$B$2:$B$50</c:f>
              <c:numCache>
                <c:formatCode>General</c:formatCode>
                <c:ptCount val="49"/>
                <c:pt idx="0">
                  <c:v>0.73</c:v>
                </c:pt>
                <c:pt idx="1">
                  <c:v>0.49</c:v>
                </c:pt>
                <c:pt idx="2">
                  <c:v>0.43</c:v>
                </c:pt>
                <c:pt idx="3">
                  <c:v>0.34</c:v>
                </c:pt>
                <c:pt idx="4">
                  <c:v>0.12</c:v>
                </c:pt>
                <c:pt idx="5">
                  <c:v>0.25</c:v>
                </c:pt>
                <c:pt idx="6">
                  <c:v>0.42</c:v>
                </c:pt>
                <c:pt idx="7">
                  <c:v>0.25</c:v>
                </c:pt>
                <c:pt idx="8">
                  <c:v>0.15</c:v>
                </c:pt>
                <c:pt idx="9">
                  <c:v>0.14000000000000001</c:v>
                </c:pt>
                <c:pt idx="10">
                  <c:v>0.19</c:v>
                </c:pt>
                <c:pt idx="11">
                  <c:v>0.13</c:v>
                </c:pt>
                <c:pt idx="12">
                  <c:v>0.13</c:v>
                </c:pt>
                <c:pt idx="13">
                  <c:v>0.1</c:v>
                </c:pt>
                <c:pt idx="14">
                  <c:v>0.17</c:v>
                </c:pt>
                <c:pt idx="15">
                  <c:v>0.04</c:v>
                </c:pt>
                <c:pt idx="16">
                  <c:v>0.03</c:v>
                </c:pt>
                <c:pt idx="17">
                  <c:v>0.02</c:v>
                </c:pt>
                <c:pt idx="18">
                  <c:v>0.06</c:v>
                </c:pt>
                <c:pt idx="19">
                  <c:v>0.06</c:v>
                </c:pt>
                <c:pt idx="20">
                  <c:v>0.04</c:v>
                </c:pt>
                <c:pt idx="21">
                  <c:v>0.06</c:v>
                </c:pt>
                <c:pt idx="22">
                  <c:v>0.06</c:v>
                </c:pt>
                <c:pt idx="23">
                  <c:v>0.04</c:v>
                </c:pt>
                <c:pt idx="24">
                  <c:v>0.02</c:v>
                </c:pt>
                <c:pt idx="25">
                  <c:v>0.06</c:v>
                </c:pt>
                <c:pt idx="26">
                  <c:v>7.0000000000000007E-2</c:v>
                </c:pt>
                <c:pt idx="27">
                  <c:v>0.05</c:v>
                </c:pt>
                <c:pt idx="28">
                  <c:v>0.04</c:v>
                </c:pt>
                <c:pt idx="29">
                  <c:v>0.02</c:v>
                </c:pt>
                <c:pt idx="30">
                  <c:v>0.03</c:v>
                </c:pt>
                <c:pt idx="31">
                  <c:v>0.02</c:v>
                </c:pt>
                <c:pt idx="32">
                  <c:v>0.02</c:v>
                </c:pt>
                <c:pt idx="33">
                  <c:v>0.02</c:v>
                </c:pt>
                <c:pt idx="34">
                  <c:v>0.01</c:v>
                </c:pt>
                <c:pt idx="35">
                  <c:v>0.03</c:v>
                </c:pt>
                <c:pt idx="36">
                  <c:v>0.01</c:v>
                </c:pt>
                <c:pt idx="37">
                  <c:v>0.01</c:v>
                </c:pt>
                <c:pt idx="38">
                  <c:v>0.01</c:v>
                </c:pt>
                <c:pt idx="39">
                  <c:v>0.02</c:v>
                </c:pt>
                <c:pt idx="40">
                  <c:v>0.01</c:v>
                </c:pt>
                <c:pt idx="41">
                  <c:v>0.02</c:v>
                </c:pt>
                <c:pt idx="42">
                  <c:v>0.01</c:v>
                </c:pt>
                <c:pt idx="43">
                  <c:v>0.01</c:v>
                </c:pt>
                <c:pt idx="44">
                  <c:v>0.01</c:v>
                </c:pt>
                <c:pt idx="45">
                  <c:v>0.01</c:v>
                </c:pt>
                <c:pt idx="46">
                  <c:v>0.01</c:v>
                </c:pt>
                <c:pt idx="47">
                  <c:v>0.01</c:v>
                </c:pt>
                <c:pt idx="48">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7ECAC4"/>
              </a:solidFill>
            </c:spPr>
            <c:extLst>
              <c:ext xmlns:c16="http://schemas.microsoft.com/office/drawing/2014/chart" uri="{C3380CC4-5D6E-409C-BE32-E72D297353CC}">
                <c16:uniqueId val="{00000049-2993-41DE-A2CB-63102DE87051}"/>
              </c:ext>
            </c:extLst>
          </c:dPt>
          <c:dPt>
            <c:idx val="9"/>
            <c:invertIfNegative val="1"/>
            <c:bubble3D val="0"/>
            <c:spPr>
              <a:solidFill>
                <a:srgbClr val="7ECAC4"/>
              </a:solidFill>
            </c:spPr>
            <c:extLst>
              <c:ext xmlns:c16="http://schemas.microsoft.com/office/drawing/2014/chart" uri="{C3380CC4-5D6E-409C-BE32-E72D297353CC}">
                <c16:uniqueId val="{0000004B-2993-41DE-A2CB-63102DE87051}"/>
              </c:ext>
            </c:extLst>
          </c:dPt>
          <c:dPt>
            <c:idx val="10"/>
            <c:invertIfNegative val="1"/>
            <c:bubble3D val="0"/>
            <c:spPr>
              <a:solidFill>
                <a:srgbClr val="7ECAC4"/>
              </a:solidFill>
            </c:spPr>
            <c:extLst>
              <c:ext xmlns:c16="http://schemas.microsoft.com/office/drawing/2014/chart" uri="{C3380CC4-5D6E-409C-BE32-E72D297353CC}">
                <c16:uniqueId val="{0000004D-2993-41DE-A2CB-63102DE87051}"/>
              </c:ext>
            </c:extLst>
          </c:dPt>
          <c:dPt>
            <c:idx val="11"/>
            <c:invertIfNegative val="1"/>
            <c:bubble3D val="0"/>
            <c:spPr>
              <a:solidFill>
                <a:srgbClr val="7ECAC4"/>
              </a:solidFill>
            </c:spPr>
            <c:extLst>
              <c:ext xmlns:c16="http://schemas.microsoft.com/office/drawing/2014/chart" uri="{C3380CC4-5D6E-409C-BE32-E72D297353CC}">
                <c16:uniqueId val="{0000004F-2993-41DE-A2CB-63102DE87051}"/>
              </c:ext>
            </c:extLst>
          </c:dPt>
          <c:dPt>
            <c:idx val="12"/>
            <c:invertIfNegative val="1"/>
            <c:bubble3D val="0"/>
            <c:spPr>
              <a:solidFill>
                <a:srgbClr val="7ECAC4"/>
              </a:solidFill>
            </c:spPr>
            <c:extLst>
              <c:ext xmlns:c16="http://schemas.microsoft.com/office/drawing/2014/chart" uri="{C3380CC4-5D6E-409C-BE32-E72D297353CC}">
                <c16:uniqueId val="{00000051-2993-41DE-A2CB-63102DE87051}"/>
              </c:ext>
            </c:extLst>
          </c:dPt>
          <c:dPt>
            <c:idx val="13"/>
            <c:invertIfNegative val="1"/>
            <c:bubble3D val="0"/>
            <c:spPr>
              <a:solidFill>
                <a:srgbClr val="7ECAC4"/>
              </a:solidFill>
            </c:spPr>
            <c:extLst>
              <c:ext xmlns:c16="http://schemas.microsoft.com/office/drawing/2014/chart" uri="{C3380CC4-5D6E-409C-BE32-E72D297353CC}">
                <c16:uniqueId val="{00000053-2993-41DE-A2CB-63102DE87051}"/>
              </c:ext>
            </c:extLst>
          </c:dPt>
          <c:dPt>
            <c:idx val="14"/>
            <c:invertIfNegative val="1"/>
            <c:bubble3D val="0"/>
            <c:spPr>
              <a:solidFill>
                <a:srgbClr val="7ECAC4"/>
              </a:solidFill>
            </c:spPr>
            <c:extLst>
              <c:ext xmlns:c16="http://schemas.microsoft.com/office/drawing/2014/chart" uri="{C3380CC4-5D6E-409C-BE32-E72D297353CC}">
                <c16:uniqueId val="{00000055-2993-41DE-A2CB-63102DE87051}"/>
              </c:ext>
            </c:extLst>
          </c:dPt>
          <c:dPt>
            <c:idx val="15"/>
            <c:invertIfNegative val="1"/>
            <c:bubble3D val="0"/>
            <c:spPr>
              <a:solidFill>
                <a:srgbClr val="7ECAC4"/>
              </a:solidFill>
            </c:spPr>
            <c:extLst>
              <c:ext xmlns:c16="http://schemas.microsoft.com/office/drawing/2014/chart" uri="{C3380CC4-5D6E-409C-BE32-E72D297353CC}">
                <c16:uniqueId val="{00000057-2993-41DE-A2CB-63102DE87051}"/>
              </c:ext>
            </c:extLst>
          </c:dPt>
          <c:dPt>
            <c:idx val="16"/>
            <c:invertIfNegative val="1"/>
            <c:bubble3D val="0"/>
            <c:spPr>
              <a:solidFill>
                <a:srgbClr val="7ECAC4"/>
              </a:solidFill>
            </c:spPr>
            <c:extLst>
              <c:ext xmlns:c16="http://schemas.microsoft.com/office/drawing/2014/chart" uri="{C3380CC4-5D6E-409C-BE32-E72D297353CC}">
                <c16:uniqueId val="{00000059-2993-41DE-A2CB-63102DE87051}"/>
              </c:ext>
            </c:extLst>
          </c:dPt>
          <c:dPt>
            <c:idx val="17"/>
            <c:invertIfNegative val="1"/>
            <c:bubble3D val="0"/>
            <c:spPr>
              <a:solidFill>
                <a:srgbClr val="7ECAC4"/>
              </a:solidFill>
            </c:spPr>
            <c:extLst>
              <c:ext xmlns:c16="http://schemas.microsoft.com/office/drawing/2014/chart" uri="{C3380CC4-5D6E-409C-BE32-E72D297353CC}">
                <c16:uniqueId val="{0000005B-2993-41DE-A2CB-63102DE87051}"/>
              </c:ext>
            </c:extLst>
          </c:dPt>
          <c:dPt>
            <c:idx val="18"/>
            <c:invertIfNegative val="1"/>
            <c:bubble3D val="0"/>
            <c:spPr>
              <a:solidFill>
                <a:srgbClr val="7ECAC4"/>
              </a:solidFill>
            </c:spPr>
            <c:extLst>
              <c:ext xmlns:c16="http://schemas.microsoft.com/office/drawing/2014/chart" uri="{C3380CC4-5D6E-409C-BE32-E72D297353CC}">
                <c16:uniqueId val="{0000005D-2993-41DE-A2CB-63102DE87051}"/>
              </c:ext>
            </c:extLst>
          </c:dPt>
          <c:dPt>
            <c:idx val="19"/>
            <c:invertIfNegative val="1"/>
            <c:bubble3D val="0"/>
            <c:spPr>
              <a:solidFill>
                <a:srgbClr val="AEABAB"/>
              </a:solidFill>
            </c:spPr>
            <c:extLst>
              <c:ext xmlns:c16="http://schemas.microsoft.com/office/drawing/2014/chart" uri="{C3380CC4-5D6E-409C-BE32-E72D297353CC}">
                <c16:uniqueId val="{0000005F-2993-41DE-A2CB-63102DE87051}"/>
              </c:ext>
            </c:extLst>
          </c:dPt>
          <c:dPt>
            <c:idx val="20"/>
            <c:invertIfNegative val="1"/>
            <c:bubble3D val="0"/>
            <c:spPr>
              <a:solidFill>
                <a:srgbClr val="AEABAB"/>
              </a:solidFill>
            </c:spPr>
            <c:extLst>
              <c:ext xmlns:c16="http://schemas.microsoft.com/office/drawing/2014/chart" uri="{C3380CC4-5D6E-409C-BE32-E72D297353CC}">
                <c16:uniqueId val="{00000061-2993-41DE-A2CB-63102DE87051}"/>
              </c:ext>
            </c:extLst>
          </c:dPt>
          <c:dPt>
            <c:idx val="21"/>
            <c:invertIfNegative val="1"/>
            <c:bubble3D val="0"/>
            <c:spPr>
              <a:solidFill>
                <a:srgbClr val="AEABAB"/>
              </a:solidFill>
            </c:spPr>
            <c:extLst>
              <c:ext xmlns:c16="http://schemas.microsoft.com/office/drawing/2014/chart" uri="{C3380CC4-5D6E-409C-BE32-E72D297353CC}">
                <c16:uniqueId val="{00000063-2993-41DE-A2CB-63102DE87051}"/>
              </c:ext>
            </c:extLst>
          </c:dPt>
          <c:dPt>
            <c:idx val="22"/>
            <c:invertIfNegative val="1"/>
            <c:bubble3D val="0"/>
            <c:spPr>
              <a:solidFill>
                <a:srgbClr val="AEABAB"/>
              </a:solidFill>
            </c:spPr>
            <c:extLst>
              <c:ext xmlns:c16="http://schemas.microsoft.com/office/drawing/2014/chart" uri="{C3380CC4-5D6E-409C-BE32-E72D297353CC}">
                <c16:uniqueId val="{00000065-2993-41DE-A2CB-63102DE87051}"/>
              </c:ext>
            </c:extLst>
          </c:dPt>
          <c:dPt>
            <c:idx val="23"/>
            <c:invertIfNegative val="1"/>
            <c:bubble3D val="0"/>
            <c:spPr>
              <a:solidFill>
                <a:srgbClr val="AEABAB"/>
              </a:solidFill>
            </c:spPr>
            <c:extLst>
              <c:ext xmlns:c16="http://schemas.microsoft.com/office/drawing/2014/chart" uri="{C3380CC4-5D6E-409C-BE32-E72D297353CC}">
                <c16:uniqueId val="{00000067-2993-41DE-A2CB-63102DE87051}"/>
              </c:ext>
            </c:extLst>
          </c:dPt>
          <c:dPt>
            <c:idx val="24"/>
            <c:invertIfNegative val="1"/>
            <c:bubble3D val="0"/>
            <c:spPr>
              <a:solidFill>
                <a:srgbClr val="AEABAB"/>
              </a:solidFill>
            </c:spPr>
            <c:extLst>
              <c:ext xmlns:c16="http://schemas.microsoft.com/office/drawing/2014/chart" uri="{C3380CC4-5D6E-409C-BE32-E72D297353CC}">
                <c16:uniqueId val="{00000069-2993-41DE-A2CB-63102DE87051}"/>
              </c:ext>
            </c:extLst>
          </c:dPt>
          <c:dPt>
            <c:idx val="25"/>
            <c:invertIfNegative val="1"/>
            <c:bubble3D val="0"/>
            <c:spPr>
              <a:solidFill>
                <a:srgbClr val="AEABAB"/>
              </a:solidFill>
            </c:spPr>
            <c:extLst>
              <c:ext xmlns:c16="http://schemas.microsoft.com/office/drawing/2014/chart" uri="{C3380CC4-5D6E-409C-BE32-E72D297353CC}">
                <c16:uniqueId val="{0000006B-2993-41DE-A2CB-63102DE87051}"/>
              </c:ext>
            </c:extLst>
          </c:dPt>
          <c:dPt>
            <c:idx val="26"/>
            <c:invertIfNegative val="1"/>
            <c:bubble3D val="0"/>
            <c:spPr>
              <a:solidFill>
                <a:srgbClr val="AEABAB"/>
              </a:solidFill>
            </c:spPr>
            <c:extLst>
              <c:ext xmlns:c16="http://schemas.microsoft.com/office/drawing/2014/chart" uri="{C3380CC4-5D6E-409C-BE32-E72D297353CC}">
                <c16:uniqueId val="{0000006D-2993-41DE-A2CB-63102DE87051}"/>
              </c:ext>
            </c:extLst>
          </c:dPt>
          <c:dPt>
            <c:idx val="27"/>
            <c:invertIfNegative val="1"/>
            <c:bubble3D val="0"/>
            <c:spPr>
              <a:solidFill>
                <a:srgbClr val="AEABAB"/>
              </a:solidFill>
            </c:spPr>
            <c:extLst>
              <c:ext xmlns:c16="http://schemas.microsoft.com/office/drawing/2014/chart" uri="{C3380CC4-5D6E-409C-BE32-E72D297353CC}">
                <c16:uniqueId val="{0000006F-2993-41DE-A2CB-63102DE87051}"/>
              </c:ext>
            </c:extLst>
          </c:dPt>
          <c:dPt>
            <c:idx val="28"/>
            <c:invertIfNegative val="1"/>
            <c:bubble3D val="0"/>
            <c:spPr>
              <a:solidFill>
                <a:srgbClr val="AEABAB"/>
              </a:solidFill>
            </c:spPr>
            <c:extLst>
              <c:ext xmlns:c16="http://schemas.microsoft.com/office/drawing/2014/chart" uri="{C3380CC4-5D6E-409C-BE32-E72D297353CC}">
                <c16:uniqueId val="{00000071-2993-41DE-A2CB-63102DE87051}"/>
              </c:ext>
            </c:extLst>
          </c:dPt>
          <c:dPt>
            <c:idx val="29"/>
            <c:invertIfNegative val="1"/>
            <c:bubble3D val="0"/>
            <c:spPr>
              <a:solidFill>
                <a:srgbClr val="AEABAB"/>
              </a:solidFill>
            </c:spPr>
            <c:extLst>
              <c:ext xmlns:c16="http://schemas.microsoft.com/office/drawing/2014/chart" uri="{C3380CC4-5D6E-409C-BE32-E72D297353CC}">
                <c16:uniqueId val="{00000073-2993-41DE-A2CB-63102DE87051}"/>
              </c:ext>
            </c:extLst>
          </c:dPt>
          <c:dPt>
            <c:idx val="30"/>
            <c:invertIfNegative val="1"/>
            <c:bubble3D val="0"/>
            <c:spPr>
              <a:solidFill>
                <a:srgbClr val="AEABAB"/>
              </a:solidFill>
            </c:spPr>
            <c:extLst>
              <c:ext xmlns:c16="http://schemas.microsoft.com/office/drawing/2014/chart" uri="{C3380CC4-5D6E-409C-BE32-E72D297353CC}">
                <c16:uniqueId val="{00000075-2993-41DE-A2CB-63102DE87051}"/>
              </c:ext>
            </c:extLst>
          </c:dPt>
          <c:dPt>
            <c:idx val="31"/>
            <c:invertIfNegative val="1"/>
            <c:bubble3D val="0"/>
            <c:spPr>
              <a:solidFill>
                <a:srgbClr val="AEABAB"/>
              </a:solidFill>
            </c:spPr>
            <c:extLst>
              <c:ext xmlns:c16="http://schemas.microsoft.com/office/drawing/2014/chart" uri="{C3380CC4-5D6E-409C-BE32-E72D297353CC}">
                <c16:uniqueId val="{00000077-2993-41DE-A2CB-63102DE87051}"/>
              </c:ext>
            </c:extLst>
          </c:dPt>
          <c:dPt>
            <c:idx val="32"/>
            <c:invertIfNegative val="1"/>
            <c:bubble3D val="0"/>
            <c:spPr>
              <a:solidFill>
                <a:srgbClr val="AEABAB"/>
              </a:solidFill>
            </c:spPr>
            <c:extLst>
              <c:ext xmlns:c16="http://schemas.microsoft.com/office/drawing/2014/chart" uri="{C3380CC4-5D6E-409C-BE32-E72D297353CC}">
                <c16:uniqueId val="{00000079-2993-41DE-A2CB-63102DE87051}"/>
              </c:ext>
            </c:extLst>
          </c:dPt>
          <c:dPt>
            <c:idx val="33"/>
            <c:invertIfNegative val="1"/>
            <c:bubble3D val="0"/>
            <c:spPr>
              <a:solidFill>
                <a:srgbClr val="AEABAB"/>
              </a:solidFill>
            </c:spPr>
            <c:extLst>
              <c:ext xmlns:c16="http://schemas.microsoft.com/office/drawing/2014/chart" uri="{C3380CC4-5D6E-409C-BE32-E72D297353CC}">
                <c16:uniqueId val="{0000007B-2993-41DE-A2CB-63102DE87051}"/>
              </c:ext>
            </c:extLst>
          </c:dPt>
          <c:dPt>
            <c:idx val="34"/>
            <c:invertIfNegative val="1"/>
            <c:bubble3D val="0"/>
            <c:spPr>
              <a:solidFill>
                <a:srgbClr val="AEABAB"/>
              </a:solidFill>
            </c:spPr>
            <c:extLst>
              <c:ext xmlns:c16="http://schemas.microsoft.com/office/drawing/2014/chart" uri="{C3380CC4-5D6E-409C-BE32-E72D297353CC}">
                <c16:uniqueId val="{0000007D-2993-41DE-A2CB-63102DE87051}"/>
              </c:ext>
            </c:extLst>
          </c:dPt>
          <c:dPt>
            <c:idx val="35"/>
            <c:invertIfNegative val="1"/>
            <c:bubble3D val="0"/>
            <c:spPr>
              <a:solidFill>
                <a:srgbClr val="AEABAB"/>
              </a:solidFill>
            </c:spPr>
            <c:extLst>
              <c:ext xmlns:c16="http://schemas.microsoft.com/office/drawing/2014/chart" uri="{C3380CC4-5D6E-409C-BE32-E72D297353CC}">
                <c16:uniqueId val="{0000007F-2993-41DE-A2CB-63102DE87051}"/>
              </c:ext>
            </c:extLst>
          </c:dPt>
          <c:dPt>
            <c:idx val="36"/>
            <c:invertIfNegative val="1"/>
            <c:bubble3D val="0"/>
            <c:spPr>
              <a:solidFill>
                <a:srgbClr val="AEABAB"/>
              </a:solidFill>
            </c:spPr>
            <c:extLst>
              <c:ext xmlns:c16="http://schemas.microsoft.com/office/drawing/2014/chart" uri="{C3380CC4-5D6E-409C-BE32-E72D297353CC}">
                <c16:uniqueId val="{00000081-2993-41DE-A2CB-63102DE87051}"/>
              </c:ext>
            </c:extLst>
          </c:dPt>
          <c:dPt>
            <c:idx val="37"/>
            <c:invertIfNegative val="1"/>
            <c:bubble3D val="0"/>
            <c:spPr>
              <a:solidFill>
                <a:srgbClr val="AEABAB"/>
              </a:solidFill>
            </c:spPr>
            <c:extLst>
              <c:ext xmlns:c16="http://schemas.microsoft.com/office/drawing/2014/chart" uri="{C3380CC4-5D6E-409C-BE32-E72D297353CC}">
                <c16:uniqueId val="{00000083-2993-41DE-A2CB-63102DE87051}"/>
              </c:ext>
            </c:extLst>
          </c:dPt>
          <c:dPt>
            <c:idx val="38"/>
            <c:invertIfNegative val="1"/>
            <c:bubble3D val="0"/>
            <c:spPr>
              <a:solidFill>
                <a:srgbClr val="AEABAB"/>
              </a:solidFill>
            </c:spPr>
            <c:extLst>
              <c:ext xmlns:c16="http://schemas.microsoft.com/office/drawing/2014/chart" uri="{C3380CC4-5D6E-409C-BE32-E72D297353CC}">
                <c16:uniqueId val="{00000085-2993-41DE-A2CB-63102DE87051}"/>
              </c:ext>
            </c:extLst>
          </c:dPt>
          <c:dPt>
            <c:idx val="39"/>
            <c:invertIfNegative val="1"/>
            <c:bubble3D val="0"/>
            <c:spPr>
              <a:solidFill>
                <a:srgbClr val="AEABAB"/>
              </a:solidFill>
            </c:spPr>
            <c:extLst>
              <c:ext xmlns:c16="http://schemas.microsoft.com/office/drawing/2014/chart" uri="{C3380CC4-5D6E-409C-BE32-E72D297353CC}">
                <c16:uniqueId val="{00000087-2993-41DE-A2CB-63102DE87051}"/>
              </c:ext>
            </c:extLst>
          </c:dPt>
          <c:dPt>
            <c:idx val="40"/>
            <c:invertIfNegative val="1"/>
            <c:bubble3D val="0"/>
            <c:spPr>
              <a:solidFill>
                <a:srgbClr val="AEABAB"/>
              </a:solidFill>
            </c:spPr>
            <c:extLst>
              <c:ext xmlns:c16="http://schemas.microsoft.com/office/drawing/2014/chart" uri="{C3380CC4-5D6E-409C-BE32-E72D297353CC}">
                <c16:uniqueId val="{00000089-2993-41DE-A2CB-63102DE87051}"/>
              </c:ext>
            </c:extLst>
          </c:dPt>
          <c:dPt>
            <c:idx val="41"/>
            <c:invertIfNegative val="1"/>
            <c:bubble3D val="0"/>
            <c:spPr>
              <a:solidFill>
                <a:srgbClr val="AEABAB"/>
              </a:solidFill>
            </c:spPr>
            <c:extLst>
              <c:ext xmlns:c16="http://schemas.microsoft.com/office/drawing/2014/chart" uri="{C3380CC4-5D6E-409C-BE32-E72D297353CC}">
                <c16:uniqueId val="{0000008B-2993-41DE-A2CB-63102DE87051}"/>
              </c:ext>
            </c:extLst>
          </c:dPt>
          <c:dPt>
            <c:idx val="42"/>
            <c:invertIfNegative val="1"/>
            <c:bubble3D val="0"/>
            <c:spPr>
              <a:solidFill>
                <a:srgbClr val="AEABAB"/>
              </a:solidFill>
            </c:spPr>
            <c:extLst>
              <c:ext xmlns:c16="http://schemas.microsoft.com/office/drawing/2014/chart" uri="{C3380CC4-5D6E-409C-BE32-E72D297353CC}">
                <c16:uniqueId val="{0000008D-2993-41DE-A2CB-63102DE87051}"/>
              </c:ext>
            </c:extLst>
          </c:dPt>
          <c:dPt>
            <c:idx val="43"/>
            <c:invertIfNegative val="1"/>
            <c:bubble3D val="0"/>
            <c:spPr>
              <a:solidFill>
                <a:srgbClr val="AEABAB"/>
              </a:solidFill>
            </c:spPr>
            <c:extLst>
              <c:ext xmlns:c16="http://schemas.microsoft.com/office/drawing/2014/chart" uri="{C3380CC4-5D6E-409C-BE32-E72D297353CC}">
                <c16:uniqueId val="{0000008F-2993-41DE-A2CB-63102DE87051}"/>
              </c:ext>
            </c:extLst>
          </c:dPt>
          <c:dPt>
            <c:idx val="44"/>
            <c:invertIfNegative val="1"/>
            <c:bubble3D val="0"/>
            <c:spPr>
              <a:solidFill>
                <a:srgbClr val="AEABAB"/>
              </a:solidFill>
            </c:spPr>
            <c:extLst>
              <c:ext xmlns:c16="http://schemas.microsoft.com/office/drawing/2014/chart" uri="{C3380CC4-5D6E-409C-BE32-E72D297353CC}">
                <c16:uniqueId val="{00000091-2993-41DE-A2CB-63102DE87051}"/>
              </c:ext>
            </c:extLst>
          </c:dPt>
          <c:dPt>
            <c:idx val="45"/>
            <c:invertIfNegative val="1"/>
            <c:bubble3D val="0"/>
            <c:spPr>
              <a:solidFill>
                <a:srgbClr val="AEABAB"/>
              </a:solidFill>
            </c:spPr>
            <c:extLst>
              <c:ext xmlns:c16="http://schemas.microsoft.com/office/drawing/2014/chart" uri="{C3380CC4-5D6E-409C-BE32-E72D297353CC}">
                <c16:uniqueId val="{00000093-2993-41DE-A2CB-63102DE87051}"/>
              </c:ext>
            </c:extLst>
          </c:dPt>
          <c:dPt>
            <c:idx val="46"/>
            <c:invertIfNegative val="1"/>
            <c:bubble3D val="0"/>
            <c:spPr>
              <a:solidFill>
                <a:srgbClr val="AEABAB"/>
              </a:solidFill>
            </c:spPr>
            <c:extLst>
              <c:ext xmlns:c16="http://schemas.microsoft.com/office/drawing/2014/chart" uri="{C3380CC4-5D6E-409C-BE32-E72D297353CC}">
                <c16:uniqueId val="{00000095-2993-41DE-A2CB-63102DE87051}"/>
              </c:ext>
            </c:extLst>
          </c:dPt>
          <c:dPt>
            <c:idx val="47"/>
            <c:invertIfNegative val="1"/>
            <c:bubble3D val="0"/>
            <c:spPr>
              <a:solidFill>
                <a:srgbClr val="AEABAB"/>
              </a:solidFill>
            </c:spPr>
            <c:extLst>
              <c:ext xmlns:c16="http://schemas.microsoft.com/office/drawing/2014/chart" uri="{C3380CC4-5D6E-409C-BE32-E72D297353CC}">
                <c16:uniqueId val="{00000097-2993-41DE-A2CB-63102DE87051}"/>
              </c:ext>
            </c:extLst>
          </c:dPt>
          <c:dPt>
            <c:idx val="48"/>
            <c:invertIfNegative val="1"/>
            <c:bubble3D val="0"/>
            <c:spPr>
              <a:solidFill>
                <a:srgbClr val="AEABAB"/>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50</c:f>
              <c:strCache>
                <c:ptCount val="49"/>
                <c:pt idx="0">
                  <c:v>Ruinart</c:v>
                </c:pt>
                <c:pt idx="1">
                  <c:v>Ruinart</c:v>
                </c:pt>
                <c:pt idx="2">
                  <c:v>Malard</c:v>
                </c:pt>
                <c:pt idx="3">
                  <c:v>Nicolas</c:v>
                </c:pt>
                <c:pt idx="4">
                  <c:v>Ruinart</c:v>
                </c:pt>
                <c:pt idx="5">
                  <c:v>Besserat De</c:v>
                </c:pt>
                <c:pt idx="6">
                  <c:v>De Bligny</c:v>
                </c:pt>
                <c:pt idx="7">
                  <c:v>Henriot</c:v>
                </c:pt>
                <c:pt idx="8">
                  <c:v>Delamotte</c:v>
                </c:pt>
                <c:pt idx="9">
                  <c:v>De Venoge</c:v>
                </c:pt>
                <c:pt idx="10">
                  <c:v>Ayala</c:v>
                </c:pt>
                <c:pt idx="11">
                  <c:v>Ruinart</c:v>
                </c:pt>
                <c:pt idx="12">
                  <c:v>Henriot</c:v>
                </c:pt>
                <c:pt idx="13">
                  <c:v>Nicolas</c:v>
                </c:pt>
                <c:pt idx="14">
                  <c:v>Nicolas</c:v>
                </c:pt>
                <c:pt idx="15">
                  <c:v>Deutz</c:v>
                </c:pt>
                <c:pt idx="16">
                  <c:v>Taittinger</c:v>
                </c:pt>
                <c:pt idx="17">
                  <c:v>Ruinart</c:v>
                </c:pt>
                <c:pt idx="18">
                  <c:v>Ayala</c:v>
                </c:pt>
                <c:pt idx="19">
                  <c:v>All Others</c:v>
                </c:pt>
                <c:pt idx="20">
                  <c:v>All Others</c:v>
                </c:pt>
                <c:pt idx="21">
                  <c:v>Vesselle</c:v>
                </c:pt>
                <c:pt idx="22">
                  <c:v>Perrier Jou</c:v>
                </c:pt>
                <c:pt idx="23">
                  <c:v>Delamotte</c:v>
                </c:pt>
                <c:pt idx="24">
                  <c:v>Deutz</c:v>
                </c:pt>
                <c:pt idx="25">
                  <c:v>Nicolas</c:v>
                </c:pt>
                <c:pt idx="26">
                  <c:v>Lanson</c:v>
                </c:pt>
                <c:pt idx="27">
                  <c:v>Besserat De</c:v>
                </c:pt>
                <c:pt idx="28">
                  <c:v>Nicolas</c:v>
                </c:pt>
                <c:pt idx="29">
                  <c:v>Taittinger</c:v>
                </c:pt>
                <c:pt idx="30">
                  <c:v>Laurent Per</c:v>
                </c:pt>
                <c:pt idx="31">
                  <c:v>De Venoge</c:v>
                </c:pt>
                <c:pt idx="32">
                  <c:v>Taittinger</c:v>
                </c:pt>
                <c:pt idx="33">
                  <c:v>Deutz</c:v>
                </c:pt>
                <c:pt idx="34">
                  <c:v>All Others</c:v>
                </c:pt>
                <c:pt idx="35">
                  <c:v>Ruinart</c:v>
                </c:pt>
                <c:pt idx="36">
                  <c:v>Ruinart</c:v>
                </c:pt>
                <c:pt idx="37">
                  <c:v>All Others</c:v>
                </c:pt>
                <c:pt idx="38">
                  <c:v>All Others</c:v>
                </c:pt>
                <c:pt idx="39">
                  <c:v>Besserat De</c:v>
                </c:pt>
                <c:pt idx="40">
                  <c:v>All Others</c:v>
                </c:pt>
                <c:pt idx="41">
                  <c:v>All Others</c:v>
                </c:pt>
                <c:pt idx="42">
                  <c:v>Henriot</c:v>
                </c:pt>
                <c:pt idx="43">
                  <c:v>Ayala</c:v>
                </c:pt>
                <c:pt idx="44">
                  <c:v>Vranken</c:v>
                </c:pt>
                <c:pt idx="45">
                  <c:v>Deutz</c:v>
                </c:pt>
                <c:pt idx="46">
                  <c:v>Taittinger</c:v>
                </c:pt>
                <c:pt idx="47">
                  <c:v>De Venoge</c:v>
                </c:pt>
                <c:pt idx="48">
                  <c:v>Ayala</c:v>
                </c:pt>
              </c:strCache>
            </c:strRef>
          </c:cat>
          <c:val>
            <c:numRef>
              <c:f>Sheet1!$C$2:$C$50</c:f>
              <c:numCache>
                <c:formatCode>General</c:formatCode>
                <c:ptCount val="49"/>
                <c:pt idx="0">
                  <c:v>0.38673001690316444</c:v>
                </c:pt>
                <c:pt idx="1">
                  <c:v>0.53168803871344139</c:v>
                </c:pt>
                <c:pt idx="2">
                  <c:v>0.59913286366778684</c:v>
                </c:pt>
                <c:pt idx="3">
                  <c:v>0.6605580841481884</c:v>
                </c:pt>
                <c:pt idx="4">
                  <c:v>0.71710975868035431</c:v>
                </c:pt>
                <c:pt idx="5">
                  <c:v>0.75953390423138545</c:v>
                </c:pt>
                <c:pt idx="6">
                  <c:v>0.7978437476273631</c:v>
                </c:pt>
                <c:pt idx="7">
                  <c:v>0.8223665229431486</c:v>
                </c:pt>
                <c:pt idx="8">
                  <c:v>0.84306830396924659</c:v>
                </c:pt>
                <c:pt idx="9">
                  <c:v>0.86297727463446405</c:v>
                </c:pt>
                <c:pt idx="10">
                  <c:v>0.88198474319577702</c:v>
                </c:pt>
                <c:pt idx="11">
                  <c:v>0.89770348732662275</c:v>
                </c:pt>
                <c:pt idx="12">
                  <c:v>0.90971792095073312</c:v>
                </c:pt>
                <c:pt idx="13">
                  <c:v>0.9198134657880751</c:v>
                </c:pt>
                <c:pt idx="14">
                  <c:v>0.92853597816574696</c:v>
                </c:pt>
                <c:pt idx="15">
                  <c:v>0.93435977766144929</c:v>
                </c:pt>
                <c:pt idx="16">
                  <c:v>0.93979756162861794</c:v>
                </c:pt>
                <c:pt idx="17">
                  <c:v>0.94471746140843726</c:v>
                </c:pt>
                <c:pt idx="18">
                  <c:v>0.94947352436972787</c:v>
                </c:pt>
                <c:pt idx="19">
                  <c:v>0.95404976643263317</c:v>
                </c:pt>
                <c:pt idx="20">
                  <c:v>0.95818804470747143</c:v>
                </c:pt>
                <c:pt idx="21">
                  <c:v>0.96223841054309911</c:v>
                </c:pt>
                <c:pt idx="22">
                  <c:v>0.96623842652717895</c:v>
                </c:pt>
                <c:pt idx="23">
                  <c:v>0.97019049027168947</c:v>
                </c:pt>
                <c:pt idx="24">
                  <c:v>0.97398591003360657</c:v>
                </c:pt>
                <c:pt idx="25">
                  <c:v>0.97777573536757389</c:v>
                </c:pt>
                <c:pt idx="26">
                  <c:v>0.98103888527027083</c:v>
                </c:pt>
                <c:pt idx="27">
                  <c:v>0.98384808730504425</c:v>
                </c:pt>
                <c:pt idx="28">
                  <c:v>0.98646388197355439</c:v>
                </c:pt>
                <c:pt idx="29">
                  <c:v>0.98904850768634445</c:v>
                </c:pt>
                <c:pt idx="30">
                  <c:v>0.99096260124915592</c:v>
                </c:pt>
                <c:pt idx="31">
                  <c:v>0.99270086993354623</c:v>
                </c:pt>
                <c:pt idx="32">
                  <c:v>0.99442555215005857</c:v>
                </c:pt>
                <c:pt idx="33">
                  <c:v>0.99533664470187699</c:v>
                </c:pt>
                <c:pt idx="34">
                  <c:v>0.99613744710268581</c:v>
                </c:pt>
                <c:pt idx="35">
                  <c:v>0.99693345427953772</c:v>
                </c:pt>
                <c:pt idx="36">
                  <c:v>0.99744894085490865</c:v>
                </c:pt>
                <c:pt idx="37">
                  <c:v>0.99795643539035139</c:v>
                </c:pt>
                <c:pt idx="38">
                  <c:v>0.99829929390327254</c:v>
                </c:pt>
                <c:pt idx="39">
                  <c:v>0.99857581848478938</c:v>
                </c:pt>
                <c:pt idx="40">
                  <c:v>0.99884435102637792</c:v>
                </c:pt>
                <c:pt idx="41">
                  <c:v>0.99910968675199519</c:v>
                </c:pt>
                <c:pt idx="42">
                  <c:v>0.99929909809829431</c:v>
                </c:pt>
                <c:pt idx="43">
                  <c:v>0.99948531262862206</c:v>
                </c:pt>
                <c:pt idx="44">
                  <c:v>0.99965074785513641</c:v>
                </c:pt>
                <c:pt idx="45">
                  <c:v>0.99979460457384461</c:v>
                </c:pt>
                <c:pt idx="46">
                  <c:v>0.99991208756078964</c:v>
                </c:pt>
                <c:pt idx="47">
                  <c:v>0.99996003980035908</c:v>
                </c:pt>
                <c:pt idx="48">
                  <c:v>1.0000000000000002</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173</c:f>
              <c:strCache>
                <c:ptCount val="172"/>
                <c:pt idx="0">
                  <c:v>Ruinart</c:v>
                </c:pt>
                <c:pt idx="1">
                  <c:v>Nicolas</c:v>
                </c:pt>
                <c:pt idx="2">
                  <c:v>Deutz</c:v>
                </c:pt>
                <c:pt idx="3">
                  <c:v>Heidsieck &amp;</c:v>
                </c:pt>
                <c:pt idx="4">
                  <c:v>Laurent Per</c:v>
                </c:pt>
                <c:pt idx="5">
                  <c:v>Ayala</c:v>
                </c:pt>
                <c:pt idx="6">
                  <c:v>De Bligny</c:v>
                </c:pt>
                <c:pt idx="7">
                  <c:v>Canard Duch</c:v>
                </c:pt>
                <c:pt idx="8">
                  <c:v>Taittinger</c:v>
                </c:pt>
                <c:pt idx="9">
                  <c:v>Ruinart</c:v>
                </c:pt>
                <c:pt idx="10">
                  <c:v>Bollinger</c:v>
                </c:pt>
                <c:pt idx="11">
                  <c:v>Besserat De</c:v>
                </c:pt>
                <c:pt idx="12">
                  <c:v>Demoiselle</c:v>
                </c:pt>
                <c:pt idx="13">
                  <c:v>Perrier Jou</c:v>
                </c:pt>
                <c:pt idx="14">
                  <c:v>Ruinart</c:v>
                </c:pt>
                <c:pt idx="15">
                  <c:v>Deutz</c:v>
                </c:pt>
                <c:pt idx="16">
                  <c:v>All Others</c:v>
                </c:pt>
                <c:pt idx="17">
                  <c:v>Laurent Per</c:v>
                </c:pt>
                <c:pt idx="18">
                  <c:v>Roederer</c:v>
                </c:pt>
                <c:pt idx="19">
                  <c:v>Pommery</c:v>
                </c:pt>
                <c:pt idx="20">
                  <c:v>Campari: Al</c:v>
                </c:pt>
                <c:pt idx="21">
                  <c:v>Savian</c:v>
                </c:pt>
                <c:pt idx="22">
                  <c:v>Moët &amp; Chan</c:v>
                </c:pt>
                <c:pt idx="23">
                  <c:v>All Others</c:v>
                </c:pt>
                <c:pt idx="24">
                  <c:v>Veuve Clicq</c:v>
                </c:pt>
                <c:pt idx="25">
                  <c:v>Taittinger</c:v>
                </c:pt>
                <c:pt idx="26">
                  <c:v>Veuve Clicq</c:v>
                </c:pt>
                <c:pt idx="27">
                  <c:v>Henriot</c:v>
                </c:pt>
                <c:pt idx="28">
                  <c:v>Roederer</c:v>
                </c:pt>
                <c:pt idx="29">
                  <c:v>Veuve Clicq</c:v>
                </c:pt>
                <c:pt idx="30">
                  <c:v>All Others</c:v>
                </c:pt>
                <c:pt idx="31">
                  <c:v>De Venoge</c:v>
                </c:pt>
                <c:pt idx="32">
                  <c:v>Ruinart</c:v>
                </c:pt>
                <c:pt idx="33">
                  <c:v>Deutz</c:v>
                </c:pt>
                <c:pt idx="34">
                  <c:v>Piper Heids</c:v>
                </c:pt>
                <c:pt idx="35">
                  <c:v>Nicolas</c:v>
                </c:pt>
                <c:pt idx="36">
                  <c:v>Lanson</c:v>
                </c:pt>
                <c:pt idx="37">
                  <c:v>Campari: Al</c:v>
                </c:pt>
                <c:pt idx="38">
                  <c:v>Nicolas Feu</c:v>
                </c:pt>
                <c:pt idx="39">
                  <c:v>Canard Duch</c:v>
                </c:pt>
                <c:pt idx="40">
                  <c:v>Bollinger</c:v>
                </c:pt>
                <c:pt idx="41">
                  <c:v>Krug</c:v>
                </c:pt>
                <c:pt idx="42">
                  <c:v>Henriot</c:v>
                </c:pt>
                <c:pt idx="43">
                  <c:v>Roederer</c:v>
                </c:pt>
                <c:pt idx="44">
                  <c:v>Canard Duch</c:v>
                </c:pt>
                <c:pt idx="45">
                  <c:v>Roederer</c:v>
                </c:pt>
                <c:pt idx="46">
                  <c:v>Nicolas</c:v>
                </c:pt>
                <c:pt idx="47">
                  <c:v>De Venoge</c:v>
                </c:pt>
                <c:pt idx="48">
                  <c:v>De Venoge</c:v>
                </c:pt>
                <c:pt idx="49">
                  <c:v>Nicolas</c:v>
                </c:pt>
                <c:pt idx="50">
                  <c:v>Vranken</c:v>
                </c:pt>
                <c:pt idx="51">
                  <c:v>Canard Duch</c:v>
                </c:pt>
                <c:pt idx="52">
                  <c:v>Canard Duch</c:v>
                </c:pt>
                <c:pt idx="53">
                  <c:v>Veuve Clicq</c:v>
                </c:pt>
                <c:pt idx="54">
                  <c:v>Roederer</c:v>
                </c:pt>
                <c:pt idx="55">
                  <c:v>Moët &amp; Chan</c:v>
                </c:pt>
                <c:pt idx="56">
                  <c:v>Nicolas</c:v>
                </c:pt>
                <c:pt idx="57">
                  <c:v>Nicolas Feu</c:v>
                </c:pt>
                <c:pt idx="58">
                  <c:v>All Others</c:v>
                </c:pt>
                <c:pt idx="59">
                  <c:v>Laurent Per</c:v>
                </c:pt>
                <c:pt idx="60">
                  <c:v>All Others</c:v>
                </c:pt>
                <c:pt idx="61">
                  <c:v>Roederer</c:v>
                </c:pt>
                <c:pt idx="62">
                  <c:v>Demoiselle</c:v>
                </c:pt>
                <c:pt idx="63">
                  <c:v>Nicolas</c:v>
                </c:pt>
                <c:pt idx="64">
                  <c:v>Laurent Per</c:v>
                </c:pt>
                <c:pt idx="65">
                  <c:v>Roederer</c:v>
                </c:pt>
                <c:pt idx="66">
                  <c:v>All Others</c:v>
                </c:pt>
                <c:pt idx="67">
                  <c:v>Pommery</c:v>
                </c:pt>
                <c:pt idx="68">
                  <c:v>Ruinart</c:v>
                </c:pt>
                <c:pt idx="69">
                  <c:v>Moët &amp; Chan</c:v>
                </c:pt>
                <c:pt idx="70">
                  <c:v>Ruinart</c:v>
                </c:pt>
                <c:pt idx="71">
                  <c:v>Ruinart</c:v>
                </c:pt>
                <c:pt idx="72">
                  <c:v>Roederer</c:v>
                </c:pt>
                <c:pt idx="73">
                  <c:v>Pommery</c:v>
                </c:pt>
                <c:pt idx="74">
                  <c:v>Laurent Per</c:v>
                </c:pt>
                <c:pt idx="75">
                  <c:v>Vranken</c:v>
                </c:pt>
                <c:pt idx="76">
                  <c:v>All Others</c:v>
                </c:pt>
                <c:pt idx="77">
                  <c:v>Deutz</c:v>
                </c:pt>
                <c:pt idx="78">
                  <c:v>Canard Duch</c:v>
                </c:pt>
                <c:pt idx="79">
                  <c:v>Pommery</c:v>
                </c:pt>
                <c:pt idx="80">
                  <c:v>Lanson-Bcc:</c:v>
                </c:pt>
                <c:pt idx="81">
                  <c:v>All Others</c:v>
                </c:pt>
                <c:pt idx="82">
                  <c:v>Ruinart</c:v>
                </c:pt>
                <c:pt idx="83">
                  <c:v>Moët &amp; Chan</c:v>
                </c:pt>
                <c:pt idx="84">
                  <c:v>Nicolas</c:v>
                </c:pt>
                <c:pt idx="85">
                  <c:v>All Others</c:v>
                </c:pt>
                <c:pt idx="86">
                  <c:v>Roederer</c:v>
                </c:pt>
                <c:pt idx="87">
                  <c:v>Malard</c:v>
                </c:pt>
                <c:pt idx="88">
                  <c:v>All Others</c:v>
                </c:pt>
                <c:pt idx="89">
                  <c:v>All Others</c:v>
                </c:pt>
                <c:pt idx="90">
                  <c:v>Moët &amp; Chan</c:v>
                </c:pt>
                <c:pt idx="91">
                  <c:v>Bollinger</c:v>
                </c:pt>
                <c:pt idx="92">
                  <c:v>Laurent Per</c:v>
                </c:pt>
                <c:pt idx="93">
                  <c:v>Henriot</c:v>
                </c:pt>
                <c:pt idx="94">
                  <c:v>Moët &amp; Chan</c:v>
                </c:pt>
                <c:pt idx="95">
                  <c:v>All Others</c:v>
                </c:pt>
                <c:pt idx="96">
                  <c:v>Bollinger</c:v>
                </c:pt>
                <c:pt idx="97">
                  <c:v>De Venoge</c:v>
                </c:pt>
                <c:pt idx="98">
                  <c:v>All Others</c:v>
                </c:pt>
                <c:pt idx="99">
                  <c:v>Ruinart</c:v>
                </c:pt>
                <c:pt idx="100">
                  <c:v>Deutz</c:v>
                </c:pt>
                <c:pt idx="101">
                  <c:v>Piper Heids</c:v>
                </c:pt>
                <c:pt idx="102">
                  <c:v>Nicolas Feu</c:v>
                </c:pt>
                <c:pt idx="103">
                  <c:v>Demoiselle</c:v>
                </c:pt>
                <c:pt idx="104">
                  <c:v>All Others</c:v>
                </c:pt>
                <c:pt idx="105">
                  <c:v>Taittinger</c:v>
                </c:pt>
                <c:pt idx="106">
                  <c:v>All Others</c:v>
                </c:pt>
                <c:pt idx="107">
                  <c:v>Bollinger</c:v>
                </c:pt>
                <c:pt idx="108">
                  <c:v>Laurent Per</c:v>
                </c:pt>
                <c:pt idx="109">
                  <c:v>All Others</c:v>
                </c:pt>
                <c:pt idx="110">
                  <c:v>Martel</c:v>
                </c:pt>
                <c:pt idx="111">
                  <c:v>Canard Duch</c:v>
                </c:pt>
                <c:pt idx="112">
                  <c:v>Roederer</c:v>
                </c:pt>
                <c:pt idx="113">
                  <c:v>Lanson</c:v>
                </c:pt>
                <c:pt idx="114">
                  <c:v>Roederer</c:v>
                </c:pt>
                <c:pt idx="115">
                  <c:v>All Others</c:v>
                </c:pt>
                <c:pt idx="116">
                  <c:v>Laurent Per</c:v>
                </c:pt>
                <c:pt idx="117">
                  <c:v>Delamotte</c:v>
                </c:pt>
                <c:pt idx="118">
                  <c:v>All Others</c:v>
                </c:pt>
                <c:pt idx="119">
                  <c:v>Besserat De</c:v>
                </c:pt>
                <c:pt idx="120">
                  <c:v>Moët &amp; Chan</c:v>
                </c:pt>
                <c:pt idx="121">
                  <c:v>De Venoge</c:v>
                </c:pt>
                <c:pt idx="122">
                  <c:v>Besserat De</c:v>
                </c:pt>
                <c:pt idx="123">
                  <c:v>Lanson</c:v>
                </c:pt>
                <c:pt idx="124">
                  <c:v>Demoiselle</c:v>
                </c:pt>
                <c:pt idx="125">
                  <c:v>Demoiselle</c:v>
                </c:pt>
                <c:pt idx="126">
                  <c:v>Veuve Clicq</c:v>
                </c:pt>
                <c:pt idx="127">
                  <c:v>Roederer</c:v>
                </c:pt>
                <c:pt idx="128">
                  <c:v>Roederer</c:v>
                </c:pt>
                <c:pt idx="129">
                  <c:v>Nicolas Feu</c:v>
                </c:pt>
                <c:pt idx="130">
                  <c:v>Ayala</c:v>
                </c:pt>
                <c:pt idx="131">
                  <c:v>Pommery</c:v>
                </c:pt>
                <c:pt idx="132">
                  <c:v>All Others</c:v>
                </c:pt>
                <c:pt idx="133">
                  <c:v>Demoiselle</c:v>
                </c:pt>
                <c:pt idx="134">
                  <c:v>Roederer</c:v>
                </c:pt>
                <c:pt idx="135">
                  <c:v>Canard Duch</c:v>
                </c:pt>
                <c:pt idx="136">
                  <c:v>Veuve Clicq</c:v>
                </c:pt>
                <c:pt idx="137">
                  <c:v>Lanson</c:v>
                </c:pt>
                <c:pt idx="138">
                  <c:v>Heidsieck &amp;</c:v>
                </c:pt>
                <c:pt idx="139">
                  <c:v>Taittinger</c:v>
                </c:pt>
                <c:pt idx="140">
                  <c:v>Pommery</c:v>
                </c:pt>
                <c:pt idx="141">
                  <c:v>Laurent Per</c:v>
                </c:pt>
                <c:pt idx="142">
                  <c:v>Ruinart</c:v>
                </c:pt>
                <c:pt idx="143">
                  <c:v>Laurent Per</c:v>
                </c:pt>
                <c:pt idx="144">
                  <c:v>Heidsieck &amp;</c:v>
                </c:pt>
                <c:pt idx="145">
                  <c:v>Taittinger</c:v>
                </c:pt>
                <c:pt idx="146">
                  <c:v>Besserat De</c:v>
                </c:pt>
                <c:pt idx="147">
                  <c:v>Nicolas Feu</c:v>
                </c:pt>
                <c:pt idx="148">
                  <c:v>Nicolas</c:v>
                </c:pt>
                <c:pt idx="149">
                  <c:v>De Bligny</c:v>
                </c:pt>
                <c:pt idx="150">
                  <c:v>Roederer</c:v>
                </c:pt>
                <c:pt idx="151">
                  <c:v>All Others</c:v>
                </c:pt>
                <c:pt idx="152">
                  <c:v>Ayala</c:v>
                </c:pt>
                <c:pt idx="153">
                  <c:v>Pommery</c:v>
                </c:pt>
                <c:pt idx="154">
                  <c:v>Laurent Per</c:v>
                </c:pt>
                <c:pt idx="155">
                  <c:v>Ruinart</c:v>
                </c:pt>
                <c:pt idx="156">
                  <c:v>Laurent Per</c:v>
                </c:pt>
                <c:pt idx="157">
                  <c:v>Nicolas Feu</c:v>
                </c:pt>
                <c:pt idx="158">
                  <c:v>Vranken</c:v>
                </c:pt>
                <c:pt idx="159">
                  <c:v>Malard</c:v>
                </c:pt>
                <c:pt idx="160">
                  <c:v>Roederer</c:v>
                </c:pt>
                <c:pt idx="161">
                  <c:v>Roederer</c:v>
                </c:pt>
                <c:pt idx="162">
                  <c:v>Taittinger</c:v>
                </c:pt>
                <c:pt idx="163">
                  <c:v>All Others</c:v>
                </c:pt>
                <c:pt idx="164">
                  <c:v>Veuve Clicq</c:v>
                </c:pt>
                <c:pt idx="165">
                  <c:v>Besserat De</c:v>
                </c:pt>
                <c:pt idx="166">
                  <c:v>Lanson</c:v>
                </c:pt>
                <c:pt idx="167">
                  <c:v>Moët &amp; Chan</c:v>
                </c:pt>
                <c:pt idx="168">
                  <c:v>Nicolas</c:v>
                </c:pt>
                <c:pt idx="169">
                  <c:v>Nicolas</c:v>
                </c:pt>
                <c:pt idx="170">
                  <c:v>Pommery</c:v>
                </c:pt>
                <c:pt idx="171">
                  <c:v>All Others</c:v>
                </c:pt>
              </c:strCache>
            </c:strRef>
          </c:cat>
          <c:val>
            <c:numRef>
              <c:f>Sheet1!$B$2:$B$173</c:f>
              <c:numCache>
                <c:formatCode>General</c:formatCode>
                <c:ptCount val="172"/>
                <c:pt idx="0">
                  <c:v>0.998</c:v>
                </c:pt>
                <c:pt idx="1">
                  <c:v>0.998</c:v>
                </c:pt>
                <c:pt idx="2">
                  <c:v>0.99299999999999999</c:v>
                </c:pt>
                <c:pt idx="3">
                  <c:v>0.94199999999999995</c:v>
                </c:pt>
                <c:pt idx="4">
                  <c:v>0.96099999999999997</c:v>
                </c:pt>
                <c:pt idx="5">
                  <c:v>0.95099999999999996</c:v>
                </c:pt>
                <c:pt idx="6">
                  <c:v>0.93899999999999995</c:v>
                </c:pt>
                <c:pt idx="7">
                  <c:v>0.96899999999999997</c:v>
                </c:pt>
                <c:pt idx="8">
                  <c:v>0.89500000000000002</c:v>
                </c:pt>
                <c:pt idx="9">
                  <c:v>0.69</c:v>
                </c:pt>
                <c:pt idx="10">
                  <c:v>0.88500000000000001</c:v>
                </c:pt>
                <c:pt idx="11">
                  <c:v>0.84699999999999998</c:v>
                </c:pt>
                <c:pt idx="12">
                  <c:v>0.91100000000000003</c:v>
                </c:pt>
                <c:pt idx="13">
                  <c:v>0.82</c:v>
                </c:pt>
                <c:pt idx="14">
                  <c:v>0.56899999999999995</c:v>
                </c:pt>
                <c:pt idx="15">
                  <c:v>0.72</c:v>
                </c:pt>
                <c:pt idx="16">
                  <c:v>0.80200000000000005</c:v>
                </c:pt>
                <c:pt idx="17">
                  <c:v>0.74099999999999999</c:v>
                </c:pt>
                <c:pt idx="18">
                  <c:v>0.63200000000000001</c:v>
                </c:pt>
                <c:pt idx="19">
                  <c:v>0.73</c:v>
                </c:pt>
                <c:pt idx="20">
                  <c:v>0.65600000000000003</c:v>
                </c:pt>
                <c:pt idx="21">
                  <c:v>0.72099999999999997</c:v>
                </c:pt>
                <c:pt idx="22">
                  <c:v>0.71699999999999997</c:v>
                </c:pt>
                <c:pt idx="23">
                  <c:v>0.64200000000000002</c:v>
                </c:pt>
                <c:pt idx="24">
                  <c:v>0.63100000000000001</c:v>
                </c:pt>
                <c:pt idx="25">
                  <c:v>0.499</c:v>
                </c:pt>
                <c:pt idx="26">
                  <c:v>0.54700000000000004</c:v>
                </c:pt>
                <c:pt idx="27">
                  <c:v>0.63</c:v>
                </c:pt>
                <c:pt idx="28">
                  <c:v>0.50900000000000001</c:v>
                </c:pt>
                <c:pt idx="29">
                  <c:v>0.57499999999999996</c:v>
                </c:pt>
                <c:pt idx="30">
                  <c:v>0.45600000000000002</c:v>
                </c:pt>
                <c:pt idx="31">
                  <c:v>0.55700000000000005</c:v>
                </c:pt>
                <c:pt idx="32">
                  <c:v>0.61099999999999999</c:v>
                </c:pt>
                <c:pt idx="33">
                  <c:v>0.75900000000000001</c:v>
                </c:pt>
                <c:pt idx="34">
                  <c:v>0.61799999999999999</c:v>
                </c:pt>
                <c:pt idx="35">
                  <c:v>0.76700000000000002</c:v>
                </c:pt>
                <c:pt idx="36">
                  <c:v>0.55400000000000005</c:v>
                </c:pt>
                <c:pt idx="37">
                  <c:v>0.48499999999999999</c:v>
                </c:pt>
                <c:pt idx="38">
                  <c:v>0.43</c:v>
                </c:pt>
                <c:pt idx="39">
                  <c:v>0.748</c:v>
                </c:pt>
                <c:pt idx="40">
                  <c:v>0.254</c:v>
                </c:pt>
                <c:pt idx="41">
                  <c:v>0.17299999999999999</c:v>
                </c:pt>
                <c:pt idx="42">
                  <c:v>0.627</c:v>
                </c:pt>
                <c:pt idx="43">
                  <c:v>0.219</c:v>
                </c:pt>
                <c:pt idx="44">
                  <c:v>0.32700000000000001</c:v>
                </c:pt>
                <c:pt idx="45">
                  <c:v>0.23100000000000001</c:v>
                </c:pt>
                <c:pt idx="46">
                  <c:v>0.38800000000000001</c:v>
                </c:pt>
                <c:pt idx="47">
                  <c:v>0.41899999999999998</c:v>
                </c:pt>
                <c:pt idx="48">
                  <c:v>0.249</c:v>
                </c:pt>
                <c:pt idx="49">
                  <c:v>0.254</c:v>
                </c:pt>
                <c:pt idx="50">
                  <c:v>0.22</c:v>
                </c:pt>
                <c:pt idx="51">
                  <c:v>0.29199999999999998</c:v>
                </c:pt>
                <c:pt idx="52">
                  <c:v>0.17599999999999999</c:v>
                </c:pt>
                <c:pt idx="53">
                  <c:v>0.20300000000000001</c:v>
                </c:pt>
                <c:pt idx="54">
                  <c:v>0.33300000000000002</c:v>
                </c:pt>
                <c:pt idx="55">
                  <c:v>0.315</c:v>
                </c:pt>
                <c:pt idx="56">
                  <c:v>0.2</c:v>
                </c:pt>
                <c:pt idx="57">
                  <c:v>0.314</c:v>
                </c:pt>
                <c:pt idx="58">
                  <c:v>0.217</c:v>
                </c:pt>
                <c:pt idx="59">
                  <c:v>0.17499999999999999</c:v>
                </c:pt>
                <c:pt idx="60">
                  <c:v>0.20100000000000001</c:v>
                </c:pt>
                <c:pt idx="61">
                  <c:v>0.28000000000000003</c:v>
                </c:pt>
                <c:pt idx="62">
                  <c:v>0.28799999999999998</c:v>
                </c:pt>
                <c:pt idx="63">
                  <c:v>0.23599999999999999</c:v>
                </c:pt>
                <c:pt idx="64">
                  <c:v>9.4E-2</c:v>
                </c:pt>
                <c:pt idx="65">
                  <c:v>0.253</c:v>
                </c:pt>
                <c:pt idx="66">
                  <c:v>1.6E-2</c:v>
                </c:pt>
                <c:pt idx="67">
                  <c:v>0.19700000000000001</c:v>
                </c:pt>
                <c:pt idx="68">
                  <c:v>8.6999999999999994E-2</c:v>
                </c:pt>
                <c:pt idx="69">
                  <c:v>0.156</c:v>
                </c:pt>
                <c:pt idx="70">
                  <c:v>0.11</c:v>
                </c:pt>
                <c:pt idx="71">
                  <c:v>8.5999999999999993E-2</c:v>
                </c:pt>
                <c:pt idx="72">
                  <c:v>5.2999999999999999E-2</c:v>
                </c:pt>
                <c:pt idx="73">
                  <c:v>0.185</c:v>
                </c:pt>
                <c:pt idx="74">
                  <c:v>0.08</c:v>
                </c:pt>
                <c:pt idx="75">
                  <c:v>8.8999999999999996E-2</c:v>
                </c:pt>
                <c:pt idx="76">
                  <c:v>1.4E-2</c:v>
                </c:pt>
                <c:pt idx="77">
                  <c:v>7.2999999999999995E-2</c:v>
                </c:pt>
                <c:pt idx="78">
                  <c:v>0.11899999999999999</c:v>
                </c:pt>
                <c:pt idx="79">
                  <c:v>0.11899999999999999</c:v>
                </c:pt>
                <c:pt idx="80">
                  <c:v>1.4E-2</c:v>
                </c:pt>
                <c:pt idx="81">
                  <c:v>1.6E-2</c:v>
                </c:pt>
                <c:pt idx="82">
                  <c:v>6.3E-2</c:v>
                </c:pt>
                <c:pt idx="83">
                  <c:v>0.11700000000000001</c:v>
                </c:pt>
                <c:pt idx="84">
                  <c:v>0.13600000000000001</c:v>
                </c:pt>
                <c:pt idx="85">
                  <c:v>1.2E-2</c:v>
                </c:pt>
                <c:pt idx="86">
                  <c:v>5.5E-2</c:v>
                </c:pt>
                <c:pt idx="87">
                  <c:v>7.0000000000000007E-2</c:v>
                </c:pt>
                <c:pt idx="88">
                  <c:v>1.4E-2</c:v>
                </c:pt>
                <c:pt idx="89">
                  <c:v>5.8000000000000003E-2</c:v>
                </c:pt>
                <c:pt idx="90">
                  <c:v>4.1000000000000002E-2</c:v>
                </c:pt>
                <c:pt idx="91">
                  <c:v>3.2000000000000001E-2</c:v>
                </c:pt>
                <c:pt idx="92">
                  <c:v>3.1E-2</c:v>
                </c:pt>
                <c:pt idx="93">
                  <c:v>4.9000000000000002E-2</c:v>
                </c:pt>
                <c:pt idx="94">
                  <c:v>4.9000000000000002E-2</c:v>
                </c:pt>
                <c:pt idx="95">
                  <c:v>7.2999999999999995E-2</c:v>
                </c:pt>
                <c:pt idx="96">
                  <c:v>2.1999999999999999E-2</c:v>
                </c:pt>
                <c:pt idx="97">
                  <c:v>3.5999999999999997E-2</c:v>
                </c:pt>
                <c:pt idx="98">
                  <c:v>3.5000000000000003E-2</c:v>
                </c:pt>
                <c:pt idx="99">
                  <c:v>2.4E-2</c:v>
                </c:pt>
                <c:pt idx="100">
                  <c:v>0.04</c:v>
                </c:pt>
                <c:pt idx="101">
                  <c:v>3.1E-2</c:v>
                </c:pt>
                <c:pt idx="102">
                  <c:v>4.8000000000000001E-2</c:v>
                </c:pt>
                <c:pt idx="103">
                  <c:v>1.0999999999999999E-2</c:v>
                </c:pt>
                <c:pt idx="104">
                  <c:v>3.2000000000000001E-2</c:v>
                </c:pt>
                <c:pt idx="105">
                  <c:v>3.5000000000000003E-2</c:v>
                </c:pt>
                <c:pt idx="106">
                  <c:v>1.2E-2</c:v>
                </c:pt>
                <c:pt idx="107">
                  <c:v>3.5999999999999997E-2</c:v>
                </c:pt>
                <c:pt idx="108">
                  <c:v>1.2999999999999999E-2</c:v>
                </c:pt>
                <c:pt idx="109">
                  <c:v>5.7000000000000002E-2</c:v>
                </c:pt>
                <c:pt idx="110">
                  <c:v>3.6999999999999998E-2</c:v>
                </c:pt>
                <c:pt idx="111">
                  <c:v>4.5999999999999999E-2</c:v>
                </c:pt>
                <c:pt idx="112">
                  <c:v>1.0999999999999999E-2</c:v>
                </c:pt>
                <c:pt idx="113">
                  <c:v>4.1000000000000002E-2</c:v>
                </c:pt>
                <c:pt idx="114">
                  <c:v>1.2999999999999999E-2</c:v>
                </c:pt>
                <c:pt idx="115">
                  <c:v>0.01</c:v>
                </c:pt>
                <c:pt idx="116">
                  <c:v>1.7999999999999999E-2</c:v>
                </c:pt>
                <c:pt idx="117">
                  <c:v>2.4E-2</c:v>
                </c:pt>
                <c:pt idx="118">
                  <c:v>8.0000000000000002E-3</c:v>
                </c:pt>
                <c:pt idx="119">
                  <c:v>2.4E-2</c:v>
                </c:pt>
                <c:pt idx="120">
                  <c:v>4.2000000000000003E-2</c:v>
                </c:pt>
                <c:pt idx="121">
                  <c:v>2.1999999999999999E-2</c:v>
                </c:pt>
                <c:pt idx="122">
                  <c:v>8.0000000000000002E-3</c:v>
                </c:pt>
                <c:pt idx="123">
                  <c:v>1E-3</c:v>
                </c:pt>
                <c:pt idx="124">
                  <c:v>2.1000000000000001E-2</c:v>
                </c:pt>
                <c:pt idx="125">
                  <c:v>3.1E-2</c:v>
                </c:pt>
                <c:pt idx="126">
                  <c:v>3.1E-2</c:v>
                </c:pt>
                <c:pt idx="127">
                  <c:v>5.0000000000000001E-3</c:v>
                </c:pt>
                <c:pt idx="128">
                  <c:v>1.7999999999999999E-2</c:v>
                </c:pt>
                <c:pt idx="129">
                  <c:v>8.0000000000000002E-3</c:v>
                </c:pt>
                <c:pt idx="130">
                  <c:v>7.0000000000000001E-3</c:v>
                </c:pt>
                <c:pt idx="131">
                  <c:v>1.7000000000000001E-2</c:v>
                </c:pt>
                <c:pt idx="132">
                  <c:v>1.9E-2</c:v>
                </c:pt>
                <c:pt idx="133">
                  <c:v>1.2E-2</c:v>
                </c:pt>
                <c:pt idx="134">
                  <c:v>8.9999999999999993E-3</c:v>
                </c:pt>
                <c:pt idx="135">
                  <c:v>1.2999999999999999E-2</c:v>
                </c:pt>
                <c:pt idx="136">
                  <c:v>4.4999999999999998E-2</c:v>
                </c:pt>
                <c:pt idx="137">
                  <c:v>5.0000000000000001E-3</c:v>
                </c:pt>
                <c:pt idx="138">
                  <c:v>0.01</c:v>
                </c:pt>
                <c:pt idx="139">
                  <c:v>8.9999999999999993E-3</c:v>
                </c:pt>
                <c:pt idx="140">
                  <c:v>6.0000000000000001E-3</c:v>
                </c:pt>
                <c:pt idx="141">
                  <c:v>1.0999999999999999E-2</c:v>
                </c:pt>
                <c:pt idx="142">
                  <c:v>1E-3</c:v>
                </c:pt>
                <c:pt idx="143">
                  <c:v>8.0000000000000002E-3</c:v>
                </c:pt>
                <c:pt idx="144">
                  <c:v>5.0000000000000001E-3</c:v>
                </c:pt>
                <c:pt idx="145">
                  <c:v>8.9999999999999993E-3</c:v>
                </c:pt>
                <c:pt idx="146">
                  <c:v>5.0000000000000001E-3</c:v>
                </c:pt>
                <c:pt idx="147">
                  <c:v>4.0000000000000001E-3</c:v>
                </c:pt>
                <c:pt idx="148">
                  <c:v>0.01</c:v>
                </c:pt>
                <c:pt idx="149">
                  <c:v>4.0000000000000001E-3</c:v>
                </c:pt>
                <c:pt idx="150">
                  <c:v>4.0000000000000001E-3</c:v>
                </c:pt>
                <c:pt idx="151">
                  <c:v>0.01</c:v>
                </c:pt>
                <c:pt idx="152">
                  <c:v>2E-3</c:v>
                </c:pt>
                <c:pt idx="153">
                  <c:v>5.0000000000000001E-3</c:v>
                </c:pt>
                <c:pt idx="154">
                  <c:v>6.0000000000000001E-3</c:v>
                </c:pt>
                <c:pt idx="155">
                  <c:v>2E-3</c:v>
                </c:pt>
                <c:pt idx="156">
                  <c:v>3.0000000000000001E-3</c:v>
                </c:pt>
                <c:pt idx="157">
                  <c:v>5.0000000000000001E-3</c:v>
                </c:pt>
                <c:pt idx="158">
                  <c:v>0.01</c:v>
                </c:pt>
                <c:pt idx="159">
                  <c:v>2E-3</c:v>
                </c:pt>
                <c:pt idx="160">
                  <c:v>5.0000000000000001E-3</c:v>
                </c:pt>
                <c:pt idx="161">
                  <c:v>3.0000000000000001E-3</c:v>
                </c:pt>
                <c:pt idx="162">
                  <c:v>1.4999999999999999E-2</c:v>
                </c:pt>
                <c:pt idx="163">
                  <c:v>8.9999999999999993E-3</c:v>
                </c:pt>
                <c:pt idx="164">
                  <c:v>4.0000000000000001E-3</c:v>
                </c:pt>
                <c:pt idx="165">
                  <c:v>4.0000000000000001E-3</c:v>
                </c:pt>
                <c:pt idx="166">
                  <c:v>5.0000000000000001E-3</c:v>
                </c:pt>
                <c:pt idx="167">
                  <c:v>5.0000000000000001E-3</c:v>
                </c:pt>
                <c:pt idx="168">
                  <c:v>2E-3</c:v>
                </c:pt>
                <c:pt idx="169">
                  <c:v>2E-3</c:v>
                </c:pt>
                <c:pt idx="170">
                  <c:v>1E-3</c:v>
                </c:pt>
                <c:pt idx="171">
                  <c:v>1E-3</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7ECAC4"/>
              </a:solidFill>
            </c:spPr>
            <c:extLst>
              <c:ext xmlns:c16="http://schemas.microsoft.com/office/drawing/2014/chart" uri="{C3380CC4-5D6E-409C-BE32-E72D297353CC}">
                <c16:uniqueId val="{00000067-2993-41DE-A2CB-63102DE87051}"/>
              </c:ext>
            </c:extLst>
          </c:dPt>
          <c:dPt>
            <c:idx val="24"/>
            <c:invertIfNegative val="1"/>
            <c:bubble3D val="0"/>
            <c:spPr>
              <a:solidFill>
                <a:srgbClr val="7ECAC4"/>
              </a:solidFill>
            </c:spPr>
            <c:extLst>
              <c:ext xmlns:c16="http://schemas.microsoft.com/office/drawing/2014/chart" uri="{C3380CC4-5D6E-409C-BE32-E72D297353CC}">
                <c16:uniqueId val="{00000069-2993-41DE-A2CB-63102DE87051}"/>
              </c:ext>
            </c:extLst>
          </c:dPt>
          <c:dPt>
            <c:idx val="25"/>
            <c:invertIfNegative val="1"/>
            <c:bubble3D val="0"/>
            <c:spPr>
              <a:solidFill>
                <a:srgbClr val="7ECAC4"/>
              </a:solidFill>
            </c:spPr>
            <c:extLst>
              <c:ext xmlns:c16="http://schemas.microsoft.com/office/drawing/2014/chart" uri="{C3380CC4-5D6E-409C-BE32-E72D297353CC}">
                <c16:uniqueId val="{0000006B-2993-41DE-A2CB-63102DE87051}"/>
              </c:ext>
            </c:extLst>
          </c:dPt>
          <c:dPt>
            <c:idx val="26"/>
            <c:invertIfNegative val="1"/>
            <c:bubble3D val="0"/>
            <c:spPr>
              <a:solidFill>
                <a:srgbClr val="7ECAC4"/>
              </a:solidFill>
            </c:spPr>
            <c:extLst>
              <c:ext xmlns:c16="http://schemas.microsoft.com/office/drawing/2014/chart" uri="{C3380CC4-5D6E-409C-BE32-E72D297353CC}">
                <c16:uniqueId val="{0000006D-2993-41DE-A2CB-63102DE87051}"/>
              </c:ext>
            </c:extLst>
          </c:dPt>
          <c:dPt>
            <c:idx val="27"/>
            <c:invertIfNegative val="1"/>
            <c:bubble3D val="0"/>
            <c:spPr>
              <a:solidFill>
                <a:srgbClr val="7ECAC4"/>
              </a:solidFill>
            </c:spPr>
            <c:extLst>
              <c:ext xmlns:c16="http://schemas.microsoft.com/office/drawing/2014/chart" uri="{C3380CC4-5D6E-409C-BE32-E72D297353CC}">
                <c16:uniqueId val="{0000006F-2993-41DE-A2CB-63102DE87051}"/>
              </c:ext>
            </c:extLst>
          </c:dPt>
          <c:dPt>
            <c:idx val="28"/>
            <c:invertIfNegative val="1"/>
            <c:bubble3D val="0"/>
            <c:spPr>
              <a:solidFill>
                <a:srgbClr val="7ECAC4"/>
              </a:solidFill>
            </c:spPr>
            <c:extLst>
              <c:ext xmlns:c16="http://schemas.microsoft.com/office/drawing/2014/chart" uri="{C3380CC4-5D6E-409C-BE32-E72D297353CC}">
                <c16:uniqueId val="{00000071-2993-41DE-A2CB-63102DE87051}"/>
              </c:ext>
            </c:extLst>
          </c:dPt>
          <c:dPt>
            <c:idx val="29"/>
            <c:invertIfNegative val="1"/>
            <c:bubble3D val="0"/>
            <c:spPr>
              <a:solidFill>
                <a:srgbClr val="7ECAC4"/>
              </a:solidFill>
            </c:spPr>
            <c:extLst>
              <c:ext xmlns:c16="http://schemas.microsoft.com/office/drawing/2014/chart" uri="{C3380CC4-5D6E-409C-BE32-E72D297353CC}">
                <c16:uniqueId val="{00000073-2993-41DE-A2CB-63102DE87051}"/>
              </c:ext>
            </c:extLst>
          </c:dPt>
          <c:dPt>
            <c:idx val="30"/>
            <c:invertIfNegative val="1"/>
            <c:bubble3D val="0"/>
            <c:spPr>
              <a:solidFill>
                <a:srgbClr val="7ECAC4"/>
              </a:solidFill>
            </c:spPr>
            <c:extLst>
              <c:ext xmlns:c16="http://schemas.microsoft.com/office/drawing/2014/chart" uri="{C3380CC4-5D6E-409C-BE32-E72D297353CC}">
                <c16:uniqueId val="{00000075-2993-41DE-A2CB-63102DE87051}"/>
              </c:ext>
            </c:extLst>
          </c:dPt>
          <c:dPt>
            <c:idx val="31"/>
            <c:invertIfNegative val="1"/>
            <c:bubble3D val="0"/>
            <c:spPr>
              <a:solidFill>
                <a:srgbClr val="7ECAC4"/>
              </a:solidFill>
            </c:spPr>
            <c:extLst>
              <c:ext xmlns:c16="http://schemas.microsoft.com/office/drawing/2014/chart" uri="{C3380CC4-5D6E-409C-BE32-E72D297353CC}">
                <c16:uniqueId val="{00000077-2993-41DE-A2CB-63102DE87051}"/>
              </c:ext>
            </c:extLst>
          </c:dPt>
          <c:dPt>
            <c:idx val="32"/>
            <c:invertIfNegative val="1"/>
            <c:bubble3D val="0"/>
            <c:spPr>
              <a:solidFill>
                <a:srgbClr val="7ECAC4"/>
              </a:solidFill>
            </c:spPr>
            <c:extLst>
              <c:ext xmlns:c16="http://schemas.microsoft.com/office/drawing/2014/chart" uri="{C3380CC4-5D6E-409C-BE32-E72D297353CC}">
                <c16:uniqueId val="{00000079-2993-41DE-A2CB-63102DE87051}"/>
              </c:ext>
            </c:extLst>
          </c:dPt>
          <c:dPt>
            <c:idx val="33"/>
            <c:invertIfNegative val="1"/>
            <c:bubble3D val="0"/>
            <c:spPr>
              <a:solidFill>
                <a:srgbClr val="7ECAC4"/>
              </a:solidFill>
            </c:spPr>
            <c:extLst>
              <c:ext xmlns:c16="http://schemas.microsoft.com/office/drawing/2014/chart" uri="{C3380CC4-5D6E-409C-BE32-E72D297353CC}">
                <c16:uniqueId val="{0000007B-2993-41DE-A2CB-63102DE87051}"/>
              </c:ext>
            </c:extLst>
          </c:dPt>
          <c:dPt>
            <c:idx val="34"/>
            <c:invertIfNegative val="1"/>
            <c:bubble3D val="0"/>
            <c:spPr>
              <a:solidFill>
                <a:srgbClr val="7ECAC4"/>
              </a:solidFill>
            </c:spPr>
            <c:extLst>
              <c:ext xmlns:c16="http://schemas.microsoft.com/office/drawing/2014/chart" uri="{C3380CC4-5D6E-409C-BE32-E72D297353CC}">
                <c16:uniqueId val="{0000007D-2993-41DE-A2CB-63102DE87051}"/>
              </c:ext>
            </c:extLst>
          </c:dPt>
          <c:dPt>
            <c:idx val="35"/>
            <c:invertIfNegative val="1"/>
            <c:bubble3D val="0"/>
            <c:spPr>
              <a:solidFill>
                <a:srgbClr val="7ECAC4"/>
              </a:solidFill>
            </c:spPr>
            <c:extLst>
              <c:ext xmlns:c16="http://schemas.microsoft.com/office/drawing/2014/chart" uri="{C3380CC4-5D6E-409C-BE32-E72D297353CC}">
                <c16:uniqueId val="{0000007F-2993-41DE-A2CB-63102DE87051}"/>
              </c:ext>
            </c:extLst>
          </c:dPt>
          <c:dPt>
            <c:idx val="36"/>
            <c:invertIfNegative val="1"/>
            <c:bubble3D val="0"/>
            <c:spPr>
              <a:solidFill>
                <a:srgbClr val="7ECAC4"/>
              </a:solidFill>
            </c:spPr>
            <c:extLst>
              <c:ext xmlns:c16="http://schemas.microsoft.com/office/drawing/2014/chart" uri="{C3380CC4-5D6E-409C-BE32-E72D297353CC}">
                <c16:uniqueId val="{00000081-2993-41DE-A2CB-63102DE87051}"/>
              </c:ext>
            </c:extLst>
          </c:dPt>
          <c:dPt>
            <c:idx val="37"/>
            <c:invertIfNegative val="1"/>
            <c:bubble3D val="0"/>
            <c:spPr>
              <a:solidFill>
                <a:srgbClr val="7ECAC4"/>
              </a:solidFill>
            </c:spPr>
            <c:extLst>
              <c:ext xmlns:c16="http://schemas.microsoft.com/office/drawing/2014/chart" uri="{C3380CC4-5D6E-409C-BE32-E72D297353CC}">
                <c16:uniqueId val="{00000083-2993-41DE-A2CB-63102DE87051}"/>
              </c:ext>
            </c:extLst>
          </c:dPt>
          <c:dPt>
            <c:idx val="38"/>
            <c:invertIfNegative val="1"/>
            <c:bubble3D val="0"/>
            <c:spPr>
              <a:solidFill>
                <a:srgbClr val="7ECAC4"/>
              </a:solidFill>
            </c:spPr>
            <c:extLst>
              <c:ext xmlns:c16="http://schemas.microsoft.com/office/drawing/2014/chart" uri="{C3380CC4-5D6E-409C-BE32-E72D297353CC}">
                <c16:uniqueId val="{00000085-2993-41DE-A2CB-63102DE87051}"/>
              </c:ext>
            </c:extLst>
          </c:dPt>
          <c:dPt>
            <c:idx val="39"/>
            <c:invertIfNegative val="1"/>
            <c:bubble3D val="0"/>
            <c:spPr>
              <a:solidFill>
                <a:srgbClr val="7ECAC4"/>
              </a:solidFill>
            </c:spPr>
            <c:extLst>
              <c:ext xmlns:c16="http://schemas.microsoft.com/office/drawing/2014/chart" uri="{C3380CC4-5D6E-409C-BE32-E72D297353CC}">
                <c16:uniqueId val="{00000087-2993-41DE-A2CB-63102DE87051}"/>
              </c:ext>
            </c:extLst>
          </c:dPt>
          <c:dPt>
            <c:idx val="40"/>
            <c:invertIfNegative val="1"/>
            <c:bubble3D val="0"/>
            <c:spPr>
              <a:solidFill>
                <a:srgbClr val="7ECAC4"/>
              </a:solidFill>
            </c:spPr>
            <c:extLst>
              <c:ext xmlns:c16="http://schemas.microsoft.com/office/drawing/2014/chart" uri="{C3380CC4-5D6E-409C-BE32-E72D297353CC}">
                <c16:uniqueId val="{00000089-2993-41DE-A2CB-63102DE87051}"/>
              </c:ext>
            </c:extLst>
          </c:dPt>
          <c:dPt>
            <c:idx val="41"/>
            <c:invertIfNegative val="1"/>
            <c:bubble3D val="0"/>
            <c:spPr>
              <a:solidFill>
                <a:srgbClr val="7ECAC4"/>
              </a:solidFill>
            </c:spPr>
            <c:extLst>
              <c:ext xmlns:c16="http://schemas.microsoft.com/office/drawing/2014/chart" uri="{C3380CC4-5D6E-409C-BE32-E72D297353CC}">
                <c16:uniqueId val="{0000008B-2993-41DE-A2CB-63102DE87051}"/>
              </c:ext>
            </c:extLst>
          </c:dPt>
          <c:dPt>
            <c:idx val="42"/>
            <c:invertIfNegative val="1"/>
            <c:bubble3D val="0"/>
            <c:spPr>
              <a:solidFill>
                <a:srgbClr val="7ECAC4"/>
              </a:solidFill>
            </c:spPr>
            <c:extLst>
              <c:ext xmlns:c16="http://schemas.microsoft.com/office/drawing/2014/chart" uri="{C3380CC4-5D6E-409C-BE32-E72D297353CC}">
                <c16:uniqueId val="{0000008D-2993-41DE-A2CB-63102DE87051}"/>
              </c:ext>
            </c:extLst>
          </c:dPt>
          <c:dPt>
            <c:idx val="43"/>
            <c:invertIfNegative val="1"/>
            <c:bubble3D val="0"/>
            <c:spPr>
              <a:solidFill>
                <a:srgbClr val="7ECAC4"/>
              </a:solidFill>
            </c:spPr>
            <c:extLst>
              <c:ext xmlns:c16="http://schemas.microsoft.com/office/drawing/2014/chart" uri="{C3380CC4-5D6E-409C-BE32-E72D297353CC}">
                <c16:uniqueId val="{0000008F-2993-41DE-A2CB-63102DE87051}"/>
              </c:ext>
            </c:extLst>
          </c:dPt>
          <c:dPt>
            <c:idx val="44"/>
            <c:invertIfNegative val="1"/>
            <c:bubble3D val="0"/>
            <c:spPr>
              <a:solidFill>
                <a:srgbClr val="AEABAB"/>
              </a:solidFill>
            </c:spPr>
            <c:extLst>
              <c:ext xmlns:c16="http://schemas.microsoft.com/office/drawing/2014/chart" uri="{C3380CC4-5D6E-409C-BE32-E72D297353CC}">
                <c16:uniqueId val="{00000091-2993-41DE-A2CB-63102DE87051}"/>
              </c:ext>
            </c:extLst>
          </c:dPt>
          <c:dPt>
            <c:idx val="45"/>
            <c:invertIfNegative val="1"/>
            <c:bubble3D val="0"/>
            <c:spPr>
              <a:solidFill>
                <a:srgbClr val="AEABAB"/>
              </a:solidFill>
            </c:spPr>
            <c:extLst>
              <c:ext xmlns:c16="http://schemas.microsoft.com/office/drawing/2014/chart" uri="{C3380CC4-5D6E-409C-BE32-E72D297353CC}">
                <c16:uniqueId val="{00000093-2993-41DE-A2CB-63102DE87051}"/>
              </c:ext>
            </c:extLst>
          </c:dPt>
          <c:dPt>
            <c:idx val="46"/>
            <c:invertIfNegative val="1"/>
            <c:bubble3D val="0"/>
            <c:spPr>
              <a:solidFill>
                <a:srgbClr val="AEABAB"/>
              </a:solidFill>
            </c:spPr>
            <c:extLst>
              <c:ext xmlns:c16="http://schemas.microsoft.com/office/drawing/2014/chart" uri="{C3380CC4-5D6E-409C-BE32-E72D297353CC}">
                <c16:uniqueId val="{00000095-2993-41DE-A2CB-63102DE87051}"/>
              </c:ext>
            </c:extLst>
          </c:dPt>
          <c:dPt>
            <c:idx val="47"/>
            <c:invertIfNegative val="1"/>
            <c:bubble3D val="0"/>
            <c:spPr>
              <a:solidFill>
                <a:srgbClr val="AEABAB"/>
              </a:solidFill>
            </c:spPr>
            <c:extLst>
              <c:ext xmlns:c16="http://schemas.microsoft.com/office/drawing/2014/chart" uri="{C3380CC4-5D6E-409C-BE32-E72D297353CC}">
                <c16:uniqueId val="{00000097-2993-41DE-A2CB-63102DE87051}"/>
              </c:ext>
            </c:extLst>
          </c:dPt>
          <c:dPt>
            <c:idx val="48"/>
            <c:invertIfNegative val="1"/>
            <c:bubble3D val="0"/>
            <c:spPr>
              <a:solidFill>
                <a:srgbClr val="AEABAB"/>
              </a:solidFill>
            </c:spPr>
            <c:extLst>
              <c:ext xmlns:c16="http://schemas.microsoft.com/office/drawing/2014/chart" uri="{C3380CC4-5D6E-409C-BE32-E72D297353CC}">
                <c16:uniqueId val="{00000099-2993-41DE-A2CB-63102DE87051}"/>
              </c:ext>
            </c:extLst>
          </c:dPt>
          <c:dPt>
            <c:idx val="49"/>
            <c:invertIfNegative val="1"/>
            <c:bubble3D val="0"/>
            <c:spPr>
              <a:solidFill>
                <a:srgbClr val="AEABAB"/>
              </a:solidFill>
            </c:spPr>
            <c:extLst>
              <c:ext xmlns:c16="http://schemas.microsoft.com/office/drawing/2014/chart" uri="{C3380CC4-5D6E-409C-BE32-E72D297353CC}">
                <c16:uniqueId val="{0000009B-2993-41DE-A2CB-63102DE87051}"/>
              </c:ext>
            </c:extLst>
          </c:dPt>
          <c:dPt>
            <c:idx val="50"/>
            <c:invertIfNegative val="1"/>
            <c:bubble3D val="0"/>
            <c:spPr>
              <a:solidFill>
                <a:srgbClr val="AEABAB"/>
              </a:solidFill>
            </c:spPr>
            <c:extLst>
              <c:ext xmlns:c16="http://schemas.microsoft.com/office/drawing/2014/chart" uri="{C3380CC4-5D6E-409C-BE32-E72D297353CC}">
                <c16:uniqueId val="{0000009D-2993-41DE-A2CB-63102DE87051}"/>
              </c:ext>
            </c:extLst>
          </c:dPt>
          <c:dPt>
            <c:idx val="51"/>
            <c:invertIfNegative val="1"/>
            <c:bubble3D val="0"/>
            <c:spPr>
              <a:solidFill>
                <a:srgbClr val="AEABAB"/>
              </a:solidFill>
            </c:spPr>
            <c:extLst>
              <c:ext xmlns:c16="http://schemas.microsoft.com/office/drawing/2014/chart" uri="{C3380CC4-5D6E-409C-BE32-E72D297353CC}">
                <c16:uniqueId val="{0000009F-2993-41DE-A2CB-63102DE87051}"/>
              </c:ext>
            </c:extLst>
          </c:dPt>
          <c:dPt>
            <c:idx val="52"/>
            <c:invertIfNegative val="1"/>
            <c:bubble3D val="0"/>
            <c:spPr>
              <a:solidFill>
                <a:srgbClr val="AEABAB"/>
              </a:solidFill>
            </c:spPr>
            <c:extLst>
              <c:ext xmlns:c16="http://schemas.microsoft.com/office/drawing/2014/chart" uri="{C3380CC4-5D6E-409C-BE32-E72D297353CC}">
                <c16:uniqueId val="{000000A1-2993-41DE-A2CB-63102DE87051}"/>
              </c:ext>
            </c:extLst>
          </c:dPt>
          <c:dPt>
            <c:idx val="53"/>
            <c:invertIfNegative val="1"/>
            <c:bubble3D val="0"/>
            <c:spPr>
              <a:solidFill>
                <a:srgbClr val="AEABAB"/>
              </a:solidFill>
            </c:spPr>
            <c:extLst>
              <c:ext xmlns:c16="http://schemas.microsoft.com/office/drawing/2014/chart" uri="{C3380CC4-5D6E-409C-BE32-E72D297353CC}">
                <c16:uniqueId val="{000000A3-2993-41DE-A2CB-63102DE87051}"/>
              </c:ext>
            </c:extLst>
          </c:dPt>
          <c:dPt>
            <c:idx val="54"/>
            <c:invertIfNegative val="0"/>
            <c:bubble3D val="0"/>
            <c:spPr>
              <a:solidFill>
                <a:srgbClr val="AEABAB"/>
              </a:solidFill>
            </c:spPr>
            <c:extLst>
              <c:ext xmlns:c16="http://schemas.microsoft.com/office/drawing/2014/chart" uri="{C3380CC4-5D6E-409C-BE32-E72D297353CC}">
                <c16:uniqueId val="{00000072-C76F-4230-900D-40618C09729F}"/>
              </c:ext>
            </c:extLst>
          </c:dPt>
          <c:dPt>
            <c:idx val="55"/>
            <c:invertIfNegative val="0"/>
            <c:bubble3D val="0"/>
            <c:spPr>
              <a:solidFill>
                <a:srgbClr val="AEABAB"/>
              </a:solidFill>
            </c:spPr>
            <c:extLst>
              <c:ext xmlns:c16="http://schemas.microsoft.com/office/drawing/2014/chart" uri="{C3380CC4-5D6E-409C-BE32-E72D297353CC}">
                <c16:uniqueId val="{00000074-C76F-4230-900D-40618C09729F}"/>
              </c:ext>
            </c:extLst>
          </c:dPt>
          <c:dPt>
            <c:idx val="56"/>
            <c:invertIfNegative val="0"/>
            <c:bubble3D val="0"/>
            <c:spPr>
              <a:solidFill>
                <a:srgbClr val="AEABAB"/>
              </a:solidFill>
            </c:spPr>
            <c:extLst>
              <c:ext xmlns:c16="http://schemas.microsoft.com/office/drawing/2014/chart" uri="{C3380CC4-5D6E-409C-BE32-E72D297353CC}">
                <c16:uniqueId val="{00000076-C76F-4230-900D-40618C09729F}"/>
              </c:ext>
            </c:extLst>
          </c:dPt>
          <c:dPt>
            <c:idx val="57"/>
            <c:invertIfNegative val="0"/>
            <c:bubble3D val="0"/>
            <c:spPr>
              <a:solidFill>
                <a:srgbClr val="AEABAB"/>
              </a:solidFill>
            </c:spPr>
            <c:extLst>
              <c:ext xmlns:c16="http://schemas.microsoft.com/office/drawing/2014/chart" uri="{C3380CC4-5D6E-409C-BE32-E72D297353CC}">
                <c16:uniqueId val="{00000078-C76F-4230-900D-40618C09729F}"/>
              </c:ext>
            </c:extLst>
          </c:dPt>
          <c:dPt>
            <c:idx val="58"/>
            <c:invertIfNegative val="0"/>
            <c:bubble3D val="0"/>
            <c:spPr>
              <a:solidFill>
                <a:srgbClr val="AEABAB"/>
              </a:solidFill>
            </c:spPr>
            <c:extLst>
              <c:ext xmlns:c16="http://schemas.microsoft.com/office/drawing/2014/chart" uri="{C3380CC4-5D6E-409C-BE32-E72D297353CC}">
                <c16:uniqueId val="{0000007A-C76F-4230-900D-40618C09729F}"/>
              </c:ext>
            </c:extLst>
          </c:dPt>
          <c:dPt>
            <c:idx val="59"/>
            <c:invertIfNegative val="0"/>
            <c:bubble3D val="0"/>
            <c:spPr>
              <a:solidFill>
                <a:srgbClr val="AEABAB"/>
              </a:solidFill>
            </c:spPr>
            <c:extLst>
              <c:ext xmlns:c16="http://schemas.microsoft.com/office/drawing/2014/chart" uri="{C3380CC4-5D6E-409C-BE32-E72D297353CC}">
                <c16:uniqueId val="{0000007C-C76F-4230-900D-40618C09729F}"/>
              </c:ext>
            </c:extLst>
          </c:dPt>
          <c:dPt>
            <c:idx val="60"/>
            <c:invertIfNegative val="0"/>
            <c:bubble3D val="0"/>
            <c:spPr>
              <a:solidFill>
                <a:srgbClr val="AEABAB"/>
              </a:solidFill>
            </c:spPr>
            <c:extLst>
              <c:ext xmlns:c16="http://schemas.microsoft.com/office/drawing/2014/chart" uri="{C3380CC4-5D6E-409C-BE32-E72D297353CC}">
                <c16:uniqueId val="{0000007E-C76F-4230-900D-40618C09729F}"/>
              </c:ext>
            </c:extLst>
          </c:dPt>
          <c:dPt>
            <c:idx val="61"/>
            <c:invertIfNegative val="0"/>
            <c:bubble3D val="0"/>
            <c:spPr>
              <a:solidFill>
                <a:srgbClr val="AEABAB"/>
              </a:solidFill>
            </c:spPr>
            <c:extLst>
              <c:ext xmlns:c16="http://schemas.microsoft.com/office/drawing/2014/chart" uri="{C3380CC4-5D6E-409C-BE32-E72D297353CC}">
                <c16:uniqueId val="{00000080-C76F-4230-900D-40618C09729F}"/>
              </c:ext>
            </c:extLst>
          </c:dPt>
          <c:dPt>
            <c:idx val="62"/>
            <c:invertIfNegative val="0"/>
            <c:bubble3D val="0"/>
            <c:spPr>
              <a:solidFill>
                <a:srgbClr val="AEABAB"/>
              </a:solidFill>
            </c:spPr>
            <c:extLst>
              <c:ext xmlns:c16="http://schemas.microsoft.com/office/drawing/2014/chart" uri="{C3380CC4-5D6E-409C-BE32-E72D297353CC}">
                <c16:uniqueId val="{00000082-C76F-4230-900D-40618C09729F}"/>
              </c:ext>
            </c:extLst>
          </c:dPt>
          <c:dPt>
            <c:idx val="63"/>
            <c:invertIfNegative val="0"/>
            <c:bubble3D val="0"/>
            <c:spPr>
              <a:solidFill>
                <a:srgbClr val="AEABAB"/>
              </a:solidFill>
            </c:spPr>
            <c:extLst>
              <c:ext xmlns:c16="http://schemas.microsoft.com/office/drawing/2014/chart" uri="{C3380CC4-5D6E-409C-BE32-E72D297353CC}">
                <c16:uniqueId val="{00000084-C76F-4230-900D-40618C09729F}"/>
              </c:ext>
            </c:extLst>
          </c:dPt>
          <c:dPt>
            <c:idx val="64"/>
            <c:invertIfNegative val="0"/>
            <c:bubble3D val="0"/>
            <c:spPr>
              <a:solidFill>
                <a:srgbClr val="AEABAB"/>
              </a:solidFill>
            </c:spPr>
            <c:extLst>
              <c:ext xmlns:c16="http://schemas.microsoft.com/office/drawing/2014/chart" uri="{C3380CC4-5D6E-409C-BE32-E72D297353CC}">
                <c16:uniqueId val="{00000086-C76F-4230-900D-40618C09729F}"/>
              </c:ext>
            </c:extLst>
          </c:dPt>
          <c:dPt>
            <c:idx val="65"/>
            <c:invertIfNegative val="0"/>
            <c:bubble3D val="0"/>
            <c:spPr>
              <a:solidFill>
                <a:srgbClr val="AEABAB"/>
              </a:solidFill>
            </c:spPr>
            <c:extLst>
              <c:ext xmlns:c16="http://schemas.microsoft.com/office/drawing/2014/chart" uri="{C3380CC4-5D6E-409C-BE32-E72D297353CC}">
                <c16:uniqueId val="{00000088-C76F-4230-900D-40618C09729F}"/>
              </c:ext>
            </c:extLst>
          </c:dPt>
          <c:dPt>
            <c:idx val="66"/>
            <c:invertIfNegative val="0"/>
            <c:bubble3D val="0"/>
            <c:spPr>
              <a:solidFill>
                <a:srgbClr val="AEABAB"/>
              </a:solidFill>
            </c:spPr>
            <c:extLst>
              <c:ext xmlns:c16="http://schemas.microsoft.com/office/drawing/2014/chart" uri="{C3380CC4-5D6E-409C-BE32-E72D297353CC}">
                <c16:uniqueId val="{0000008A-C76F-4230-900D-40618C09729F}"/>
              </c:ext>
            </c:extLst>
          </c:dPt>
          <c:dPt>
            <c:idx val="67"/>
            <c:invertIfNegative val="0"/>
            <c:bubble3D val="0"/>
            <c:spPr>
              <a:solidFill>
                <a:srgbClr val="AEABAB"/>
              </a:solidFill>
            </c:spPr>
            <c:extLst>
              <c:ext xmlns:c16="http://schemas.microsoft.com/office/drawing/2014/chart" uri="{C3380CC4-5D6E-409C-BE32-E72D297353CC}">
                <c16:uniqueId val="{0000008C-C76F-4230-900D-40618C09729F}"/>
              </c:ext>
            </c:extLst>
          </c:dPt>
          <c:dPt>
            <c:idx val="68"/>
            <c:invertIfNegative val="0"/>
            <c:bubble3D val="0"/>
            <c:spPr>
              <a:solidFill>
                <a:srgbClr val="AEABAB"/>
              </a:solidFill>
            </c:spPr>
            <c:extLst>
              <c:ext xmlns:c16="http://schemas.microsoft.com/office/drawing/2014/chart" uri="{C3380CC4-5D6E-409C-BE32-E72D297353CC}">
                <c16:uniqueId val="{0000008E-C76F-4230-900D-40618C09729F}"/>
              </c:ext>
            </c:extLst>
          </c:dPt>
          <c:dPt>
            <c:idx val="69"/>
            <c:invertIfNegative val="0"/>
            <c:bubble3D val="0"/>
            <c:spPr>
              <a:solidFill>
                <a:srgbClr val="AEABAB"/>
              </a:solidFill>
            </c:spPr>
            <c:extLst>
              <c:ext xmlns:c16="http://schemas.microsoft.com/office/drawing/2014/chart" uri="{C3380CC4-5D6E-409C-BE32-E72D297353CC}">
                <c16:uniqueId val="{00000090-C76F-4230-900D-40618C09729F}"/>
              </c:ext>
            </c:extLst>
          </c:dPt>
          <c:dPt>
            <c:idx val="70"/>
            <c:invertIfNegative val="0"/>
            <c:bubble3D val="0"/>
            <c:spPr>
              <a:solidFill>
                <a:srgbClr val="AEABAB"/>
              </a:solidFill>
            </c:spPr>
            <c:extLst>
              <c:ext xmlns:c16="http://schemas.microsoft.com/office/drawing/2014/chart" uri="{C3380CC4-5D6E-409C-BE32-E72D297353CC}">
                <c16:uniqueId val="{00000092-C76F-4230-900D-40618C09729F}"/>
              </c:ext>
            </c:extLst>
          </c:dPt>
          <c:dPt>
            <c:idx val="71"/>
            <c:invertIfNegative val="0"/>
            <c:bubble3D val="0"/>
            <c:spPr>
              <a:solidFill>
                <a:srgbClr val="AEABAB"/>
              </a:solidFill>
            </c:spPr>
            <c:extLst>
              <c:ext xmlns:c16="http://schemas.microsoft.com/office/drawing/2014/chart" uri="{C3380CC4-5D6E-409C-BE32-E72D297353CC}">
                <c16:uniqueId val="{00000094-C76F-4230-900D-40618C09729F}"/>
              </c:ext>
            </c:extLst>
          </c:dPt>
          <c:dPt>
            <c:idx val="72"/>
            <c:invertIfNegative val="0"/>
            <c:bubble3D val="0"/>
            <c:spPr>
              <a:solidFill>
                <a:srgbClr val="AEABAB"/>
              </a:solidFill>
            </c:spPr>
            <c:extLst>
              <c:ext xmlns:c16="http://schemas.microsoft.com/office/drawing/2014/chart" uri="{C3380CC4-5D6E-409C-BE32-E72D297353CC}">
                <c16:uniqueId val="{00000096-C76F-4230-900D-40618C09729F}"/>
              </c:ext>
            </c:extLst>
          </c:dPt>
          <c:dPt>
            <c:idx val="73"/>
            <c:invertIfNegative val="0"/>
            <c:bubble3D val="0"/>
            <c:spPr>
              <a:solidFill>
                <a:srgbClr val="AEABAB"/>
              </a:solidFill>
            </c:spPr>
            <c:extLst>
              <c:ext xmlns:c16="http://schemas.microsoft.com/office/drawing/2014/chart" uri="{C3380CC4-5D6E-409C-BE32-E72D297353CC}">
                <c16:uniqueId val="{00000098-C76F-4230-900D-40618C09729F}"/>
              </c:ext>
            </c:extLst>
          </c:dPt>
          <c:dPt>
            <c:idx val="74"/>
            <c:invertIfNegative val="0"/>
            <c:bubble3D val="0"/>
            <c:spPr>
              <a:solidFill>
                <a:srgbClr val="AEABAB"/>
              </a:solidFill>
            </c:spPr>
            <c:extLst>
              <c:ext xmlns:c16="http://schemas.microsoft.com/office/drawing/2014/chart" uri="{C3380CC4-5D6E-409C-BE32-E72D297353CC}">
                <c16:uniqueId val="{0000009A-C76F-4230-900D-40618C09729F}"/>
              </c:ext>
            </c:extLst>
          </c:dPt>
          <c:dPt>
            <c:idx val="75"/>
            <c:invertIfNegative val="0"/>
            <c:bubble3D val="0"/>
            <c:spPr>
              <a:solidFill>
                <a:srgbClr val="AEABAB"/>
              </a:solidFill>
            </c:spPr>
            <c:extLst>
              <c:ext xmlns:c16="http://schemas.microsoft.com/office/drawing/2014/chart" uri="{C3380CC4-5D6E-409C-BE32-E72D297353CC}">
                <c16:uniqueId val="{0000009C-C76F-4230-900D-40618C09729F}"/>
              </c:ext>
            </c:extLst>
          </c:dPt>
          <c:dPt>
            <c:idx val="76"/>
            <c:invertIfNegative val="0"/>
            <c:bubble3D val="0"/>
            <c:spPr>
              <a:solidFill>
                <a:srgbClr val="AEABAB"/>
              </a:solidFill>
            </c:spPr>
            <c:extLst>
              <c:ext xmlns:c16="http://schemas.microsoft.com/office/drawing/2014/chart" uri="{C3380CC4-5D6E-409C-BE32-E72D297353CC}">
                <c16:uniqueId val="{0000009E-C76F-4230-900D-40618C09729F}"/>
              </c:ext>
            </c:extLst>
          </c:dPt>
          <c:dPt>
            <c:idx val="77"/>
            <c:invertIfNegative val="0"/>
            <c:bubble3D val="0"/>
            <c:spPr>
              <a:solidFill>
                <a:srgbClr val="AEABAB"/>
              </a:solidFill>
            </c:spPr>
            <c:extLst>
              <c:ext xmlns:c16="http://schemas.microsoft.com/office/drawing/2014/chart" uri="{C3380CC4-5D6E-409C-BE32-E72D297353CC}">
                <c16:uniqueId val="{000000A0-C76F-4230-900D-40618C09729F}"/>
              </c:ext>
            </c:extLst>
          </c:dPt>
          <c:dPt>
            <c:idx val="78"/>
            <c:invertIfNegative val="0"/>
            <c:bubble3D val="0"/>
            <c:spPr>
              <a:solidFill>
                <a:srgbClr val="AEABAB"/>
              </a:solidFill>
            </c:spPr>
            <c:extLst>
              <c:ext xmlns:c16="http://schemas.microsoft.com/office/drawing/2014/chart" uri="{C3380CC4-5D6E-409C-BE32-E72D297353CC}">
                <c16:uniqueId val="{000000A2-C76F-4230-900D-40618C09729F}"/>
              </c:ext>
            </c:extLst>
          </c:dPt>
          <c:dPt>
            <c:idx val="79"/>
            <c:invertIfNegative val="0"/>
            <c:bubble3D val="0"/>
            <c:spPr>
              <a:solidFill>
                <a:srgbClr val="AEABAB"/>
              </a:solidFill>
            </c:spPr>
            <c:extLst>
              <c:ext xmlns:c16="http://schemas.microsoft.com/office/drawing/2014/chart" uri="{C3380CC4-5D6E-409C-BE32-E72D297353CC}">
                <c16:uniqueId val="{000000A4-C76F-4230-900D-40618C09729F}"/>
              </c:ext>
            </c:extLst>
          </c:dPt>
          <c:dPt>
            <c:idx val="80"/>
            <c:invertIfNegative val="0"/>
            <c:bubble3D val="0"/>
            <c:spPr>
              <a:solidFill>
                <a:srgbClr val="AEABAB"/>
              </a:solidFill>
            </c:spPr>
            <c:extLst>
              <c:ext xmlns:c16="http://schemas.microsoft.com/office/drawing/2014/chart" uri="{C3380CC4-5D6E-409C-BE32-E72D297353CC}">
                <c16:uniqueId val="{000000A6-C76F-4230-900D-40618C09729F}"/>
              </c:ext>
            </c:extLst>
          </c:dPt>
          <c:dPt>
            <c:idx val="81"/>
            <c:invertIfNegative val="1"/>
            <c:bubble3D val="0"/>
            <c:spPr>
              <a:solidFill>
                <a:srgbClr val="AEABAB"/>
              </a:solidFill>
            </c:spPr>
            <c:extLst>
              <c:ext xmlns:c16="http://schemas.microsoft.com/office/drawing/2014/chart" uri="{C3380CC4-5D6E-409C-BE32-E72D297353CC}">
                <c16:uniqueId val="{000000A5-2993-41DE-A2CB-63102DE87051}"/>
              </c:ext>
            </c:extLst>
          </c:dPt>
          <c:dPt>
            <c:idx val="82"/>
            <c:invertIfNegative val="1"/>
            <c:bubble3D val="0"/>
            <c:spPr>
              <a:solidFill>
                <a:srgbClr val="AEABAB"/>
              </a:solidFill>
            </c:spPr>
            <c:extLst>
              <c:ext xmlns:c16="http://schemas.microsoft.com/office/drawing/2014/chart" uri="{C3380CC4-5D6E-409C-BE32-E72D297353CC}">
                <c16:uniqueId val="{000000A7-2993-41DE-A2CB-63102DE87051}"/>
              </c:ext>
            </c:extLst>
          </c:dPt>
          <c:dPt>
            <c:idx val="83"/>
            <c:invertIfNegative val="1"/>
            <c:bubble3D val="0"/>
            <c:spPr>
              <a:solidFill>
                <a:srgbClr val="AEABAB"/>
              </a:solidFill>
            </c:spPr>
            <c:extLst>
              <c:ext xmlns:c16="http://schemas.microsoft.com/office/drawing/2014/chart" uri="{C3380CC4-5D6E-409C-BE32-E72D297353CC}">
                <c16:uniqueId val="{000000A9-2993-41DE-A2CB-63102DE87051}"/>
              </c:ext>
            </c:extLst>
          </c:dPt>
          <c:dPt>
            <c:idx val="84"/>
            <c:invertIfNegative val="1"/>
            <c:bubble3D val="0"/>
            <c:spPr>
              <a:solidFill>
                <a:srgbClr val="AEABAB"/>
              </a:solidFill>
            </c:spPr>
            <c:extLst>
              <c:ext xmlns:c16="http://schemas.microsoft.com/office/drawing/2014/chart" uri="{C3380CC4-5D6E-409C-BE32-E72D297353CC}">
                <c16:uniqueId val="{000000AB-2993-41DE-A2CB-63102DE87051}"/>
              </c:ext>
            </c:extLst>
          </c:dPt>
          <c:dPt>
            <c:idx val="85"/>
            <c:invertIfNegative val="1"/>
            <c:bubble3D val="0"/>
            <c:spPr>
              <a:solidFill>
                <a:srgbClr val="AEABAB"/>
              </a:solidFill>
            </c:spPr>
            <c:extLst>
              <c:ext xmlns:c16="http://schemas.microsoft.com/office/drawing/2014/chart" uri="{C3380CC4-5D6E-409C-BE32-E72D297353CC}">
                <c16:uniqueId val="{000000AD-2993-41DE-A2CB-63102DE87051}"/>
              </c:ext>
            </c:extLst>
          </c:dPt>
          <c:dPt>
            <c:idx val="86"/>
            <c:invertIfNegative val="1"/>
            <c:bubble3D val="0"/>
            <c:spPr>
              <a:solidFill>
                <a:srgbClr val="AEABAB"/>
              </a:solidFill>
            </c:spPr>
            <c:extLst>
              <c:ext xmlns:c16="http://schemas.microsoft.com/office/drawing/2014/chart" uri="{C3380CC4-5D6E-409C-BE32-E72D297353CC}">
                <c16:uniqueId val="{000000AF-2993-41DE-A2CB-63102DE87051}"/>
              </c:ext>
            </c:extLst>
          </c:dPt>
          <c:dPt>
            <c:idx val="87"/>
            <c:invertIfNegative val="1"/>
            <c:bubble3D val="0"/>
            <c:spPr>
              <a:solidFill>
                <a:srgbClr val="AEABAB"/>
              </a:solidFill>
            </c:spPr>
            <c:extLst>
              <c:ext xmlns:c16="http://schemas.microsoft.com/office/drawing/2014/chart" uri="{C3380CC4-5D6E-409C-BE32-E72D297353CC}">
                <c16:uniqueId val="{000000B1-2993-41DE-A2CB-63102DE87051}"/>
              </c:ext>
            </c:extLst>
          </c:dPt>
          <c:dPt>
            <c:idx val="88"/>
            <c:invertIfNegative val="1"/>
            <c:bubble3D val="0"/>
            <c:spPr>
              <a:solidFill>
                <a:srgbClr val="AEABAB"/>
              </a:solidFill>
            </c:spPr>
            <c:extLst>
              <c:ext xmlns:c16="http://schemas.microsoft.com/office/drawing/2014/chart" uri="{C3380CC4-5D6E-409C-BE32-E72D297353CC}">
                <c16:uniqueId val="{000000B3-2993-41DE-A2CB-63102DE87051}"/>
              </c:ext>
            </c:extLst>
          </c:dPt>
          <c:dPt>
            <c:idx val="89"/>
            <c:invertIfNegative val="1"/>
            <c:bubble3D val="0"/>
            <c:spPr>
              <a:solidFill>
                <a:srgbClr val="AEABAB"/>
              </a:solidFill>
            </c:spPr>
            <c:extLst>
              <c:ext xmlns:c16="http://schemas.microsoft.com/office/drawing/2014/chart" uri="{C3380CC4-5D6E-409C-BE32-E72D297353CC}">
                <c16:uniqueId val="{000000B5-2993-41DE-A2CB-63102DE87051}"/>
              </c:ext>
            </c:extLst>
          </c:dPt>
          <c:dPt>
            <c:idx val="90"/>
            <c:invertIfNegative val="1"/>
            <c:bubble3D val="0"/>
            <c:spPr>
              <a:solidFill>
                <a:srgbClr val="AEABAB"/>
              </a:solidFill>
            </c:spPr>
            <c:extLst>
              <c:ext xmlns:c16="http://schemas.microsoft.com/office/drawing/2014/chart" uri="{C3380CC4-5D6E-409C-BE32-E72D297353CC}">
                <c16:uniqueId val="{000000B7-2993-41DE-A2CB-63102DE87051}"/>
              </c:ext>
            </c:extLst>
          </c:dPt>
          <c:dPt>
            <c:idx val="91"/>
            <c:invertIfNegative val="1"/>
            <c:bubble3D val="0"/>
            <c:spPr>
              <a:solidFill>
                <a:srgbClr val="AEABAB"/>
              </a:solidFill>
            </c:spPr>
            <c:extLst>
              <c:ext xmlns:c16="http://schemas.microsoft.com/office/drawing/2014/chart" uri="{C3380CC4-5D6E-409C-BE32-E72D297353CC}">
                <c16:uniqueId val="{000000B9-2993-41DE-A2CB-63102DE87051}"/>
              </c:ext>
            </c:extLst>
          </c:dPt>
          <c:dPt>
            <c:idx val="92"/>
            <c:invertIfNegative val="1"/>
            <c:bubble3D val="0"/>
            <c:spPr>
              <a:solidFill>
                <a:srgbClr val="AEABAB"/>
              </a:solidFill>
            </c:spPr>
            <c:extLst>
              <c:ext xmlns:c16="http://schemas.microsoft.com/office/drawing/2014/chart" uri="{C3380CC4-5D6E-409C-BE32-E72D297353CC}">
                <c16:uniqueId val="{000000BB-2993-41DE-A2CB-63102DE87051}"/>
              </c:ext>
            </c:extLst>
          </c:dPt>
          <c:dPt>
            <c:idx val="93"/>
            <c:invertIfNegative val="1"/>
            <c:bubble3D val="0"/>
            <c:spPr>
              <a:solidFill>
                <a:srgbClr val="AEABAB"/>
              </a:solidFill>
            </c:spPr>
            <c:extLst>
              <c:ext xmlns:c16="http://schemas.microsoft.com/office/drawing/2014/chart" uri="{C3380CC4-5D6E-409C-BE32-E72D297353CC}">
                <c16:uniqueId val="{000000BD-2993-41DE-A2CB-63102DE87051}"/>
              </c:ext>
            </c:extLst>
          </c:dPt>
          <c:dPt>
            <c:idx val="94"/>
            <c:invertIfNegative val="1"/>
            <c:bubble3D val="0"/>
            <c:spPr>
              <a:solidFill>
                <a:srgbClr val="AEABAB"/>
              </a:solidFill>
            </c:spPr>
            <c:extLst>
              <c:ext xmlns:c16="http://schemas.microsoft.com/office/drawing/2014/chart" uri="{C3380CC4-5D6E-409C-BE32-E72D297353CC}">
                <c16:uniqueId val="{000000BF-2993-41DE-A2CB-63102DE87051}"/>
              </c:ext>
            </c:extLst>
          </c:dPt>
          <c:dPt>
            <c:idx val="95"/>
            <c:invertIfNegative val="1"/>
            <c:bubble3D val="0"/>
            <c:spPr>
              <a:solidFill>
                <a:srgbClr val="AEABAB"/>
              </a:solidFill>
            </c:spPr>
            <c:extLst>
              <c:ext xmlns:c16="http://schemas.microsoft.com/office/drawing/2014/chart" uri="{C3380CC4-5D6E-409C-BE32-E72D297353CC}">
                <c16:uniqueId val="{000000C1-2993-41DE-A2CB-63102DE87051}"/>
              </c:ext>
            </c:extLst>
          </c:dPt>
          <c:dPt>
            <c:idx val="96"/>
            <c:invertIfNegative val="1"/>
            <c:bubble3D val="0"/>
            <c:spPr>
              <a:solidFill>
                <a:srgbClr val="AEABAB"/>
              </a:solidFill>
            </c:spPr>
            <c:extLst>
              <c:ext xmlns:c16="http://schemas.microsoft.com/office/drawing/2014/chart" uri="{C3380CC4-5D6E-409C-BE32-E72D297353CC}">
                <c16:uniqueId val="{000000C3-2993-41DE-A2CB-63102DE87051}"/>
              </c:ext>
            </c:extLst>
          </c:dPt>
          <c:dPt>
            <c:idx val="97"/>
            <c:invertIfNegative val="1"/>
            <c:bubble3D val="0"/>
            <c:spPr>
              <a:solidFill>
                <a:srgbClr val="AEABAB"/>
              </a:solidFill>
            </c:spPr>
            <c:extLst>
              <c:ext xmlns:c16="http://schemas.microsoft.com/office/drawing/2014/chart" uri="{C3380CC4-5D6E-409C-BE32-E72D297353CC}">
                <c16:uniqueId val="{000000C5-2993-41DE-A2CB-63102DE87051}"/>
              </c:ext>
            </c:extLst>
          </c:dPt>
          <c:dPt>
            <c:idx val="98"/>
            <c:invertIfNegative val="1"/>
            <c:bubble3D val="0"/>
            <c:spPr>
              <a:solidFill>
                <a:srgbClr val="AEABAB"/>
              </a:solidFill>
            </c:spPr>
            <c:extLst>
              <c:ext xmlns:c16="http://schemas.microsoft.com/office/drawing/2014/chart" uri="{C3380CC4-5D6E-409C-BE32-E72D297353CC}">
                <c16:uniqueId val="{000000C7-2993-41DE-A2CB-63102DE87051}"/>
              </c:ext>
            </c:extLst>
          </c:dPt>
          <c:dPt>
            <c:idx val="99"/>
            <c:invertIfNegative val="1"/>
            <c:bubble3D val="0"/>
            <c:spPr>
              <a:solidFill>
                <a:srgbClr val="AEABAB"/>
              </a:solidFill>
            </c:spPr>
            <c:extLst>
              <c:ext xmlns:c16="http://schemas.microsoft.com/office/drawing/2014/chart" uri="{C3380CC4-5D6E-409C-BE32-E72D297353CC}">
                <c16:uniqueId val="{000000C9-2993-41DE-A2CB-63102DE87051}"/>
              </c:ext>
            </c:extLst>
          </c:dPt>
          <c:dPt>
            <c:idx val="100"/>
            <c:invertIfNegative val="1"/>
            <c:bubble3D val="0"/>
            <c:spPr>
              <a:solidFill>
                <a:srgbClr val="AEABAB"/>
              </a:solidFill>
            </c:spPr>
            <c:extLst>
              <c:ext xmlns:c16="http://schemas.microsoft.com/office/drawing/2014/chart" uri="{C3380CC4-5D6E-409C-BE32-E72D297353CC}">
                <c16:uniqueId val="{000000CB-2993-41DE-A2CB-63102DE87051}"/>
              </c:ext>
            </c:extLst>
          </c:dPt>
          <c:dPt>
            <c:idx val="101"/>
            <c:invertIfNegative val="1"/>
            <c:bubble3D val="0"/>
            <c:spPr>
              <a:solidFill>
                <a:srgbClr val="AEABAB"/>
              </a:solidFill>
            </c:spPr>
            <c:extLst>
              <c:ext xmlns:c16="http://schemas.microsoft.com/office/drawing/2014/chart" uri="{C3380CC4-5D6E-409C-BE32-E72D297353CC}">
                <c16:uniqueId val="{000000CD-2993-41DE-A2CB-63102DE87051}"/>
              </c:ext>
            </c:extLst>
          </c:dPt>
          <c:dPt>
            <c:idx val="102"/>
            <c:invertIfNegative val="1"/>
            <c:bubble3D val="0"/>
            <c:spPr>
              <a:solidFill>
                <a:srgbClr val="AEABAB"/>
              </a:solidFill>
            </c:spPr>
            <c:extLst>
              <c:ext xmlns:c16="http://schemas.microsoft.com/office/drawing/2014/chart" uri="{C3380CC4-5D6E-409C-BE32-E72D297353CC}">
                <c16:uniqueId val="{000000CF-2993-41DE-A2CB-63102DE87051}"/>
              </c:ext>
            </c:extLst>
          </c:dPt>
          <c:dPt>
            <c:idx val="103"/>
            <c:invertIfNegative val="1"/>
            <c:bubble3D val="0"/>
            <c:spPr>
              <a:solidFill>
                <a:srgbClr val="AEABAB"/>
              </a:solidFill>
            </c:spPr>
            <c:extLst>
              <c:ext xmlns:c16="http://schemas.microsoft.com/office/drawing/2014/chart" uri="{C3380CC4-5D6E-409C-BE32-E72D297353CC}">
                <c16:uniqueId val="{000000D1-2993-41DE-A2CB-63102DE87051}"/>
              </c:ext>
            </c:extLst>
          </c:dPt>
          <c:dPt>
            <c:idx val="104"/>
            <c:invertIfNegative val="1"/>
            <c:bubble3D val="0"/>
            <c:spPr>
              <a:solidFill>
                <a:srgbClr val="AEABAB"/>
              </a:solidFill>
            </c:spPr>
            <c:extLst>
              <c:ext xmlns:c16="http://schemas.microsoft.com/office/drawing/2014/chart" uri="{C3380CC4-5D6E-409C-BE32-E72D297353CC}">
                <c16:uniqueId val="{000000D3-2993-41DE-A2CB-63102DE87051}"/>
              </c:ext>
            </c:extLst>
          </c:dPt>
          <c:dPt>
            <c:idx val="105"/>
            <c:invertIfNegative val="1"/>
            <c:bubble3D val="0"/>
            <c:spPr>
              <a:solidFill>
                <a:srgbClr val="AEABAB"/>
              </a:solidFill>
            </c:spPr>
            <c:extLst>
              <c:ext xmlns:c16="http://schemas.microsoft.com/office/drawing/2014/chart" uri="{C3380CC4-5D6E-409C-BE32-E72D297353CC}">
                <c16:uniqueId val="{000000D5-2993-41DE-A2CB-63102DE87051}"/>
              </c:ext>
            </c:extLst>
          </c:dPt>
          <c:dPt>
            <c:idx val="106"/>
            <c:invertIfNegative val="1"/>
            <c:bubble3D val="0"/>
            <c:spPr>
              <a:solidFill>
                <a:srgbClr val="AEABAB"/>
              </a:solidFill>
            </c:spPr>
            <c:extLst>
              <c:ext xmlns:c16="http://schemas.microsoft.com/office/drawing/2014/chart" uri="{C3380CC4-5D6E-409C-BE32-E72D297353CC}">
                <c16:uniqueId val="{000000D7-2993-41DE-A2CB-63102DE87051}"/>
              </c:ext>
            </c:extLst>
          </c:dPt>
          <c:dPt>
            <c:idx val="107"/>
            <c:invertIfNegative val="1"/>
            <c:bubble3D val="0"/>
            <c:spPr>
              <a:solidFill>
                <a:srgbClr val="AEABAB"/>
              </a:solidFill>
            </c:spPr>
            <c:extLst>
              <c:ext xmlns:c16="http://schemas.microsoft.com/office/drawing/2014/chart" uri="{C3380CC4-5D6E-409C-BE32-E72D297353CC}">
                <c16:uniqueId val="{000000D9-2993-41DE-A2CB-63102DE87051}"/>
              </c:ext>
            </c:extLst>
          </c:dPt>
          <c:dPt>
            <c:idx val="108"/>
            <c:invertIfNegative val="1"/>
            <c:bubble3D val="0"/>
            <c:spPr>
              <a:solidFill>
                <a:srgbClr val="AEABAB"/>
              </a:solidFill>
            </c:spPr>
            <c:extLst>
              <c:ext xmlns:c16="http://schemas.microsoft.com/office/drawing/2014/chart" uri="{C3380CC4-5D6E-409C-BE32-E72D297353CC}">
                <c16:uniqueId val="{000000DB-2993-41DE-A2CB-63102DE87051}"/>
              </c:ext>
            </c:extLst>
          </c:dPt>
          <c:dPt>
            <c:idx val="109"/>
            <c:invertIfNegative val="1"/>
            <c:bubble3D val="0"/>
            <c:spPr>
              <a:solidFill>
                <a:srgbClr val="AEABAB"/>
              </a:solidFill>
            </c:spPr>
            <c:extLst>
              <c:ext xmlns:c16="http://schemas.microsoft.com/office/drawing/2014/chart" uri="{C3380CC4-5D6E-409C-BE32-E72D297353CC}">
                <c16:uniqueId val="{000000DD-2993-41DE-A2CB-63102DE87051}"/>
              </c:ext>
            </c:extLst>
          </c:dPt>
          <c:dPt>
            <c:idx val="110"/>
            <c:invertIfNegative val="1"/>
            <c:bubble3D val="0"/>
            <c:spPr>
              <a:solidFill>
                <a:srgbClr val="AEABAB"/>
              </a:solidFill>
            </c:spPr>
            <c:extLst>
              <c:ext xmlns:c16="http://schemas.microsoft.com/office/drawing/2014/chart" uri="{C3380CC4-5D6E-409C-BE32-E72D297353CC}">
                <c16:uniqueId val="{000000DF-2993-41DE-A2CB-63102DE87051}"/>
              </c:ext>
            </c:extLst>
          </c:dPt>
          <c:dPt>
            <c:idx val="111"/>
            <c:invertIfNegative val="1"/>
            <c:bubble3D val="0"/>
            <c:spPr>
              <a:solidFill>
                <a:srgbClr val="AEABAB"/>
              </a:solidFill>
            </c:spPr>
            <c:extLst>
              <c:ext xmlns:c16="http://schemas.microsoft.com/office/drawing/2014/chart" uri="{C3380CC4-5D6E-409C-BE32-E72D297353CC}">
                <c16:uniqueId val="{000000E1-2993-41DE-A2CB-63102DE87051}"/>
              </c:ext>
            </c:extLst>
          </c:dPt>
          <c:dPt>
            <c:idx val="112"/>
            <c:invertIfNegative val="1"/>
            <c:bubble3D val="0"/>
            <c:spPr>
              <a:solidFill>
                <a:srgbClr val="AEABAB"/>
              </a:solidFill>
            </c:spPr>
            <c:extLst>
              <c:ext xmlns:c16="http://schemas.microsoft.com/office/drawing/2014/chart" uri="{C3380CC4-5D6E-409C-BE32-E72D297353CC}">
                <c16:uniqueId val="{000000E3-2993-41DE-A2CB-63102DE87051}"/>
              </c:ext>
            </c:extLst>
          </c:dPt>
          <c:dPt>
            <c:idx val="113"/>
            <c:invertIfNegative val="1"/>
            <c:bubble3D val="0"/>
            <c:spPr>
              <a:solidFill>
                <a:srgbClr val="AEABAB"/>
              </a:solidFill>
            </c:spPr>
            <c:extLst>
              <c:ext xmlns:c16="http://schemas.microsoft.com/office/drawing/2014/chart" uri="{C3380CC4-5D6E-409C-BE32-E72D297353CC}">
                <c16:uniqueId val="{000000E5-2993-41DE-A2CB-63102DE87051}"/>
              </c:ext>
            </c:extLst>
          </c:dPt>
          <c:dPt>
            <c:idx val="114"/>
            <c:invertIfNegative val="1"/>
            <c:bubble3D val="0"/>
            <c:spPr>
              <a:solidFill>
                <a:srgbClr val="AEABAB"/>
              </a:solidFill>
            </c:spPr>
            <c:extLst>
              <c:ext xmlns:c16="http://schemas.microsoft.com/office/drawing/2014/chart" uri="{C3380CC4-5D6E-409C-BE32-E72D297353CC}">
                <c16:uniqueId val="{000000E7-2993-41DE-A2CB-63102DE87051}"/>
              </c:ext>
            </c:extLst>
          </c:dPt>
          <c:dPt>
            <c:idx val="115"/>
            <c:invertIfNegative val="1"/>
            <c:bubble3D val="0"/>
            <c:spPr>
              <a:solidFill>
                <a:srgbClr val="AEABAB"/>
              </a:solidFill>
            </c:spPr>
            <c:extLst>
              <c:ext xmlns:c16="http://schemas.microsoft.com/office/drawing/2014/chart" uri="{C3380CC4-5D6E-409C-BE32-E72D297353CC}">
                <c16:uniqueId val="{000000E9-2993-41DE-A2CB-63102DE87051}"/>
              </c:ext>
            </c:extLst>
          </c:dPt>
          <c:dPt>
            <c:idx val="116"/>
            <c:invertIfNegative val="1"/>
            <c:bubble3D val="0"/>
            <c:spPr>
              <a:solidFill>
                <a:srgbClr val="AEABAB"/>
              </a:solidFill>
            </c:spPr>
            <c:extLst>
              <c:ext xmlns:c16="http://schemas.microsoft.com/office/drawing/2014/chart" uri="{C3380CC4-5D6E-409C-BE32-E72D297353CC}">
                <c16:uniqueId val="{000000EB-2993-41DE-A2CB-63102DE87051}"/>
              </c:ext>
            </c:extLst>
          </c:dPt>
          <c:dPt>
            <c:idx val="117"/>
            <c:invertIfNegative val="1"/>
            <c:bubble3D val="0"/>
            <c:spPr>
              <a:solidFill>
                <a:srgbClr val="AEABAB"/>
              </a:solidFill>
            </c:spPr>
            <c:extLst>
              <c:ext xmlns:c16="http://schemas.microsoft.com/office/drawing/2014/chart" uri="{C3380CC4-5D6E-409C-BE32-E72D297353CC}">
                <c16:uniqueId val="{000000ED-2993-41DE-A2CB-63102DE87051}"/>
              </c:ext>
            </c:extLst>
          </c:dPt>
          <c:dPt>
            <c:idx val="118"/>
            <c:invertIfNegative val="1"/>
            <c:bubble3D val="0"/>
            <c:spPr>
              <a:solidFill>
                <a:srgbClr val="AEABAB"/>
              </a:solidFill>
            </c:spPr>
            <c:extLst>
              <c:ext xmlns:c16="http://schemas.microsoft.com/office/drawing/2014/chart" uri="{C3380CC4-5D6E-409C-BE32-E72D297353CC}">
                <c16:uniqueId val="{000000EF-2993-41DE-A2CB-63102DE87051}"/>
              </c:ext>
            </c:extLst>
          </c:dPt>
          <c:dPt>
            <c:idx val="119"/>
            <c:invertIfNegative val="1"/>
            <c:bubble3D val="0"/>
            <c:spPr>
              <a:solidFill>
                <a:srgbClr val="AEABAB"/>
              </a:solidFill>
            </c:spPr>
            <c:extLst>
              <c:ext xmlns:c16="http://schemas.microsoft.com/office/drawing/2014/chart" uri="{C3380CC4-5D6E-409C-BE32-E72D297353CC}">
                <c16:uniqueId val="{000000F1-2993-41DE-A2CB-63102DE87051}"/>
              </c:ext>
            </c:extLst>
          </c:dPt>
          <c:dPt>
            <c:idx val="120"/>
            <c:invertIfNegative val="1"/>
            <c:bubble3D val="0"/>
            <c:spPr>
              <a:solidFill>
                <a:srgbClr val="AEABAB"/>
              </a:solidFill>
            </c:spPr>
            <c:extLst>
              <c:ext xmlns:c16="http://schemas.microsoft.com/office/drawing/2014/chart" uri="{C3380CC4-5D6E-409C-BE32-E72D297353CC}">
                <c16:uniqueId val="{000000F3-2993-41DE-A2CB-63102DE87051}"/>
              </c:ext>
            </c:extLst>
          </c:dPt>
          <c:dPt>
            <c:idx val="121"/>
            <c:invertIfNegative val="1"/>
            <c:bubble3D val="0"/>
            <c:spPr>
              <a:solidFill>
                <a:srgbClr val="AEABAB"/>
              </a:solidFill>
            </c:spPr>
            <c:extLst>
              <c:ext xmlns:c16="http://schemas.microsoft.com/office/drawing/2014/chart" uri="{C3380CC4-5D6E-409C-BE32-E72D297353CC}">
                <c16:uniqueId val="{000000F5-2993-41DE-A2CB-63102DE87051}"/>
              </c:ext>
            </c:extLst>
          </c:dPt>
          <c:dPt>
            <c:idx val="122"/>
            <c:invertIfNegative val="1"/>
            <c:bubble3D val="0"/>
            <c:spPr>
              <a:solidFill>
                <a:srgbClr val="AEABAB"/>
              </a:solidFill>
            </c:spPr>
            <c:extLst>
              <c:ext xmlns:c16="http://schemas.microsoft.com/office/drawing/2014/chart" uri="{C3380CC4-5D6E-409C-BE32-E72D297353CC}">
                <c16:uniqueId val="{000000F7-2993-41DE-A2CB-63102DE87051}"/>
              </c:ext>
            </c:extLst>
          </c:dPt>
          <c:dPt>
            <c:idx val="123"/>
            <c:invertIfNegative val="1"/>
            <c:bubble3D val="0"/>
            <c:spPr>
              <a:solidFill>
                <a:srgbClr val="AEABAB"/>
              </a:solidFill>
            </c:spPr>
            <c:extLst>
              <c:ext xmlns:c16="http://schemas.microsoft.com/office/drawing/2014/chart" uri="{C3380CC4-5D6E-409C-BE32-E72D297353CC}">
                <c16:uniqueId val="{000000F9-2993-41DE-A2CB-63102DE87051}"/>
              </c:ext>
            </c:extLst>
          </c:dPt>
          <c:dPt>
            <c:idx val="124"/>
            <c:invertIfNegative val="1"/>
            <c:bubble3D val="0"/>
            <c:spPr>
              <a:solidFill>
                <a:srgbClr val="AEABAB"/>
              </a:solidFill>
            </c:spPr>
            <c:extLst>
              <c:ext xmlns:c16="http://schemas.microsoft.com/office/drawing/2014/chart" uri="{C3380CC4-5D6E-409C-BE32-E72D297353CC}">
                <c16:uniqueId val="{000000FB-2993-41DE-A2CB-63102DE87051}"/>
              </c:ext>
            </c:extLst>
          </c:dPt>
          <c:dPt>
            <c:idx val="125"/>
            <c:invertIfNegative val="1"/>
            <c:bubble3D val="0"/>
            <c:spPr>
              <a:solidFill>
                <a:srgbClr val="AEABAB"/>
              </a:solidFill>
            </c:spPr>
            <c:extLst>
              <c:ext xmlns:c16="http://schemas.microsoft.com/office/drawing/2014/chart" uri="{C3380CC4-5D6E-409C-BE32-E72D297353CC}">
                <c16:uniqueId val="{000000FD-2993-41DE-A2CB-63102DE87051}"/>
              </c:ext>
            </c:extLst>
          </c:dPt>
          <c:dPt>
            <c:idx val="126"/>
            <c:invertIfNegative val="1"/>
            <c:bubble3D val="0"/>
            <c:spPr>
              <a:solidFill>
                <a:srgbClr val="AEABAB"/>
              </a:solidFill>
            </c:spPr>
            <c:extLst>
              <c:ext xmlns:c16="http://schemas.microsoft.com/office/drawing/2014/chart" uri="{C3380CC4-5D6E-409C-BE32-E72D297353CC}">
                <c16:uniqueId val="{000000FF-2993-41DE-A2CB-63102DE87051}"/>
              </c:ext>
            </c:extLst>
          </c:dPt>
          <c:dPt>
            <c:idx val="127"/>
            <c:invertIfNegative val="1"/>
            <c:bubble3D val="0"/>
            <c:spPr>
              <a:solidFill>
                <a:srgbClr val="AEABAB"/>
              </a:solidFill>
            </c:spPr>
            <c:extLst>
              <c:ext xmlns:c16="http://schemas.microsoft.com/office/drawing/2014/chart" uri="{C3380CC4-5D6E-409C-BE32-E72D297353CC}">
                <c16:uniqueId val="{00000101-2993-41DE-A2CB-63102DE87051}"/>
              </c:ext>
            </c:extLst>
          </c:dPt>
          <c:dPt>
            <c:idx val="128"/>
            <c:invertIfNegative val="1"/>
            <c:bubble3D val="0"/>
            <c:spPr>
              <a:solidFill>
                <a:srgbClr val="AEABAB"/>
              </a:solidFill>
            </c:spPr>
            <c:extLst>
              <c:ext xmlns:c16="http://schemas.microsoft.com/office/drawing/2014/chart" uri="{C3380CC4-5D6E-409C-BE32-E72D297353CC}">
                <c16:uniqueId val="{00000103-2993-41DE-A2CB-63102DE87051}"/>
              </c:ext>
            </c:extLst>
          </c:dPt>
          <c:dPt>
            <c:idx val="129"/>
            <c:invertIfNegative val="1"/>
            <c:bubble3D val="0"/>
            <c:spPr>
              <a:solidFill>
                <a:srgbClr val="AEABAB"/>
              </a:solidFill>
            </c:spPr>
            <c:extLst>
              <c:ext xmlns:c16="http://schemas.microsoft.com/office/drawing/2014/chart" uri="{C3380CC4-5D6E-409C-BE32-E72D297353CC}">
                <c16:uniqueId val="{00000105-2993-41DE-A2CB-63102DE87051}"/>
              </c:ext>
            </c:extLst>
          </c:dPt>
          <c:dPt>
            <c:idx val="130"/>
            <c:invertIfNegative val="1"/>
            <c:bubble3D val="0"/>
            <c:spPr>
              <a:solidFill>
                <a:srgbClr val="AEABAB"/>
              </a:solidFill>
            </c:spPr>
            <c:extLst>
              <c:ext xmlns:c16="http://schemas.microsoft.com/office/drawing/2014/chart" uri="{C3380CC4-5D6E-409C-BE32-E72D297353CC}">
                <c16:uniqueId val="{00000107-2993-41DE-A2CB-63102DE87051}"/>
              </c:ext>
            </c:extLst>
          </c:dPt>
          <c:dPt>
            <c:idx val="131"/>
            <c:invertIfNegative val="1"/>
            <c:bubble3D val="0"/>
            <c:spPr>
              <a:solidFill>
                <a:srgbClr val="AEABAB"/>
              </a:solidFill>
            </c:spPr>
            <c:extLst>
              <c:ext xmlns:c16="http://schemas.microsoft.com/office/drawing/2014/chart" uri="{C3380CC4-5D6E-409C-BE32-E72D297353CC}">
                <c16:uniqueId val="{00000109-2993-41DE-A2CB-63102DE87051}"/>
              </c:ext>
            </c:extLst>
          </c:dPt>
          <c:dPt>
            <c:idx val="132"/>
            <c:invertIfNegative val="1"/>
            <c:bubble3D val="0"/>
            <c:spPr>
              <a:solidFill>
                <a:srgbClr val="AEABAB"/>
              </a:solidFill>
            </c:spPr>
            <c:extLst>
              <c:ext xmlns:c16="http://schemas.microsoft.com/office/drawing/2014/chart" uri="{C3380CC4-5D6E-409C-BE32-E72D297353CC}">
                <c16:uniqueId val="{0000010B-2993-41DE-A2CB-63102DE87051}"/>
              </c:ext>
            </c:extLst>
          </c:dPt>
          <c:dPt>
            <c:idx val="133"/>
            <c:invertIfNegative val="1"/>
            <c:bubble3D val="0"/>
            <c:spPr>
              <a:solidFill>
                <a:srgbClr val="AEABAB"/>
              </a:solidFill>
            </c:spPr>
            <c:extLst>
              <c:ext xmlns:c16="http://schemas.microsoft.com/office/drawing/2014/chart" uri="{C3380CC4-5D6E-409C-BE32-E72D297353CC}">
                <c16:uniqueId val="{0000010D-2993-41DE-A2CB-63102DE87051}"/>
              </c:ext>
            </c:extLst>
          </c:dPt>
          <c:dPt>
            <c:idx val="134"/>
            <c:invertIfNegative val="1"/>
            <c:bubble3D val="0"/>
            <c:spPr>
              <a:solidFill>
                <a:srgbClr val="AEABAB"/>
              </a:solidFill>
            </c:spPr>
            <c:extLst>
              <c:ext xmlns:c16="http://schemas.microsoft.com/office/drawing/2014/chart" uri="{C3380CC4-5D6E-409C-BE32-E72D297353CC}">
                <c16:uniqueId val="{0000010F-2993-41DE-A2CB-63102DE87051}"/>
              </c:ext>
            </c:extLst>
          </c:dPt>
          <c:dPt>
            <c:idx val="135"/>
            <c:invertIfNegative val="1"/>
            <c:bubble3D val="0"/>
            <c:spPr>
              <a:solidFill>
                <a:srgbClr val="AEABAB"/>
              </a:solidFill>
            </c:spPr>
            <c:extLst>
              <c:ext xmlns:c16="http://schemas.microsoft.com/office/drawing/2014/chart" uri="{C3380CC4-5D6E-409C-BE32-E72D297353CC}">
                <c16:uniqueId val="{00000111-2993-41DE-A2CB-63102DE87051}"/>
              </c:ext>
            </c:extLst>
          </c:dPt>
          <c:dPt>
            <c:idx val="136"/>
            <c:invertIfNegative val="1"/>
            <c:bubble3D val="0"/>
            <c:spPr>
              <a:solidFill>
                <a:srgbClr val="AEABAB"/>
              </a:solidFill>
            </c:spPr>
            <c:extLst>
              <c:ext xmlns:c16="http://schemas.microsoft.com/office/drawing/2014/chart" uri="{C3380CC4-5D6E-409C-BE32-E72D297353CC}">
                <c16:uniqueId val="{00000113-2993-41DE-A2CB-63102DE87051}"/>
              </c:ext>
            </c:extLst>
          </c:dPt>
          <c:dPt>
            <c:idx val="137"/>
            <c:invertIfNegative val="1"/>
            <c:bubble3D val="0"/>
            <c:spPr>
              <a:solidFill>
                <a:srgbClr val="AEABAB"/>
              </a:solidFill>
            </c:spPr>
            <c:extLst>
              <c:ext xmlns:c16="http://schemas.microsoft.com/office/drawing/2014/chart" uri="{C3380CC4-5D6E-409C-BE32-E72D297353CC}">
                <c16:uniqueId val="{00000115-2993-41DE-A2CB-63102DE87051}"/>
              </c:ext>
            </c:extLst>
          </c:dPt>
          <c:dPt>
            <c:idx val="138"/>
            <c:invertIfNegative val="1"/>
            <c:bubble3D val="0"/>
            <c:spPr>
              <a:solidFill>
                <a:srgbClr val="AEABAB"/>
              </a:solidFill>
            </c:spPr>
            <c:extLst>
              <c:ext xmlns:c16="http://schemas.microsoft.com/office/drawing/2014/chart" uri="{C3380CC4-5D6E-409C-BE32-E72D297353CC}">
                <c16:uniqueId val="{00000117-2993-41DE-A2CB-63102DE87051}"/>
              </c:ext>
            </c:extLst>
          </c:dPt>
          <c:dPt>
            <c:idx val="139"/>
            <c:invertIfNegative val="1"/>
            <c:bubble3D val="0"/>
            <c:spPr>
              <a:solidFill>
                <a:srgbClr val="AEABAB"/>
              </a:solidFill>
            </c:spPr>
            <c:extLst>
              <c:ext xmlns:c16="http://schemas.microsoft.com/office/drawing/2014/chart" uri="{C3380CC4-5D6E-409C-BE32-E72D297353CC}">
                <c16:uniqueId val="{00000119-2993-41DE-A2CB-63102DE87051}"/>
              </c:ext>
            </c:extLst>
          </c:dPt>
          <c:dPt>
            <c:idx val="140"/>
            <c:invertIfNegative val="1"/>
            <c:bubble3D val="0"/>
            <c:spPr>
              <a:solidFill>
                <a:srgbClr val="AEABAB"/>
              </a:solidFill>
            </c:spPr>
            <c:extLst>
              <c:ext xmlns:c16="http://schemas.microsoft.com/office/drawing/2014/chart" uri="{C3380CC4-5D6E-409C-BE32-E72D297353CC}">
                <c16:uniqueId val="{0000011B-2993-41DE-A2CB-63102DE87051}"/>
              </c:ext>
            </c:extLst>
          </c:dPt>
          <c:dPt>
            <c:idx val="141"/>
            <c:invertIfNegative val="1"/>
            <c:bubble3D val="0"/>
            <c:spPr>
              <a:solidFill>
                <a:srgbClr val="AEABAB"/>
              </a:solidFill>
            </c:spPr>
            <c:extLst>
              <c:ext xmlns:c16="http://schemas.microsoft.com/office/drawing/2014/chart" uri="{C3380CC4-5D6E-409C-BE32-E72D297353CC}">
                <c16:uniqueId val="{0000011D-2993-41DE-A2CB-63102DE87051}"/>
              </c:ext>
            </c:extLst>
          </c:dPt>
          <c:dPt>
            <c:idx val="142"/>
            <c:invertIfNegative val="1"/>
            <c:bubble3D val="0"/>
            <c:spPr>
              <a:solidFill>
                <a:srgbClr val="AEABAB"/>
              </a:solidFill>
            </c:spPr>
            <c:extLst>
              <c:ext xmlns:c16="http://schemas.microsoft.com/office/drawing/2014/chart" uri="{C3380CC4-5D6E-409C-BE32-E72D297353CC}">
                <c16:uniqueId val="{0000011F-2993-41DE-A2CB-63102DE87051}"/>
              </c:ext>
            </c:extLst>
          </c:dPt>
          <c:dPt>
            <c:idx val="143"/>
            <c:invertIfNegative val="1"/>
            <c:bubble3D val="0"/>
            <c:spPr>
              <a:solidFill>
                <a:srgbClr val="AEABAB"/>
              </a:solidFill>
            </c:spPr>
            <c:extLst>
              <c:ext xmlns:c16="http://schemas.microsoft.com/office/drawing/2014/chart" uri="{C3380CC4-5D6E-409C-BE32-E72D297353CC}">
                <c16:uniqueId val="{00000121-2993-41DE-A2CB-63102DE87051}"/>
              </c:ext>
            </c:extLst>
          </c:dPt>
          <c:dPt>
            <c:idx val="144"/>
            <c:invertIfNegative val="1"/>
            <c:bubble3D val="0"/>
            <c:spPr>
              <a:solidFill>
                <a:srgbClr val="AEABAB"/>
              </a:solidFill>
            </c:spPr>
            <c:extLst>
              <c:ext xmlns:c16="http://schemas.microsoft.com/office/drawing/2014/chart" uri="{C3380CC4-5D6E-409C-BE32-E72D297353CC}">
                <c16:uniqueId val="{00000123-2993-41DE-A2CB-63102DE87051}"/>
              </c:ext>
            </c:extLst>
          </c:dPt>
          <c:dPt>
            <c:idx val="145"/>
            <c:invertIfNegative val="1"/>
            <c:bubble3D val="0"/>
            <c:spPr>
              <a:solidFill>
                <a:srgbClr val="AEABAB"/>
              </a:solidFill>
            </c:spPr>
            <c:extLst>
              <c:ext xmlns:c16="http://schemas.microsoft.com/office/drawing/2014/chart" uri="{C3380CC4-5D6E-409C-BE32-E72D297353CC}">
                <c16:uniqueId val="{00000125-2993-41DE-A2CB-63102DE87051}"/>
              </c:ext>
            </c:extLst>
          </c:dPt>
          <c:dPt>
            <c:idx val="146"/>
            <c:invertIfNegative val="1"/>
            <c:bubble3D val="0"/>
            <c:spPr>
              <a:solidFill>
                <a:srgbClr val="AEABAB"/>
              </a:solidFill>
            </c:spPr>
            <c:extLst>
              <c:ext xmlns:c16="http://schemas.microsoft.com/office/drawing/2014/chart" uri="{C3380CC4-5D6E-409C-BE32-E72D297353CC}">
                <c16:uniqueId val="{00000127-2993-41DE-A2CB-63102DE87051}"/>
              </c:ext>
            </c:extLst>
          </c:dPt>
          <c:dPt>
            <c:idx val="147"/>
            <c:invertIfNegative val="1"/>
            <c:bubble3D val="0"/>
            <c:spPr>
              <a:solidFill>
                <a:srgbClr val="AEABAB"/>
              </a:solidFill>
            </c:spPr>
            <c:extLst>
              <c:ext xmlns:c16="http://schemas.microsoft.com/office/drawing/2014/chart" uri="{C3380CC4-5D6E-409C-BE32-E72D297353CC}">
                <c16:uniqueId val="{00000129-2993-41DE-A2CB-63102DE87051}"/>
              </c:ext>
            </c:extLst>
          </c:dPt>
          <c:dPt>
            <c:idx val="148"/>
            <c:invertIfNegative val="1"/>
            <c:bubble3D val="0"/>
            <c:spPr>
              <a:solidFill>
                <a:srgbClr val="AEABAB"/>
              </a:solidFill>
            </c:spPr>
            <c:extLst>
              <c:ext xmlns:c16="http://schemas.microsoft.com/office/drawing/2014/chart" uri="{C3380CC4-5D6E-409C-BE32-E72D297353CC}">
                <c16:uniqueId val="{0000012B-2993-41DE-A2CB-63102DE87051}"/>
              </c:ext>
            </c:extLst>
          </c:dPt>
          <c:dPt>
            <c:idx val="149"/>
            <c:invertIfNegative val="1"/>
            <c:bubble3D val="0"/>
            <c:spPr>
              <a:solidFill>
                <a:srgbClr val="AEABAB"/>
              </a:solidFill>
            </c:spPr>
            <c:extLst>
              <c:ext xmlns:c16="http://schemas.microsoft.com/office/drawing/2014/chart" uri="{C3380CC4-5D6E-409C-BE32-E72D297353CC}">
                <c16:uniqueId val="{0000012D-2993-41DE-A2CB-63102DE87051}"/>
              </c:ext>
            </c:extLst>
          </c:dPt>
          <c:dPt>
            <c:idx val="150"/>
            <c:invertIfNegative val="1"/>
            <c:bubble3D val="0"/>
            <c:spPr>
              <a:solidFill>
                <a:srgbClr val="AEABAB"/>
              </a:solidFill>
            </c:spPr>
            <c:extLst>
              <c:ext xmlns:c16="http://schemas.microsoft.com/office/drawing/2014/chart" uri="{C3380CC4-5D6E-409C-BE32-E72D297353CC}">
                <c16:uniqueId val="{0000012F-2993-41DE-A2CB-63102DE87051}"/>
              </c:ext>
            </c:extLst>
          </c:dPt>
          <c:dPt>
            <c:idx val="151"/>
            <c:invertIfNegative val="1"/>
            <c:bubble3D val="0"/>
            <c:spPr>
              <a:solidFill>
                <a:srgbClr val="AEABAB"/>
              </a:solidFill>
            </c:spPr>
            <c:extLst>
              <c:ext xmlns:c16="http://schemas.microsoft.com/office/drawing/2014/chart" uri="{C3380CC4-5D6E-409C-BE32-E72D297353CC}">
                <c16:uniqueId val="{00000131-2993-41DE-A2CB-63102DE87051}"/>
              </c:ext>
            </c:extLst>
          </c:dPt>
          <c:dPt>
            <c:idx val="152"/>
            <c:invertIfNegative val="1"/>
            <c:bubble3D val="0"/>
            <c:spPr>
              <a:solidFill>
                <a:srgbClr val="AEABAB"/>
              </a:solidFill>
            </c:spPr>
            <c:extLst>
              <c:ext xmlns:c16="http://schemas.microsoft.com/office/drawing/2014/chart" uri="{C3380CC4-5D6E-409C-BE32-E72D297353CC}">
                <c16:uniqueId val="{00000133-2993-41DE-A2CB-63102DE87051}"/>
              </c:ext>
            </c:extLst>
          </c:dPt>
          <c:dPt>
            <c:idx val="153"/>
            <c:invertIfNegative val="1"/>
            <c:bubble3D val="0"/>
            <c:spPr>
              <a:solidFill>
                <a:srgbClr val="AEABAB"/>
              </a:solidFill>
            </c:spPr>
            <c:extLst>
              <c:ext xmlns:c16="http://schemas.microsoft.com/office/drawing/2014/chart" uri="{C3380CC4-5D6E-409C-BE32-E72D297353CC}">
                <c16:uniqueId val="{00000135-2993-41DE-A2CB-63102DE87051}"/>
              </c:ext>
            </c:extLst>
          </c:dPt>
          <c:dPt>
            <c:idx val="154"/>
            <c:invertIfNegative val="1"/>
            <c:bubble3D val="0"/>
            <c:spPr>
              <a:solidFill>
                <a:srgbClr val="AEABAB"/>
              </a:solidFill>
            </c:spPr>
            <c:extLst>
              <c:ext xmlns:c16="http://schemas.microsoft.com/office/drawing/2014/chart" uri="{C3380CC4-5D6E-409C-BE32-E72D297353CC}">
                <c16:uniqueId val="{00000137-2993-41DE-A2CB-63102DE87051}"/>
              </c:ext>
            </c:extLst>
          </c:dPt>
          <c:dPt>
            <c:idx val="155"/>
            <c:invertIfNegative val="1"/>
            <c:bubble3D val="0"/>
            <c:spPr>
              <a:solidFill>
                <a:srgbClr val="AEABAB"/>
              </a:solidFill>
            </c:spPr>
            <c:extLst>
              <c:ext xmlns:c16="http://schemas.microsoft.com/office/drawing/2014/chart" uri="{C3380CC4-5D6E-409C-BE32-E72D297353CC}">
                <c16:uniqueId val="{00000139-2993-41DE-A2CB-63102DE87051}"/>
              </c:ext>
            </c:extLst>
          </c:dPt>
          <c:dPt>
            <c:idx val="156"/>
            <c:invertIfNegative val="1"/>
            <c:bubble3D val="0"/>
            <c:spPr>
              <a:solidFill>
                <a:srgbClr val="AEABAB"/>
              </a:solidFill>
            </c:spPr>
            <c:extLst>
              <c:ext xmlns:c16="http://schemas.microsoft.com/office/drawing/2014/chart" uri="{C3380CC4-5D6E-409C-BE32-E72D297353CC}">
                <c16:uniqueId val="{0000013B-2993-41DE-A2CB-63102DE87051}"/>
              </c:ext>
            </c:extLst>
          </c:dPt>
          <c:dPt>
            <c:idx val="157"/>
            <c:invertIfNegative val="1"/>
            <c:bubble3D val="0"/>
            <c:spPr>
              <a:solidFill>
                <a:srgbClr val="AEABAB"/>
              </a:solidFill>
            </c:spPr>
            <c:extLst>
              <c:ext xmlns:c16="http://schemas.microsoft.com/office/drawing/2014/chart" uri="{C3380CC4-5D6E-409C-BE32-E72D297353CC}">
                <c16:uniqueId val="{0000013D-2993-41DE-A2CB-63102DE87051}"/>
              </c:ext>
            </c:extLst>
          </c:dPt>
          <c:dPt>
            <c:idx val="158"/>
            <c:invertIfNegative val="1"/>
            <c:bubble3D val="0"/>
            <c:spPr>
              <a:solidFill>
                <a:srgbClr val="AEABAB"/>
              </a:solidFill>
            </c:spPr>
            <c:extLst>
              <c:ext xmlns:c16="http://schemas.microsoft.com/office/drawing/2014/chart" uri="{C3380CC4-5D6E-409C-BE32-E72D297353CC}">
                <c16:uniqueId val="{0000013F-2993-41DE-A2CB-63102DE87051}"/>
              </c:ext>
            </c:extLst>
          </c:dPt>
          <c:dPt>
            <c:idx val="159"/>
            <c:invertIfNegative val="1"/>
            <c:bubble3D val="0"/>
            <c:spPr>
              <a:solidFill>
                <a:srgbClr val="AEABAB"/>
              </a:solidFill>
            </c:spPr>
            <c:extLst>
              <c:ext xmlns:c16="http://schemas.microsoft.com/office/drawing/2014/chart" uri="{C3380CC4-5D6E-409C-BE32-E72D297353CC}">
                <c16:uniqueId val="{00000141-2993-41DE-A2CB-63102DE87051}"/>
              </c:ext>
            </c:extLst>
          </c:dPt>
          <c:dPt>
            <c:idx val="160"/>
            <c:invertIfNegative val="1"/>
            <c:bubble3D val="0"/>
            <c:spPr>
              <a:solidFill>
                <a:srgbClr val="AEABAB"/>
              </a:solidFill>
            </c:spPr>
            <c:extLst>
              <c:ext xmlns:c16="http://schemas.microsoft.com/office/drawing/2014/chart" uri="{C3380CC4-5D6E-409C-BE32-E72D297353CC}">
                <c16:uniqueId val="{00000143-2993-41DE-A2CB-63102DE87051}"/>
              </c:ext>
            </c:extLst>
          </c:dPt>
          <c:dPt>
            <c:idx val="161"/>
            <c:invertIfNegative val="1"/>
            <c:bubble3D val="0"/>
            <c:spPr>
              <a:solidFill>
                <a:srgbClr val="AEABAB"/>
              </a:solidFill>
            </c:spPr>
            <c:extLst>
              <c:ext xmlns:c16="http://schemas.microsoft.com/office/drawing/2014/chart" uri="{C3380CC4-5D6E-409C-BE32-E72D297353CC}">
                <c16:uniqueId val="{00000145-2993-41DE-A2CB-63102DE87051}"/>
              </c:ext>
            </c:extLst>
          </c:dPt>
          <c:dPt>
            <c:idx val="162"/>
            <c:invertIfNegative val="1"/>
            <c:bubble3D val="0"/>
            <c:spPr>
              <a:solidFill>
                <a:srgbClr val="AEABAB"/>
              </a:solidFill>
            </c:spPr>
            <c:extLst>
              <c:ext xmlns:c16="http://schemas.microsoft.com/office/drawing/2014/chart" uri="{C3380CC4-5D6E-409C-BE32-E72D297353CC}">
                <c16:uniqueId val="{00000147-2993-41DE-A2CB-63102DE87051}"/>
              </c:ext>
            </c:extLst>
          </c:dPt>
          <c:dPt>
            <c:idx val="163"/>
            <c:invertIfNegative val="1"/>
            <c:bubble3D val="0"/>
            <c:spPr>
              <a:solidFill>
                <a:srgbClr val="AEABAB"/>
              </a:solidFill>
            </c:spPr>
            <c:extLst>
              <c:ext xmlns:c16="http://schemas.microsoft.com/office/drawing/2014/chart" uri="{C3380CC4-5D6E-409C-BE32-E72D297353CC}">
                <c16:uniqueId val="{00000149-2993-41DE-A2CB-63102DE87051}"/>
              </c:ext>
            </c:extLst>
          </c:dPt>
          <c:dPt>
            <c:idx val="164"/>
            <c:invertIfNegative val="1"/>
            <c:bubble3D val="0"/>
            <c:spPr>
              <a:solidFill>
                <a:srgbClr val="AEABAB"/>
              </a:solidFill>
            </c:spPr>
            <c:extLst>
              <c:ext xmlns:c16="http://schemas.microsoft.com/office/drawing/2014/chart" uri="{C3380CC4-5D6E-409C-BE32-E72D297353CC}">
                <c16:uniqueId val="{0000014B-2993-41DE-A2CB-63102DE87051}"/>
              </c:ext>
            </c:extLst>
          </c:dPt>
          <c:dPt>
            <c:idx val="165"/>
            <c:invertIfNegative val="1"/>
            <c:bubble3D val="0"/>
            <c:spPr>
              <a:solidFill>
                <a:srgbClr val="AEABAB"/>
              </a:solidFill>
            </c:spPr>
            <c:extLst>
              <c:ext xmlns:c16="http://schemas.microsoft.com/office/drawing/2014/chart" uri="{C3380CC4-5D6E-409C-BE32-E72D297353CC}">
                <c16:uniqueId val="{0000014D-2993-41DE-A2CB-63102DE87051}"/>
              </c:ext>
            </c:extLst>
          </c:dPt>
          <c:dPt>
            <c:idx val="166"/>
            <c:invertIfNegative val="1"/>
            <c:bubble3D val="0"/>
            <c:spPr>
              <a:solidFill>
                <a:srgbClr val="AEABAB"/>
              </a:solidFill>
            </c:spPr>
            <c:extLst>
              <c:ext xmlns:c16="http://schemas.microsoft.com/office/drawing/2014/chart" uri="{C3380CC4-5D6E-409C-BE32-E72D297353CC}">
                <c16:uniqueId val="{0000014F-2993-41DE-A2CB-63102DE87051}"/>
              </c:ext>
            </c:extLst>
          </c:dPt>
          <c:dPt>
            <c:idx val="167"/>
            <c:invertIfNegative val="1"/>
            <c:bubble3D val="0"/>
            <c:spPr>
              <a:solidFill>
                <a:srgbClr val="AEABAB"/>
              </a:solidFill>
            </c:spPr>
            <c:extLst>
              <c:ext xmlns:c16="http://schemas.microsoft.com/office/drawing/2014/chart" uri="{C3380CC4-5D6E-409C-BE32-E72D297353CC}">
                <c16:uniqueId val="{00000151-2993-41DE-A2CB-63102DE87051}"/>
              </c:ext>
            </c:extLst>
          </c:dPt>
          <c:dPt>
            <c:idx val="168"/>
            <c:invertIfNegative val="1"/>
            <c:bubble3D val="0"/>
            <c:spPr>
              <a:solidFill>
                <a:srgbClr val="AEABAB"/>
              </a:solidFill>
            </c:spPr>
            <c:extLst>
              <c:ext xmlns:c16="http://schemas.microsoft.com/office/drawing/2014/chart" uri="{C3380CC4-5D6E-409C-BE32-E72D297353CC}">
                <c16:uniqueId val="{00000153-2993-41DE-A2CB-63102DE87051}"/>
              </c:ext>
            </c:extLst>
          </c:dPt>
          <c:dPt>
            <c:idx val="169"/>
            <c:invertIfNegative val="1"/>
            <c:bubble3D val="0"/>
            <c:spPr>
              <a:solidFill>
                <a:srgbClr val="AEABAB"/>
              </a:solidFill>
            </c:spPr>
            <c:extLst>
              <c:ext xmlns:c16="http://schemas.microsoft.com/office/drawing/2014/chart" uri="{C3380CC4-5D6E-409C-BE32-E72D297353CC}">
                <c16:uniqueId val="{00000155-2993-41DE-A2CB-63102DE87051}"/>
              </c:ext>
            </c:extLst>
          </c:dPt>
          <c:dPt>
            <c:idx val="170"/>
            <c:invertIfNegative val="1"/>
            <c:bubble3D val="0"/>
            <c:spPr>
              <a:solidFill>
                <a:srgbClr val="AEABAB"/>
              </a:solidFill>
            </c:spPr>
            <c:extLst>
              <c:ext xmlns:c16="http://schemas.microsoft.com/office/drawing/2014/chart" uri="{C3380CC4-5D6E-409C-BE32-E72D297353CC}">
                <c16:uniqueId val="{00000157-2993-41DE-A2CB-63102DE87051}"/>
              </c:ext>
            </c:extLst>
          </c:dPt>
          <c:dPt>
            <c:idx val="171"/>
            <c:invertIfNegative val="1"/>
            <c:bubble3D val="0"/>
            <c:spPr>
              <a:solidFill>
                <a:srgbClr val="AEABAB"/>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173</c:f>
              <c:strCache>
                <c:ptCount val="172"/>
                <c:pt idx="0">
                  <c:v>Ruinart</c:v>
                </c:pt>
                <c:pt idx="1">
                  <c:v>Nicolas</c:v>
                </c:pt>
                <c:pt idx="2">
                  <c:v>Deutz</c:v>
                </c:pt>
                <c:pt idx="3">
                  <c:v>Heidsieck &amp;</c:v>
                </c:pt>
                <c:pt idx="4">
                  <c:v>Laurent Per</c:v>
                </c:pt>
                <c:pt idx="5">
                  <c:v>Ayala</c:v>
                </c:pt>
                <c:pt idx="6">
                  <c:v>De Bligny</c:v>
                </c:pt>
                <c:pt idx="7">
                  <c:v>Canard Duch</c:v>
                </c:pt>
                <c:pt idx="8">
                  <c:v>Taittinger</c:v>
                </c:pt>
                <c:pt idx="9">
                  <c:v>Ruinart</c:v>
                </c:pt>
                <c:pt idx="10">
                  <c:v>Bollinger</c:v>
                </c:pt>
                <c:pt idx="11">
                  <c:v>Besserat De</c:v>
                </c:pt>
                <c:pt idx="12">
                  <c:v>Demoiselle</c:v>
                </c:pt>
                <c:pt idx="13">
                  <c:v>Perrier Jou</c:v>
                </c:pt>
                <c:pt idx="14">
                  <c:v>Ruinart</c:v>
                </c:pt>
                <c:pt idx="15">
                  <c:v>Deutz</c:v>
                </c:pt>
                <c:pt idx="16">
                  <c:v>All Others</c:v>
                </c:pt>
                <c:pt idx="17">
                  <c:v>Laurent Per</c:v>
                </c:pt>
                <c:pt idx="18">
                  <c:v>Roederer</c:v>
                </c:pt>
                <c:pt idx="19">
                  <c:v>Pommery</c:v>
                </c:pt>
                <c:pt idx="20">
                  <c:v>Campari: Al</c:v>
                </c:pt>
                <c:pt idx="21">
                  <c:v>Savian</c:v>
                </c:pt>
                <c:pt idx="22">
                  <c:v>Moët &amp; Chan</c:v>
                </c:pt>
                <c:pt idx="23">
                  <c:v>All Others</c:v>
                </c:pt>
                <c:pt idx="24">
                  <c:v>Veuve Clicq</c:v>
                </c:pt>
                <c:pt idx="25">
                  <c:v>Taittinger</c:v>
                </c:pt>
                <c:pt idx="26">
                  <c:v>Veuve Clicq</c:v>
                </c:pt>
                <c:pt idx="27">
                  <c:v>Henriot</c:v>
                </c:pt>
                <c:pt idx="28">
                  <c:v>Roederer</c:v>
                </c:pt>
                <c:pt idx="29">
                  <c:v>Veuve Clicq</c:v>
                </c:pt>
                <c:pt idx="30">
                  <c:v>All Others</c:v>
                </c:pt>
                <c:pt idx="31">
                  <c:v>De Venoge</c:v>
                </c:pt>
                <c:pt idx="32">
                  <c:v>Ruinart</c:v>
                </c:pt>
                <c:pt idx="33">
                  <c:v>Deutz</c:v>
                </c:pt>
                <c:pt idx="34">
                  <c:v>Piper Heids</c:v>
                </c:pt>
                <c:pt idx="35">
                  <c:v>Nicolas</c:v>
                </c:pt>
                <c:pt idx="36">
                  <c:v>Lanson</c:v>
                </c:pt>
                <c:pt idx="37">
                  <c:v>Campari: Al</c:v>
                </c:pt>
                <c:pt idx="38">
                  <c:v>Nicolas Feu</c:v>
                </c:pt>
                <c:pt idx="39">
                  <c:v>Canard Duch</c:v>
                </c:pt>
                <c:pt idx="40">
                  <c:v>Bollinger</c:v>
                </c:pt>
                <c:pt idx="41">
                  <c:v>Krug</c:v>
                </c:pt>
                <c:pt idx="42">
                  <c:v>Henriot</c:v>
                </c:pt>
                <c:pt idx="43">
                  <c:v>Roederer</c:v>
                </c:pt>
                <c:pt idx="44">
                  <c:v>Canard Duch</c:v>
                </c:pt>
                <c:pt idx="45">
                  <c:v>Roederer</c:v>
                </c:pt>
                <c:pt idx="46">
                  <c:v>Nicolas</c:v>
                </c:pt>
                <c:pt idx="47">
                  <c:v>De Venoge</c:v>
                </c:pt>
                <c:pt idx="48">
                  <c:v>De Venoge</c:v>
                </c:pt>
                <c:pt idx="49">
                  <c:v>Nicolas</c:v>
                </c:pt>
                <c:pt idx="50">
                  <c:v>Vranken</c:v>
                </c:pt>
                <c:pt idx="51">
                  <c:v>Canard Duch</c:v>
                </c:pt>
                <c:pt idx="52">
                  <c:v>Canard Duch</c:v>
                </c:pt>
                <c:pt idx="53">
                  <c:v>Veuve Clicq</c:v>
                </c:pt>
                <c:pt idx="54">
                  <c:v>Roederer</c:v>
                </c:pt>
                <c:pt idx="55">
                  <c:v>Moët &amp; Chan</c:v>
                </c:pt>
                <c:pt idx="56">
                  <c:v>Nicolas</c:v>
                </c:pt>
                <c:pt idx="57">
                  <c:v>Nicolas Feu</c:v>
                </c:pt>
                <c:pt idx="58">
                  <c:v>All Others</c:v>
                </c:pt>
                <c:pt idx="59">
                  <c:v>Laurent Per</c:v>
                </c:pt>
                <c:pt idx="60">
                  <c:v>All Others</c:v>
                </c:pt>
                <c:pt idx="61">
                  <c:v>Roederer</c:v>
                </c:pt>
                <c:pt idx="62">
                  <c:v>Demoiselle</c:v>
                </c:pt>
                <c:pt idx="63">
                  <c:v>Nicolas</c:v>
                </c:pt>
                <c:pt idx="64">
                  <c:v>Laurent Per</c:v>
                </c:pt>
                <c:pt idx="65">
                  <c:v>Roederer</c:v>
                </c:pt>
                <c:pt idx="66">
                  <c:v>All Others</c:v>
                </c:pt>
                <c:pt idx="67">
                  <c:v>Pommery</c:v>
                </c:pt>
                <c:pt idx="68">
                  <c:v>Ruinart</c:v>
                </c:pt>
                <c:pt idx="69">
                  <c:v>Moët &amp; Chan</c:v>
                </c:pt>
                <c:pt idx="70">
                  <c:v>Ruinart</c:v>
                </c:pt>
                <c:pt idx="71">
                  <c:v>Ruinart</c:v>
                </c:pt>
                <c:pt idx="72">
                  <c:v>Roederer</c:v>
                </c:pt>
                <c:pt idx="73">
                  <c:v>Pommery</c:v>
                </c:pt>
                <c:pt idx="74">
                  <c:v>Laurent Per</c:v>
                </c:pt>
                <c:pt idx="75">
                  <c:v>Vranken</c:v>
                </c:pt>
                <c:pt idx="76">
                  <c:v>All Others</c:v>
                </c:pt>
                <c:pt idx="77">
                  <c:v>Deutz</c:v>
                </c:pt>
                <c:pt idx="78">
                  <c:v>Canard Duch</c:v>
                </c:pt>
                <c:pt idx="79">
                  <c:v>Pommery</c:v>
                </c:pt>
                <c:pt idx="80">
                  <c:v>Lanson-Bcc:</c:v>
                </c:pt>
                <c:pt idx="81">
                  <c:v>All Others</c:v>
                </c:pt>
                <c:pt idx="82">
                  <c:v>Ruinart</c:v>
                </c:pt>
                <c:pt idx="83">
                  <c:v>Moët &amp; Chan</c:v>
                </c:pt>
                <c:pt idx="84">
                  <c:v>Nicolas</c:v>
                </c:pt>
                <c:pt idx="85">
                  <c:v>All Others</c:v>
                </c:pt>
                <c:pt idx="86">
                  <c:v>Roederer</c:v>
                </c:pt>
                <c:pt idx="87">
                  <c:v>Malard</c:v>
                </c:pt>
                <c:pt idx="88">
                  <c:v>All Others</c:v>
                </c:pt>
                <c:pt idx="89">
                  <c:v>All Others</c:v>
                </c:pt>
                <c:pt idx="90">
                  <c:v>Moët &amp; Chan</c:v>
                </c:pt>
                <c:pt idx="91">
                  <c:v>Bollinger</c:v>
                </c:pt>
                <c:pt idx="92">
                  <c:v>Laurent Per</c:v>
                </c:pt>
                <c:pt idx="93">
                  <c:v>Henriot</c:v>
                </c:pt>
                <c:pt idx="94">
                  <c:v>Moët &amp; Chan</c:v>
                </c:pt>
                <c:pt idx="95">
                  <c:v>All Others</c:v>
                </c:pt>
                <c:pt idx="96">
                  <c:v>Bollinger</c:v>
                </c:pt>
                <c:pt idx="97">
                  <c:v>De Venoge</c:v>
                </c:pt>
                <c:pt idx="98">
                  <c:v>All Others</c:v>
                </c:pt>
                <c:pt idx="99">
                  <c:v>Ruinart</c:v>
                </c:pt>
                <c:pt idx="100">
                  <c:v>Deutz</c:v>
                </c:pt>
                <c:pt idx="101">
                  <c:v>Piper Heids</c:v>
                </c:pt>
                <c:pt idx="102">
                  <c:v>Nicolas Feu</c:v>
                </c:pt>
                <c:pt idx="103">
                  <c:v>Demoiselle</c:v>
                </c:pt>
                <c:pt idx="104">
                  <c:v>All Others</c:v>
                </c:pt>
                <c:pt idx="105">
                  <c:v>Taittinger</c:v>
                </c:pt>
                <c:pt idx="106">
                  <c:v>All Others</c:v>
                </c:pt>
                <c:pt idx="107">
                  <c:v>Bollinger</c:v>
                </c:pt>
                <c:pt idx="108">
                  <c:v>Laurent Per</c:v>
                </c:pt>
                <c:pt idx="109">
                  <c:v>All Others</c:v>
                </c:pt>
                <c:pt idx="110">
                  <c:v>Martel</c:v>
                </c:pt>
                <c:pt idx="111">
                  <c:v>Canard Duch</c:v>
                </c:pt>
                <c:pt idx="112">
                  <c:v>Roederer</c:v>
                </c:pt>
                <c:pt idx="113">
                  <c:v>Lanson</c:v>
                </c:pt>
                <c:pt idx="114">
                  <c:v>Roederer</c:v>
                </c:pt>
                <c:pt idx="115">
                  <c:v>All Others</c:v>
                </c:pt>
                <c:pt idx="116">
                  <c:v>Laurent Per</c:v>
                </c:pt>
                <c:pt idx="117">
                  <c:v>Delamotte</c:v>
                </c:pt>
                <c:pt idx="118">
                  <c:v>All Others</c:v>
                </c:pt>
                <c:pt idx="119">
                  <c:v>Besserat De</c:v>
                </c:pt>
                <c:pt idx="120">
                  <c:v>Moët &amp; Chan</c:v>
                </c:pt>
                <c:pt idx="121">
                  <c:v>De Venoge</c:v>
                </c:pt>
                <c:pt idx="122">
                  <c:v>Besserat De</c:v>
                </c:pt>
                <c:pt idx="123">
                  <c:v>Lanson</c:v>
                </c:pt>
                <c:pt idx="124">
                  <c:v>Demoiselle</c:v>
                </c:pt>
                <c:pt idx="125">
                  <c:v>Demoiselle</c:v>
                </c:pt>
                <c:pt idx="126">
                  <c:v>Veuve Clicq</c:v>
                </c:pt>
                <c:pt idx="127">
                  <c:v>Roederer</c:v>
                </c:pt>
                <c:pt idx="128">
                  <c:v>Roederer</c:v>
                </c:pt>
                <c:pt idx="129">
                  <c:v>Nicolas Feu</c:v>
                </c:pt>
                <c:pt idx="130">
                  <c:v>Ayala</c:v>
                </c:pt>
                <c:pt idx="131">
                  <c:v>Pommery</c:v>
                </c:pt>
                <c:pt idx="132">
                  <c:v>All Others</c:v>
                </c:pt>
                <c:pt idx="133">
                  <c:v>Demoiselle</c:v>
                </c:pt>
                <c:pt idx="134">
                  <c:v>Roederer</c:v>
                </c:pt>
                <c:pt idx="135">
                  <c:v>Canard Duch</c:v>
                </c:pt>
                <c:pt idx="136">
                  <c:v>Veuve Clicq</c:v>
                </c:pt>
                <c:pt idx="137">
                  <c:v>Lanson</c:v>
                </c:pt>
                <c:pt idx="138">
                  <c:v>Heidsieck &amp;</c:v>
                </c:pt>
                <c:pt idx="139">
                  <c:v>Taittinger</c:v>
                </c:pt>
                <c:pt idx="140">
                  <c:v>Pommery</c:v>
                </c:pt>
                <c:pt idx="141">
                  <c:v>Laurent Per</c:v>
                </c:pt>
                <c:pt idx="142">
                  <c:v>Ruinart</c:v>
                </c:pt>
                <c:pt idx="143">
                  <c:v>Laurent Per</c:v>
                </c:pt>
                <c:pt idx="144">
                  <c:v>Heidsieck &amp;</c:v>
                </c:pt>
                <c:pt idx="145">
                  <c:v>Taittinger</c:v>
                </c:pt>
                <c:pt idx="146">
                  <c:v>Besserat De</c:v>
                </c:pt>
                <c:pt idx="147">
                  <c:v>Nicolas Feu</c:v>
                </c:pt>
                <c:pt idx="148">
                  <c:v>Nicolas</c:v>
                </c:pt>
                <c:pt idx="149">
                  <c:v>De Bligny</c:v>
                </c:pt>
                <c:pt idx="150">
                  <c:v>Roederer</c:v>
                </c:pt>
                <c:pt idx="151">
                  <c:v>All Others</c:v>
                </c:pt>
                <c:pt idx="152">
                  <c:v>Ayala</c:v>
                </c:pt>
                <c:pt idx="153">
                  <c:v>Pommery</c:v>
                </c:pt>
                <c:pt idx="154">
                  <c:v>Laurent Per</c:v>
                </c:pt>
                <c:pt idx="155">
                  <c:v>Ruinart</c:v>
                </c:pt>
                <c:pt idx="156">
                  <c:v>Laurent Per</c:v>
                </c:pt>
                <c:pt idx="157">
                  <c:v>Nicolas Feu</c:v>
                </c:pt>
                <c:pt idx="158">
                  <c:v>Vranken</c:v>
                </c:pt>
                <c:pt idx="159">
                  <c:v>Malard</c:v>
                </c:pt>
                <c:pt idx="160">
                  <c:v>Roederer</c:v>
                </c:pt>
                <c:pt idx="161">
                  <c:v>Roederer</c:v>
                </c:pt>
                <c:pt idx="162">
                  <c:v>Taittinger</c:v>
                </c:pt>
                <c:pt idx="163">
                  <c:v>All Others</c:v>
                </c:pt>
                <c:pt idx="164">
                  <c:v>Veuve Clicq</c:v>
                </c:pt>
                <c:pt idx="165">
                  <c:v>Besserat De</c:v>
                </c:pt>
                <c:pt idx="166">
                  <c:v>Lanson</c:v>
                </c:pt>
                <c:pt idx="167">
                  <c:v>Moët &amp; Chan</c:v>
                </c:pt>
                <c:pt idx="168">
                  <c:v>Nicolas</c:v>
                </c:pt>
                <c:pt idx="169">
                  <c:v>Nicolas</c:v>
                </c:pt>
                <c:pt idx="170">
                  <c:v>Pommery</c:v>
                </c:pt>
                <c:pt idx="171">
                  <c:v>All Others</c:v>
                </c:pt>
              </c:strCache>
            </c:strRef>
          </c:cat>
          <c:val>
            <c:numRef>
              <c:f>Sheet1!$C$2:$C$173</c:f>
              <c:numCache>
                <c:formatCode>General</c:formatCode>
                <c:ptCount val="172"/>
                <c:pt idx="0">
                  <c:v>0.15658219984219812</c:v>
                </c:pt>
                <c:pt idx="1">
                  <c:v>0.25436415633301013</c:v>
                </c:pt>
                <c:pt idx="2">
                  <c:v>0.3312557593995426</c:v>
                </c:pt>
                <c:pt idx="3">
                  <c:v>0.38108998639548508</c:v>
                </c:pt>
                <c:pt idx="4">
                  <c:v>0.42668310297323825</c:v>
                </c:pt>
                <c:pt idx="5">
                  <c:v>0.46861806104802661</c:v>
                </c:pt>
                <c:pt idx="6">
                  <c:v>0.50639841140062636</c:v>
                </c:pt>
                <c:pt idx="7">
                  <c:v>0.53605777903493967</c:v>
                </c:pt>
                <c:pt idx="8">
                  <c:v>0.5651270457708879</c:v>
                </c:pt>
                <c:pt idx="9">
                  <c:v>0.59285652157646507</c:v>
                </c:pt>
                <c:pt idx="10">
                  <c:v>0.61976300644290183</c:v>
                </c:pt>
                <c:pt idx="11">
                  <c:v>0.64453532920233303</c:v>
                </c:pt>
                <c:pt idx="12">
                  <c:v>0.66505429295246077</c:v>
                </c:pt>
                <c:pt idx="13">
                  <c:v>0.68344026226282939</c:v>
                </c:pt>
                <c:pt idx="14">
                  <c:v>0.70155452255396933</c:v>
                </c:pt>
                <c:pt idx="15">
                  <c:v>0.71953874284178265</c:v>
                </c:pt>
                <c:pt idx="16">
                  <c:v>0.73510841790381798</c:v>
                </c:pt>
                <c:pt idx="17">
                  <c:v>0.74892790274332688</c:v>
                </c:pt>
                <c:pt idx="18">
                  <c:v>0.76209690160687682</c:v>
                </c:pt>
                <c:pt idx="19">
                  <c:v>0.7747701423195732</c:v>
                </c:pt>
                <c:pt idx="20">
                  <c:v>0.78737718344838814</c:v>
                </c:pt>
                <c:pt idx="21">
                  <c:v>0.79897516943685776</c:v>
                </c:pt>
                <c:pt idx="22">
                  <c:v>0.80990713232600964</c:v>
                </c:pt>
                <c:pt idx="23">
                  <c:v>0.82027046509616197</c:v>
                </c:pt>
                <c:pt idx="24">
                  <c:v>0.8301775259323404</c:v>
                </c:pt>
                <c:pt idx="25">
                  <c:v>0.84005344103196977</c:v>
                </c:pt>
                <c:pt idx="26">
                  <c:v>0.84940585992616024</c:v>
                </c:pt>
                <c:pt idx="27">
                  <c:v>0.85783753745173519</c:v>
                </c:pt>
                <c:pt idx="28">
                  <c:v>0.8658403713086521</c:v>
                </c:pt>
                <c:pt idx="29">
                  <c:v>0.87343697611357896</c:v>
                </c:pt>
                <c:pt idx="30">
                  <c:v>0.88061333985956036</c:v>
                </c:pt>
                <c:pt idx="31">
                  <c:v>0.88744150046670922</c:v>
                </c:pt>
                <c:pt idx="32">
                  <c:v>0.89387591891242024</c:v>
                </c:pt>
                <c:pt idx="33">
                  <c:v>0.90008087882926324</c:v>
                </c:pt>
                <c:pt idx="34">
                  <c:v>0.90624601891001344</c:v>
                </c:pt>
                <c:pt idx="35">
                  <c:v>0.91200123629748431</c:v>
                </c:pt>
                <c:pt idx="36">
                  <c:v>0.91720943732498383</c:v>
                </c:pt>
                <c:pt idx="37">
                  <c:v>0.92227794722191692</c:v>
                </c:pt>
                <c:pt idx="38">
                  <c:v>0.92704755813374351</c:v>
                </c:pt>
                <c:pt idx="39">
                  <c:v>0.93155863798526395</c:v>
                </c:pt>
                <c:pt idx="40">
                  <c:v>0.93600139738790444</c:v>
                </c:pt>
                <c:pt idx="41">
                  <c:v>0.94027026969062288</c:v>
                </c:pt>
                <c:pt idx="42">
                  <c:v>0.9443370878998455</c:v>
                </c:pt>
                <c:pt idx="43">
                  <c:v>0.94747723108444581</c:v>
                </c:pt>
                <c:pt idx="44">
                  <c:v>0.95027963247554259</c:v>
                </c:pt>
                <c:pt idx="45">
                  <c:v>0.95296390883521365</c:v>
                </c:pt>
                <c:pt idx="46">
                  <c:v>0.95529829013004219</c:v>
                </c:pt>
                <c:pt idx="47">
                  <c:v>0.95758412982934638</c:v>
                </c:pt>
                <c:pt idx="48">
                  <c:v>0.9598290773450866</c:v>
                </c:pt>
                <c:pt idx="49">
                  <c:v>0.96205577112387464</c:v>
                </c:pt>
                <c:pt idx="50">
                  <c:v>0.96413776948389796</c:v>
                </c:pt>
                <c:pt idx="51">
                  <c:v>0.96600970688930798</c:v>
                </c:pt>
                <c:pt idx="52">
                  <c:v>0.96783198269183501</c:v>
                </c:pt>
                <c:pt idx="53">
                  <c:v>0.96951163628070791</c:v>
                </c:pt>
                <c:pt idx="54">
                  <c:v>0.97118066171464523</c:v>
                </c:pt>
                <c:pt idx="55">
                  <c:v>0.97271583435424758</c:v>
                </c:pt>
                <c:pt idx="56">
                  <c:v>0.97416524302610707</c:v>
                </c:pt>
                <c:pt idx="57">
                  <c:v>0.97553996865409165</c:v>
                </c:pt>
                <c:pt idx="58">
                  <c:v>0.97687728127030726</c:v>
                </c:pt>
                <c:pt idx="59">
                  <c:v>0.97809847057037658</c:v>
                </c:pt>
                <c:pt idx="60">
                  <c:v>0.97924144999488816</c:v>
                </c:pt>
                <c:pt idx="61">
                  <c:v>0.98025460388556729</c:v>
                </c:pt>
                <c:pt idx="62">
                  <c:v>0.98124147334823308</c:v>
                </c:pt>
                <c:pt idx="63">
                  <c:v>0.98211910634851118</c:v>
                </c:pt>
                <c:pt idx="64">
                  <c:v>0.98297107449931465</c:v>
                </c:pt>
                <c:pt idx="65">
                  <c:v>0.98381865794045864</c:v>
                </c:pt>
                <c:pt idx="66">
                  <c:v>0.98462584962685851</c:v>
                </c:pt>
                <c:pt idx="67">
                  <c:v>0.98540635177620028</c:v>
                </c:pt>
                <c:pt idx="68">
                  <c:v>0.98618211176672554</c:v>
                </c:pt>
                <c:pt idx="69">
                  <c:v>0.9869417627152407</c:v>
                </c:pt>
                <c:pt idx="70">
                  <c:v>0.98766850451136556</c:v>
                </c:pt>
                <c:pt idx="71">
                  <c:v>0.98830626529733434</c:v>
                </c:pt>
                <c:pt idx="72">
                  <c:v>0.98893740135892616</c:v>
                </c:pt>
                <c:pt idx="73">
                  <c:v>0.98955605052996587</c:v>
                </c:pt>
                <c:pt idx="74">
                  <c:v>0.9901689566845493</c:v>
                </c:pt>
                <c:pt idx="75">
                  <c:v>0.99070277125565442</c:v>
                </c:pt>
                <c:pt idx="76">
                  <c:v>0.99122910322440572</c:v>
                </c:pt>
                <c:pt idx="77">
                  <c:v>0.99175305219877685</c:v>
                </c:pt>
                <c:pt idx="78">
                  <c:v>0.99222660084200709</c:v>
                </c:pt>
                <c:pt idx="79">
                  <c:v>0.99262460856338552</c:v>
                </c:pt>
                <c:pt idx="80">
                  <c:v>0.99301351324623166</c:v>
                </c:pt>
                <c:pt idx="81">
                  <c:v>0.99339557873520656</c:v>
                </c:pt>
                <c:pt idx="82">
                  <c:v>0.99376024836520616</c:v>
                </c:pt>
                <c:pt idx="83">
                  <c:v>0.9941140515408321</c:v>
                </c:pt>
                <c:pt idx="84">
                  <c:v>0.99445434313832237</c:v>
                </c:pt>
                <c:pt idx="85">
                  <c:v>0.9947942772866557</c:v>
                </c:pt>
                <c:pt idx="86">
                  <c:v>0.99509725119215231</c:v>
                </c:pt>
                <c:pt idx="87">
                  <c:v>0.99538573649181739</c:v>
                </c:pt>
                <c:pt idx="88">
                  <c:v>0.99566671535918494</c:v>
                </c:pt>
                <c:pt idx="89">
                  <c:v>0.99590808885995386</c:v>
                </c:pt>
                <c:pt idx="90">
                  <c:v>0.99614943853077897</c:v>
                </c:pt>
                <c:pt idx="91">
                  <c:v>0.99638101792464528</c:v>
                </c:pt>
                <c:pt idx="92">
                  <c:v>0.99660030106750985</c:v>
                </c:pt>
                <c:pt idx="93">
                  <c:v>0.99681226841762727</c:v>
                </c:pt>
                <c:pt idx="94">
                  <c:v>0.99699969092562879</c:v>
                </c:pt>
                <c:pt idx="95">
                  <c:v>0.99717953551150129</c:v>
                </c:pt>
                <c:pt idx="96">
                  <c:v>0.99735044386844807</c:v>
                </c:pt>
                <c:pt idx="97">
                  <c:v>0.99749573503580791</c:v>
                </c:pt>
                <c:pt idx="98">
                  <c:v>0.99763959640653965</c:v>
                </c:pt>
                <c:pt idx="99">
                  <c:v>0.99777387813986307</c:v>
                </c:pt>
                <c:pt idx="100">
                  <c:v>0.9979059675183567</c:v>
                </c:pt>
                <c:pt idx="101">
                  <c:v>0.99802247211360395</c:v>
                </c:pt>
                <c:pt idx="102">
                  <c:v>0.99813604562576352</c:v>
                </c:pt>
                <c:pt idx="103">
                  <c:v>0.99824916636899086</c:v>
                </c:pt>
                <c:pt idx="104">
                  <c:v>0.99835020533071073</c:v>
                </c:pt>
                <c:pt idx="105">
                  <c:v>0.99845086301332975</c:v>
                </c:pt>
                <c:pt idx="106">
                  <c:v>0.99854665938741316</c:v>
                </c:pt>
                <c:pt idx="107">
                  <c:v>0.99863904807953285</c:v>
                </c:pt>
                <c:pt idx="108">
                  <c:v>0.99871864009183098</c:v>
                </c:pt>
                <c:pt idx="109">
                  <c:v>0.9987968499673886</c:v>
                </c:pt>
                <c:pt idx="110">
                  <c:v>0.99885852186194779</c:v>
                </c:pt>
                <c:pt idx="111">
                  <c:v>0.9989200031169565</c:v>
                </c:pt>
                <c:pt idx="112">
                  <c:v>0.99897821966966438</c:v>
                </c:pt>
                <c:pt idx="113">
                  <c:v>0.99903531621501362</c:v>
                </c:pt>
                <c:pt idx="114">
                  <c:v>0.99909122126317274</c:v>
                </c:pt>
                <c:pt idx="115">
                  <c:v>0.99914541055537809</c:v>
                </c:pt>
                <c:pt idx="116">
                  <c:v>0.99918797083500821</c:v>
                </c:pt>
                <c:pt idx="117">
                  <c:v>0.9992286008891903</c:v>
                </c:pt>
                <c:pt idx="118">
                  <c:v>0.99926527517270136</c:v>
                </c:pt>
                <c:pt idx="119">
                  <c:v>0.99929796985559749</c:v>
                </c:pt>
                <c:pt idx="120">
                  <c:v>0.99933040240911175</c:v>
                </c:pt>
                <c:pt idx="121">
                  <c:v>0.99936045196824586</c:v>
                </c:pt>
                <c:pt idx="122">
                  <c:v>0.99939021556805441</c:v>
                </c:pt>
                <c:pt idx="123">
                  <c:v>0.99941762000342649</c:v>
                </c:pt>
                <c:pt idx="124">
                  <c:v>0.99944478613936061</c:v>
                </c:pt>
                <c:pt idx="125">
                  <c:v>0.9994714280165311</c:v>
                </c:pt>
                <c:pt idx="126">
                  <c:v>0.99949764095471316</c:v>
                </c:pt>
                <c:pt idx="127">
                  <c:v>0.99952278154542407</c:v>
                </c:pt>
                <c:pt idx="128">
                  <c:v>0.99954787447624738</c:v>
                </c:pt>
                <c:pt idx="129">
                  <c:v>0.99957227633870049</c:v>
                </c:pt>
                <c:pt idx="130">
                  <c:v>0.99959632075199656</c:v>
                </c:pt>
                <c:pt idx="131">
                  <c:v>0.99961884004888935</c:v>
                </c:pt>
                <c:pt idx="132">
                  <c:v>0.99964054912769285</c:v>
                </c:pt>
                <c:pt idx="133">
                  <c:v>0.99966159096806984</c:v>
                </c:pt>
                <c:pt idx="134">
                  <c:v>0.99968260897850303</c:v>
                </c:pt>
                <c:pt idx="135">
                  <c:v>0.99970262613129657</c:v>
                </c:pt>
                <c:pt idx="136">
                  <c:v>0.99972209519538269</c:v>
                </c:pt>
                <c:pt idx="137">
                  <c:v>0.99974139744986223</c:v>
                </c:pt>
                <c:pt idx="138">
                  <c:v>0.99975807841052355</c:v>
                </c:pt>
                <c:pt idx="139">
                  <c:v>0.99977323425478148</c:v>
                </c:pt>
                <c:pt idx="140">
                  <c:v>0.99978824711937664</c:v>
                </c:pt>
                <c:pt idx="141">
                  <c:v>0.99980254508565769</c:v>
                </c:pt>
                <c:pt idx="142">
                  <c:v>0.99981643794289421</c:v>
                </c:pt>
                <c:pt idx="143">
                  <c:v>0.99982918696282819</c:v>
                </c:pt>
                <c:pt idx="144">
                  <c:v>0.99984157853360511</c:v>
                </c:pt>
                <c:pt idx="145">
                  <c:v>0.99985387478460686</c:v>
                </c:pt>
                <c:pt idx="146">
                  <c:v>0.99986555145706979</c:v>
                </c:pt>
                <c:pt idx="147">
                  <c:v>0.99987689451031947</c:v>
                </c:pt>
                <c:pt idx="148">
                  <c:v>0.99988733202570468</c:v>
                </c:pt>
                <c:pt idx="149">
                  <c:v>0.99989622059474281</c:v>
                </c:pt>
                <c:pt idx="150">
                  <c:v>0.99990422745586027</c:v>
                </c:pt>
                <c:pt idx="151">
                  <c:v>0.99991173388815791</c:v>
                </c:pt>
                <c:pt idx="152">
                  <c:v>0.99991904968090506</c:v>
                </c:pt>
                <c:pt idx="153">
                  <c:v>0.99992629398382082</c:v>
                </c:pt>
                <c:pt idx="154">
                  <c:v>0.99993344296696141</c:v>
                </c:pt>
                <c:pt idx="155">
                  <c:v>0.99994700220498456</c:v>
                </c:pt>
                <c:pt idx="156">
                  <c:v>0.99995960824525576</c:v>
                </c:pt>
                <c:pt idx="157">
                  <c:v>0.99996544658148723</c:v>
                </c:pt>
                <c:pt idx="158">
                  <c:v>0.99997109427816822</c:v>
                </c:pt>
                <c:pt idx="159">
                  <c:v>0.99997633686580467</c:v>
                </c:pt>
                <c:pt idx="160">
                  <c:v>0.9999811028545651</c:v>
                </c:pt>
                <c:pt idx="161">
                  <c:v>0.99998329520939488</c:v>
                </c:pt>
                <c:pt idx="162">
                  <c:v>0.99998522543484281</c:v>
                </c:pt>
                <c:pt idx="163">
                  <c:v>0.99998708417045934</c:v>
                </c:pt>
                <c:pt idx="164">
                  <c:v>0.9999887760964693</c:v>
                </c:pt>
                <c:pt idx="165">
                  <c:v>0.99999170717955688</c:v>
                </c:pt>
                <c:pt idx="166">
                  <c:v>0.99999308931629738</c:v>
                </c:pt>
                <c:pt idx="167">
                  <c:v>0.99999425698354372</c:v>
                </c:pt>
                <c:pt idx="168">
                  <c:v>0.99999535316095856</c:v>
                </c:pt>
                <c:pt idx="169">
                  <c:v>0.99999633018865441</c:v>
                </c:pt>
                <c:pt idx="170">
                  <c:v>0.99999961872089915</c:v>
                </c:pt>
                <c:pt idx="171">
                  <c:v>1</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126</c:f>
              <c:strCache>
                <c:ptCount val="125"/>
                <c:pt idx="0">
                  <c:v>Ruinart</c:v>
                </c:pt>
                <c:pt idx="1">
                  <c:v>Nicolas</c:v>
                </c:pt>
                <c:pt idx="2">
                  <c:v>Deutz</c:v>
                </c:pt>
                <c:pt idx="3">
                  <c:v>Heidsieck &amp;</c:v>
                </c:pt>
                <c:pt idx="4">
                  <c:v>Laurent Per</c:v>
                </c:pt>
                <c:pt idx="5">
                  <c:v>Ayala</c:v>
                </c:pt>
                <c:pt idx="6">
                  <c:v>De Bligny</c:v>
                </c:pt>
                <c:pt idx="7">
                  <c:v>Canard Duch</c:v>
                </c:pt>
                <c:pt idx="8">
                  <c:v>Taittinger</c:v>
                </c:pt>
                <c:pt idx="9">
                  <c:v>Besserat De</c:v>
                </c:pt>
                <c:pt idx="10">
                  <c:v>Bollinger</c:v>
                </c:pt>
                <c:pt idx="11">
                  <c:v>Ruinart</c:v>
                </c:pt>
                <c:pt idx="12">
                  <c:v>Perrier Jou</c:v>
                </c:pt>
                <c:pt idx="13">
                  <c:v>Demoiselle</c:v>
                </c:pt>
                <c:pt idx="14">
                  <c:v>Deutz</c:v>
                </c:pt>
                <c:pt idx="15">
                  <c:v>Ruinart</c:v>
                </c:pt>
                <c:pt idx="16">
                  <c:v>All Others</c:v>
                </c:pt>
                <c:pt idx="17">
                  <c:v>Roederer</c:v>
                </c:pt>
                <c:pt idx="18">
                  <c:v>Laurent Per</c:v>
                </c:pt>
                <c:pt idx="19">
                  <c:v>Campari: Al</c:v>
                </c:pt>
                <c:pt idx="20">
                  <c:v>Pommery</c:v>
                </c:pt>
                <c:pt idx="21">
                  <c:v>All Others</c:v>
                </c:pt>
                <c:pt idx="22">
                  <c:v>Savian</c:v>
                </c:pt>
                <c:pt idx="23">
                  <c:v>Veuve Clicq</c:v>
                </c:pt>
                <c:pt idx="24">
                  <c:v>Moët &amp; Chan</c:v>
                </c:pt>
                <c:pt idx="25">
                  <c:v>Henriot</c:v>
                </c:pt>
                <c:pt idx="26">
                  <c:v>All Others</c:v>
                </c:pt>
                <c:pt idx="27">
                  <c:v>Taittinger</c:v>
                </c:pt>
                <c:pt idx="28">
                  <c:v>De Venoge</c:v>
                </c:pt>
                <c:pt idx="29">
                  <c:v>Veuve Clicq</c:v>
                </c:pt>
                <c:pt idx="30">
                  <c:v>Roederer</c:v>
                </c:pt>
                <c:pt idx="31">
                  <c:v>Veuve Clicq</c:v>
                </c:pt>
                <c:pt idx="32">
                  <c:v>Piper Heids</c:v>
                </c:pt>
                <c:pt idx="33">
                  <c:v>Deutz</c:v>
                </c:pt>
                <c:pt idx="34">
                  <c:v>Ruinart</c:v>
                </c:pt>
                <c:pt idx="35">
                  <c:v>Nicolas</c:v>
                </c:pt>
                <c:pt idx="36">
                  <c:v>Lanson</c:v>
                </c:pt>
                <c:pt idx="37">
                  <c:v>Campari: Al</c:v>
                </c:pt>
                <c:pt idx="38">
                  <c:v>Canard Duch</c:v>
                </c:pt>
                <c:pt idx="39">
                  <c:v>Henriot</c:v>
                </c:pt>
                <c:pt idx="40">
                  <c:v>Nicolas Feu</c:v>
                </c:pt>
                <c:pt idx="41">
                  <c:v>Bollinger</c:v>
                </c:pt>
                <c:pt idx="42">
                  <c:v>Krug</c:v>
                </c:pt>
                <c:pt idx="43">
                  <c:v>Roederer</c:v>
                </c:pt>
                <c:pt idx="44">
                  <c:v>De Venoge</c:v>
                </c:pt>
                <c:pt idx="45">
                  <c:v>De Venoge</c:v>
                </c:pt>
                <c:pt idx="46">
                  <c:v>Canard Duch</c:v>
                </c:pt>
                <c:pt idx="47">
                  <c:v>Nicolas</c:v>
                </c:pt>
                <c:pt idx="48">
                  <c:v>Roederer</c:v>
                </c:pt>
                <c:pt idx="49">
                  <c:v>Nicolas</c:v>
                </c:pt>
                <c:pt idx="50">
                  <c:v>Moët &amp; Chan</c:v>
                </c:pt>
                <c:pt idx="51">
                  <c:v>Roederer</c:v>
                </c:pt>
                <c:pt idx="52">
                  <c:v>Canard Duch</c:v>
                </c:pt>
                <c:pt idx="53">
                  <c:v>Nicolas Feu</c:v>
                </c:pt>
                <c:pt idx="54">
                  <c:v>Veuve Clicq</c:v>
                </c:pt>
                <c:pt idx="55">
                  <c:v>Nicolas</c:v>
                </c:pt>
                <c:pt idx="56">
                  <c:v>Vranken</c:v>
                </c:pt>
                <c:pt idx="57">
                  <c:v>Roederer</c:v>
                </c:pt>
                <c:pt idx="58">
                  <c:v>Laurent Per</c:v>
                </c:pt>
                <c:pt idx="59">
                  <c:v>Canard Duch</c:v>
                </c:pt>
                <c:pt idx="60">
                  <c:v>All Others</c:v>
                </c:pt>
                <c:pt idx="61">
                  <c:v>Demoiselle</c:v>
                </c:pt>
                <c:pt idx="62">
                  <c:v>Roederer</c:v>
                </c:pt>
                <c:pt idx="63">
                  <c:v>All Others</c:v>
                </c:pt>
                <c:pt idx="64">
                  <c:v>Pommery</c:v>
                </c:pt>
                <c:pt idx="65">
                  <c:v>Nicolas</c:v>
                </c:pt>
                <c:pt idx="66">
                  <c:v>Laurent Per</c:v>
                </c:pt>
                <c:pt idx="67">
                  <c:v>Vranken</c:v>
                </c:pt>
                <c:pt idx="68">
                  <c:v>Moët &amp; Chan</c:v>
                </c:pt>
                <c:pt idx="69">
                  <c:v>Roederer</c:v>
                </c:pt>
                <c:pt idx="70">
                  <c:v>Ruinart</c:v>
                </c:pt>
                <c:pt idx="71">
                  <c:v>Pommery</c:v>
                </c:pt>
                <c:pt idx="72">
                  <c:v>Deutz</c:v>
                </c:pt>
                <c:pt idx="73">
                  <c:v>Laurent Per</c:v>
                </c:pt>
                <c:pt idx="74">
                  <c:v>Ruinart</c:v>
                </c:pt>
                <c:pt idx="75">
                  <c:v>Ruinart</c:v>
                </c:pt>
                <c:pt idx="76">
                  <c:v>Nicolas</c:v>
                </c:pt>
                <c:pt idx="77">
                  <c:v>Pommery</c:v>
                </c:pt>
                <c:pt idx="78">
                  <c:v>Roederer</c:v>
                </c:pt>
                <c:pt idx="79">
                  <c:v>Canard Duch</c:v>
                </c:pt>
                <c:pt idx="80">
                  <c:v>Bollinger</c:v>
                </c:pt>
                <c:pt idx="81">
                  <c:v>Ruinart</c:v>
                </c:pt>
                <c:pt idx="82">
                  <c:v>Malard</c:v>
                </c:pt>
                <c:pt idx="83">
                  <c:v>Henriot</c:v>
                </c:pt>
                <c:pt idx="84">
                  <c:v>All Others</c:v>
                </c:pt>
                <c:pt idx="85">
                  <c:v>Moët &amp; Chan</c:v>
                </c:pt>
                <c:pt idx="86">
                  <c:v>Deutz</c:v>
                </c:pt>
                <c:pt idx="87">
                  <c:v>All Others</c:v>
                </c:pt>
                <c:pt idx="88">
                  <c:v>Nicolas Feu</c:v>
                </c:pt>
                <c:pt idx="89">
                  <c:v>Laurent Per</c:v>
                </c:pt>
                <c:pt idx="90">
                  <c:v>Bollinger</c:v>
                </c:pt>
                <c:pt idx="91">
                  <c:v>Ruinart</c:v>
                </c:pt>
                <c:pt idx="92">
                  <c:v>Roederer</c:v>
                </c:pt>
                <c:pt idx="93">
                  <c:v>Taittinger</c:v>
                </c:pt>
                <c:pt idx="94">
                  <c:v>All Others</c:v>
                </c:pt>
                <c:pt idx="95">
                  <c:v>De Venoge</c:v>
                </c:pt>
                <c:pt idx="96">
                  <c:v>Martel</c:v>
                </c:pt>
                <c:pt idx="97">
                  <c:v>Lanson</c:v>
                </c:pt>
                <c:pt idx="98">
                  <c:v>Piper Heids</c:v>
                </c:pt>
                <c:pt idx="99">
                  <c:v>Moët &amp; Chan</c:v>
                </c:pt>
                <c:pt idx="100">
                  <c:v>Besserat De</c:v>
                </c:pt>
                <c:pt idx="101">
                  <c:v>Ayala</c:v>
                </c:pt>
                <c:pt idx="102">
                  <c:v>Lanson</c:v>
                </c:pt>
                <c:pt idx="103">
                  <c:v>Besserat De</c:v>
                </c:pt>
                <c:pt idx="104">
                  <c:v>Taittinger</c:v>
                </c:pt>
                <c:pt idx="105">
                  <c:v>Laurent Per</c:v>
                </c:pt>
                <c:pt idx="106">
                  <c:v>Heidsieck &amp;</c:v>
                </c:pt>
                <c:pt idx="107">
                  <c:v>Roederer</c:v>
                </c:pt>
                <c:pt idx="108">
                  <c:v>Besserat De</c:v>
                </c:pt>
                <c:pt idx="109">
                  <c:v>Canard Duch</c:v>
                </c:pt>
                <c:pt idx="110">
                  <c:v>Demoiselle</c:v>
                </c:pt>
                <c:pt idx="111">
                  <c:v>Nicolas Feu</c:v>
                </c:pt>
                <c:pt idx="112">
                  <c:v>Canard Duch</c:v>
                </c:pt>
                <c:pt idx="113">
                  <c:v>All Others</c:v>
                </c:pt>
                <c:pt idx="114">
                  <c:v>Laurent Per</c:v>
                </c:pt>
                <c:pt idx="115">
                  <c:v>Pommery</c:v>
                </c:pt>
                <c:pt idx="116">
                  <c:v>Laurent Per</c:v>
                </c:pt>
                <c:pt idx="117">
                  <c:v>Demoiselle</c:v>
                </c:pt>
                <c:pt idx="118">
                  <c:v>Nicolas Feu</c:v>
                </c:pt>
                <c:pt idx="119">
                  <c:v>All Others</c:v>
                </c:pt>
                <c:pt idx="120">
                  <c:v>All Others</c:v>
                </c:pt>
                <c:pt idx="121">
                  <c:v>Nicolas</c:v>
                </c:pt>
                <c:pt idx="122">
                  <c:v>All Others</c:v>
                </c:pt>
                <c:pt idx="123">
                  <c:v>Lanson</c:v>
                </c:pt>
                <c:pt idx="124">
                  <c:v>Moët &amp; Chan</c:v>
                </c:pt>
              </c:strCache>
            </c:strRef>
          </c:cat>
          <c:val>
            <c:numRef>
              <c:f>Sheet1!$B$2:$B$126</c:f>
              <c:numCache>
                <c:formatCode>General</c:formatCode>
                <c:ptCount val="125"/>
                <c:pt idx="0">
                  <c:v>1</c:v>
                </c:pt>
                <c:pt idx="1">
                  <c:v>1</c:v>
                </c:pt>
                <c:pt idx="2">
                  <c:v>1</c:v>
                </c:pt>
                <c:pt idx="3">
                  <c:v>0.96</c:v>
                </c:pt>
                <c:pt idx="4">
                  <c:v>0.97</c:v>
                </c:pt>
                <c:pt idx="5">
                  <c:v>0.97</c:v>
                </c:pt>
                <c:pt idx="6">
                  <c:v>0.92</c:v>
                </c:pt>
                <c:pt idx="7">
                  <c:v>0.97</c:v>
                </c:pt>
                <c:pt idx="8">
                  <c:v>0.89</c:v>
                </c:pt>
                <c:pt idx="9">
                  <c:v>0.86</c:v>
                </c:pt>
                <c:pt idx="10">
                  <c:v>0.89</c:v>
                </c:pt>
                <c:pt idx="11">
                  <c:v>0.62</c:v>
                </c:pt>
                <c:pt idx="12">
                  <c:v>0.84</c:v>
                </c:pt>
                <c:pt idx="13">
                  <c:v>0.94</c:v>
                </c:pt>
                <c:pt idx="14">
                  <c:v>0.72</c:v>
                </c:pt>
                <c:pt idx="15">
                  <c:v>0.47</c:v>
                </c:pt>
                <c:pt idx="16">
                  <c:v>0.82</c:v>
                </c:pt>
                <c:pt idx="17">
                  <c:v>0.6</c:v>
                </c:pt>
                <c:pt idx="18">
                  <c:v>0.75</c:v>
                </c:pt>
                <c:pt idx="19">
                  <c:v>0.67</c:v>
                </c:pt>
                <c:pt idx="20">
                  <c:v>0.69</c:v>
                </c:pt>
                <c:pt idx="21">
                  <c:v>0.7</c:v>
                </c:pt>
                <c:pt idx="22">
                  <c:v>0.72</c:v>
                </c:pt>
                <c:pt idx="23">
                  <c:v>0.6</c:v>
                </c:pt>
                <c:pt idx="24">
                  <c:v>0.7</c:v>
                </c:pt>
                <c:pt idx="25">
                  <c:v>0.63</c:v>
                </c:pt>
                <c:pt idx="26">
                  <c:v>0.45</c:v>
                </c:pt>
                <c:pt idx="27">
                  <c:v>0.44</c:v>
                </c:pt>
                <c:pt idx="28">
                  <c:v>0.56999999999999995</c:v>
                </c:pt>
                <c:pt idx="29">
                  <c:v>0.53</c:v>
                </c:pt>
                <c:pt idx="30">
                  <c:v>0.45</c:v>
                </c:pt>
                <c:pt idx="31">
                  <c:v>0.56000000000000005</c:v>
                </c:pt>
                <c:pt idx="32">
                  <c:v>0.66</c:v>
                </c:pt>
                <c:pt idx="33">
                  <c:v>0.78</c:v>
                </c:pt>
                <c:pt idx="34">
                  <c:v>0.62</c:v>
                </c:pt>
                <c:pt idx="35">
                  <c:v>0.83</c:v>
                </c:pt>
                <c:pt idx="36">
                  <c:v>0.56000000000000005</c:v>
                </c:pt>
                <c:pt idx="37">
                  <c:v>0.5</c:v>
                </c:pt>
                <c:pt idx="38">
                  <c:v>0.79</c:v>
                </c:pt>
                <c:pt idx="39">
                  <c:v>0.7</c:v>
                </c:pt>
                <c:pt idx="40">
                  <c:v>0.38</c:v>
                </c:pt>
                <c:pt idx="41">
                  <c:v>0.2</c:v>
                </c:pt>
                <c:pt idx="42">
                  <c:v>0.11</c:v>
                </c:pt>
                <c:pt idx="43">
                  <c:v>0.15</c:v>
                </c:pt>
                <c:pt idx="44">
                  <c:v>0.46</c:v>
                </c:pt>
                <c:pt idx="45">
                  <c:v>0.2</c:v>
                </c:pt>
                <c:pt idx="46">
                  <c:v>0.28000000000000003</c:v>
                </c:pt>
                <c:pt idx="47">
                  <c:v>0.37</c:v>
                </c:pt>
                <c:pt idx="48">
                  <c:v>0.15</c:v>
                </c:pt>
                <c:pt idx="49">
                  <c:v>0.18</c:v>
                </c:pt>
                <c:pt idx="50">
                  <c:v>0.3</c:v>
                </c:pt>
                <c:pt idx="51">
                  <c:v>0.36</c:v>
                </c:pt>
                <c:pt idx="52">
                  <c:v>0.25</c:v>
                </c:pt>
                <c:pt idx="53">
                  <c:v>0.33</c:v>
                </c:pt>
                <c:pt idx="54">
                  <c:v>0.19</c:v>
                </c:pt>
                <c:pt idx="55">
                  <c:v>0.19</c:v>
                </c:pt>
                <c:pt idx="56">
                  <c:v>0.12</c:v>
                </c:pt>
                <c:pt idx="57">
                  <c:v>0.24</c:v>
                </c:pt>
                <c:pt idx="58">
                  <c:v>0.14000000000000001</c:v>
                </c:pt>
                <c:pt idx="59">
                  <c:v>0.08</c:v>
                </c:pt>
                <c:pt idx="60">
                  <c:v>0.18</c:v>
                </c:pt>
                <c:pt idx="61">
                  <c:v>0.3</c:v>
                </c:pt>
                <c:pt idx="62">
                  <c:v>0.27</c:v>
                </c:pt>
                <c:pt idx="63">
                  <c:v>0.12</c:v>
                </c:pt>
                <c:pt idx="64">
                  <c:v>0.16</c:v>
                </c:pt>
                <c:pt idx="65">
                  <c:v>0.27</c:v>
                </c:pt>
                <c:pt idx="66">
                  <c:v>0.04</c:v>
                </c:pt>
                <c:pt idx="67">
                  <c:v>0.06</c:v>
                </c:pt>
                <c:pt idx="68">
                  <c:v>0.08</c:v>
                </c:pt>
                <c:pt idx="69">
                  <c:v>0.04</c:v>
                </c:pt>
                <c:pt idx="70">
                  <c:v>0.05</c:v>
                </c:pt>
                <c:pt idx="71">
                  <c:v>0.11</c:v>
                </c:pt>
                <c:pt idx="72">
                  <c:v>0.06</c:v>
                </c:pt>
                <c:pt idx="73">
                  <c:v>0.03</c:v>
                </c:pt>
                <c:pt idx="74">
                  <c:v>0.03</c:v>
                </c:pt>
                <c:pt idx="75">
                  <c:v>0.03</c:v>
                </c:pt>
                <c:pt idx="76">
                  <c:v>0.14000000000000001</c:v>
                </c:pt>
                <c:pt idx="77">
                  <c:v>7.0000000000000007E-2</c:v>
                </c:pt>
                <c:pt idx="78">
                  <c:v>0.03</c:v>
                </c:pt>
                <c:pt idx="79">
                  <c:v>0.06</c:v>
                </c:pt>
                <c:pt idx="80">
                  <c:v>0.01</c:v>
                </c:pt>
                <c:pt idx="81">
                  <c:v>0.02</c:v>
                </c:pt>
                <c:pt idx="82">
                  <c:v>0.05</c:v>
                </c:pt>
                <c:pt idx="83">
                  <c:v>0.02</c:v>
                </c:pt>
                <c:pt idx="84">
                  <c:v>0.03</c:v>
                </c:pt>
                <c:pt idx="85">
                  <c:v>0.04</c:v>
                </c:pt>
                <c:pt idx="86">
                  <c:v>0.01</c:v>
                </c:pt>
                <c:pt idx="87">
                  <c:v>0.02</c:v>
                </c:pt>
                <c:pt idx="88">
                  <c:v>0.02</c:v>
                </c:pt>
                <c:pt idx="89">
                  <c:v>0.01</c:v>
                </c:pt>
                <c:pt idx="90">
                  <c:v>0.02</c:v>
                </c:pt>
                <c:pt idx="91">
                  <c:v>0.01</c:v>
                </c:pt>
                <c:pt idx="92">
                  <c:v>0.02</c:v>
                </c:pt>
                <c:pt idx="93">
                  <c:v>0.01</c:v>
                </c:pt>
                <c:pt idx="94">
                  <c:v>0.01</c:v>
                </c:pt>
                <c:pt idx="95">
                  <c:v>0.01</c:v>
                </c:pt>
                <c:pt idx="96">
                  <c:v>0.02</c:v>
                </c:pt>
                <c:pt idx="97">
                  <c:v>0.03</c:v>
                </c:pt>
                <c:pt idx="98">
                  <c:v>0.01</c:v>
                </c:pt>
                <c:pt idx="99">
                  <c:v>0.04</c:v>
                </c:pt>
                <c:pt idx="100">
                  <c:v>0.01</c:v>
                </c:pt>
                <c:pt idx="101">
                  <c:v>0.01</c:v>
                </c:pt>
                <c:pt idx="102">
                  <c:v>0.01</c:v>
                </c:pt>
                <c:pt idx="103">
                  <c:v>0.01</c:v>
                </c:pt>
                <c:pt idx="104">
                  <c:v>0.02</c:v>
                </c:pt>
                <c:pt idx="105">
                  <c:v>0.01</c:v>
                </c:pt>
                <c:pt idx="106">
                  <c:v>0.01</c:v>
                </c:pt>
                <c:pt idx="107">
                  <c:v>0.01</c:v>
                </c:pt>
                <c:pt idx="108">
                  <c:v>0.01</c:v>
                </c:pt>
                <c:pt idx="109">
                  <c:v>0.02</c:v>
                </c:pt>
                <c:pt idx="110">
                  <c:v>0.01</c:v>
                </c:pt>
                <c:pt idx="111">
                  <c:v>0.01</c:v>
                </c:pt>
                <c:pt idx="112">
                  <c:v>0.02</c:v>
                </c:pt>
                <c:pt idx="113">
                  <c:v>0.02</c:v>
                </c:pt>
                <c:pt idx="114">
                  <c:v>0.01</c:v>
                </c:pt>
                <c:pt idx="115">
                  <c:v>0.01</c:v>
                </c:pt>
                <c:pt idx="116">
                  <c:v>0.01</c:v>
                </c:pt>
                <c:pt idx="117">
                  <c:v>0.01</c:v>
                </c:pt>
                <c:pt idx="118">
                  <c:v>0.01</c:v>
                </c:pt>
                <c:pt idx="119">
                  <c:v>0.02</c:v>
                </c:pt>
                <c:pt idx="120">
                  <c:v>0.02</c:v>
                </c:pt>
                <c:pt idx="121">
                  <c:v>0.01</c:v>
                </c:pt>
                <c:pt idx="122">
                  <c:v>0.02</c:v>
                </c:pt>
                <c:pt idx="123">
                  <c:v>0.01</c:v>
                </c:pt>
                <c:pt idx="124">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7ECAC4"/>
              </a:solidFill>
            </c:spPr>
            <c:extLst>
              <c:ext xmlns:c16="http://schemas.microsoft.com/office/drawing/2014/chart" uri="{C3380CC4-5D6E-409C-BE32-E72D297353CC}">
                <c16:uniqueId val="{00000065-2993-41DE-A2CB-63102DE87051}"/>
              </c:ext>
            </c:extLst>
          </c:dPt>
          <c:dPt>
            <c:idx val="23"/>
            <c:invertIfNegative val="1"/>
            <c:bubble3D val="0"/>
            <c:spPr>
              <a:solidFill>
                <a:srgbClr val="7ECAC4"/>
              </a:solidFill>
            </c:spPr>
            <c:extLst>
              <c:ext xmlns:c16="http://schemas.microsoft.com/office/drawing/2014/chart" uri="{C3380CC4-5D6E-409C-BE32-E72D297353CC}">
                <c16:uniqueId val="{00000067-2993-41DE-A2CB-63102DE87051}"/>
              </c:ext>
            </c:extLst>
          </c:dPt>
          <c:dPt>
            <c:idx val="24"/>
            <c:invertIfNegative val="1"/>
            <c:bubble3D val="0"/>
            <c:spPr>
              <a:solidFill>
                <a:srgbClr val="7ECAC4"/>
              </a:solidFill>
            </c:spPr>
            <c:extLst>
              <c:ext xmlns:c16="http://schemas.microsoft.com/office/drawing/2014/chart" uri="{C3380CC4-5D6E-409C-BE32-E72D297353CC}">
                <c16:uniqueId val="{00000069-2993-41DE-A2CB-63102DE87051}"/>
              </c:ext>
            </c:extLst>
          </c:dPt>
          <c:dPt>
            <c:idx val="25"/>
            <c:invertIfNegative val="1"/>
            <c:bubble3D val="0"/>
            <c:spPr>
              <a:solidFill>
                <a:srgbClr val="7ECAC4"/>
              </a:solidFill>
            </c:spPr>
            <c:extLst>
              <c:ext xmlns:c16="http://schemas.microsoft.com/office/drawing/2014/chart" uri="{C3380CC4-5D6E-409C-BE32-E72D297353CC}">
                <c16:uniqueId val="{0000006B-2993-41DE-A2CB-63102DE87051}"/>
              </c:ext>
            </c:extLst>
          </c:dPt>
          <c:dPt>
            <c:idx val="26"/>
            <c:invertIfNegative val="1"/>
            <c:bubble3D val="0"/>
            <c:spPr>
              <a:solidFill>
                <a:srgbClr val="7ECAC4"/>
              </a:solidFill>
            </c:spPr>
            <c:extLst>
              <c:ext xmlns:c16="http://schemas.microsoft.com/office/drawing/2014/chart" uri="{C3380CC4-5D6E-409C-BE32-E72D297353CC}">
                <c16:uniqueId val="{0000006D-2993-41DE-A2CB-63102DE87051}"/>
              </c:ext>
            </c:extLst>
          </c:dPt>
          <c:dPt>
            <c:idx val="27"/>
            <c:invertIfNegative val="1"/>
            <c:bubble3D val="0"/>
            <c:spPr>
              <a:solidFill>
                <a:srgbClr val="7ECAC4"/>
              </a:solidFill>
            </c:spPr>
            <c:extLst>
              <c:ext xmlns:c16="http://schemas.microsoft.com/office/drawing/2014/chart" uri="{C3380CC4-5D6E-409C-BE32-E72D297353CC}">
                <c16:uniqueId val="{0000006F-2993-41DE-A2CB-63102DE87051}"/>
              </c:ext>
            </c:extLst>
          </c:dPt>
          <c:dPt>
            <c:idx val="28"/>
            <c:invertIfNegative val="1"/>
            <c:bubble3D val="0"/>
            <c:spPr>
              <a:solidFill>
                <a:srgbClr val="7ECAC4"/>
              </a:solidFill>
            </c:spPr>
            <c:extLst>
              <c:ext xmlns:c16="http://schemas.microsoft.com/office/drawing/2014/chart" uri="{C3380CC4-5D6E-409C-BE32-E72D297353CC}">
                <c16:uniqueId val="{00000071-2993-41DE-A2CB-63102DE87051}"/>
              </c:ext>
            </c:extLst>
          </c:dPt>
          <c:dPt>
            <c:idx val="29"/>
            <c:invertIfNegative val="1"/>
            <c:bubble3D val="0"/>
            <c:spPr>
              <a:solidFill>
                <a:srgbClr val="7ECAC4"/>
              </a:solidFill>
            </c:spPr>
            <c:extLst>
              <c:ext xmlns:c16="http://schemas.microsoft.com/office/drawing/2014/chart" uri="{C3380CC4-5D6E-409C-BE32-E72D297353CC}">
                <c16:uniqueId val="{00000073-2993-41DE-A2CB-63102DE87051}"/>
              </c:ext>
            </c:extLst>
          </c:dPt>
          <c:dPt>
            <c:idx val="30"/>
            <c:invertIfNegative val="1"/>
            <c:bubble3D val="0"/>
            <c:spPr>
              <a:solidFill>
                <a:srgbClr val="7ECAC4"/>
              </a:solidFill>
            </c:spPr>
            <c:extLst>
              <c:ext xmlns:c16="http://schemas.microsoft.com/office/drawing/2014/chart" uri="{C3380CC4-5D6E-409C-BE32-E72D297353CC}">
                <c16:uniqueId val="{00000075-2993-41DE-A2CB-63102DE87051}"/>
              </c:ext>
            </c:extLst>
          </c:dPt>
          <c:dPt>
            <c:idx val="31"/>
            <c:invertIfNegative val="1"/>
            <c:bubble3D val="0"/>
            <c:spPr>
              <a:solidFill>
                <a:srgbClr val="7ECAC4"/>
              </a:solidFill>
            </c:spPr>
            <c:extLst>
              <c:ext xmlns:c16="http://schemas.microsoft.com/office/drawing/2014/chart" uri="{C3380CC4-5D6E-409C-BE32-E72D297353CC}">
                <c16:uniqueId val="{00000077-2993-41DE-A2CB-63102DE87051}"/>
              </c:ext>
            </c:extLst>
          </c:dPt>
          <c:dPt>
            <c:idx val="32"/>
            <c:invertIfNegative val="1"/>
            <c:bubble3D val="0"/>
            <c:spPr>
              <a:solidFill>
                <a:srgbClr val="7ECAC4"/>
              </a:solidFill>
            </c:spPr>
            <c:extLst>
              <c:ext xmlns:c16="http://schemas.microsoft.com/office/drawing/2014/chart" uri="{C3380CC4-5D6E-409C-BE32-E72D297353CC}">
                <c16:uniqueId val="{00000079-2993-41DE-A2CB-63102DE87051}"/>
              </c:ext>
            </c:extLst>
          </c:dPt>
          <c:dPt>
            <c:idx val="33"/>
            <c:invertIfNegative val="1"/>
            <c:bubble3D val="0"/>
            <c:spPr>
              <a:solidFill>
                <a:srgbClr val="7ECAC4"/>
              </a:solidFill>
            </c:spPr>
            <c:extLst>
              <c:ext xmlns:c16="http://schemas.microsoft.com/office/drawing/2014/chart" uri="{C3380CC4-5D6E-409C-BE32-E72D297353CC}">
                <c16:uniqueId val="{0000007B-2993-41DE-A2CB-63102DE87051}"/>
              </c:ext>
            </c:extLst>
          </c:dPt>
          <c:dPt>
            <c:idx val="34"/>
            <c:invertIfNegative val="1"/>
            <c:bubble3D val="0"/>
            <c:spPr>
              <a:solidFill>
                <a:srgbClr val="7ECAC4"/>
              </a:solidFill>
            </c:spPr>
            <c:extLst>
              <c:ext xmlns:c16="http://schemas.microsoft.com/office/drawing/2014/chart" uri="{C3380CC4-5D6E-409C-BE32-E72D297353CC}">
                <c16:uniqueId val="{0000007D-2993-41DE-A2CB-63102DE87051}"/>
              </c:ext>
            </c:extLst>
          </c:dPt>
          <c:dPt>
            <c:idx val="35"/>
            <c:invertIfNegative val="1"/>
            <c:bubble3D val="0"/>
            <c:spPr>
              <a:solidFill>
                <a:srgbClr val="7ECAC4"/>
              </a:solidFill>
            </c:spPr>
            <c:extLst>
              <c:ext xmlns:c16="http://schemas.microsoft.com/office/drawing/2014/chart" uri="{C3380CC4-5D6E-409C-BE32-E72D297353CC}">
                <c16:uniqueId val="{0000007F-2993-41DE-A2CB-63102DE87051}"/>
              </c:ext>
            </c:extLst>
          </c:dPt>
          <c:dPt>
            <c:idx val="36"/>
            <c:invertIfNegative val="1"/>
            <c:bubble3D val="0"/>
            <c:spPr>
              <a:solidFill>
                <a:srgbClr val="7ECAC4"/>
              </a:solidFill>
            </c:spPr>
            <c:extLst>
              <c:ext xmlns:c16="http://schemas.microsoft.com/office/drawing/2014/chart" uri="{C3380CC4-5D6E-409C-BE32-E72D297353CC}">
                <c16:uniqueId val="{00000081-2993-41DE-A2CB-63102DE87051}"/>
              </c:ext>
            </c:extLst>
          </c:dPt>
          <c:dPt>
            <c:idx val="37"/>
            <c:invertIfNegative val="1"/>
            <c:bubble3D val="0"/>
            <c:spPr>
              <a:solidFill>
                <a:srgbClr val="7ECAC4"/>
              </a:solidFill>
            </c:spPr>
            <c:extLst>
              <c:ext xmlns:c16="http://schemas.microsoft.com/office/drawing/2014/chart" uri="{C3380CC4-5D6E-409C-BE32-E72D297353CC}">
                <c16:uniqueId val="{00000083-2993-41DE-A2CB-63102DE87051}"/>
              </c:ext>
            </c:extLst>
          </c:dPt>
          <c:dPt>
            <c:idx val="38"/>
            <c:invertIfNegative val="1"/>
            <c:bubble3D val="0"/>
            <c:spPr>
              <a:solidFill>
                <a:srgbClr val="7ECAC4"/>
              </a:solidFill>
            </c:spPr>
            <c:extLst>
              <c:ext xmlns:c16="http://schemas.microsoft.com/office/drawing/2014/chart" uri="{C3380CC4-5D6E-409C-BE32-E72D297353CC}">
                <c16:uniqueId val="{00000085-2993-41DE-A2CB-63102DE87051}"/>
              </c:ext>
            </c:extLst>
          </c:dPt>
          <c:dPt>
            <c:idx val="39"/>
            <c:invertIfNegative val="1"/>
            <c:bubble3D val="0"/>
            <c:spPr>
              <a:solidFill>
                <a:srgbClr val="7ECAC4"/>
              </a:solidFill>
            </c:spPr>
            <c:extLst>
              <c:ext xmlns:c16="http://schemas.microsoft.com/office/drawing/2014/chart" uri="{C3380CC4-5D6E-409C-BE32-E72D297353CC}">
                <c16:uniqueId val="{00000087-2993-41DE-A2CB-63102DE87051}"/>
              </c:ext>
            </c:extLst>
          </c:dPt>
          <c:dPt>
            <c:idx val="40"/>
            <c:invertIfNegative val="1"/>
            <c:bubble3D val="0"/>
            <c:spPr>
              <a:solidFill>
                <a:srgbClr val="7ECAC4"/>
              </a:solidFill>
            </c:spPr>
            <c:extLst>
              <c:ext xmlns:c16="http://schemas.microsoft.com/office/drawing/2014/chart" uri="{C3380CC4-5D6E-409C-BE32-E72D297353CC}">
                <c16:uniqueId val="{00000089-2993-41DE-A2CB-63102DE87051}"/>
              </c:ext>
            </c:extLst>
          </c:dPt>
          <c:dPt>
            <c:idx val="41"/>
            <c:invertIfNegative val="1"/>
            <c:bubble3D val="0"/>
            <c:spPr>
              <a:solidFill>
                <a:srgbClr val="7ECAC4"/>
              </a:solidFill>
            </c:spPr>
            <c:extLst>
              <c:ext xmlns:c16="http://schemas.microsoft.com/office/drawing/2014/chart" uri="{C3380CC4-5D6E-409C-BE32-E72D297353CC}">
                <c16:uniqueId val="{0000008B-2993-41DE-A2CB-63102DE87051}"/>
              </c:ext>
            </c:extLst>
          </c:dPt>
          <c:dPt>
            <c:idx val="42"/>
            <c:invertIfNegative val="1"/>
            <c:bubble3D val="0"/>
            <c:spPr>
              <a:solidFill>
                <a:srgbClr val="AEABAB"/>
              </a:solidFill>
            </c:spPr>
            <c:extLst>
              <c:ext xmlns:c16="http://schemas.microsoft.com/office/drawing/2014/chart" uri="{C3380CC4-5D6E-409C-BE32-E72D297353CC}">
                <c16:uniqueId val="{0000008D-2993-41DE-A2CB-63102DE87051}"/>
              </c:ext>
            </c:extLst>
          </c:dPt>
          <c:dPt>
            <c:idx val="43"/>
            <c:invertIfNegative val="1"/>
            <c:bubble3D val="0"/>
            <c:spPr>
              <a:solidFill>
                <a:srgbClr val="AEABAB"/>
              </a:solidFill>
            </c:spPr>
            <c:extLst>
              <c:ext xmlns:c16="http://schemas.microsoft.com/office/drawing/2014/chart" uri="{C3380CC4-5D6E-409C-BE32-E72D297353CC}">
                <c16:uniqueId val="{0000008F-2993-41DE-A2CB-63102DE87051}"/>
              </c:ext>
            </c:extLst>
          </c:dPt>
          <c:dPt>
            <c:idx val="44"/>
            <c:invertIfNegative val="1"/>
            <c:bubble3D val="0"/>
            <c:spPr>
              <a:solidFill>
                <a:srgbClr val="AEABAB"/>
              </a:solidFill>
            </c:spPr>
            <c:extLst>
              <c:ext xmlns:c16="http://schemas.microsoft.com/office/drawing/2014/chart" uri="{C3380CC4-5D6E-409C-BE32-E72D297353CC}">
                <c16:uniqueId val="{00000091-2993-41DE-A2CB-63102DE87051}"/>
              </c:ext>
            </c:extLst>
          </c:dPt>
          <c:dPt>
            <c:idx val="45"/>
            <c:invertIfNegative val="1"/>
            <c:bubble3D val="0"/>
            <c:spPr>
              <a:solidFill>
                <a:srgbClr val="AEABAB"/>
              </a:solidFill>
            </c:spPr>
            <c:extLst>
              <c:ext xmlns:c16="http://schemas.microsoft.com/office/drawing/2014/chart" uri="{C3380CC4-5D6E-409C-BE32-E72D297353CC}">
                <c16:uniqueId val="{00000093-2993-41DE-A2CB-63102DE87051}"/>
              </c:ext>
            </c:extLst>
          </c:dPt>
          <c:dPt>
            <c:idx val="46"/>
            <c:invertIfNegative val="1"/>
            <c:bubble3D val="0"/>
            <c:spPr>
              <a:solidFill>
                <a:srgbClr val="AEABAB"/>
              </a:solidFill>
            </c:spPr>
            <c:extLst>
              <c:ext xmlns:c16="http://schemas.microsoft.com/office/drawing/2014/chart" uri="{C3380CC4-5D6E-409C-BE32-E72D297353CC}">
                <c16:uniqueId val="{00000095-2993-41DE-A2CB-63102DE87051}"/>
              </c:ext>
            </c:extLst>
          </c:dPt>
          <c:dPt>
            <c:idx val="47"/>
            <c:invertIfNegative val="1"/>
            <c:bubble3D val="0"/>
            <c:spPr>
              <a:solidFill>
                <a:srgbClr val="AEABAB"/>
              </a:solidFill>
            </c:spPr>
            <c:extLst>
              <c:ext xmlns:c16="http://schemas.microsoft.com/office/drawing/2014/chart" uri="{C3380CC4-5D6E-409C-BE32-E72D297353CC}">
                <c16:uniqueId val="{00000097-2993-41DE-A2CB-63102DE87051}"/>
              </c:ext>
            </c:extLst>
          </c:dPt>
          <c:dPt>
            <c:idx val="48"/>
            <c:invertIfNegative val="1"/>
            <c:bubble3D val="0"/>
            <c:spPr>
              <a:solidFill>
                <a:srgbClr val="AEABAB"/>
              </a:solidFill>
            </c:spPr>
            <c:extLst>
              <c:ext xmlns:c16="http://schemas.microsoft.com/office/drawing/2014/chart" uri="{C3380CC4-5D6E-409C-BE32-E72D297353CC}">
                <c16:uniqueId val="{00000099-2993-41DE-A2CB-63102DE87051}"/>
              </c:ext>
            </c:extLst>
          </c:dPt>
          <c:dPt>
            <c:idx val="49"/>
            <c:invertIfNegative val="1"/>
            <c:bubble3D val="0"/>
            <c:spPr>
              <a:solidFill>
                <a:srgbClr val="AEABAB"/>
              </a:solidFill>
            </c:spPr>
            <c:extLst>
              <c:ext xmlns:c16="http://schemas.microsoft.com/office/drawing/2014/chart" uri="{C3380CC4-5D6E-409C-BE32-E72D297353CC}">
                <c16:uniqueId val="{0000009B-2993-41DE-A2CB-63102DE87051}"/>
              </c:ext>
            </c:extLst>
          </c:dPt>
          <c:dPt>
            <c:idx val="50"/>
            <c:invertIfNegative val="1"/>
            <c:bubble3D val="0"/>
            <c:spPr>
              <a:solidFill>
                <a:srgbClr val="AEABAB"/>
              </a:solidFill>
            </c:spPr>
            <c:extLst>
              <c:ext xmlns:c16="http://schemas.microsoft.com/office/drawing/2014/chart" uri="{C3380CC4-5D6E-409C-BE32-E72D297353CC}">
                <c16:uniqueId val="{0000009D-2993-41DE-A2CB-63102DE87051}"/>
              </c:ext>
            </c:extLst>
          </c:dPt>
          <c:dPt>
            <c:idx val="51"/>
            <c:invertIfNegative val="1"/>
            <c:bubble3D val="0"/>
            <c:spPr>
              <a:solidFill>
                <a:srgbClr val="AEABAB"/>
              </a:solidFill>
            </c:spPr>
            <c:extLst>
              <c:ext xmlns:c16="http://schemas.microsoft.com/office/drawing/2014/chart" uri="{C3380CC4-5D6E-409C-BE32-E72D297353CC}">
                <c16:uniqueId val="{0000009F-2993-41DE-A2CB-63102DE87051}"/>
              </c:ext>
            </c:extLst>
          </c:dPt>
          <c:dPt>
            <c:idx val="52"/>
            <c:invertIfNegative val="1"/>
            <c:bubble3D val="0"/>
            <c:spPr>
              <a:solidFill>
                <a:srgbClr val="AEABAB"/>
              </a:solidFill>
            </c:spPr>
            <c:extLst>
              <c:ext xmlns:c16="http://schemas.microsoft.com/office/drawing/2014/chart" uri="{C3380CC4-5D6E-409C-BE32-E72D297353CC}">
                <c16:uniqueId val="{000000A1-2993-41DE-A2CB-63102DE87051}"/>
              </c:ext>
            </c:extLst>
          </c:dPt>
          <c:dPt>
            <c:idx val="53"/>
            <c:invertIfNegative val="1"/>
            <c:bubble3D val="0"/>
            <c:spPr>
              <a:solidFill>
                <a:srgbClr val="AEABAB"/>
              </a:solidFill>
            </c:spPr>
            <c:extLst>
              <c:ext xmlns:c16="http://schemas.microsoft.com/office/drawing/2014/chart" uri="{C3380CC4-5D6E-409C-BE32-E72D297353CC}">
                <c16:uniqueId val="{000000A3-2993-41DE-A2CB-63102DE87051}"/>
              </c:ext>
            </c:extLst>
          </c:dPt>
          <c:dPt>
            <c:idx val="54"/>
            <c:invertIfNegative val="0"/>
            <c:bubble3D val="0"/>
            <c:spPr>
              <a:solidFill>
                <a:srgbClr val="AEABAB"/>
              </a:solidFill>
            </c:spPr>
            <c:extLst>
              <c:ext xmlns:c16="http://schemas.microsoft.com/office/drawing/2014/chart" uri="{C3380CC4-5D6E-409C-BE32-E72D297353CC}">
                <c16:uniqueId val="{00000072-C76F-4230-900D-40618C09729F}"/>
              </c:ext>
            </c:extLst>
          </c:dPt>
          <c:dPt>
            <c:idx val="55"/>
            <c:invertIfNegative val="0"/>
            <c:bubble3D val="0"/>
            <c:spPr>
              <a:solidFill>
                <a:srgbClr val="AEABAB"/>
              </a:solidFill>
            </c:spPr>
            <c:extLst>
              <c:ext xmlns:c16="http://schemas.microsoft.com/office/drawing/2014/chart" uri="{C3380CC4-5D6E-409C-BE32-E72D297353CC}">
                <c16:uniqueId val="{00000074-C76F-4230-900D-40618C09729F}"/>
              </c:ext>
            </c:extLst>
          </c:dPt>
          <c:dPt>
            <c:idx val="56"/>
            <c:invertIfNegative val="0"/>
            <c:bubble3D val="0"/>
            <c:spPr>
              <a:solidFill>
                <a:srgbClr val="AEABAB"/>
              </a:solidFill>
            </c:spPr>
            <c:extLst>
              <c:ext xmlns:c16="http://schemas.microsoft.com/office/drawing/2014/chart" uri="{C3380CC4-5D6E-409C-BE32-E72D297353CC}">
                <c16:uniqueId val="{00000076-C76F-4230-900D-40618C09729F}"/>
              </c:ext>
            </c:extLst>
          </c:dPt>
          <c:dPt>
            <c:idx val="57"/>
            <c:invertIfNegative val="0"/>
            <c:bubble3D val="0"/>
            <c:spPr>
              <a:solidFill>
                <a:srgbClr val="AEABAB"/>
              </a:solidFill>
            </c:spPr>
            <c:extLst>
              <c:ext xmlns:c16="http://schemas.microsoft.com/office/drawing/2014/chart" uri="{C3380CC4-5D6E-409C-BE32-E72D297353CC}">
                <c16:uniqueId val="{00000078-C76F-4230-900D-40618C09729F}"/>
              </c:ext>
            </c:extLst>
          </c:dPt>
          <c:dPt>
            <c:idx val="58"/>
            <c:invertIfNegative val="0"/>
            <c:bubble3D val="0"/>
            <c:spPr>
              <a:solidFill>
                <a:srgbClr val="AEABAB"/>
              </a:solidFill>
            </c:spPr>
            <c:extLst>
              <c:ext xmlns:c16="http://schemas.microsoft.com/office/drawing/2014/chart" uri="{C3380CC4-5D6E-409C-BE32-E72D297353CC}">
                <c16:uniqueId val="{0000007A-C76F-4230-900D-40618C09729F}"/>
              </c:ext>
            </c:extLst>
          </c:dPt>
          <c:dPt>
            <c:idx val="59"/>
            <c:invertIfNegative val="0"/>
            <c:bubble3D val="0"/>
            <c:spPr>
              <a:solidFill>
                <a:srgbClr val="AEABAB"/>
              </a:solidFill>
            </c:spPr>
            <c:extLst>
              <c:ext xmlns:c16="http://schemas.microsoft.com/office/drawing/2014/chart" uri="{C3380CC4-5D6E-409C-BE32-E72D297353CC}">
                <c16:uniqueId val="{0000007C-C76F-4230-900D-40618C09729F}"/>
              </c:ext>
            </c:extLst>
          </c:dPt>
          <c:dPt>
            <c:idx val="60"/>
            <c:invertIfNegative val="0"/>
            <c:bubble3D val="0"/>
            <c:spPr>
              <a:solidFill>
                <a:srgbClr val="AEABAB"/>
              </a:solidFill>
            </c:spPr>
            <c:extLst>
              <c:ext xmlns:c16="http://schemas.microsoft.com/office/drawing/2014/chart" uri="{C3380CC4-5D6E-409C-BE32-E72D297353CC}">
                <c16:uniqueId val="{0000007E-C76F-4230-900D-40618C09729F}"/>
              </c:ext>
            </c:extLst>
          </c:dPt>
          <c:dPt>
            <c:idx val="61"/>
            <c:invertIfNegative val="0"/>
            <c:bubble3D val="0"/>
            <c:spPr>
              <a:solidFill>
                <a:srgbClr val="AEABAB"/>
              </a:solidFill>
            </c:spPr>
            <c:extLst>
              <c:ext xmlns:c16="http://schemas.microsoft.com/office/drawing/2014/chart" uri="{C3380CC4-5D6E-409C-BE32-E72D297353CC}">
                <c16:uniqueId val="{00000080-C76F-4230-900D-40618C09729F}"/>
              </c:ext>
            </c:extLst>
          </c:dPt>
          <c:dPt>
            <c:idx val="62"/>
            <c:invertIfNegative val="0"/>
            <c:bubble3D val="0"/>
            <c:spPr>
              <a:solidFill>
                <a:srgbClr val="AEABAB"/>
              </a:solidFill>
            </c:spPr>
            <c:extLst>
              <c:ext xmlns:c16="http://schemas.microsoft.com/office/drawing/2014/chart" uri="{C3380CC4-5D6E-409C-BE32-E72D297353CC}">
                <c16:uniqueId val="{00000082-C76F-4230-900D-40618C09729F}"/>
              </c:ext>
            </c:extLst>
          </c:dPt>
          <c:dPt>
            <c:idx val="63"/>
            <c:invertIfNegative val="0"/>
            <c:bubble3D val="0"/>
            <c:spPr>
              <a:solidFill>
                <a:srgbClr val="AEABAB"/>
              </a:solidFill>
            </c:spPr>
            <c:extLst>
              <c:ext xmlns:c16="http://schemas.microsoft.com/office/drawing/2014/chart" uri="{C3380CC4-5D6E-409C-BE32-E72D297353CC}">
                <c16:uniqueId val="{00000084-C76F-4230-900D-40618C09729F}"/>
              </c:ext>
            </c:extLst>
          </c:dPt>
          <c:dPt>
            <c:idx val="64"/>
            <c:invertIfNegative val="0"/>
            <c:bubble3D val="0"/>
            <c:spPr>
              <a:solidFill>
                <a:srgbClr val="AEABAB"/>
              </a:solidFill>
            </c:spPr>
            <c:extLst>
              <c:ext xmlns:c16="http://schemas.microsoft.com/office/drawing/2014/chart" uri="{C3380CC4-5D6E-409C-BE32-E72D297353CC}">
                <c16:uniqueId val="{00000086-C76F-4230-900D-40618C09729F}"/>
              </c:ext>
            </c:extLst>
          </c:dPt>
          <c:dPt>
            <c:idx val="65"/>
            <c:invertIfNegative val="0"/>
            <c:bubble3D val="0"/>
            <c:spPr>
              <a:solidFill>
                <a:srgbClr val="AEABAB"/>
              </a:solidFill>
            </c:spPr>
            <c:extLst>
              <c:ext xmlns:c16="http://schemas.microsoft.com/office/drawing/2014/chart" uri="{C3380CC4-5D6E-409C-BE32-E72D297353CC}">
                <c16:uniqueId val="{00000088-C76F-4230-900D-40618C09729F}"/>
              </c:ext>
            </c:extLst>
          </c:dPt>
          <c:dPt>
            <c:idx val="66"/>
            <c:invertIfNegative val="0"/>
            <c:bubble3D val="0"/>
            <c:spPr>
              <a:solidFill>
                <a:srgbClr val="AEABAB"/>
              </a:solidFill>
            </c:spPr>
            <c:extLst>
              <c:ext xmlns:c16="http://schemas.microsoft.com/office/drawing/2014/chart" uri="{C3380CC4-5D6E-409C-BE32-E72D297353CC}">
                <c16:uniqueId val="{0000008A-C76F-4230-900D-40618C09729F}"/>
              </c:ext>
            </c:extLst>
          </c:dPt>
          <c:dPt>
            <c:idx val="67"/>
            <c:invertIfNegative val="0"/>
            <c:bubble3D val="0"/>
            <c:spPr>
              <a:solidFill>
                <a:srgbClr val="AEABAB"/>
              </a:solidFill>
            </c:spPr>
            <c:extLst>
              <c:ext xmlns:c16="http://schemas.microsoft.com/office/drawing/2014/chart" uri="{C3380CC4-5D6E-409C-BE32-E72D297353CC}">
                <c16:uniqueId val="{0000008C-C76F-4230-900D-40618C09729F}"/>
              </c:ext>
            </c:extLst>
          </c:dPt>
          <c:dPt>
            <c:idx val="68"/>
            <c:invertIfNegative val="0"/>
            <c:bubble3D val="0"/>
            <c:spPr>
              <a:solidFill>
                <a:srgbClr val="AEABAB"/>
              </a:solidFill>
            </c:spPr>
            <c:extLst>
              <c:ext xmlns:c16="http://schemas.microsoft.com/office/drawing/2014/chart" uri="{C3380CC4-5D6E-409C-BE32-E72D297353CC}">
                <c16:uniqueId val="{0000008E-C76F-4230-900D-40618C09729F}"/>
              </c:ext>
            </c:extLst>
          </c:dPt>
          <c:dPt>
            <c:idx val="69"/>
            <c:invertIfNegative val="0"/>
            <c:bubble3D val="0"/>
            <c:spPr>
              <a:solidFill>
                <a:srgbClr val="AEABAB"/>
              </a:solidFill>
            </c:spPr>
            <c:extLst>
              <c:ext xmlns:c16="http://schemas.microsoft.com/office/drawing/2014/chart" uri="{C3380CC4-5D6E-409C-BE32-E72D297353CC}">
                <c16:uniqueId val="{00000090-C76F-4230-900D-40618C09729F}"/>
              </c:ext>
            </c:extLst>
          </c:dPt>
          <c:dPt>
            <c:idx val="70"/>
            <c:invertIfNegative val="0"/>
            <c:bubble3D val="0"/>
            <c:spPr>
              <a:solidFill>
                <a:srgbClr val="AEABAB"/>
              </a:solidFill>
            </c:spPr>
            <c:extLst>
              <c:ext xmlns:c16="http://schemas.microsoft.com/office/drawing/2014/chart" uri="{C3380CC4-5D6E-409C-BE32-E72D297353CC}">
                <c16:uniqueId val="{00000092-C76F-4230-900D-40618C09729F}"/>
              </c:ext>
            </c:extLst>
          </c:dPt>
          <c:dPt>
            <c:idx val="71"/>
            <c:invertIfNegative val="0"/>
            <c:bubble3D val="0"/>
            <c:spPr>
              <a:solidFill>
                <a:srgbClr val="AEABAB"/>
              </a:solidFill>
            </c:spPr>
            <c:extLst>
              <c:ext xmlns:c16="http://schemas.microsoft.com/office/drawing/2014/chart" uri="{C3380CC4-5D6E-409C-BE32-E72D297353CC}">
                <c16:uniqueId val="{00000094-C76F-4230-900D-40618C09729F}"/>
              </c:ext>
            </c:extLst>
          </c:dPt>
          <c:dPt>
            <c:idx val="72"/>
            <c:invertIfNegative val="0"/>
            <c:bubble3D val="0"/>
            <c:spPr>
              <a:solidFill>
                <a:srgbClr val="AEABAB"/>
              </a:solidFill>
            </c:spPr>
            <c:extLst>
              <c:ext xmlns:c16="http://schemas.microsoft.com/office/drawing/2014/chart" uri="{C3380CC4-5D6E-409C-BE32-E72D297353CC}">
                <c16:uniqueId val="{00000096-C76F-4230-900D-40618C09729F}"/>
              </c:ext>
            </c:extLst>
          </c:dPt>
          <c:dPt>
            <c:idx val="73"/>
            <c:invertIfNegative val="0"/>
            <c:bubble3D val="0"/>
            <c:spPr>
              <a:solidFill>
                <a:srgbClr val="AEABAB"/>
              </a:solidFill>
            </c:spPr>
            <c:extLst>
              <c:ext xmlns:c16="http://schemas.microsoft.com/office/drawing/2014/chart" uri="{C3380CC4-5D6E-409C-BE32-E72D297353CC}">
                <c16:uniqueId val="{00000098-C76F-4230-900D-40618C09729F}"/>
              </c:ext>
            </c:extLst>
          </c:dPt>
          <c:dPt>
            <c:idx val="74"/>
            <c:invertIfNegative val="0"/>
            <c:bubble3D val="0"/>
            <c:spPr>
              <a:solidFill>
                <a:srgbClr val="AEABAB"/>
              </a:solidFill>
            </c:spPr>
            <c:extLst>
              <c:ext xmlns:c16="http://schemas.microsoft.com/office/drawing/2014/chart" uri="{C3380CC4-5D6E-409C-BE32-E72D297353CC}">
                <c16:uniqueId val="{0000009A-C76F-4230-900D-40618C09729F}"/>
              </c:ext>
            </c:extLst>
          </c:dPt>
          <c:dPt>
            <c:idx val="75"/>
            <c:invertIfNegative val="0"/>
            <c:bubble3D val="0"/>
            <c:spPr>
              <a:solidFill>
                <a:srgbClr val="AEABAB"/>
              </a:solidFill>
            </c:spPr>
            <c:extLst>
              <c:ext xmlns:c16="http://schemas.microsoft.com/office/drawing/2014/chart" uri="{C3380CC4-5D6E-409C-BE32-E72D297353CC}">
                <c16:uniqueId val="{0000009C-C76F-4230-900D-40618C09729F}"/>
              </c:ext>
            </c:extLst>
          </c:dPt>
          <c:dPt>
            <c:idx val="76"/>
            <c:invertIfNegative val="0"/>
            <c:bubble3D val="0"/>
            <c:spPr>
              <a:solidFill>
                <a:srgbClr val="AEABAB"/>
              </a:solidFill>
            </c:spPr>
            <c:extLst>
              <c:ext xmlns:c16="http://schemas.microsoft.com/office/drawing/2014/chart" uri="{C3380CC4-5D6E-409C-BE32-E72D297353CC}">
                <c16:uniqueId val="{0000009E-C76F-4230-900D-40618C09729F}"/>
              </c:ext>
            </c:extLst>
          </c:dPt>
          <c:dPt>
            <c:idx val="77"/>
            <c:invertIfNegative val="0"/>
            <c:bubble3D val="0"/>
            <c:spPr>
              <a:solidFill>
                <a:srgbClr val="AEABAB"/>
              </a:solidFill>
            </c:spPr>
            <c:extLst>
              <c:ext xmlns:c16="http://schemas.microsoft.com/office/drawing/2014/chart" uri="{C3380CC4-5D6E-409C-BE32-E72D297353CC}">
                <c16:uniqueId val="{000000A0-C76F-4230-900D-40618C09729F}"/>
              </c:ext>
            </c:extLst>
          </c:dPt>
          <c:dPt>
            <c:idx val="78"/>
            <c:invertIfNegative val="0"/>
            <c:bubble3D val="0"/>
            <c:spPr>
              <a:solidFill>
                <a:srgbClr val="AEABAB"/>
              </a:solidFill>
            </c:spPr>
            <c:extLst>
              <c:ext xmlns:c16="http://schemas.microsoft.com/office/drawing/2014/chart" uri="{C3380CC4-5D6E-409C-BE32-E72D297353CC}">
                <c16:uniqueId val="{000000A2-C76F-4230-900D-40618C09729F}"/>
              </c:ext>
            </c:extLst>
          </c:dPt>
          <c:dPt>
            <c:idx val="79"/>
            <c:invertIfNegative val="0"/>
            <c:bubble3D val="0"/>
            <c:spPr>
              <a:solidFill>
                <a:srgbClr val="AEABAB"/>
              </a:solidFill>
            </c:spPr>
            <c:extLst>
              <c:ext xmlns:c16="http://schemas.microsoft.com/office/drawing/2014/chart" uri="{C3380CC4-5D6E-409C-BE32-E72D297353CC}">
                <c16:uniqueId val="{000000A4-C76F-4230-900D-40618C09729F}"/>
              </c:ext>
            </c:extLst>
          </c:dPt>
          <c:dPt>
            <c:idx val="80"/>
            <c:invertIfNegative val="0"/>
            <c:bubble3D val="0"/>
            <c:spPr>
              <a:solidFill>
                <a:srgbClr val="AEABAB"/>
              </a:solidFill>
            </c:spPr>
            <c:extLst>
              <c:ext xmlns:c16="http://schemas.microsoft.com/office/drawing/2014/chart" uri="{C3380CC4-5D6E-409C-BE32-E72D297353CC}">
                <c16:uniqueId val="{000000A6-C76F-4230-900D-40618C09729F}"/>
              </c:ext>
            </c:extLst>
          </c:dPt>
          <c:dPt>
            <c:idx val="81"/>
            <c:invertIfNegative val="1"/>
            <c:bubble3D val="0"/>
            <c:spPr>
              <a:solidFill>
                <a:srgbClr val="AEABAB"/>
              </a:solidFill>
            </c:spPr>
            <c:extLst>
              <c:ext xmlns:c16="http://schemas.microsoft.com/office/drawing/2014/chart" uri="{C3380CC4-5D6E-409C-BE32-E72D297353CC}">
                <c16:uniqueId val="{000000A5-2993-41DE-A2CB-63102DE87051}"/>
              </c:ext>
            </c:extLst>
          </c:dPt>
          <c:dPt>
            <c:idx val="82"/>
            <c:invertIfNegative val="1"/>
            <c:bubble3D val="0"/>
            <c:spPr>
              <a:solidFill>
                <a:srgbClr val="AEABAB"/>
              </a:solidFill>
            </c:spPr>
            <c:extLst>
              <c:ext xmlns:c16="http://schemas.microsoft.com/office/drawing/2014/chart" uri="{C3380CC4-5D6E-409C-BE32-E72D297353CC}">
                <c16:uniqueId val="{000000A7-2993-41DE-A2CB-63102DE87051}"/>
              </c:ext>
            </c:extLst>
          </c:dPt>
          <c:dPt>
            <c:idx val="83"/>
            <c:invertIfNegative val="1"/>
            <c:bubble3D val="0"/>
            <c:spPr>
              <a:solidFill>
                <a:srgbClr val="AEABAB"/>
              </a:solidFill>
            </c:spPr>
            <c:extLst>
              <c:ext xmlns:c16="http://schemas.microsoft.com/office/drawing/2014/chart" uri="{C3380CC4-5D6E-409C-BE32-E72D297353CC}">
                <c16:uniqueId val="{000000A9-2993-41DE-A2CB-63102DE87051}"/>
              </c:ext>
            </c:extLst>
          </c:dPt>
          <c:dPt>
            <c:idx val="84"/>
            <c:invertIfNegative val="1"/>
            <c:bubble3D val="0"/>
            <c:spPr>
              <a:solidFill>
                <a:srgbClr val="AEABAB"/>
              </a:solidFill>
            </c:spPr>
            <c:extLst>
              <c:ext xmlns:c16="http://schemas.microsoft.com/office/drawing/2014/chart" uri="{C3380CC4-5D6E-409C-BE32-E72D297353CC}">
                <c16:uniqueId val="{000000AB-2993-41DE-A2CB-63102DE87051}"/>
              </c:ext>
            </c:extLst>
          </c:dPt>
          <c:dPt>
            <c:idx val="85"/>
            <c:invertIfNegative val="1"/>
            <c:bubble3D val="0"/>
            <c:spPr>
              <a:solidFill>
                <a:srgbClr val="AEABAB"/>
              </a:solidFill>
            </c:spPr>
            <c:extLst>
              <c:ext xmlns:c16="http://schemas.microsoft.com/office/drawing/2014/chart" uri="{C3380CC4-5D6E-409C-BE32-E72D297353CC}">
                <c16:uniqueId val="{000000AD-2993-41DE-A2CB-63102DE87051}"/>
              </c:ext>
            </c:extLst>
          </c:dPt>
          <c:dPt>
            <c:idx val="86"/>
            <c:invertIfNegative val="1"/>
            <c:bubble3D val="0"/>
            <c:spPr>
              <a:solidFill>
                <a:srgbClr val="AEABAB"/>
              </a:solidFill>
            </c:spPr>
            <c:extLst>
              <c:ext xmlns:c16="http://schemas.microsoft.com/office/drawing/2014/chart" uri="{C3380CC4-5D6E-409C-BE32-E72D297353CC}">
                <c16:uniqueId val="{000000AF-2993-41DE-A2CB-63102DE87051}"/>
              </c:ext>
            </c:extLst>
          </c:dPt>
          <c:dPt>
            <c:idx val="87"/>
            <c:invertIfNegative val="1"/>
            <c:bubble3D val="0"/>
            <c:spPr>
              <a:solidFill>
                <a:srgbClr val="AEABAB"/>
              </a:solidFill>
            </c:spPr>
            <c:extLst>
              <c:ext xmlns:c16="http://schemas.microsoft.com/office/drawing/2014/chart" uri="{C3380CC4-5D6E-409C-BE32-E72D297353CC}">
                <c16:uniqueId val="{000000B1-2993-41DE-A2CB-63102DE87051}"/>
              </c:ext>
            </c:extLst>
          </c:dPt>
          <c:dPt>
            <c:idx val="88"/>
            <c:invertIfNegative val="1"/>
            <c:bubble3D val="0"/>
            <c:spPr>
              <a:solidFill>
                <a:srgbClr val="AEABAB"/>
              </a:solidFill>
            </c:spPr>
            <c:extLst>
              <c:ext xmlns:c16="http://schemas.microsoft.com/office/drawing/2014/chart" uri="{C3380CC4-5D6E-409C-BE32-E72D297353CC}">
                <c16:uniqueId val="{000000B3-2993-41DE-A2CB-63102DE87051}"/>
              </c:ext>
            </c:extLst>
          </c:dPt>
          <c:dPt>
            <c:idx val="89"/>
            <c:invertIfNegative val="1"/>
            <c:bubble3D val="0"/>
            <c:spPr>
              <a:solidFill>
                <a:srgbClr val="AEABAB"/>
              </a:solidFill>
            </c:spPr>
            <c:extLst>
              <c:ext xmlns:c16="http://schemas.microsoft.com/office/drawing/2014/chart" uri="{C3380CC4-5D6E-409C-BE32-E72D297353CC}">
                <c16:uniqueId val="{000000B5-2993-41DE-A2CB-63102DE87051}"/>
              </c:ext>
            </c:extLst>
          </c:dPt>
          <c:dPt>
            <c:idx val="90"/>
            <c:invertIfNegative val="1"/>
            <c:bubble3D val="0"/>
            <c:spPr>
              <a:solidFill>
                <a:srgbClr val="AEABAB"/>
              </a:solidFill>
            </c:spPr>
            <c:extLst>
              <c:ext xmlns:c16="http://schemas.microsoft.com/office/drawing/2014/chart" uri="{C3380CC4-5D6E-409C-BE32-E72D297353CC}">
                <c16:uniqueId val="{000000B7-2993-41DE-A2CB-63102DE87051}"/>
              </c:ext>
            </c:extLst>
          </c:dPt>
          <c:dPt>
            <c:idx val="91"/>
            <c:invertIfNegative val="1"/>
            <c:bubble3D val="0"/>
            <c:spPr>
              <a:solidFill>
                <a:srgbClr val="AEABAB"/>
              </a:solidFill>
            </c:spPr>
            <c:extLst>
              <c:ext xmlns:c16="http://schemas.microsoft.com/office/drawing/2014/chart" uri="{C3380CC4-5D6E-409C-BE32-E72D297353CC}">
                <c16:uniqueId val="{000000B9-2993-41DE-A2CB-63102DE87051}"/>
              </c:ext>
            </c:extLst>
          </c:dPt>
          <c:dPt>
            <c:idx val="92"/>
            <c:invertIfNegative val="1"/>
            <c:bubble3D val="0"/>
            <c:spPr>
              <a:solidFill>
                <a:srgbClr val="AEABAB"/>
              </a:solidFill>
            </c:spPr>
            <c:extLst>
              <c:ext xmlns:c16="http://schemas.microsoft.com/office/drawing/2014/chart" uri="{C3380CC4-5D6E-409C-BE32-E72D297353CC}">
                <c16:uniqueId val="{000000BB-2993-41DE-A2CB-63102DE87051}"/>
              </c:ext>
            </c:extLst>
          </c:dPt>
          <c:dPt>
            <c:idx val="93"/>
            <c:invertIfNegative val="1"/>
            <c:bubble3D val="0"/>
            <c:spPr>
              <a:solidFill>
                <a:srgbClr val="AEABAB"/>
              </a:solidFill>
            </c:spPr>
            <c:extLst>
              <c:ext xmlns:c16="http://schemas.microsoft.com/office/drawing/2014/chart" uri="{C3380CC4-5D6E-409C-BE32-E72D297353CC}">
                <c16:uniqueId val="{000000BD-2993-41DE-A2CB-63102DE87051}"/>
              </c:ext>
            </c:extLst>
          </c:dPt>
          <c:dPt>
            <c:idx val="94"/>
            <c:invertIfNegative val="1"/>
            <c:bubble3D val="0"/>
            <c:spPr>
              <a:solidFill>
                <a:srgbClr val="AEABAB"/>
              </a:solidFill>
            </c:spPr>
            <c:extLst>
              <c:ext xmlns:c16="http://schemas.microsoft.com/office/drawing/2014/chart" uri="{C3380CC4-5D6E-409C-BE32-E72D297353CC}">
                <c16:uniqueId val="{000000BF-2993-41DE-A2CB-63102DE87051}"/>
              </c:ext>
            </c:extLst>
          </c:dPt>
          <c:dPt>
            <c:idx val="95"/>
            <c:invertIfNegative val="1"/>
            <c:bubble3D val="0"/>
            <c:spPr>
              <a:solidFill>
                <a:srgbClr val="AEABAB"/>
              </a:solidFill>
            </c:spPr>
            <c:extLst>
              <c:ext xmlns:c16="http://schemas.microsoft.com/office/drawing/2014/chart" uri="{C3380CC4-5D6E-409C-BE32-E72D297353CC}">
                <c16:uniqueId val="{000000C1-2993-41DE-A2CB-63102DE87051}"/>
              </c:ext>
            </c:extLst>
          </c:dPt>
          <c:dPt>
            <c:idx val="96"/>
            <c:invertIfNegative val="1"/>
            <c:bubble3D val="0"/>
            <c:spPr>
              <a:solidFill>
                <a:srgbClr val="AEABAB"/>
              </a:solidFill>
            </c:spPr>
            <c:extLst>
              <c:ext xmlns:c16="http://schemas.microsoft.com/office/drawing/2014/chart" uri="{C3380CC4-5D6E-409C-BE32-E72D297353CC}">
                <c16:uniqueId val="{000000C3-2993-41DE-A2CB-63102DE87051}"/>
              </c:ext>
            </c:extLst>
          </c:dPt>
          <c:dPt>
            <c:idx val="97"/>
            <c:invertIfNegative val="1"/>
            <c:bubble3D val="0"/>
            <c:spPr>
              <a:solidFill>
                <a:srgbClr val="AEABAB"/>
              </a:solidFill>
            </c:spPr>
            <c:extLst>
              <c:ext xmlns:c16="http://schemas.microsoft.com/office/drawing/2014/chart" uri="{C3380CC4-5D6E-409C-BE32-E72D297353CC}">
                <c16:uniqueId val="{000000C5-2993-41DE-A2CB-63102DE87051}"/>
              </c:ext>
            </c:extLst>
          </c:dPt>
          <c:dPt>
            <c:idx val="98"/>
            <c:invertIfNegative val="1"/>
            <c:bubble3D val="0"/>
            <c:spPr>
              <a:solidFill>
                <a:srgbClr val="AEABAB"/>
              </a:solidFill>
            </c:spPr>
            <c:extLst>
              <c:ext xmlns:c16="http://schemas.microsoft.com/office/drawing/2014/chart" uri="{C3380CC4-5D6E-409C-BE32-E72D297353CC}">
                <c16:uniqueId val="{000000C7-2993-41DE-A2CB-63102DE87051}"/>
              </c:ext>
            </c:extLst>
          </c:dPt>
          <c:dPt>
            <c:idx val="99"/>
            <c:invertIfNegative val="1"/>
            <c:bubble3D val="0"/>
            <c:spPr>
              <a:solidFill>
                <a:srgbClr val="AEABAB"/>
              </a:solidFill>
            </c:spPr>
            <c:extLst>
              <c:ext xmlns:c16="http://schemas.microsoft.com/office/drawing/2014/chart" uri="{C3380CC4-5D6E-409C-BE32-E72D297353CC}">
                <c16:uniqueId val="{000000C9-2993-41DE-A2CB-63102DE87051}"/>
              </c:ext>
            </c:extLst>
          </c:dPt>
          <c:dPt>
            <c:idx val="100"/>
            <c:invertIfNegative val="1"/>
            <c:bubble3D val="0"/>
            <c:spPr>
              <a:solidFill>
                <a:srgbClr val="AEABAB"/>
              </a:solidFill>
            </c:spPr>
            <c:extLst>
              <c:ext xmlns:c16="http://schemas.microsoft.com/office/drawing/2014/chart" uri="{C3380CC4-5D6E-409C-BE32-E72D297353CC}">
                <c16:uniqueId val="{000000CB-2993-41DE-A2CB-63102DE87051}"/>
              </c:ext>
            </c:extLst>
          </c:dPt>
          <c:dPt>
            <c:idx val="101"/>
            <c:invertIfNegative val="1"/>
            <c:bubble3D val="0"/>
            <c:spPr>
              <a:solidFill>
                <a:srgbClr val="AEABAB"/>
              </a:solidFill>
            </c:spPr>
            <c:extLst>
              <c:ext xmlns:c16="http://schemas.microsoft.com/office/drawing/2014/chart" uri="{C3380CC4-5D6E-409C-BE32-E72D297353CC}">
                <c16:uniqueId val="{000000CD-2993-41DE-A2CB-63102DE87051}"/>
              </c:ext>
            </c:extLst>
          </c:dPt>
          <c:dPt>
            <c:idx val="102"/>
            <c:invertIfNegative val="1"/>
            <c:bubble3D val="0"/>
            <c:spPr>
              <a:solidFill>
                <a:srgbClr val="AEABAB"/>
              </a:solidFill>
            </c:spPr>
            <c:extLst>
              <c:ext xmlns:c16="http://schemas.microsoft.com/office/drawing/2014/chart" uri="{C3380CC4-5D6E-409C-BE32-E72D297353CC}">
                <c16:uniqueId val="{000000CF-2993-41DE-A2CB-63102DE87051}"/>
              </c:ext>
            </c:extLst>
          </c:dPt>
          <c:dPt>
            <c:idx val="103"/>
            <c:invertIfNegative val="1"/>
            <c:bubble3D val="0"/>
            <c:spPr>
              <a:solidFill>
                <a:srgbClr val="AEABAB"/>
              </a:solidFill>
            </c:spPr>
            <c:extLst>
              <c:ext xmlns:c16="http://schemas.microsoft.com/office/drawing/2014/chart" uri="{C3380CC4-5D6E-409C-BE32-E72D297353CC}">
                <c16:uniqueId val="{000000D1-2993-41DE-A2CB-63102DE87051}"/>
              </c:ext>
            </c:extLst>
          </c:dPt>
          <c:dPt>
            <c:idx val="104"/>
            <c:invertIfNegative val="1"/>
            <c:bubble3D val="0"/>
            <c:spPr>
              <a:solidFill>
                <a:srgbClr val="AEABAB"/>
              </a:solidFill>
            </c:spPr>
            <c:extLst>
              <c:ext xmlns:c16="http://schemas.microsoft.com/office/drawing/2014/chart" uri="{C3380CC4-5D6E-409C-BE32-E72D297353CC}">
                <c16:uniqueId val="{000000D3-2993-41DE-A2CB-63102DE87051}"/>
              </c:ext>
            </c:extLst>
          </c:dPt>
          <c:dPt>
            <c:idx val="105"/>
            <c:invertIfNegative val="1"/>
            <c:bubble3D val="0"/>
            <c:spPr>
              <a:solidFill>
                <a:srgbClr val="AEABAB"/>
              </a:solidFill>
            </c:spPr>
            <c:extLst>
              <c:ext xmlns:c16="http://schemas.microsoft.com/office/drawing/2014/chart" uri="{C3380CC4-5D6E-409C-BE32-E72D297353CC}">
                <c16:uniqueId val="{000000D5-2993-41DE-A2CB-63102DE87051}"/>
              </c:ext>
            </c:extLst>
          </c:dPt>
          <c:dPt>
            <c:idx val="106"/>
            <c:invertIfNegative val="1"/>
            <c:bubble3D val="0"/>
            <c:spPr>
              <a:solidFill>
                <a:srgbClr val="AEABAB"/>
              </a:solidFill>
            </c:spPr>
            <c:extLst>
              <c:ext xmlns:c16="http://schemas.microsoft.com/office/drawing/2014/chart" uri="{C3380CC4-5D6E-409C-BE32-E72D297353CC}">
                <c16:uniqueId val="{000000D7-2993-41DE-A2CB-63102DE87051}"/>
              </c:ext>
            </c:extLst>
          </c:dPt>
          <c:dPt>
            <c:idx val="107"/>
            <c:invertIfNegative val="1"/>
            <c:bubble3D val="0"/>
            <c:spPr>
              <a:solidFill>
                <a:srgbClr val="AEABAB"/>
              </a:solidFill>
            </c:spPr>
            <c:extLst>
              <c:ext xmlns:c16="http://schemas.microsoft.com/office/drawing/2014/chart" uri="{C3380CC4-5D6E-409C-BE32-E72D297353CC}">
                <c16:uniqueId val="{000000D9-2993-41DE-A2CB-63102DE87051}"/>
              </c:ext>
            </c:extLst>
          </c:dPt>
          <c:dPt>
            <c:idx val="108"/>
            <c:invertIfNegative val="1"/>
            <c:bubble3D val="0"/>
            <c:spPr>
              <a:solidFill>
                <a:srgbClr val="AEABAB"/>
              </a:solidFill>
            </c:spPr>
            <c:extLst>
              <c:ext xmlns:c16="http://schemas.microsoft.com/office/drawing/2014/chart" uri="{C3380CC4-5D6E-409C-BE32-E72D297353CC}">
                <c16:uniqueId val="{000000DB-2993-41DE-A2CB-63102DE87051}"/>
              </c:ext>
            </c:extLst>
          </c:dPt>
          <c:dPt>
            <c:idx val="109"/>
            <c:invertIfNegative val="1"/>
            <c:bubble3D val="0"/>
            <c:spPr>
              <a:solidFill>
                <a:srgbClr val="AEABAB"/>
              </a:solidFill>
            </c:spPr>
            <c:extLst>
              <c:ext xmlns:c16="http://schemas.microsoft.com/office/drawing/2014/chart" uri="{C3380CC4-5D6E-409C-BE32-E72D297353CC}">
                <c16:uniqueId val="{000000DD-2993-41DE-A2CB-63102DE87051}"/>
              </c:ext>
            </c:extLst>
          </c:dPt>
          <c:dPt>
            <c:idx val="110"/>
            <c:invertIfNegative val="1"/>
            <c:bubble3D val="0"/>
            <c:spPr>
              <a:solidFill>
                <a:srgbClr val="AEABAB"/>
              </a:solidFill>
            </c:spPr>
            <c:extLst>
              <c:ext xmlns:c16="http://schemas.microsoft.com/office/drawing/2014/chart" uri="{C3380CC4-5D6E-409C-BE32-E72D297353CC}">
                <c16:uniqueId val="{000000DF-2993-41DE-A2CB-63102DE87051}"/>
              </c:ext>
            </c:extLst>
          </c:dPt>
          <c:dPt>
            <c:idx val="111"/>
            <c:invertIfNegative val="1"/>
            <c:bubble3D val="0"/>
            <c:spPr>
              <a:solidFill>
                <a:srgbClr val="AEABAB"/>
              </a:solidFill>
            </c:spPr>
            <c:extLst>
              <c:ext xmlns:c16="http://schemas.microsoft.com/office/drawing/2014/chart" uri="{C3380CC4-5D6E-409C-BE32-E72D297353CC}">
                <c16:uniqueId val="{000000E1-2993-41DE-A2CB-63102DE87051}"/>
              </c:ext>
            </c:extLst>
          </c:dPt>
          <c:dPt>
            <c:idx val="112"/>
            <c:invertIfNegative val="1"/>
            <c:bubble3D val="0"/>
            <c:spPr>
              <a:solidFill>
                <a:srgbClr val="AEABAB"/>
              </a:solidFill>
            </c:spPr>
            <c:extLst>
              <c:ext xmlns:c16="http://schemas.microsoft.com/office/drawing/2014/chart" uri="{C3380CC4-5D6E-409C-BE32-E72D297353CC}">
                <c16:uniqueId val="{000000E3-2993-41DE-A2CB-63102DE87051}"/>
              </c:ext>
            </c:extLst>
          </c:dPt>
          <c:dPt>
            <c:idx val="113"/>
            <c:invertIfNegative val="1"/>
            <c:bubble3D val="0"/>
            <c:spPr>
              <a:solidFill>
                <a:srgbClr val="AEABAB"/>
              </a:solidFill>
            </c:spPr>
            <c:extLst>
              <c:ext xmlns:c16="http://schemas.microsoft.com/office/drawing/2014/chart" uri="{C3380CC4-5D6E-409C-BE32-E72D297353CC}">
                <c16:uniqueId val="{000000E5-2993-41DE-A2CB-63102DE87051}"/>
              </c:ext>
            </c:extLst>
          </c:dPt>
          <c:dPt>
            <c:idx val="114"/>
            <c:invertIfNegative val="1"/>
            <c:bubble3D val="0"/>
            <c:spPr>
              <a:solidFill>
                <a:srgbClr val="AEABAB"/>
              </a:solidFill>
            </c:spPr>
            <c:extLst>
              <c:ext xmlns:c16="http://schemas.microsoft.com/office/drawing/2014/chart" uri="{C3380CC4-5D6E-409C-BE32-E72D297353CC}">
                <c16:uniqueId val="{000000E7-2993-41DE-A2CB-63102DE87051}"/>
              </c:ext>
            </c:extLst>
          </c:dPt>
          <c:dPt>
            <c:idx val="115"/>
            <c:invertIfNegative val="1"/>
            <c:bubble3D val="0"/>
            <c:spPr>
              <a:solidFill>
                <a:srgbClr val="AEABAB"/>
              </a:solidFill>
            </c:spPr>
            <c:extLst>
              <c:ext xmlns:c16="http://schemas.microsoft.com/office/drawing/2014/chart" uri="{C3380CC4-5D6E-409C-BE32-E72D297353CC}">
                <c16:uniqueId val="{000000E9-2993-41DE-A2CB-63102DE87051}"/>
              </c:ext>
            </c:extLst>
          </c:dPt>
          <c:dPt>
            <c:idx val="116"/>
            <c:invertIfNegative val="1"/>
            <c:bubble3D val="0"/>
            <c:spPr>
              <a:solidFill>
                <a:srgbClr val="AEABAB"/>
              </a:solidFill>
            </c:spPr>
            <c:extLst>
              <c:ext xmlns:c16="http://schemas.microsoft.com/office/drawing/2014/chart" uri="{C3380CC4-5D6E-409C-BE32-E72D297353CC}">
                <c16:uniqueId val="{000000EB-2993-41DE-A2CB-63102DE87051}"/>
              </c:ext>
            </c:extLst>
          </c:dPt>
          <c:dPt>
            <c:idx val="117"/>
            <c:invertIfNegative val="1"/>
            <c:bubble3D val="0"/>
            <c:spPr>
              <a:solidFill>
                <a:srgbClr val="AEABAB"/>
              </a:solidFill>
            </c:spPr>
            <c:extLst>
              <c:ext xmlns:c16="http://schemas.microsoft.com/office/drawing/2014/chart" uri="{C3380CC4-5D6E-409C-BE32-E72D297353CC}">
                <c16:uniqueId val="{000000ED-2993-41DE-A2CB-63102DE87051}"/>
              </c:ext>
            </c:extLst>
          </c:dPt>
          <c:dPt>
            <c:idx val="118"/>
            <c:invertIfNegative val="1"/>
            <c:bubble3D val="0"/>
            <c:spPr>
              <a:solidFill>
                <a:srgbClr val="AEABAB"/>
              </a:solidFill>
            </c:spPr>
            <c:extLst>
              <c:ext xmlns:c16="http://schemas.microsoft.com/office/drawing/2014/chart" uri="{C3380CC4-5D6E-409C-BE32-E72D297353CC}">
                <c16:uniqueId val="{000000EF-2993-41DE-A2CB-63102DE87051}"/>
              </c:ext>
            </c:extLst>
          </c:dPt>
          <c:dPt>
            <c:idx val="119"/>
            <c:invertIfNegative val="1"/>
            <c:bubble3D val="0"/>
            <c:spPr>
              <a:solidFill>
                <a:srgbClr val="AEABAB"/>
              </a:solidFill>
            </c:spPr>
            <c:extLst>
              <c:ext xmlns:c16="http://schemas.microsoft.com/office/drawing/2014/chart" uri="{C3380CC4-5D6E-409C-BE32-E72D297353CC}">
                <c16:uniqueId val="{000000F1-2993-41DE-A2CB-63102DE87051}"/>
              </c:ext>
            </c:extLst>
          </c:dPt>
          <c:dPt>
            <c:idx val="120"/>
            <c:invertIfNegative val="1"/>
            <c:bubble3D val="0"/>
            <c:spPr>
              <a:solidFill>
                <a:srgbClr val="AEABAB"/>
              </a:solidFill>
            </c:spPr>
            <c:extLst>
              <c:ext xmlns:c16="http://schemas.microsoft.com/office/drawing/2014/chart" uri="{C3380CC4-5D6E-409C-BE32-E72D297353CC}">
                <c16:uniqueId val="{000000F3-2993-41DE-A2CB-63102DE87051}"/>
              </c:ext>
            </c:extLst>
          </c:dPt>
          <c:dPt>
            <c:idx val="121"/>
            <c:invertIfNegative val="1"/>
            <c:bubble3D val="0"/>
            <c:spPr>
              <a:solidFill>
                <a:srgbClr val="AEABAB"/>
              </a:solidFill>
            </c:spPr>
            <c:extLst>
              <c:ext xmlns:c16="http://schemas.microsoft.com/office/drawing/2014/chart" uri="{C3380CC4-5D6E-409C-BE32-E72D297353CC}">
                <c16:uniqueId val="{000000F5-2993-41DE-A2CB-63102DE87051}"/>
              </c:ext>
            </c:extLst>
          </c:dPt>
          <c:dPt>
            <c:idx val="122"/>
            <c:invertIfNegative val="1"/>
            <c:bubble3D val="0"/>
            <c:spPr>
              <a:solidFill>
                <a:srgbClr val="AEABAB"/>
              </a:solidFill>
            </c:spPr>
            <c:extLst>
              <c:ext xmlns:c16="http://schemas.microsoft.com/office/drawing/2014/chart" uri="{C3380CC4-5D6E-409C-BE32-E72D297353CC}">
                <c16:uniqueId val="{000000F7-2993-41DE-A2CB-63102DE87051}"/>
              </c:ext>
            </c:extLst>
          </c:dPt>
          <c:dPt>
            <c:idx val="123"/>
            <c:invertIfNegative val="1"/>
            <c:bubble3D val="0"/>
            <c:spPr>
              <a:solidFill>
                <a:srgbClr val="AEABAB"/>
              </a:solidFill>
            </c:spPr>
            <c:extLst>
              <c:ext xmlns:c16="http://schemas.microsoft.com/office/drawing/2014/chart" uri="{C3380CC4-5D6E-409C-BE32-E72D297353CC}">
                <c16:uniqueId val="{000000F9-2993-41DE-A2CB-63102DE87051}"/>
              </c:ext>
            </c:extLst>
          </c:dPt>
          <c:dPt>
            <c:idx val="124"/>
            <c:invertIfNegative val="1"/>
            <c:bubble3D val="0"/>
            <c:spPr>
              <a:solidFill>
                <a:srgbClr val="AEABAB"/>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126</c:f>
              <c:strCache>
                <c:ptCount val="125"/>
                <c:pt idx="0">
                  <c:v>Ruinart</c:v>
                </c:pt>
                <c:pt idx="1">
                  <c:v>Nicolas</c:v>
                </c:pt>
                <c:pt idx="2">
                  <c:v>Deutz</c:v>
                </c:pt>
                <c:pt idx="3">
                  <c:v>Heidsieck &amp;</c:v>
                </c:pt>
                <c:pt idx="4">
                  <c:v>Laurent Per</c:v>
                </c:pt>
                <c:pt idx="5">
                  <c:v>Ayala</c:v>
                </c:pt>
                <c:pt idx="6">
                  <c:v>De Bligny</c:v>
                </c:pt>
                <c:pt idx="7">
                  <c:v>Canard Duch</c:v>
                </c:pt>
                <c:pt idx="8">
                  <c:v>Taittinger</c:v>
                </c:pt>
                <c:pt idx="9">
                  <c:v>Besserat De</c:v>
                </c:pt>
                <c:pt idx="10">
                  <c:v>Bollinger</c:v>
                </c:pt>
                <c:pt idx="11">
                  <c:v>Ruinart</c:v>
                </c:pt>
                <c:pt idx="12">
                  <c:v>Perrier Jou</c:v>
                </c:pt>
                <c:pt idx="13">
                  <c:v>Demoiselle</c:v>
                </c:pt>
                <c:pt idx="14">
                  <c:v>Deutz</c:v>
                </c:pt>
                <c:pt idx="15">
                  <c:v>Ruinart</c:v>
                </c:pt>
                <c:pt idx="16">
                  <c:v>All Others</c:v>
                </c:pt>
                <c:pt idx="17">
                  <c:v>Roederer</c:v>
                </c:pt>
                <c:pt idx="18">
                  <c:v>Laurent Per</c:v>
                </c:pt>
                <c:pt idx="19">
                  <c:v>Campari: Al</c:v>
                </c:pt>
                <c:pt idx="20">
                  <c:v>Pommery</c:v>
                </c:pt>
                <c:pt idx="21">
                  <c:v>All Others</c:v>
                </c:pt>
                <c:pt idx="22">
                  <c:v>Savian</c:v>
                </c:pt>
                <c:pt idx="23">
                  <c:v>Veuve Clicq</c:v>
                </c:pt>
                <c:pt idx="24">
                  <c:v>Moët &amp; Chan</c:v>
                </c:pt>
                <c:pt idx="25">
                  <c:v>Henriot</c:v>
                </c:pt>
                <c:pt idx="26">
                  <c:v>All Others</c:v>
                </c:pt>
                <c:pt idx="27">
                  <c:v>Taittinger</c:v>
                </c:pt>
                <c:pt idx="28">
                  <c:v>De Venoge</c:v>
                </c:pt>
                <c:pt idx="29">
                  <c:v>Veuve Clicq</c:v>
                </c:pt>
                <c:pt idx="30">
                  <c:v>Roederer</c:v>
                </c:pt>
                <c:pt idx="31">
                  <c:v>Veuve Clicq</c:v>
                </c:pt>
                <c:pt idx="32">
                  <c:v>Piper Heids</c:v>
                </c:pt>
                <c:pt idx="33">
                  <c:v>Deutz</c:v>
                </c:pt>
                <c:pt idx="34">
                  <c:v>Ruinart</c:v>
                </c:pt>
                <c:pt idx="35">
                  <c:v>Nicolas</c:v>
                </c:pt>
                <c:pt idx="36">
                  <c:v>Lanson</c:v>
                </c:pt>
                <c:pt idx="37">
                  <c:v>Campari: Al</c:v>
                </c:pt>
                <c:pt idx="38">
                  <c:v>Canard Duch</c:v>
                </c:pt>
                <c:pt idx="39">
                  <c:v>Henriot</c:v>
                </c:pt>
                <c:pt idx="40">
                  <c:v>Nicolas Feu</c:v>
                </c:pt>
                <c:pt idx="41">
                  <c:v>Bollinger</c:v>
                </c:pt>
                <c:pt idx="42">
                  <c:v>Krug</c:v>
                </c:pt>
                <c:pt idx="43">
                  <c:v>Roederer</c:v>
                </c:pt>
                <c:pt idx="44">
                  <c:v>De Venoge</c:v>
                </c:pt>
                <c:pt idx="45">
                  <c:v>De Venoge</c:v>
                </c:pt>
                <c:pt idx="46">
                  <c:v>Canard Duch</c:v>
                </c:pt>
                <c:pt idx="47">
                  <c:v>Nicolas</c:v>
                </c:pt>
                <c:pt idx="48">
                  <c:v>Roederer</c:v>
                </c:pt>
                <c:pt idx="49">
                  <c:v>Nicolas</c:v>
                </c:pt>
                <c:pt idx="50">
                  <c:v>Moët &amp; Chan</c:v>
                </c:pt>
                <c:pt idx="51">
                  <c:v>Roederer</c:v>
                </c:pt>
                <c:pt idx="52">
                  <c:v>Canard Duch</c:v>
                </c:pt>
                <c:pt idx="53">
                  <c:v>Nicolas Feu</c:v>
                </c:pt>
                <c:pt idx="54">
                  <c:v>Veuve Clicq</c:v>
                </c:pt>
                <c:pt idx="55">
                  <c:v>Nicolas</c:v>
                </c:pt>
                <c:pt idx="56">
                  <c:v>Vranken</c:v>
                </c:pt>
                <c:pt idx="57">
                  <c:v>Roederer</c:v>
                </c:pt>
                <c:pt idx="58">
                  <c:v>Laurent Per</c:v>
                </c:pt>
                <c:pt idx="59">
                  <c:v>Canard Duch</c:v>
                </c:pt>
                <c:pt idx="60">
                  <c:v>All Others</c:v>
                </c:pt>
                <c:pt idx="61">
                  <c:v>Demoiselle</c:v>
                </c:pt>
                <c:pt idx="62">
                  <c:v>Roederer</c:v>
                </c:pt>
                <c:pt idx="63">
                  <c:v>All Others</c:v>
                </c:pt>
                <c:pt idx="64">
                  <c:v>Pommery</c:v>
                </c:pt>
                <c:pt idx="65">
                  <c:v>Nicolas</c:v>
                </c:pt>
                <c:pt idx="66">
                  <c:v>Laurent Per</c:v>
                </c:pt>
                <c:pt idx="67">
                  <c:v>Vranken</c:v>
                </c:pt>
                <c:pt idx="68">
                  <c:v>Moët &amp; Chan</c:v>
                </c:pt>
                <c:pt idx="69">
                  <c:v>Roederer</c:v>
                </c:pt>
                <c:pt idx="70">
                  <c:v>Ruinart</c:v>
                </c:pt>
                <c:pt idx="71">
                  <c:v>Pommery</c:v>
                </c:pt>
                <c:pt idx="72">
                  <c:v>Deutz</c:v>
                </c:pt>
                <c:pt idx="73">
                  <c:v>Laurent Per</c:v>
                </c:pt>
                <c:pt idx="74">
                  <c:v>Ruinart</c:v>
                </c:pt>
                <c:pt idx="75">
                  <c:v>Ruinart</c:v>
                </c:pt>
                <c:pt idx="76">
                  <c:v>Nicolas</c:v>
                </c:pt>
                <c:pt idx="77">
                  <c:v>Pommery</c:v>
                </c:pt>
                <c:pt idx="78">
                  <c:v>Roederer</c:v>
                </c:pt>
                <c:pt idx="79">
                  <c:v>Canard Duch</c:v>
                </c:pt>
                <c:pt idx="80">
                  <c:v>Bollinger</c:v>
                </c:pt>
                <c:pt idx="81">
                  <c:v>Ruinart</c:v>
                </c:pt>
                <c:pt idx="82">
                  <c:v>Malard</c:v>
                </c:pt>
                <c:pt idx="83">
                  <c:v>Henriot</c:v>
                </c:pt>
                <c:pt idx="84">
                  <c:v>All Others</c:v>
                </c:pt>
                <c:pt idx="85">
                  <c:v>Moët &amp; Chan</c:v>
                </c:pt>
                <c:pt idx="86">
                  <c:v>Deutz</c:v>
                </c:pt>
                <c:pt idx="87">
                  <c:v>All Others</c:v>
                </c:pt>
                <c:pt idx="88">
                  <c:v>Nicolas Feu</c:v>
                </c:pt>
                <c:pt idx="89">
                  <c:v>Laurent Per</c:v>
                </c:pt>
                <c:pt idx="90">
                  <c:v>Bollinger</c:v>
                </c:pt>
                <c:pt idx="91">
                  <c:v>Ruinart</c:v>
                </c:pt>
                <c:pt idx="92">
                  <c:v>Roederer</c:v>
                </c:pt>
                <c:pt idx="93">
                  <c:v>Taittinger</c:v>
                </c:pt>
                <c:pt idx="94">
                  <c:v>All Others</c:v>
                </c:pt>
                <c:pt idx="95">
                  <c:v>De Venoge</c:v>
                </c:pt>
                <c:pt idx="96">
                  <c:v>Martel</c:v>
                </c:pt>
                <c:pt idx="97">
                  <c:v>Lanson</c:v>
                </c:pt>
                <c:pt idx="98">
                  <c:v>Piper Heids</c:v>
                </c:pt>
                <c:pt idx="99">
                  <c:v>Moët &amp; Chan</c:v>
                </c:pt>
                <c:pt idx="100">
                  <c:v>Besserat De</c:v>
                </c:pt>
                <c:pt idx="101">
                  <c:v>Ayala</c:v>
                </c:pt>
                <c:pt idx="102">
                  <c:v>Lanson</c:v>
                </c:pt>
                <c:pt idx="103">
                  <c:v>Besserat De</c:v>
                </c:pt>
                <c:pt idx="104">
                  <c:v>Taittinger</c:v>
                </c:pt>
                <c:pt idx="105">
                  <c:v>Laurent Per</c:v>
                </c:pt>
                <c:pt idx="106">
                  <c:v>Heidsieck &amp;</c:v>
                </c:pt>
                <c:pt idx="107">
                  <c:v>Roederer</c:v>
                </c:pt>
                <c:pt idx="108">
                  <c:v>Besserat De</c:v>
                </c:pt>
                <c:pt idx="109">
                  <c:v>Canard Duch</c:v>
                </c:pt>
                <c:pt idx="110">
                  <c:v>Demoiselle</c:v>
                </c:pt>
                <c:pt idx="111">
                  <c:v>Nicolas Feu</c:v>
                </c:pt>
                <c:pt idx="112">
                  <c:v>Canard Duch</c:v>
                </c:pt>
                <c:pt idx="113">
                  <c:v>All Others</c:v>
                </c:pt>
                <c:pt idx="114">
                  <c:v>Laurent Per</c:v>
                </c:pt>
                <c:pt idx="115">
                  <c:v>Pommery</c:v>
                </c:pt>
                <c:pt idx="116">
                  <c:v>Laurent Per</c:v>
                </c:pt>
                <c:pt idx="117">
                  <c:v>Demoiselle</c:v>
                </c:pt>
                <c:pt idx="118">
                  <c:v>Nicolas Feu</c:v>
                </c:pt>
                <c:pt idx="119">
                  <c:v>All Others</c:v>
                </c:pt>
                <c:pt idx="120">
                  <c:v>All Others</c:v>
                </c:pt>
                <c:pt idx="121">
                  <c:v>Nicolas</c:v>
                </c:pt>
                <c:pt idx="122">
                  <c:v>All Others</c:v>
                </c:pt>
                <c:pt idx="123">
                  <c:v>Lanson</c:v>
                </c:pt>
                <c:pt idx="124">
                  <c:v>Moët &amp; Chan</c:v>
                </c:pt>
              </c:strCache>
            </c:strRef>
          </c:cat>
          <c:val>
            <c:numRef>
              <c:f>Sheet1!$C$2:$C$126</c:f>
              <c:numCache>
                <c:formatCode>General</c:formatCode>
                <c:ptCount val="125"/>
                <c:pt idx="0">
                  <c:v>0.15156676246227696</c:v>
                </c:pt>
                <c:pt idx="1">
                  <c:v>0.24801024527076843</c:v>
                </c:pt>
                <c:pt idx="2">
                  <c:v>0.32748808660346296</c:v>
                </c:pt>
                <c:pt idx="3">
                  <c:v>0.3822917339999376</c:v>
                </c:pt>
                <c:pt idx="4">
                  <c:v>0.43025584743866635</c:v>
                </c:pt>
                <c:pt idx="5">
                  <c:v>0.47637420838702693</c:v>
                </c:pt>
                <c:pt idx="6">
                  <c:v>0.51426577920040073</c:v>
                </c:pt>
                <c:pt idx="7">
                  <c:v>0.54468659159985344</c:v>
                </c:pt>
                <c:pt idx="8">
                  <c:v>0.57421921714536606</c:v>
                </c:pt>
                <c:pt idx="9">
                  <c:v>0.60153012428865449</c:v>
                </c:pt>
                <c:pt idx="10">
                  <c:v>0.62798223604993952</c:v>
                </c:pt>
                <c:pt idx="11">
                  <c:v>0.64928354559975054</c:v>
                </c:pt>
                <c:pt idx="12">
                  <c:v>0.6703870484136113</c:v>
                </c:pt>
                <c:pt idx="13">
                  <c:v>0.69109408582884857</c:v>
                </c:pt>
                <c:pt idx="14">
                  <c:v>0.70768786129014294</c:v>
                </c:pt>
                <c:pt idx="15">
                  <c:v>0.72401530315972173</c:v>
                </c:pt>
                <c:pt idx="16">
                  <c:v>0.73997764118316012</c:v>
                </c:pt>
                <c:pt idx="17">
                  <c:v>0.75317371989224402</c:v>
                </c:pt>
                <c:pt idx="18">
                  <c:v>0.76633018400871777</c:v>
                </c:pt>
                <c:pt idx="19">
                  <c:v>0.77926482770474226</c:v>
                </c:pt>
                <c:pt idx="20">
                  <c:v>0.79154045283526009</c:v>
                </c:pt>
                <c:pt idx="21">
                  <c:v>0.80322537327435595</c:v>
                </c:pt>
                <c:pt idx="22">
                  <c:v>0.81433785220114974</c:v>
                </c:pt>
                <c:pt idx="23">
                  <c:v>0.82439181217486357</c:v>
                </c:pt>
                <c:pt idx="24">
                  <c:v>0.83401948931465586</c:v>
                </c:pt>
                <c:pt idx="25">
                  <c:v>0.84353247581939117</c:v>
                </c:pt>
                <c:pt idx="26">
                  <c:v>0.85270064498307285</c:v>
                </c:pt>
                <c:pt idx="27">
                  <c:v>0.86171418944656619</c:v>
                </c:pt>
                <c:pt idx="28">
                  <c:v>0.8702537431796612</c:v>
                </c:pt>
                <c:pt idx="29">
                  <c:v>0.87833405516374641</c:v>
                </c:pt>
                <c:pt idx="30">
                  <c:v>0.88597163147907598</c:v>
                </c:pt>
                <c:pt idx="31">
                  <c:v>0.89337380979181169</c:v>
                </c:pt>
                <c:pt idx="32">
                  <c:v>0.90068131774747617</c:v>
                </c:pt>
                <c:pt idx="33">
                  <c:v>0.90791715736758505</c:v>
                </c:pt>
                <c:pt idx="34">
                  <c:v>0.9146246426832968</c:v>
                </c:pt>
                <c:pt idx="35">
                  <c:v>0.92052892083566795</c:v>
                </c:pt>
                <c:pt idx="36">
                  <c:v>0.92619705554956278</c:v>
                </c:pt>
                <c:pt idx="37">
                  <c:v>0.93152394036555564</c:v>
                </c:pt>
                <c:pt idx="38">
                  <c:v>0.93658198905508472</c:v>
                </c:pt>
                <c:pt idx="39">
                  <c:v>0.94127520012557431</c:v>
                </c:pt>
                <c:pt idx="40">
                  <c:v>0.94586271903701646</c:v>
                </c:pt>
                <c:pt idx="41">
                  <c:v>0.94965022551032841</c:v>
                </c:pt>
                <c:pt idx="42">
                  <c:v>0.95300995827795398</c:v>
                </c:pt>
                <c:pt idx="43">
                  <c:v>0.95575742195898661</c:v>
                </c:pt>
                <c:pt idx="44">
                  <c:v>0.95843257835942153</c:v>
                </c:pt>
                <c:pt idx="45">
                  <c:v>0.9610305289006027</c:v>
                </c:pt>
                <c:pt idx="46">
                  <c:v>0.96356533037345626</c:v>
                </c:pt>
                <c:pt idx="47">
                  <c:v>0.96601153146713847</c:v>
                </c:pt>
                <c:pt idx="48">
                  <c:v>0.96817388122586745</c:v>
                </c:pt>
                <c:pt idx="49">
                  <c:v>0.97025668232685491</c:v>
                </c:pt>
                <c:pt idx="50">
                  <c:v>0.97213464829642904</c:v>
                </c:pt>
                <c:pt idx="51">
                  <c:v>0.97388855243699524</c:v>
                </c:pt>
                <c:pt idx="52">
                  <c:v>0.97554736025712885</c:v>
                </c:pt>
                <c:pt idx="53">
                  <c:v>0.97718108948436</c:v>
                </c:pt>
                <c:pt idx="54">
                  <c:v>0.97881279538562449</c:v>
                </c:pt>
                <c:pt idx="55">
                  <c:v>0.98036016054133168</c:v>
                </c:pt>
                <c:pt idx="56">
                  <c:v>0.98178160027832484</c:v>
                </c:pt>
                <c:pt idx="57">
                  <c:v>0.98295491635730226</c:v>
                </c:pt>
                <c:pt idx="58">
                  <c:v>0.98411524055375699</c:v>
                </c:pt>
                <c:pt idx="59">
                  <c:v>0.98523025289764277</c:v>
                </c:pt>
                <c:pt idx="60">
                  <c:v>0.98633259283152686</c:v>
                </c:pt>
                <c:pt idx="61">
                  <c:v>0.98728243788202963</c:v>
                </c:pt>
                <c:pt idx="62">
                  <c:v>0.98817248832567584</c:v>
                </c:pt>
                <c:pt idx="63">
                  <c:v>0.98904629891616858</c:v>
                </c:pt>
                <c:pt idx="64">
                  <c:v>0.98991819267153502</c:v>
                </c:pt>
                <c:pt idx="65">
                  <c:v>0.99069376546180488</c:v>
                </c:pt>
                <c:pt idx="66">
                  <c:v>0.99138361312559287</c:v>
                </c:pt>
                <c:pt idx="67">
                  <c:v>0.99203022550819875</c:v>
                </c:pt>
                <c:pt idx="68">
                  <c:v>0.99259430748953326</c:v>
                </c:pt>
                <c:pt idx="69">
                  <c:v>0.99313032913443555</c:v>
                </c:pt>
                <c:pt idx="70">
                  <c:v>0.99363461650891349</c:v>
                </c:pt>
                <c:pt idx="71">
                  <c:v>0.99411819141494329</c:v>
                </c:pt>
                <c:pt idx="72">
                  <c:v>0.99459596257017402</c:v>
                </c:pt>
                <c:pt idx="73">
                  <c:v>0.99503151010720592</c:v>
                </c:pt>
                <c:pt idx="74">
                  <c:v>0.99542589893444255</c:v>
                </c:pt>
                <c:pt idx="75">
                  <c:v>0.99580671017953448</c:v>
                </c:pt>
                <c:pt idx="76">
                  <c:v>0.99614625622399078</c:v>
                </c:pt>
                <c:pt idx="77">
                  <c:v>0.99648132965315239</c:v>
                </c:pt>
                <c:pt idx="78">
                  <c:v>0.99675554356705387</c:v>
                </c:pt>
                <c:pt idx="79">
                  <c:v>0.99701330464612126</c:v>
                </c:pt>
                <c:pt idx="80">
                  <c:v>0.99724055609942841</c:v>
                </c:pt>
                <c:pt idx="81">
                  <c:v>0.99746136485689429</c:v>
                </c:pt>
                <c:pt idx="82">
                  <c:v>0.99766630647914811</c:v>
                </c:pt>
                <c:pt idx="83">
                  <c:v>0.99781837539916807</c:v>
                </c:pt>
                <c:pt idx="84">
                  <c:v>0.99795676024620306</c:v>
                </c:pt>
                <c:pt idx="85">
                  <c:v>0.99808843617029597</c:v>
                </c:pt>
                <c:pt idx="86">
                  <c:v>0.99821862122262395</c:v>
                </c:pt>
                <c:pt idx="87">
                  <c:v>0.99834300252415287</c:v>
                </c:pt>
                <c:pt idx="88">
                  <c:v>0.99844959985534332</c:v>
                </c:pt>
                <c:pt idx="89">
                  <c:v>0.99855582446859259</c:v>
                </c:pt>
                <c:pt idx="90">
                  <c:v>0.99865571287684096</c:v>
                </c:pt>
                <c:pt idx="91">
                  <c:v>0.99874516518273504</c:v>
                </c:pt>
                <c:pt idx="92">
                  <c:v>0.99883238118098172</c:v>
                </c:pt>
                <c:pt idx="93">
                  <c:v>0.99891890498876623</c:v>
                </c:pt>
                <c:pt idx="94">
                  <c:v>0.99899887960986911</c:v>
                </c:pt>
                <c:pt idx="95">
                  <c:v>0.9990747010881984</c:v>
                </c:pt>
                <c:pt idx="96">
                  <c:v>0.99914115137257686</c:v>
                </c:pt>
                <c:pt idx="97">
                  <c:v>0.99920392772296329</c:v>
                </c:pt>
                <c:pt idx="98">
                  <c:v>0.99926510671074442</c:v>
                </c:pt>
                <c:pt idx="99">
                  <c:v>0.99931840537633965</c:v>
                </c:pt>
                <c:pt idx="100">
                  <c:v>0.9993715975510945</c:v>
                </c:pt>
                <c:pt idx="101">
                  <c:v>0.99942313911782399</c:v>
                </c:pt>
                <c:pt idx="102">
                  <c:v>0.99946626790816573</c:v>
                </c:pt>
                <c:pt idx="103">
                  <c:v>0.99950918371682684</c:v>
                </c:pt>
                <c:pt idx="104">
                  <c:v>0.99954304780405823</c:v>
                </c:pt>
                <c:pt idx="105">
                  <c:v>0.99957478207448258</c:v>
                </c:pt>
                <c:pt idx="106">
                  <c:v>0.99963281958247341</c:v>
                </c:pt>
                <c:pt idx="107">
                  <c:v>0.99965992150134253</c:v>
                </c:pt>
                <c:pt idx="108">
                  <c:v>0.99968601175722827</c:v>
                </c:pt>
                <c:pt idx="109">
                  <c:v>0.99971103710471054</c:v>
                </c:pt>
                <c:pt idx="110">
                  <c:v>0.99973398588080598</c:v>
                </c:pt>
                <c:pt idx="111">
                  <c:v>0.9997566684298006</c:v>
                </c:pt>
                <c:pt idx="112">
                  <c:v>0.99977903150627412</c:v>
                </c:pt>
                <c:pt idx="113">
                  <c:v>0.99979766740333542</c:v>
                </c:pt>
                <c:pt idx="114">
                  <c:v>0.99981523839199316</c:v>
                </c:pt>
                <c:pt idx="115">
                  <c:v>0.99983142499972633</c:v>
                </c:pt>
                <c:pt idx="116">
                  <c:v>0.99984739862577887</c:v>
                </c:pt>
                <c:pt idx="117">
                  <c:v>0.99990719323263533</c:v>
                </c:pt>
                <c:pt idx="118">
                  <c:v>0.9999202383605782</c:v>
                </c:pt>
                <c:pt idx="119">
                  <c:v>0.99993104718087378</c:v>
                </c:pt>
                <c:pt idx="120">
                  <c:v>0.99993935346642104</c:v>
                </c:pt>
                <c:pt idx="121">
                  <c:v>0.99996054514365063</c:v>
                </c:pt>
                <c:pt idx="122">
                  <c:v>0.9999814705937794</c:v>
                </c:pt>
                <c:pt idx="123">
                  <c:v>0.99998791328962056</c:v>
                </c:pt>
                <c:pt idx="124">
                  <c:v>0.99999052231520913</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133</c:f>
              <c:strCache>
                <c:ptCount val="132"/>
                <c:pt idx="0">
                  <c:v>Ruinart</c:v>
                </c:pt>
                <c:pt idx="1">
                  <c:v>Nicolas</c:v>
                </c:pt>
                <c:pt idx="2">
                  <c:v>Deutz</c:v>
                </c:pt>
                <c:pt idx="3">
                  <c:v>De Bligny</c:v>
                </c:pt>
                <c:pt idx="4">
                  <c:v>Heidsieck &amp;</c:v>
                </c:pt>
                <c:pt idx="5">
                  <c:v>Ayala</c:v>
                </c:pt>
                <c:pt idx="6">
                  <c:v>Canard Duch</c:v>
                </c:pt>
                <c:pt idx="7">
                  <c:v>Laurent Per</c:v>
                </c:pt>
                <c:pt idx="8">
                  <c:v>Ruinart</c:v>
                </c:pt>
                <c:pt idx="9">
                  <c:v>Demoiselle</c:v>
                </c:pt>
                <c:pt idx="10">
                  <c:v>Taittinger</c:v>
                </c:pt>
                <c:pt idx="11">
                  <c:v>Besserat De</c:v>
                </c:pt>
                <c:pt idx="12">
                  <c:v>Bollinger</c:v>
                </c:pt>
                <c:pt idx="13">
                  <c:v>Deutz</c:v>
                </c:pt>
                <c:pt idx="14">
                  <c:v>Ruinart</c:v>
                </c:pt>
                <c:pt idx="15">
                  <c:v>Perrier Jou</c:v>
                </c:pt>
                <c:pt idx="16">
                  <c:v>Pommery</c:v>
                </c:pt>
                <c:pt idx="17">
                  <c:v>All Others</c:v>
                </c:pt>
                <c:pt idx="18">
                  <c:v>Laurent Per</c:v>
                </c:pt>
                <c:pt idx="19">
                  <c:v>Savian</c:v>
                </c:pt>
                <c:pt idx="20">
                  <c:v>Roederer</c:v>
                </c:pt>
                <c:pt idx="21">
                  <c:v>Taittinger</c:v>
                </c:pt>
                <c:pt idx="22">
                  <c:v>Campari: Al</c:v>
                </c:pt>
                <c:pt idx="23">
                  <c:v>Moët &amp; Chan</c:v>
                </c:pt>
                <c:pt idx="24">
                  <c:v>All Others</c:v>
                </c:pt>
                <c:pt idx="25">
                  <c:v>Henriot</c:v>
                </c:pt>
                <c:pt idx="26">
                  <c:v>Roederer</c:v>
                </c:pt>
                <c:pt idx="27">
                  <c:v>Veuve Clicq</c:v>
                </c:pt>
                <c:pt idx="28">
                  <c:v>Nicolas</c:v>
                </c:pt>
                <c:pt idx="29">
                  <c:v>Veuve Clicq</c:v>
                </c:pt>
                <c:pt idx="30">
                  <c:v>Veuve Clicq</c:v>
                </c:pt>
                <c:pt idx="31">
                  <c:v>De Venoge</c:v>
                </c:pt>
                <c:pt idx="32">
                  <c:v>Piper Heids</c:v>
                </c:pt>
                <c:pt idx="33">
                  <c:v>All Others</c:v>
                </c:pt>
                <c:pt idx="34">
                  <c:v>Ruinart</c:v>
                </c:pt>
                <c:pt idx="35">
                  <c:v>Nicolas Feu</c:v>
                </c:pt>
                <c:pt idx="36">
                  <c:v>Deutz</c:v>
                </c:pt>
                <c:pt idx="37">
                  <c:v>Lanson</c:v>
                </c:pt>
                <c:pt idx="38">
                  <c:v>Canard Duch</c:v>
                </c:pt>
                <c:pt idx="39">
                  <c:v>Bollinger</c:v>
                </c:pt>
                <c:pt idx="40">
                  <c:v>All Others</c:v>
                </c:pt>
                <c:pt idx="41">
                  <c:v>Campari: Al</c:v>
                </c:pt>
                <c:pt idx="42">
                  <c:v>Henriot</c:v>
                </c:pt>
                <c:pt idx="43">
                  <c:v>Canard Duch</c:v>
                </c:pt>
                <c:pt idx="44">
                  <c:v>Canard Duch</c:v>
                </c:pt>
                <c:pt idx="45">
                  <c:v>Krug</c:v>
                </c:pt>
                <c:pt idx="46">
                  <c:v>Vranken</c:v>
                </c:pt>
                <c:pt idx="47">
                  <c:v>Roederer</c:v>
                </c:pt>
                <c:pt idx="48">
                  <c:v>All Others</c:v>
                </c:pt>
                <c:pt idx="49">
                  <c:v>De Venoge</c:v>
                </c:pt>
                <c:pt idx="50">
                  <c:v>Canard Duch</c:v>
                </c:pt>
                <c:pt idx="51">
                  <c:v>Nicolas</c:v>
                </c:pt>
                <c:pt idx="52">
                  <c:v>Roederer</c:v>
                </c:pt>
                <c:pt idx="53">
                  <c:v>Nicolas</c:v>
                </c:pt>
                <c:pt idx="54">
                  <c:v>De Venoge</c:v>
                </c:pt>
                <c:pt idx="55">
                  <c:v>Lanson-Bcc:</c:v>
                </c:pt>
                <c:pt idx="56">
                  <c:v>Veuve Clicq</c:v>
                </c:pt>
                <c:pt idx="57">
                  <c:v>All Others</c:v>
                </c:pt>
                <c:pt idx="58">
                  <c:v>All Others</c:v>
                </c:pt>
                <c:pt idx="59">
                  <c:v>All Others</c:v>
                </c:pt>
                <c:pt idx="60">
                  <c:v>All Others</c:v>
                </c:pt>
                <c:pt idx="61">
                  <c:v>All Others</c:v>
                </c:pt>
                <c:pt idx="62">
                  <c:v>Nicolas</c:v>
                </c:pt>
                <c:pt idx="63">
                  <c:v>Roederer</c:v>
                </c:pt>
                <c:pt idx="64">
                  <c:v>Nicolas</c:v>
                </c:pt>
                <c:pt idx="65">
                  <c:v>Ruinart</c:v>
                </c:pt>
                <c:pt idx="66">
                  <c:v>Nicolas Feu</c:v>
                </c:pt>
                <c:pt idx="67">
                  <c:v>Laurent Per</c:v>
                </c:pt>
                <c:pt idx="68">
                  <c:v>Roederer</c:v>
                </c:pt>
                <c:pt idx="69">
                  <c:v>Demoiselle</c:v>
                </c:pt>
                <c:pt idx="70">
                  <c:v>Roederer</c:v>
                </c:pt>
                <c:pt idx="71">
                  <c:v>Laurent Per</c:v>
                </c:pt>
                <c:pt idx="72">
                  <c:v>Canard Duch</c:v>
                </c:pt>
                <c:pt idx="73">
                  <c:v>Ruinart</c:v>
                </c:pt>
                <c:pt idx="74">
                  <c:v>Vranken</c:v>
                </c:pt>
                <c:pt idx="75">
                  <c:v>Roederer</c:v>
                </c:pt>
                <c:pt idx="76">
                  <c:v>All Others</c:v>
                </c:pt>
                <c:pt idx="77">
                  <c:v>Ruinart</c:v>
                </c:pt>
                <c:pt idx="78">
                  <c:v>Moët &amp; Chan</c:v>
                </c:pt>
                <c:pt idx="79">
                  <c:v>Moët &amp; Chan</c:v>
                </c:pt>
                <c:pt idx="80">
                  <c:v>All Others</c:v>
                </c:pt>
                <c:pt idx="81">
                  <c:v>Pommery</c:v>
                </c:pt>
                <c:pt idx="82">
                  <c:v>Nicolas</c:v>
                </c:pt>
                <c:pt idx="83">
                  <c:v>Laurent Per</c:v>
                </c:pt>
                <c:pt idx="84">
                  <c:v>Malard</c:v>
                </c:pt>
                <c:pt idx="85">
                  <c:v>Pommery</c:v>
                </c:pt>
                <c:pt idx="86">
                  <c:v>Moët &amp; Chan</c:v>
                </c:pt>
                <c:pt idx="87">
                  <c:v>All Others</c:v>
                </c:pt>
                <c:pt idx="88">
                  <c:v>Deutz</c:v>
                </c:pt>
                <c:pt idx="89">
                  <c:v>Piper Heids</c:v>
                </c:pt>
                <c:pt idx="90">
                  <c:v>All Others</c:v>
                </c:pt>
                <c:pt idx="91">
                  <c:v>Roederer</c:v>
                </c:pt>
                <c:pt idx="92">
                  <c:v>Ruinart</c:v>
                </c:pt>
                <c:pt idx="93">
                  <c:v>Bollinger</c:v>
                </c:pt>
                <c:pt idx="94">
                  <c:v>Pommery</c:v>
                </c:pt>
                <c:pt idx="95">
                  <c:v>All Others</c:v>
                </c:pt>
                <c:pt idx="96">
                  <c:v>Henriot</c:v>
                </c:pt>
                <c:pt idx="97">
                  <c:v>All Others</c:v>
                </c:pt>
                <c:pt idx="98">
                  <c:v>De Venoge</c:v>
                </c:pt>
                <c:pt idx="99">
                  <c:v>Nicolas Feu</c:v>
                </c:pt>
                <c:pt idx="100">
                  <c:v>Roederer</c:v>
                </c:pt>
                <c:pt idx="101">
                  <c:v>Canard Duch</c:v>
                </c:pt>
                <c:pt idx="102">
                  <c:v>All Others</c:v>
                </c:pt>
                <c:pt idx="103">
                  <c:v>Bollinger</c:v>
                </c:pt>
                <c:pt idx="104">
                  <c:v>Laurent Per</c:v>
                </c:pt>
                <c:pt idx="105">
                  <c:v>Lanson</c:v>
                </c:pt>
                <c:pt idx="106">
                  <c:v>Moët &amp; Chan</c:v>
                </c:pt>
                <c:pt idx="107">
                  <c:v>Deutz</c:v>
                </c:pt>
                <c:pt idx="108">
                  <c:v>Demoiselle</c:v>
                </c:pt>
                <c:pt idx="109">
                  <c:v>Martel</c:v>
                </c:pt>
                <c:pt idx="110">
                  <c:v>Ruinart</c:v>
                </c:pt>
                <c:pt idx="111">
                  <c:v>Roederer</c:v>
                </c:pt>
                <c:pt idx="112">
                  <c:v>Laurent Per</c:v>
                </c:pt>
                <c:pt idx="113">
                  <c:v>Moët &amp; Chan</c:v>
                </c:pt>
                <c:pt idx="114">
                  <c:v>All Others</c:v>
                </c:pt>
                <c:pt idx="115">
                  <c:v>Roederer</c:v>
                </c:pt>
                <c:pt idx="116">
                  <c:v>Ayala</c:v>
                </c:pt>
                <c:pt idx="117">
                  <c:v>Roederer</c:v>
                </c:pt>
                <c:pt idx="118">
                  <c:v>Roederer</c:v>
                </c:pt>
                <c:pt idx="119">
                  <c:v>Roederer</c:v>
                </c:pt>
                <c:pt idx="120">
                  <c:v>De Venoge</c:v>
                </c:pt>
                <c:pt idx="121">
                  <c:v>Veuve Clicq</c:v>
                </c:pt>
                <c:pt idx="122">
                  <c:v>Demoiselle</c:v>
                </c:pt>
                <c:pt idx="123">
                  <c:v>Malard</c:v>
                </c:pt>
                <c:pt idx="124">
                  <c:v>Nicolas</c:v>
                </c:pt>
                <c:pt idx="125">
                  <c:v>Ruinart</c:v>
                </c:pt>
                <c:pt idx="126">
                  <c:v>De Bligny</c:v>
                </c:pt>
                <c:pt idx="127">
                  <c:v>Besserat De</c:v>
                </c:pt>
                <c:pt idx="128">
                  <c:v>Laurent Per</c:v>
                </c:pt>
                <c:pt idx="129">
                  <c:v>Nicolas Feu</c:v>
                </c:pt>
                <c:pt idx="130">
                  <c:v>Besserat De</c:v>
                </c:pt>
                <c:pt idx="131">
                  <c:v>Veuve Clicq</c:v>
                </c:pt>
              </c:strCache>
            </c:strRef>
          </c:cat>
          <c:val>
            <c:numRef>
              <c:f>Sheet1!$B$2:$B$133</c:f>
              <c:numCache>
                <c:formatCode>General</c:formatCode>
                <c:ptCount val="132"/>
                <c:pt idx="0">
                  <c:v>0.99</c:v>
                </c:pt>
                <c:pt idx="1">
                  <c:v>0.99</c:v>
                </c:pt>
                <c:pt idx="2">
                  <c:v>0.98</c:v>
                </c:pt>
                <c:pt idx="3">
                  <c:v>0.91</c:v>
                </c:pt>
                <c:pt idx="4">
                  <c:v>0.89</c:v>
                </c:pt>
                <c:pt idx="5">
                  <c:v>0.89</c:v>
                </c:pt>
                <c:pt idx="6">
                  <c:v>0.96</c:v>
                </c:pt>
                <c:pt idx="7">
                  <c:v>0.92</c:v>
                </c:pt>
                <c:pt idx="8">
                  <c:v>0.69</c:v>
                </c:pt>
                <c:pt idx="9">
                  <c:v>0.9</c:v>
                </c:pt>
                <c:pt idx="10">
                  <c:v>0.86</c:v>
                </c:pt>
                <c:pt idx="11">
                  <c:v>0.81</c:v>
                </c:pt>
                <c:pt idx="12">
                  <c:v>0.8</c:v>
                </c:pt>
                <c:pt idx="13">
                  <c:v>0.65</c:v>
                </c:pt>
                <c:pt idx="14">
                  <c:v>0.47</c:v>
                </c:pt>
                <c:pt idx="15">
                  <c:v>0.69</c:v>
                </c:pt>
                <c:pt idx="16">
                  <c:v>0.69</c:v>
                </c:pt>
                <c:pt idx="17">
                  <c:v>0.68</c:v>
                </c:pt>
                <c:pt idx="18">
                  <c:v>0.63</c:v>
                </c:pt>
                <c:pt idx="19">
                  <c:v>0.64</c:v>
                </c:pt>
                <c:pt idx="20">
                  <c:v>0.54</c:v>
                </c:pt>
                <c:pt idx="21">
                  <c:v>0.52</c:v>
                </c:pt>
                <c:pt idx="22">
                  <c:v>0.5</c:v>
                </c:pt>
                <c:pt idx="23">
                  <c:v>0.56000000000000005</c:v>
                </c:pt>
                <c:pt idx="24">
                  <c:v>0.52</c:v>
                </c:pt>
                <c:pt idx="25">
                  <c:v>0.53</c:v>
                </c:pt>
                <c:pt idx="26">
                  <c:v>0.42</c:v>
                </c:pt>
                <c:pt idx="27">
                  <c:v>0.52</c:v>
                </c:pt>
                <c:pt idx="28">
                  <c:v>0.74</c:v>
                </c:pt>
                <c:pt idx="29">
                  <c:v>0.39</c:v>
                </c:pt>
                <c:pt idx="30">
                  <c:v>0.47</c:v>
                </c:pt>
                <c:pt idx="31">
                  <c:v>0.47</c:v>
                </c:pt>
                <c:pt idx="32">
                  <c:v>0.56999999999999995</c:v>
                </c:pt>
                <c:pt idx="33">
                  <c:v>0.36</c:v>
                </c:pt>
                <c:pt idx="34">
                  <c:v>0.53</c:v>
                </c:pt>
                <c:pt idx="35">
                  <c:v>0.41</c:v>
                </c:pt>
                <c:pt idx="36">
                  <c:v>0.67</c:v>
                </c:pt>
                <c:pt idx="37">
                  <c:v>0.46</c:v>
                </c:pt>
                <c:pt idx="38">
                  <c:v>0.71</c:v>
                </c:pt>
                <c:pt idx="39">
                  <c:v>0.2</c:v>
                </c:pt>
                <c:pt idx="40">
                  <c:v>0.08</c:v>
                </c:pt>
                <c:pt idx="41">
                  <c:v>0.34</c:v>
                </c:pt>
                <c:pt idx="42">
                  <c:v>0.49</c:v>
                </c:pt>
                <c:pt idx="43">
                  <c:v>0.22</c:v>
                </c:pt>
                <c:pt idx="44">
                  <c:v>0.3</c:v>
                </c:pt>
                <c:pt idx="45">
                  <c:v>0.08</c:v>
                </c:pt>
                <c:pt idx="46">
                  <c:v>0.3</c:v>
                </c:pt>
                <c:pt idx="47">
                  <c:v>0.23</c:v>
                </c:pt>
                <c:pt idx="48">
                  <c:v>7.0000000000000007E-2</c:v>
                </c:pt>
                <c:pt idx="49">
                  <c:v>0.34</c:v>
                </c:pt>
                <c:pt idx="50">
                  <c:v>0.25</c:v>
                </c:pt>
                <c:pt idx="51">
                  <c:v>0.24</c:v>
                </c:pt>
                <c:pt idx="52">
                  <c:v>0.16</c:v>
                </c:pt>
                <c:pt idx="53">
                  <c:v>0.26</c:v>
                </c:pt>
                <c:pt idx="54">
                  <c:v>0.15</c:v>
                </c:pt>
                <c:pt idx="55">
                  <c:v>7.0000000000000007E-2</c:v>
                </c:pt>
                <c:pt idx="56">
                  <c:v>0.12</c:v>
                </c:pt>
                <c:pt idx="57">
                  <c:v>0.08</c:v>
                </c:pt>
                <c:pt idx="58">
                  <c:v>0.19</c:v>
                </c:pt>
                <c:pt idx="59">
                  <c:v>0.06</c:v>
                </c:pt>
                <c:pt idx="60">
                  <c:v>0.2</c:v>
                </c:pt>
                <c:pt idx="61">
                  <c:v>7.0000000000000007E-2</c:v>
                </c:pt>
                <c:pt idx="62">
                  <c:v>0.14000000000000001</c:v>
                </c:pt>
                <c:pt idx="63">
                  <c:v>0.22</c:v>
                </c:pt>
                <c:pt idx="64">
                  <c:v>0.11</c:v>
                </c:pt>
                <c:pt idx="65">
                  <c:v>0.03</c:v>
                </c:pt>
                <c:pt idx="66">
                  <c:v>0.2</c:v>
                </c:pt>
                <c:pt idx="67">
                  <c:v>0.06</c:v>
                </c:pt>
                <c:pt idx="68">
                  <c:v>0.19</c:v>
                </c:pt>
                <c:pt idx="69">
                  <c:v>0.18</c:v>
                </c:pt>
                <c:pt idx="70">
                  <c:v>0.06</c:v>
                </c:pt>
                <c:pt idx="71">
                  <c:v>0.06</c:v>
                </c:pt>
                <c:pt idx="72">
                  <c:v>0.11</c:v>
                </c:pt>
                <c:pt idx="73">
                  <c:v>0.05</c:v>
                </c:pt>
                <c:pt idx="74">
                  <c:v>7.0000000000000007E-2</c:v>
                </c:pt>
                <c:pt idx="75">
                  <c:v>0.17</c:v>
                </c:pt>
                <c:pt idx="76">
                  <c:v>0.05</c:v>
                </c:pt>
                <c:pt idx="77">
                  <c:v>7.0000000000000007E-2</c:v>
                </c:pt>
                <c:pt idx="78">
                  <c:v>0.11</c:v>
                </c:pt>
                <c:pt idx="79">
                  <c:v>0.05</c:v>
                </c:pt>
                <c:pt idx="80">
                  <c:v>0.06</c:v>
                </c:pt>
                <c:pt idx="81">
                  <c:v>0.14000000000000001</c:v>
                </c:pt>
                <c:pt idx="82">
                  <c:v>0.11</c:v>
                </c:pt>
                <c:pt idx="83">
                  <c:v>0.02</c:v>
                </c:pt>
                <c:pt idx="84">
                  <c:v>0.04</c:v>
                </c:pt>
                <c:pt idx="85">
                  <c:v>0.1</c:v>
                </c:pt>
                <c:pt idx="86">
                  <c:v>0.03</c:v>
                </c:pt>
                <c:pt idx="87">
                  <c:v>0.06</c:v>
                </c:pt>
                <c:pt idx="88">
                  <c:v>0.04</c:v>
                </c:pt>
                <c:pt idx="89">
                  <c:v>0.04</c:v>
                </c:pt>
                <c:pt idx="90">
                  <c:v>0.05</c:v>
                </c:pt>
                <c:pt idx="91">
                  <c:v>0.03</c:v>
                </c:pt>
                <c:pt idx="92">
                  <c:v>0.02</c:v>
                </c:pt>
                <c:pt idx="93">
                  <c:v>0.04</c:v>
                </c:pt>
                <c:pt idx="94">
                  <c:v>0.06</c:v>
                </c:pt>
                <c:pt idx="95">
                  <c:v>0.01</c:v>
                </c:pt>
                <c:pt idx="96">
                  <c:v>0.02</c:v>
                </c:pt>
                <c:pt idx="97">
                  <c:v>0.04</c:v>
                </c:pt>
                <c:pt idx="98">
                  <c:v>0.02</c:v>
                </c:pt>
                <c:pt idx="99">
                  <c:v>0.03</c:v>
                </c:pt>
                <c:pt idx="100">
                  <c:v>0.02</c:v>
                </c:pt>
                <c:pt idx="101">
                  <c:v>0.01</c:v>
                </c:pt>
                <c:pt idx="102">
                  <c:v>0.04</c:v>
                </c:pt>
                <c:pt idx="103">
                  <c:v>0.03</c:v>
                </c:pt>
                <c:pt idx="104">
                  <c:v>0.02</c:v>
                </c:pt>
                <c:pt idx="105">
                  <c:v>0.02</c:v>
                </c:pt>
                <c:pt idx="106">
                  <c:v>0.03</c:v>
                </c:pt>
                <c:pt idx="107">
                  <c:v>0.01</c:v>
                </c:pt>
                <c:pt idx="108">
                  <c:v>0.04</c:v>
                </c:pt>
                <c:pt idx="109">
                  <c:v>0.05</c:v>
                </c:pt>
                <c:pt idx="110">
                  <c:v>0.01</c:v>
                </c:pt>
                <c:pt idx="111">
                  <c:v>0.01</c:v>
                </c:pt>
                <c:pt idx="112">
                  <c:v>0.02</c:v>
                </c:pt>
                <c:pt idx="113">
                  <c:v>0.02</c:v>
                </c:pt>
                <c:pt idx="114">
                  <c:v>0.01</c:v>
                </c:pt>
                <c:pt idx="115">
                  <c:v>0.01</c:v>
                </c:pt>
                <c:pt idx="116">
                  <c:v>0.01</c:v>
                </c:pt>
                <c:pt idx="117">
                  <c:v>0.01</c:v>
                </c:pt>
                <c:pt idx="118">
                  <c:v>0.01</c:v>
                </c:pt>
                <c:pt idx="119">
                  <c:v>0.01</c:v>
                </c:pt>
                <c:pt idx="120">
                  <c:v>0.01</c:v>
                </c:pt>
                <c:pt idx="121">
                  <c:v>0.03</c:v>
                </c:pt>
                <c:pt idx="122">
                  <c:v>0.03</c:v>
                </c:pt>
                <c:pt idx="123">
                  <c:v>0.01</c:v>
                </c:pt>
                <c:pt idx="124">
                  <c:v>0.01</c:v>
                </c:pt>
                <c:pt idx="125">
                  <c:v>0.01</c:v>
                </c:pt>
                <c:pt idx="126">
                  <c:v>0.01</c:v>
                </c:pt>
                <c:pt idx="127">
                  <c:v>0.02</c:v>
                </c:pt>
                <c:pt idx="128">
                  <c:v>0.01</c:v>
                </c:pt>
                <c:pt idx="129">
                  <c:v>0.01</c:v>
                </c:pt>
                <c:pt idx="130">
                  <c:v>0.02</c:v>
                </c:pt>
                <c:pt idx="131">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7ECAC4"/>
              </a:solidFill>
            </c:spPr>
            <c:extLst>
              <c:ext xmlns:c16="http://schemas.microsoft.com/office/drawing/2014/chart" uri="{C3380CC4-5D6E-409C-BE32-E72D297353CC}">
                <c16:uniqueId val="{00000067-2993-41DE-A2CB-63102DE87051}"/>
              </c:ext>
            </c:extLst>
          </c:dPt>
          <c:dPt>
            <c:idx val="24"/>
            <c:invertIfNegative val="1"/>
            <c:bubble3D val="0"/>
            <c:spPr>
              <a:solidFill>
                <a:srgbClr val="7ECAC4"/>
              </a:solidFill>
            </c:spPr>
            <c:extLst>
              <c:ext xmlns:c16="http://schemas.microsoft.com/office/drawing/2014/chart" uri="{C3380CC4-5D6E-409C-BE32-E72D297353CC}">
                <c16:uniqueId val="{00000069-2993-41DE-A2CB-63102DE87051}"/>
              </c:ext>
            </c:extLst>
          </c:dPt>
          <c:dPt>
            <c:idx val="25"/>
            <c:invertIfNegative val="1"/>
            <c:bubble3D val="0"/>
            <c:spPr>
              <a:solidFill>
                <a:srgbClr val="7ECAC4"/>
              </a:solidFill>
            </c:spPr>
            <c:extLst>
              <c:ext xmlns:c16="http://schemas.microsoft.com/office/drawing/2014/chart" uri="{C3380CC4-5D6E-409C-BE32-E72D297353CC}">
                <c16:uniqueId val="{0000006B-2993-41DE-A2CB-63102DE87051}"/>
              </c:ext>
            </c:extLst>
          </c:dPt>
          <c:dPt>
            <c:idx val="26"/>
            <c:invertIfNegative val="1"/>
            <c:bubble3D val="0"/>
            <c:spPr>
              <a:solidFill>
                <a:srgbClr val="7ECAC4"/>
              </a:solidFill>
            </c:spPr>
            <c:extLst>
              <c:ext xmlns:c16="http://schemas.microsoft.com/office/drawing/2014/chart" uri="{C3380CC4-5D6E-409C-BE32-E72D297353CC}">
                <c16:uniqueId val="{0000006D-2993-41DE-A2CB-63102DE87051}"/>
              </c:ext>
            </c:extLst>
          </c:dPt>
          <c:dPt>
            <c:idx val="27"/>
            <c:invertIfNegative val="1"/>
            <c:bubble3D val="0"/>
            <c:spPr>
              <a:solidFill>
                <a:srgbClr val="7ECAC4"/>
              </a:solidFill>
            </c:spPr>
            <c:extLst>
              <c:ext xmlns:c16="http://schemas.microsoft.com/office/drawing/2014/chart" uri="{C3380CC4-5D6E-409C-BE32-E72D297353CC}">
                <c16:uniqueId val="{0000006F-2993-41DE-A2CB-63102DE87051}"/>
              </c:ext>
            </c:extLst>
          </c:dPt>
          <c:dPt>
            <c:idx val="28"/>
            <c:invertIfNegative val="1"/>
            <c:bubble3D val="0"/>
            <c:spPr>
              <a:solidFill>
                <a:srgbClr val="7ECAC4"/>
              </a:solidFill>
            </c:spPr>
            <c:extLst>
              <c:ext xmlns:c16="http://schemas.microsoft.com/office/drawing/2014/chart" uri="{C3380CC4-5D6E-409C-BE32-E72D297353CC}">
                <c16:uniqueId val="{00000071-2993-41DE-A2CB-63102DE87051}"/>
              </c:ext>
            </c:extLst>
          </c:dPt>
          <c:dPt>
            <c:idx val="29"/>
            <c:invertIfNegative val="1"/>
            <c:bubble3D val="0"/>
            <c:spPr>
              <a:solidFill>
                <a:srgbClr val="7ECAC4"/>
              </a:solidFill>
            </c:spPr>
            <c:extLst>
              <c:ext xmlns:c16="http://schemas.microsoft.com/office/drawing/2014/chart" uri="{C3380CC4-5D6E-409C-BE32-E72D297353CC}">
                <c16:uniqueId val="{00000073-2993-41DE-A2CB-63102DE87051}"/>
              </c:ext>
            </c:extLst>
          </c:dPt>
          <c:dPt>
            <c:idx val="30"/>
            <c:invertIfNegative val="1"/>
            <c:bubble3D val="0"/>
            <c:spPr>
              <a:solidFill>
                <a:srgbClr val="7ECAC4"/>
              </a:solidFill>
            </c:spPr>
            <c:extLst>
              <c:ext xmlns:c16="http://schemas.microsoft.com/office/drawing/2014/chart" uri="{C3380CC4-5D6E-409C-BE32-E72D297353CC}">
                <c16:uniqueId val="{00000075-2993-41DE-A2CB-63102DE87051}"/>
              </c:ext>
            </c:extLst>
          </c:dPt>
          <c:dPt>
            <c:idx val="31"/>
            <c:invertIfNegative val="1"/>
            <c:bubble3D val="0"/>
            <c:spPr>
              <a:solidFill>
                <a:srgbClr val="7ECAC4"/>
              </a:solidFill>
            </c:spPr>
            <c:extLst>
              <c:ext xmlns:c16="http://schemas.microsoft.com/office/drawing/2014/chart" uri="{C3380CC4-5D6E-409C-BE32-E72D297353CC}">
                <c16:uniqueId val="{00000077-2993-41DE-A2CB-63102DE87051}"/>
              </c:ext>
            </c:extLst>
          </c:dPt>
          <c:dPt>
            <c:idx val="32"/>
            <c:invertIfNegative val="1"/>
            <c:bubble3D val="0"/>
            <c:spPr>
              <a:solidFill>
                <a:srgbClr val="7ECAC4"/>
              </a:solidFill>
            </c:spPr>
            <c:extLst>
              <c:ext xmlns:c16="http://schemas.microsoft.com/office/drawing/2014/chart" uri="{C3380CC4-5D6E-409C-BE32-E72D297353CC}">
                <c16:uniqueId val="{00000079-2993-41DE-A2CB-63102DE87051}"/>
              </c:ext>
            </c:extLst>
          </c:dPt>
          <c:dPt>
            <c:idx val="33"/>
            <c:invertIfNegative val="1"/>
            <c:bubble3D val="0"/>
            <c:spPr>
              <a:solidFill>
                <a:srgbClr val="7ECAC4"/>
              </a:solidFill>
            </c:spPr>
            <c:extLst>
              <c:ext xmlns:c16="http://schemas.microsoft.com/office/drawing/2014/chart" uri="{C3380CC4-5D6E-409C-BE32-E72D297353CC}">
                <c16:uniqueId val="{0000007B-2993-41DE-A2CB-63102DE87051}"/>
              </c:ext>
            </c:extLst>
          </c:dPt>
          <c:dPt>
            <c:idx val="34"/>
            <c:invertIfNegative val="1"/>
            <c:bubble3D val="0"/>
            <c:spPr>
              <a:solidFill>
                <a:srgbClr val="7ECAC4"/>
              </a:solidFill>
            </c:spPr>
            <c:extLst>
              <c:ext xmlns:c16="http://schemas.microsoft.com/office/drawing/2014/chart" uri="{C3380CC4-5D6E-409C-BE32-E72D297353CC}">
                <c16:uniqueId val="{0000007D-2993-41DE-A2CB-63102DE87051}"/>
              </c:ext>
            </c:extLst>
          </c:dPt>
          <c:dPt>
            <c:idx val="35"/>
            <c:invertIfNegative val="1"/>
            <c:bubble3D val="0"/>
            <c:spPr>
              <a:solidFill>
                <a:srgbClr val="7ECAC4"/>
              </a:solidFill>
            </c:spPr>
            <c:extLst>
              <c:ext xmlns:c16="http://schemas.microsoft.com/office/drawing/2014/chart" uri="{C3380CC4-5D6E-409C-BE32-E72D297353CC}">
                <c16:uniqueId val="{0000007F-2993-41DE-A2CB-63102DE87051}"/>
              </c:ext>
            </c:extLst>
          </c:dPt>
          <c:dPt>
            <c:idx val="36"/>
            <c:invertIfNegative val="1"/>
            <c:bubble3D val="0"/>
            <c:spPr>
              <a:solidFill>
                <a:srgbClr val="7ECAC4"/>
              </a:solidFill>
            </c:spPr>
            <c:extLst>
              <c:ext xmlns:c16="http://schemas.microsoft.com/office/drawing/2014/chart" uri="{C3380CC4-5D6E-409C-BE32-E72D297353CC}">
                <c16:uniqueId val="{00000081-2993-41DE-A2CB-63102DE87051}"/>
              </c:ext>
            </c:extLst>
          </c:dPt>
          <c:dPt>
            <c:idx val="37"/>
            <c:invertIfNegative val="1"/>
            <c:bubble3D val="0"/>
            <c:spPr>
              <a:solidFill>
                <a:srgbClr val="7ECAC4"/>
              </a:solidFill>
            </c:spPr>
            <c:extLst>
              <c:ext xmlns:c16="http://schemas.microsoft.com/office/drawing/2014/chart" uri="{C3380CC4-5D6E-409C-BE32-E72D297353CC}">
                <c16:uniqueId val="{00000083-2993-41DE-A2CB-63102DE87051}"/>
              </c:ext>
            </c:extLst>
          </c:dPt>
          <c:dPt>
            <c:idx val="38"/>
            <c:invertIfNegative val="1"/>
            <c:bubble3D val="0"/>
            <c:spPr>
              <a:solidFill>
                <a:srgbClr val="7ECAC4"/>
              </a:solidFill>
            </c:spPr>
            <c:extLst>
              <c:ext xmlns:c16="http://schemas.microsoft.com/office/drawing/2014/chart" uri="{C3380CC4-5D6E-409C-BE32-E72D297353CC}">
                <c16:uniqueId val="{00000085-2993-41DE-A2CB-63102DE87051}"/>
              </c:ext>
            </c:extLst>
          </c:dPt>
          <c:dPt>
            <c:idx val="39"/>
            <c:invertIfNegative val="1"/>
            <c:bubble3D val="0"/>
            <c:spPr>
              <a:solidFill>
                <a:srgbClr val="7ECAC4"/>
              </a:solidFill>
            </c:spPr>
            <c:extLst>
              <c:ext xmlns:c16="http://schemas.microsoft.com/office/drawing/2014/chart" uri="{C3380CC4-5D6E-409C-BE32-E72D297353CC}">
                <c16:uniqueId val="{00000087-2993-41DE-A2CB-63102DE87051}"/>
              </c:ext>
            </c:extLst>
          </c:dPt>
          <c:dPt>
            <c:idx val="40"/>
            <c:invertIfNegative val="1"/>
            <c:bubble3D val="0"/>
            <c:spPr>
              <a:solidFill>
                <a:srgbClr val="7ECAC4"/>
              </a:solidFill>
            </c:spPr>
            <c:extLst>
              <c:ext xmlns:c16="http://schemas.microsoft.com/office/drawing/2014/chart" uri="{C3380CC4-5D6E-409C-BE32-E72D297353CC}">
                <c16:uniqueId val="{00000089-2993-41DE-A2CB-63102DE87051}"/>
              </c:ext>
            </c:extLst>
          </c:dPt>
          <c:dPt>
            <c:idx val="41"/>
            <c:invertIfNegative val="1"/>
            <c:bubble3D val="0"/>
            <c:spPr>
              <a:solidFill>
                <a:srgbClr val="7ECAC4"/>
              </a:solidFill>
            </c:spPr>
            <c:extLst>
              <c:ext xmlns:c16="http://schemas.microsoft.com/office/drawing/2014/chart" uri="{C3380CC4-5D6E-409C-BE32-E72D297353CC}">
                <c16:uniqueId val="{0000008B-2993-41DE-A2CB-63102DE87051}"/>
              </c:ext>
            </c:extLst>
          </c:dPt>
          <c:dPt>
            <c:idx val="42"/>
            <c:invertIfNegative val="1"/>
            <c:bubble3D val="0"/>
            <c:spPr>
              <a:solidFill>
                <a:srgbClr val="7ECAC4"/>
              </a:solidFill>
            </c:spPr>
            <c:extLst>
              <c:ext xmlns:c16="http://schemas.microsoft.com/office/drawing/2014/chart" uri="{C3380CC4-5D6E-409C-BE32-E72D297353CC}">
                <c16:uniqueId val="{0000008D-2993-41DE-A2CB-63102DE87051}"/>
              </c:ext>
            </c:extLst>
          </c:dPt>
          <c:dPt>
            <c:idx val="43"/>
            <c:invertIfNegative val="1"/>
            <c:bubble3D val="0"/>
            <c:spPr>
              <a:solidFill>
                <a:srgbClr val="7ECAC4"/>
              </a:solidFill>
            </c:spPr>
            <c:extLst>
              <c:ext xmlns:c16="http://schemas.microsoft.com/office/drawing/2014/chart" uri="{C3380CC4-5D6E-409C-BE32-E72D297353CC}">
                <c16:uniqueId val="{0000008F-2993-41DE-A2CB-63102DE87051}"/>
              </c:ext>
            </c:extLst>
          </c:dPt>
          <c:dPt>
            <c:idx val="44"/>
            <c:invertIfNegative val="1"/>
            <c:bubble3D val="0"/>
            <c:spPr>
              <a:solidFill>
                <a:srgbClr val="7ECAC4"/>
              </a:solidFill>
            </c:spPr>
            <c:extLst>
              <c:ext xmlns:c16="http://schemas.microsoft.com/office/drawing/2014/chart" uri="{C3380CC4-5D6E-409C-BE32-E72D297353CC}">
                <c16:uniqueId val="{00000091-2993-41DE-A2CB-63102DE87051}"/>
              </c:ext>
            </c:extLst>
          </c:dPt>
          <c:dPt>
            <c:idx val="45"/>
            <c:invertIfNegative val="1"/>
            <c:bubble3D val="0"/>
            <c:spPr>
              <a:solidFill>
                <a:srgbClr val="7ECAC4"/>
              </a:solidFill>
            </c:spPr>
            <c:extLst>
              <c:ext xmlns:c16="http://schemas.microsoft.com/office/drawing/2014/chart" uri="{C3380CC4-5D6E-409C-BE32-E72D297353CC}">
                <c16:uniqueId val="{00000093-2993-41DE-A2CB-63102DE87051}"/>
              </c:ext>
            </c:extLst>
          </c:dPt>
          <c:dPt>
            <c:idx val="46"/>
            <c:invertIfNegative val="1"/>
            <c:bubble3D val="0"/>
            <c:spPr>
              <a:solidFill>
                <a:srgbClr val="7ECAC4"/>
              </a:solidFill>
            </c:spPr>
            <c:extLst>
              <c:ext xmlns:c16="http://schemas.microsoft.com/office/drawing/2014/chart" uri="{C3380CC4-5D6E-409C-BE32-E72D297353CC}">
                <c16:uniqueId val="{00000095-2993-41DE-A2CB-63102DE87051}"/>
              </c:ext>
            </c:extLst>
          </c:dPt>
          <c:dPt>
            <c:idx val="47"/>
            <c:invertIfNegative val="1"/>
            <c:bubble3D val="0"/>
            <c:spPr>
              <a:solidFill>
                <a:srgbClr val="7ECAC4"/>
              </a:solidFill>
            </c:spPr>
            <c:extLst>
              <c:ext xmlns:c16="http://schemas.microsoft.com/office/drawing/2014/chart" uri="{C3380CC4-5D6E-409C-BE32-E72D297353CC}">
                <c16:uniqueId val="{00000097-2993-41DE-A2CB-63102DE87051}"/>
              </c:ext>
            </c:extLst>
          </c:dPt>
          <c:dPt>
            <c:idx val="48"/>
            <c:invertIfNegative val="1"/>
            <c:bubble3D val="0"/>
            <c:spPr>
              <a:solidFill>
                <a:srgbClr val="AEABAB"/>
              </a:solidFill>
            </c:spPr>
            <c:extLst>
              <c:ext xmlns:c16="http://schemas.microsoft.com/office/drawing/2014/chart" uri="{C3380CC4-5D6E-409C-BE32-E72D297353CC}">
                <c16:uniqueId val="{00000099-2993-41DE-A2CB-63102DE87051}"/>
              </c:ext>
            </c:extLst>
          </c:dPt>
          <c:dPt>
            <c:idx val="49"/>
            <c:invertIfNegative val="1"/>
            <c:bubble3D val="0"/>
            <c:spPr>
              <a:solidFill>
                <a:srgbClr val="AEABAB"/>
              </a:solidFill>
            </c:spPr>
            <c:extLst>
              <c:ext xmlns:c16="http://schemas.microsoft.com/office/drawing/2014/chart" uri="{C3380CC4-5D6E-409C-BE32-E72D297353CC}">
                <c16:uniqueId val="{0000009B-2993-41DE-A2CB-63102DE87051}"/>
              </c:ext>
            </c:extLst>
          </c:dPt>
          <c:dPt>
            <c:idx val="50"/>
            <c:invertIfNegative val="1"/>
            <c:bubble3D val="0"/>
            <c:spPr>
              <a:solidFill>
                <a:srgbClr val="AEABAB"/>
              </a:solidFill>
            </c:spPr>
            <c:extLst>
              <c:ext xmlns:c16="http://schemas.microsoft.com/office/drawing/2014/chart" uri="{C3380CC4-5D6E-409C-BE32-E72D297353CC}">
                <c16:uniqueId val="{0000009D-2993-41DE-A2CB-63102DE87051}"/>
              </c:ext>
            </c:extLst>
          </c:dPt>
          <c:dPt>
            <c:idx val="51"/>
            <c:invertIfNegative val="1"/>
            <c:bubble3D val="0"/>
            <c:spPr>
              <a:solidFill>
                <a:srgbClr val="AEABAB"/>
              </a:solidFill>
            </c:spPr>
            <c:extLst>
              <c:ext xmlns:c16="http://schemas.microsoft.com/office/drawing/2014/chart" uri="{C3380CC4-5D6E-409C-BE32-E72D297353CC}">
                <c16:uniqueId val="{0000009F-2993-41DE-A2CB-63102DE87051}"/>
              </c:ext>
            </c:extLst>
          </c:dPt>
          <c:dPt>
            <c:idx val="52"/>
            <c:invertIfNegative val="1"/>
            <c:bubble3D val="0"/>
            <c:spPr>
              <a:solidFill>
                <a:srgbClr val="AEABAB"/>
              </a:solidFill>
            </c:spPr>
            <c:extLst>
              <c:ext xmlns:c16="http://schemas.microsoft.com/office/drawing/2014/chart" uri="{C3380CC4-5D6E-409C-BE32-E72D297353CC}">
                <c16:uniqueId val="{000000A1-2993-41DE-A2CB-63102DE87051}"/>
              </c:ext>
            </c:extLst>
          </c:dPt>
          <c:dPt>
            <c:idx val="53"/>
            <c:invertIfNegative val="1"/>
            <c:bubble3D val="0"/>
            <c:spPr>
              <a:solidFill>
                <a:srgbClr val="AEABAB"/>
              </a:solidFill>
            </c:spPr>
            <c:extLst>
              <c:ext xmlns:c16="http://schemas.microsoft.com/office/drawing/2014/chart" uri="{C3380CC4-5D6E-409C-BE32-E72D297353CC}">
                <c16:uniqueId val="{000000A3-2993-41DE-A2CB-63102DE87051}"/>
              </c:ext>
            </c:extLst>
          </c:dPt>
          <c:dPt>
            <c:idx val="54"/>
            <c:invertIfNegative val="0"/>
            <c:bubble3D val="0"/>
            <c:spPr>
              <a:solidFill>
                <a:srgbClr val="AEABAB"/>
              </a:solidFill>
            </c:spPr>
            <c:extLst>
              <c:ext xmlns:c16="http://schemas.microsoft.com/office/drawing/2014/chart" uri="{C3380CC4-5D6E-409C-BE32-E72D297353CC}">
                <c16:uniqueId val="{00000072-C76F-4230-900D-40618C09729F}"/>
              </c:ext>
            </c:extLst>
          </c:dPt>
          <c:dPt>
            <c:idx val="55"/>
            <c:invertIfNegative val="0"/>
            <c:bubble3D val="0"/>
            <c:spPr>
              <a:solidFill>
                <a:srgbClr val="AEABAB"/>
              </a:solidFill>
            </c:spPr>
            <c:extLst>
              <c:ext xmlns:c16="http://schemas.microsoft.com/office/drawing/2014/chart" uri="{C3380CC4-5D6E-409C-BE32-E72D297353CC}">
                <c16:uniqueId val="{00000074-C76F-4230-900D-40618C09729F}"/>
              </c:ext>
            </c:extLst>
          </c:dPt>
          <c:dPt>
            <c:idx val="56"/>
            <c:invertIfNegative val="0"/>
            <c:bubble3D val="0"/>
            <c:spPr>
              <a:solidFill>
                <a:srgbClr val="AEABAB"/>
              </a:solidFill>
            </c:spPr>
            <c:extLst>
              <c:ext xmlns:c16="http://schemas.microsoft.com/office/drawing/2014/chart" uri="{C3380CC4-5D6E-409C-BE32-E72D297353CC}">
                <c16:uniqueId val="{00000076-C76F-4230-900D-40618C09729F}"/>
              </c:ext>
            </c:extLst>
          </c:dPt>
          <c:dPt>
            <c:idx val="57"/>
            <c:invertIfNegative val="0"/>
            <c:bubble3D val="0"/>
            <c:spPr>
              <a:solidFill>
                <a:srgbClr val="AEABAB"/>
              </a:solidFill>
            </c:spPr>
            <c:extLst>
              <c:ext xmlns:c16="http://schemas.microsoft.com/office/drawing/2014/chart" uri="{C3380CC4-5D6E-409C-BE32-E72D297353CC}">
                <c16:uniqueId val="{00000078-C76F-4230-900D-40618C09729F}"/>
              </c:ext>
            </c:extLst>
          </c:dPt>
          <c:dPt>
            <c:idx val="58"/>
            <c:invertIfNegative val="0"/>
            <c:bubble3D val="0"/>
            <c:spPr>
              <a:solidFill>
                <a:srgbClr val="AEABAB"/>
              </a:solidFill>
            </c:spPr>
            <c:extLst>
              <c:ext xmlns:c16="http://schemas.microsoft.com/office/drawing/2014/chart" uri="{C3380CC4-5D6E-409C-BE32-E72D297353CC}">
                <c16:uniqueId val="{0000007A-C76F-4230-900D-40618C09729F}"/>
              </c:ext>
            </c:extLst>
          </c:dPt>
          <c:dPt>
            <c:idx val="59"/>
            <c:invertIfNegative val="0"/>
            <c:bubble3D val="0"/>
            <c:spPr>
              <a:solidFill>
                <a:srgbClr val="AEABAB"/>
              </a:solidFill>
            </c:spPr>
            <c:extLst>
              <c:ext xmlns:c16="http://schemas.microsoft.com/office/drawing/2014/chart" uri="{C3380CC4-5D6E-409C-BE32-E72D297353CC}">
                <c16:uniqueId val="{0000007C-C76F-4230-900D-40618C09729F}"/>
              </c:ext>
            </c:extLst>
          </c:dPt>
          <c:dPt>
            <c:idx val="60"/>
            <c:invertIfNegative val="0"/>
            <c:bubble3D val="0"/>
            <c:spPr>
              <a:solidFill>
                <a:srgbClr val="AEABAB"/>
              </a:solidFill>
            </c:spPr>
            <c:extLst>
              <c:ext xmlns:c16="http://schemas.microsoft.com/office/drawing/2014/chart" uri="{C3380CC4-5D6E-409C-BE32-E72D297353CC}">
                <c16:uniqueId val="{0000007E-C76F-4230-900D-40618C09729F}"/>
              </c:ext>
            </c:extLst>
          </c:dPt>
          <c:dPt>
            <c:idx val="61"/>
            <c:invertIfNegative val="0"/>
            <c:bubble3D val="0"/>
            <c:spPr>
              <a:solidFill>
                <a:srgbClr val="AEABAB"/>
              </a:solidFill>
            </c:spPr>
            <c:extLst>
              <c:ext xmlns:c16="http://schemas.microsoft.com/office/drawing/2014/chart" uri="{C3380CC4-5D6E-409C-BE32-E72D297353CC}">
                <c16:uniqueId val="{00000080-C76F-4230-900D-40618C09729F}"/>
              </c:ext>
            </c:extLst>
          </c:dPt>
          <c:dPt>
            <c:idx val="62"/>
            <c:invertIfNegative val="0"/>
            <c:bubble3D val="0"/>
            <c:spPr>
              <a:solidFill>
                <a:srgbClr val="AEABAB"/>
              </a:solidFill>
            </c:spPr>
            <c:extLst>
              <c:ext xmlns:c16="http://schemas.microsoft.com/office/drawing/2014/chart" uri="{C3380CC4-5D6E-409C-BE32-E72D297353CC}">
                <c16:uniqueId val="{00000082-C76F-4230-900D-40618C09729F}"/>
              </c:ext>
            </c:extLst>
          </c:dPt>
          <c:dPt>
            <c:idx val="63"/>
            <c:invertIfNegative val="0"/>
            <c:bubble3D val="0"/>
            <c:spPr>
              <a:solidFill>
                <a:srgbClr val="AEABAB"/>
              </a:solidFill>
            </c:spPr>
            <c:extLst>
              <c:ext xmlns:c16="http://schemas.microsoft.com/office/drawing/2014/chart" uri="{C3380CC4-5D6E-409C-BE32-E72D297353CC}">
                <c16:uniqueId val="{00000084-C76F-4230-900D-40618C09729F}"/>
              </c:ext>
            </c:extLst>
          </c:dPt>
          <c:dPt>
            <c:idx val="64"/>
            <c:invertIfNegative val="0"/>
            <c:bubble3D val="0"/>
            <c:spPr>
              <a:solidFill>
                <a:srgbClr val="AEABAB"/>
              </a:solidFill>
            </c:spPr>
            <c:extLst>
              <c:ext xmlns:c16="http://schemas.microsoft.com/office/drawing/2014/chart" uri="{C3380CC4-5D6E-409C-BE32-E72D297353CC}">
                <c16:uniqueId val="{00000086-C76F-4230-900D-40618C09729F}"/>
              </c:ext>
            </c:extLst>
          </c:dPt>
          <c:dPt>
            <c:idx val="65"/>
            <c:invertIfNegative val="0"/>
            <c:bubble3D val="0"/>
            <c:spPr>
              <a:solidFill>
                <a:srgbClr val="AEABAB"/>
              </a:solidFill>
            </c:spPr>
            <c:extLst>
              <c:ext xmlns:c16="http://schemas.microsoft.com/office/drawing/2014/chart" uri="{C3380CC4-5D6E-409C-BE32-E72D297353CC}">
                <c16:uniqueId val="{00000088-C76F-4230-900D-40618C09729F}"/>
              </c:ext>
            </c:extLst>
          </c:dPt>
          <c:dPt>
            <c:idx val="66"/>
            <c:invertIfNegative val="0"/>
            <c:bubble3D val="0"/>
            <c:spPr>
              <a:solidFill>
                <a:srgbClr val="AEABAB"/>
              </a:solidFill>
            </c:spPr>
            <c:extLst>
              <c:ext xmlns:c16="http://schemas.microsoft.com/office/drawing/2014/chart" uri="{C3380CC4-5D6E-409C-BE32-E72D297353CC}">
                <c16:uniqueId val="{0000008A-C76F-4230-900D-40618C09729F}"/>
              </c:ext>
            </c:extLst>
          </c:dPt>
          <c:dPt>
            <c:idx val="67"/>
            <c:invertIfNegative val="0"/>
            <c:bubble3D val="0"/>
            <c:spPr>
              <a:solidFill>
                <a:srgbClr val="AEABAB"/>
              </a:solidFill>
            </c:spPr>
            <c:extLst>
              <c:ext xmlns:c16="http://schemas.microsoft.com/office/drawing/2014/chart" uri="{C3380CC4-5D6E-409C-BE32-E72D297353CC}">
                <c16:uniqueId val="{0000008C-C76F-4230-900D-40618C09729F}"/>
              </c:ext>
            </c:extLst>
          </c:dPt>
          <c:dPt>
            <c:idx val="68"/>
            <c:invertIfNegative val="0"/>
            <c:bubble3D val="0"/>
            <c:spPr>
              <a:solidFill>
                <a:srgbClr val="AEABAB"/>
              </a:solidFill>
            </c:spPr>
            <c:extLst>
              <c:ext xmlns:c16="http://schemas.microsoft.com/office/drawing/2014/chart" uri="{C3380CC4-5D6E-409C-BE32-E72D297353CC}">
                <c16:uniqueId val="{0000008E-C76F-4230-900D-40618C09729F}"/>
              </c:ext>
            </c:extLst>
          </c:dPt>
          <c:dPt>
            <c:idx val="69"/>
            <c:invertIfNegative val="0"/>
            <c:bubble3D val="0"/>
            <c:spPr>
              <a:solidFill>
                <a:srgbClr val="AEABAB"/>
              </a:solidFill>
            </c:spPr>
            <c:extLst>
              <c:ext xmlns:c16="http://schemas.microsoft.com/office/drawing/2014/chart" uri="{C3380CC4-5D6E-409C-BE32-E72D297353CC}">
                <c16:uniqueId val="{00000090-C76F-4230-900D-40618C09729F}"/>
              </c:ext>
            </c:extLst>
          </c:dPt>
          <c:dPt>
            <c:idx val="70"/>
            <c:invertIfNegative val="0"/>
            <c:bubble3D val="0"/>
            <c:spPr>
              <a:solidFill>
                <a:srgbClr val="AEABAB"/>
              </a:solidFill>
            </c:spPr>
            <c:extLst>
              <c:ext xmlns:c16="http://schemas.microsoft.com/office/drawing/2014/chart" uri="{C3380CC4-5D6E-409C-BE32-E72D297353CC}">
                <c16:uniqueId val="{00000092-C76F-4230-900D-40618C09729F}"/>
              </c:ext>
            </c:extLst>
          </c:dPt>
          <c:dPt>
            <c:idx val="71"/>
            <c:invertIfNegative val="0"/>
            <c:bubble3D val="0"/>
            <c:spPr>
              <a:solidFill>
                <a:srgbClr val="AEABAB"/>
              </a:solidFill>
            </c:spPr>
            <c:extLst>
              <c:ext xmlns:c16="http://schemas.microsoft.com/office/drawing/2014/chart" uri="{C3380CC4-5D6E-409C-BE32-E72D297353CC}">
                <c16:uniqueId val="{00000094-C76F-4230-900D-40618C09729F}"/>
              </c:ext>
            </c:extLst>
          </c:dPt>
          <c:dPt>
            <c:idx val="72"/>
            <c:invertIfNegative val="0"/>
            <c:bubble3D val="0"/>
            <c:spPr>
              <a:solidFill>
                <a:srgbClr val="AEABAB"/>
              </a:solidFill>
            </c:spPr>
            <c:extLst>
              <c:ext xmlns:c16="http://schemas.microsoft.com/office/drawing/2014/chart" uri="{C3380CC4-5D6E-409C-BE32-E72D297353CC}">
                <c16:uniqueId val="{00000096-C76F-4230-900D-40618C09729F}"/>
              </c:ext>
            </c:extLst>
          </c:dPt>
          <c:dPt>
            <c:idx val="73"/>
            <c:invertIfNegative val="0"/>
            <c:bubble3D val="0"/>
            <c:spPr>
              <a:solidFill>
                <a:srgbClr val="AEABAB"/>
              </a:solidFill>
            </c:spPr>
            <c:extLst>
              <c:ext xmlns:c16="http://schemas.microsoft.com/office/drawing/2014/chart" uri="{C3380CC4-5D6E-409C-BE32-E72D297353CC}">
                <c16:uniqueId val="{00000098-C76F-4230-900D-40618C09729F}"/>
              </c:ext>
            </c:extLst>
          </c:dPt>
          <c:dPt>
            <c:idx val="74"/>
            <c:invertIfNegative val="0"/>
            <c:bubble3D val="0"/>
            <c:spPr>
              <a:solidFill>
                <a:srgbClr val="AEABAB"/>
              </a:solidFill>
            </c:spPr>
            <c:extLst>
              <c:ext xmlns:c16="http://schemas.microsoft.com/office/drawing/2014/chart" uri="{C3380CC4-5D6E-409C-BE32-E72D297353CC}">
                <c16:uniqueId val="{0000009A-C76F-4230-900D-40618C09729F}"/>
              </c:ext>
            </c:extLst>
          </c:dPt>
          <c:dPt>
            <c:idx val="75"/>
            <c:invertIfNegative val="0"/>
            <c:bubble3D val="0"/>
            <c:spPr>
              <a:solidFill>
                <a:srgbClr val="AEABAB"/>
              </a:solidFill>
            </c:spPr>
            <c:extLst>
              <c:ext xmlns:c16="http://schemas.microsoft.com/office/drawing/2014/chart" uri="{C3380CC4-5D6E-409C-BE32-E72D297353CC}">
                <c16:uniqueId val="{0000009C-C76F-4230-900D-40618C09729F}"/>
              </c:ext>
            </c:extLst>
          </c:dPt>
          <c:dPt>
            <c:idx val="76"/>
            <c:invertIfNegative val="0"/>
            <c:bubble3D val="0"/>
            <c:spPr>
              <a:solidFill>
                <a:srgbClr val="AEABAB"/>
              </a:solidFill>
            </c:spPr>
            <c:extLst>
              <c:ext xmlns:c16="http://schemas.microsoft.com/office/drawing/2014/chart" uri="{C3380CC4-5D6E-409C-BE32-E72D297353CC}">
                <c16:uniqueId val="{0000009E-C76F-4230-900D-40618C09729F}"/>
              </c:ext>
            </c:extLst>
          </c:dPt>
          <c:dPt>
            <c:idx val="77"/>
            <c:invertIfNegative val="0"/>
            <c:bubble3D val="0"/>
            <c:spPr>
              <a:solidFill>
                <a:srgbClr val="AEABAB"/>
              </a:solidFill>
            </c:spPr>
            <c:extLst>
              <c:ext xmlns:c16="http://schemas.microsoft.com/office/drawing/2014/chart" uri="{C3380CC4-5D6E-409C-BE32-E72D297353CC}">
                <c16:uniqueId val="{000000A0-C76F-4230-900D-40618C09729F}"/>
              </c:ext>
            </c:extLst>
          </c:dPt>
          <c:dPt>
            <c:idx val="78"/>
            <c:invertIfNegative val="0"/>
            <c:bubble3D val="0"/>
            <c:spPr>
              <a:solidFill>
                <a:srgbClr val="AEABAB"/>
              </a:solidFill>
            </c:spPr>
            <c:extLst>
              <c:ext xmlns:c16="http://schemas.microsoft.com/office/drawing/2014/chart" uri="{C3380CC4-5D6E-409C-BE32-E72D297353CC}">
                <c16:uniqueId val="{000000A2-C76F-4230-900D-40618C09729F}"/>
              </c:ext>
            </c:extLst>
          </c:dPt>
          <c:dPt>
            <c:idx val="79"/>
            <c:invertIfNegative val="0"/>
            <c:bubble3D val="0"/>
            <c:spPr>
              <a:solidFill>
                <a:srgbClr val="AEABAB"/>
              </a:solidFill>
            </c:spPr>
            <c:extLst>
              <c:ext xmlns:c16="http://schemas.microsoft.com/office/drawing/2014/chart" uri="{C3380CC4-5D6E-409C-BE32-E72D297353CC}">
                <c16:uniqueId val="{000000A4-C76F-4230-900D-40618C09729F}"/>
              </c:ext>
            </c:extLst>
          </c:dPt>
          <c:dPt>
            <c:idx val="80"/>
            <c:invertIfNegative val="0"/>
            <c:bubble3D val="0"/>
            <c:spPr>
              <a:solidFill>
                <a:srgbClr val="AEABAB"/>
              </a:solidFill>
            </c:spPr>
            <c:extLst>
              <c:ext xmlns:c16="http://schemas.microsoft.com/office/drawing/2014/chart" uri="{C3380CC4-5D6E-409C-BE32-E72D297353CC}">
                <c16:uniqueId val="{000000A6-C76F-4230-900D-40618C09729F}"/>
              </c:ext>
            </c:extLst>
          </c:dPt>
          <c:dPt>
            <c:idx val="81"/>
            <c:invertIfNegative val="1"/>
            <c:bubble3D val="0"/>
            <c:spPr>
              <a:solidFill>
                <a:srgbClr val="AEABAB"/>
              </a:solidFill>
            </c:spPr>
            <c:extLst>
              <c:ext xmlns:c16="http://schemas.microsoft.com/office/drawing/2014/chart" uri="{C3380CC4-5D6E-409C-BE32-E72D297353CC}">
                <c16:uniqueId val="{000000A5-2993-41DE-A2CB-63102DE87051}"/>
              </c:ext>
            </c:extLst>
          </c:dPt>
          <c:dPt>
            <c:idx val="82"/>
            <c:invertIfNegative val="1"/>
            <c:bubble3D val="0"/>
            <c:spPr>
              <a:solidFill>
                <a:srgbClr val="AEABAB"/>
              </a:solidFill>
            </c:spPr>
            <c:extLst>
              <c:ext xmlns:c16="http://schemas.microsoft.com/office/drawing/2014/chart" uri="{C3380CC4-5D6E-409C-BE32-E72D297353CC}">
                <c16:uniqueId val="{000000A7-2993-41DE-A2CB-63102DE87051}"/>
              </c:ext>
            </c:extLst>
          </c:dPt>
          <c:dPt>
            <c:idx val="83"/>
            <c:invertIfNegative val="1"/>
            <c:bubble3D val="0"/>
            <c:spPr>
              <a:solidFill>
                <a:srgbClr val="AEABAB"/>
              </a:solidFill>
            </c:spPr>
            <c:extLst>
              <c:ext xmlns:c16="http://schemas.microsoft.com/office/drawing/2014/chart" uri="{C3380CC4-5D6E-409C-BE32-E72D297353CC}">
                <c16:uniqueId val="{000000A9-2993-41DE-A2CB-63102DE87051}"/>
              </c:ext>
            </c:extLst>
          </c:dPt>
          <c:dPt>
            <c:idx val="84"/>
            <c:invertIfNegative val="1"/>
            <c:bubble3D val="0"/>
            <c:spPr>
              <a:solidFill>
                <a:srgbClr val="AEABAB"/>
              </a:solidFill>
            </c:spPr>
            <c:extLst>
              <c:ext xmlns:c16="http://schemas.microsoft.com/office/drawing/2014/chart" uri="{C3380CC4-5D6E-409C-BE32-E72D297353CC}">
                <c16:uniqueId val="{000000AB-2993-41DE-A2CB-63102DE87051}"/>
              </c:ext>
            </c:extLst>
          </c:dPt>
          <c:dPt>
            <c:idx val="85"/>
            <c:invertIfNegative val="1"/>
            <c:bubble3D val="0"/>
            <c:spPr>
              <a:solidFill>
                <a:srgbClr val="AEABAB"/>
              </a:solidFill>
            </c:spPr>
            <c:extLst>
              <c:ext xmlns:c16="http://schemas.microsoft.com/office/drawing/2014/chart" uri="{C3380CC4-5D6E-409C-BE32-E72D297353CC}">
                <c16:uniqueId val="{000000AD-2993-41DE-A2CB-63102DE87051}"/>
              </c:ext>
            </c:extLst>
          </c:dPt>
          <c:dPt>
            <c:idx val="86"/>
            <c:invertIfNegative val="1"/>
            <c:bubble3D val="0"/>
            <c:spPr>
              <a:solidFill>
                <a:srgbClr val="AEABAB"/>
              </a:solidFill>
            </c:spPr>
            <c:extLst>
              <c:ext xmlns:c16="http://schemas.microsoft.com/office/drawing/2014/chart" uri="{C3380CC4-5D6E-409C-BE32-E72D297353CC}">
                <c16:uniqueId val="{000000AF-2993-41DE-A2CB-63102DE87051}"/>
              </c:ext>
            </c:extLst>
          </c:dPt>
          <c:dPt>
            <c:idx val="87"/>
            <c:invertIfNegative val="1"/>
            <c:bubble3D val="0"/>
            <c:spPr>
              <a:solidFill>
                <a:srgbClr val="AEABAB"/>
              </a:solidFill>
            </c:spPr>
            <c:extLst>
              <c:ext xmlns:c16="http://schemas.microsoft.com/office/drawing/2014/chart" uri="{C3380CC4-5D6E-409C-BE32-E72D297353CC}">
                <c16:uniqueId val="{000000B1-2993-41DE-A2CB-63102DE87051}"/>
              </c:ext>
            </c:extLst>
          </c:dPt>
          <c:dPt>
            <c:idx val="88"/>
            <c:invertIfNegative val="1"/>
            <c:bubble3D val="0"/>
            <c:spPr>
              <a:solidFill>
                <a:srgbClr val="AEABAB"/>
              </a:solidFill>
            </c:spPr>
            <c:extLst>
              <c:ext xmlns:c16="http://schemas.microsoft.com/office/drawing/2014/chart" uri="{C3380CC4-5D6E-409C-BE32-E72D297353CC}">
                <c16:uniqueId val="{000000B3-2993-41DE-A2CB-63102DE87051}"/>
              </c:ext>
            </c:extLst>
          </c:dPt>
          <c:dPt>
            <c:idx val="89"/>
            <c:invertIfNegative val="1"/>
            <c:bubble3D val="0"/>
            <c:spPr>
              <a:solidFill>
                <a:srgbClr val="AEABAB"/>
              </a:solidFill>
            </c:spPr>
            <c:extLst>
              <c:ext xmlns:c16="http://schemas.microsoft.com/office/drawing/2014/chart" uri="{C3380CC4-5D6E-409C-BE32-E72D297353CC}">
                <c16:uniqueId val="{000000B5-2993-41DE-A2CB-63102DE87051}"/>
              </c:ext>
            </c:extLst>
          </c:dPt>
          <c:dPt>
            <c:idx val="90"/>
            <c:invertIfNegative val="1"/>
            <c:bubble3D val="0"/>
            <c:spPr>
              <a:solidFill>
                <a:srgbClr val="AEABAB"/>
              </a:solidFill>
            </c:spPr>
            <c:extLst>
              <c:ext xmlns:c16="http://schemas.microsoft.com/office/drawing/2014/chart" uri="{C3380CC4-5D6E-409C-BE32-E72D297353CC}">
                <c16:uniqueId val="{000000B7-2993-41DE-A2CB-63102DE87051}"/>
              </c:ext>
            </c:extLst>
          </c:dPt>
          <c:dPt>
            <c:idx val="91"/>
            <c:invertIfNegative val="1"/>
            <c:bubble3D val="0"/>
            <c:spPr>
              <a:solidFill>
                <a:srgbClr val="AEABAB"/>
              </a:solidFill>
            </c:spPr>
            <c:extLst>
              <c:ext xmlns:c16="http://schemas.microsoft.com/office/drawing/2014/chart" uri="{C3380CC4-5D6E-409C-BE32-E72D297353CC}">
                <c16:uniqueId val="{000000B9-2993-41DE-A2CB-63102DE87051}"/>
              </c:ext>
            </c:extLst>
          </c:dPt>
          <c:dPt>
            <c:idx val="92"/>
            <c:invertIfNegative val="1"/>
            <c:bubble3D val="0"/>
            <c:spPr>
              <a:solidFill>
                <a:srgbClr val="AEABAB"/>
              </a:solidFill>
            </c:spPr>
            <c:extLst>
              <c:ext xmlns:c16="http://schemas.microsoft.com/office/drawing/2014/chart" uri="{C3380CC4-5D6E-409C-BE32-E72D297353CC}">
                <c16:uniqueId val="{000000BB-2993-41DE-A2CB-63102DE87051}"/>
              </c:ext>
            </c:extLst>
          </c:dPt>
          <c:dPt>
            <c:idx val="93"/>
            <c:invertIfNegative val="1"/>
            <c:bubble3D val="0"/>
            <c:spPr>
              <a:solidFill>
                <a:srgbClr val="AEABAB"/>
              </a:solidFill>
            </c:spPr>
            <c:extLst>
              <c:ext xmlns:c16="http://schemas.microsoft.com/office/drawing/2014/chart" uri="{C3380CC4-5D6E-409C-BE32-E72D297353CC}">
                <c16:uniqueId val="{000000BD-2993-41DE-A2CB-63102DE87051}"/>
              </c:ext>
            </c:extLst>
          </c:dPt>
          <c:dPt>
            <c:idx val="94"/>
            <c:invertIfNegative val="1"/>
            <c:bubble3D val="0"/>
            <c:spPr>
              <a:solidFill>
                <a:srgbClr val="AEABAB"/>
              </a:solidFill>
            </c:spPr>
            <c:extLst>
              <c:ext xmlns:c16="http://schemas.microsoft.com/office/drawing/2014/chart" uri="{C3380CC4-5D6E-409C-BE32-E72D297353CC}">
                <c16:uniqueId val="{000000BF-2993-41DE-A2CB-63102DE87051}"/>
              </c:ext>
            </c:extLst>
          </c:dPt>
          <c:dPt>
            <c:idx val="95"/>
            <c:invertIfNegative val="1"/>
            <c:bubble3D val="0"/>
            <c:spPr>
              <a:solidFill>
                <a:srgbClr val="AEABAB"/>
              </a:solidFill>
            </c:spPr>
            <c:extLst>
              <c:ext xmlns:c16="http://schemas.microsoft.com/office/drawing/2014/chart" uri="{C3380CC4-5D6E-409C-BE32-E72D297353CC}">
                <c16:uniqueId val="{000000C1-2993-41DE-A2CB-63102DE87051}"/>
              </c:ext>
            </c:extLst>
          </c:dPt>
          <c:dPt>
            <c:idx val="96"/>
            <c:invertIfNegative val="1"/>
            <c:bubble3D val="0"/>
            <c:spPr>
              <a:solidFill>
                <a:srgbClr val="AEABAB"/>
              </a:solidFill>
            </c:spPr>
            <c:extLst>
              <c:ext xmlns:c16="http://schemas.microsoft.com/office/drawing/2014/chart" uri="{C3380CC4-5D6E-409C-BE32-E72D297353CC}">
                <c16:uniqueId val="{000000C3-2993-41DE-A2CB-63102DE87051}"/>
              </c:ext>
            </c:extLst>
          </c:dPt>
          <c:dPt>
            <c:idx val="97"/>
            <c:invertIfNegative val="1"/>
            <c:bubble3D val="0"/>
            <c:spPr>
              <a:solidFill>
                <a:srgbClr val="AEABAB"/>
              </a:solidFill>
            </c:spPr>
            <c:extLst>
              <c:ext xmlns:c16="http://schemas.microsoft.com/office/drawing/2014/chart" uri="{C3380CC4-5D6E-409C-BE32-E72D297353CC}">
                <c16:uniqueId val="{000000C5-2993-41DE-A2CB-63102DE87051}"/>
              </c:ext>
            </c:extLst>
          </c:dPt>
          <c:dPt>
            <c:idx val="98"/>
            <c:invertIfNegative val="1"/>
            <c:bubble3D val="0"/>
            <c:spPr>
              <a:solidFill>
                <a:srgbClr val="AEABAB"/>
              </a:solidFill>
            </c:spPr>
            <c:extLst>
              <c:ext xmlns:c16="http://schemas.microsoft.com/office/drawing/2014/chart" uri="{C3380CC4-5D6E-409C-BE32-E72D297353CC}">
                <c16:uniqueId val="{000000C7-2993-41DE-A2CB-63102DE87051}"/>
              </c:ext>
            </c:extLst>
          </c:dPt>
          <c:dPt>
            <c:idx val="99"/>
            <c:invertIfNegative val="1"/>
            <c:bubble3D val="0"/>
            <c:spPr>
              <a:solidFill>
                <a:srgbClr val="AEABAB"/>
              </a:solidFill>
            </c:spPr>
            <c:extLst>
              <c:ext xmlns:c16="http://schemas.microsoft.com/office/drawing/2014/chart" uri="{C3380CC4-5D6E-409C-BE32-E72D297353CC}">
                <c16:uniqueId val="{000000C9-2993-41DE-A2CB-63102DE87051}"/>
              </c:ext>
            </c:extLst>
          </c:dPt>
          <c:dPt>
            <c:idx val="100"/>
            <c:invertIfNegative val="1"/>
            <c:bubble3D val="0"/>
            <c:spPr>
              <a:solidFill>
                <a:srgbClr val="AEABAB"/>
              </a:solidFill>
            </c:spPr>
            <c:extLst>
              <c:ext xmlns:c16="http://schemas.microsoft.com/office/drawing/2014/chart" uri="{C3380CC4-5D6E-409C-BE32-E72D297353CC}">
                <c16:uniqueId val="{000000CB-2993-41DE-A2CB-63102DE87051}"/>
              </c:ext>
            </c:extLst>
          </c:dPt>
          <c:dPt>
            <c:idx val="101"/>
            <c:invertIfNegative val="1"/>
            <c:bubble3D val="0"/>
            <c:spPr>
              <a:solidFill>
                <a:srgbClr val="AEABAB"/>
              </a:solidFill>
            </c:spPr>
            <c:extLst>
              <c:ext xmlns:c16="http://schemas.microsoft.com/office/drawing/2014/chart" uri="{C3380CC4-5D6E-409C-BE32-E72D297353CC}">
                <c16:uniqueId val="{000000CD-2993-41DE-A2CB-63102DE87051}"/>
              </c:ext>
            </c:extLst>
          </c:dPt>
          <c:dPt>
            <c:idx val="102"/>
            <c:invertIfNegative val="1"/>
            <c:bubble3D val="0"/>
            <c:spPr>
              <a:solidFill>
                <a:srgbClr val="AEABAB"/>
              </a:solidFill>
            </c:spPr>
            <c:extLst>
              <c:ext xmlns:c16="http://schemas.microsoft.com/office/drawing/2014/chart" uri="{C3380CC4-5D6E-409C-BE32-E72D297353CC}">
                <c16:uniqueId val="{000000CF-2993-41DE-A2CB-63102DE87051}"/>
              </c:ext>
            </c:extLst>
          </c:dPt>
          <c:dPt>
            <c:idx val="103"/>
            <c:invertIfNegative val="1"/>
            <c:bubble3D val="0"/>
            <c:spPr>
              <a:solidFill>
                <a:srgbClr val="AEABAB"/>
              </a:solidFill>
            </c:spPr>
            <c:extLst>
              <c:ext xmlns:c16="http://schemas.microsoft.com/office/drawing/2014/chart" uri="{C3380CC4-5D6E-409C-BE32-E72D297353CC}">
                <c16:uniqueId val="{000000D1-2993-41DE-A2CB-63102DE87051}"/>
              </c:ext>
            </c:extLst>
          </c:dPt>
          <c:dPt>
            <c:idx val="104"/>
            <c:invertIfNegative val="1"/>
            <c:bubble3D val="0"/>
            <c:spPr>
              <a:solidFill>
                <a:srgbClr val="AEABAB"/>
              </a:solidFill>
            </c:spPr>
            <c:extLst>
              <c:ext xmlns:c16="http://schemas.microsoft.com/office/drawing/2014/chart" uri="{C3380CC4-5D6E-409C-BE32-E72D297353CC}">
                <c16:uniqueId val="{000000D3-2993-41DE-A2CB-63102DE87051}"/>
              </c:ext>
            </c:extLst>
          </c:dPt>
          <c:dPt>
            <c:idx val="105"/>
            <c:invertIfNegative val="1"/>
            <c:bubble3D val="0"/>
            <c:spPr>
              <a:solidFill>
                <a:srgbClr val="AEABAB"/>
              </a:solidFill>
            </c:spPr>
            <c:extLst>
              <c:ext xmlns:c16="http://schemas.microsoft.com/office/drawing/2014/chart" uri="{C3380CC4-5D6E-409C-BE32-E72D297353CC}">
                <c16:uniqueId val="{000000D5-2993-41DE-A2CB-63102DE87051}"/>
              </c:ext>
            </c:extLst>
          </c:dPt>
          <c:dPt>
            <c:idx val="106"/>
            <c:invertIfNegative val="1"/>
            <c:bubble3D val="0"/>
            <c:spPr>
              <a:solidFill>
                <a:srgbClr val="AEABAB"/>
              </a:solidFill>
            </c:spPr>
            <c:extLst>
              <c:ext xmlns:c16="http://schemas.microsoft.com/office/drawing/2014/chart" uri="{C3380CC4-5D6E-409C-BE32-E72D297353CC}">
                <c16:uniqueId val="{000000D7-2993-41DE-A2CB-63102DE87051}"/>
              </c:ext>
            </c:extLst>
          </c:dPt>
          <c:dPt>
            <c:idx val="107"/>
            <c:invertIfNegative val="1"/>
            <c:bubble3D val="0"/>
            <c:spPr>
              <a:solidFill>
                <a:srgbClr val="AEABAB"/>
              </a:solidFill>
            </c:spPr>
            <c:extLst>
              <c:ext xmlns:c16="http://schemas.microsoft.com/office/drawing/2014/chart" uri="{C3380CC4-5D6E-409C-BE32-E72D297353CC}">
                <c16:uniqueId val="{000000D9-2993-41DE-A2CB-63102DE87051}"/>
              </c:ext>
            </c:extLst>
          </c:dPt>
          <c:dPt>
            <c:idx val="108"/>
            <c:invertIfNegative val="1"/>
            <c:bubble3D val="0"/>
            <c:spPr>
              <a:solidFill>
                <a:srgbClr val="AEABAB"/>
              </a:solidFill>
            </c:spPr>
            <c:extLst>
              <c:ext xmlns:c16="http://schemas.microsoft.com/office/drawing/2014/chart" uri="{C3380CC4-5D6E-409C-BE32-E72D297353CC}">
                <c16:uniqueId val="{000000DB-2993-41DE-A2CB-63102DE87051}"/>
              </c:ext>
            </c:extLst>
          </c:dPt>
          <c:dPt>
            <c:idx val="109"/>
            <c:invertIfNegative val="1"/>
            <c:bubble3D val="0"/>
            <c:spPr>
              <a:solidFill>
                <a:srgbClr val="AEABAB"/>
              </a:solidFill>
            </c:spPr>
            <c:extLst>
              <c:ext xmlns:c16="http://schemas.microsoft.com/office/drawing/2014/chart" uri="{C3380CC4-5D6E-409C-BE32-E72D297353CC}">
                <c16:uniqueId val="{000000DD-2993-41DE-A2CB-63102DE87051}"/>
              </c:ext>
            </c:extLst>
          </c:dPt>
          <c:dPt>
            <c:idx val="110"/>
            <c:invertIfNegative val="1"/>
            <c:bubble3D val="0"/>
            <c:spPr>
              <a:solidFill>
                <a:srgbClr val="AEABAB"/>
              </a:solidFill>
            </c:spPr>
            <c:extLst>
              <c:ext xmlns:c16="http://schemas.microsoft.com/office/drawing/2014/chart" uri="{C3380CC4-5D6E-409C-BE32-E72D297353CC}">
                <c16:uniqueId val="{000000DF-2993-41DE-A2CB-63102DE87051}"/>
              </c:ext>
            </c:extLst>
          </c:dPt>
          <c:dPt>
            <c:idx val="111"/>
            <c:invertIfNegative val="1"/>
            <c:bubble3D val="0"/>
            <c:spPr>
              <a:solidFill>
                <a:srgbClr val="AEABAB"/>
              </a:solidFill>
            </c:spPr>
            <c:extLst>
              <c:ext xmlns:c16="http://schemas.microsoft.com/office/drawing/2014/chart" uri="{C3380CC4-5D6E-409C-BE32-E72D297353CC}">
                <c16:uniqueId val="{000000E1-2993-41DE-A2CB-63102DE87051}"/>
              </c:ext>
            </c:extLst>
          </c:dPt>
          <c:dPt>
            <c:idx val="112"/>
            <c:invertIfNegative val="1"/>
            <c:bubble3D val="0"/>
            <c:spPr>
              <a:solidFill>
                <a:srgbClr val="AEABAB"/>
              </a:solidFill>
            </c:spPr>
            <c:extLst>
              <c:ext xmlns:c16="http://schemas.microsoft.com/office/drawing/2014/chart" uri="{C3380CC4-5D6E-409C-BE32-E72D297353CC}">
                <c16:uniqueId val="{000000E3-2993-41DE-A2CB-63102DE87051}"/>
              </c:ext>
            </c:extLst>
          </c:dPt>
          <c:dPt>
            <c:idx val="113"/>
            <c:invertIfNegative val="1"/>
            <c:bubble3D val="0"/>
            <c:spPr>
              <a:solidFill>
                <a:srgbClr val="AEABAB"/>
              </a:solidFill>
            </c:spPr>
            <c:extLst>
              <c:ext xmlns:c16="http://schemas.microsoft.com/office/drawing/2014/chart" uri="{C3380CC4-5D6E-409C-BE32-E72D297353CC}">
                <c16:uniqueId val="{000000E5-2993-41DE-A2CB-63102DE87051}"/>
              </c:ext>
            </c:extLst>
          </c:dPt>
          <c:dPt>
            <c:idx val="114"/>
            <c:invertIfNegative val="1"/>
            <c:bubble3D val="0"/>
            <c:spPr>
              <a:solidFill>
                <a:srgbClr val="AEABAB"/>
              </a:solidFill>
            </c:spPr>
            <c:extLst>
              <c:ext xmlns:c16="http://schemas.microsoft.com/office/drawing/2014/chart" uri="{C3380CC4-5D6E-409C-BE32-E72D297353CC}">
                <c16:uniqueId val="{000000E7-2993-41DE-A2CB-63102DE87051}"/>
              </c:ext>
            </c:extLst>
          </c:dPt>
          <c:dPt>
            <c:idx val="115"/>
            <c:invertIfNegative val="1"/>
            <c:bubble3D val="0"/>
            <c:spPr>
              <a:solidFill>
                <a:srgbClr val="AEABAB"/>
              </a:solidFill>
            </c:spPr>
            <c:extLst>
              <c:ext xmlns:c16="http://schemas.microsoft.com/office/drawing/2014/chart" uri="{C3380CC4-5D6E-409C-BE32-E72D297353CC}">
                <c16:uniqueId val="{000000E9-2993-41DE-A2CB-63102DE87051}"/>
              </c:ext>
            </c:extLst>
          </c:dPt>
          <c:dPt>
            <c:idx val="116"/>
            <c:invertIfNegative val="1"/>
            <c:bubble3D val="0"/>
            <c:spPr>
              <a:solidFill>
                <a:srgbClr val="AEABAB"/>
              </a:solidFill>
            </c:spPr>
            <c:extLst>
              <c:ext xmlns:c16="http://schemas.microsoft.com/office/drawing/2014/chart" uri="{C3380CC4-5D6E-409C-BE32-E72D297353CC}">
                <c16:uniqueId val="{000000EB-2993-41DE-A2CB-63102DE87051}"/>
              </c:ext>
            </c:extLst>
          </c:dPt>
          <c:dPt>
            <c:idx val="117"/>
            <c:invertIfNegative val="1"/>
            <c:bubble3D val="0"/>
            <c:spPr>
              <a:solidFill>
                <a:srgbClr val="AEABAB"/>
              </a:solidFill>
            </c:spPr>
            <c:extLst>
              <c:ext xmlns:c16="http://schemas.microsoft.com/office/drawing/2014/chart" uri="{C3380CC4-5D6E-409C-BE32-E72D297353CC}">
                <c16:uniqueId val="{000000ED-2993-41DE-A2CB-63102DE87051}"/>
              </c:ext>
            </c:extLst>
          </c:dPt>
          <c:dPt>
            <c:idx val="118"/>
            <c:invertIfNegative val="1"/>
            <c:bubble3D val="0"/>
            <c:spPr>
              <a:solidFill>
                <a:srgbClr val="AEABAB"/>
              </a:solidFill>
            </c:spPr>
            <c:extLst>
              <c:ext xmlns:c16="http://schemas.microsoft.com/office/drawing/2014/chart" uri="{C3380CC4-5D6E-409C-BE32-E72D297353CC}">
                <c16:uniqueId val="{000000EF-2993-41DE-A2CB-63102DE87051}"/>
              </c:ext>
            </c:extLst>
          </c:dPt>
          <c:dPt>
            <c:idx val="119"/>
            <c:invertIfNegative val="1"/>
            <c:bubble3D val="0"/>
            <c:spPr>
              <a:solidFill>
                <a:srgbClr val="AEABAB"/>
              </a:solidFill>
            </c:spPr>
            <c:extLst>
              <c:ext xmlns:c16="http://schemas.microsoft.com/office/drawing/2014/chart" uri="{C3380CC4-5D6E-409C-BE32-E72D297353CC}">
                <c16:uniqueId val="{000000F1-2993-41DE-A2CB-63102DE87051}"/>
              </c:ext>
            </c:extLst>
          </c:dPt>
          <c:dPt>
            <c:idx val="120"/>
            <c:invertIfNegative val="1"/>
            <c:bubble3D val="0"/>
            <c:spPr>
              <a:solidFill>
                <a:srgbClr val="AEABAB"/>
              </a:solidFill>
            </c:spPr>
            <c:extLst>
              <c:ext xmlns:c16="http://schemas.microsoft.com/office/drawing/2014/chart" uri="{C3380CC4-5D6E-409C-BE32-E72D297353CC}">
                <c16:uniqueId val="{000000F3-2993-41DE-A2CB-63102DE87051}"/>
              </c:ext>
            </c:extLst>
          </c:dPt>
          <c:dPt>
            <c:idx val="121"/>
            <c:invertIfNegative val="1"/>
            <c:bubble3D val="0"/>
            <c:spPr>
              <a:solidFill>
                <a:srgbClr val="AEABAB"/>
              </a:solidFill>
            </c:spPr>
            <c:extLst>
              <c:ext xmlns:c16="http://schemas.microsoft.com/office/drawing/2014/chart" uri="{C3380CC4-5D6E-409C-BE32-E72D297353CC}">
                <c16:uniqueId val="{000000F5-2993-41DE-A2CB-63102DE87051}"/>
              </c:ext>
            </c:extLst>
          </c:dPt>
          <c:dPt>
            <c:idx val="122"/>
            <c:invertIfNegative val="1"/>
            <c:bubble3D val="0"/>
            <c:spPr>
              <a:solidFill>
                <a:srgbClr val="AEABAB"/>
              </a:solidFill>
            </c:spPr>
            <c:extLst>
              <c:ext xmlns:c16="http://schemas.microsoft.com/office/drawing/2014/chart" uri="{C3380CC4-5D6E-409C-BE32-E72D297353CC}">
                <c16:uniqueId val="{000000F7-2993-41DE-A2CB-63102DE87051}"/>
              </c:ext>
            </c:extLst>
          </c:dPt>
          <c:dPt>
            <c:idx val="123"/>
            <c:invertIfNegative val="1"/>
            <c:bubble3D val="0"/>
            <c:spPr>
              <a:solidFill>
                <a:srgbClr val="AEABAB"/>
              </a:solidFill>
            </c:spPr>
            <c:extLst>
              <c:ext xmlns:c16="http://schemas.microsoft.com/office/drawing/2014/chart" uri="{C3380CC4-5D6E-409C-BE32-E72D297353CC}">
                <c16:uniqueId val="{000000F9-2993-41DE-A2CB-63102DE87051}"/>
              </c:ext>
            </c:extLst>
          </c:dPt>
          <c:dPt>
            <c:idx val="124"/>
            <c:invertIfNegative val="1"/>
            <c:bubble3D val="0"/>
            <c:spPr>
              <a:solidFill>
                <a:srgbClr val="AEABAB"/>
              </a:solidFill>
            </c:spPr>
            <c:extLst>
              <c:ext xmlns:c16="http://schemas.microsoft.com/office/drawing/2014/chart" uri="{C3380CC4-5D6E-409C-BE32-E72D297353CC}">
                <c16:uniqueId val="{000000FB-2993-41DE-A2CB-63102DE87051}"/>
              </c:ext>
            </c:extLst>
          </c:dPt>
          <c:dPt>
            <c:idx val="125"/>
            <c:invertIfNegative val="1"/>
            <c:bubble3D val="0"/>
            <c:spPr>
              <a:solidFill>
                <a:srgbClr val="AEABAB"/>
              </a:solidFill>
            </c:spPr>
            <c:extLst>
              <c:ext xmlns:c16="http://schemas.microsoft.com/office/drawing/2014/chart" uri="{C3380CC4-5D6E-409C-BE32-E72D297353CC}">
                <c16:uniqueId val="{000000FD-2993-41DE-A2CB-63102DE87051}"/>
              </c:ext>
            </c:extLst>
          </c:dPt>
          <c:dPt>
            <c:idx val="126"/>
            <c:invertIfNegative val="1"/>
            <c:bubble3D val="0"/>
            <c:spPr>
              <a:solidFill>
                <a:srgbClr val="AEABAB"/>
              </a:solidFill>
            </c:spPr>
            <c:extLst>
              <c:ext xmlns:c16="http://schemas.microsoft.com/office/drawing/2014/chart" uri="{C3380CC4-5D6E-409C-BE32-E72D297353CC}">
                <c16:uniqueId val="{000000FF-2993-41DE-A2CB-63102DE87051}"/>
              </c:ext>
            </c:extLst>
          </c:dPt>
          <c:dPt>
            <c:idx val="127"/>
            <c:invertIfNegative val="1"/>
            <c:bubble3D val="0"/>
            <c:spPr>
              <a:solidFill>
                <a:srgbClr val="AEABAB"/>
              </a:solidFill>
            </c:spPr>
            <c:extLst>
              <c:ext xmlns:c16="http://schemas.microsoft.com/office/drawing/2014/chart" uri="{C3380CC4-5D6E-409C-BE32-E72D297353CC}">
                <c16:uniqueId val="{00000101-2993-41DE-A2CB-63102DE87051}"/>
              </c:ext>
            </c:extLst>
          </c:dPt>
          <c:dPt>
            <c:idx val="128"/>
            <c:invertIfNegative val="1"/>
            <c:bubble3D val="0"/>
            <c:spPr>
              <a:solidFill>
                <a:srgbClr val="AEABAB"/>
              </a:solidFill>
            </c:spPr>
            <c:extLst>
              <c:ext xmlns:c16="http://schemas.microsoft.com/office/drawing/2014/chart" uri="{C3380CC4-5D6E-409C-BE32-E72D297353CC}">
                <c16:uniqueId val="{00000103-2993-41DE-A2CB-63102DE87051}"/>
              </c:ext>
            </c:extLst>
          </c:dPt>
          <c:dPt>
            <c:idx val="129"/>
            <c:invertIfNegative val="1"/>
            <c:bubble3D val="0"/>
            <c:spPr>
              <a:solidFill>
                <a:srgbClr val="AEABAB"/>
              </a:solidFill>
            </c:spPr>
            <c:extLst>
              <c:ext xmlns:c16="http://schemas.microsoft.com/office/drawing/2014/chart" uri="{C3380CC4-5D6E-409C-BE32-E72D297353CC}">
                <c16:uniqueId val="{00000105-2993-41DE-A2CB-63102DE87051}"/>
              </c:ext>
            </c:extLst>
          </c:dPt>
          <c:dPt>
            <c:idx val="130"/>
            <c:invertIfNegative val="1"/>
            <c:bubble3D val="0"/>
            <c:spPr>
              <a:solidFill>
                <a:srgbClr val="AEABAB"/>
              </a:solidFill>
            </c:spPr>
            <c:extLst>
              <c:ext xmlns:c16="http://schemas.microsoft.com/office/drawing/2014/chart" uri="{C3380CC4-5D6E-409C-BE32-E72D297353CC}">
                <c16:uniqueId val="{00000107-2993-41DE-A2CB-63102DE87051}"/>
              </c:ext>
            </c:extLst>
          </c:dPt>
          <c:dPt>
            <c:idx val="131"/>
            <c:invertIfNegative val="1"/>
            <c:bubble3D val="0"/>
            <c:spPr>
              <a:solidFill>
                <a:srgbClr val="AEABAB"/>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133</c:f>
              <c:strCache>
                <c:ptCount val="132"/>
                <c:pt idx="0">
                  <c:v>Ruinart</c:v>
                </c:pt>
                <c:pt idx="1">
                  <c:v>Nicolas</c:v>
                </c:pt>
                <c:pt idx="2">
                  <c:v>Deutz</c:v>
                </c:pt>
                <c:pt idx="3">
                  <c:v>De Bligny</c:v>
                </c:pt>
                <c:pt idx="4">
                  <c:v>Heidsieck &amp;</c:v>
                </c:pt>
                <c:pt idx="5">
                  <c:v>Ayala</c:v>
                </c:pt>
                <c:pt idx="6">
                  <c:v>Canard Duch</c:v>
                </c:pt>
                <c:pt idx="7">
                  <c:v>Laurent Per</c:v>
                </c:pt>
                <c:pt idx="8">
                  <c:v>Ruinart</c:v>
                </c:pt>
                <c:pt idx="9">
                  <c:v>Demoiselle</c:v>
                </c:pt>
                <c:pt idx="10">
                  <c:v>Taittinger</c:v>
                </c:pt>
                <c:pt idx="11">
                  <c:v>Besserat De</c:v>
                </c:pt>
                <c:pt idx="12">
                  <c:v>Bollinger</c:v>
                </c:pt>
                <c:pt idx="13">
                  <c:v>Deutz</c:v>
                </c:pt>
                <c:pt idx="14">
                  <c:v>Ruinart</c:v>
                </c:pt>
                <c:pt idx="15">
                  <c:v>Perrier Jou</c:v>
                </c:pt>
                <c:pt idx="16">
                  <c:v>Pommery</c:v>
                </c:pt>
                <c:pt idx="17">
                  <c:v>All Others</c:v>
                </c:pt>
                <c:pt idx="18">
                  <c:v>Laurent Per</c:v>
                </c:pt>
                <c:pt idx="19">
                  <c:v>Savian</c:v>
                </c:pt>
                <c:pt idx="20">
                  <c:v>Roederer</c:v>
                </c:pt>
                <c:pt idx="21">
                  <c:v>Taittinger</c:v>
                </c:pt>
                <c:pt idx="22">
                  <c:v>Campari: Al</c:v>
                </c:pt>
                <c:pt idx="23">
                  <c:v>Moët &amp; Chan</c:v>
                </c:pt>
                <c:pt idx="24">
                  <c:v>All Others</c:v>
                </c:pt>
                <c:pt idx="25">
                  <c:v>Henriot</c:v>
                </c:pt>
                <c:pt idx="26">
                  <c:v>Roederer</c:v>
                </c:pt>
                <c:pt idx="27">
                  <c:v>Veuve Clicq</c:v>
                </c:pt>
                <c:pt idx="28">
                  <c:v>Nicolas</c:v>
                </c:pt>
                <c:pt idx="29">
                  <c:v>Veuve Clicq</c:v>
                </c:pt>
                <c:pt idx="30">
                  <c:v>Veuve Clicq</c:v>
                </c:pt>
                <c:pt idx="31">
                  <c:v>De Venoge</c:v>
                </c:pt>
                <c:pt idx="32">
                  <c:v>Piper Heids</c:v>
                </c:pt>
                <c:pt idx="33">
                  <c:v>All Others</c:v>
                </c:pt>
                <c:pt idx="34">
                  <c:v>Ruinart</c:v>
                </c:pt>
                <c:pt idx="35">
                  <c:v>Nicolas Feu</c:v>
                </c:pt>
                <c:pt idx="36">
                  <c:v>Deutz</c:v>
                </c:pt>
                <c:pt idx="37">
                  <c:v>Lanson</c:v>
                </c:pt>
                <c:pt idx="38">
                  <c:v>Canard Duch</c:v>
                </c:pt>
                <c:pt idx="39">
                  <c:v>Bollinger</c:v>
                </c:pt>
                <c:pt idx="40">
                  <c:v>All Others</c:v>
                </c:pt>
                <c:pt idx="41">
                  <c:v>Campari: Al</c:v>
                </c:pt>
                <c:pt idx="42">
                  <c:v>Henriot</c:v>
                </c:pt>
                <c:pt idx="43">
                  <c:v>Canard Duch</c:v>
                </c:pt>
                <c:pt idx="44">
                  <c:v>Canard Duch</c:v>
                </c:pt>
                <c:pt idx="45">
                  <c:v>Krug</c:v>
                </c:pt>
                <c:pt idx="46">
                  <c:v>Vranken</c:v>
                </c:pt>
                <c:pt idx="47">
                  <c:v>Roederer</c:v>
                </c:pt>
                <c:pt idx="48">
                  <c:v>All Others</c:v>
                </c:pt>
                <c:pt idx="49">
                  <c:v>De Venoge</c:v>
                </c:pt>
                <c:pt idx="50">
                  <c:v>Canard Duch</c:v>
                </c:pt>
                <c:pt idx="51">
                  <c:v>Nicolas</c:v>
                </c:pt>
                <c:pt idx="52">
                  <c:v>Roederer</c:v>
                </c:pt>
                <c:pt idx="53">
                  <c:v>Nicolas</c:v>
                </c:pt>
                <c:pt idx="54">
                  <c:v>De Venoge</c:v>
                </c:pt>
                <c:pt idx="55">
                  <c:v>Lanson-Bcc:</c:v>
                </c:pt>
                <c:pt idx="56">
                  <c:v>Veuve Clicq</c:v>
                </c:pt>
                <c:pt idx="57">
                  <c:v>All Others</c:v>
                </c:pt>
                <c:pt idx="58">
                  <c:v>All Others</c:v>
                </c:pt>
                <c:pt idx="59">
                  <c:v>All Others</c:v>
                </c:pt>
                <c:pt idx="60">
                  <c:v>All Others</c:v>
                </c:pt>
                <c:pt idx="61">
                  <c:v>All Others</c:v>
                </c:pt>
                <c:pt idx="62">
                  <c:v>Nicolas</c:v>
                </c:pt>
                <c:pt idx="63">
                  <c:v>Roederer</c:v>
                </c:pt>
                <c:pt idx="64">
                  <c:v>Nicolas</c:v>
                </c:pt>
                <c:pt idx="65">
                  <c:v>Ruinart</c:v>
                </c:pt>
                <c:pt idx="66">
                  <c:v>Nicolas Feu</c:v>
                </c:pt>
                <c:pt idx="67">
                  <c:v>Laurent Per</c:v>
                </c:pt>
                <c:pt idx="68">
                  <c:v>Roederer</c:v>
                </c:pt>
                <c:pt idx="69">
                  <c:v>Demoiselle</c:v>
                </c:pt>
                <c:pt idx="70">
                  <c:v>Roederer</c:v>
                </c:pt>
                <c:pt idx="71">
                  <c:v>Laurent Per</c:v>
                </c:pt>
                <c:pt idx="72">
                  <c:v>Canard Duch</c:v>
                </c:pt>
                <c:pt idx="73">
                  <c:v>Ruinart</c:v>
                </c:pt>
                <c:pt idx="74">
                  <c:v>Vranken</c:v>
                </c:pt>
                <c:pt idx="75">
                  <c:v>Roederer</c:v>
                </c:pt>
                <c:pt idx="76">
                  <c:v>All Others</c:v>
                </c:pt>
                <c:pt idx="77">
                  <c:v>Ruinart</c:v>
                </c:pt>
                <c:pt idx="78">
                  <c:v>Moët &amp; Chan</c:v>
                </c:pt>
                <c:pt idx="79">
                  <c:v>Moët &amp; Chan</c:v>
                </c:pt>
                <c:pt idx="80">
                  <c:v>All Others</c:v>
                </c:pt>
                <c:pt idx="81">
                  <c:v>Pommery</c:v>
                </c:pt>
                <c:pt idx="82">
                  <c:v>Nicolas</c:v>
                </c:pt>
                <c:pt idx="83">
                  <c:v>Laurent Per</c:v>
                </c:pt>
                <c:pt idx="84">
                  <c:v>Malard</c:v>
                </c:pt>
                <c:pt idx="85">
                  <c:v>Pommery</c:v>
                </c:pt>
                <c:pt idx="86">
                  <c:v>Moët &amp; Chan</c:v>
                </c:pt>
                <c:pt idx="87">
                  <c:v>All Others</c:v>
                </c:pt>
                <c:pt idx="88">
                  <c:v>Deutz</c:v>
                </c:pt>
                <c:pt idx="89">
                  <c:v>Piper Heids</c:v>
                </c:pt>
                <c:pt idx="90">
                  <c:v>All Others</c:v>
                </c:pt>
                <c:pt idx="91">
                  <c:v>Roederer</c:v>
                </c:pt>
                <c:pt idx="92">
                  <c:v>Ruinart</c:v>
                </c:pt>
                <c:pt idx="93">
                  <c:v>Bollinger</c:v>
                </c:pt>
                <c:pt idx="94">
                  <c:v>Pommery</c:v>
                </c:pt>
                <c:pt idx="95">
                  <c:v>All Others</c:v>
                </c:pt>
                <c:pt idx="96">
                  <c:v>Henriot</c:v>
                </c:pt>
                <c:pt idx="97">
                  <c:v>All Others</c:v>
                </c:pt>
                <c:pt idx="98">
                  <c:v>De Venoge</c:v>
                </c:pt>
                <c:pt idx="99">
                  <c:v>Nicolas Feu</c:v>
                </c:pt>
                <c:pt idx="100">
                  <c:v>Roederer</c:v>
                </c:pt>
                <c:pt idx="101">
                  <c:v>Canard Duch</c:v>
                </c:pt>
                <c:pt idx="102">
                  <c:v>All Others</c:v>
                </c:pt>
                <c:pt idx="103">
                  <c:v>Bollinger</c:v>
                </c:pt>
                <c:pt idx="104">
                  <c:v>Laurent Per</c:v>
                </c:pt>
                <c:pt idx="105">
                  <c:v>Lanson</c:v>
                </c:pt>
                <c:pt idx="106">
                  <c:v>Moët &amp; Chan</c:v>
                </c:pt>
                <c:pt idx="107">
                  <c:v>Deutz</c:v>
                </c:pt>
                <c:pt idx="108">
                  <c:v>Demoiselle</c:v>
                </c:pt>
                <c:pt idx="109">
                  <c:v>Martel</c:v>
                </c:pt>
                <c:pt idx="110">
                  <c:v>Ruinart</c:v>
                </c:pt>
                <c:pt idx="111">
                  <c:v>Roederer</c:v>
                </c:pt>
                <c:pt idx="112">
                  <c:v>Laurent Per</c:v>
                </c:pt>
                <c:pt idx="113">
                  <c:v>Moët &amp; Chan</c:v>
                </c:pt>
                <c:pt idx="114">
                  <c:v>All Others</c:v>
                </c:pt>
                <c:pt idx="115">
                  <c:v>Roederer</c:v>
                </c:pt>
                <c:pt idx="116">
                  <c:v>Ayala</c:v>
                </c:pt>
                <c:pt idx="117">
                  <c:v>Roederer</c:v>
                </c:pt>
                <c:pt idx="118">
                  <c:v>Roederer</c:v>
                </c:pt>
                <c:pt idx="119">
                  <c:v>Roederer</c:v>
                </c:pt>
                <c:pt idx="120">
                  <c:v>De Venoge</c:v>
                </c:pt>
                <c:pt idx="121">
                  <c:v>Veuve Clicq</c:v>
                </c:pt>
                <c:pt idx="122">
                  <c:v>Demoiselle</c:v>
                </c:pt>
                <c:pt idx="123">
                  <c:v>Malard</c:v>
                </c:pt>
                <c:pt idx="124">
                  <c:v>Nicolas</c:v>
                </c:pt>
                <c:pt idx="125">
                  <c:v>Ruinart</c:v>
                </c:pt>
                <c:pt idx="126">
                  <c:v>De Bligny</c:v>
                </c:pt>
                <c:pt idx="127">
                  <c:v>Besserat De</c:v>
                </c:pt>
                <c:pt idx="128">
                  <c:v>Laurent Per</c:v>
                </c:pt>
                <c:pt idx="129">
                  <c:v>Nicolas Feu</c:v>
                </c:pt>
                <c:pt idx="130">
                  <c:v>Besserat De</c:v>
                </c:pt>
                <c:pt idx="131">
                  <c:v>Veuve Clicq</c:v>
                </c:pt>
              </c:strCache>
            </c:strRef>
          </c:cat>
          <c:val>
            <c:numRef>
              <c:f>Sheet1!$C$2:$C$133</c:f>
              <c:numCache>
                <c:formatCode>General</c:formatCode>
                <c:ptCount val="132"/>
                <c:pt idx="0">
                  <c:v>0.16606458449363581</c:v>
                </c:pt>
                <c:pt idx="1">
                  <c:v>0.27580194446894463</c:v>
                </c:pt>
                <c:pt idx="2">
                  <c:v>0.34113446388520835</c:v>
                </c:pt>
                <c:pt idx="3">
                  <c:v>0.38777616650285074</c:v>
                </c:pt>
                <c:pt idx="4">
                  <c:v>0.43368999637121042</c:v>
                </c:pt>
                <c:pt idx="5">
                  <c:v>0.473875264928389</c:v>
                </c:pt>
                <c:pt idx="6">
                  <c:v>0.5099244348412072</c:v>
                </c:pt>
                <c:pt idx="7">
                  <c:v>0.54531850683952832</c:v>
                </c:pt>
                <c:pt idx="8">
                  <c:v>0.57390458634472907</c:v>
                </c:pt>
                <c:pt idx="9">
                  <c:v>0.6009423656896884</c:v>
                </c:pt>
                <c:pt idx="10">
                  <c:v>0.62740528604055512</c:v>
                </c:pt>
                <c:pt idx="11">
                  <c:v>0.65068962553055654</c:v>
                </c:pt>
                <c:pt idx="12">
                  <c:v>0.67213979038110749</c:v>
                </c:pt>
                <c:pt idx="13">
                  <c:v>0.69085884630365413</c:v>
                </c:pt>
                <c:pt idx="14">
                  <c:v>0.70788790884062469</c:v>
                </c:pt>
                <c:pt idx="15">
                  <c:v>0.72270523840724865</c:v>
                </c:pt>
                <c:pt idx="16">
                  <c:v>0.7361460661842959</c:v>
                </c:pt>
                <c:pt idx="17">
                  <c:v>0.74950466461810683</c:v>
                </c:pt>
                <c:pt idx="18">
                  <c:v>0.76192117104536872</c:v>
                </c:pt>
                <c:pt idx="19">
                  <c:v>0.77395738231034095</c:v>
                </c:pt>
                <c:pt idx="20">
                  <c:v>0.78587827345249905</c:v>
                </c:pt>
                <c:pt idx="21">
                  <c:v>0.79667320727902602</c:v>
                </c:pt>
                <c:pt idx="22">
                  <c:v>0.80686379897326521</c:v>
                </c:pt>
                <c:pt idx="23">
                  <c:v>0.81701097456948701</c:v>
                </c:pt>
                <c:pt idx="24">
                  <c:v>0.82644234435484354</c:v>
                </c:pt>
                <c:pt idx="25">
                  <c:v>0.83422091678129218</c:v>
                </c:pt>
                <c:pt idx="26">
                  <c:v>0.84176947096924759</c:v>
                </c:pt>
                <c:pt idx="27">
                  <c:v>0.84931528832580927</c:v>
                </c:pt>
                <c:pt idx="28">
                  <c:v>0.85645120298045907</c:v>
                </c:pt>
                <c:pt idx="29">
                  <c:v>0.86355315604554228</c:v>
                </c:pt>
                <c:pt idx="30">
                  <c:v>0.87046987538584653</c:v>
                </c:pt>
                <c:pt idx="31">
                  <c:v>0.87717921754736861</c:v>
                </c:pt>
                <c:pt idx="32">
                  <c:v>0.88296836235349085</c:v>
                </c:pt>
                <c:pt idx="33">
                  <c:v>0.88865562239091334</c:v>
                </c:pt>
                <c:pt idx="34">
                  <c:v>0.89426413632505497</c:v>
                </c:pt>
                <c:pt idx="35">
                  <c:v>0.89983495662682045</c:v>
                </c:pt>
                <c:pt idx="36">
                  <c:v>0.90500109908660742</c:v>
                </c:pt>
                <c:pt idx="37">
                  <c:v>0.91004930899361358</c:v>
                </c:pt>
                <c:pt idx="38">
                  <c:v>0.9147279222610506</c:v>
                </c:pt>
                <c:pt idx="39">
                  <c:v>0.91915176140602461</c:v>
                </c:pt>
                <c:pt idx="40">
                  <c:v>0.92336561094224989</c:v>
                </c:pt>
                <c:pt idx="41">
                  <c:v>0.92753865681042447</c:v>
                </c:pt>
                <c:pt idx="42">
                  <c:v>0.93154040191364218</c:v>
                </c:pt>
                <c:pt idx="43">
                  <c:v>0.93484873346285169</c:v>
                </c:pt>
                <c:pt idx="44">
                  <c:v>0.93814748610218346</c:v>
                </c:pt>
                <c:pt idx="45">
                  <c:v>0.9413719710896058</c:v>
                </c:pt>
                <c:pt idx="46">
                  <c:v>0.94459446565419647</c:v>
                </c:pt>
                <c:pt idx="47">
                  <c:v>0.94769703724317467</c:v>
                </c:pt>
                <c:pt idx="48">
                  <c:v>0.95044469156096778</c:v>
                </c:pt>
                <c:pt idx="49">
                  <c:v>0.95286230889297263</c:v>
                </c:pt>
                <c:pt idx="50">
                  <c:v>0.95522991685132996</c:v>
                </c:pt>
                <c:pt idx="51">
                  <c:v>0.95757090290431279</c:v>
                </c:pt>
                <c:pt idx="52">
                  <c:v>0.95987705655774014</c:v>
                </c:pt>
                <c:pt idx="53">
                  <c:v>0.96207809100536612</c:v>
                </c:pt>
                <c:pt idx="54">
                  <c:v>0.96424578587056042</c:v>
                </c:pt>
                <c:pt idx="55">
                  <c:v>0.96627601715893752</c:v>
                </c:pt>
                <c:pt idx="56">
                  <c:v>0.96827838252767018</c:v>
                </c:pt>
                <c:pt idx="57">
                  <c:v>0.97027291060650289</c:v>
                </c:pt>
                <c:pt idx="58">
                  <c:v>0.97221344846602453</c:v>
                </c:pt>
                <c:pt idx="59">
                  <c:v>0.97398803482194973</c:v>
                </c:pt>
                <c:pt idx="60">
                  <c:v>0.97550423941402942</c:v>
                </c:pt>
                <c:pt idx="61">
                  <c:v>0.97697105663959649</c:v>
                </c:pt>
                <c:pt idx="62">
                  <c:v>0.97829394141414316</c:v>
                </c:pt>
                <c:pt idx="63">
                  <c:v>0.9795271327598345</c:v>
                </c:pt>
                <c:pt idx="64">
                  <c:v>0.98067697514944663</c:v>
                </c:pt>
                <c:pt idx="65">
                  <c:v>0.98179521957660476</c:v>
                </c:pt>
                <c:pt idx="66">
                  <c:v>0.98268580939238237</c:v>
                </c:pt>
                <c:pt idx="67">
                  <c:v>0.9835525141341791</c:v>
                </c:pt>
                <c:pt idx="68">
                  <c:v>0.98441897007312185</c:v>
                </c:pt>
                <c:pt idx="69">
                  <c:v>0.98526850741799488</c:v>
                </c:pt>
                <c:pt idx="70">
                  <c:v>0.98611207349437258</c:v>
                </c:pt>
                <c:pt idx="71">
                  <c:v>0.98691620431839644</c:v>
                </c:pt>
                <c:pt idx="72">
                  <c:v>0.98769533045559654</c:v>
                </c:pt>
                <c:pt idx="73">
                  <c:v>0.98846686810575057</c:v>
                </c:pt>
                <c:pt idx="74">
                  <c:v>0.9891151239417636</c:v>
                </c:pt>
                <c:pt idx="75">
                  <c:v>0.98975641329786557</c:v>
                </c:pt>
                <c:pt idx="76">
                  <c:v>0.99034383683608351</c:v>
                </c:pt>
                <c:pt idx="77">
                  <c:v>0.99091434178023163</c:v>
                </c:pt>
                <c:pt idx="78">
                  <c:v>0.99147912425873852</c:v>
                </c:pt>
                <c:pt idx="79">
                  <c:v>0.99199315095503593</c:v>
                </c:pt>
                <c:pt idx="80">
                  <c:v>0.99249324469151112</c:v>
                </c:pt>
                <c:pt idx="81">
                  <c:v>0.99298363511668164</c:v>
                </c:pt>
                <c:pt idx="82">
                  <c:v>0.99344852324932043</c:v>
                </c:pt>
                <c:pt idx="83">
                  <c:v>0.99388168901807827</c:v>
                </c:pt>
                <c:pt idx="84">
                  <c:v>0.99430278784841875</c:v>
                </c:pt>
                <c:pt idx="85">
                  <c:v>0.99468756146207993</c:v>
                </c:pt>
                <c:pt idx="86">
                  <c:v>0.99503675626762367</c:v>
                </c:pt>
                <c:pt idx="87">
                  <c:v>0.99536642004913101</c:v>
                </c:pt>
                <c:pt idx="88">
                  <c:v>0.99567468678519711</c:v>
                </c:pt>
                <c:pt idx="89">
                  <c:v>0.99597213059711553</c:v>
                </c:pt>
                <c:pt idx="90">
                  <c:v>0.99625501944207695</c:v>
                </c:pt>
                <c:pt idx="91">
                  <c:v>0.99650892275455105</c:v>
                </c:pt>
                <c:pt idx="92">
                  <c:v>0.99675498877712521</c:v>
                </c:pt>
                <c:pt idx="93">
                  <c:v>0.99699719835546285</c:v>
                </c:pt>
                <c:pt idx="94">
                  <c:v>0.99721639366980852</c:v>
                </c:pt>
                <c:pt idx="95">
                  <c:v>0.99743409616703027</c:v>
                </c:pt>
                <c:pt idx="96">
                  <c:v>0.99764309056436318</c:v>
                </c:pt>
                <c:pt idx="97">
                  <c:v>0.99783454436049135</c:v>
                </c:pt>
                <c:pt idx="98">
                  <c:v>0.99800982597111165</c:v>
                </c:pt>
                <c:pt idx="99">
                  <c:v>0.99818460997602398</c:v>
                </c:pt>
                <c:pt idx="100">
                  <c:v>0.99833849454120305</c:v>
                </c:pt>
                <c:pt idx="101">
                  <c:v>0.99848404421077419</c:v>
                </c:pt>
                <c:pt idx="102">
                  <c:v>0.99861479011053422</c:v>
                </c:pt>
                <c:pt idx="103">
                  <c:v>0.99872575618340387</c:v>
                </c:pt>
                <c:pt idx="104">
                  <c:v>0.99883585144628462</c:v>
                </c:pt>
                <c:pt idx="105">
                  <c:v>0.99894258787063683</c:v>
                </c:pt>
                <c:pt idx="106">
                  <c:v>0.99904098939938113</c:v>
                </c:pt>
                <c:pt idx="107">
                  <c:v>0.99911811828411112</c:v>
                </c:pt>
                <c:pt idx="108">
                  <c:v>0.99919474956313314</c:v>
                </c:pt>
                <c:pt idx="109">
                  <c:v>0.99926603158079497</c:v>
                </c:pt>
                <c:pt idx="110">
                  <c:v>0.99933569637990594</c:v>
                </c:pt>
                <c:pt idx="111">
                  <c:v>0.99940125593192641</c:v>
                </c:pt>
                <c:pt idx="112">
                  <c:v>0.99946308344113743</c:v>
                </c:pt>
                <c:pt idx="113">
                  <c:v>0.9995108535890993</c:v>
                </c:pt>
                <c:pt idx="114">
                  <c:v>0.99955688211708338</c:v>
                </c:pt>
                <c:pt idx="115">
                  <c:v>0.99960092022223568</c:v>
                </c:pt>
                <c:pt idx="116">
                  <c:v>0.9996391114603197</c:v>
                </c:pt>
                <c:pt idx="117">
                  <c:v>0.99967133142990849</c:v>
                </c:pt>
                <c:pt idx="118">
                  <c:v>0.99970305379378943</c:v>
                </c:pt>
                <c:pt idx="119">
                  <c:v>0.99973440295338933</c:v>
                </c:pt>
                <c:pt idx="120">
                  <c:v>0.99976525450728138</c:v>
                </c:pt>
                <c:pt idx="121">
                  <c:v>0.99979523525118452</c:v>
                </c:pt>
                <c:pt idx="122">
                  <c:v>0.99982260356512098</c:v>
                </c:pt>
                <c:pt idx="123">
                  <c:v>0.99984997187905744</c:v>
                </c:pt>
                <c:pt idx="124">
                  <c:v>0.99987447896017323</c:v>
                </c:pt>
                <c:pt idx="125">
                  <c:v>0.99989488079419864</c:v>
                </c:pt>
                <c:pt idx="126">
                  <c:v>0.999915158226797</c:v>
                </c:pt>
                <c:pt idx="127">
                  <c:v>0.99993369403941756</c:v>
                </c:pt>
                <c:pt idx="128">
                  <c:v>0.99996802883326508</c:v>
                </c:pt>
                <c:pt idx="129">
                  <c:v>0.99998333020878405</c:v>
                </c:pt>
                <c:pt idx="130">
                  <c:v>0.99999079429440307</c:v>
                </c:pt>
                <c:pt idx="131">
                  <c:v>0.99999999999999989</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124</c:f>
              <c:strCache>
                <c:ptCount val="123"/>
                <c:pt idx="0">
                  <c:v>Ruinart</c:v>
                </c:pt>
                <c:pt idx="1">
                  <c:v>Nicolas</c:v>
                </c:pt>
                <c:pt idx="2">
                  <c:v>Deutz</c:v>
                </c:pt>
                <c:pt idx="3">
                  <c:v>Laurent Per</c:v>
                </c:pt>
                <c:pt idx="4">
                  <c:v>Ayala</c:v>
                </c:pt>
                <c:pt idx="5">
                  <c:v>Heidsieck &amp;</c:v>
                </c:pt>
                <c:pt idx="6">
                  <c:v>Ruinart</c:v>
                </c:pt>
                <c:pt idx="7">
                  <c:v>Taittinger</c:v>
                </c:pt>
                <c:pt idx="8">
                  <c:v>Bollinger</c:v>
                </c:pt>
                <c:pt idx="9">
                  <c:v>De Bligny</c:v>
                </c:pt>
                <c:pt idx="10">
                  <c:v>Canard Duch</c:v>
                </c:pt>
                <c:pt idx="11">
                  <c:v>Besserat De</c:v>
                </c:pt>
                <c:pt idx="12">
                  <c:v>All Others</c:v>
                </c:pt>
                <c:pt idx="13">
                  <c:v>Perrier Jou</c:v>
                </c:pt>
                <c:pt idx="14">
                  <c:v>Deutz</c:v>
                </c:pt>
                <c:pt idx="15">
                  <c:v>Laurent Per</c:v>
                </c:pt>
                <c:pt idx="16">
                  <c:v>Ruinart</c:v>
                </c:pt>
                <c:pt idx="17">
                  <c:v>Demoiselle</c:v>
                </c:pt>
                <c:pt idx="18">
                  <c:v>Campari: Al</c:v>
                </c:pt>
                <c:pt idx="19">
                  <c:v>Veuve Clicq</c:v>
                </c:pt>
                <c:pt idx="20">
                  <c:v>Pommery</c:v>
                </c:pt>
                <c:pt idx="21">
                  <c:v>All Others</c:v>
                </c:pt>
                <c:pt idx="22">
                  <c:v>Roederer</c:v>
                </c:pt>
                <c:pt idx="23">
                  <c:v>Veuve Clicq</c:v>
                </c:pt>
                <c:pt idx="24">
                  <c:v>Savian</c:v>
                </c:pt>
                <c:pt idx="25">
                  <c:v>Moët &amp; Chan</c:v>
                </c:pt>
                <c:pt idx="26">
                  <c:v>Roederer</c:v>
                </c:pt>
                <c:pt idx="27">
                  <c:v>Taittinger</c:v>
                </c:pt>
                <c:pt idx="28">
                  <c:v>Henriot</c:v>
                </c:pt>
                <c:pt idx="29">
                  <c:v>Veuve Clicq</c:v>
                </c:pt>
                <c:pt idx="30">
                  <c:v>All Others</c:v>
                </c:pt>
                <c:pt idx="31">
                  <c:v>Ruinart</c:v>
                </c:pt>
                <c:pt idx="32">
                  <c:v>Deutz</c:v>
                </c:pt>
                <c:pt idx="33">
                  <c:v>Piper Heids</c:v>
                </c:pt>
                <c:pt idx="34">
                  <c:v>De Venoge</c:v>
                </c:pt>
                <c:pt idx="35">
                  <c:v>Krug</c:v>
                </c:pt>
                <c:pt idx="36">
                  <c:v>Bollinger</c:v>
                </c:pt>
                <c:pt idx="37">
                  <c:v>Campari: Al</c:v>
                </c:pt>
                <c:pt idx="38">
                  <c:v>Lanson</c:v>
                </c:pt>
                <c:pt idx="39">
                  <c:v>Nicolas Feu</c:v>
                </c:pt>
                <c:pt idx="40">
                  <c:v>Nicolas</c:v>
                </c:pt>
                <c:pt idx="41">
                  <c:v>Canard Duch</c:v>
                </c:pt>
                <c:pt idx="42">
                  <c:v>Henriot</c:v>
                </c:pt>
                <c:pt idx="43">
                  <c:v>Roederer</c:v>
                </c:pt>
                <c:pt idx="44">
                  <c:v>Roederer</c:v>
                </c:pt>
                <c:pt idx="45">
                  <c:v>Nicolas</c:v>
                </c:pt>
                <c:pt idx="46">
                  <c:v>Moët &amp; Chan</c:v>
                </c:pt>
                <c:pt idx="47">
                  <c:v>Vranken</c:v>
                </c:pt>
                <c:pt idx="48">
                  <c:v>De Venoge</c:v>
                </c:pt>
                <c:pt idx="49">
                  <c:v>Nicolas Feu</c:v>
                </c:pt>
                <c:pt idx="50">
                  <c:v>Canard Duch</c:v>
                </c:pt>
                <c:pt idx="51">
                  <c:v>Nicolas</c:v>
                </c:pt>
                <c:pt idx="52">
                  <c:v>Nicolas</c:v>
                </c:pt>
                <c:pt idx="53">
                  <c:v>Canard Duch</c:v>
                </c:pt>
                <c:pt idx="54">
                  <c:v>Laurent Per</c:v>
                </c:pt>
                <c:pt idx="55">
                  <c:v>Demoiselle</c:v>
                </c:pt>
                <c:pt idx="56">
                  <c:v>De Venoge</c:v>
                </c:pt>
                <c:pt idx="57">
                  <c:v>Roederer</c:v>
                </c:pt>
                <c:pt idx="58">
                  <c:v>Laurent Per</c:v>
                </c:pt>
                <c:pt idx="59">
                  <c:v>Canard Duch</c:v>
                </c:pt>
                <c:pt idx="60">
                  <c:v>Bollinger</c:v>
                </c:pt>
                <c:pt idx="61">
                  <c:v>Pommery</c:v>
                </c:pt>
                <c:pt idx="62">
                  <c:v>All Others</c:v>
                </c:pt>
                <c:pt idx="63">
                  <c:v>All Others</c:v>
                </c:pt>
                <c:pt idx="64">
                  <c:v>Veuve Clicq</c:v>
                </c:pt>
                <c:pt idx="65">
                  <c:v>Roederer</c:v>
                </c:pt>
                <c:pt idx="66">
                  <c:v>Pommery</c:v>
                </c:pt>
                <c:pt idx="67">
                  <c:v>Moët &amp; Chan</c:v>
                </c:pt>
                <c:pt idx="68">
                  <c:v>Roederer</c:v>
                </c:pt>
                <c:pt idx="69">
                  <c:v>Ruinart</c:v>
                </c:pt>
                <c:pt idx="70">
                  <c:v>Nicolas</c:v>
                </c:pt>
                <c:pt idx="71">
                  <c:v>Roederer</c:v>
                </c:pt>
                <c:pt idx="72">
                  <c:v>Ruinart</c:v>
                </c:pt>
                <c:pt idx="73">
                  <c:v>Ruinart</c:v>
                </c:pt>
                <c:pt idx="74">
                  <c:v>Laurent Per</c:v>
                </c:pt>
                <c:pt idx="75">
                  <c:v>Laurent Per</c:v>
                </c:pt>
                <c:pt idx="76">
                  <c:v>Deutz</c:v>
                </c:pt>
                <c:pt idx="77">
                  <c:v>Pommery</c:v>
                </c:pt>
                <c:pt idx="78">
                  <c:v>Moët &amp; Chan</c:v>
                </c:pt>
                <c:pt idx="79">
                  <c:v>Vranken</c:v>
                </c:pt>
                <c:pt idx="80">
                  <c:v>Ruinart</c:v>
                </c:pt>
                <c:pt idx="81">
                  <c:v>Taittinger</c:v>
                </c:pt>
                <c:pt idx="82">
                  <c:v>Bollinger</c:v>
                </c:pt>
                <c:pt idx="83">
                  <c:v>Roederer</c:v>
                </c:pt>
                <c:pt idx="84">
                  <c:v>Delamotte</c:v>
                </c:pt>
                <c:pt idx="85">
                  <c:v>Henriot</c:v>
                </c:pt>
                <c:pt idx="86">
                  <c:v>Nicolas</c:v>
                </c:pt>
                <c:pt idx="87">
                  <c:v>All Others</c:v>
                </c:pt>
                <c:pt idx="88">
                  <c:v>Canard Duch</c:v>
                </c:pt>
                <c:pt idx="89">
                  <c:v>All Others</c:v>
                </c:pt>
                <c:pt idx="90">
                  <c:v>Malard</c:v>
                </c:pt>
                <c:pt idx="91">
                  <c:v>De Venoge</c:v>
                </c:pt>
                <c:pt idx="92">
                  <c:v>Deutz</c:v>
                </c:pt>
                <c:pt idx="93">
                  <c:v>All Others</c:v>
                </c:pt>
                <c:pt idx="94">
                  <c:v>De Venoge</c:v>
                </c:pt>
                <c:pt idx="95">
                  <c:v>Moët &amp; Chan</c:v>
                </c:pt>
                <c:pt idx="96">
                  <c:v>Heidsieck &amp;</c:v>
                </c:pt>
                <c:pt idx="97">
                  <c:v>Moët &amp; Chan</c:v>
                </c:pt>
                <c:pt idx="98">
                  <c:v>All Others</c:v>
                </c:pt>
                <c:pt idx="99">
                  <c:v>Nicolas Feu</c:v>
                </c:pt>
                <c:pt idx="100">
                  <c:v>Taittinger</c:v>
                </c:pt>
                <c:pt idx="101">
                  <c:v>Nicolas Feu</c:v>
                </c:pt>
                <c:pt idx="102">
                  <c:v>All Others</c:v>
                </c:pt>
                <c:pt idx="103">
                  <c:v>Veuve Clicq</c:v>
                </c:pt>
                <c:pt idx="104">
                  <c:v>Bollinger</c:v>
                </c:pt>
                <c:pt idx="105">
                  <c:v>Canard Duch</c:v>
                </c:pt>
                <c:pt idx="106">
                  <c:v>Veuve Clicq</c:v>
                </c:pt>
                <c:pt idx="107">
                  <c:v>Ruinart</c:v>
                </c:pt>
                <c:pt idx="108">
                  <c:v>Demoiselle</c:v>
                </c:pt>
                <c:pt idx="109">
                  <c:v>Roederer</c:v>
                </c:pt>
                <c:pt idx="110">
                  <c:v>Besserat De</c:v>
                </c:pt>
                <c:pt idx="111">
                  <c:v>All Others</c:v>
                </c:pt>
                <c:pt idx="112">
                  <c:v>Laurent Per</c:v>
                </c:pt>
                <c:pt idx="113">
                  <c:v>All Others</c:v>
                </c:pt>
                <c:pt idx="114">
                  <c:v>Taittinger</c:v>
                </c:pt>
                <c:pt idx="115">
                  <c:v>Vranken</c:v>
                </c:pt>
                <c:pt idx="116">
                  <c:v>Moët &amp; Chan</c:v>
                </c:pt>
                <c:pt idx="117">
                  <c:v>Lanson</c:v>
                </c:pt>
                <c:pt idx="118">
                  <c:v>Roederer</c:v>
                </c:pt>
                <c:pt idx="119">
                  <c:v>Roederer</c:v>
                </c:pt>
                <c:pt idx="120">
                  <c:v>Piper Heids</c:v>
                </c:pt>
                <c:pt idx="121">
                  <c:v>Martel</c:v>
                </c:pt>
                <c:pt idx="122">
                  <c:v>All Others</c:v>
                </c:pt>
              </c:strCache>
            </c:strRef>
          </c:cat>
          <c:val>
            <c:numRef>
              <c:f>Sheet1!$B$2:$B$124</c:f>
              <c:numCache>
                <c:formatCode>General</c:formatCode>
                <c:ptCount val="123"/>
                <c:pt idx="0">
                  <c:v>1</c:v>
                </c:pt>
                <c:pt idx="1">
                  <c:v>1</c:v>
                </c:pt>
                <c:pt idx="2">
                  <c:v>0.99</c:v>
                </c:pt>
                <c:pt idx="3">
                  <c:v>1</c:v>
                </c:pt>
                <c:pt idx="4">
                  <c:v>0.98</c:v>
                </c:pt>
                <c:pt idx="5">
                  <c:v>0.92</c:v>
                </c:pt>
                <c:pt idx="6">
                  <c:v>0.73</c:v>
                </c:pt>
                <c:pt idx="7">
                  <c:v>0.94</c:v>
                </c:pt>
                <c:pt idx="8">
                  <c:v>0.91</c:v>
                </c:pt>
                <c:pt idx="9">
                  <c:v>0.99</c:v>
                </c:pt>
                <c:pt idx="10">
                  <c:v>0.97</c:v>
                </c:pt>
                <c:pt idx="11">
                  <c:v>0.78</c:v>
                </c:pt>
                <c:pt idx="12">
                  <c:v>0.86</c:v>
                </c:pt>
                <c:pt idx="13">
                  <c:v>0.88</c:v>
                </c:pt>
                <c:pt idx="14">
                  <c:v>0.66</c:v>
                </c:pt>
                <c:pt idx="15">
                  <c:v>0.78</c:v>
                </c:pt>
                <c:pt idx="16">
                  <c:v>0.7</c:v>
                </c:pt>
                <c:pt idx="17">
                  <c:v>0.87</c:v>
                </c:pt>
                <c:pt idx="18">
                  <c:v>0.83</c:v>
                </c:pt>
                <c:pt idx="19">
                  <c:v>0.81</c:v>
                </c:pt>
                <c:pt idx="20">
                  <c:v>0.75</c:v>
                </c:pt>
                <c:pt idx="21">
                  <c:v>0.75</c:v>
                </c:pt>
                <c:pt idx="22">
                  <c:v>0.68</c:v>
                </c:pt>
                <c:pt idx="23">
                  <c:v>0.72</c:v>
                </c:pt>
                <c:pt idx="24">
                  <c:v>0.77</c:v>
                </c:pt>
                <c:pt idx="25">
                  <c:v>0.82</c:v>
                </c:pt>
                <c:pt idx="26">
                  <c:v>0.6</c:v>
                </c:pt>
                <c:pt idx="27">
                  <c:v>0.5</c:v>
                </c:pt>
                <c:pt idx="28">
                  <c:v>0.73</c:v>
                </c:pt>
                <c:pt idx="29">
                  <c:v>0.59</c:v>
                </c:pt>
                <c:pt idx="30">
                  <c:v>0.54</c:v>
                </c:pt>
                <c:pt idx="31">
                  <c:v>0.64</c:v>
                </c:pt>
                <c:pt idx="32">
                  <c:v>0.83</c:v>
                </c:pt>
                <c:pt idx="33">
                  <c:v>0.71</c:v>
                </c:pt>
                <c:pt idx="34">
                  <c:v>0.67</c:v>
                </c:pt>
                <c:pt idx="35">
                  <c:v>0.31</c:v>
                </c:pt>
                <c:pt idx="36">
                  <c:v>0.28000000000000003</c:v>
                </c:pt>
                <c:pt idx="37">
                  <c:v>0.59</c:v>
                </c:pt>
                <c:pt idx="38">
                  <c:v>0.66</c:v>
                </c:pt>
                <c:pt idx="39">
                  <c:v>0.43</c:v>
                </c:pt>
                <c:pt idx="40">
                  <c:v>0.77</c:v>
                </c:pt>
                <c:pt idx="41">
                  <c:v>0.74</c:v>
                </c:pt>
                <c:pt idx="42">
                  <c:v>0.64</c:v>
                </c:pt>
                <c:pt idx="43">
                  <c:v>0.27</c:v>
                </c:pt>
                <c:pt idx="44">
                  <c:v>0.3</c:v>
                </c:pt>
                <c:pt idx="45">
                  <c:v>0.49</c:v>
                </c:pt>
                <c:pt idx="46">
                  <c:v>0.71</c:v>
                </c:pt>
                <c:pt idx="47">
                  <c:v>0.2</c:v>
                </c:pt>
                <c:pt idx="48">
                  <c:v>0.4</c:v>
                </c:pt>
                <c:pt idx="49">
                  <c:v>0.43</c:v>
                </c:pt>
                <c:pt idx="50">
                  <c:v>0.36</c:v>
                </c:pt>
                <c:pt idx="51">
                  <c:v>0.3</c:v>
                </c:pt>
                <c:pt idx="52">
                  <c:v>0.28000000000000003</c:v>
                </c:pt>
                <c:pt idx="53">
                  <c:v>0.32</c:v>
                </c:pt>
                <c:pt idx="54">
                  <c:v>0.23</c:v>
                </c:pt>
                <c:pt idx="55">
                  <c:v>0.28000000000000003</c:v>
                </c:pt>
                <c:pt idx="56">
                  <c:v>0.39</c:v>
                </c:pt>
                <c:pt idx="57">
                  <c:v>0.33</c:v>
                </c:pt>
                <c:pt idx="58">
                  <c:v>0.19</c:v>
                </c:pt>
                <c:pt idx="59">
                  <c:v>0.34</c:v>
                </c:pt>
                <c:pt idx="60">
                  <c:v>0.19</c:v>
                </c:pt>
                <c:pt idx="61">
                  <c:v>0.3</c:v>
                </c:pt>
                <c:pt idx="62">
                  <c:v>0.36</c:v>
                </c:pt>
                <c:pt idx="63">
                  <c:v>0.34</c:v>
                </c:pt>
                <c:pt idx="64">
                  <c:v>0.31</c:v>
                </c:pt>
                <c:pt idx="65">
                  <c:v>0.42</c:v>
                </c:pt>
                <c:pt idx="66">
                  <c:v>0.28000000000000003</c:v>
                </c:pt>
                <c:pt idx="67">
                  <c:v>0.25</c:v>
                </c:pt>
                <c:pt idx="68">
                  <c:v>0.27</c:v>
                </c:pt>
                <c:pt idx="69">
                  <c:v>0.11</c:v>
                </c:pt>
                <c:pt idx="70">
                  <c:v>0.19</c:v>
                </c:pt>
                <c:pt idx="71">
                  <c:v>0.08</c:v>
                </c:pt>
                <c:pt idx="72">
                  <c:v>0.1</c:v>
                </c:pt>
                <c:pt idx="73">
                  <c:v>0.09</c:v>
                </c:pt>
                <c:pt idx="74">
                  <c:v>0.11</c:v>
                </c:pt>
                <c:pt idx="75">
                  <c:v>0.17</c:v>
                </c:pt>
                <c:pt idx="76">
                  <c:v>0.12</c:v>
                </c:pt>
                <c:pt idx="77">
                  <c:v>0.23</c:v>
                </c:pt>
                <c:pt idx="78">
                  <c:v>0.22</c:v>
                </c:pt>
                <c:pt idx="79">
                  <c:v>0.19</c:v>
                </c:pt>
                <c:pt idx="80">
                  <c:v>0.09</c:v>
                </c:pt>
                <c:pt idx="81">
                  <c:v>0.15</c:v>
                </c:pt>
                <c:pt idx="82">
                  <c:v>0.06</c:v>
                </c:pt>
                <c:pt idx="83">
                  <c:v>0.06</c:v>
                </c:pt>
                <c:pt idx="84">
                  <c:v>0.19</c:v>
                </c:pt>
                <c:pt idx="85">
                  <c:v>0.12</c:v>
                </c:pt>
                <c:pt idx="86">
                  <c:v>0.18</c:v>
                </c:pt>
                <c:pt idx="87">
                  <c:v>0.19</c:v>
                </c:pt>
                <c:pt idx="88">
                  <c:v>0.13</c:v>
                </c:pt>
                <c:pt idx="89">
                  <c:v>0.19</c:v>
                </c:pt>
                <c:pt idx="90">
                  <c:v>0.09</c:v>
                </c:pt>
                <c:pt idx="91">
                  <c:v>0.13</c:v>
                </c:pt>
                <c:pt idx="92">
                  <c:v>0.19</c:v>
                </c:pt>
                <c:pt idx="93">
                  <c:v>0.13</c:v>
                </c:pt>
                <c:pt idx="94">
                  <c:v>0.15</c:v>
                </c:pt>
                <c:pt idx="95">
                  <c:v>0.06</c:v>
                </c:pt>
                <c:pt idx="96">
                  <c:v>0.09</c:v>
                </c:pt>
                <c:pt idx="97">
                  <c:v>0.05</c:v>
                </c:pt>
                <c:pt idx="98">
                  <c:v>0.04</c:v>
                </c:pt>
                <c:pt idx="99">
                  <c:v>0.03</c:v>
                </c:pt>
                <c:pt idx="100">
                  <c:v>0.08</c:v>
                </c:pt>
                <c:pt idx="101">
                  <c:v>0.01</c:v>
                </c:pt>
                <c:pt idx="102">
                  <c:v>0.02</c:v>
                </c:pt>
                <c:pt idx="103">
                  <c:v>0.1</c:v>
                </c:pt>
                <c:pt idx="104">
                  <c:v>0.03</c:v>
                </c:pt>
                <c:pt idx="105">
                  <c:v>0.22</c:v>
                </c:pt>
                <c:pt idx="106">
                  <c:v>0.06</c:v>
                </c:pt>
                <c:pt idx="107">
                  <c:v>0.01</c:v>
                </c:pt>
                <c:pt idx="108">
                  <c:v>0.03</c:v>
                </c:pt>
                <c:pt idx="109">
                  <c:v>0.02</c:v>
                </c:pt>
                <c:pt idx="110">
                  <c:v>0.03</c:v>
                </c:pt>
                <c:pt idx="111">
                  <c:v>0.03</c:v>
                </c:pt>
                <c:pt idx="112">
                  <c:v>0.02</c:v>
                </c:pt>
                <c:pt idx="113">
                  <c:v>0.04</c:v>
                </c:pt>
                <c:pt idx="114">
                  <c:v>0.13</c:v>
                </c:pt>
                <c:pt idx="115">
                  <c:v>7.0000000000000007E-2</c:v>
                </c:pt>
                <c:pt idx="116">
                  <c:v>0.01</c:v>
                </c:pt>
                <c:pt idx="117">
                  <c:v>0.15</c:v>
                </c:pt>
                <c:pt idx="118">
                  <c:v>0.01</c:v>
                </c:pt>
                <c:pt idx="119">
                  <c:v>0.01</c:v>
                </c:pt>
                <c:pt idx="120">
                  <c:v>0.01</c:v>
                </c:pt>
                <c:pt idx="121">
                  <c:v>0.03</c:v>
                </c:pt>
                <c:pt idx="122">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7ECAC4"/>
              </a:solidFill>
            </c:spPr>
            <c:extLst>
              <c:ext xmlns:c16="http://schemas.microsoft.com/office/drawing/2014/chart" uri="{C3380CC4-5D6E-409C-BE32-E72D297353CC}">
                <c16:uniqueId val="{00000069-2993-41DE-A2CB-63102DE87051}"/>
              </c:ext>
            </c:extLst>
          </c:dPt>
          <c:dPt>
            <c:idx val="25"/>
            <c:invertIfNegative val="1"/>
            <c:bubble3D val="0"/>
            <c:spPr>
              <a:solidFill>
                <a:srgbClr val="7ECAC4"/>
              </a:solidFill>
            </c:spPr>
            <c:extLst>
              <c:ext xmlns:c16="http://schemas.microsoft.com/office/drawing/2014/chart" uri="{C3380CC4-5D6E-409C-BE32-E72D297353CC}">
                <c16:uniqueId val="{0000006B-2993-41DE-A2CB-63102DE87051}"/>
              </c:ext>
            </c:extLst>
          </c:dPt>
          <c:dPt>
            <c:idx val="26"/>
            <c:invertIfNegative val="1"/>
            <c:bubble3D val="0"/>
            <c:spPr>
              <a:solidFill>
                <a:srgbClr val="7ECAC4"/>
              </a:solidFill>
            </c:spPr>
            <c:extLst>
              <c:ext xmlns:c16="http://schemas.microsoft.com/office/drawing/2014/chart" uri="{C3380CC4-5D6E-409C-BE32-E72D297353CC}">
                <c16:uniqueId val="{0000006D-2993-41DE-A2CB-63102DE87051}"/>
              </c:ext>
            </c:extLst>
          </c:dPt>
          <c:dPt>
            <c:idx val="27"/>
            <c:invertIfNegative val="1"/>
            <c:bubble3D val="0"/>
            <c:spPr>
              <a:solidFill>
                <a:srgbClr val="7ECAC4"/>
              </a:solidFill>
            </c:spPr>
            <c:extLst>
              <c:ext xmlns:c16="http://schemas.microsoft.com/office/drawing/2014/chart" uri="{C3380CC4-5D6E-409C-BE32-E72D297353CC}">
                <c16:uniqueId val="{0000006F-2993-41DE-A2CB-63102DE87051}"/>
              </c:ext>
            </c:extLst>
          </c:dPt>
          <c:dPt>
            <c:idx val="28"/>
            <c:invertIfNegative val="1"/>
            <c:bubble3D val="0"/>
            <c:spPr>
              <a:solidFill>
                <a:srgbClr val="7ECAC4"/>
              </a:solidFill>
            </c:spPr>
            <c:extLst>
              <c:ext xmlns:c16="http://schemas.microsoft.com/office/drawing/2014/chart" uri="{C3380CC4-5D6E-409C-BE32-E72D297353CC}">
                <c16:uniqueId val="{00000071-2993-41DE-A2CB-63102DE87051}"/>
              </c:ext>
            </c:extLst>
          </c:dPt>
          <c:dPt>
            <c:idx val="29"/>
            <c:invertIfNegative val="1"/>
            <c:bubble3D val="0"/>
            <c:spPr>
              <a:solidFill>
                <a:srgbClr val="7ECAC4"/>
              </a:solidFill>
            </c:spPr>
            <c:extLst>
              <c:ext xmlns:c16="http://schemas.microsoft.com/office/drawing/2014/chart" uri="{C3380CC4-5D6E-409C-BE32-E72D297353CC}">
                <c16:uniqueId val="{00000073-2993-41DE-A2CB-63102DE87051}"/>
              </c:ext>
            </c:extLst>
          </c:dPt>
          <c:dPt>
            <c:idx val="30"/>
            <c:invertIfNegative val="1"/>
            <c:bubble3D val="0"/>
            <c:spPr>
              <a:solidFill>
                <a:srgbClr val="7ECAC4"/>
              </a:solidFill>
            </c:spPr>
            <c:extLst>
              <c:ext xmlns:c16="http://schemas.microsoft.com/office/drawing/2014/chart" uri="{C3380CC4-5D6E-409C-BE32-E72D297353CC}">
                <c16:uniqueId val="{00000075-2993-41DE-A2CB-63102DE87051}"/>
              </c:ext>
            </c:extLst>
          </c:dPt>
          <c:dPt>
            <c:idx val="31"/>
            <c:invertIfNegative val="1"/>
            <c:bubble3D val="0"/>
            <c:spPr>
              <a:solidFill>
                <a:srgbClr val="7ECAC4"/>
              </a:solidFill>
            </c:spPr>
            <c:extLst>
              <c:ext xmlns:c16="http://schemas.microsoft.com/office/drawing/2014/chart" uri="{C3380CC4-5D6E-409C-BE32-E72D297353CC}">
                <c16:uniqueId val="{00000077-2993-41DE-A2CB-63102DE87051}"/>
              </c:ext>
            </c:extLst>
          </c:dPt>
          <c:dPt>
            <c:idx val="32"/>
            <c:invertIfNegative val="1"/>
            <c:bubble3D val="0"/>
            <c:spPr>
              <a:solidFill>
                <a:srgbClr val="7ECAC4"/>
              </a:solidFill>
            </c:spPr>
            <c:extLst>
              <c:ext xmlns:c16="http://schemas.microsoft.com/office/drawing/2014/chart" uri="{C3380CC4-5D6E-409C-BE32-E72D297353CC}">
                <c16:uniqueId val="{00000079-2993-41DE-A2CB-63102DE87051}"/>
              </c:ext>
            </c:extLst>
          </c:dPt>
          <c:dPt>
            <c:idx val="33"/>
            <c:invertIfNegative val="1"/>
            <c:bubble3D val="0"/>
            <c:spPr>
              <a:solidFill>
                <a:srgbClr val="7ECAC4"/>
              </a:solidFill>
            </c:spPr>
            <c:extLst>
              <c:ext xmlns:c16="http://schemas.microsoft.com/office/drawing/2014/chart" uri="{C3380CC4-5D6E-409C-BE32-E72D297353CC}">
                <c16:uniqueId val="{0000007B-2993-41DE-A2CB-63102DE87051}"/>
              </c:ext>
            </c:extLst>
          </c:dPt>
          <c:dPt>
            <c:idx val="34"/>
            <c:invertIfNegative val="1"/>
            <c:bubble3D val="0"/>
            <c:spPr>
              <a:solidFill>
                <a:srgbClr val="7ECAC4"/>
              </a:solidFill>
            </c:spPr>
            <c:extLst>
              <c:ext xmlns:c16="http://schemas.microsoft.com/office/drawing/2014/chart" uri="{C3380CC4-5D6E-409C-BE32-E72D297353CC}">
                <c16:uniqueId val="{0000007D-2993-41DE-A2CB-63102DE87051}"/>
              </c:ext>
            </c:extLst>
          </c:dPt>
          <c:dPt>
            <c:idx val="35"/>
            <c:invertIfNegative val="1"/>
            <c:bubble3D val="0"/>
            <c:spPr>
              <a:solidFill>
                <a:srgbClr val="7ECAC4"/>
              </a:solidFill>
            </c:spPr>
            <c:extLst>
              <c:ext xmlns:c16="http://schemas.microsoft.com/office/drawing/2014/chart" uri="{C3380CC4-5D6E-409C-BE32-E72D297353CC}">
                <c16:uniqueId val="{0000007F-2993-41DE-A2CB-63102DE87051}"/>
              </c:ext>
            </c:extLst>
          </c:dPt>
          <c:dPt>
            <c:idx val="36"/>
            <c:invertIfNegative val="1"/>
            <c:bubble3D val="0"/>
            <c:spPr>
              <a:solidFill>
                <a:srgbClr val="7ECAC4"/>
              </a:solidFill>
            </c:spPr>
            <c:extLst>
              <c:ext xmlns:c16="http://schemas.microsoft.com/office/drawing/2014/chart" uri="{C3380CC4-5D6E-409C-BE32-E72D297353CC}">
                <c16:uniqueId val="{00000081-2993-41DE-A2CB-63102DE87051}"/>
              </c:ext>
            </c:extLst>
          </c:dPt>
          <c:dPt>
            <c:idx val="37"/>
            <c:invertIfNegative val="1"/>
            <c:bubble3D val="0"/>
            <c:spPr>
              <a:solidFill>
                <a:srgbClr val="7ECAC4"/>
              </a:solidFill>
            </c:spPr>
            <c:extLst>
              <c:ext xmlns:c16="http://schemas.microsoft.com/office/drawing/2014/chart" uri="{C3380CC4-5D6E-409C-BE32-E72D297353CC}">
                <c16:uniqueId val="{00000083-2993-41DE-A2CB-63102DE87051}"/>
              </c:ext>
            </c:extLst>
          </c:dPt>
          <c:dPt>
            <c:idx val="38"/>
            <c:invertIfNegative val="1"/>
            <c:bubble3D val="0"/>
            <c:spPr>
              <a:solidFill>
                <a:srgbClr val="7ECAC4"/>
              </a:solidFill>
            </c:spPr>
            <c:extLst>
              <c:ext xmlns:c16="http://schemas.microsoft.com/office/drawing/2014/chart" uri="{C3380CC4-5D6E-409C-BE32-E72D297353CC}">
                <c16:uniqueId val="{00000085-2993-41DE-A2CB-63102DE87051}"/>
              </c:ext>
            </c:extLst>
          </c:dPt>
          <c:dPt>
            <c:idx val="39"/>
            <c:invertIfNegative val="1"/>
            <c:bubble3D val="0"/>
            <c:spPr>
              <a:solidFill>
                <a:srgbClr val="7ECAC4"/>
              </a:solidFill>
            </c:spPr>
            <c:extLst>
              <c:ext xmlns:c16="http://schemas.microsoft.com/office/drawing/2014/chart" uri="{C3380CC4-5D6E-409C-BE32-E72D297353CC}">
                <c16:uniqueId val="{00000087-2993-41DE-A2CB-63102DE87051}"/>
              </c:ext>
            </c:extLst>
          </c:dPt>
          <c:dPt>
            <c:idx val="40"/>
            <c:invertIfNegative val="1"/>
            <c:bubble3D val="0"/>
            <c:spPr>
              <a:solidFill>
                <a:srgbClr val="7ECAC4"/>
              </a:solidFill>
            </c:spPr>
            <c:extLst>
              <c:ext xmlns:c16="http://schemas.microsoft.com/office/drawing/2014/chart" uri="{C3380CC4-5D6E-409C-BE32-E72D297353CC}">
                <c16:uniqueId val="{00000089-2993-41DE-A2CB-63102DE87051}"/>
              </c:ext>
            </c:extLst>
          </c:dPt>
          <c:dPt>
            <c:idx val="41"/>
            <c:invertIfNegative val="1"/>
            <c:bubble3D val="0"/>
            <c:spPr>
              <a:solidFill>
                <a:srgbClr val="7ECAC4"/>
              </a:solidFill>
            </c:spPr>
            <c:extLst>
              <c:ext xmlns:c16="http://schemas.microsoft.com/office/drawing/2014/chart" uri="{C3380CC4-5D6E-409C-BE32-E72D297353CC}">
                <c16:uniqueId val="{0000008B-2993-41DE-A2CB-63102DE87051}"/>
              </c:ext>
            </c:extLst>
          </c:dPt>
          <c:dPt>
            <c:idx val="42"/>
            <c:invertIfNegative val="1"/>
            <c:bubble3D val="0"/>
            <c:spPr>
              <a:solidFill>
                <a:srgbClr val="7ECAC4"/>
              </a:solidFill>
            </c:spPr>
            <c:extLst>
              <c:ext xmlns:c16="http://schemas.microsoft.com/office/drawing/2014/chart" uri="{C3380CC4-5D6E-409C-BE32-E72D297353CC}">
                <c16:uniqueId val="{0000008D-2993-41DE-A2CB-63102DE87051}"/>
              </c:ext>
            </c:extLst>
          </c:dPt>
          <c:dPt>
            <c:idx val="43"/>
            <c:invertIfNegative val="1"/>
            <c:bubble3D val="0"/>
            <c:spPr>
              <a:solidFill>
                <a:srgbClr val="7ECAC4"/>
              </a:solidFill>
            </c:spPr>
            <c:extLst>
              <c:ext xmlns:c16="http://schemas.microsoft.com/office/drawing/2014/chart" uri="{C3380CC4-5D6E-409C-BE32-E72D297353CC}">
                <c16:uniqueId val="{0000008F-2993-41DE-A2CB-63102DE87051}"/>
              </c:ext>
            </c:extLst>
          </c:dPt>
          <c:dPt>
            <c:idx val="44"/>
            <c:invertIfNegative val="1"/>
            <c:bubble3D val="0"/>
            <c:spPr>
              <a:solidFill>
                <a:srgbClr val="7ECAC4"/>
              </a:solidFill>
            </c:spPr>
            <c:extLst>
              <c:ext xmlns:c16="http://schemas.microsoft.com/office/drawing/2014/chart" uri="{C3380CC4-5D6E-409C-BE32-E72D297353CC}">
                <c16:uniqueId val="{00000091-2993-41DE-A2CB-63102DE87051}"/>
              </c:ext>
            </c:extLst>
          </c:dPt>
          <c:dPt>
            <c:idx val="45"/>
            <c:invertIfNegative val="1"/>
            <c:bubble3D val="0"/>
            <c:spPr>
              <a:solidFill>
                <a:srgbClr val="7ECAC4"/>
              </a:solidFill>
            </c:spPr>
            <c:extLst>
              <c:ext xmlns:c16="http://schemas.microsoft.com/office/drawing/2014/chart" uri="{C3380CC4-5D6E-409C-BE32-E72D297353CC}">
                <c16:uniqueId val="{00000093-2993-41DE-A2CB-63102DE87051}"/>
              </c:ext>
            </c:extLst>
          </c:dPt>
          <c:dPt>
            <c:idx val="46"/>
            <c:invertIfNegative val="1"/>
            <c:bubble3D val="0"/>
            <c:spPr>
              <a:solidFill>
                <a:srgbClr val="AEABAB"/>
              </a:solidFill>
            </c:spPr>
            <c:extLst>
              <c:ext xmlns:c16="http://schemas.microsoft.com/office/drawing/2014/chart" uri="{C3380CC4-5D6E-409C-BE32-E72D297353CC}">
                <c16:uniqueId val="{00000095-2993-41DE-A2CB-63102DE87051}"/>
              </c:ext>
            </c:extLst>
          </c:dPt>
          <c:dPt>
            <c:idx val="47"/>
            <c:invertIfNegative val="1"/>
            <c:bubble3D val="0"/>
            <c:spPr>
              <a:solidFill>
                <a:srgbClr val="AEABAB"/>
              </a:solidFill>
            </c:spPr>
            <c:extLst>
              <c:ext xmlns:c16="http://schemas.microsoft.com/office/drawing/2014/chart" uri="{C3380CC4-5D6E-409C-BE32-E72D297353CC}">
                <c16:uniqueId val="{00000097-2993-41DE-A2CB-63102DE87051}"/>
              </c:ext>
            </c:extLst>
          </c:dPt>
          <c:dPt>
            <c:idx val="48"/>
            <c:invertIfNegative val="1"/>
            <c:bubble3D val="0"/>
            <c:spPr>
              <a:solidFill>
                <a:srgbClr val="AEABAB"/>
              </a:solidFill>
            </c:spPr>
            <c:extLst>
              <c:ext xmlns:c16="http://schemas.microsoft.com/office/drawing/2014/chart" uri="{C3380CC4-5D6E-409C-BE32-E72D297353CC}">
                <c16:uniqueId val="{00000099-2993-41DE-A2CB-63102DE87051}"/>
              </c:ext>
            </c:extLst>
          </c:dPt>
          <c:dPt>
            <c:idx val="49"/>
            <c:invertIfNegative val="1"/>
            <c:bubble3D val="0"/>
            <c:spPr>
              <a:solidFill>
                <a:srgbClr val="AEABAB"/>
              </a:solidFill>
            </c:spPr>
            <c:extLst>
              <c:ext xmlns:c16="http://schemas.microsoft.com/office/drawing/2014/chart" uri="{C3380CC4-5D6E-409C-BE32-E72D297353CC}">
                <c16:uniqueId val="{0000009B-2993-41DE-A2CB-63102DE87051}"/>
              </c:ext>
            </c:extLst>
          </c:dPt>
          <c:dPt>
            <c:idx val="50"/>
            <c:invertIfNegative val="1"/>
            <c:bubble3D val="0"/>
            <c:spPr>
              <a:solidFill>
                <a:srgbClr val="AEABAB"/>
              </a:solidFill>
            </c:spPr>
            <c:extLst>
              <c:ext xmlns:c16="http://schemas.microsoft.com/office/drawing/2014/chart" uri="{C3380CC4-5D6E-409C-BE32-E72D297353CC}">
                <c16:uniqueId val="{0000009D-2993-41DE-A2CB-63102DE87051}"/>
              </c:ext>
            </c:extLst>
          </c:dPt>
          <c:dPt>
            <c:idx val="51"/>
            <c:invertIfNegative val="1"/>
            <c:bubble3D val="0"/>
            <c:spPr>
              <a:solidFill>
                <a:srgbClr val="AEABAB"/>
              </a:solidFill>
            </c:spPr>
            <c:extLst>
              <c:ext xmlns:c16="http://schemas.microsoft.com/office/drawing/2014/chart" uri="{C3380CC4-5D6E-409C-BE32-E72D297353CC}">
                <c16:uniqueId val="{0000009F-2993-41DE-A2CB-63102DE87051}"/>
              </c:ext>
            </c:extLst>
          </c:dPt>
          <c:dPt>
            <c:idx val="52"/>
            <c:invertIfNegative val="1"/>
            <c:bubble3D val="0"/>
            <c:spPr>
              <a:solidFill>
                <a:srgbClr val="AEABAB"/>
              </a:solidFill>
            </c:spPr>
            <c:extLst>
              <c:ext xmlns:c16="http://schemas.microsoft.com/office/drawing/2014/chart" uri="{C3380CC4-5D6E-409C-BE32-E72D297353CC}">
                <c16:uniqueId val="{000000A1-2993-41DE-A2CB-63102DE87051}"/>
              </c:ext>
            </c:extLst>
          </c:dPt>
          <c:dPt>
            <c:idx val="53"/>
            <c:invertIfNegative val="1"/>
            <c:bubble3D val="0"/>
            <c:spPr>
              <a:solidFill>
                <a:srgbClr val="AEABAB"/>
              </a:solidFill>
            </c:spPr>
            <c:extLst>
              <c:ext xmlns:c16="http://schemas.microsoft.com/office/drawing/2014/chart" uri="{C3380CC4-5D6E-409C-BE32-E72D297353CC}">
                <c16:uniqueId val="{000000A3-2993-41DE-A2CB-63102DE87051}"/>
              </c:ext>
            </c:extLst>
          </c:dPt>
          <c:dPt>
            <c:idx val="54"/>
            <c:invertIfNegative val="0"/>
            <c:bubble3D val="0"/>
            <c:spPr>
              <a:solidFill>
                <a:srgbClr val="AEABAB"/>
              </a:solidFill>
            </c:spPr>
            <c:extLst>
              <c:ext xmlns:c16="http://schemas.microsoft.com/office/drawing/2014/chart" uri="{C3380CC4-5D6E-409C-BE32-E72D297353CC}">
                <c16:uniqueId val="{00000072-C76F-4230-900D-40618C09729F}"/>
              </c:ext>
            </c:extLst>
          </c:dPt>
          <c:dPt>
            <c:idx val="55"/>
            <c:invertIfNegative val="0"/>
            <c:bubble3D val="0"/>
            <c:spPr>
              <a:solidFill>
                <a:srgbClr val="AEABAB"/>
              </a:solidFill>
            </c:spPr>
            <c:extLst>
              <c:ext xmlns:c16="http://schemas.microsoft.com/office/drawing/2014/chart" uri="{C3380CC4-5D6E-409C-BE32-E72D297353CC}">
                <c16:uniqueId val="{00000074-C76F-4230-900D-40618C09729F}"/>
              </c:ext>
            </c:extLst>
          </c:dPt>
          <c:dPt>
            <c:idx val="56"/>
            <c:invertIfNegative val="0"/>
            <c:bubble3D val="0"/>
            <c:spPr>
              <a:solidFill>
                <a:srgbClr val="AEABAB"/>
              </a:solidFill>
            </c:spPr>
            <c:extLst>
              <c:ext xmlns:c16="http://schemas.microsoft.com/office/drawing/2014/chart" uri="{C3380CC4-5D6E-409C-BE32-E72D297353CC}">
                <c16:uniqueId val="{00000076-C76F-4230-900D-40618C09729F}"/>
              </c:ext>
            </c:extLst>
          </c:dPt>
          <c:dPt>
            <c:idx val="57"/>
            <c:invertIfNegative val="0"/>
            <c:bubble3D val="0"/>
            <c:spPr>
              <a:solidFill>
                <a:srgbClr val="AEABAB"/>
              </a:solidFill>
            </c:spPr>
            <c:extLst>
              <c:ext xmlns:c16="http://schemas.microsoft.com/office/drawing/2014/chart" uri="{C3380CC4-5D6E-409C-BE32-E72D297353CC}">
                <c16:uniqueId val="{00000078-C76F-4230-900D-40618C09729F}"/>
              </c:ext>
            </c:extLst>
          </c:dPt>
          <c:dPt>
            <c:idx val="58"/>
            <c:invertIfNegative val="0"/>
            <c:bubble3D val="0"/>
            <c:spPr>
              <a:solidFill>
                <a:srgbClr val="AEABAB"/>
              </a:solidFill>
            </c:spPr>
            <c:extLst>
              <c:ext xmlns:c16="http://schemas.microsoft.com/office/drawing/2014/chart" uri="{C3380CC4-5D6E-409C-BE32-E72D297353CC}">
                <c16:uniqueId val="{0000007A-C76F-4230-900D-40618C09729F}"/>
              </c:ext>
            </c:extLst>
          </c:dPt>
          <c:dPt>
            <c:idx val="59"/>
            <c:invertIfNegative val="0"/>
            <c:bubble3D val="0"/>
            <c:spPr>
              <a:solidFill>
                <a:srgbClr val="AEABAB"/>
              </a:solidFill>
            </c:spPr>
            <c:extLst>
              <c:ext xmlns:c16="http://schemas.microsoft.com/office/drawing/2014/chart" uri="{C3380CC4-5D6E-409C-BE32-E72D297353CC}">
                <c16:uniqueId val="{0000007C-C76F-4230-900D-40618C09729F}"/>
              </c:ext>
            </c:extLst>
          </c:dPt>
          <c:dPt>
            <c:idx val="60"/>
            <c:invertIfNegative val="0"/>
            <c:bubble3D val="0"/>
            <c:spPr>
              <a:solidFill>
                <a:srgbClr val="AEABAB"/>
              </a:solidFill>
            </c:spPr>
            <c:extLst>
              <c:ext xmlns:c16="http://schemas.microsoft.com/office/drawing/2014/chart" uri="{C3380CC4-5D6E-409C-BE32-E72D297353CC}">
                <c16:uniqueId val="{0000007E-C76F-4230-900D-40618C09729F}"/>
              </c:ext>
            </c:extLst>
          </c:dPt>
          <c:dPt>
            <c:idx val="61"/>
            <c:invertIfNegative val="0"/>
            <c:bubble3D val="0"/>
            <c:spPr>
              <a:solidFill>
                <a:srgbClr val="AEABAB"/>
              </a:solidFill>
            </c:spPr>
            <c:extLst>
              <c:ext xmlns:c16="http://schemas.microsoft.com/office/drawing/2014/chart" uri="{C3380CC4-5D6E-409C-BE32-E72D297353CC}">
                <c16:uniqueId val="{00000080-C76F-4230-900D-40618C09729F}"/>
              </c:ext>
            </c:extLst>
          </c:dPt>
          <c:dPt>
            <c:idx val="62"/>
            <c:invertIfNegative val="0"/>
            <c:bubble3D val="0"/>
            <c:spPr>
              <a:solidFill>
                <a:srgbClr val="AEABAB"/>
              </a:solidFill>
            </c:spPr>
            <c:extLst>
              <c:ext xmlns:c16="http://schemas.microsoft.com/office/drawing/2014/chart" uri="{C3380CC4-5D6E-409C-BE32-E72D297353CC}">
                <c16:uniqueId val="{00000082-C76F-4230-900D-40618C09729F}"/>
              </c:ext>
            </c:extLst>
          </c:dPt>
          <c:dPt>
            <c:idx val="63"/>
            <c:invertIfNegative val="0"/>
            <c:bubble3D val="0"/>
            <c:spPr>
              <a:solidFill>
                <a:srgbClr val="AEABAB"/>
              </a:solidFill>
            </c:spPr>
            <c:extLst>
              <c:ext xmlns:c16="http://schemas.microsoft.com/office/drawing/2014/chart" uri="{C3380CC4-5D6E-409C-BE32-E72D297353CC}">
                <c16:uniqueId val="{00000084-C76F-4230-900D-40618C09729F}"/>
              </c:ext>
            </c:extLst>
          </c:dPt>
          <c:dPt>
            <c:idx val="64"/>
            <c:invertIfNegative val="0"/>
            <c:bubble3D val="0"/>
            <c:spPr>
              <a:solidFill>
                <a:srgbClr val="AEABAB"/>
              </a:solidFill>
            </c:spPr>
            <c:extLst>
              <c:ext xmlns:c16="http://schemas.microsoft.com/office/drawing/2014/chart" uri="{C3380CC4-5D6E-409C-BE32-E72D297353CC}">
                <c16:uniqueId val="{00000086-C76F-4230-900D-40618C09729F}"/>
              </c:ext>
            </c:extLst>
          </c:dPt>
          <c:dPt>
            <c:idx val="65"/>
            <c:invertIfNegative val="0"/>
            <c:bubble3D val="0"/>
            <c:spPr>
              <a:solidFill>
                <a:srgbClr val="AEABAB"/>
              </a:solidFill>
            </c:spPr>
            <c:extLst>
              <c:ext xmlns:c16="http://schemas.microsoft.com/office/drawing/2014/chart" uri="{C3380CC4-5D6E-409C-BE32-E72D297353CC}">
                <c16:uniqueId val="{00000088-C76F-4230-900D-40618C09729F}"/>
              </c:ext>
            </c:extLst>
          </c:dPt>
          <c:dPt>
            <c:idx val="66"/>
            <c:invertIfNegative val="0"/>
            <c:bubble3D val="0"/>
            <c:spPr>
              <a:solidFill>
                <a:srgbClr val="AEABAB"/>
              </a:solidFill>
            </c:spPr>
            <c:extLst>
              <c:ext xmlns:c16="http://schemas.microsoft.com/office/drawing/2014/chart" uri="{C3380CC4-5D6E-409C-BE32-E72D297353CC}">
                <c16:uniqueId val="{0000008A-C76F-4230-900D-40618C09729F}"/>
              </c:ext>
            </c:extLst>
          </c:dPt>
          <c:dPt>
            <c:idx val="67"/>
            <c:invertIfNegative val="0"/>
            <c:bubble3D val="0"/>
            <c:spPr>
              <a:solidFill>
                <a:srgbClr val="AEABAB"/>
              </a:solidFill>
            </c:spPr>
            <c:extLst>
              <c:ext xmlns:c16="http://schemas.microsoft.com/office/drawing/2014/chart" uri="{C3380CC4-5D6E-409C-BE32-E72D297353CC}">
                <c16:uniqueId val="{0000008C-C76F-4230-900D-40618C09729F}"/>
              </c:ext>
            </c:extLst>
          </c:dPt>
          <c:dPt>
            <c:idx val="68"/>
            <c:invertIfNegative val="0"/>
            <c:bubble3D val="0"/>
            <c:spPr>
              <a:solidFill>
                <a:srgbClr val="AEABAB"/>
              </a:solidFill>
            </c:spPr>
            <c:extLst>
              <c:ext xmlns:c16="http://schemas.microsoft.com/office/drawing/2014/chart" uri="{C3380CC4-5D6E-409C-BE32-E72D297353CC}">
                <c16:uniqueId val="{0000008E-C76F-4230-900D-40618C09729F}"/>
              </c:ext>
            </c:extLst>
          </c:dPt>
          <c:dPt>
            <c:idx val="69"/>
            <c:invertIfNegative val="0"/>
            <c:bubble3D val="0"/>
            <c:spPr>
              <a:solidFill>
                <a:srgbClr val="AEABAB"/>
              </a:solidFill>
            </c:spPr>
            <c:extLst>
              <c:ext xmlns:c16="http://schemas.microsoft.com/office/drawing/2014/chart" uri="{C3380CC4-5D6E-409C-BE32-E72D297353CC}">
                <c16:uniqueId val="{00000090-C76F-4230-900D-40618C09729F}"/>
              </c:ext>
            </c:extLst>
          </c:dPt>
          <c:dPt>
            <c:idx val="70"/>
            <c:invertIfNegative val="0"/>
            <c:bubble3D val="0"/>
            <c:spPr>
              <a:solidFill>
                <a:srgbClr val="AEABAB"/>
              </a:solidFill>
            </c:spPr>
            <c:extLst>
              <c:ext xmlns:c16="http://schemas.microsoft.com/office/drawing/2014/chart" uri="{C3380CC4-5D6E-409C-BE32-E72D297353CC}">
                <c16:uniqueId val="{00000092-C76F-4230-900D-40618C09729F}"/>
              </c:ext>
            </c:extLst>
          </c:dPt>
          <c:dPt>
            <c:idx val="71"/>
            <c:invertIfNegative val="0"/>
            <c:bubble3D val="0"/>
            <c:spPr>
              <a:solidFill>
                <a:srgbClr val="AEABAB"/>
              </a:solidFill>
            </c:spPr>
            <c:extLst>
              <c:ext xmlns:c16="http://schemas.microsoft.com/office/drawing/2014/chart" uri="{C3380CC4-5D6E-409C-BE32-E72D297353CC}">
                <c16:uniqueId val="{00000094-C76F-4230-900D-40618C09729F}"/>
              </c:ext>
            </c:extLst>
          </c:dPt>
          <c:dPt>
            <c:idx val="72"/>
            <c:invertIfNegative val="0"/>
            <c:bubble3D val="0"/>
            <c:spPr>
              <a:solidFill>
                <a:srgbClr val="AEABAB"/>
              </a:solidFill>
            </c:spPr>
            <c:extLst>
              <c:ext xmlns:c16="http://schemas.microsoft.com/office/drawing/2014/chart" uri="{C3380CC4-5D6E-409C-BE32-E72D297353CC}">
                <c16:uniqueId val="{00000096-C76F-4230-900D-40618C09729F}"/>
              </c:ext>
            </c:extLst>
          </c:dPt>
          <c:dPt>
            <c:idx val="73"/>
            <c:invertIfNegative val="0"/>
            <c:bubble3D val="0"/>
            <c:spPr>
              <a:solidFill>
                <a:srgbClr val="AEABAB"/>
              </a:solidFill>
            </c:spPr>
            <c:extLst>
              <c:ext xmlns:c16="http://schemas.microsoft.com/office/drawing/2014/chart" uri="{C3380CC4-5D6E-409C-BE32-E72D297353CC}">
                <c16:uniqueId val="{00000098-C76F-4230-900D-40618C09729F}"/>
              </c:ext>
            </c:extLst>
          </c:dPt>
          <c:dPt>
            <c:idx val="74"/>
            <c:invertIfNegative val="0"/>
            <c:bubble3D val="0"/>
            <c:spPr>
              <a:solidFill>
                <a:srgbClr val="AEABAB"/>
              </a:solidFill>
            </c:spPr>
            <c:extLst>
              <c:ext xmlns:c16="http://schemas.microsoft.com/office/drawing/2014/chart" uri="{C3380CC4-5D6E-409C-BE32-E72D297353CC}">
                <c16:uniqueId val="{0000009A-C76F-4230-900D-40618C09729F}"/>
              </c:ext>
            </c:extLst>
          </c:dPt>
          <c:dPt>
            <c:idx val="75"/>
            <c:invertIfNegative val="0"/>
            <c:bubble3D val="0"/>
            <c:spPr>
              <a:solidFill>
                <a:srgbClr val="AEABAB"/>
              </a:solidFill>
            </c:spPr>
            <c:extLst>
              <c:ext xmlns:c16="http://schemas.microsoft.com/office/drawing/2014/chart" uri="{C3380CC4-5D6E-409C-BE32-E72D297353CC}">
                <c16:uniqueId val="{0000009C-C76F-4230-900D-40618C09729F}"/>
              </c:ext>
            </c:extLst>
          </c:dPt>
          <c:dPt>
            <c:idx val="76"/>
            <c:invertIfNegative val="0"/>
            <c:bubble3D val="0"/>
            <c:spPr>
              <a:solidFill>
                <a:srgbClr val="AEABAB"/>
              </a:solidFill>
            </c:spPr>
            <c:extLst>
              <c:ext xmlns:c16="http://schemas.microsoft.com/office/drawing/2014/chart" uri="{C3380CC4-5D6E-409C-BE32-E72D297353CC}">
                <c16:uniqueId val="{0000009E-C76F-4230-900D-40618C09729F}"/>
              </c:ext>
            </c:extLst>
          </c:dPt>
          <c:dPt>
            <c:idx val="77"/>
            <c:invertIfNegative val="0"/>
            <c:bubble3D val="0"/>
            <c:spPr>
              <a:solidFill>
                <a:srgbClr val="AEABAB"/>
              </a:solidFill>
            </c:spPr>
            <c:extLst>
              <c:ext xmlns:c16="http://schemas.microsoft.com/office/drawing/2014/chart" uri="{C3380CC4-5D6E-409C-BE32-E72D297353CC}">
                <c16:uniqueId val="{000000A0-C76F-4230-900D-40618C09729F}"/>
              </c:ext>
            </c:extLst>
          </c:dPt>
          <c:dPt>
            <c:idx val="78"/>
            <c:invertIfNegative val="0"/>
            <c:bubble3D val="0"/>
            <c:spPr>
              <a:solidFill>
                <a:srgbClr val="AEABAB"/>
              </a:solidFill>
            </c:spPr>
            <c:extLst>
              <c:ext xmlns:c16="http://schemas.microsoft.com/office/drawing/2014/chart" uri="{C3380CC4-5D6E-409C-BE32-E72D297353CC}">
                <c16:uniqueId val="{000000A2-C76F-4230-900D-40618C09729F}"/>
              </c:ext>
            </c:extLst>
          </c:dPt>
          <c:dPt>
            <c:idx val="79"/>
            <c:invertIfNegative val="0"/>
            <c:bubble3D val="0"/>
            <c:spPr>
              <a:solidFill>
                <a:srgbClr val="AEABAB"/>
              </a:solidFill>
            </c:spPr>
            <c:extLst>
              <c:ext xmlns:c16="http://schemas.microsoft.com/office/drawing/2014/chart" uri="{C3380CC4-5D6E-409C-BE32-E72D297353CC}">
                <c16:uniqueId val="{000000A4-C76F-4230-900D-40618C09729F}"/>
              </c:ext>
            </c:extLst>
          </c:dPt>
          <c:dPt>
            <c:idx val="80"/>
            <c:invertIfNegative val="0"/>
            <c:bubble3D val="0"/>
            <c:spPr>
              <a:solidFill>
                <a:srgbClr val="AEABAB"/>
              </a:solidFill>
            </c:spPr>
            <c:extLst>
              <c:ext xmlns:c16="http://schemas.microsoft.com/office/drawing/2014/chart" uri="{C3380CC4-5D6E-409C-BE32-E72D297353CC}">
                <c16:uniqueId val="{000000A6-C76F-4230-900D-40618C09729F}"/>
              </c:ext>
            </c:extLst>
          </c:dPt>
          <c:dPt>
            <c:idx val="81"/>
            <c:invertIfNegative val="1"/>
            <c:bubble3D val="0"/>
            <c:spPr>
              <a:solidFill>
                <a:srgbClr val="AEABAB"/>
              </a:solidFill>
            </c:spPr>
            <c:extLst>
              <c:ext xmlns:c16="http://schemas.microsoft.com/office/drawing/2014/chart" uri="{C3380CC4-5D6E-409C-BE32-E72D297353CC}">
                <c16:uniqueId val="{000000A5-2993-41DE-A2CB-63102DE87051}"/>
              </c:ext>
            </c:extLst>
          </c:dPt>
          <c:dPt>
            <c:idx val="82"/>
            <c:invertIfNegative val="1"/>
            <c:bubble3D val="0"/>
            <c:spPr>
              <a:solidFill>
                <a:srgbClr val="AEABAB"/>
              </a:solidFill>
            </c:spPr>
            <c:extLst>
              <c:ext xmlns:c16="http://schemas.microsoft.com/office/drawing/2014/chart" uri="{C3380CC4-5D6E-409C-BE32-E72D297353CC}">
                <c16:uniqueId val="{000000A7-2993-41DE-A2CB-63102DE87051}"/>
              </c:ext>
            </c:extLst>
          </c:dPt>
          <c:dPt>
            <c:idx val="83"/>
            <c:invertIfNegative val="1"/>
            <c:bubble3D val="0"/>
            <c:spPr>
              <a:solidFill>
                <a:srgbClr val="AEABAB"/>
              </a:solidFill>
            </c:spPr>
            <c:extLst>
              <c:ext xmlns:c16="http://schemas.microsoft.com/office/drawing/2014/chart" uri="{C3380CC4-5D6E-409C-BE32-E72D297353CC}">
                <c16:uniqueId val="{000000A9-2993-41DE-A2CB-63102DE87051}"/>
              </c:ext>
            </c:extLst>
          </c:dPt>
          <c:dPt>
            <c:idx val="84"/>
            <c:invertIfNegative val="1"/>
            <c:bubble3D val="0"/>
            <c:spPr>
              <a:solidFill>
                <a:srgbClr val="AEABAB"/>
              </a:solidFill>
            </c:spPr>
            <c:extLst>
              <c:ext xmlns:c16="http://schemas.microsoft.com/office/drawing/2014/chart" uri="{C3380CC4-5D6E-409C-BE32-E72D297353CC}">
                <c16:uniqueId val="{000000AB-2993-41DE-A2CB-63102DE87051}"/>
              </c:ext>
            </c:extLst>
          </c:dPt>
          <c:dPt>
            <c:idx val="85"/>
            <c:invertIfNegative val="1"/>
            <c:bubble3D val="0"/>
            <c:spPr>
              <a:solidFill>
                <a:srgbClr val="AEABAB"/>
              </a:solidFill>
            </c:spPr>
            <c:extLst>
              <c:ext xmlns:c16="http://schemas.microsoft.com/office/drawing/2014/chart" uri="{C3380CC4-5D6E-409C-BE32-E72D297353CC}">
                <c16:uniqueId val="{000000AD-2993-41DE-A2CB-63102DE87051}"/>
              </c:ext>
            </c:extLst>
          </c:dPt>
          <c:dPt>
            <c:idx val="86"/>
            <c:invertIfNegative val="1"/>
            <c:bubble3D val="0"/>
            <c:spPr>
              <a:solidFill>
                <a:srgbClr val="AEABAB"/>
              </a:solidFill>
            </c:spPr>
            <c:extLst>
              <c:ext xmlns:c16="http://schemas.microsoft.com/office/drawing/2014/chart" uri="{C3380CC4-5D6E-409C-BE32-E72D297353CC}">
                <c16:uniqueId val="{000000AF-2993-41DE-A2CB-63102DE87051}"/>
              </c:ext>
            </c:extLst>
          </c:dPt>
          <c:dPt>
            <c:idx val="87"/>
            <c:invertIfNegative val="1"/>
            <c:bubble3D val="0"/>
            <c:spPr>
              <a:solidFill>
                <a:srgbClr val="AEABAB"/>
              </a:solidFill>
            </c:spPr>
            <c:extLst>
              <c:ext xmlns:c16="http://schemas.microsoft.com/office/drawing/2014/chart" uri="{C3380CC4-5D6E-409C-BE32-E72D297353CC}">
                <c16:uniqueId val="{000000B1-2993-41DE-A2CB-63102DE87051}"/>
              </c:ext>
            </c:extLst>
          </c:dPt>
          <c:dPt>
            <c:idx val="88"/>
            <c:invertIfNegative val="1"/>
            <c:bubble3D val="0"/>
            <c:spPr>
              <a:solidFill>
                <a:srgbClr val="AEABAB"/>
              </a:solidFill>
            </c:spPr>
            <c:extLst>
              <c:ext xmlns:c16="http://schemas.microsoft.com/office/drawing/2014/chart" uri="{C3380CC4-5D6E-409C-BE32-E72D297353CC}">
                <c16:uniqueId val="{000000B3-2993-41DE-A2CB-63102DE87051}"/>
              </c:ext>
            </c:extLst>
          </c:dPt>
          <c:dPt>
            <c:idx val="89"/>
            <c:invertIfNegative val="1"/>
            <c:bubble3D val="0"/>
            <c:spPr>
              <a:solidFill>
                <a:srgbClr val="AEABAB"/>
              </a:solidFill>
            </c:spPr>
            <c:extLst>
              <c:ext xmlns:c16="http://schemas.microsoft.com/office/drawing/2014/chart" uri="{C3380CC4-5D6E-409C-BE32-E72D297353CC}">
                <c16:uniqueId val="{000000B5-2993-41DE-A2CB-63102DE87051}"/>
              </c:ext>
            </c:extLst>
          </c:dPt>
          <c:dPt>
            <c:idx val="90"/>
            <c:invertIfNegative val="1"/>
            <c:bubble3D val="0"/>
            <c:spPr>
              <a:solidFill>
                <a:srgbClr val="AEABAB"/>
              </a:solidFill>
            </c:spPr>
            <c:extLst>
              <c:ext xmlns:c16="http://schemas.microsoft.com/office/drawing/2014/chart" uri="{C3380CC4-5D6E-409C-BE32-E72D297353CC}">
                <c16:uniqueId val="{000000B7-2993-41DE-A2CB-63102DE87051}"/>
              </c:ext>
            </c:extLst>
          </c:dPt>
          <c:dPt>
            <c:idx val="91"/>
            <c:invertIfNegative val="1"/>
            <c:bubble3D val="0"/>
            <c:spPr>
              <a:solidFill>
                <a:srgbClr val="AEABAB"/>
              </a:solidFill>
            </c:spPr>
            <c:extLst>
              <c:ext xmlns:c16="http://schemas.microsoft.com/office/drawing/2014/chart" uri="{C3380CC4-5D6E-409C-BE32-E72D297353CC}">
                <c16:uniqueId val="{000000B9-2993-41DE-A2CB-63102DE87051}"/>
              </c:ext>
            </c:extLst>
          </c:dPt>
          <c:dPt>
            <c:idx val="92"/>
            <c:invertIfNegative val="1"/>
            <c:bubble3D val="0"/>
            <c:spPr>
              <a:solidFill>
                <a:srgbClr val="AEABAB"/>
              </a:solidFill>
            </c:spPr>
            <c:extLst>
              <c:ext xmlns:c16="http://schemas.microsoft.com/office/drawing/2014/chart" uri="{C3380CC4-5D6E-409C-BE32-E72D297353CC}">
                <c16:uniqueId val="{000000BB-2993-41DE-A2CB-63102DE87051}"/>
              </c:ext>
            </c:extLst>
          </c:dPt>
          <c:dPt>
            <c:idx val="93"/>
            <c:invertIfNegative val="1"/>
            <c:bubble3D val="0"/>
            <c:spPr>
              <a:solidFill>
                <a:srgbClr val="AEABAB"/>
              </a:solidFill>
            </c:spPr>
            <c:extLst>
              <c:ext xmlns:c16="http://schemas.microsoft.com/office/drawing/2014/chart" uri="{C3380CC4-5D6E-409C-BE32-E72D297353CC}">
                <c16:uniqueId val="{000000BD-2993-41DE-A2CB-63102DE87051}"/>
              </c:ext>
            </c:extLst>
          </c:dPt>
          <c:dPt>
            <c:idx val="94"/>
            <c:invertIfNegative val="1"/>
            <c:bubble3D val="0"/>
            <c:spPr>
              <a:solidFill>
                <a:srgbClr val="AEABAB"/>
              </a:solidFill>
            </c:spPr>
            <c:extLst>
              <c:ext xmlns:c16="http://schemas.microsoft.com/office/drawing/2014/chart" uri="{C3380CC4-5D6E-409C-BE32-E72D297353CC}">
                <c16:uniqueId val="{000000BF-2993-41DE-A2CB-63102DE87051}"/>
              </c:ext>
            </c:extLst>
          </c:dPt>
          <c:dPt>
            <c:idx val="95"/>
            <c:invertIfNegative val="1"/>
            <c:bubble3D val="0"/>
            <c:spPr>
              <a:solidFill>
                <a:srgbClr val="AEABAB"/>
              </a:solidFill>
            </c:spPr>
            <c:extLst>
              <c:ext xmlns:c16="http://schemas.microsoft.com/office/drawing/2014/chart" uri="{C3380CC4-5D6E-409C-BE32-E72D297353CC}">
                <c16:uniqueId val="{000000C1-2993-41DE-A2CB-63102DE87051}"/>
              </c:ext>
            </c:extLst>
          </c:dPt>
          <c:dPt>
            <c:idx val="96"/>
            <c:invertIfNegative val="1"/>
            <c:bubble3D val="0"/>
            <c:spPr>
              <a:solidFill>
                <a:srgbClr val="AEABAB"/>
              </a:solidFill>
            </c:spPr>
            <c:extLst>
              <c:ext xmlns:c16="http://schemas.microsoft.com/office/drawing/2014/chart" uri="{C3380CC4-5D6E-409C-BE32-E72D297353CC}">
                <c16:uniqueId val="{000000C3-2993-41DE-A2CB-63102DE87051}"/>
              </c:ext>
            </c:extLst>
          </c:dPt>
          <c:dPt>
            <c:idx val="97"/>
            <c:invertIfNegative val="1"/>
            <c:bubble3D val="0"/>
            <c:spPr>
              <a:solidFill>
                <a:srgbClr val="AEABAB"/>
              </a:solidFill>
            </c:spPr>
            <c:extLst>
              <c:ext xmlns:c16="http://schemas.microsoft.com/office/drawing/2014/chart" uri="{C3380CC4-5D6E-409C-BE32-E72D297353CC}">
                <c16:uniqueId val="{000000C5-2993-41DE-A2CB-63102DE87051}"/>
              </c:ext>
            </c:extLst>
          </c:dPt>
          <c:dPt>
            <c:idx val="98"/>
            <c:invertIfNegative val="1"/>
            <c:bubble3D val="0"/>
            <c:spPr>
              <a:solidFill>
                <a:srgbClr val="AEABAB"/>
              </a:solidFill>
            </c:spPr>
            <c:extLst>
              <c:ext xmlns:c16="http://schemas.microsoft.com/office/drawing/2014/chart" uri="{C3380CC4-5D6E-409C-BE32-E72D297353CC}">
                <c16:uniqueId val="{000000C7-2993-41DE-A2CB-63102DE87051}"/>
              </c:ext>
            </c:extLst>
          </c:dPt>
          <c:dPt>
            <c:idx val="99"/>
            <c:invertIfNegative val="1"/>
            <c:bubble3D val="0"/>
            <c:spPr>
              <a:solidFill>
                <a:srgbClr val="AEABAB"/>
              </a:solidFill>
            </c:spPr>
            <c:extLst>
              <c:ext xmlns:c16="http://schemas.microsoft.com/office/drawing/2014/chart" uri="{C3380CC4-5D6E-409C-BE32-E72D297353CC}">
                <c16:uniqueId val="{000000C9-2993-41DE-A2CB-63102DE87051}"/>
              </c:ext>
            </c:extLst>
          </c:dPt>
          <c:dPt>
            <c:idx val="100"/>
            <c:invertIfNegative val="1"/>
            <c:bubble3D val="0"/>
            <c:spPr>
              <a:solidFill>
                <a:srgbClr val="AEABAB"/>
              </a:solidFill>
            </c:spPr>
            <c:extLst>
              <c:ext xmlns:c16="http://schemas.microsoft.com/office/drawing/2014/chart" uri="{C3380CC4-5D6E-409C-BE32-E72D297353CC}">
                <c16:uniqueId val="{000000CB-2993-41DE-A2CB-63102DE87051}"/>
              </c:ext>
            </c:extLst>
          </c:dPt>
          <c:dPt>
            <c:idx val="101"/>
            <c:invertIfNegative val="1"/>
            <c:bubble3D val="0"/>
            <c:spPr>
              <a:solidFill>
                <a:srgbClr val="AEABAB"/>
              </a:solidFill>
            </c:spPr>
            <c:extLst>
              <c:ext xmlns:c16="http://schemas.microsoft.com/office/drawing/2014/chart" uri="{C3380CC4-5D6E-409C-BE32-E72D297353CC}">
                <c16:uniqueId val="{000000CD-2993-41DE-A2CB-63102DE87051}"/>
              </c:ext>
            </c:extLst>
          </c:dPt>
          <c:dPt>
            <c:idx val="102"/>
            <c:invertIfNegative val="1"/>
            <c:bubble3D val="0"/>
            <c:spPr>
              <a:solidFill>
                <a:srgbClr val="AEABAB"/>
              </a:solidFill>
            </c:spPr>
            <c:extLst>
              <c:ext xmlns:c16="http://schemas.microsoft.com/office/drawing/2014/chart" uri="{C3380CC4-5D6E-409C-BE32-E72D297353CC}">
                <c16:uniqueId val="{000000CF-2993-41DE-A2CB-63102DE87051}"/>
              </c:ext>
            </c:extLst>
          </c:dPt>
          <c:dPt>
            <c:idx val="103"/>
            <c:invertIfNegative val="1"/>
            <c:bubble3D val="0"/>
            <c:spPr>
              <a:solidFill>
                <a:srgbClr val="AEABAB"/>
              </a:solidFill>
            </c:spPr>
            <c:extLst>
              <c:ext xmlns:c16="http://schemas.microsoft.com/office/drawing/2014/chart" uri="{C3380CC4-5D6E-409C-BE32-E72D297353CC}">
                <c16:uniqueId val="{000000D1-2993-41DE-A2CB-63102DE87051}"/>
              </c:ext>
            </c:extLst>
          </c:dPt>
          <c:dPt>
            <c:idx val="104"/>
            <c:invertIfNegative val="1"/>
            <c:bubble3D val="0"/>
            <c:spPr>
              <a:solidFill>
                <a:srgbClr val="AEABAB"/>
              </a:solidFill>
            </c:spPr>
            <c:extLst>
              <c:ext xmlns:c16="http://schemas.microsoft.com/office/drawing/2014/chart" uri="{C3380CC4-5D6E-409C-BE32-E72D297353CC}">
                <c16:uniqueId val="{000000D3-2993-41DE-A2CB-63102DE87051}"/>
              </c:ext>
            </c:extLst>
          </c:dPt>
          <c:dPt>
            <c:idx val="105"/>
            <c:invertIfNegative val="1"/>
            <c:bubble3D val="0"/>
            <c:spPr>
              <a:solidFill>
                <a:srgbClr val="AEABAB"/>
              </a:solidFill>
            </c:spPr>
            <c:extLst>
              <c:ext xmlns:c16="http://schemas.microsoft.com/office/drawing/2014/chart" uri="{C3380CC4-5D6E-409C-BE32-E72D297353CC}">
                <c16:uniqueId val="{000000D5-2993-41DE-A2CB-63102DE87051}"/>
              </c:ext>
            </c:extLst>
          </c:dPt>
          <c:dPt>
            <c:idx val="106"/>
            <c:invertIfNegative val="1"/>
            <c:bubble3D val="0"/>
            <c:spPr>
              <a:solidFill>
                <a:srgbClr val="AEABAB"/>
              </a:solidFill>
            </c:spPr>
            <c:extLst>
              <c:ext xmlns:c16="http://schemas.microsoft.com/office/drawing/2014/chart" uri="{C3380CC4-5D6E-409C-BE32-E72D297353CC}">
                <c16:uniqueId val="{000000D7-2993-41DE-A2CB-63102DE87051}"/>
              </c:ext>
            </c:extLst>
          </c:dPt>
          <c:dPt>
            <c:idx val="107"/>
            <c:invertIfNegative val="1"/>
            <c:bubble3D val="0"/>
            <c:spPr>
              <a:solidFill>
                <a:srgbClr val="AEABAB"/>
              </a:solidFill>
            </c:spPr>
            <c:extLst>
              <c:ext xmlns:c16="http://schemas.microsoft.com/office/drawing/2014/chart" uri="{C3380CC4-5D6E-409C-BE32-E72D297353CC}">
                <c16:uniqueId val="{000000D9-2993-41DE-A2CB-63102DE87051}"/>
              </c:ext>
            </c:extLst>
          </c:dPt>
          <c:dPt>
            <c:idx val="108"/>
            <c:invertIfNegative val="1"/>
            <c:bubble3D val="0"/>
            <c:spPr>
              <a:solidFill>
                <a:srgbClr val="AEABAB"/>
              </a:solidFill>
            </c:spPr>
            <c:extLst>
              <c:ext xmlns:c16="http://schemas.microsoft.com/office/drawing/2014/chart" uri="{C3380CC4-5D6E-409C-BE32-E72D297353CC}">
                <c16:uniqueId val="{000000DB-2993-41DE-A2CB-63102DE87051}"/>
              </c:ext>
            </c:extLst>
          </c:dPt>
          <c:dPt>
            <c:idx val="109"/>
            <c:invertIfNegative val="1"/>
            <c:bubble3D val="0"/>
            <c:spPr>
              <a:solidFill>
                <a:srgbClr val="AEABAB"/>
              </a:solidFill>
            </c:spPr>
            <c:extLst>
              <c:ext xmlns:c16="http://schemas.microsoft.com/office/drawing/2014/chart" uri="{C3380CC4-5D6E-409C-BE32-E72D297353CC}">
                <c16:uniqueId val="{000000DD-2993-41DE-A2CB-63102DE87051}"/>
              </c:ext>
            </c:extLst>
          </c:dPt>
          <c:dPt>
            <c:idx val="110"/>
            <c:invertIfNegative val="1"/>
            <c:bubble3D val="0"/>
            <c:spPr>
              <a:solidFill>
                <a:srgbClr val="AEABAB"/>
              </a:solidFill>
            </c:spPr>
            <c:extLst>
              <c:ext xmlns:c16="http://schemas.microsoft.com/office/drawing/2014/chart" uri="{C3380CC4-5D6E-409C-BE32-E72D297353CC}">
                <c16:uniqueId val="{000000DF-2993-41DE-A2CB-63102DE87051}"/>
              </c:ext>
            </c:extLst>
          </c:dPt>
          <c:dPt>
            <c:idx val="111"/>
            <c:invertIfNegative val="1"/>
            <c:bubble3D val="0"/>
            <c:spPr>
              <a:solidFill>
                <a:srgbClr val="AEABAB"/>
              </a:solidFill>
            </c:spPr>
            <c:extLst>
              <c:ext xmlns:c16="http://schemas.microsoft.com/office/drawing/2014/chart" uri="{C3380CC4-5D6E-409C-BE32-E72D297353CC}">
                <c16:uniqueId val="{000000E1-2993-41DE-A2CB-63102DE87051}"/>
              </c:ext>
            </c:extLst>
          </c:dPt>
          <c:dPt>
            <c:idx val="112"/>
            <c:invertIfNegative val="1"/>
            <c:bubble3D val="0"/>
            <c:spPr>
              <a:solidFill>
                <a:srgbClr val="AEABAB"/>
              </a:solidFill>
            </c:spPr>
            <c:extLst>
              <c:ext xmlns:c16="http://schemas.microsoft.com/office/drawing/2014/chart" uri="{C3380CC4-5D6E-409C-BE32-E72D297353CC}">
                <c16:uniqueId val="{000000E3-2993-41DE-A2CB-63102DE87051}"/>
              </c:ext>
            </c:extLst>
          </c:dPt>
          <c:dPt>
            <c:idx val="113"/>
            <c:invertIfNegative val="1"/>
            <c:bubble3D val="0"/>
            <c:spPr>
              <a:solidFill>
                <a:srgbClr val="AEABAB"/>
              </a:solidFill>
            </c:spPr>
            <c:extLst>
              <c:ext xmlns:c16="http://schemas.microsoft.com/office/drawing/2014/chart" uri="{C3380CC4-5D6E-409C-BE32-E72D297353CC}">
                <c16:uniqueId val="{000000E5-2993-41DE-A2CB-63102DE87051}"/>
              </c:ext>
            </c:extLst>
          </c:dPt>
          <c:dPt>
            <c:idx val="114"/>
            <c:invertIfNegative val="1"/>
            <c:bubble3D val="0"/>
            <c:spPr>
              <a:solidFill>
                <a:srgbClr val="AEABAB"/>
              </a:solidFill>
            </c:spPr>
            <c:extLst>
              <c:ext xmlns:c16="http://schemas.microsoft.com/office/drawing/2014/chart" uri="{C3380CC4-5D6E-409C-BE32-E72D297353CC}">
                <c16:uniqueId val="{000000E7-2993-41DE-A2CB-63102DE87051}"/>
              </c:ext>
            </c:extLst>
          </c:dPt>
          <c:dPt>
            <c:idx val="115"/>
            <c:invertIfNegative val="1"/>
            <c:bubble3D val="0"/>
            <c:spPr>
              <a:solidFill>
                <a:srgbClr val="AEABAB"/>
              </a:solidFill>
            </c:spPr>
            <c:extLst>
              <c:ext xmlns:c16="http://schemas.microsoft.com/office/drawing/2014/chart" uri="{C3380CC4-5D6E-409C-BE32-E72D297353CC}">
                <c16:uniqueId val="{000000E9-2993-41DE-A2CB-63102DE87051}"/>
              </c:ext>
            </c:extLst>
          </c:dPt>
          <c:dPt>
            <c:idx val="116"/>
            <c:invertIfNegative val="1"/>
            <c:bubble3D val="0"/>
            <c:spPr>
              <a:solidFill>
                <a:srgbClr val="AEABAB"/>
              </a:solidFill>
            </c:spPr>
            <c:extLst>
              <c:ext xmlns:c16="http://schemas.microsoft.com/office/drawing/2014/chart" uri="{C3380CC4-5D6E-409C-BE32-E72D297353CC}">
                <c16:uniqueId val="{000000EB-2993-41DE-A2CB-63102DE87051}"/>
              </c:ext>
            </c:extLst>
          </c:dPt>
          <c:dPt>
            <c:idx val="117"/>
            <c:invertIfNegative val="1"/>
            <c:bubble3D val="0"/>
            <c:spPr>
              <a:solidFill>
                <a:srgbClr val="AEABAB"/>
              </a:solidFill>
            </c:spPr>
            <c:extLst>
              <c:ext xmlns:c16="http://schemas.microsoft.com/office/drawing/2014/chart" uri="{C3380CC4-5D6E-409C-BE32-E72D297353CC}">
                <c16:uniqueId val="{000000ED-2993-41DE-A2CB-63102DE87051}"/>
              </c:ext>
            </c:extLst>
          </c:dPt>
          <c:dPt>
            <c:idx val="118"/>
            <c:invertIfNegative val="1"/>
            <c:bubble3D val="0"/>
            <c:spPr>
              <a:solidFill>
                <a:srgbClr val="AEABAB"/>
              </a:solidFill>
            </c:spPr>
            <c:extLst>
              <c:ext xmlns:c16="http://schemas.microsoft.com/office/drawing/2014/chart" uri="{C3380CC4-5D6E-409C-BE32-E72D297353CC}">
                <c16:uniqueId val="{000000EF-2993-41DE-A2CB-63102DE87051}"/>
              </c:ext>
            </c:extLst>
          </c:dPt>
          <c:dPt>
            <c:idx val="119"/>
            <c:invertIfNegative val="1"/>
            <c:bubble3D val="0"/>
            <c:spPr>
              <a:solidFill>
                <a:srgbClr val="AEABAB"/>
              </a:solidFill>
            </c:spPr>
            <c:extLst>
              <c:ext xmlns:c16="http://schemas.microsoft.com/office/drawing/2014/chart" uri="{C3380CC4-5D6E-409C-BE32-E72D297353CC}">
                <c16:uniqueId val="{000000F1-2993-41DE-A2CB-63102DE87051}"/>
              </c:ext>
            </c:extLst>
          </c:dPt>
          <c:dPt>
            <c:idx val="120"/>
            <c:invertIfNegative val="1"/>
            <c:bubble3D val="0"/>
            <c:spPr>
              <a:solidFill>
                <a:srgbClr val="AEABAB"/>
              </a:solidFill>
            </c:spPr>
            <c:extLst>
              <c:ext xmlns:c16="http://schemas.microsoft.com/office/drawing/2014/chart" uri="{C3380CC4-5D6E-409C-BE32-E72D297353CC}">
                <c16:uniqueId val="{000000F3-2993-41DE-A2CB-63102DE87051}"/>
              </c:ext>
            </c:extLst>
          </c:dPt>
          <c:dPt>
            <c:idx val="121"/>
            <c:invertIfNegative val="1"/>
            <c:bubble3D val="0"/>
            <c:spPr>
              <a:solidFill>
                <a:srgbClr val="AEABAB"/>
              </a:solidFill>
            </c:spPr>
            <c:extLst>
              <c:ext xmlns:c16="http://schemas.microsoft.com/office/drawing/2014/chart" uri="{C3380CC4-5D6E-409C-BE32-E72D297353CC}">
                <c16:uniqueId val="{000000F5-2993-41DE-A2CB-63102DE87051}"/>
              </c:ext>
            </c:extLst>
          </c:dPt>
          <c:dPt>
            <c:idx val="122"/>
            <c:invertIfNegative val="1"/>
            <c:bubble3D val="0"/>
            <c:spPr>
              <a:solidFill>
                <a:srgbClr val="AEABAB"/>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124</c:f>
              <c:strCache>
                <c:ptCount val="123"/>
                <c:pt idx="0">
                  <c:v>Ruinart</c:v>
                </c:pt>
                <c:pt idx="1">
                  <c:v>Nicolas</c:v>
                </c:pt>
                <c:pt idx="2">
                  <c:v>Deutz</c:v>
                </c:pt>
                <c:pt idx="3">
                  <c:v>Laurent Per</c:v>
                </c:pt>
                <c:pt idx="4">
                  <c:v>Ayala</c:v>
                </c:pt>
                <c:pt idx="5">
                  <c:v>Heidsieck &amp;</c:v>
                </c:pt>
                <c:pt idx="6">
                  <c:v>Ruinart</c:v>
                </c:pt>
                <c:pt idx="7">
                  <c:v>Taittinger</c:v>
                </c:pt>
                <c:pt idx="8">
                  <c:v>Bollinger</c:v>
                </c:pt>
                <c:pt idx="9">
                  <c:v>De Bligny</c:v>
                </c:pt>
                <c:pt idx="10">
                  <c:v>Canard Duch</c:v>
                </c:pt>
                <c:pt idx="11">
                  <c:v>Besserat De</c:v>
                </c:pt>
                <c:pt idx="12">
                  <c:v>All Others</c:v>
                </c:pt>
                <c:pt idx="13">
                  <c:v>Perrier Jou</c:v>
                </c:pt>
                <c:pt idx="14">
                  <c:v>Deutz</c:v>
                </c:pt>
                <c:pt idx="15">
                  <c:v>Laurent Per</c:v>
                </c:pt>
                <c:pt idx="16">
                  <c:v>Ruinart</c:v>
                </c:pt>
                <c:pt idx="17">
                  <c:v>Demoiselle</c:v>
                </c:pt>
                <c:pt idx="18">
                  <c:v>Campari: Al</c:v>
                </c:pt>
                <c:pt idx="19">
                  <c:v>Veuve Clicq</c:v>
                </c:pt>
                <c:pt idx="20">
                  <c:v>Pommery</c:v>
                </c:pt>
                <c:pt idx="21">
                  <c:v>All Others</c:v>
                </c:pt>
                <c:pt idx="22">
                  <c:v>Roederer</c:v>
                </c:pt>
                <c:pt idx="23">
                  <c:v>Veuve Clicq</c:v>
                </c:pt>
                <c:pt idx="24">
                  <c:v>Savian</c:v>
                </c:pt>
                <c:pt idx="25">
                  <c:v>Moët &amp; Chan</c:v>
                </c:pt>
                <c:pt idx="26">
                  <c:v>Roederer</c:v>
                </c:pt>
                <c:pt idx="27">
                  <c:v>Taittinger</c:v>
                </c:pt>
                <c:pt idx="28">
                  <c:v>Henriot</c:v>
                </c:pt>
                <c:pt idx="29">
                  <c:v>Veuve Clicq</c:v>
                </c:pt>
                <c:pt idx="30">
                  <c:v>All Others</c:v>
                </c:pt>
                <c:pt idx="31">
                  <c:v>Ruinart</c:v>
                </c:pt>
                <c:pt idx="32">
                  <c:v>Deutz</c:v>
                </c:pt>
                <c:pt idx="33">
                  <c:v>Piper Heids</c:v>
                </c:pt>
                <c:pt idx="34">
                  <c:v>De Venoge</c:v>
                </c:pt>
                <c:pt idx="35">
                  <c:v>Krug</c:v>
                </c:pt>
                <c:pt idx="36">
                  <c:v>Bollinger</c:v>
                </c:pt>
                <c:pt idx="37">
                  <c:v>Campari: Al</c:v>
                </c:pt>
                <c:pt idx="38">
                  <c:v>Lanson</c:v>
                </c:pt>
                <c:pt idx="39">
                  <c:v>Nicolas Feu</c:v>
                </c:pt>
                <c:pt idx="40">
                  <c:v>Nicolas</c:v>
                </c:pt>
                <c:pt idx="41">
                  <c:v>Canard Duch</c:v>
                </c:pt>
                <c:pt idx="42">
                  <c:v>Henriot</c:v>
                </c:pt>
                <c:pt idx="43">
                  <c:v>Roederer</c:v>
                </c:pt>
                <c:pt idx="44">
                  <c:v>Roederer</c:v>
                </c:pt>
                <c:pt idx="45">
                  <c:v>Nicolas</c:v>
                </c:pt>
                <c:pt idx="46">
                  <c:v>Moët &amp; Chan</c:v>
                </c:pt>
                <c:pt idx="47">
                  <c:v>Vranken</c:v>
                </c:pt>
                <c:pt idx="48">
                  <c:v>De Venoge</c:v>
                </c:pt>
                <c:pt idx="49">
                  <c:v>Nicolas Feu</c:v>
                </c:pt>
                <c:pt idx="50">
                  <c:v>Canard Duch</c:v>
                </c:pt>
                <c:pt idx="51">
                  <c:v>Nicolas</c:v>
                </c:pt>
                <c:pt idx="52">
                  <c:v>Nicolas</c:v>
                </c:pt>
                <c:pt idx="53">
                  <c:v>Canard Duch</c:v>
                </c:pt>
                <c:pt idx="54">
                  <c:v>Laurent Per</c:v>
                </c:pt>
                <c:pt idx="55">
                  <c:v>Demoiselle</c:v>
                </c:pt>
                <c:pt idx="56">
                  <c:v>De Venoge</c:v>
                </c:pt>
                <c:pt idx="57">
                  <c:v>Roederer</c:v>
                </c:pt>
                <c:pt idx="58">
                  <c:v>Laurent Per</c:v>
                </c:pt>
                <c:pt idx="59">
                  <c:v>Canard Duch</c:v>
                </c:pt>
                <c:pt idx="60">
                  <c:v>Bollinger</c:v>
                </c:pt>
                <c:pt idx="61">
                  <c:v>Pommery</c:v>
                </c:pt>
                <c:pt idx="62">
                  <c:v>All Others</c:v>
                </c:pt>
                <c:pt idx="63">
                  <c:v>All Others</c:v>
                </c:pt>
                <c:pt idx="64">
                  <c:v>Veuve Clicq</c:v>
                </c:pt>
                <c:pt idx="65">
                  <c:v>Roederer</c:v>
                </c:pt>
                <c:pt idx="66">
                  <c:v>Pommery</c:v>
                </c:pt>
                <c:pt idx="67">
                  <c:v>Moët &amp; Chan</c:v>
                </c:pt>
                <c:pt idx="68">
                  <c:v>Roederer</c:v>
                </c:pt>
                <c:pt idx="69">
                  <c:v>Ruinart</c:v>
                </c:pt>
                <c:pt idx="70">
                  <c:v>Nicolas</c:v>
                </c:pt>
                <c:pt idx="71">
                  <c:v>Roederer</c:v>
                </c:pt>
                <c:pt idx="72">
                  <c:v>Ruinart</c:v>
                </c:pt>
                <c:pt idx="73">
                  <c:v>Ruinart</c:v>
                </c:pt>
                <c:pt idx="74">
                  <c:v>Laurent Per</c:v>
                </c:pt>
                <c:pt idx="75">
                  <c:v>Laurent Per</c:v>
                </c:pt>
                <c:pt idx="76">
                  <c:v>Deutz</c:v>
                </c:pt>
                <c:pt idx="77">
                  <c:v>Pommery</c:v>
                </c:pt>
                <c:pt idx="78">
                  <c:v>Moët &amp; Chan</c:v>
                </c:pt>
                <c:pt idx="79">
                  <c:v>Vranken</c:v>
                </c:pt>
                <c:pt idx="80">
                  <c:v>Ruinart</c:v>
                </c:pt>
                <c:pt idx="81">
                  <c:v>Taittinger</c:v>
                </c:pt>
                <c:pt idx="82">
                  <c:v>Bollinger</c:v>
                </c:pt>
                <c:pt idx="83">
                  <c:v>Roederer</c:v>
                </c:pt>
                <c:pt idx="84">
                  <c:v>Delamotte</c:v>
                </c:pt>
                <c:pt idx="85">
                  <c:v>Henriot</c:v>
                </c:pt>
                <c:pt idx="86">
                  <c:v>Nicolas</c:v>
                </c:pt>
                <c:pt idx="87">
                  <c:v>All Others</c:v>
                </c:pt>
                <c:pt idx="88">
                  <c:v>Canard Duch</c:v>
                </c:pt>
                <c:pt idx="89">
                  <c:v>All Others</c:v>
                </c:pt>
                <c:pt idx="90">
                  <c:v>Malard</c:v>
                </c:pt>
                <c:pt idx="91">
                  <c:v>De Venoge</c:v>
                </c:pt>
                <c:pt idx="92">
                  <c:v>Deutz</c:v>
                </c:pt>
                <c:pt idx="93">
                  <c:v>All Others</c:v>
                </c:pt>
                <c:pt idx="94">
                  <c:v>De Venoge</c:v>
                </c:pt>
                <c:pt idx="95">
                  <c:v>Moët &amp; Chan</c:v>
                </c:pt>
                <c:pt idx="96">
                  <c:v>Heidsieck &amp;</c:v>
                </c:pt>
                <c:pt idx="97">
                  <c:v>Moët &amp; Chan</c:v>
                </c:pt>
                <c:pt idx="98">
                  <c:v>All Others</c:v>
                </c:pt>
                <c:pt idx="99">
                  <c:v>Nicolas Feu</c:v>
                </c:pt>
                <c:pt idx="100">
                  <c:v>Taittinger</c:v>
                </c:pt>
                <c:pt idx="101">
                  <c:v>Nicolas Feu</c:v>
                </c:pt>
                <c:pt idx="102">
                  <c:v>All Others</c:v>
                </c:pt>
                <c:pt idx="103">
                  <c:v>Veuve Clicq</c:v>
                </c:pt>
                <c:pt idx="104">
                  <c:v>Bollinger</c:v>
                </c:pt>
                <c:pt idx="105">
                  <c:v>Canard Duch</c:v>
                </c:pt>
                <c:pt idx="106">
                  <c:v>Veuve Clicq</c:v>
                </c:pt>
                <c:pt idx="107">
                  <c:v>Ruinart</c:v>
                </c:pt>
                <c:pt idx="108">
                  <c:v>Demoiselle</c:v>
                </c:pt>
                <c:pt idx="109">
                  <c:v>Roederer</c:v>
                </c:pt>
                <c:pt idx="110">
                  <c:v>Besserat De</c:v>
                </c:pt>
                <c:pt idx="111">
                  <c:v>All Others</c:v>
                </c:pt>
                <c:pt idx="112">
                  <c:v>Laurent Per</c:v>
                </c:pt>
                <c:pt idx="113">
                  <c:v>All Others</c:v>
                </c:pt>
                <c:pt idx="114">
                  <c:v>Taittinger</c:v>
                </c:pt>
                <c:pt idx="115">
                  <c:v>Vranken</c:v>
                </c:pt>
                <c:pt idx="116">
                  <c:v>Moët &amp; Chan</c:v>
                </c:pt>
                <c:pt idx="117">
                  <c:v>Lanson</c:v>
                </c:pt>
                <c:pt idx="118">
                  <c:v>Roederer</c:v>
                </c:pt>
                <c:pt idx="119">
                  <c:v>Roederer</c:v>
                </c:pt>
                <c:pt idx="120">
                  <c:v>Piper Heids</c:v>
                </c:pt>
                <c:pt idx="121">
                  <c:v>Martel</c:v>
                </c:pt>
                <c:pt idx="122">
                  <c:v>All Others</c:v>
                </c:pt>
              </c:strCache>
            </c:strRef>
          </c:cat>
          <c:val>
            <c:numRef>
              <c:f>Sheet1!$C$2:$C$124</c:f>
              <c:numCache>
                <c:formatCode>General</c:formatCode>
                <c:ptCount val="123"/>
                <c:pt idx="0">
                  <c:v>0.14336148442566635</c:v>
                </c:pt>
                <c:pt idx="1">
                  <c:v>0.23367841296544817</c:v>
                </c:pt>
                <c:pt idx="2">
                  <c:v>0.30979873119425699</c:v>
                </c:pt>
                <c:pt idx="3">
                  <c:v>0.36785915517828133</c:v>
                </c:pt>
                <c:pt idx="4">
                  <c:v>0.40773367118924853</c:v>
                </c:pt>
                <c:pt idx="5">
                  <c:v>0.44669097581178524</c:v>
                </c:pt>
                <c:pt idx="6">
                  <c:v>0.4807255180207658</c:v>
                </c:pt>
                <c:pt idx="7">
                  <c:v>0.51468982964870269</c:v>
                </c:pt>
                <c:pt idx="8">
                  <c:v>0.54827509679780662</c:v>
                </c:pt>
                <c:pt idx="9">
                  <c:v>0.57989149977205168</c:v>
                </c:pt>
                <c:pt idx="10">
                  <c:v>0.60412787263142353</c:v>
                </c:pt>
                <c:pt idx="11">
                  <c:v>0.62622742989784064</c:v>
                </c:pt>
                <c:pt idx="12">
                  <c:v>0.64567588305926016</c:v>
                </c:pt>
                <c:pt idx="13">
                  <c:v>0.66471820280344429</c:v>
                </c:pt>
                <c:pt idx="14">
                  <c:v>0.68023033222676699</c:v>
                </c:pt>
                <c:pt idx="15">
                  <c:v>0.69563571116690326</c:v>
                </c:pt>
                <c:pt idx="16">
                  <c:v>0.71101339919222806</c:v>
                </c:pt>
                <c:pt idx="17">
                  <c:v>0.72621189890648996</c:v>
                </c:pt>
                <c:pt idx="18">
                  <c:v>0.74075183642936504</c:v>
                </c:pt>
                <c:pt idx="19">
                  <c:v>0.75511158234716236</c:v>
                </c:pt>
                <c:pt idx="20">
                  <c:v>0.7694689203593239</c:v>
                </c:pt>
                <c:pt idx="21">
                  <c:v>0.78290162260734464</c:v>
                </c:pt>
                <c:pt idx="22">
                  <c:v>0.79601929053468368</c:v>
                </c:pt>
                <c:pt idx="23">
                  <c:v>0.80798457495649734</c:v>
                </c:pt>
                <c:pt idx="24">
                  <c:v>0.81980799360460277</c:v>
                </c:pt>
                <c:pt idx="25">
                  <c:v>0.83121825577736841</c:v>
                </c:pt>
                <c:pt idx="26">
                  <c:v>0.84041103751838053</c:v>
                </c:pt>
                <c:pt idx="27">
                  <c:v>0.84881462818726461</c:v>
                </c:pt>
                <c:pt idx="28">
                  <c:v>0.85718832069450435</c:v>
                </c:pt>
                <c:pt idx="29">
                  <c:v>0.86526684410255772</c:v>
                </c:pt>
                <c:pt idx="30">
                  <c:v>0.8732811566936568</c:v>
                </c:pt>
                <c:pt idx="31">
                  <c:v>0.88005058207105591</c:v>
                </c:pt>
                <c:pt idx="32">
                  <c:v>0.8864108641491748</c:v>
                </c:pt>
                <c:pt idx="33">
                  <c:v>0.89275669879347896</c:v>
                </c:pt>
                <c:pt idx="34">
                  <c:v>0.89898354276761483</c:v>
                </c:pt>
                <c:pt idx="35">
                  <c:v>0.90504925772295619</c:v>
                </c:pt>
                <c:pt idx="36">
                  <c:v>0.91076863558435073</c:v>
                </c:pt>
                <c:pt idx="37">
                  <c:v>0.91648239499926176</c:v>
                </c:pt>
                <c:pt idx="38">
                  <c:v>0.9216387242594889</c:v>
                </c:pt>
                <c:pt idx="39">
                  <c:v>0.9260690699705274</c:v>
                </c:pt>
                <c:pt idx="40">
                  <c:v>0.93041032317304195</c:v>
                </c:pt>
                <c:pt idx="41">
                  <c:v>0.93465827003216984</c:v>
                </c:pt>
                <c:pt idx="42">
                  <c:v>0.93885163769688662</c:v>
                </c:pt>
                <c:pt idx="43">
                  <c:v>0.94251526612173109</c:v>
                </c:pt>
                <c:pt idx="44">
                  <c:v>0.94604625907780449</c:v>
                </c:pt>
                <c:pt idx="45">
                  <c:v>0.94881454792374342</c:v>
                </c:pt>
                <c:pt idx="46">
                  <c:v>0.95137114173253645</c:v>
                </c:pt>
                <c:pt idx="47">
                  <c:v>0.95371142535171494</c:v>
                </c:pt>
                <c:pt idx="48">
                  <c:v>0.95590141552746</c:v>
                </c:pt>
                <c:pt idx="49">
                  <c:v>0.95792164835588223</c:v>
                </c:pt>
                <c:pt idx="50">
                  <c:v>0.95983011423104359</c:v>
                </c:pt>
                <c:pt idx="51">
                  <c:v>0.96172874782485884</c:v>
                </c:pt>
                <c:pt idx="52">
                  <c:v>0.96362397021902335</c:v>
                </c:pt>
                <c:pt idx="53">
                  <c:v>0.96543471525713243</c:v>
                </c:pt>
                <c:pt idx="54">
                  <c:v>0.96717081522053228</c:v>
                </c:pt>
                <c:pt idx="55">
                  <c:v>0.96884551359021964</c:v>
                </c:pt>
                <c:pt idx="56">
                  <c:v>0.97050636650250122</c:v>
                </c:pt>
                <c:pt idx="57">
                  <c:v>0.97209919608057194</c:v>
                </c:pt>
                <c:pt idx="58">
                  <c:v>0.973643666887124</c:v>
                </c:pt>
                <c:pt idx="59">
                  <c:v>0.97509663727951634</c:v>
                </c:pt>
                <c:pt idx="60">
                  <c:v>0.97653576221450289</c:v>
                </c:pt>
                <c:pt idx="61">
                  <c:v>0.97797468649068642</c:v>
                </c:pt>
                <c:pt idx="62">
                  <c:v>0.97938551853445255</c:v>
                </c:pt>
                <c:pt idx="63">
                  <c:v>0.98071187322216324</c:v>
                </c:pt>
                <c:pt idx="64">
                  <c:v>0.98203240880458742</c:v>
                </c:pt>
                <c:pt idx="65">
                  <c:v>0.98333849695319697</c:v>
                </c:pt>
                <c:pt idx="66">
                  <c:v>0.98442566634775319</c:v>
                </c:pt>
                <c:pt idx="67">
                  <c:v>0.98543799000879717</c:v>
                </c:pt>
                <c:pt idx="68">
                  <c:v>0.98639794172226281</c:v>
                </c:pt>
                <c:pt idx="69">
                  <c:v>0.98733040317971987</c:v>
                </c:pt>
                <c:pt idx="70">
                  <c:v>0.98825744684949646</c:v>
                </c:pt>
                <c:pt idx="71">
                  <c:v>0.98915258576959897</c:v>
                </c:pt>
                <c:pt idx="72">
                  <c:v>0.98994699397060448</c:v>
                </c:pt>
                <c:pt idx="73">
                  <c:v>0.9907189283856761</c:v>
                </c:pt>
                <c:pt idx="74">
                  <c:v>0.99140217160982969</c:v>
                </c:pt>
                <c:pt idx="75">
                  <c:v>0.99205110217867332</c:v>
                </c:pt>
                <c:pt idx="76">
                  <c:v>0.99267254249150838</c:v>
                </c:pt>
                <c:pt idx="77">
                  <c:v>0.99322716342295048</c:v>
                </c:pt>
                <c:pt idx="78">
                  <c:v>0.99373302426526799</c:v>
                </c:pt>
                <c:pt idx="79">
                  <c:v>0.99422243108574093</c:v>
                </c:pt>
                <c:pt idx="80">
                  <c:v>0.99468454830900832</c:v>
                </c:pt>
                <c:pt idx="81">
                  <c:v>0.99507563231602014</c:v>
                </c:pt>
                <c:pt idx="82">
                  <c:v>0.99544022936103838</c:v>
                </c:pt>
                <c:pt idx="83">
                  <c:v>0.99578275393772853</c:v>
                </c:pt>
                <c:pt idx="84">
                  <c:v>0.99609859089362207</c:v>
                </c:pt>
                <c:pt idx="85">
                  <c:v>0.99639998041570099</c:v>
                </c:pt>
                <c:pt idx="86">
                  <c:v>0.99669093568002487</c:v>
                </c:pt>
                <c:pt idx="87">
                  <c:v>0.9969742659098354</c:v>
                </c:pt>
                <c:pt idx="88">
                  <c:v>0.99724856649351168</c:v>
                </c:pt>
                <c:pt idx="89">
                  <c:v>0.99752106114796113</c:v>
                </c:pt>
                <c:pt idx="90">
                  <c:v>0.99778512813268538</c:v>
                </c:pt>
                <c:pt idx="91">
                  <c:v>0.99803434636598898</c:v>
                </c:pt>
                <c:pt idx="92">
                  <c:v>0.99828276196408061</c:v>
                </c:pt>
                <c:pt idx="93">
                  <c:v>0.99846756872162701</c:v>
                </c:pt>
                <c:pt idx="94">
                  <c:v>0.99861966809428737</c:v>
                </c:pt>
                <c:pt idx="95">
                  <c:v>0.99876514572644925</c:v>
                </c:pt>
                <c:pt idx="96">
                  <c:v>0.99890560688853658</c:v>
                </c:pt>
                <c:pt idx="97">
                  <c:v>0.99904486409780602</c:v>
                </c:pt>
                <c:pt idx="98">
                  <c:v>0.99917388770812343</c:v>
                </c:pt>
                <c:pt idx="99">
                  <c:v>0.99927923357968895</c:v>
                </c:pt>
                <c:pt idx="100">
                  <c:v>0.99938277352202765</c:v>
                </c:pt>
                <c:pt idx="101">
                  <c:v>0.99946664890167414</c:v>
                </c:pt>
                <c:pt idx="102">
                  <c:v>0.99953507355349103</c:v>
                </c:pt>
                <c:pt idx="103">
                  <c:v>0.99960129095847505</c:v>
                </c:pt>
                <c:pt idx="104">
                  <c:v>0.9996524589532354</c:v>
                </c:pt>
                <c:pt idx="105">
                  <c:v>0.99969961377193617</c:v>
                </c:pt>
                <c:pt idx="106">
                  <c:v>0.99973171918041326</c:v>
                </c:pt>
                <c:pt idx="107">
                  <c:v>0.99976101536564865</c:v>
                </c:pt>
                <c:pt idx="108">
                  <c:v>0.99978750232764224</c:v>
                </c:pt>
                <c:pt idx="109">
                  <c:v>0.99981398928963583</c:v>
                </c:pt>
                <c:pt idx="110">
                  <c:v>0.99983766702838772</c:v>
                </c:pt>
                <c:pt idx="111">
                  <c:v>0.99988181196504378</c:v>
                </c:pt>
                <c:pt idx="112">
                  <c:v>0.99990107521013005</c:v>
                </c:pt>
                <c:pt idx="113">
                  <c:v>0.99991913450239844</c:v>
                </c:pt>
                <c:pt idx="114">
                  <c:v>0.99993538786544001</c:v>
                </c:pt>
                <c:pt idx="115">
                  <c:v>0.99995123991087553</c:v>
                </c:pt>
                <c:pt idx="116">
                  <c:v>0.99996408207426635</c:v>
                </c:pt>
                <c:pt idx="117">
                  <c:v>0.99997130579117366</c:v>
                </c:pt>
                <c:pt idx="118">
                  <c:v>0.99997832884927806</c:v>
                </c:pt>
                <c:pt idx="119">
                  <c:v>0.99998515124857945</c:v>
                </c:pt>
                <c:pt idx="120">
                  <c:v>0.99999177298907782</c:v>
                </c:pt>
                <c:pt idx="121">
                  <c:v>0.99999678945915238</c:v>
                </c:pt>
                <c:pt idx="122">
                  <c:v>1</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114</c:f>
              <c:strCache>
                <c:ptCount val="113"/>
                <c:pt idx="0">
                  <c:v>Ruinart</c:v>
                </c:pt>
                <c:pt idx="1">
                  <c:v>Deutz</c:v>
                </c:pt>
                <c:pt idx="2">
                  <c:v>Nicolas</c:v>
                </c:pt>
                <c:pt idx="3">
                  <c:v>Laurent Per</c:v>
                </c:pt>
                <c:pt idx="4">
                  <c:v>Ayala</c:v>
                </c:pt>
                <c:pt idx="5">
                  <c:v>Heidsieck &amp;</c:v>
                </c:pt>
                <c:pt idx="6">
                  <c:v>Bollinger</c:v>
                </c:pt>
                <c:pt idx="7">
                  <c:v>Ruinart</c:v>
                </c:pt>
                <c:pt idx="8">
                  <c:v>Taittinger</c:v>
                </c:pt>
                <c:pt idx="9">
                  <c:v>Besserat De</c:v>
                </c:pt>
                <c:pt idx="10">
                  <c:v>Ruinart</c:v>
                </c:pt>
                <c:pt idx="11">
                  <c:v>Veuve Clicq</c:v>
                </c:pt>
                <c:pt idx="12">
                  <c:v>All Others</c:v>
                </c:pt>
                <c:pt idx="13">
                  <c:v>Perrier Jou</c:v>
                </c:pt>
                <c:pt idx="14">
                  <c:v>Deutz</c:v>
                </c:pt>
                <c:pt idx="15">
                  <c:v>Moët &amp; Chan</c:v>
                </c:pt>
                <c:pt idx="16">
                  <c:v>De Bligny</c:v>
                </c:pt>
                <c:pt idx="17">
                  <c:v>Laurent Per</c:v>
                </c:pt>
                <c:pt idx="18">
                  <c:v>Roederer</c:v>
                </c:pt>
                <c:pt idx="19">
                  <c:v>Canard Duch</c:v>
                </c:pt>
                <c:pt idx="20">
                  <c:v>Veuve Clicq</c:v>
                </c:pt>
                <c:pt idx="21">
                  <c:v>Pommery</c:v>
                </c:pt>
                <c:pt idx="22">
                  <c:v>Demoiselle</c:v>
                </c:pt>
                <c:pt idx="23">
                  <c:v>Campari: Al</c:v>
                </c:pt>
                <c:pt idx="24">
                  <c:v>Veuve Clicq</c:v>
                </c:pt>
                <c:pt idx="25">
                  <c:v>All Others</c:v>
                </c:pt>
                <c:pt idx="26">
                  <c:v>Taittinger</c:v>
                </c:pt>
                <c:pt idx="27">
                  <c:v>Ruinart</c:v>
                </c:pt>
                <c:pt idx="28">
                  <c:v>Henriot</c:v>
                </c:pt>
                <c:pt idx="29">
                  <c:v>Krug</c:v>
                </c:pt>
                <c:pt idx="30">
                  <c:v>Savian</c:v>
                </c:pt>
                <c:pt idx="31">
                  <c:v>Roederer</c:v>
                </c:pt>
                <c:pt idx="32">
                  <c:v>Deutz</c:v>
                </c:pt>
                <c:pt idx="33">
                  <c:v>Piper Heids</c:v>
                </c:pt>
                <c:pt idx="34">
                  <c:v>Bollinger</c:v>
                </c:pt>
                <c:pt idx="35">
                  <c:v>All Others</c:v>
                </c:pt>
                <c:pt idx="36">
                  <c:v>Campari: Al</c:v>
                </c:pt>
                <c:pt idx="37">
                  <c:v>Lanson</c:v>
                </c:pt>
                <c:pt idx="38">
                  <c:v>Nicolas Feu</c:v>
                </c:pt>
                <c:pt idx="39">
                  <c:v>De Venoge</c:v>
                </c:pt>
                <c:pt idx="40">
                  <c:v>Laurent Per</c:v>
                </c:pt>
                <c:pt idx="41">
                  <c:v>Henriot</c:v>
                </c:pt>
                <c:pt idx="42">
                  <c:v>Roederer</c:v>
                </c:pt>
                <c:pt idx="43">
                  <c:v>Nicolas</c:v>
                </c:pt>
                <c:pt idx="44">
                  <c:v>Canard Duch</c:v>
                </c:pt>
                <c:pt idx="45">
                  <c:v>Roederer</c:v>
                </c:pt>
                <c:pt idx="46">
                  <c:v>Moët &amp; Chan</c:v>
                </c:pt>
                <c:pt idx="47">
                  <c:v>Roederer</c:v>
                </c:pt>
                <c:pt idx="48">
                  <c:v>Canard Duch</c:v>
                </c:pt>
                <c:pt idx="49">
                  <c:v>Moët &amp; Chan</c:v>
                </c:pt>
                <c:pt idx="50">
                  <c:v>Laurent Per</c:v>
                </c:pt>
                <c:pt idx="51">
                  <c:v>Ruinart</c:v>
                </c:pt>
                <c:pt idx="52">
                  <c:v>Nicolas</c:v>
                </c:pt>
                <c:pt idx="53">
                  <c:v>De Venoge</c:v>
                </c:pt>
                <c:pt idx="54">
                  <c:v>De Venoge</c:v>
                </c:pt>
                <c:pt idx="55">
                  <c:v>Nicolas</c:v>
                </c:pt>
                <c:pt idx="56">
                  <c:v>Moët &amp; Chan</c:v>
                </c:pt>
                <c:pt idx="57">
                  <c:v>Vranken</c:v>
                </c:pt>
                <c:pt idx="58">
                  <c:v>Roederer</c:v>
                </c:pt>
                <c:pt idx="59">
                  <c:v>Canard Duch</c:v>
                </c:pt>
                <c:pt idx="60">
                  <c:v>Ruinart</c:v>
                </c:pt>
                <c:pt idx="61">
                  <c:v>Nicolas</c:v>
                </c:pt>
                <c:pt idx="62">
                  <c:v>Deutz</c:v>
                </c:pt>
                <c:pt idx="63">
                  <c:v>All Others</c:v>
                </c:pt>
                <c:pt idx="64">
                  <c:v>Nicolas Feu</c:v>
                </c:pt>
                <c:pt idx="65">
                  <c:v>All Others</c:v>
                </c:pt>
                <c:pt idx="66">
                  <c:v>Pommery</c:v>
                </c:pt>
                <c:pt idx="67">
                  <c:v>Veuve Clicq</c:v>
                </c:pt>
                <c:pt idx="68">
                  <c:v>Canard Duch</c:v>
                </c:pt>
                <c:pt idx="69">
                  <c:v>Ruinart</c:v>
                </c:pt>
                <c:pt idx="70">
                  <c:v>All Others</c:v>
                </c:pt>
                <c:pt idx="71">
                  <c:v>Demoiselle</c:v>
                </c:pt>
                <c:pt idx="72">
                  <c:v>Pommery</c:v>
                </c:pt>
                <c:pt idx="73">
                  <c:v>Pommery</c:v>
                </c:pt>
                <c:pt idx="74">
                  <c:v>Moët &amp; Chan</c:v>
                </c:pt>
                <c:pt idx="75">
                  <c:v>Roederer</c:v>
                </c:pt>
                <c:pt idx="76">
                  <c:v>Laurent Per</c:v>
                </c:pt>
                <c:pt idx="77">
                  <c:v>Roederer</c:v>
                </c:pt>
                <c:pt idx="78">
                  <c:v>Nicolas</c:v>
                </c:pt>
                <c:pt idx="79">
                  <c:v>All Others</c:v>
                </c:pt>
                <c:pt idx="80">
                  <c:v>Laurent Per</c:v>
                </c:pt>
                <c:pt idx="81">
                  <c:v>Roederer</c:v>
                </c:pt>
                <c:pt idx="82">
                  <c:v>Henriot</c:v>
                </c:pt>
                <c:pt idx="83">
                  <c:v>De Venoge</c:v>
                </c:pt>
                <c:pt idx="84">
                  <c:v>Malard</c:v>
                </c:pt>
                <c:pt idx="85">
                  <c:v>Ruinart</c:v>
                </c:pt>
                <c:pt idx="86">
                  <c:v>Taittinger</c:v>
                </c:pt>
                <c:pt idx="87">
                  <c:v>Nicolas Feu</c:v>
                </c:pt>
                <c:pt idx="88">
                  <c:v>Vranken</c:v>
                </c:pt>
                <c:pt idx="89">
                  <c:v>Moët &amp; Chan</c:v>
                </c:pt>
                <c:pt idx="90">
                  <c:v>Bollinger</c:v>
                </c:pt>
                <c:pt idx="91">
                  <c:v>All Others</c:v>
                </c:pt>
                <c:pt idx="92">
                  <c:v>Laurent Per</c:v>
                </c:pt>
                <c:pt idx="93">
                  <c:v>Bollinger</c:v>
                </c:pt>
                <c:pt idx="94">
                  <c:v>Piper Heids</c:v>
                </c:pt>
                <c:pt idx="95">
                  <c:v>Canard Duch</c:v>
                </c:pt>
                <c:pt idx="96">
                  <c:v>Canard Duch</c:v>
                </c:pt>
                <c:pt idx="97">
                  <c:v>Nicolas</c:v>
                </c:pt>
                <c:pt idx="98">
                  <c:v>De Bligny</c:v>
                </c:pt>
                <c:pt idx="99">
                  <c:v>Nicolas Feu</c:v>
                </c:pt>
                <c:pt idx="100">
                  <c:v>Demoiselle</c:v>
                </c:pt>
                <c:pt idx="101">
                  <c:v>All Others</c:v>
                </c:pt>
                <c:pt idx="102">
                  <c:v>Besserat De</c:v>
                </c:pt>
                <c:pt idx="103">
                  <c:v>Roederer</c:v>
                </c:pt>
                <c:pt idx="104">
                  <c:v>All Others</c:v>
                </c:pt>
                <c:pt idx="105">
                  <c:v>Roederer</c:v>
                </c:pt>
                <c:pt idx="106">
                  <c:v>Roederer</c:v>
                </c:pt>
                <c:pt idx="107">
                  <c:v>Roederer</c:v>
                </c:pt>
                <c:pt idx="108">
                  <c:v>Martel</c:v>
                </c:pt>
                <c:pt idx="109">
                  <c:v>Roederer</c:v>
                </c:pt>
                <c:pt idx="110">
                  <c:v>Delamotte</c:v>
                </c:pt>
                <c:pt idx="111">
                  <c:v>Moët &amp; Chan</c:v>
                </c:pt>
                <c:pt idx="112">
                  <c:v>Nicolas</c:v>
                </c:pt>
              </c:strCache>
            </c:strRef>
          </c:cat>
          <c:val>
            <c:numRef>
              <c:f>Sheet1!$B$2:$B$114</c:f>
              <c:numCache>
                <c:formatCode>General</c:formatCode>
                <c:ptCount val="113"/>
                <c:pt idx="0">
                  <c:v>1</c:v>
                </c:pt>
                <c:pt idx="1">
                  <c:v>1</c:v>
                </c:pt>
                <c:pt idx="2">
                  <c:v>1</c:v>
                </c:pt>
                <c:pt idx="3">
                  <c:v>0.99</c:v>
                </c:pt>
                <c:pt idx="4">
                  <c:v>1</c:v>
                </c:pt>
                <c:pt idx="5">
                  <c:v>1</c:v>
                </c:pt>
                <c:pt idx="6">
                  <c:v>0.95</c:v>
                </c:pt>
                <c:pt idx="7">
                  <c:v>0.76</c:v>
                </c:pt>
                <c:pt idx="8">
                  <c:v>0.95</c:v>
                </c:pt>
                <c:pt idx="9">
                  <c:v>0.96</c:v>
                </c:pt>
                <c:pt idx="10">
                  <c:v>0.83</c:v>
                </c:pt>
                <c:pt idx="11">
                  <c:v>0.7</c:v>
                </c:pt>
                <c:pt idx="12">
                  <c:v>0.93</c:v>
                </c:pt>
                <c:pt idx="13">
                  <c:v>1</c:v>
                </c:pt>
                <c:pt idx="14">
                  <c:v>0.92</c:v>
                </c:pt>
                <c:pt idx="15">
                  <c:v>0.98</c:v>
                </c:pt>
                <c:pt idx="16">
                  <c:v>1</c:v>
                </c:pt>
                <c:pt idx="17">
                  <c:v>0.95</c:v>
                </c:pt>
                <c:pt idx="18">
                  <c:v>0.75</c:v>
                </c:pt>
                <c:pt idx="19">
                  <c:v>0.95</c:v>
                </c:pt>
                <c:pt idx="20">
                  <c:v>0.92</c:v>
                </c:pt>
                <c:pt idx="21">
                  <c:v>0.87</c:v>
                </c:pt>
                <c:pt idx="22">
                  <c:v>0.91</c:v>
                </c:pt>
                <c:pt idx="23">
                  <c:v>0.82</c:v>
                </c:pt>
                <c:pt idx="24">
                  <c:v>0.79</c:v>
                </c:pt>
                <c:pt idx="25">
                  <c:v>0.69</c:v>
                </c:pt>
                <c:pt idx="26">
                  <c:v>0.7</c:v>
                </c:pt>
                <c:pt idx="27">
                  <c:v>0.74</c:v>
                </c:pt>
                <c:pt idx="28">
                  <c:v>0.79</c:v>
                </c:pt>
                <c:pt idx="29">
                  <c:v>0.27</c:v>
                </c:pt>
                <c:pt idx="30">
                  <c:v>0.72</c:v>
                </c:pt>
                <c:pt idx="31">
                  <c:v>0.59</c:v>
                </c:pt>
                <c:pt idx="32">
                  <c:v>0.87</c:v>
                </c:pt>
                <c:pt idx="33">
                  <c:v>0.59</c:v>
                </c:pt>
                <c:pt idx="34">
                  <c:v>0.36</c:v>
                </c:pt>
                <c:pt idx="35">
                  <c:v>0.46</c:v>
                </c:pt>
                <c:pt idx="36">
                  <c:v>0.64</c:v>
                </c:pt>
                <c:pt idx="37">
                  <c:v>0.48</c:v>
                </c:pt>
                <c:pt idx="38">
                  <c:v>0.61</c:v>
                </c:pt>
                <c:pt idx="39">
                  <c:v>0.73</c:v>
                </c:pt>
                <c:pt idx="40">
                  <c:v>0.41</c:v>
                </c:pt>
                <c:pt idx="41">
                  <c:v>0.77</c:v>
                </c:pt>
                <c:pt idx="42">
                  <c:v>0.25</c:v>
                </c:pt>
                <c:pt idx="43">
                  <c:v>0.6</c:v>
                </c:pt>
                <c:pt idx="44">
                  <c:v>0.71</c:v>
                </c:pt>
                <c:pt idx="45">
                  <c:v>0.28000000000000003</c:v>
                </c:pt>
                <c:pt idx="46">
                  <c:v>0.35</c:v>
                </c:pt>
                <c:pt idx="47">
                  <c:v>0.6</c:v>
                </c:pt>
                <c:pt idx="48">
                  <c:v>0.4</c:v>
                </c:pt>
                <c:pt idx="49">
                  <c:v>0.65</c:v>
                </c:pt>
                <c:pt idx="50">
                  <c:v>0.23</c:v>
                </c:pt>
                <c:pt idx="51">
                  <c:v>0.34</c:v>
                </c:pt>
                <c:pt idx="52">
                  <c:v>0.43</c:v>
                </c:pt>
                <c:pt idx="53">
                  <c:v>0.46</c:v>
                </c:pt>
                <c:pt idx="54">
                  <c:v>0.48</c:v>
                </c:pt>
                <c:pt idx="55">
                  <c:v>0.28000000000000003</c:v>
                </c:pt>
                <c:pt idx="56">
                  <c:v>0.35</c:v>
                </c:pt>
                <c:pt idx="57">
                  <c:v>0.28000000000000003</c:v>
                </c:pt>
                <c:pt idx="58">
                  <c:v>0.48</c:v>
                </c:pt>
                <c:pt idx="59">
                  <c:v>0.26</c:v>
                </c:pt>
                <c:pt idx="60">
                  <c:v>0.32</c:v>
                </c:pt>
                <c:pt idx="61">
                  <c:v>0.15</c:v>
                </c:pt>
                <c:pt idx="62">
                  <c:v>0.19</c:v>
                </c:pt>
                <c:pt idx="63">
                  <c:v>0.18</c:v>
                </c:pt>
                <c:pt idx="64">
                  <c:v>0.4</c:v>
                </c:pt>
                <c:pt idx="65">
                  <c:v>0.17</c:v>
                </c:pt>
                <c:pt idx="66">
                  <c:v>0.2</c:v>
                </c:pt>
                <c:pt idx="67">
                  <c:v>0.24</c:v>
                </c:pt>
                <c:pt idx="68">
                  <c:v>0.17</c:v>
                </c:pt>
                <c:pt idx="69">
                  <c:v>0.18</c:v>
                </c:pt>
                <c:pt idx="70">
                  <c:v>0.27</c:v>
                </c:pt>
                <c:pt idx="71">
                  <c:v>0.46</c:v>
                </c:pt>
                <c:pt idx="72">
                  <c:v>0.34</c:v>
                </c:pt>
                <c:pt idx="73">
                  <c:v>0.34</c:v>
                </c:pt>
                <c:pt idx="74">
                  <c:v>0.32</c:v>
                </c:pt>
                <c:pt idx="75">
                  <c:v>0.04</c:v>
                </c:pt>
                <c:pt idx="76">
                  <c:v>0.15</c:v>
                </c:pt>
                <c:pt idx="77">
                  <c:v>0.21</c:v>
                </c:pt>
                <c:pt idx="78">
                  <c:v>0.16</c:v>
                </c:pt>
                <c:pt idx="79">
                  <c:v>0.25</c:v>
                </c:pt>
                <c:pt idx="80">
                  <c:v>0.12</c:v>
                </c:pt>
                <c:pt idx="81">
                  <c:v>0.11</c:v>
                </c:pt>
                <c:pt idx="82">
                  <c:v>0.08</c:v>
                </c:pt>
                <c:pt idx="83">
                  <c:v>0.05</c:v>
                </c:pt>
                <c:pt idx="84">
                  <c:v>0.1</c:v>
                </c:pt>
                <c:pt idx="85">
                  <c:v>0.25</c:v>
                </c:pt>
                <c:pt idx="86">
                  <c:v>0.19</c:v>
                </c:pt>
                <c:pt idx="87">
                  <c:v>0.06</c:v>
                </c:pt>
                <c:pt idx="88">
                  <c:v>0.14000000000000001</c:v>
                </c:pt>
                <c:pt idx="89">
                  <c:v>0.04</c:v>
                </c:pt>
                <c:pt idx="90">
                  <c:v>0.03</c:v>
                </c:pt>
                <c:pt idx="91">
                  <c:v>0.06</c:v>
                </c:pt>
                <c:pt idx="92">
                  <c:v>0.02</c:v>
                </c:pt>
                <c:pt idx="93">
                  <c:v>0.04</c:v>
                </c:pt>
                <c:pt idx="94">
                  <c:v>0.02</c:v>
                </c:pt>
                <c:pt idx="95">
                  <c:v>0.03</c:v>
                </c:pt>
                <c:pt idx="96">
                  <c:v>0.1</c:v>
                </c:pt>
                <c:pt idx="97">
                  <c:v>0.14000000000000001</c:v>
                </c:pt>
                <c:pt idx="98">
                  <c:v>0.03</c:v>
                </c:pt>
                <c:pt idx="99">
                  <c:v>0.11</c:v>
                </c:pt>
                <c:pt idx="100">
                  <c:v>0.04</c:v>
                </c:pt>
                <c:pt idx="101">
                  <c:v>0.06</c:v>
                </c:pt>
                <c:pt idx="102">
                  <c:v>0.08</c:v>
                </c:pt>
                <c:pt idx="103">
                  <c:v>0.02</c:v>
                </c:pt>
                <c:pt idx="104">
                  <c:v>0.03</c:v>
                </c:pt>
                <c:pt idx="105">
                  <c:v>0.01</c:v>
                </c:pt>
                <c:pt idx="106">
                  <c:v>0.01</c:v>
                </c:pt>
                <c:pt idx="107">
                  <c:v>0.06</c:v>
                </c:pt>
                <c:pt idx="108">
                  <c:v>0.02</c:v>
                </c:pt>
                <c:pt idx="109">
                  <c:v>0.06</c:v>
                </c:pt>
                <c:pt idx="110">
                  <c:v>0.03</c:v>
                </c:pt>
                <c:pt idx="111">
                  <c:v>0.11</c:v>
                </c:pt>
                <c:pt idx="112">
                  <c:v>0.03</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7ECAC4"/>
              </a:solidFill>
            </c:spPr>
            <c:extLst>
              <c:ext xmlns:c16="http://schemas.microsoft.com/office/drawing/2014/chart" uri="{C3380CC4-5D6E-409C-BE32-E72D297353CC}">
                <c16:uniqueId val="{00000065-2993-41DE-A2CB-63102DE87051}"/>
              </c:ext>
            </c:extLst>
          </c:dPt>
          <c:dPt>
            <c:idx val="23"/>
            <c:invertIfNegative val="1"/>
            <c:bubble3D val="0"/>
            <c:spPr>
              <a:solidFill>
                <a:srgbClr val="7ECAC4"/>
              </a:solidFill>
            </c:spPr>
            <c:extLst>
              <c:ext xmlns:c16="http://schemas.microsoft.com/office/drawing/2014/chart" uri="{C3380CC4-5D6E-409C-BE32-E72D297353CC}">
                <c16:uniqueId val="{00000067-2993-41DE-A2CB-63102DE87051}"/>
              </c:ext>
            </c:extLst>
          </c:dPt>
          <c:dPt>
            <c:idx val="24"/>
            <c:invertIfNegative val="1"/>
            <c:bubble3D val="0"/>
            <c:spPr>
              <a:solidFill>
                <a:srgbClr val="7ECAC4"/>
              </a:solidFill>
            </c:spPr>
            <c:extLst>
              <c:ext xmlns:c16="http://schemas.microsoft.com/office/drawing/2014/chart" uri="{C3380CC4-5D6E-409C-BE32-E72D297353CC}">
                <c16:uniqueId val="{00000069-2993-41DE-A2CB-63102DE87051}"/>
              </c:ext>
            </c:extLst>
          </c:dPt>
          <c:dPt>
            <c:idx val="25"/>
            <c:invertIfNegative val="1"/>
            <c:bubble3D val="0"/>
            <c:spPr>
              <a:solidFill>
                <a:srgbClr val="7ECAC4"/>
              </a:solidFill>
            </c:spPr>
            <c:extLst>
              <c:ext xmlns:c16="http://schemas.microsoft.com/office/drawing/2014/chart" uri="{C3380CC4-5D6E-409C-BE32-E72D297353CC}">
                <c16:uniqueId val="{0000006B-2993-41DE-A2CB-63102DE87051}"/>
              </c:ext>
            </c:extLst>
          </c:dPt>
          <c:dPt>
            <c:idx val="26"/>
            <c:invertIfNegative val="1"/>
            <c:bubble3D val="0"/>
            <c:spPr>
              <a:solidFill>
                <a:srgbClr val="7ECAC4"/>
              </a:solidFill>
            </c:spPr>
            <c:extLst>
              <c:ext xmlns:c16="http://schemas.microsoft.com/office/drawing/2014/chart" uri="{C3380CC4-5D6E-409C-BE32-E72D297353CC}">
                <c16:uniqueId val="{0000006D-2993-41DE-A2CB-63102DE87051}"/>
              </c:ext>
            </c:extLst>
          </c:dPt>
          <c:dPt>
            <c:idx val="27"/>
            <c:invertIfNegative val="1"/>
            <c:bubble3D val="0"/>
            <c:spPr>
              <a:solidFill>
                <a:srgbClr val="7ECAC4"/>
              </a:solidFill>
            </c:spPr>
            <c:extLst>
              <c:ext xmlns:c16="http://schemas.microsoft.com/office/drawing/2014/chart" uri="{C3380CC4-5D6E-409C-BE32-E72D297353CC}">
                <c16:uniqueId val="{0000006F-2993-41DE-A2CB-63102DE87051}"/>
              </c:ext>
            </c:extLst>
          </c:dPt>
          <c:dPt>
            <c:idx val="28"/>
            <c:invertIfNegative val="1"/>
            <c:bubble3D val="0"/>
            <c:spPr>
              <a:solidFill>
                <a:srgbClr val="7ECAC4"/>
              </a:solidFill>
            </c:spPr>
            <c:extLst>
              <c:ext xmlns:c16="http://schemas.microsoft.com/office/drawing/2014/chart" uri="{C3380CC4-5D6E-409C-BE32-E72D297353CC}">
                <c16:uniqueId val="{00000071-2993-41DE-A2CB-63102DE87051}"/>
              </c:ext>
            </c:extLst>
          </c:dPt>
          <c:dPt>
            <c:idx val="29"/>
            <c:invertIfNegative val="1"/>
            <c:bubble3D val="0"/>
            <c:spPr>
              <a:solidFill>
                <a:srgbClr val="7ECAC4"/>
              </a:solidFill>
            </c:spPr>
            <c:extLst>
              <c:ext xmlns:c16="http://schemas.microsoft.com/office/drawing/2014/chart" uri="{C3380CC4-5D6E-409C-BE32-E72D297353CC}">
                <c16:uniqueId val="{00000073-2993-41DE-A2CB-63102DE87051}"/>
              </c:ext>
            </c:extLst>
          </c:dPt>
          <c:dPt>
            <c:idx val="30"/>
            <c:invertIfNegative val="1"/>
            <c:bubble3D val="0"/>
            <c:spPr>
              <a:solidFill>
                <a:srgbClr val="7ECAC4"/>
              </a:solidFill>
            </c:spPr>
            <c:extLst>
              <c:ext xmlns:c16="http://schemas.microsoft.com/office/drawing/2014/chart" uri="{C3380CC4-5D6E-409C-BE32-E72D297353CC}">
                <c16:uniqueId val="{00000075-2993-41DE-A2CB-63102DE87051}"/>
              </c:ext>
            </c:extLst>
          </c:dPt>
          <c:dPt>
            <c:idx val="31"/>
            <c:invertIfNegative val="1"/>
            <c:bubble3D val="0"/>
            <c:spPr>
              <a:solidFill>
                <a:srgbClr val="7ECAC4"/>
              </a:solidFill>
            </c:spPr>
            <c:extLst>
              <c:ext xmlns:c16="http://schemas.microsoft.com/office/drawing/2014/chart" uri="{C3380CC4-5D6E-409C-BE32-E72D297353CC}">
                <c16:uniqueId val="{00000077-2993-41DE-A2CB-63102DE87051}"/>
              </c:ext>
            </c:extLst>
          </c:dPt>
          <c:dPt>
            <c:idx val="32"/>
            <c:invertIfNegative val="1"/>
            <c:bubble3D val="0"/>
            <c:spPr>
              <a:solidFill>
                <a:srgbClr val="7ECAC4"/>
              </a:solidFill>
            </c:spPr>
            <c:extLst>
              <c:ext xmlns:c16="http://schemas.microsoft.com/office/drawing/2014/chart" uri="{C3380CC4-5D6E-409C-BE32-E72D297353CC}">
                <c16:uniqueId val="{00000079-2993-41DE-A2CB-63102DE87051}"/>
              </c:ext>
            </c:extLst>
          </c:dPt>
          <c:dPt>
            <c:idx val="33"/>
            <c:invertIfNegative val="1"/>
            <c:bubble3D val="0"/>
            <c:spPr>
              <a:solidFill>
                <a:srgbClr val="7ECAC4"/>
              </a:solidFill>
            </c:spPr>
            <c:extLst>
              <c:ext xmlns:c16="http://schemas.microsoft.com/office/drawing/2014/chart" uri="{C3380CC4-5D6E-409C-BE32-E72D297353CC}">
                <c16:uniqueId val="{0000007B-2993-41DE-A2CB-63102DE87051}"/>
              </c:ext>
            </c:extLst>
          </c:dPt>
          <c:dPt>
            <c:idx val="34"/>
            <c:invertIfNegative val="1"/>
            <c:bubble3D val="0"/>
            <c:spPr>
              <a:solidFill>
                <a:srgbClr val="7ECAC4"/>
              </a:solidFill>
            </c:spPr>
            <c:extLst>
              <c:ext xmlns:c16="http://schemas.microsoft.com/office/drawing/2014/chart" uri="{C3380CC4-5D6E-409C-BE32-E72D297353CC}">
                <c16:uniqueId val="{0000007D-2993-41DE-A2CB-63102DE87051}"/>
              </c:ext>
            </c:extLst>
          </c:dPt>
          <c:dPt>
            <c:idx val="35"/>
            <c:invertIfNegative val="1"/>
            <c:bubble3D val="0"/>
            <c:spPr>
              <a:solidFill>
                <a:srgbClr val="7ECAC4"/>
              </a:solidFill>
            </c:spPr>
            <c:extLst>
              <c:ext xmlns:c16="http://schemas.microsoft.com/office/drawing/2014/chart" uri="{C3380CC4-5D6E-409C-BE32-E72D297353CC}">
                <c16:uniqueId val="{0000007F-2993-41DE-A2CB-63102DE87051}"/>
              </c:ext>
            </c:extLst>
          </c:dPt>
          <c:dPt>
            <c:idx val="36"/>
            <c:invertIfNegative val="1"/>
            <c:bubble3D val="0"/>
            <c:spPr>
              <a:solidFill>
                <a:srgbClr val="7ECAC4"/>
              </a:solidFill>
            </c:spPr>
            <c:extLst>
              <c:ext xmlns:c16="http://schemas.microsoft.com/office/drawing/2014/chart" uri="{C3380CC4-5D6E-409C-BE32-E72D297353CC}">
                <c16:uniqueId val="{00000081-2993-41DE-A2CB-63102DE87051}"/>
              </c:ext>
            </c:extLst>
          </c:dPt>
          <c:dPt>
            <c:idx val="37"/>
            <c:invertIfNegative val="1"/>
            <c:bubble3D val="0"/>
            <c:spPr>
              <a:solidFill>
                <a:srgbClr val="7ECAC4"/>
              </a:solidFill>
            </c:spPr>
            <c:extLst>
              <c:ext xmlns:c16="http://schemas.microsoft.com/office/drawing/2014/chart" uri="{C3380CC4-5D6E-409C-BE32-E72D297353CC}">
                <c16:uniqueId val="{00000083-2993-41DE-A2CB-63102DE87051}"/>
              </c:ext>
            </c:extLst>
          </c:dPt>
          <c:dPt>
            <c:idx val="38"/>
            <c:invertIfNegative val="1"/>
            <c:bubble3D val="0"/>
            <c:spPr>
              <a:solidFill>
                <a:srgbClr val="7ECAC4"/>
              </a:solidFill>
            </c:spPr>
            <c:extLst>
              <c:ext xmlns:c16="http://schemas.microsoft.com/office/drawing/2014/chart" uri="{C3380CC4-5D6E-409C-BE32-E72D297353CC}">
                <c16:uniqueId val="{00000085-2993-41DE-A2CB-63102DE87051}"/>
              </c:ext>
            </c:extLst>
          </c:dPt>
          <c:dPt>
            <c:idx val="39"/>
            <c:invertIfNegative val="1"/>
            <c:bubble3D val="0"/>
            <c:spPr>
              <a:solidFill>
                <a:srgbClr val="7ECAC4"/>
              </a:solidFill>
            </c:spPr>
            <c:extLst>
              <c:ext xmlns:c16="http://schemas.microsoft.com/office/drawing/2014/chart" uri="{C3380CC4-5D6E-409C-BE32-E72D297353CC}">
                <c16:uniqueId val="{00000087-2993-41DE-A2CB-63102DE87051}"/>
              </c:ext>
            </c:extLst>
          </c:dPt>
          <c:dPt>
            <c:idx val="40"/>
            <c:invertIfNegative val="1"/>
            <c:bubble3D val="0"/>
            <c:spPr>
              <a:solidFill>
                <a:srgbClr val="7ECAC4"/>
              </a:solidFill>
            </c:spPr>
            <c:extLst>
              <c:ext xmlns:c16="http://schemas.microsoft.com/office/drawing/2014/chart" uri="{C3380CC4-5D6E-409C-BE32-E72D297353CC}">
                <c16:uniqueId val="{00000089-2993-41DE-A2CB-63102DE87051}"/>
              </c:ext>
            </c:extLst>
          </c:dPt>
          <c:dPt>
            <c:idx val="41"/>
            <c:invertIfNegative val="1"/>
            <c:bubble3D val="0"/>
            <c:spPr>
              <a:solidFill>
                <a:srgbClr val="7ECAC4"/>
              </a:solidFill>
            </c:spPr>
            <c:extLst>
              <c:ext xmlns:c16="http://schemas.microsoft.com/office/drawing/2014/chart" uri="{C3380CC4-5D6E-409C-BE32-E72D297353CC}">
                <c16:uniqueId val="{0000008B-2993-41DE-A2CB-63102DE87051}"/>
              </c:ext>
            </c:extLst>
          </c:dPt>
          <c:dPt>
            <c:idx val="42"/>
            <c:invertIfNegative val="1"/>
            <c:bubble3D val="0"/>
            <c:spPr>
              <a:solidFill>
                <a:srgbClr val="7ECAC4"/>
              </a:solidFill>
            </c:spPr>
            <c:extLst>
              <c:ext xmlns:c16="http://schemas.microsoft.com/office/drawing/2014/chart" uri="{C3380CC4-5D6E-409C-BE32-E72D297353CC}">
                <c16:uniqueId val="{0000008D-2993-41DE-A2CB-63102DE87051}"/>
              </c:ext>
            </c:extLst>
          </c:dPt>
          <c:dPt>
            <c:idx val="43"/>
            <c:invertIfNegative val="1"/>
            <c:bubble3D val="0"/>
            <c:spPr>
              <a:solidFill>
                <a:srgbClr val="7ECAC4"/>
              </a:solidFill>
            </c:spPr>
            <c:extLst>
              <c:ext xmlns:c16="http://schemas.microsoft.com/office/drawing/2014/chart" uri="{C3380CC4-5D6E-409C-BE32-E72D297353CC}">
                <c16:uniqueId val="{0000008F-2993-41DE-A2CB-63102DE87051}"/>
              </c:ext>
            </c:extLst>
          </c:dPt>
          <c:dPt>
            <c:idx val="44"/>
            <c:invertIfNegative val="1"/>
            <c:bubble3D val="0"/>
            <c:spPr>
              <a:solidFill>
                <a:srgbClr val="7ECAC4"/>
              </a:solidFill>
            </c:spPr>
            <c:extLst>
              <c:ext xmlns:c16="http://schemas.microsoft.com/office/drawing/2014/chart" uri="{C3380CC4-5D6E-409C-BE32-E72D297353CC}">
                <c16:uniqueId val="{00000091-2993-41DE-A2CB-63102DE87051}"/>
              </c:ext>
            </c:extLst>
          </c:dPt>
          <c:dPt>
            <c:idx val="45"/>
            <c:invertIfNegative val="1"/>
            <c:bubble3D val="0"/>
            <c:spPr>
              <a:solidFill>
                <a:srgbClr val="AEABAB"/>
              </a:solidFill>
            </c:spPr>
            <c:extLst>
              <c:ext xmlns:c16="http://schemas.microsoft.com/office/drawing/2014/chart" uri="{C3380CC4-5D6E-409C-BE32-E72D297353CC}">
                <c16:uniqueId val="{00000093-2993-41DE-A2CB-63102DE87051}"/>
              </c:ext>
            </c:extLst>
          </c:dPt>
          <c:dPt>
            <c:idx val="46"/>
            <c:invertIfNegative val="1"/>
            <c:bubble3D val="0"/>
            <c:spPr>
              <a:solidFill>
                <a:srgbClr val="AEABAB"/>
              </a:solidFill>
            </c:spPr>
            <c:extLst>
              <c:ext xmlns:c16="http://schemas.microsoft.com/office/drawing/2014/chart" uri="{C3380CC4-5D6E-409C-BE32-E72D297353CC}">
                <c16:uniqueId val="{00000095-2993-41DE-A2CB-63102DE87051}"/>
              </c:ext>
            </c:extLst>
          </c:dPt>
          <c:dPt>
            <c:idx val="47"/>
            <c:invertIfNegative val="1"/>
            <c:bubble3D val="0"/>
            <c:spPr>
              <a:solidFill>
                <a:srgbClr val="AEABAB"/>
              </a:solidFill>
            </c:spPr>
            <c:extLst>
              <c:ext xmlns:c16="http://schemas.microsoft.com/office/drawing/2014/chart" uri="{C3380CC4-5D6E-409C-BE32-E72D297353CC}">
                <c16:uniqueId val="{00000097-2993-41DE-A2CB-63102DE87051}"/>
              </c:ext>
            </c:extLst>
          </c:dPt>
          <c:dPt>
            <c:idx val="48"/>
            <c:invertIfNegative val="1"/>
            <c:bubble3D val="0"/>
            <c:spPr>
              <a:solidFill>
                <a:srgbClr val="AEABAB"/>
              </a:solidFill>
            </c:spPr>
            <c:extLst>
              <c:ext xmlns:c16="http://schemas.microsoft.com/office/drawing/2014/chart" uri="{C3380CC4-5D6E-409C-BE32-E72D297353CC}">
                <c16:uniqueId val="{00000099-2993-41DE-A2CB-63102DE87051}"/>
              </c:ext>
            </c:extLst>
          </c:dPt>
          <c:dPt>
            <c:idx val="49"/>
            <c:invertIfNegative val="1"/>
            <c:bubble3D val="0"/>
            <c:spPr>
              <a:solidFill>
                <a:srgbClr val="AEABAB"/>
              </a:solidFill>
            </c:spPr>
            <c:extLst>
              <c:ext xmlns:c16="http://schemas.microsoft.com/office/drawing/2014/chart" uri="{C3380CC4-5D6E-409C-BE32-E72D297353CC}">
                <c16:uniqueId val="{0000009B-2993-41DE-A2CB-63102DE87051}"/>
              </c:ext>
            </c:extLst>
          </c:dPt>
          <c:dPt>
            <c:idx val="50"/>
            <c:invertIfNegative val="1"/>
            <c:bubble3D val="0"/>
            <c:spPr>
              <a:solidFill>
                <a:srgbClr val="AEABAB"/>
              </a:solidFill>
            </c:spPr>
            <c:extLst>
              <c:ext xmlns:c16="http://schemas.microsoft.com/office/drawing/2014/chart" uri="{C3380CC4-5D6E-409C-BE32-E72D297353CC}">
                <c16:uniqueId val="{0000009D-2993-41DE-A2CB-63102DE87051}"/>
              </c:ext>
            </c:extLst>
          </c:dPt>
          <c:dPt>
            <c:idx val="51"/>
            <c:invertIfNegative val="1"/>
            <c:bubble3D val="0"/>
            <c:spPr>
              <a:solidFill>
                <a:srgbClr val="AEABAB"/>
              </a:solidFill>
            </c:spPr>
            <c:extLst>
              <c:ext xmlns:c16="http://schemas.microsoft.com/office/drawing/2014/chart" uri="{C3380CC4-5D6E-409C-BE32-E72D297353CC}">
                <c16:uniqueId val="{0000009F-2993-41DE-A2CB-63102DE87051}"/>
              </c:ext>
            </c:extLst>
          </c:dPt>
          <c:dPt>
            <c:idx val="52"/>
            <c:invertIfNegative val="1"/>
            <c:bubble3D val="0"/>
            <c:spPr>
              <a:solidFill>
                <a:srgbClr val="AEABAB"/>
              </a:solidFill>
            </c:spPr>
            <c:extLst>
              <c:ext xmlns:c16="http://schemas.microsoft.com/office/drawing/2014/chart" uri="{C3380CC4-5D6E-409C-BE32-E72D297353CC}">
                <c16:uniqueId val="{000000A1-2993-41DE-A2CB-63102DE87051}"/>
              </c:ext>
            </c:extLst>
          </c:dPt>
          <c:dPt>
            <c:idx val="53"/>
            <c:invertIfNegative val="1"/>
            <c:bubble3D val="0"/>
            <c:spPr>
              <a:solidFill>
                <a:srgbClr val="AEABAB"/>
              </a:solidFill>
            </c:spPr>
            <c:extLst>
              <c:ext xmlns:c16="http://schemas.microsoft.com/office/drawing/2014/chart" uri="{C3380CC4-5D6E-409C-BE32-E72D297353CC}">
                <c16:uniqueId val="{000000A3-2993-41DE-A2CB-63102DE87051}"/>
              </c:ext>
            </c:extLst>
          </c:dPt>
          <c:dPt>
            <c:idx val="54"/>
            <c:invertIfNegative val="0"/>
            <c:bubble3D val="0"/>
            <c:spPr>
              <a:solidFill>
                <a:srgbClr val="AEABAB"/>
              </a:solidFill>
            </c:spPr>
            <c:extLst>
              <c:ext xmlns:c16="http://schemas.microsoft.com/office/drawing/2014/chart" uri="{C3380CC4-5D6E-409C-BE32-E72D297353CC}">
                <c16:uniqueId val="{00000072-C76F-4230-900D-40618C09729F}"/>
              </c:ext>
            </c:extLst>
          </c:dPt>
          <c:dPt>
            <c:idx val="55"/>
            <c:invertIfNegative val="0"/>
            <c:bubble3D val="0"/>
            <c:spPr>
              <a:solidFill>
                <a:srgbClr val="AEABAB"/>
              </a:solidFill>
            </c:spPr>
            <c:extLst>
              <c:ext xmlns:c16="http://schemas.microsoft.com/office/drawing/2014/chart" uri="{C3380CC4-5D6E-409C-BE32-E72D297353CC}">
                <c16:uniqueId val="{00000074-C76F-4230-900D-40618C09729F}"/>
              </c:ext>
            </c:extLst>
          </c:dPt>
          <c:dPt>
            <c:idx val="56"/>
            <c:invertIfNegative val="0"/>
            <c:bubble3D val="0"/>
            <c:spPr>
              <a:solidFill>
                <a:srgbClr val="AEABAB"/>
              </a:solidFill>
            </c:spPr>
            <c:extLst>
              <c:ext xmlns:c16="http://schemas.microsoft.com/office/drawing/2014/chart" uri="{C3380CC4-5D6E-409C-BE32-E72D297353CC}">
                <c16:uniqueId val="{00000076-C76F-4230-900D-40618C09729F}"/>
              </c:ext>
            </c:extLst>
          </c:dPt>
          <c:dPt>
            <c:idx val="57"/>
            <c:invertIfNegative val="0"/>
            <c:bubble3D val="0"/>
            <c:spPr>
              <a:solidFill>
                <a:srgbClr val="AEABAB"/>
              </a:solidFill>
            </c:spPr>
            <c:extLst>
              <c:ext xmlns:c16="http://schemas.microsoft.com/office/drawing/2014/chart" uri="{C3380CC4-5D6E-409C-BE32-E72D297353CC}">
                <c16:uniqueId val="{00000078-C76F-4230-900D-40618C09729F}"/>
              </c:ext>
            </c:extLst>
          </c:dPt>
          <c:dPt>
            <c:idx val="58"/>
            <c:invertIfNegative val="0"/>
            <c:bubble3D val="0"/>
            <c:spPr>
              <a:solidFill>
                <a:srgbClr val="AEABAB"/>
              </a:solidFill>
            </c:spPr>
            <c:extLst>
              <c:ext xmlns:c16="http://schemas.microsoft.com/office/drawing/2014/chart" uri="{C3380CC4-5D6E-409C-BE32-E72D297353CC}">
                <c16:uniqueId val="{0000007A-C76F-4230-900D-40618C09729F}"/>
              </c:ext>
            </c:extLst>
          </c:dPt>
          <c:dPt>
            <c:idx val="59"/>
            <c:invertIfNegative val="0"/>
            <c:bubble3D val="0"/>
            <c:spPr>
              <a:solidFill>
                <a:srgbClr val="AEABAB"/>
              </a:solidFill>
            </c:spPr>
            <c:extLst>
              <c:ext xmlns:c16="http://schemas.microsoft.com/office/drawing/2014/chart" uri="{C3380CC4-5D6E-409C-BE32-E72D297353CC}">
                <c16:uniqueId val="{0000007C-C76F-4230-900D-40618C09729F}"/>
              </c:ext>
            </c:extLst>
          </c:dPt>
          <c:dPt>
            <c:idx val="60"/>
            <c:invertIfNegative val="0"/>
            <c:bubble3D val="0"/>
            <c:spPr>
              <a:solidFill>
                <a:srgbClr val="AEABAB"/>
              </a:solidFill>
            </c:spPr>
            <c:extLst>
              <c:ext xmlns:c16="http://schemas.microsoft.com/office/drawing/2014/chart" uri="{C3380CC4-5D6E-409C-BE32-E72D297353CC}">
                <c16:uniqueId val="{0000007E-C76F-4230-900D-40618C09729F}"/>
              </c:ext>
            </c:extLst>
          </c:dPt>
          <c:dPt>
            <c:idx val="61"/>
            <c:invertIfNegative val="0"/>
            <c:bubble3D val="0"/>
            <c:spPr>
              <a:solidFill>
                <a:srgbClr val="AEABAB"/>
              </a:solidFill>
            </c:spPr>
            <c:extLst>
              <c:ext xmlns:c16="http://schemas.microsoft.com/office/drawing/2014/chart" uri="{C3380CC4-5D6E-409C-BE32-E72D297353CC}">
                <c16:uniqueId val="{00000080-C76F-4230-900D-40618C09729F}"/>
              </c:ext>
            </c:extLst>
          </c:dPt>
          <c:dPt>
            <c:idx val="62"/>
            <c:invertIfNegative val="0"/>
            <c:bubble3D val="0"/>
            <c:spPr>
              <a:solidFill>
                <a:srgbClr val="AEABAB"/>
              </a:solidFill>
            </c:spPr>
            <c:extLst>
              <c:ext xmlns:c16="http://schemas.microsoft.com/office/drawing/2014/chart" uri="{C3380CC4-5D6E-409C-BE32-E72D297353CC}">
                <c16:uniqueId val="{00000082-C76F-4230-900D-40618C09729F}"/>
              </c:ext>
            </c:extLst>
          </c:dPt>
          <c:dPt>
            <c:idx val="63"/>
            <c:invertIfNegative val="0"/>
            <c:bubble3D val="0"/>
            <c:spPr>
              <a:solidFill>
                <a:srgbClr val="AEABAB"/>
              </a:solidFill>
            </c:spPr>
            <c:extLst>
              <c:ext xmlns:c16="http://schemas.microsoft.com/office/drawing/2014/chart" uri="{C3380CC4-5D6E-409C-BE32-E72D297353CC}">
                <c16:uniqueId val="{00000084-C76F-4230-900D-40618C09729F}"/>
              </c:ext>
            </c:extLst>
          </c:dPt>
          <c:dPt>
            <c:idx val="64"/>
            <c:invertIfNegative val="0"/>
            <c:bubble3D val="0"/>
            <c:spPr>
              <a:solidFill>
                <a:srgbClr val="AEABAB"/>
              </a:solidFill>
            </c:spPr>
            <c:extLst>
              <c:ext xmlns:c16="http://schemas.microsoft.com/office/drawing/2014/chart" uri="{C3380CC4-5D6E-409C-BE32-E72D297353CC}">
                <c16:uniqueId val="{00000086-C76F-4230-900D-40618C09729F}"/>
              </c:ext>
            </c:extLst>
          </c:dPt>
          <c:dPt>
            <c:idx val="65"/>
            <c:invertIfNegative val="0"/>
            <c:bubble3D val="0"/>
            <c:spPr>
              <a:solidFill>
                <a:srgbClr val="AEABAB"/>
              </a:solidFill>
            </c:spPr>
            <c:extLst>
              <c:ext xmlns:c16="http://schemas.microsoft.com/office/drawing/2014/chart" uri="{C3380CC4-5D6E-409C-BE32-E72D297353CC}">
                <c16:uniqueId val="{00000088-C76F-4230-900D-40618C09729F}"/>
              </c:ext>
            </c:extLst>
          </c:dPt>
          <c:dPt>
            <c:idx val="66"/>
            <c:invertIfNegative val="0"/>
            <c:bubble3D val="0"/>
            <c:spPr>
              <a:solidFill>
                <a:srgbClr val="AEABAB"/>
              </a:solidFill>
            </c:spPr>
            <c:extLst>
              <c:ext xmlns:c16="http://schemas.microsoft.com/office/drawing/2014/chart" uri="{C3380CC4-5D6E-409C-BE32-E72D297353CC}">
                <c16:uniqueId val="{0000008A-C76F-4230-900D-40618C09729F}"/>
              </c:ext>
            </c:extLst>
          </c:dPt>
          <c:dPt>
            <c:idx val="67"/>
            <c:invertIfNegative val="0"/>
            <c:bubble3D val="0"/>
            <c:spPr>
              <a:solidFill>
                <a:srgbClr val="AEABAB"/>
              </a:solidFill>
            </c:spPr>
            <c:extLst>
              <c:ext xmlns:c16="http://schemas.microsoft.com/office/drawing/2014/chart" uri="{C3380CC4-5D6E-409C-BE32-E72D297353CC}">
                <c16:uniqueId val="{0000008C-C76F-4230-900D-40618C09729F}"/>
              </c:ext>
            </c:extLst>
          </c:dPt>
          <c:dPt>
            <c:idx val="68"/>
            <c:invertIfNegative val="0"/>
            <c:bubble3D val="0"/>
            <c:spPr>
              <a:solidFill>
                <a:srgbClr val="AEABAB"/>
              </a:solidFill>
            </c:spPr>
            <c:extLst>
              <c:ext xmlns:c16="http://schemas.microsoft.com/office/drawing/2014/chart" uri="{C3380CC4-5D6E-409C-BE32-E72D297353CC}">
                <c16:uniqueId val="{0000008E-C76F-4230-900D-40618C09729F}"/>
              </c:ext>
            </c:extLst>
          </c:dPt>
          <c:dPt>
            <c:idx val="69"/>
            <c:invertIfNegative val="0"/>
            <c:bubble3D val="0"/>
            <c:spPr>
              <a:solidFill>
                <a:srgbClr val="AEABAB"/>
              </a:solidFill>
            </c:spPr>
            <c:extLst>
              <c:ext xmlns:c16="http://schemas.microsoft.com/office/drawing/2014/chart" uri="{C3380CC4-5D6E-409C-BE32-E72D297353CC}">
                <c16:uniqueId val="{00000090-C76F-4230-900D-40618C09729F}"/>
              </c:ext>
            </c:extLst>
          </c:dPt>
          <c:dPt>
            <c:idx val="70"/>
            <c:invertIfNegative val="0"/>
            <c:bubble3D val="0"/>
            <c:spPr>
              <a:solidFill>
                <a:srgbClr val="AEABAB"/>
              </a:solidFill>
            </c:spPr>
            <c:extLst>
              <c:ext xmlns:c16="http://schemas.microsoft.com/office/drawing/2014/chart" uri="{C3380CC4-5D6E-409C-BE32-E72D297353CC}">
                <c16:uniqueId val="{00000092-C76F-4230-900D-40618C09729F}"/>
              </c:ext>
            </c:extLst>
          </c:dPt>
          <c:dPt>
            <c:idx val="71"/>
            <c:invertIfNegative val="0"/>
            <c:bubble3D val="0"/>
            <c:spPr>
              <a:solidFill>
                <a:srgbClr val="AEABAB"/>
              </a:solidFill>
            </c:spPr>
            <c:extLst>
              <c:ext xmlns:c16="http://schemas.microsoft.com/office/drawing/2014/chart" uri="{C3380CC4-5D6E-409C-BE32-E72D297353CC}">
                <c16:uniqueId val="{00000094-C76F-4230-900D-40618C09729F}"/>
              </c:ext>
            </c:extLst>
          </c:dPt>
          <c:dPt>
            <c:idx val="72"/>
            <c:invertIfNegative val="0"/>
            <c:bubble3D val="0"/>
            <c:spPr>
              <a:solidFill>
                <a:srgbClr val="AEABAB"/>
              </a:solidFill>
            </c:spPr>
            <c:extLst>
              <c:ext xmlns:c16="http://schemas.microsoft.com/office/drawing/2014/chart" uri="{C3380CC4-5D6E-409C-BE32-E72D297353CC}">
                <c16:uniqueId val="{00000096-C76F-4230-900D-40618C09729F}"/>
              </c:ext>
            </c:extLst>
          </c:dPt>
          <c:dPt>
            <c:idx val="73"/>
            <c:invertIfNegative val="0"/>
            <c:bubble3D val="0"/>
            <c:spPr>
              <a:solidFill>
                <a:srgbClr val="AEABAB"/>
              </a:solidFill>
            </c:spPr>
            <c:extLst>
              <c:ext xmlns:c16="http://schemas.microsoft.com/office/drawing/2014/chart" uri="{C3380CC4-5D6E-409C-BE32-E72D297353CC}">
                <c16:uniqueId val="{00000098-C76F-4230-900D-40618C09729F}"/>
              </c:ext>
            </c:extLst>
          </c:dPt>
          <c:dPt>
            <c:idx val="74"/>
            <c:invertIfNegative val="0"/>
            <c:bubble3D val="0"/>
            <c:spPr>
              <a:solidFill>
                <a:srgbClr val="AEABAB"/>
              </a:solidFill>
            </c:spPr>
            <c:extLst>
              <c:ext xmlns:c16="http://schemas.microsoft.com/office/drawing/2014/chart" uri="{C3380CC4-5D6E-409C-BE32-E72D297353CC}">
                <c16:uniqueId val="{0000009A-C76F-4230-900D-40618C09729F}"/>
              </c:ext>
            </c:extLst>
          </c:dPt>
          <c:dPt>
            <c:idx val="75"/>
            <c:invertIfNegative val="0"/>
            <c:bubble3D val="0"/>
            <c:spPr>
              <a:solidFill>
                <a:srgbClr val="AEABAB"/>
              </a:solidFill>
            </c:spPr>
            <c:extLst>
              <c:ext xmlns:c16="http://schemas.microsoft.com/office/drawing/2014/chart" uri="{C3380CC4-5D6E-409C-BE32-E72D297353CC}">
                <c16:uniqueId val="{0000009C-C76F-4230-900D-40618C09729F}"/>
              </c:ext>
            </c:extLst>
          </c:dPt>
          <c:dPt>
            <c:idx val="76"/>
            <c:invertIfNegative val="0"/>
            <c:bubble3D val="0"/>
            <c:spPr>
              <a:solidFill>
                <a:srgbClr val="AEABAB"/>
              </a:solidFill>
            </c:spPr>
            <c:extLst>
              <c:ext xmlns:c16="http://schemas.microsoft.com/office/drawing/2014/chart" uri="{C3380CC4-5D6E-409C-BE32-E72D297353CC}">
                <c16:uniqueId val="{0000009E-C76F-4230-900D-40618C09729F}"/>
              </c:ext>
            </c:extLst>
          </c:dPt>
          <c:dPt>
            <c:idx val="77"/>
            <c:invertIfNegative val="0"/>
            <c:bubble3D val="0"/>
            <c:spPr>
              <a:solidFill>
                <a:srgbClr val="AEABAB"/>
              </a:solidFill>
            </c:spPr>
            <c:extLst>
              <c:ext xmlns:c16="http://schemas.microsoft.com/office/drawing/2014/chart" uri="{C3380CC4-5D6E-409C-BE32-E72D297353CC}">
                <c16:uniqueId val="{000000A0-C76F-4230-900D-40618C09729F}"/>
              </c:ext>
            </c:extLst>
          </c:dPt>
          <c:dPt>
            <c:idx val="78"/>
            <c:invertIfNegative val="0"/>
            <c:bubble3D val="0"/>
            <c:spPr>
              <a:solidFill>
                <a:srgbClr val="AEABAB"/>
              </a:solidFill>
            </c:spPr>
            <c:extLst>
              <c:ext xmlns:c16="http://schemas.microsoft.com/office/drawing/2014/chart" uri="{C3380CC4-5D6E-409C-BE32-E72D297353CC}">
                <c16:uniqueId val="{000000A2-C76F-4230-900D-40618C09729F}"/>
              </c:ext>
            </c:extLst>
          </c:dPt>
          <c:dPt>
            <c:idx val="79"/>
            <c:invertIfNegative val="0"/>
            <c:bubble3D val="0"/>
            <c:spPr>
              <a:solidFill>
                <a:srgbClr val="AEABAB"/>
              </a:solidFill>
            </c:spPr>
            <c:extLst>
              <c:ext xmlns:c16="http://schemas.microsoft.com/office/drawing/2014/chart" uri="{C3380CC4-5D6E-409C-BE32-E72D297353CC}">
                <c16:uniqueId val="{000000A4-C76F-4230-900D-40618C09729F}"/>
              </c:ext>
            </c:extLst>
          </c:dPt>
          <c:dPt>
            <c:idx val="80"/>
            <c:invertIfNegative val="0"/>
            <c:bubble3D val="0"/>
            <c:spPr>
              <a:solidFill>
                <a:srgbClr val="AEABAB"/>
              </a:solidFill>
            </c:spPr>
            <c:extLst>
              <c:ext xmlns:c16="http://schemas.microsoft.com/office/drawing/2014/chart" uri="{C3380CC4-5D6E-409C-BE32-E72D297353CC}">
                <c16:uniqueId val="{000000A6-C76F-4230-900D-40618C09729F}"/>
              </c:ext>
            </c:extLst>
          </c:dPt>
          <c:dPt>
            <c:idx val="81"/>
            <c:invertIfNegative val="1"/>
            <c:bubble3D val="0"/>
            <c:spPr>
              <a:solidFill>
                <a:srgbClr val="AEABAB"/>
              </a:solidFill>
            </c:spPr>
            <c:extLst>
              <c:ext xmlns:c16="http://schemas.microsoft.com/office/drawing/2014/chart" uri="{C3380CC4-5D6E-409C-BE32-E72D297353CC}">
                <c16:uniqueId val="{000000A5-2993-41DE-A2CB-63102DE87051}"/>
              </c:ext>
            </c:extLst>
          </c:dPt>
          <c:dPt>
            <c:idx val="82"/>
            <c:invertIfNegative val="1"/>
            <c:bubble3D val="0"/>
            <c:spPr>
              <a:solidFill>
                <a:srgbClr val="AEABAB"/>
              </a:solidFill>
            </c:spPr>
            <c:extLst>
              <c:ext xmlns:c16="http://schemas.microsoft.com/office/drawing/2014/chart" uri="{C3380CC4-5D6E-409C-BE32-E72D297353CC}">
                <c16:uniqueId val="{000000A7-2993-41DE-A2CB-63102DE87051}"/>
              </c:ext>
            </c:extLst>
          </c:dPt>
          <c:dPt>
            <c:idx val="83"/>
            <c:invertIfNegative val="1"/>
            <c:bubble3D val="0"/>
            <c:spPr>
              <a:solidFill>
                <a:srgbClr val="AEABAB"/>
              </a:solidFill>
            </c:spPr>
            <c:extLst>
              <c:ext xmlns:c16="http://schemas.microsoft.com/office/drawing/2014/chart" uri="{C3380CC4-5D6E-409C-BE32-E72D297353CC}">
                <c16:uniqueId val="{000000A9-2993-41DE-A2CB-63102DE87051}"/>
              </c:ext>
            </c:extLst>
          </c:dPt>
          <c:dPt>
            <c:idx val="84"/>
            <c:invertIfNegative val="1"/>
            <c:bubble3D val="0"/>
            <c:spPr>
              <a:solidFill>
                <a:srgbClr val="AEABAB"/>
              </a:solidFill>
            </c:spPr>
            <c:extLst>
              <c:ext xmlns:c16="http://schemas.microsoft.com/office/drawing/2014/chart" uri="{C3380CC4-5D6E-409C-BE32-E72D297353CC}">
                <c16:uniqueId val="{000000AB-2993-41DE-A2CB-63102DE87051}"/>
              </c:ext>
            </c:extLst>
          </c:dPt>
          <c:dPt>
            <c:idx val="85"/>
            <c:invertIfNegative val="1"/>
            <c:bubble3D val="0"/>
            <c:spPr>
              <a:solidFill>
                <a:srgbClr val="AEABAB"/>
              </a:solidFill>
            </c:spPr>
            <c:extLst>
              <c:ext xmlns:c16="http://schemas.microsoft.com/office/drawing/2014/chart" uri="{C3380CC4-5D6E-409C-BE32-E72D297353CC}">
                <c16:uniqueId val="{000000AD-2993-41DE-A2CB-63102DE87051}"/>
              </c:ext>
            </c:extLst>
          </c:dPt>
          <c:dPt>
            <c:idx val="86"/>
            <c:invertIfNegative val="1"/>
            <c:bubble3D val="0"/>
            <c:spPr>
              <a:solidFill>
                <a:srgbClr val="AEABAB"/>
              </a:solidFill>
            </c:spPr>
            <c:extLst>
              <c:ext xmlns:c16="http://schemas.microsoft.com/office/drawing/2014/chart" uri="{C3380CC4-5D6E-409C-BE32-E72D297353CC}">
                <c16:uniqueId val="{000000AF-2993-41DE-A2CB-63102DE87051}"/>
              </c:ext>
            </c:extLst>
          </c:dPt>
          <c:dPt>
            <c:idx val="87"/>
            <c:invertIfNegative val="1"/>
            <c:bubble3D val="0"/>
            <c:spPr>
              <a:solidFill>
                <a:srgbClr val="AEABAB"/>
              </a:solidFill>
            </c:spPr>
            <c:extLst>
              <c:ext xmlns:c16="http://schemas.microsoft.com/office/drawing/2014/chart" uri="{C3380CC4-5D6E-409C-BE32-E72D297353CC}">
                <c16:uniqueId val="{000000B1-2993-41DE-A2CB-63102DE87051}"/>
              </c:ext>
            </c:extLst>
          </c:dPt>
          <c:dPt>
            <c:idx val="88"/>
            <c:invertIfNegative val="1"/>
            <c:bubble3D val="0"/>
            <c:spPr>
              <a:solidFill>
                <a:srgbClr val="AEABAB"/>
              </a:solidFill>
            </c:spPr>
            <c:extLst>
              <c:ext xmlns:c16="http://schemas.microsoft.com/office/drawing/2014/chart" uri="{C3380CC4-5D6E-409C-BE32-E72D297353CC}">
                <c16:uniqueId val="{000000B3-2993-41DE-A2CB-63102DE87051}"/>
              </c:ext>
            </c:extLst>
          </c:dPt>
          <c:dPt>
            <c:idx val="89"/>
            <c:invertIfNegative val="1"/>
            <c:bubble3D val="0"/>
            <c:spPr>
              <a:solidFill>
                <a:srgbClr val="AEABAB"/>
              </a:solidFill>
            </c:spPr>
            <c:extLst>
              <c:ext xmlns:c16="http://schemas.microsoft.com/office/drawing/2014/chart" uri="{C3380CC4-5D6E-409C-BE32-E72D297353CC}">
                <c16:uniqueId val="{000000B5-2993-41DE-A2CB-63102DE87051}"/>
              </c:ext>
            </c:extLst>
          </c:dPt>
          <c:dPt>
            <c:idx val="90"/>
            <c:invertIfNegative val="1"/>
            <c:bubble3D val="0"/>
            <c:spPr>
              <a:solidFill>
                <a:srgbClr val="AEABAB"/>
              </a:solidFill>
            </c:spPr>
            <c:extLst>
              <c:ext xmlns:c16="http://schemas.microsoft.com/office/drawing/2014/chart" uri="{C3380CC4-5D6E-409C-BE32-E72D297353CC}">
                <c16:uniqueId val="{000000B7-2993-41DE-A2CB-63102DE87051}"/>
              </c:ext>
            </c:extLst>
          </c:dPt>
          <c:dPt>
            <c:idx val="91"/>
            <c:invertIfNegative val="1"/>
            <c:bubble3D val="0"/>
            <c:spPr>
              <a:solidFill>
                <a:srgbClr val="AEABAB"/>
              </a:solidFill>
            </c:spPr>
            <c:extLst>
              <c:ext xmlns:c16="http://schemas.microsoft.com/office/drawing/2014/chart" uri="{C3380CC4-5D6E-409C-BE32-E72D297353CC}">
                <c16:uniqueId val="{000000B9-2993-41DE-A2CB-63102DE87051}"/>
              </c:ext>
            </c:extLst>
          </c:dPt>
          <c:dPt>
            <c:idx val="92"/>
            <c:invertIfNegative val="1"/>
            <c:bubble3D val="0"/>
            <c:spPr>
              <a:solidFill>
                <a:srgbClr val="AEABAB"/>
              </a:solidFill>
            </c:spPr>
            <c:extLst>
              <c:ext xmlns:c16="http://schemas.microsoft.com/office/drawing/2014/chart" uri="{C3380CC4-5D6E-409C-BE32-E72D297353CC}">
                <c16:uniqueId val="{000000BB-2993-41DE-A2CB-63102DE87051}"/>
              </c:ext>
            </c:extLst>
          </c:dPt>
          <c:dPt>
            <c:idx val="93"/>
            <c:invertIfNegative val="1"/>
            <c:bubble3D val="0"/>
            <c:spPr>
              <a:solidFill>
                <a:srgbClr val="AEABAB"/>
              </a:solidFill>
            </c:spPr>
            <c:extLst>
              <c:ext xmlns:c16="http://schemas.microsoft.com/office/drawing/2014/chart" uri="{C3380CC4-5D6E-409C-BE32-E72D297353CC}">
                <c16:uniqueId val="{000000BD-2993-41DE-A2CB-63102DE87051}"/>
              </c:ext>
            </c:extLst>
          </c:dPt>
          <c:dPt>
            <c:idx val="94"/>
            <c:invertIfNegative val="1"/>
            <c:bubble3D val="0"/>
            <c:spPr>
              <a:solidFill>
                <a:srgbClr val="AEABAB"/>
              </a:solidFill>
            </c:spPr>
            <c:extLst>
              <c:ext xmlns:c16="http://schemas.microsoft.com/office/drawing/2014/chart" uri="{C3380CC4-5D6E-409C-BE32-E72D297353CC}">
                <c16:uniqueId val="{000000BF-2993-41DE-A2CB-63102DE87051}"/>
              </c:ext>
            </c:extLst>
          </c:dPt>
          <c:dPt>
            <c:idx val="95"/>
            <c:invertIfNegative val="1"/>
            <c:bubble3D val="0"/>
            <c:spPr>
              <a:solidFill>
                <a:srgbClr val="AEABAB"/>
              </a:solidFill>
            </c:spPr>
            <c:extLst>
              <c:ext xmlns:c16="http://schemas.microsoft.com/office/drawing/2014/chart" uri="{C3380CC4-5D6E-409C-BE32-E72D297353CC}">
                <c16:uniqueId val="{000000C1-2993-41DE-A2CB-63102DE87051}"/>
              </c:ext>
            </c:extLst>
          </c:dPt>
          <c:dPt>
            <c:idx val="96"/>
            <c:invertIfNegative val="1"/>
            <c:bubble3D val="0"/>
            <c:spPr>
              <a:solidFill>
                <a:srgbClr val="AEABAB"/>
              </a:solidFill>
            </c:spPr>
            <c:extLst>
              <c:ext xmlns:c16="http://schemas.microsoft.com/office/drawing/2014/chart" uri="{C3380CC4-5D6E-409C-BE32-E72D297353CC}">
                <c16:uniqueId val="{000000C3-2993-41DE-A2CB-63102DE87051}"/>
              </c:ext>
            </c:extLst>
          </c:dPt>
          <c:dPt>
            <c:idx val="97"/>
            <c:invertIfNegative val="1"/>
            <c:bubble3D val="0"/>
            <c:spPr>
              <a:solidFill>
                <a:srgbClr val="AEABAB"/>
              </a:solidFill>
            </c:spPr>
            <c:extLst>
              <c:ext xmlns:c16="http://schemas.microsoft.com/office/drawing/2014/chart" uri="{C3380CC4-5D6E-409C-BE32-E72D297353CC}">
                <c16:uniqueId val="{000000C5-2993-41DE-A2CB-63102DE87051}"/>
              </c:ext>
            </c:extLst>
          </c:dPt>
          <c:dPt>
            <c:idx val="98"/>
            <c:invertIfNegative val="1"/>
            <c:bubble3D val="0"/>
            <c:spPr>
              <a:solidFill>
                <a:srgbClr val="AEABAB"/>
              </a:solidFill>
            </c:spPr>
            <c:extLst>
              <c:ext xmlns:c16="http://schemas.microsoft.com/office/drawing/2014/chart" uri="{C3380CC4-5D6E-409C-BE32-E72D297353CC}">
                <c16:uniqueId val="{000000C7-2993-41DE-A2CB-63102DE87051}"/>
              </c:ext>
            </c:extLst>
          </c:dPt>
          <c:dPt>
            <c:idx val="99"/>
            <c:invertIfNegative val="1"/>
            <c:bubble3D val="0"/>
            <c:spPr>
              <a:solidFill>
                <a:srgbClr val="AEABAB"/>
              </a:solidFill>
            </c:spPr>
            <c:extLst>
              <c:ext xmlns:c16="http://schemas.microsoft.com/office/drawing/2014/chart" uri="{C3380CC4-5D6E-409C-BE32-E72D297353CC}">
                <c16:uniqueId val="{000000C9-2993-41DE-A2CB-63102DE87051}"/>
              </c:ext>
            </c:extLst>
          </c:dPt>
          <c:dPt>
            <c:idx val="100"/>
            <c:invertIfNegative val="1"/>
            <c:bubble3D val="0"/>
            <c:spPr>
              <a:solidFill>
                <a:srgbClr val="AEABAB"/>
              </a:solidFill>
            </c:spPr>
            <c:extLst>
              <c:ext xmlns:c16="http://schemas.microsoft.com/office/drawing/2014/chart" uri="{C3380CC4-5D6E-409C-BE32-E72D297353CC}">
                <c16:uniqueId val="{000000CB-2993-41DE-A2CB-63102DE87051}"/>
              </c:ext>
            </c:extLst>
          </c:dPt>
          <c:dPt>
            <c:idx val="101"/>
            <c:invertIfNegative val="1"/>
            <c:bubble3D val="0"/>
            <c:spPr>
              <a:solidFill>
                <a:srgbClr val="AEABAB"/>
              </a:solidFill>
            </c:spPr>
            <c:extLst>
              <c:ext xmlns:c16="http://schemas.microsoft.com/office/drawing/2014/chart" uri="{C3380CC4-5D6E-409C-BE32-E72D297353CC}">
                <c16:uniqueId val="{000000CD-2993-41DE-A2CB-63102DE87051}"/>
              </c:ext>
            </c:extLst>
          </c:dPt>
          <c:dPt>
            <c:idx val="102"/>
            <c:invertIfNegative val="1"/>
            <c:bubble3D val="0"/>
            <c:spPr>
              <a:solidFill>
                <a:srgbClr val="AEABAB"/>
              </a:solidFill>
            </c:spPr>
            <c:extLst>
              <c:ext xmlns:c16="http://schemas.microsoft.com/office/drawing/2014/chart" uri="{C3380CC4-5D6E-409C-BE32-E72D297353CC}">
                <c16:uniqueId val="{000000CF-2993-41DE-A2CB-63102DE87051}"/>
              </c:ext>
            </c:extLst>
          </c:dPt>
          <c:dPt>
            <c:idx val="103"/>
            <c:invertIfNegative val="1"/>
            <c:bubble3D val="0"/>
            <c:spPr>
              <a:solidFill>
                <a:srgbClr val="AEABAB"/>
              </a:solidFill>
            </c:spPr>
            <c:extLst>
              <c:ext xmlns:c16="http://schemas.microsoft.com/office/drawing/2014/chart" uri="{C3380CC4-5D6E-409C-BE32-E72D297353CC}">
                <c16:uniqueId val="{000000D1-2993-41DE-A2CB-63102DE87051}"/>
              </c:ext>
            </c:extLst>
          </c:dPt>
          <c:dPt>
            <c:idx val="104"/>
            <c:invertIfNegative val="1"/>
            <c:bubble3D val="0"/>
            <c:spPr>
              <a:solidFill>
                <a:srgbClr val="AEABAB"/>
              </a:solidFill>
            </c:spPr>
            <c:extLst>
              <c:ext xmlns:c16="http://schemas.microsoft.com/office/drawing/2014/chart" uri="{C3380CC4-5D6E-409C-BE32-E72D297353CC}">
                <c16:uniqueId val="{000000D3-2993-41DE-A2CB-63102DE87051}"/>
              </c:ext>
            </c:extLst>
          </c:dPt>
          <c:dPt>
            <c:idx val="105"/>
            <c:invertIfNegative val="1"/>
            <c:bubble3D val="0"/>
            <c:spPr>
              <a:solidFill>
                <a:srgbClr val="AEABAB"/>
              </a:solidFill>
            </c:spPr>
            <c:extLst>
              <c:ext xmlns:c16="http://schemas.microsoft.com/office/drawing/2014/chart" uri="{C3380CC4-5D6E-409C-BE32-E72D297353CC}">
                <c16:uniqueId val="{000000D5-2993-41DE-A2CB-63102DE87051}"/>
              </c:ext>
            </c:extLst>
          </c:dPt>
          <c:dPt>
            <c:idx val="106"/>
            <c:invertIfNegative val="1"/>
            <c:bubble3D val="0"/>
            <c:spPr>
              <a:solidFill>
                <a:srgbClr val="AEABAB"/>
              </a:solidFill>
            </c:spPr>
            <c:extLst>
              <c:ext xmlns:c16="http://schemas.microsoft.com/office/drawing/2014/chart" uri="{C3380CC4-5D6E-409C-BE32-E72D297353CC}">
                <c16:uniqueId val="{000000D7-2993-41DE-A2CB-63102DE87051}"/>
              </c:ext>
            </c:extLst>
          </c:dPt>
          <c:dPt>
            <c:idx val="107"/>
            <c:invertIfNegative val="1"/>
            <c:bubble3D val="0"/>
            <c:spPr>
              <a:solidFill>
                <a:srgbClr val="AEABAB"/>
              </a:solidFill>
            </c:spPr>
            <c:extLst>
              <c:ext xmlns:c16="http://schemas.microsoft.com/office/drawing/2014/chart" uri="{C3380CC4-5D6E-409C-BE32-E72D297353CC}">
                <c16:uniqueId val="{000000D9-2993-41DE-A2CB-63102DE87051}"/>
              </c:ext>
            </c:extLst>
          </c:dPt>
          <c:dPt>
            <c:idx val="108"/>
            <c:invertIfNegative val="1"/>
            <c:bubble3D val="0"/>
            <c:spPr>
              <a:solidFill>
                <a:srgbClr val="AEABAB"/>
              </a:solidFill>
            </c:spPr>
            <c:extLst>
              <c:ext xmlns:c16="http://schemas.microsoft.com/office/drawing/2014/chart" uri="{C3380CC4-5D6E-409C-BE32-E72D297353CC}">
                <c16:uniqueId val="{000000DB-2993-41DE-A2CB-63102DE87051}"/>
              </c:ext>
            </c:extLst>
          </c:dPt>
          <c:dPt>
            <c:idx val="109"/>
            <c:invertIfNegative val="1"/>
            <c:bubble3D val="0"/>
            <c:spPr>
              <a:solidFill>
                <a:srgbClr val="AEABAB"/>
              </a:solidFill>
            </c:spPr>
            <c:extLst>
              <c:ext xmlns:c16="http://schemas.microsoft.com/office/drawing/2014/chart" uri="{C3380CC4-5D6E-409C-BE32-E72D297353CC}">
                <c16:uniqueId val="{000000DD-2993-41DE-A2CB-63102DE87051}"/>
              </c:ext>
            </c:extLst>
          </c:dPt>
          <c:dPt>
            <c:idx val="110"/>
            <c:invertIfNegative val="1"/>
            <c:bubble3D val="0"/>
            <c:spPr>
              <a:solidFill>
                <a:srgbClr val="AEABAB"/>
              </a:solidFill>
            </c:spPr>
            <c:extLst>
              <c:ext xmlns:c16="http://schemas.microsoft.com/office/drawing/2014/chart" uri="{C3380CC4-5D6E-409C-BE32-E72D297353CC}">
                <c16:uniqueId val="{000000DF-2993-41DE-A2CB-63102DE87051}"/>
              </c:ext>
            </c:extLst>
          </c:dPt>
          <c:dPt>
            <c:idx val="111"/>
            <c:invertIfNegative val="1"/>
            <c:bubble3D val="0"/>
            <c:spPr>
              <a:solidFill>
                <a:srgbClr val="AEABAB"/>
              </a:solidFill>
            </c:spPr>
            <c:extLst>
              <c:ext xmlns:c16="http://schemas.microsoft.com/office/drawing/2014/chart" uri="{C3380CC4-5D6E-409C-BE32-E72D297353CC}">
                <c16:uniqueId val="{000000E1-2993-41DE-A2CB-63102DE87051}"/>
              </c:ext>
            </c:extLst>
          </c:dPt>
          <c:dPt>
            <c:idx val="112"/>
            <c:invertIfNegative val="1"/>
            <c:bubble3D val="0"/>
            <c:spPr>
              <a:solidFill>
                <a:srgbClr val="AEABAB"/>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114</c:f>
              <c:strCache>
                <c:ptCount val="113"/>
                <c:pt idx="0">
                  <c:v>Ruinart</c:v>
                </c:pt>
                <c:pt idx="1">
                  <c:v>Deutz</c:v>
                </c:pt>
                <c:pt idx="2">
                  <c:v>Nicolas</c:v>
                </c:pt>
                <c:pt idx="3">
                  <c:v>Laurent Per</c:v>
                </c:pt>
                <c:pt idx="4">
                  <c:v>Ayala</c:v>
                </c:pt>
                <c:pt idx="5">
                  <c:v>Heidsieck &amp;</c:v>
                </c:pt>
                <c:pt idx="6">
                  <c:v>Bollinger</c:v>
                </c:pt>
                <c:pt idx="7">
                  <c:v>Ruinart</c:v>
                </c:pt>
                <c:pt idx="8">
                  <c:v>Taittinger</c:v>
                </c:pt>
                <c:pt idx="9">
                  <c:v>Besserat De</c:v>
                </c:pt>
                <c:pt idx="10">
                  <c:v>Ruinart</c:v>
                </c:pt>
                <c:pt idx="11">
                  <c:v>Veuve Clicq</c:v>
                </c:pt>
                <c:pt idx="12">
                  <c:v>All Others</c:v>
                </c:pt>
                <c:pt idx="13">
                  <c:v>Perrier Jou</c:v>
                </c:pt>
                <c:pt idx="14">
                  <c:v>Deutz</c:v>
                </c:pt>
                <c:pt idx="15">
                  <c:v>Moët &amp; Chan</c:v>
                </c:pt>
                <c:pt idx="16">
                  <c:v>De Bligny</c:v>
                </c:pt>
                <c:pt idx="17">
                  <c:v>Laurent Per</c:v>
                </c:pt>
                <c:pt idx="18">
                  <c:v>Roederer</c:v>
                </c:pt>
                <c:pt idx="19">
                  <c:v>Canard Duch</c:v>
                </c:pt>
                <c:pt idx="20">
                  <c:v>Veuve Clicq</c:v>
                </c:pt>
                <c:pt idx="21">
                  <c:v>Pommery</c:v>
                </c:pt>
                <c:pt idx="22">
                  <c:v>Demoiselle</c:v>
                </c:pt>
                <c:pt idx="23">
                  <c:v>Campari: Al</c:v>
                </c:pt>
                <c:pt idx="24">
                  <c:v>Veuve Clicq</c:v>
                </c:pt>
                <c:pt idx="25">
                  <c:v>All Others</c:v>
                </c:pt>
                <c:pt idx="26">
                  <c:v>Taittinger</c:v>
                </c:pt>
                <c:pt idx="27">
                  <c:v>Ruinart</c:v>
                </c:pt>
                <c:pt idx="28">
                  <c:v>Henriot</c:v>
                </c:pt>
                <c:pt idx="29">
                  <c:v>Krug</c:v>
                </c:pt>
                <c:pt idx="30">
                  <c:v>Savian</c:v>
                </c:pt>
                <c:pt idx="31">
                  <c:v>Roederer</c:v>
                </c:pt>
                <c:pt idx="32">
                  <c:v>Deutz</c:v>
                </c:pt>
                <c:pt idx="33">
                  <c:v>Piper Heids</c:v>
                </c:pt>
                <c:pt idx="34">
                  <c:v>Bollinger</c:v>
                </c:pt>
                <c:pt idx="35">
                  <c:v>All Others</c:v>
                </c:pt>
                <c:pt idx="36">
                  <c:v>Campari: Al</c:v>
                </c:pt>
                <c:pt idx="37">
                  <c:v>Lanson</c:v>
                </c:pt>
                <c:pt idx="38">
                  <c:v>Nicolas Feu</c:v>
                </c:pt>
                <c:pt idx="39">
                  <c:v>De Venoge</c:v>
                </c:pt>
                <c:pt idx="40">
                  <c:v>Laurent Per</c:v>
                </c:pt>
                <c:pt idx="41">
                  <c:v>Henriot</c:v>
                </c:pt>
                <c:pt idx="42">
                  <c:v>Roederer</c:v>
                </c:pt>
                <c:pt idx="43">
                  <c:v>Nicolas</c:v>
                </c:pt>
                <c:pt idx="44">
                  <c:v>Canard Duch</c:v>
                </c:pt>
                <c:pt idx="45">
                  <c:v>Roederer</c:v>
                </c:pt>
                <c:pt idx="46">
                  <c:v>Moët &amp; Chan</c:v>
                </c:pt>
                <c:pt idx="47">
                  <c:v>Roederer</c:v>
                </c:pt>
                <c:pt idx="48">
                  <c:v>Canard Duch</c:v>
                </c:pt>
                <c:pt idx="49">
                  <c:v>Moët &amp; Chan</c:v>
                </c:pt>
                <c:pt idx="50">
                  <c:v>Laurent Per</c:v>
                </c:pt>
                <c:pt idx="51">
                  <c:v>Ruinart</c:v>
                </c:pt>
                <c:pt idx="52">
                  <c:v>Nicolas</c:v>
                </c:pt>
                <c:pt idx="53">
                  <c:v>De Venoge</c:v>
                </c:pt>
                <c:pt idx="54">
                  <c:v>De Venoge</c:v>
                </c:pt>
                <c:pt idx="55">
                  <c:v>Nicolas</c:v>
                </c:pt>
                <c:pt idx="56">
                  <c:v>Moët &amp; Chan</c:v>
                </c:pt>
                <c:pt idx="57">
                  <c:v>Vranken</c:v>
                </c:pt>
                <c:pt idx="58">
                  <c:v>Roederer</c:v>
                </c:pt>
                <c:pt idx="59">
                  <c:v>Canard Duch</c:v>
                </c:pt>
                <c:pt idx="60">
                  <c:v>Ruinart</c:v>
                </c:pt>
                <c:pt idx="61">
                  <c:v>Nicolas</c:v>
                </c:pt>
                <c:pt idx="62">
                  <c:v>Deutz</c:v>
                </c:pt>
                <c:pt idx="63">
                  <c:v>All Others</c:v>
                </c:pt>
                <c:pt idx="64">
                  <c:v>Nicolas Feu</c:v>
                </c:pt>
                <c:pt idx="65">
                  <c:v>All Others</c:v>
                </c:pt>
                <c:pt idx="66">
                  <c:v>Pommery</c:v>
                </c:pt>
                <c:pt idx="67">
                  <c:v>Veuve Clicq</c:v>
                </c:pt>
                <c:pt idx="68">
                  <c:v>Canard Duch</c:v>
                </c:pt>
                <c:pt idx="69">
                  <c:v>Ruinart</c:v>
                </c:pt>
                <c:pt idx="70">
                  <c:v>All Others</c:v>
                </c:pt>
                <c:pt idx="71">
                  <c:v>Demoiselle</c:v>
                </c:pt>
                <c:pt idx="72">
                  <c:v>Pommery</c:v>
                </c:pt>
                <c:pt idx="73">
                  <c:v>Pommery</c:v>
                </c:pt>
                <c:pt idx="74">
                  <c:v>Moët &amp; Chan</c:v>
                </c:pt>
                <c:pt idx="75">
                  <c:v>Roederer</c:v>
                </c:pt>
                <c:pt idx="76">
                  <c:v>Laurent Per</c:v>
                </c:pt>
                <c:pt idx="77">
                  <c:v>Roederer</c:v>
                </c:pt>
                <c:pt idx="78">
                  <c:v>Nicolas</c:v>
                </c:pt>
                <c:pt idx="79">
                  <c:v>All Others</c:v>
                </c:pt>
                <c:pt idx="80">
                  <c:v>Laurent Per</c:v>
                </c:pt>
                <c:pt idx="81">
                  <c:v>Roederer</c:v>
                </c:pt>
                <c:pt idx="82">
                  <c:v>Henriot</c:v>
                </c:pt>
                <c:pt idx="83">
                  <c:v>De Venoge</c:v>
                </c:pt>
                <c:pt idx="84">
                  <c:v>Malard</c:v>
                </c:pt>
                <c:pt idx="85">
                  <c:v>Ruinart</c:v>
                </c:pt>
                <c:pt idx="86">
                  <c:v>Taittinger</c:v>
                </c:pt>
                <c:pt idx="87">
                  <c:v>Nicolas Feu</c:v>
                </c:pt>
                <c:pt idx="88">
                  <c:v>Vranken</c:v>
                </c:pt>
                <c:pt idx="89">
                  <c:v>Moët &amp; Chan</c:v>
                </c:pt>
                <c:pt idx="90">
                  <c:v>Bollinger</c:v>
                </c:pt>
                <c:pt idx="91">
                  <c:v>All Others</c:v>
                </c:pt>
                <c:pt idx="92">
                  <c:v>Laurent Per</c:v>
                </c:pt>
                <c:pt idx="93">
                  <c:v>Bollinger</c:v>
                </c:pt>
                <c:pt idx="94">
                  <c:v>Piper Heids</c:v>
                </c:pt>
                <c:pt idx="95">
                  <c:v>Canard Duch</c:v>
                </c:pt>
                <c:pt idx="96">
                  <c:v>Canard Duch</c:v>
                </c:pt>
                <c:pt idx="97">
                  <c:v>Nicolas</c:v>
                </c:pt>
                <c:pt idx="98">
                  <c:v>De Bligny</c:v>
                </c:pt>
                <c:pt idx="99">
                  <c:v>Nicolas Feu</c:v>
                </c:pt>
                <c:pt idx="100">
                  <c:v>Demoiselle</c:v>
                </c:pt>
                <c:pt idx="101">
                  <c:v>All Others</c:v>
                </c:pt>
                <c:pt idx="102">
                  <c:v>Besserat De</c:v>
                </c:pt>
                <c:pt idx="103">
                  <c:v>Roederer</c:v>
                </c:pt>
                <c:pt idx="104">
                  <c:v>All Others</c:v>
                </c:pt>
                <c:pt idx="105">
                  <c:v>Roederer</c:v>
                </c:pt>
                <c:pt idx="106">
                  <c:v>Roederer</c:v>
                </c:pt>
                <c:pt idx="107">
                  <c:v>Roederer</c:v>
                </c:pt>
                <c:pt idx="108">
                  <c:v>Martel</c:v>
                </c:pt>
                <c:pt idx="109">
                  <c:v>Roederer</c:v>
                </c:pt>
                <c:pt idx="110">
                  <c:v>Delamotte</c:v>
                </c:pt>
                <c:pt idx="111">
                  <c:v>Moët &amp; Chan</c:v>
                </c:pt>
                <c:pt idx="112">
                  <c:v>Nicolas</c:v>
                </c:pt>
              </c:strCache>
            </c:strRef>
          </c:cat>
          <c:val>
            <c:numRef>
              <c:f>Sheet1!$C$2:$C$114</c:f>
              <c:numCache>
                <c:formatCode>General</c:formatCode>
                <c:ptCount val="113"/>
                <c:pt idx="0">
                  <c:v>0.15352677579199478</c:v>
                </c:pt>
                <c:pt idx="1">
                  <c:v>0.24199336173211017</c:v>
                </c:pt>
                <c:pt idx="2">
                  <c:v>0.3183644911383704</c:v>
                </c:pt>
                <c:pt idx="3">
                  <c:v>0.38217904509650757</c:v>
                </c:pt>
                <c:pt idx="4">
                  <c:v>0.42400591215930611</c:v>
                </c:pt>
                <c:pt idx="5">
                  <c:v>0.465144174976798</c:v>
                </c:pt>
                <c:pt idx="6">
                  <c:v>0.4986536864766426</c:v>
                </c:pt>
                <c:pt idx="7">
                  <c:v>0.53015794552464113</c:v>
                </c:pt>
                <c:pt idx="8">
                  <c:v>0.5607870008733592</c:v>
                </c:pt>
                <c:pt idx="9">
                  <c:v>0.58535726110120723</c:v>
                </c:pt>
                <c:pt idx="10">
                  <c:v>0.60726686519372985</c:v>
                </c:pt>
                <c:pt idx="11">
                  <c:v>0.62882232996009468</c:v>
                </c:pt>
                <c:pt idx="12">
                  <c:v>0.64800733609451333</c:v>
                </c:pt>
                <c:pt idx="13">
                  <c:v>0.66715114893925731</c:v>
                </c:pt>
                <c:pt idx="14">
                  <c:v>0.68615970023581607</c:v>
                </c:pt>
                <c:pt idx="15">
                  <c:v>0.70486667976244366</c:v>
                </c:pt>
                <c:pt idx="16">
                  <c:v>0.72316449310581099</c:v>
                </c:pt>
                <c:pt idx="17">
                  <c:v>0.74130644825615577</c:v>
                </c:pt>
                <c:pt idx="18">
                  <c:v>0.75912961653043665</c:v>
                </c:pt>
                <c:pt idx="19">
                  <c:v>0.77533456482824692</c:v>
                </c:pt>
                <c:pt idx="20">
                  <c:v>0.78963355494708343</c:v>
                </c:pt>
                <c:pt idx="21">
                  <c:v>0.80256117741488731</c:v>
                </c:pt>
                <c:pt idx="22">
                  <c:v>0.81463911143000034</c:v>
                </c:pt>
                <c:pt idx="23">
                  <c:v>0.82666048152496319</c:v>
                </c:pt>
                <c:pt idx="24">
                  <c:v>0.83829082278062683</c:v>
                </c:pt>
                <c:pt idx="25">
                  <c:v>0.8489734109611653</c:v>
                </c:pt>
                <c:pt idx="26">
                  <c:v>0.85909128217803044</c:v>
                </c:pt>
                <c:pt idx="27">
                  <c:v>0.86659092019968276</c:v>
                </c:pt>
                <c:pt idx="28">
                  <c:v>0.87374533386085318</c:v>
                </c:pt>
                <c:pt idx="29">
                  <c:v>0.88067595114229891</c:v>
                </c:pt>
                <c:pt idx="30">
                  <c:v>0.88758935331761202</c:v>
                </c:pt>
                <c:pt idx="31">
                  <c:v>0.89411633784276867</c:v>
                </c:pt>
                <c:pt idx="32">
                  <c:v>0.90035404710237465</c:v>
                </c:pt>
                <c:pt idx="33">
                  <c:v>0.90594618988200559</c:v>
                </c:pt>
                <c:pt idx="34">
                  <c:v>0.91127549488050386</c:v>
                </c:pt>
                <c:pt idx="35">
                  <c:v>0.91641604853676184</c:v>
                </c:pt>
                <c:pt idx="36">
                  <c:v>0.92112837642796974</c:v>
                </c:pt>
                <c:pt idx="37">
                  <c:v>0.92532640302346425</c:v>
                </c:pt>
                <c:pt idx="38">
                  <c:v>0.92951244052718773</c:v>
                </c:pt>
                <c:pt idx="39">
                  <c:v>0.93325088527146194</c:v>
                </c:pt>
                <c:pt idx="40">
                  <c:v>0.93680426762480995</c:v>
                </c:pt>
                <c:pt idx="41">
                  <c:v>0.94004562617950338</c:v>
                </c:pt>
                <c:pt idx="42">
                  <c:v>0.94320552039267624</c:v>
                </c:pt>
                <c:pt idx="43">
                  <c:v>0.94633282886924075</c:v>
                </c:pt>
                <c:pt idx="44">
                  <c:v>0.94939926964912191</c:v>
                </c:pt>
                <c:pt idx="45">
                  <c:v>0.95229970761986671</c:v>
                </c:pt>
                <c:pt idx="46">
                  <c:v>0.95511345523472913</c:v>
                </c:pt>
                <c:pt idx="47">
                  <c:v>0.95754324450031114</c:v>
                </c:pt>
                <c:pt idx="48">
                  <c:v>0.95951929275425363</c:v>
                </c:pt>
                <c:pt idx="49">
                  <c:v>0.9614427734519696</c:v>
                </c:pt>
                <c:pt idx="50">
                  <c:v>0.96334412044180073</c:v>
                </c:pt>
                <c:pt idx="51">
                  <c:v>0.96515447329921633</c:v>
                </c:pt>
                <c:pt idx="52">
                  <c:v>0.966954681540518</c:v>
                </c:pt>
                <c:pt idx="53">
                  <c:v>0.96866881425115636</c:v>
                </c:pt>
                <c:pt idx="54">
                  <c:v>0.97034575003604373</c:v>
                </c:pt>
                <c:pt idx="55">
                  <c:v>0.97201561533091241</c:v>
                </c:pt>
                <c:pt idx="56">
                  <c:v>0.97357327502330915</c:v>
                </c:pt>
                <c:pt idx="57">
                  <c:v>0.97498030253704515</c:v>
                </c:pt>
                <c:pt idx="58">
                  <c:v>0.97636950011942947</c:v>
                </c:pt>
                <c:pt idx="59">
                  <c:v>0.97775439392528063</c:v>
                </c:pt>
                <c:pt idx="60">
                  <c:v>0.97910362786842831</c:v>
                </c:pt>
                <c:pt idx="61">
                  <c:v>0.98039783495447341</c:v>
                </c:pt>
                <c:pt idx="62">
                  <c:v>0.98163670777080636</c:v>
                </c:pt>
                <c:pt idx="63">
                  <c:v>0.98284729862706421</c:v>
                </c:pt>
                <c:pt idx="64">
                  <c:v>0.98397796220484901</c:v>
                </c:pt>
                <c:pt idx="65">
                  <c:v>0.98510217011783408</c:v>
                </c:pt>
                <c:pt idx="66">
                  <c:v>0.98612554669489916</c:v>
                </c:pt>
                <c:pt idx="67">
                  <c:v>0.98714800103413569</c:v>
                </c:pt>
                <c:pt idx="68">
                  <c:v>0.9881692257229342</c:v>
                </c:pt>
                <c:pt idx="69">
                  <c:v>0.98912435670068766</c:v>
                </c:pt>
                <c:pt idx="70">
                  <c:v>0.99006473187318456</c:v>
                </c:pt>
                <c:pt idx="71">
                  <c:v>0.99099526984217712</c:v>
                </c:pt>
                <c:pt idx="72">
                  <c:v>0.99187754403147632</c:v>
                </c:pt>
                <c:pt idx="73">
                  <c:v>0.99274629206595699</c:v>
                </c:pt>
                <c:pt idx="74">
                  <c:v>0.99356124289377301</c:v>
                </c:pt>
                <c:pt idx="75">
                  <c:v>0.99434698952368539</c:v>
                </c:pt>
                <c:pt idx="76">
                  <c:v>0.99507678705866665</c:v>
                </c:pt>
                <c:pt idx="77">
                  <c:v>0.99555512107906718</c:v>
                </c:pt>
                <c:pt idx="78">
                  <c:v>0.99602085118247774</c:v>
                </c:pt>
                <c:pt idx="79">
                  <c:v>0.99645215107362295</c:v>
                </c:pt>
                <c:pt idx="80">
                  <c:v>0.99686562103341647</c:v>
                </c:pt>
                <c:pt idx="81">
                  <c:v>0.99725234609618241</c:v>
                </c:pt>
                <c:pt idx="82">
                  <c:v>0.99761386332496838</c:v>
                </c:pt>
                <c:pt idx="83">
                  <c:v>0.99788131229524368</c:v>
                </c:pt>
                <c:pt idx="84">
                  <c:v>0.998122323781101</c:v>
                </c:pt>
                <c:pt idx="85">
                  <c:v>0.99834366085994952</c:v>
                </c:pt>
                <c:pt idx="86">
                  <c:v>0.99854347905613228</c:v>
                </c:pt>
                <c:pt idx="87">
                  <c:v>0.99868980745825997</c:v>
                </c:pt>
                <c:pt idx="88">
                  <c:v>0.99881799851642639</c:v>
                </c:pt>
                <c:pt idx="89">
                  <c:v>0.9989409635602311</c:v>
                </c:pt>
                <c:pt idx="90">
                  <c:v>0.99906054706533121</c:v>
                </c:pt>
                <c:pt idx="91">
                  <c:v>0.99915184861035622</c:v>
                </c:pt>
                <c:pt idx="92">
                  <c:v>0.99924099826711466</c:v>
                </c:pt>
                <c:pt idx="93">
                  <c:v>0.99932861086082558</c:v>
                </c:pt>
                <c:pt idx="94">
                  <c:v>0.99940238988710839</c:v>
                </c:pt>
                <c:pt idx="95">
                  <c:v>0.99947463185034369</c:v>
                </c:pt>
                <c:pt idx="96">
                  <c:v>0.99954472192531241</c:v>
                </c:pt>
                <c:pt idx="97">
                  <c:v>0.99960589703460523</c:v>
                </c:pt>
                <c:pt idx="98">
                  <c:v>0.99965969424126977</c:v>
                </c:pt>
                <c:pt idx="99">
                  <c:v>0.99970027270572537</c:v>
                </c:pt>
                <c:pt idx="100">
                  <c:v>0.99974054375757138</c:v>
                </c:pt>
                <c:pt idx="101">
                  <c:v>0.99978019998419843</c:v>
                </c:pt>
                <c:pt idx="102">
                  <c:v>0.99981708949733983</c:v>
                </c:pt>
                <c:pt idx="103">
                  <c:v>0.99985336418526227</c:v>
                </c:pt>
                <c:pt idx="104">
                  <c:v>0.99988840922274658</c:v>
                </c:pt>
                <c:pt idx="105">
                  <c:v>0.99990716139192681</c:v>
                </c:pt>
                <c:pt idx="106">
                  <c:v>0.99992529873588798</c:v>
                </c:pt>
                <c:pt idx="107">
                  <c:v>0.99994282125463019</c:v>
                </c:pt>
                <c:pt idx="108">
                  <c:v>0.99995819188510582</c:v>
                </c:pt>
                <c:pt idx="109">
                  <c:v>0.99997233286514342</c:v>
                </c:pt>
                <c:pt idx="110">
                  <c:v>0.99998555160735247</c:v>
                </c:pt>
                <c:pt idx="111">
                  <c:v>0.99999354433519982</c:v>
                </c:pt>
                <c:pt idx="112">
                  <c:v>0.99999999999999956</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117</c:f>
              <c:strCache>
                <c:ptCount val="116"/>
                <c:pt idx="0">
                  <c:v>Ruinart</c:v>
                </c:pt>
                <c:pt idx="1">
                  <c:v>Nicolas</c:v>
                </c:pt>
                <c:pt idx="2">
                  <c:v>Deutz</c:v>
                </c:pt>
                <c:pt idx="3">
                  <c:v>Ruinart</c:v>
                </c:pt>
                <c:pt idx="4">
                  <c:v>Heidsieck &amp;</c:v>
                </c:pt>
                <c:pt idx="5">
                  <c:v>De Bligny</c:v>
                </c:pt>
                <c:pt idx="6">
                  <c:v>Laurent Per</c:v>
                </c:pt>
                <c:pt idx="7">
                  <c:v>Taittinger</c:v>
                </c:pt>
                <c:pt idx="8">
                  <c:v>Canard Duch</c:v>
                </c:pt>
                <c:pt idx="9">
                  <c:v>Ruinart</c:v>
                </c:pt>
                <c:pt idx="10">
                  <c:v>Ayala</c:v>
                </c:pt>
                <c:pt idx="11">
                  <c:v>Bollinger</c:v>
                </c:pt>
                <c:pt idx="12">
                  <c:v>Deutz</c:v>
                </c:pt>
                <c:pt idx="13">
                  <c:v>Demoiselle</c:v>
                </c:pt>
                <c:pt idx="14">
                  <c:v>Besserat De</c:v>
                </c:pt>
                <c:pt idx="15">
                  <c:v>Savian</c:v>
                </c:pt>
                <c:pt idx="16">
                  <c:v>Taittinger</c:v>
                </c:pt>
                <c:pt idx="17">
                  <c:v>Laurent Per</c:v>
                </c:pt>
                <c:pt idx="18">
                  <c:v>Perrier Jou</c:v>
                </c:pt>
                <c:pt idx="19">
                  <c:v>Campari: Al</c:v>
                </c:pt>
                <c:pt idx="20">
                  <c:v>Roederer</c:v>
                </c:pt>
                <c:pt idx="21">
                  <c:v>Moët &amp; Chan</c:v>
                </c:pt>
                <c:pt idx="22">
                  <c:v>All Others</c:v>
                </c:pt>
                <c:pt idx="23">
                  <c:v>Pommery</c:v>
                </c:pt>
                <c:pt idx="24">
                  <c:v>Roederer</c:v>
                </c:pt>
                <c:pt idx="25">
                  <c:v>Veuve Clicq</c:v>
                </c:pt>
                <c:pt idx="26">
                  <c:v>Veuve Clicq</c:v>
                </c:pt>
                <c:pt idx="27">
                  <c:v>Ruinart</c:v>
                </c:pt>
                <c:pt idx="28">
                  <c:v>Veuve Clicq</c:v>
                </c:pt>
                <c:pt idx="29">
                  <c:v>All Others</c:v>
                </c:pt>
                <c:pt idx="30">
                  <c:v>De Venoge</c:v>
                </c:pt>
                <c:pt idx="31">
                  <c:v>Nicolas Feu</c:v>
                </c:pt>
                <c:pt idx="32">
                  <c:v>Henriot</c:v>
                </c:pt>
                <c:pt idx="33">
                  <c:v>Nicolas</c:v>
                </c:pt>
                <c:pt idx="34">
                  <c:v>Vranken</c:v>
                </c:pt>
                <c:pt idx="35">
                  <c:v>Lanson</c:v>
                </c:pt>
                <c:pt idx="36">
                  <c:v>Canard Duch</c:v>
                </c:pt>
                <c:pt idx="37">
                  <c:v>Roederer</c:v>
                </c:pt>
                <c:pt idx="38">
                  <c:v>Campari: Al</c:v>
                </c:pt>
                <c:pt idx="39">
                  <c:v>Krug</c:v>
                </c:pt>
                <c:pt idx="40">
                  <c:v>Deutz</c:v>
                </c:pt>
                <c:pt idx="41">
                  <c:v>Bollinger</c:v>
                </c:pt>
                <c:pt idx="42">
                  <c:v>Piper Heids</c:v>
                </c:pt>
                <c:pt idx="43">
                  <c:v>Canard Duch</c:v>
                </c:pt>
                <c:pt idx="44">
                  <c:v>Roederer</c:v>
                </c:pt>
                <c:pt idx="45">
                  <c:v>Canard Duch</c:v>
                </c:pt>
                <c:pt idx="46">
                  <c:v>Veuve Clicq</c:v>
                </c:pt>
                <c:pt idx="47">
                  <c:v>De Venoge</c:v>
                </c:pt>
                <c:pt idx="48">
                  <c:v>Canard Duch</c:v>
                </c:pt>
                <c:pt idx="49">
                  <c:v>All Others</c:v>
                </c:pt>
                <c:pt idx="50">
                  <c:v>Roederer</c:v>
                </c:pt>
                <c:pt idx="51">
                  <c:v>Ruinart</c:v>
                </c:pt>
                <c:pt idx="52">
                  <c:v>Nicolas</c:v>
                </c:pt>
                <c:pt idx="53">
                  <c:v>Henriot</c:v>
                </c:pt>
                <c:pt idx="54">
                  <c:v>Ruinart</c:v>
                </c:pt>
                <c:pt idx="55">
                  <c:v>All Others</c:v>
                </c:pt>
                <c:pt idx="56">
                  <c:v>Canard Duch</c:v>
                </c:pt>
                <c:pt idx="57">
                  <c:v>De Venoge</c:v>
                </c:pt>
                <c:pt idx="58">
                  <c:v>Nicolas Feu</c:v>
                </c:pt>
                <c:pt idx="59">
                  <c:v>Ruinart</c:v>
                </c:pt>
                <c:pt idx="60">
                  <c:v>Ruinart</c:v>
                </c:pt>
                <c:pt idx="61">
                  <c:v>Moët &amp; Chan</c:v>
                </c:pt>
                <c:pt idx="62">
                  <c:v>Nicolas</c:v>
                </c:pt>
                <c:pt idx="63">
                  <c:v>Demoiselle</c:v>
                </c:pt>
                <c:pt idx="64">
                  <c:v>All Others</c:v>
                </c:pt>
                <c:pt idx="65">
                  <c:v>Ruinart</c:v>
                </c:pt>
                <c:pt idx="66">
                  <c:v>Pommery</c:v>
                </c:pt>
                <c:pt idx="67">
                  <c:v>Nicolas</c:v>
                </c:pt>
                <c:pt idx="68">
                  <c:v>Laurent Per</c:v>
                </c:pt>
                <c:pt idx="69">
                  <c:v>Malard</c:v>
                </c:pt>
                <c:pt idx="70">
                  <c:v>Nicolas</c:v>
                </c:pt>
                <c:pt idx="71">
                  <c:v>Roederer</c:v>
                </c:pt>
                <c:pt idx="72">
                  <c:v>Roederer</c:v>
                </c:pt>
                <c:pt idx="73">
                  <c:v>Deutz</c:v>
                </c:pt>
                <c:pt idx="74">
                  <c:v>Pommery</c:v>
                </c:pt>
                <c:pt idx="75">
                  <c:v>Lanson</c:v>
                </c:pt>
                <c:pt idx="76">
                  <c:v>Moët &amp; Chan</c:v>
                </c:pt>
                <c:pt idx="77">
                  <c:v>Pommery</c:v>
                </c:pt>
                <c:pt idx="78">
                  <c:v>Laurent Per</c:v>
                </c:pt>
                <c:pt idx="79">
                  <c:v>Vranken</c:v>
                </c:pt>
                <c:pt idx="80">
                  <c:v>Roederer</c:v>
                </c:pt>
                <c:pt idx="81">
                  <c:v>All Others</c:v>
                </c:pt>
                <c:pt idx="82">
                  <c:v>Deutz</c:v>
                </c:pt>
                <c:pt idx="83">
                  <c:v>Roederer</c:v>
                </c:pt>
                <c:pt idx="84">
                  <c:v>Laurent Per</c:v>
                </c:pt>
                <c:pt idx="85">
                  <c:v>Moët &amp; Chan</c:v>
                </c:pt>
                <c:pt idx="86">
                  <c:v>Henriot</c:v>
                </c:pt>
                <c:pt idx="87">
                  <c:v>Veuve Clicq</c:v>
                </c:pt>
                <c:pt idx="88">
                  <c:v>All Others</c:v>
                </c:pt>
                <c:pt idx="89">
                  <c:v>Canard Duch</c:v>
                </c:pt>
                <c:pt idx="90">
                  <c:v>Roederer</c:v>
                </c:pt>
                <c:pt idx="91">
                  <c:v>Moët &amp; Chan</c:v>
                </c:pt>
                <c:pt idx="92">
                  <c:v>Laurent Per</c:v>
                </c:pt>
                <c:pt idx="93">
                  <c:v>Nicolas</c:v>
                </c:pt>
                <c:pt idx="94">
                  <c:v>Laurent Per</c:v>
                </c:pt>
                <c:pt idx="95">
                  <c:v>Laurent Per</c:v>
                </c:pt>
                <c:pt idx="96">
                  <c:v>Laurent Per</c:v>
                </c:pt>
                <c:pt idx="97">
                  <c:v>De Venoge</c:v>
                </c:pt>
                <c:pt idx="98">
                  <c:v>Moët &amp; Chan</c:v>
                </c:pt>
                <c:pt idx="99">
                  <c:v>Besserat De</c:v>
                </c:pt>
                <c:pt idx="100">
                  <c:v>Canard Duch</c:v>
                </c:pt>
                <c:pt idx="101">
                  <c:v>All Others</c:v>
                </c:pt>
                <c:pt idx="102">
                  <c:v>All Others</c:v>
                </c:pt>
                <c:pt idx="103">
                  <c:v>All Others</c:v>
                </c:pt>
                <c:pt idx="104">
                  <c:v>Piper Heids</c:v>
                </c:pt>
                <c:pt idx="105">
                  <c:v>Roederer</c:v>
                </c:pt>
                <c:pt idx="106">
                  <c:v>Martel</c:v>
                </c:pt>
                <c:pt idx="107">
                  <c:v>Besserat De</c:v>
                </c:pt>
                <c:pt idx="108">
                  <c:v>Ruinart</c:v>
                </c:pt>
                <c:pt idx="109">
                  <c:v>Moët &amp; Chan</c:v>
                </c:pt>
                <c:pt idx="110">
                  <c:v>Bollinger</c:v>
                </c:pt>
                <c:pt idx="111">
                  <c:v>Nicolas</c:v>
                </c:pt>
                <c:pt idx="112">
                  <c:v>Lanson</c:v>
                </c:pt>
                <c:pt idx="113">
                  <c:v>Roederer</c:v>
                </c:pt>
                <c:pt idx="114">
                  <c:v>Nicolas</c:v>
                </c:pt>
                <c:pt idx="115">
                  <c:v>Veuve Clicq</c:v>
                </c:pt>
              </c:strCache>
            </c:strRef>
          </c:cat>
          <c:val>
            <c:numRef>
              <c:f>Sheet1!$B$2:$B$117</c:f>
              <c:numCache>
                <c:formatCode>General</c:formatCode>
                <c:ptCount val="116"/>
                <c:pt idx="0">
                  <c:v>1</c:v>
                </c:pt>
                <c:pt idx="1">
                  <c:v>1</c:v>
                </c:pt>
                <c:pt idx="2">
                  <c:v>0.96</c:v>
                </c:pt>
                <c:pt idx="3">
                  <c:v>0.86</c:v>
                </c:pt>
                <c:pt idx="4">
                  <c:v>0.94</c:v>
                </c:pt>
                <c:pt idx="5">
                  <c:v>0.96</c:v>
                </c:pt>
                <c:pt idx="6">
                  <c:v>0.92</c:v>
                </c:pt>
                <c:pt idx="7">
                  <c:v>0.89</c:v>
                </c:pt>
                <c:pt idx="8">
                  <c:v>0.95</c:v>
                </c:pt>
                <c:pt idx="9">
                  <c:v>0.76</c:v>
                </c:pt>
                <c:pt idx="10">
                  <c:v>0.91</c:v>
                </c:pt>
                <c:pt idx="11">
                  <c:v>0.89</c:v>
                </c:pt>
                <c:pt idx="12">
                  <c:v>0.7</c:v>
                </c:pt>
                <c:pt idx="13">
                  <c:v>0.9</c:v>
                </c:pt>
                <c:pt idx="14">
                  <c:v>0.83</c:v>
                </c:pt>
                <c:pt idx="15">
                  <c:v>0.8</c:v>
                </c:pt>
                <c:pt idx="16">
                  <c:v>0.71</c:v>
                </c:pt>
                <c:pt idx="17">
                  <c:v>0.77</c:v>
                </c:pt>
                <c:pt idx="18">
                  <c:v>0.8</c:v>
                </c:pt>
                <c:pt idx="19">
                  <c:v>0.68</c:v>
                </c:pt>
                <c:pt idx="20">
                  <c:v>0.9</c:v>
                </c:pt>
                <c:pt idx="21">
                  <c:v>0.79</c:v>
                </c:pt>
                <c:pt idx="22">
                  <c:v>0.91</c:v>
                </c:pt>
                <c:pt idx="23">
                  <c:v>0.79</c:v>
                </c:pt>
                <c:pt idx="24">
                  <c:v>0.75</c:v>
                </c:pt>
                <c:pt idx="25">
                  <c:v>0.56999999999999995</c:v>
                </c:pt>
                <c:pt idx="26">
                  <c:v>0.53</c:v>
                </c:pt>
                <c:pt idx="27">
                  <c:v>0.65</c:v>
                </c:pt>
                <c:pt idx="28">
                  <c:v>0.64</c:v>
                </c:pt>
                <c:pt idx="29">
                  <c:v>0.54</c:v>
                </c:pt>
                <c:pt idx="30">
                  <c:v>0.52</c:v>
                </c:pt>
                <c:pt idx="31">
                  <c:v>0.56999999999999995</c:v>
                </c:pt>
                <c:pt idx="32">
                  <c:v>0.64</c:v>
                </c:pt>
                <c:pt idx="33">
                  <c:v>0.76</c:v>
                </c:pt>
                <c:pt idx="34">
                  <c:v>0.46</c:v>
                </c:pt>
                <c:pt idx="35">
                  <c:v>0.61</c:v>
                </c:pt>
                <c:pt idx="36">
                  <c:v>0.4</c:v>
                </c:pt>
                <c:pt idx="37">
                  <c:v>0.41</c:v>
                </c:pt>
                <c:pt idx="38">
                  <c:v>0.51</c:v>
                </c:pt>
                <c:pt idx="39">
                  <c:v>0.3</c:v>
                </c:pt>
                <c:pt idx="40">
                  <c:v>0.65</c:v>
                </c:pt>
                <c:pt idx="41">
                  <c:v>0.28000000000000003</c:v>
                </c:pt>
                <c:pt idx="42">
                  <c:v>0.54</c:v>
                </c:pt>
                <c:pt idx="43">
                  <c:v>0.65</c:v>
                </c:pt>
                <c:pt idx="44">
                  <c:v>0.28000000000000003</c:v>
                </c:pt>
                <c:pt idx="45">
                  <c:v>0.68</c:v>
                </c:pt>
                <c:pt idx="46">
                  <c:v>0.41</c:v>
                </c:pt>
                <c:pt idx="47">
                  <c:v>0.37</c:v>
                </c:pt>
                <c:pt idx="48">
                  <c:v>0.46</c:v>
                </c:pt>
                <c:pt idx="49">
                  <c:v>0.52</c:v>
                </c:pt>
                <c:pt idx="50">
                  <c:v>0.38</c:v>
                </c:pt>
                <c:pt idx="51">
                  <c:v>0.3</c:v>
                </c:pt>
                <c:pt idx="52">
                  <c:v>0.35</c:v>
                </c:pt>
                <c:pt idx="53">
                  <c:v>0.42</c:v>
                </c:pt>
                <c:pt idx="54">
                  <c:v>0.36</c:v>
                </c:pt>
                <c:pt idx="55">
                  <c:v>0.42</c:v>
                </c:pt>
                <c:pt idx="56">
                  <c:v>0.37</c:v>
                </c:pt>
                <c:pt idx="57">
                  <c:v>0.46</c:v>
                </c:pt>
                <c:pt idx="58">
                  <c:v>0.53</c:v>
                </c:pt>
                <c:pt idx="59">
                  <c:v>0.24</c:v>
                </c:pt>
                <c:pt idx="60">
                  <c:v>0.42</c:v>
                </c:pt>
                <c:pt idx="61">
                  <c:v>0.17</c:v>
                </c:pt>
                <c:pt idx="62">
                  <c:v>0.61</c:v>
                </c:pt>
                <c:pt idx="63">
                  <c:v>0.36</c:v>
                </c:pt>
                <c:pt idx="64">
                  <c:v>0.28000000000000003</c:v>
                </c:pt>
                <c:pt idx="65">
                  <c:v>0.19</c:v>
                </c:pt>
                <c:pt idx="66">
                  <c:v>0.27</c:v>
                </c:pt>
                <c:pt idx="67">
                  <c:v>0.36</c:v>
                </c:pt>
                <c:pt idx="68">
                  <c:v>0.16</c:v>
                </c:pt>
                <c:pt idx="69">
                  <c:v>0.13</c:v>
                </c:pt>
                <c:pt idx="70">
                  <c:v>0.18</c:v>
                </c:pt>
                <c:pt idx="71">
                  <c:v>0.25</c:v>
                </c:pt>
                <c:pt idx="72">
                  <c:v>0.19</c:v>
                </c:pt>
                <c:pt idx="73">
                  <c:v>0.14000000000000001</c:v>
                </c:pt>
                <c:pt idx="74">
                  <c:v>0.22</c:v>
                </c:pt>
                <c:pt idx="75">
                  <c:v>0.03</c:v>
                </c:pt>
                <c:pt idx="76">
                  <c:v>0.24</c:v>
                </c:pt>
                <c:pt idx="77">
                  <c:v>0.25</c:v>
                </c:pt>
                <c:pt idx="78">
                  <c:v>7.0000000000000007E-2</c:v>
                </c:pt>
                <c:pt idx="79">
                  <c:v>7.0000000000000007E-2</c:v>
                </c:pt>
                <c:pt idx="80">
                  <c:v>0.06</c:v>
                </c:pt>
                <c:pt idx="81">
                  <c:v>0.11</c:v>
                </c:pt>
                <c:pt idx="82">
                  <c:v>0.11</c:v>
                </c:pt>
                <c:pt idx="83">
                  <c:v>0.05</c:v>
                </c:pt>
                <c:pt idx="84">
                  <c:v>0.16</c:v>
                </c:pt>
                <c:pt idx="85">
                  <c:v>0.23</c:v>
                </c:pt>
                <c:pt idx="86">
                  <c:v>0.05</c:v>
                </c:pt>
                <c:pt idx="87">
                  <c:v>0.28000000000000003</c:v>
                </c:pt>
                <c:pt idx="88">
                  <c:v>7.0000000000000007E-2</c:v>
                </c:pt>
                <c:pt idx="89">
                  <c:v>0.09</c:v>
                </c:pt>
                <c:pt idx="90">
                  <c:v>0.11</c:v>
                </c:pt>
                <c:pt idx="91">
                  <c:v>0.08</c:v>
                </c:pt>
                <c:pt idx="92">
                  <c:v>0.09</c:v>
                </c:pt>
                <c:pt idx="93">
                  <c:v>0.09</c:v>
                </c:pt>
                <c:pt idx="94">
                  <c:v>0.16</c:v>
                </c:pt>
                <c:pt idx="95">
                  <c:v>0.12</c:v>
                </c:pt>
                <c:pt idx="96">
                  <c:v>0.14000000000000001</c:v>
                </c:pt>
                <c:pt idx="97">
                  <c:v>0.05</c:v>
                </c:pt>
                <c:pt idx="98">
                  <c:v>0.17</c:v>
                </c:pt>
                <c:pt idx="99">
                  <c:v>0.08</c:v>
                </c:pt>
                <c:pt idx="100">
                  <c:v>0.1</c:v>
                </c:pt>
                <c:pt idx="101">
                  <c:v>0.12</c:v>
                </c:pt>
                <c:pt idx="102">
                  <c:v>0.03</c:v>
                </c:pt>
                <c:pt idx="103">
                  <c:v>0.03</c:v>
                </c:pt>
                <c:pt idx="104">
                  <c:v>0.02</c:v>
                </c:pt>
                <c:pt idx="105">
                  <c:v>0.05</c:v>
                </c:pt>
                <c:pt idx="106">
                  <c:v>0.03</c:v>
                </c:pt>
                <c:pt idx="107">
                  <c:v>0.05</c:v>
                </c:pt>
                <c:pt idx="108">
                  <c:v>0.01</c:v>
                </c:pt>
                <c:pt idx="109">
                  <c:v>0.19</c:v>
                </c:pt>
                <c:pt idx="110">
                  <c:v>0.03</c:v>
                </c:pt>
                <c:pt idx="111">
                  <c:v>0.03</c:v>
                </c:pt>
                <c:pt idx="112">
                  <c:v>0.05</c:v>
                </c:pt>
                <c:pt idx="113">
                  <c:v>0.05</c:v>
                </c:pt>
                <c:pt idx="114">
                  <c:v>0.05</c:v>
                </c:pt>
                <c:pt idx="115">
                  <c:v>0.15</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7ECAC4"/>
              </a:solidFill>
            </c:spPr>
            <c:extLst>
              <c:ext xmlns:c16="http://schemas.microsoft.com/office/drawing/2014/chart" uri="{C3380CC4-5D6E-409C-BE32-E72D297353CC}">
                <c16:uniqueId val="{00000063-2993-41DE-A2CB-63102DE87051}"/>
              </c:ext>
            </c:extLst>
          </c:dPt>
          <c:dPt>
            <c:idx val="22"/>
            <c:invertIfNegative val="1"/>
            <c:bubble3D val="0"/>
            <c:spPr>
              <a:solidFill>
                <a:srgbClr val="7ECAC4"/>
              </a:solidFill>
            </c:spPr>
            <c:extLst>
              <c:ext xmlns:c16="http://schemas.microsoft.com/office/drawing/2014/chart" uri="{C3380CC4-5D6E-409C-BE32-E72D297353CC}">
                <c16:uniqueId val="{00000065-2993-41DE-A2CB-63102DE87051}"/>
              </c:ext>
            </c:extLst>
          </c:dPt>
          <c:dPt>
            <c:idx val="23"/>
            <c:invertIfNegative val="1"/>
            <c:bubble3D val="0"/>
            <c:spPr>
              <a:solidFill>
                <a:srgbClr val="7ECAC4"/>
              </a:solidFill>
            </c:spPr>
            <c:extLst>
              <c:ext xmlns:c16="http://schemas.microsoft.com/office/drawing/2014/chart" uri="{C3380CC4-5D6E-409C-BE32-E72D297353CC}">
                <c16:uniqueId val="{00000067-2993-41DE-A2CB-63102DE87051}"/>
              </c:ext>
            </c:extLst>
          </c:dPt>
          <c:dPt>
            <c:idx val="24"/>
            <c:invertIfNegative val="1"/>
            <c:bubble3D val="0"/>
            <c:spPr>
              <a:solidFill>
                <a:srgbClr val="7ECAC4"/>
              </a:solidFill>
            </c:spPr>
            <c:extLst>
              <c:ext xmlns:c16="http://schemas.microsoft.com/office/drawing/2014/chart" uri="{C3380CC4-5D6E-409C-BE32-E72D297353CC}">
                <c16:uniqueId val="{00000069-2993-41DE-A2CB-63102DE87051}"/>
              </c:ext>
            </c:extLst>
          </c:dPt>
          <c:dPt>
            <c:idx val="25"/>
            <c:invertIfNegative val="1"/>
            <c:bubble3D val="0"/>
            <c:spPr>
              <a:solidFill>
                <a:srgbClr val="7ECAC4"/>
              </a:solidFill>
            </c:spPr>
            <c:extLst>
              <c:ext xmlns:c16="http://schemas.microsoft.com/office/drawing/2014/chart" uri="{C3380CC4-5D6E-409C-BE32-E72D297353CC}">
                <c16:uniqueId val="{0000006B-2993-41DE-A2CB-63102DE87051}"/>
              </c:ext>
            </c:extLst>
          </c:dPt>
          <c:dPt>
            <c:idx val="26"/>
            <c:invertIfNegative val="1"/>
            <c:bubble3D val="0"/>
            <c:spPr>
              <a:solidFill>
                <a:srgbClr val="7ECAC4"/>
              </a:solidFill>
            </c:spPr>
            <c:extLst>
              <c:ext xmlns:c16="http://schemas.microsoft.com/office/drawing/2014/chart" uri="{C3380CC4-5D6E-409C-BE32-E72D297353CC}">
                <c16:uniqueId val="{0000006D-2993-41DE-A2CB-63102DE87051}"/>
              </c:ext>
            </c:extLst>
          </c:dPt>
          <c:dPt>
            <c:idx val="27"/>
            <c:invertIfNegative val="1"/>
            <c:bubble3D val="0"/>
            <c:spPr>
              <a:solidFill>
                <a:srgbClr val="7ECAC4"/>
              </a:solidFill>
            </c:spPr>
            <c:extLst>
              <c:ext xmlns:c16="http://schemas.microsoft.com/office/drawing/2014/chart" uri="{C3380CC4-5D6E-409C-BE32-E72D297353CC}">
                <c16:uniqueId val="{0000006F-2993-41DE-A2CB-63102DE87051}"/>
              </c:ext>
            </c:extLst>
          </c:dPt>
          <c:dPt>
            <c:idx val="28"/>
            <c:invertIfNegative val="1"/>
            <c:bubble3D val="0"/>
            <c:spPr>
              <a:solidFill>
                <a:srgbClr val="7ECAC4"/>
              </a:solidFill>
            </c:spPr>
            <c:extLst>
              <c:ext xmlns:c16="http://schemas.microsoft.com/office/drawing/2014/chart" uri="{C3380CC4-5D6E-409C-BE32-E72D297353CC}">
                <c16:uniqueId val="{00000071-2993-41DE-A2CB-63102DE87051}"/>
              </c:ext>
            </c:extLst>
          </c:dPt>
          <c:dPt>
            <c:idx val="29"/>
            <c:invertIfNegative val="1"/>
            <c:bubble3D val="0"/>
            <c:spPr>
              <a:solidFill>
                <a:srgbClr val="7ECAC4"/>
              </a:solidFill>
            </c:spPr>
            <c:extLst>
              <c:ext xmlns:c16="http://schemas.microsoft.com/office/drawing/2014/chart" uri="{C3380CC4-5D6E-409C-BE32-E72D297353CC}">
                <c16:uniqueId val="{00000073-2993-41DE-A2CB-63102DE87051}"/>
              </c:ext>
            </c:extLst>
          </c:dPt>
          <c:dPt>
            <c:idx val="30"/>
            <c:invertIfNegative val="1"/>
            <c:bubble3D val="0"/>
            <c:spPr>
              <a:solidFill>
                <a:srgbClr val="7ECAC4"/>
              </a:solidFill>
            </c:spPr>
            <c:extLst>
              <c:ext xmlns:c16="http://schemas.microsoft.com/office/drawing/2014/chart" uri="{C3380CC4-5D6E-409C-BE32-E72D297353CC}">
                <c16:uniqueId val="{00000075-2993-41DE-A2CB-63102DE87051}"/>
              </c:ext>
            </c:extLst>
          </c:dPt>
          <c:dPt>
            <c:idx val="31"/>
            <c:invertIfNegative val="1"/>
            <c:bubble3D val="0"/>
            <c:spPr>
              <a:solidFill>
                <a:srgbClr val="7ECAC4"/>
              </a:solidFill>
            </c:spPr>
            <c:extLst>
              <c:ext xmlns:c16="http://schemas.microsoft.com/office/drawing/2014/chart" uri="{C3380CC4-5D6E-409C-BE32-E72D297353CC}">
                <c16:uniqueId val="{00000077-2993-41DE-A2CB-63102DE87051}"/>
              </c:ext>
            </c:extLst>
          </c:dPt>
          <c:dPt>
            <c:idx val="32"/>
            <c:invertIfNegative val="1"/>
            <c:bubble3D val="0"/>
            <c:spPr>
              <a:solidFill>
                <a:srgbClr val="7ECAC4"/>
              </a:solidFill>
            </c:spPr>
            <c:extLst>
              <c:ext xmlns:c16="http://schemas.microsoft.com/office/drawing/2014/chart" uri="{C3380CC4-5D6E-409C-BE32-E72D297353CC}">
                <c16:uniqueId val="{00000079-2993-41DE-A2CB-63102DE87051}"/>
              </c:ext>
            </c:extLst>
          </c:dPt>
          <c:dPt>
            <c:idx val="33"/>
            <c:invertIfNegative val="1"/>
            <c:bubble3D val="0"/>
            <c:spPr>
              <a:solidFill>
                <a:srgbClr val="7ECAC4"/>
              </a:solidFill>
            </c:spPr>
            <c:extLst>
              <c:ext xmlns:c16="http://schemas.microsoft.com/office/drawing/2014/chart" uri="{C3380CC4-5D6E-409C-BE32-E72D297353CC}">
                <c16:uniqueId val="{0000007B-2993-41DE-A2CB-63102DE87051}"/>
              </c:ext>
            </c:extLst>
          </c:dPt>
          <c:dPt>
            <c:idx val="34"/>
            <c:invertIfNegative val="1"/>
            <c:bubble3D val="0"/>
            <c:spPr>
              <a:solidFill>
                <a:srgbClr val="7ECAC4"/>
              </a:solidFill>
            </c:spPr>
            <c:extLst>
              <c:ext xmlns:c16="http://schemas.microsoft.com/office/drawing/2014/chart" uri="{C3380CC4-5D6E-409C-BE32-E72D297353CC}">
                <c16:uniqueId val="{0000007D-2993-41DE-A2CB-63102DE87051}"/>
              </c:ext>
            </c:extLst>
          </c:dPt>
          <c:dPt>
            <c:idx val="35"/>
            <c:invertIfNegative val="1"/>
            <c:bubble3D val="0"/>
            <c:spPr>
              <a:solidFill>
                <a:srgbClr val="7ECAC4"/>
              </a:solidFill>
            </c:spPr>
            <c:extLst>
              <c:ext xmlns:c16="http://schemas.microsoft.com/office/drawing/2014/chart" uri="{C3380CC4-5D6E-409C-BE32-E72D297353CC}">
                <c16:uniqueId val="{0000007F-2993-41DE-A2CB-63102DE87051}"/>
              </c:ext>
            </c:extLst>
          </c:dPt>
          <c:dPt>
            <c:idx val="36"/>
            <c:invertIfNegative val="1"/>
            <c:bubble3D val="0"/>
            <c:spPr>
              <a:solidFill>
                <a:srgbClr val="7ECAC4"/>
              </a:solidFill>
            </c:spPr>
            <c:extLst>
              <c:ext xmlns:c16="http://schemas.microsoft.com/office/drawing/2014/chart" uri="{C3380CC4-5D6E-409C-BE32-E72D297353CC}">
                <c16:uniqueId val="{00000081-2993-41DE-A2CB-63102DE87051}"/>
              </c:ext>
            </c:extLst>
          </c:dPt>
          <c:dPt>
            <c:idx val="37"/>
            <c:invertIfNegative val="1"/>
            <c:bubble3D val="0"/>
            <c:spPr>
              <a:solidFill>
                <a:srgbClr val="7ECAC4"/>
              </a:solidFill>
            </c:spPr>
            <c:extLst>
              <c:ext xmlns:c16="http://schemas.microsoft.com/office/drawing/2014/chart" uri="{C3380CC4-5D6E-409C-BE32-E72D297353CC}">
                <c16:uniqueId val="{00000083-2993-41DE-A2CB-63102DE87051}"/>
              </c:ext>
            </c:extLst>
          </c:dPt>
          <c:dPt>
            <c:idx val="38"/>
            <c:invertIfNegative val="1"/>
            <c:bubble3D val="0"/>
            <c:spPr>
              <a:solidFill>
                <a:srgbClr val="7ECAC4"/>
              </a:solidFill>
            </c:spPr>
            <c:extLst>
              <c:ext xmlns:c16="http://schemas.microsoft.com/office/drawing/2014/chart" uri="{C3380CC4-5D6E-409C-BE32-E72D297353CC}">
                <c16:uniqueId val="{00000085-2993-41DE-A2CB-63102DE87051}"/>
              </c:ext>
            </c:extLst>
          </c:dPt>
          <c:dPt>
            <c:idx val="39"/>
            <c:invertIfNegative val="1"/>
            <c:bubble3D val="0"/>
            <c:spPr>
              <a:solidFill>
                <a:srgbClr val="7ECAC4"/>
              </a:solidFill>
            </c:spPr>
            <c:extLst>
              <c:ext xmlns:c16="http://schemas.microsoft.com/office/drawing/2014/chart" uri="{C3380CC4-5D6E-409C-BE32-E72D297353CC}">
                <c16:uniqueId val="{00000087-2993-41DE-A2CB-63102DE87051}"/>
              </c:ext>
            </c:extLst>
          </c:dPt>
          <c:dPt>
            <c:idx val="40"/>
            <c:invertIfNegative val="1"/>
            <c:bubble3D val="0"/>
            <c:spPr>
              <a:solidFill>
                <a:srgbClr val="7ECAC4"/>
              </a:solidFill>
            </c:spPr>
            <c:extLst>
              <c:ext xmlns:c16="http://schemas.microsoft.com/office/drawing/2014/chart" uri="{C3380CC4-5D6E-409C-BE32-E72D297353CC}">
                <c16:uniqueId val="{00000089-2993-41DE-A2CB-63102DE87051}"/>
              </c:ext>
            </c:extLst>
          </c:dPt>
          <c:dPt>
            <c:idx val="41"/>
            <c:invertIfNegative val="1"/>
            <c:bubble3D val="0"/>
            <c:spPr>
              <a:solidFill>
                <a:srgbClr val="7ECAC4"/>
              </a:solidFill>
            </c:spPr>
            <c:extLst>
              <c:ext xmlns:c16="http://schemas.microsoft.com/office/drawing/2014/chart" uri="{C3380CC4-5D6E-409C-BE32-E72D297353CC}">
                <c16:uniqueId val="{0000008B-2993-41DE-A2CB-63102DE87051}"/>
              </c:ext>
            </c:extLst>
          </c:dPt>
          <c:dPt>
            <c:idx val="42"/>
            <c:invertIfNegative val="1"/>
            <c:bubble3D val="0"/>
            <c:spPr>
              <a:solidFill>
                <a:srgbClr val="7ECAC4"/>
              </a:solidFill>
            </c:spPr>
            <c:extLst>
              <c:ext xmlns:c16="http://schemas.microsoft.com/office/drawing/2014/chart" uri="{C3380CC4-5D6E-409C-BE32-E72D297353CC}">
                <c16:uniqueId val="{0000008D-2993-41DE-A2CB-63102DE87051}"/>
              </c:ext>
            </c:extLst>
          </c:dPt>
          <c:dPt>
            <c:idx val="43"/>
            <c:invertIfNegative val="1"/>
            <c:bubble3D val="0"/>
            <c:spPr>
              <a:solidFill>
                <a:srgbClr val="7ECAC4"/>
              </a:solidFill>
            </c:spPr>
            <c:extLst>
              <c:ext xmlns:c16="http://schemas.microsoft.com/office/drawing/2014/chart" uri="{C3380CC4-5D6E-409C-BE32-E72D297353CC}">
                <c16:uniqueId val="{0000008F-2993-41DE-A2CB-63102DE87051}"/>
              </c:ext>
            </c:extLst>
          </c:dPt>
          <c:dPt>
            <c:idx val="44"/>
            <c:invertIfNegative val="1"/>
            <c:bubble3D val="0"/>
            <c:spPr>
              <a:solidFill>
                <a:srgbClr val="7ECAC4"/>
              </a:solidFill>
            </c:spPr>
            <c:extLst>
              <c:ext xmlns:c16="http://schemas.microsoft.com/office/drawing/2014/chart" uri="{C3380CC4-5D6E-409C-BE32-E72D297353CC}">
                <c16:uniqueId val="{00000091-2993-41DE-A2CB-63102DE87051}"/>
              </c:ext>
            </c:extLst>
          </c:dPt>
          <c:dPt>
            <c:idx val="45"/>
            <c:invertIfNegative val="1"/>
            <c:bubble3D val="0"/>
            <c:spPr>
              <a:solidFill>
                <a:srgbClr val="7ECAC4"/>
              </a:solidFill>
            </c:spPr>
            <c:extLst>
              <c:ext xmlns:c16="http://schemas.microsoft.com/office/drawing/2014/chart" uri="{C3380CC4-5D6E-409C-BE32-E72D297353CC}">
                <c16:uniqueId val="{00000093-2993-41DE-A2CB-63102DE87051}"/>
              </c:ext>
            </c:extLst>
          </c:dPt>
          <c:dPt>
            <c:idx val="46"/>
            <c:invertIfNegative val="1"/>
            <c:bubble3D val="0"/>
            <c:spPr>
              <a:solidFill>
                <a:srgbClr val="AEABAB"/>
              </a:solidFill>
            </c:spPr>
            <c:extLst>
              <c:ext xmlns:c16="http://schemas.microsoft.com/office/drawing/2014/chart" uri="{C3380CC4-5D6E-409C-BE32-E72D297353CC}">
                <c16:uniqueId val="{00000095-2993-41DE-A2CB-63102DE87051}"/>
              </c:ext>
            </c:extLst>
          </c:dPt>
          <c:dPt>
            <c:idx val="47"/>
            <c:invertIfNegative val="1"/>
            <c:bubble3D val="0"/>
            <c:spPr>
              <a:solidFill>
                <a:srgbClr val="AEABAB"/>
              </a:solidFill>
            </c:spPr>
            <c:extLst>
              <c:ext xmlns:c16="http://schemas.microsoft.com/office/drawing/2014/chart" uri="{C3380CC4-5D6E-409C-BE32-E72D297353CC}">
                <c16:uniqueId val="{00000097-2993-41DE-A2CB-63102DE87051}"/>
              </c:ext>
            </c:extLst>
          </c:dPt>
          <c:dPt>
            <c:idx val="48"/>
            <c:invertIfNegative val="1"/>
            <c:bubble3D val="0"/>
            <c:spPr>
              <a:solidFill>
                <a:srgbClr val="AEABAB"/>
              </a:solidFill>
            </c:spPr>
            <c:extLst>
              <c:ext xmlns:c16="http://schemas.microsoft.com/office/drawing/2014/chart" uri="{C3380CC4-5D6E-409C-BE32-E72D297353CC}">
                <c16:uniqueId val="{00000099-2993-41DE-A2CB-63102DE87051}"/>
              </c:ext>
            </c:extLst>
          </c:dPt>
          <c:dPt>
            <c:idx val="49"/>
            <c:invertIfNegative val="1"/>
            <c:bubble3D val="0"/>
            <c:spPr>
              <a:solidFill>
                <a:srgbClr val="AEABAB"/>
              </a:solidFill>
            </c:spPr>
            <c:extLst>
              <c:ext xmlns:c16="http://schemas.microsoft.com/office/drawing/2014/chart" uri="{C3380CC4-5D6E-409C-BE32-E72D297353CC}">
                <c16:uniqueId val="{0000009B-2993-41DE-A2CB-63102DE87051}"/>
              </c:ext>
            </c:extLst>
          </c:dPt>
          <c:dPt>
            <c:idx val="50"/>
            <c:invertIfNegative val="1"/>
            <c:bubble3D val="0"/>
            <c:spPr>
              <a:solidFill>
                <a:srgbClr val="AEABAB"/>
              </a:solidFill>
            </c:spPr>
            <c:extLst>
              <c:ext xmlns:c16="http://schemas.microsoft.com/office/drawing/2014/chart" uri="{C3380CC4-5D6E-409C-BE32-E72D297353CC}">
                <c16:uniqueId val="{0000009D-2993-41DE-A2CB-63102DE87051}"/>
              </c:ext>
            </c:extLst>
          </c:dPt>
          <c:dPt>
            <c:idx val="51"/>
            <c:invertIfNegative val="1"/>
            <c:bubble3D val="0"/>
            <c:spPr>
              <a:solidFill>
                <a:srgbClr val="AEABAB"/>
              </a:solidFill>
            </c:spPr>
            <c:extLst>
              <c:ext xmlns:c16="http://schemas.microsoft.com/office/drawing/2014/chart" uri="{C3380CC4-5D6E-409C-BE32-E72D297353CC}">
                <c16:uniqueId val="{0000009F-2993-41DE-A2CB-63102DE87051}"/>
              </c:ext>
            </c:extLst>
          </c:dPt>
          <c:dPt>
            <c:idx val="52"/>
            <c:invertIfNegative val="1"/>
            <c:bubble3D val="0"/>
            <c:spPr>
              <a:solidFill>
                <a:srgbClr val="AEABAB"/>
              </a:solidFill>
            </c:spPr>
            <c:extLst>
              <c:ext xmlns:c16="http://schemas.microsoft.com/office/drawing/2014/chart" uri="{C3380CC4-5D6E-409C-BE32-E72D297353CC}">
                <c16:uniqueId val="{000000A1-2993-41DE-A2CB-63102DE87051}"/>
              </c:ext>
            </c:extLst>
          </c:dPt>
          <c:dPt>
            <c:idx val="53"/>
            <c:invertIfNegative val="1"/>
            <c:bubble3D val="0"/>
            <c:spPr>
              <a:solidFill>
                <a:srgbClr val="AEABAB"/>
              </a:solidFill>
            </c:spPr>
            <c:extLst>
              <c:ext xmlns:c16="http://schemas.microsoft.com/office/drawing/2014/chart" uri="{C3380CC4-5D6E-409C-BE32-E72D297353CC}">
                <c16:uniqueId val="{000000A3-2993-41DE-A2CB-63102DE87051}"/>
              </c:ext>
            </c:extLst>
          </c:dPt>
          <c:dPt>
            <c:idx val="54"/>
            <c:invertIfNegative val="0"/>
            <c:bubble3D val="0"/>
            <c:spPr>
              <a:solidFill>
                <a:srgbClr val="AEABAB"/>
              </a:solidFill>
            </c:spPr>
            <c:extLst>
              <c:ext xmlns:c16="http://schemas.microsoft.com/office/drawing/2014/chart" uri="{C3380CC4-5D6E-409C-BE32-E72D297353CC}">
                <c16:uniqueId val="{00000072-C76F-4230-900D-40618C09729F}"/>
              </c:ext>
            </c:extLst>
          </c:dPt>
          <c:dPt>
            <c:idx val="55"/>
            <c:invertIfNegative val="0"/>
            <c:bubble3D val="0"/>
            <c:spPr>
              <a:solidFill>
                <a:srgbClr val="AEABAB"/>
              </a:solidFill>
            </c:spPr>
            <c:extLst>
              <c:ext xmlns:c16="http://schemas.microsoft.com/office/drawing/2014/chart" uri="{C3380CC4-5D6E-409C-BE32-E72D297353CC}">
                <c16:uniqueId val="{00000074-C76F-4230-900D-40618C09729F}"/>
              </c:ext>
            </c:extLst>
          </c:dPt>
          <c:dPt>
            <c:idx val="56"/>
            <c:invertIfNegative val="0"/>
            <c:bubble3D val="0"/>
            <c:spPr>
              <a:solidFill>
                <a:srgbClr val="AEABAB"/>
              </a:solidFill>
            </c:spPr>
            <c:extLst>
              <c:ext xmlns:c16="http://schemas.microsoft.com/office/drawing/2014/chart" uri="{C3380CC4-5D6E-409C-BE32-E72D297353CC}">
                <c16:uniqueId val="{00000076-C76F-4230-900D-40618C09729F}"/>
              </c:ext>
            </c:extLst>
          </c:dPt>
          <c:dPt>
            <c:idx val="57"/>
            <c:invertIfNegative val="0"/>
            <c:bubble3D val="0"/>
            <c:spPr>
              <a:solidFill>
                <a:srgbClr val="AEABAB"/>
              </a:solidFill>
            </c:spPr>
            <c:extLst>
              <c:ext xmlns:c16="http://schemas.microsoft.com/office/drawing/2014/chart" uri="{C3380CC4-5D6E-409C-BE32-E72D297353CC}">
                <c16:uniqueId val="{00000078-C76F-4230-900D-40618C09729F}"/>
              </c:ext>
            </c:extLst>
          </c:dPt>
          <c:dPt>
            <c:idx val="58"/>
            <c:invertIfNegative val="0"/>
            <c:bubble3D val="0"/>
            <c:spPr>
              <a:solidFill>
                <a:srgbClr val="AEABAB"/>
              </a:solidFill>
            </c:spPr>
            <c:extLst>
              <c:ext xmlns:c16="http://schemas.microsoft.com/office/drawing/2014/chart" uri="{C3380CC4-5D6E-409C-BE32-E72D297353CC}">
                <c16:uniqueId val="{0000007A-C76F-4230-900D-40618C09729F}"/>
              </c:ext>
            </c:extLst>
          </c:dPt>
          <c:dPt>
            <c:idx val="59"/>
            <c:invertIfNegative val="0"/>
            <c:bubble3D val="0"/>
            <c:spPr>
              <a:solidFill>
                <a:srgbClr val="AEABAB"/>
              </a:solidFill>
            </c:spPr>
            <c:extLst>
              <c:ext xmlns:c16="http://schemas.microsoft.com/office/drawing/2014/chart" uri="{C3380CC4-5D6E-409C-BE32-E72D297353CC}">
                <c16:uniqueId val="{0000007C-C76F-4230-900D-40618C09729F}"/>
              </c:ext>
            </c:extLst>
          </c:dPt>
          <c:dPt>
            <c:idx val="60"/>
            <c:invertIfNegative val="0"/>
            <c:bubble3D val="0"/>
            <c:spPr>
              <a:solidFill>
                <a:srgbClr val="AEABAB"/>
              </a:solidFill>
            </c:spPr>
            <c:extLst>
              <c:ext xmlns:c16="http://schemas.microsoft.com/office/drawing/2014/chart" uri="{C3380CC4-5D6E-409C-BE32-E72D297353CC}">
                <c16:uniqueId val="{0000007E-C76F-4230-900D-40618C09729F}"/>
              </c:ext>
            </c:extLst>
          </c:dPt>
          <c:dPt>
            <c:idx val="61"/>
            <c:invertIfNegative val="0"/>
            <c:bubble3D val="0"/>
            <c:spPr>
              <a:solidFill>
                <a:srgbClr val="AEABAB"/>
              </a:solidFill>
            </c:spPr>
            <c:extLst>
              <c:ext xmlns:c16="http://schemas.microsoft.com/office/drawing/2014/chart" uri="{C3380CC4-5D6E-409C-BE32-E72D297353CC}">
                <c16:uniqueId val="{00000080-C76F-4230-900D-40618C09729F}"/>
              </c:ext>
            </c:extLst>
          </c:dPt>
          <c:dPt>
            <c:idx val="62"/>
            <c:invertIfNegative val="0"/>
            <c:bubble3D val="0"/>
            <c:spPr>
              <a:solidFill>
                <a:srgbClr val="AEABAB"/>
              </a:solidFill>
            </c:spPr>
            <c:extLst>
              <c:ext xmlns:c16="http://schemas.microsoft.com/office/drawing/2014/chart" uri="{C3380CC4-5D6E-409C-BE32-E72D297353CC}">
                <c16:uniqueId val="{00000082-C76F-4230-900D-40618C09729F}"/>
              </c:ext>
            </c:extLst>
          </c:dPt>
          <c:dPt>
            <c:idx val="63"/>
            <c:invertIfNegative val="0"/>
            <c:bubble3D val="0"/>
            <c:spPr>
              <a:solidFill>
                <a:srgbClr val="AEABAB"/>
              </a:solidFill>
            </c:spPr>
            <c:extLst>
              <c:ext xmlns:c16="http://schemas.microsoft.com/office/drawing/2014/chart" uri="{C3380CC4-5D6E-409C-BE32-E72D297353CC}">
                <c16:uniqueId val="{00000084-C76F-4230-900D-40618C09729F}"/>
              </c:ext>
            </c:extLst>
          </c:dPt>
          <c:dPt>
            <c:idx val="64"/>
            <c:invertIfNegative val="0"/>
            <c:bubble3D val="0"/>
            <c:spPr>
              <a:solidFill>
                <a:srgbClr val="AEABAB"/>
              </a:solidFill>
            </c:spPr>
            <c:extLst>
              <c:ext xmlns:c16="http://schemas.microsoft.com/office/drawing/2014/chart" uri="{C3380CC4-5D6E-409C-BE32-E72D297353CC}">
                <c16:uniqueId val="{00000086-C76F-4230-900D-40618C09729F}"/>
              </c:ext>
            </c:extLst>
          </c:dPt>
          <c:dPt>
            <c:idx val="65"/>
            <c:invertIfNegative val="0"/>
            <c:bubble3D val="0"/>
            <c:spPr>
              <a:solidFill>
                <a:srgbClr val="AEABAB"/>
              </a:solidFill>
            </c:spPr>
            <c:extLst>
              <c:ext xmlns:c16="http://schemas.microsoft.com/office/drawing/2014/chart" uri="{C3380CC4-5D6E-409C-BE32-E72D297353CC}">
                <c16:uniqueId val="{00000088-C76F-4230-900D-40618C09729F}"/>
              </c:ext>
            </c:extLst>
          </c:dPt>
          <c:dPt>
            <c:idx val="66"/>
            <c:invertIfNegative val="0"/>
            <c:bubble3D val="0"/>
            <c:spPr>
              <a:solidFill>
                <a:srgbClr val="AEABAB"/>
              </a:solidFill>
            </c:spPr>
            <c:extLst>
              <c:ext xmlns:c16="http://schemas.microsoft.com/office/drawing/2014/chart" uri="{C3380CC4-5D6E-409C-BE32-E72D297353CC}">
                <c16:uniqueId val="{0000008A-C76F-4230-900D-40618C09729F}"/>
              </c:ext>
            </c:extLst>
          </c:dPt>
          <c:dPt>
            <c:idx val="67"/>
            <c:invertIfNegative val="0"/>
            <c:bubble3D val="0"/>
            <c:spPr>
              <a:solidFill>
                <a:srgbClr val="AEABAB"/>
              </a:solidFill>
            </c:spPr>
            <c:extLst>
              <c:ext xmlns:c16="http://schemas.microsoft.com/office/drawing/2014/chart" uri="{C3380CC4-5D6E-409C-BE32-E72D297353CC}">
                <c16:uniqueId val="{0000008C-C76F-4230-900D-40618C09729F}"/>
              </c:ext>
            </c:extLst>
          </c:dPt>
          <c:dPt>
            <c:idx val="68"/>
            <c:invertIfNegative val="0"/>
            <c:bubble3D val="0"/>
            <c:spPr>
              <a:solidFill>
                <a:srgbClr val="AEABAB"/>
              </a:solidFill>
            </c:spPr>
            <c:extLst>
              <c:ext xmlns:c16="http://schemas.microsoft.com/office/drawing/2014/chart" uri="{C3380CC4-5D6E-409C-BE32-E72D297353CC}">
                <c16:uniqueId val="{0000008E-C76F-4230-900D-40618C09729F}"/>
              </c:ext>
            </c:extLst>
          </c:dPt>
          <c:dPt>
            <c:idx val="69"/>
            <c:invertIfNegative val="0"/>
            <c:bubble3D val="0"/>
            <c:spPr>
              <a:solidFill>
                <a:srgbClr val="AEABAB"/>
              </a:solidFill>
            </c:spPr>
            <c:extLst>
              <c:ext xmlns:c16="http://schemas.microsoft.com/office/drawing/2014/chart" uri="{C3380CC4-5D6E-409C-BE32-E72D297353CC}">
                <c16:uniqueId val="{00000090-C76F-4230-900D-40618C09729F}"/>
              </c:ext>
            </c:extLst>
          </c:dPt>
          <c:dPt>
            <c:idx val="70"/>
            <c:invertIfNegative val="0"/>
            <c:bubble3D val="0"/>
            <c:spPr>
              <a:solidFill>
                <a:srgbClr val="AEABAB"/>
              </a:solidFill>
            </c:spPr>
            <c:extLst>
              <c:ext xmlns:c16="http://schemas.microsoft.com/office/drawing/2014/chart" uri="{C3380CC4-5D6E-409C-BE32-E72D297353CC}">
                <c16:uniqueId val="{00000092-C76F-4230-900D-40618C09729F}"/>
              </c:ext>
            </c:extLst>
          </c:dPt>
          <c:dPt>
            <c:idx val="71"/>
            <c:invertIfNegative val="0"/>
            <c:bubble3D val="0"/>
            <c:spPr>
              <a:solidFill>
                <a:srgbClr val="AEABAB"/>
              </a:solidFill>
            </c:spPr>
            <c:extLst>
              <c:ext xmlns:c16="http://schemas.microsoft.com/office/drawing/2014/chart" uri="{C3380CC4-5D6E-409C-BE32-E72D297353CC}">
                <c16:uniqueId val="{00000094-C76F-4230-900D-40618C09729F}"/>
              </c:ext>
            </c:extLst>
          </c:dPt>
          <c:dPt>
            <c:idx val="72"/>
            <c:invertIfNegative val="0"/>
            <c:bubble3D val="0"/>
            <c:spPr>
              <a:solidFill>
                <a:srgbClr val="AEABAB"/>
              </a:solidFill>
            </c:spPr>
            <c:extLst>
              <c:ext xmlns:c16="http://schemas.microsoft.com/office/drawing/2014/chart" uri="{C3380CC4-5D6E-409C-BE32-E72D297353CC}">
                <c16:uniqueId val="{00000096-C76F-4230-900D-40618C09729F}"/>
              </c:ext>
            </c:extLst>
          </c:dPt>
          <c:dPt>
            <c:idx val="73"/>
            <c:invertIfNegative val="0"/>
            <c:bubble3D val="0"/>
            <c:spPr>
              <a:solidFill>
                <a:srgbClr val="AEABAB"/>
              </a:solidFill>
            </c:spPr>
            <c:extLst>
              <c:ext xmlns:c16="http://schemas.microsoft.com/office/drawing/2014/chart" uri="{C3380CC4-5D6E-409C-BE32-E72D297353CC}">
                <c16:uniqueId val="{00000098-C76F-4230-900D-40618C09729F}"/>
              </c:ext>
            </c:extLst>
          </c:dPt>
          <c:dPt>
            <c:idx val="74"/>
            <c:invertIfNegative val="0"/>
            <c:bubble3D val="0"/>
            <c:spPr>
              <a:solidFill>
                <a:srgbClr val="AEABAB"/>
              </a:solidFill>
            </c:spPr>
            <c:extLst>
              <c:ext xmlns:c16="http://schemas.microsoft.com/office/drawing/2014/chart" uri="{C3380CC4-5D6E-409C-BE32-E72D297353CC}">
                <c16:uniqueId val="{0000009A-C76F-4230-900D-40618C09729F}"/>
              </c:ext>
            </c:extLst>
          </c:dPt>
          <c:dPt>
            <c:idx val="75"/>
            <c:invertIfNegative val="0"/>
            <c:bubble3D val="0"/>
            <c:spPr>
              <a:solidFill>
                <a:srgbClr val="AEABAB"/>
              </a:solidFill>
            </c:spPr>
            <c:extLst>
              <c:ext xmlns:c16="http://schemas.microsoft.com/office/drawing/2014/chart" uri="{C3380CC4-5D6E-409C-BE32-E72D297353CC}">
                <c16:uniqueId val="{0000009C-C76F-4230-900D-40618C09729F}"/>
              </c:ext>
            </c:extLst>
          </c:dPt>
          <c:dPt>
            <c:idx val="76"/>
            <c:invertIfNegative val="0"/>
            <c:bubble3D val="0"/>
            <c:spPr>
              <a:solidFill>
                <a:srgbClr val="AEABAB"/>
              </a:solidFill>
            </c:spPr>
            <c:extLst>
              <c:ext xmlns:c16="http://schemas.microsoft.com/office/drawing/2014/chart" uri="{C3380CC4-5D6E-409C-BE32-E72D297353CC}">
                <c16:uniqueId val="{0000009E-C76F-4230-900D-40618C09729F}"/>
              </c:ext>
            </c:extLst>
          </c:dPt>
          <c:dPt>
            <c:idx val="77"/>
            <c:invertIfNegative val="0"/>
            <c:bubble3D val="0"/>
            <c:spPr>
              <a:solidFill>
                <a:srgbClr val="AEABAB"/>
              </a:solidFill>
            </c:spPr>
            <c:extLst>
              <c:ext xmlns:c16="http://schemas.microsoft.com/office/drawing/2014/chart" uri="{C3380CC4-5D6E-409C-BE32-E72D297353CC}">
                <c16:uniqueId val="{000000A0-C76F-4230-900D-40618C09729F}"/>
              </c:ext>
            </c:extLst>
          </c:dPt>
          <c:dPt>
            <c:idx val="78"/>
            <c:invertIfNegative val="0"/>
            <c:bubble3D val="0"/>
            <c:spPr>
              <a:solidFill>
                <a:srgbClr val="AEABAB"/>
              </a:solidFill>
            </c:spPr>
            <c:extLst>
              <c:ext xmlns:c16="http://schemas.microsoft.com/office/drawing/2014/chart" uri="{C3380CC4-5D6E-409C-BE32-E72D297353CC}">
                <c16:uniqueId val="{000000A2-C76F-4230-900D-40618C09729F}"/>
              </c:ext>
            </c:extLst>
          </c:dPt>
          <c:dPt>
            <c:idx val="79"/>
            <c:invertIfNegative val="0"/>
            <c:bubble3D val="0"/>
            <c:spPr>
              <a:solidFill>
                <a:srgbClr val="AEABAB"/>
              </a:solidFill>
            </c:spPr>
            <c:extLst>
              <c:ext xmlns:c16="http://schemas.microsoft.com/office/drawing/2014/chart" uri="{C3380CC4-5D6E-409C-BE32-E72D297353CC}">
                <c16:uniqueId val="{000000A4-C76F-4230-900D-40618C09729F}"/>
              </c:ext>
            </c:extLst>
          </c:dPt>
          <c:dPt>
            <c:idx val="80"/>
            <c:invertIfNegative val="0"/>
            <c:bubble3D val="0"/>
            <c:spPr>
              <a:solidFill>
                <a:srgbClr val="AEABAB"/>
              </a:solidFill>
            </c:spPr>
            <c:extLst>
              <c:ext xmlns:c16="http://schemas.microsoft.com/office/drawing/2014/chart" uri="{C3380CC4-5D6E-409C-BE32-E72D297353CC}">
                <c16:uniqueId val="{000000A6-C76F-4230-900D-40618C09729F}"/>
              </c:ext>
            </c:extLst>
          </c:dPt>
          <c:dPt>
            <c:idx val="81"/>
            <c:invertIfNegative val="1"/>
            <c:bubble3D val="0"/>
            <c:spPr>
              <a:solidFill>
                <a:srgbClr val="AEABAB"/>
              </a:solidFill>
            </c:spPr>
            <c:extLst>
              <c:ext xmlns:c16="http://schemas.microsoft.com/office/drawing/2014/chart" uri="{C3380CC4-5D6E-409C-BE32-E72D297353CC}">
                <c16:uniqueId val="{000000A5-2993-41DE-A2CB-63102DE87051}"/>
              </c:ext>
            </c:extLst>
          </c:dPt>
          <c:dPt>
            <c:idx val="82"/>
            <c:invertIfNegative val="1"/>
            <c:bubble3D val="0"/>
            <c:spPr>
              <a:solidFill>
                <a:srgbClr val="AEABAB"/>
              </a:solidFill>
            </c:spPr>
            <c:extLst>
              <c:ext xmlns:c16="http://schemas.microsoft.com/office/drawing/2014/chart" uri="{C3380CC4-5D6E-409C-BE32-E72D297353CC}">
                <c16:uniqueId val="{000000A7-2993-41DE-A2CB-63102DE87051}"/>
              </c:ext>
            </c:extLst>
          </c:dPt>
          <c:dPt>
            <c:idx val="83"/>
            <c:invertIfNegative val="1"/>
            <c:bubble3D val="0"/>
            <c:spPr>
              <a:solidFill>
                <a:srgbClr val="AEABAB"/>
              </a:solidFill>
            </c:spPr>
            <c:extLst>
              <c:ext xmlns:c16="http://schemas.microsoft.com/office/drawing/2014/chart" uri="{C3380CC4-5D6E-409C-BE32-E72D297353CC}">
                <c16:uniqueId val="{000000A9-2993-41DE-A2CB-63102DE87051}"/>
              </c:ext>
            </c:extLst>
          </c:dPt>
          <c:dPt>
            <c:idx val="84"/>
            <c:invertIfNegative val="1"/>
            <c:bubble3D val="0"/>
            <c:spPr>
              <a:solidFill>
                <a:srgbClr val="AEABAB"/>
              </a:solidFill>
            </c:spPr>
            <c:extLst>
              <c:ext xmlns:c16="http://schemas.microsoft.com/office/drawing/2014/chart" uri="{C3380CC4-5D6E-409C-BE32-E72D297353CC}">
                <c16:uniqueId val="{000000AB-2993-41DE-A2CB-63102DE87051}"/>
              </c:ext>
            </c:extLst>
          </c:dPt>
          <c:dPt>
            <c:idx val="85"/>
            <c:invertIfNegative val="1"/>
            <c:bubble3D val="0"/>
            <c:spPr>
              <a:solidFill>
                <a:srgbClr val="AEABAB"/>
              </a:solidFill>
            </c:spPr>
            <c:extLst>
              <c:ext xmlns:c16="http://schemas.microsoft.com/office/drawing/2014/chart" uri="{C3380CC4-5D6E-409C-BE32-E72D297353CC}">
                <c16:uniqueId val="{000000AD-2993-41DE-A2CB-63102DE87051}"/>
              </c:ext>
            </c:extLst>
          </c:dPt>
          <c:dPt>
            <c:idx val="86"/>
            <c:invertIfNegative val="1"/>
            <c:bubble3D val="0"/>
            <c:spPr>
              <a:solidFill>
                <a:srgbClr val="AEABAB"/>
              </a:solidFill>
            </c:spPr>
            <c:extLst>
              <c:ext xmlns:c16="http://schemas.microsoft.com/office/drawing/2014/chart" uri="{C3380CC4-5D6E-409C-BE32-E72D297353CC}">
                <c16:uniqueId val="{000000AF-2993-41DE-A2CB-63102DE87051}"/>
              </c:ext>
            </c:extLst>
          </c:dPt>
          <c:dPt>
            <c:idx val="87"/>
            <c:invertIfNegative val="1"/>
            <c:bubble3D val="0"/>
            <c:spPr>
              <a:solidFill>
                <a:srgbClr val="AEABAB"/>
              </a:solidFill>
            </c:spPr>
            <c:extLst>
              <c:ext xmlns:c16="http://schemas.microsoft.com/office/drawing/2014/chart" uri="{C3380CC4-5D6E-409C-BE32-E72D297353CC}">
                <c16:uniqueId val="{000000B1-2993-41DE-A2CB-63102DE87051}"/>
              </c:ext>
            </c:extLst>
          </c:dPt>
          <c:dPt>
            <c:idx val="88"/>
            <c:invertIfNegative val="1"/>
            <c:bubble3D val="0"/>
            <c:spPr>
              <a:solidFill>
                <a:srgbClr val="AEABAB"/>
              </a:solidFill>
            </c:spPr>
            <c:extLst>
              <c:ext xmlns:c16="http://schemas.microsoft.com/office/drawing/2014/chart" uri="{C3380CC4-5D6E-409C-BE32-E72D297353CC}">
                <c16:uniqueId val="{000000B3-2993-41DE-A2CB-63102DE87051}"/>
              </c:ext>
            </c:extLst>
          </c:dPt>
          <c:dPt>
            <c:idx val="89"/>
            <c:invertIfNegative val="1"/>
            <c:bubble3D val="0"/>
            <c:spPr>
              <a:solidFill>
                <a:srgbClr val="AEABAB"/>
              </a:solidFill>
            </c:spPr>
            <c:extLst>
              <c:ext xmlns:c16="http://schemas.microsoft.com/office/drawing/2014/chart" uri="{C3380CC4-5D6E-409C-BE32-E72D297353CC}">
                <c16:uniqueId val="{000000B5-2993-41DE-A2CB-63102DE87051}"/>
              </c:ext>
            </c:extLst>
          </c:dPt>
          <c:dPt>
            <c:idx val="90"/>
            <c:invertIfNegative val="1"/>
            <c:bubble3D val="0"/>
            <c:spPr>
              <a:solidFill>
                <a:srgbClr val="AEABAB"/>
              </a:solidFill>
            </c:spPr>
            <c:extLst>
              <c:ext xmlns:c16="http://schemas.microsoft.com/office/drawing/2014/chart" uri="{C3380CC4-5D6E-409C-BE32-E72D297353CC}">
                <c16:uniqueId val="{000000B7-2993-41DE-A2CB-63102DE87051}"/>
              </c:ext>
            </c:extLst>
          </c:dPt>
          <c:dPt>
            <c:idx val="91"/>
            <c:invertIfNegative val="1"/>
            <c:bubble3D val="0"/>
            <c:spPr>
              <a:solidFill>
                <a:srgbClr val="AEABAB"/>
              </a:solidFill>
            </c:spPr>
            <c:extLst>
              <c:ext xmlns:c16="http://schemas.microsoft.com/office/drawing/2014/chart" uri="{C3380CC4-5D6E-409C-BE32-E72D297353CC}">
                <c16:uniqueId val="{000000B9-2993-41DE-A2CB-63102DE87051}"/>
              </c:ext>
            </c:extLst>
          </c:dPt>
          <c:dPt>
            <c:idx val="92"/>
            <c:invertIfNegative val="1"/>
            <c:bubble3D val="0"/>
            <c:spPr>
              <a:solidFill>
                <a:srgbClr val="AEABAB"/>
              </a:solidFill>
            </c:spPr>
            <c:extLst>
              <c:ext xmlns:c16="http://schemas.microsoft.com/office/drawing/2014/chart" uri="{C3380CC4-5D6E-409C-BE32-E72D297353CC}">
                <c16:uniqueId val="{000000BB-2993-41DE-A2CB-63102DE87051}"/>
              </c:ext>
            </c:extLst>
          </c:dPt>
          <c:dPt>
            <c:idx val="93"/>
            <c:invertIfNegative val="1"/>
            <c:bubble3D val="0"/>
            <c:spPr>
              <a:solidFill>
                <a:srgbClr val="AEABAB"/>
              </a:solidFill>
            </c:spPr>
            <c:extLst>
              <c:ext xmlns:c16="http://schemas.microsoft.com/office/drawing/2014/chart" uri="{C3380CC4-5D6E-409C-BE32-E72D297353CC}">
                <c16:uniqueId val="{000000BD-2993-41DE-A2CB-63102DE87051}"/>
              </c:ext>
            </c:extLst>
          </c:dPt>
          <c:dPt>
            <c:idx val="94"/>
            <c:invertIfNegative val="1"/>
            <c:bubble3D val="0"/>
            <c:spPr>
              <a:solidFill>
                <a:srgbClr val="AEABAB"/>
              </a:solidFill>
            </c:spPr>
            <c:extLst>
              <c:ext xmlns:c16="http://schemas.microsoft.com/office/drawing/2014/chart" uri="{C3380CC4-5D6E-409C-BE32-E72D297353CC}">
                <c16:uniqueId val="{000000BF-2993-41DE-A2CB-63102DE87051}"/>
              </c:ext>
            </c:extLst>
          </c:dPt>
          <c:dPt>
            <c:idx val="95"/>
            <c:invertIfNegative val="1"/>
            <c:bubble3D val="0"/>
            <c:spPr>
              <a:solidFill>
                <a:srgbClr val="AEABAB"/>
              </a:solidFill>
            </c:spPr>
            <c:extLst>
              <c:ext xmlns:c16="http://schemas.microsoft.com/office/drawing/2014/chart" uri="{C3380CC4-5D6E-409C-BE32-E72D297353CC}">
                <c16:uniqueId val="{000000C1-2993-41DE-A2CB-63102DE87051}"/>
              </c:ext>
            </c:extLst>
          </c:dPt>
          <c:dPt>
            <c:idx val="96"/>
            <c:invertIfNegative val="1"/>
            <c:bubble3D val="0"/>
            <c:spPr>
              <a:solidFill>
                <a:srgbClr val="AEABAB"/>
              </a:solidFill>
            </c:spPr>
            <c:extLst>
              <c:ext xmlns:c16="http://schemas.microsoft.com/office/drawing/2014/chart" uri="{C3380CC4-5D6E-409C-BE32-E72D297353CC}">
                <c16:uniqueId val="{000000C3-2993-41DE-A2CB-63102DE87051}"/>
              </c:ext>
            </c:extLst>
          </c:dPt>
          <c:dPt>
            <c:idx val="97"/>
            <c:invertIfNegative val="1"/>
            <c:bubble3D val="0"/>
            <c:spPr>
              <a:solidFill>
                <a:srgbClr val="AEABAB"/>
              </a:solidFill>
            </c:spPr>
            <c:extLst>
              <c:ext xmlns:c16="http://schemas.microsoft.com/office/drawing/2014/chart" uri="{C3380CC4-5D6E-409C-BE32-E72D297353CC}">
                <c16:uniqueId val="{000000C5-2993-41DE-A2CB-63102DE87051}"/>
              </c:ext>
            </c:extLst>
          </c:dPt>
          <c:dPt>
            <c:idx val="98"/>
            <c:invertIfNegative val="1"/>
            <c:bubble3D val="0"/>
            <c:spPr>
              <a:solidFill>
                <a:srgbClr val="AEABAB"/>
              </a:solidFill>
            </c:spPr>
            <c:extLst>
              <c:ext xmlns:c16="http://schemas.microsoft.com/office/drawing/2014/chart" uri="{C3380CC4-5D6E-409C-BE32-E72D297353CC}">
                <c16:uniqueId val="{000000C7-2993-41DE-A2CB-63102DE87051}"/>
              </c:ext>
            </c:extLst>
          </c:dPt>
          <c:dPt>
            <c:idx val="99"/>
            <c:invertIfNegative val="1"/>
            <c:bubble3D val="0"/>
            <c:spPr>
              <a:solidFill>
                <a:srgbClr val="AEABAB"/>
              </a:solidFill>
            </c:spPr>
            <c:extLst>
              <c:ext xmlns:c16="http://schemas.microsoft.com/office/drawing/2014/chart" uri="{C3380CC4-5D6E-409C-BE32-E72D297353CC}">
                <c16:uniqueId val="{000000C9-2993-41DE-A2CB-63102DE87051}"/>
              </c:ext>
            </c:extLst>
          </c:dPt>
          <c:dPt>
            <c:idx val="100"/>
            <c:invertIfNegative val="1"/>
            <c:bubble3D val="0"/>
            <c:spPr>
              <a:solidFill>
                <a:srgbClr val="AEABAB"/>
              </a:solidFill>
            </c:spPr>
            <c:extLst>
              <c:ext xmlns:c16="http://schemas.microsoft.com/office/drawing/2014/chart" uri="{C3380CC4-5D6E-409C-BE32-E72D297353CC}">
                <c16:uniqueId val="{000000CB-2993-41DE-A2CB-63102DE87051}"/>
              </c:ext>
            </c:extLst>
          </c:dPt>
          <c:dPt>
            <c:idx val="101"/>
            <c:invertIfNegative val="1"/>
            <c:bubble3D val="0"/>
            <c:spPr>
              <a:solidFill>
                <a:srgbClr val="AEABAB"/>
              </a:solidFill>
            </c:spPr>
            <c:extLst>
              <c:ext xmlns:c16="http://schemas.microsoft.com/office/drawing/2014/chart" uri="{C3380CC4-5D6E-409C-BE32-E72D297353CC}">
                <c16:uniqueId val="{000000CD-2993-41DE-A2CB-63102DE87051}"/>
              </c:ext>
            </c:extLst>
          </c:dPt>
          <c:dPt>
            <c:idx val="102"/>
            <c:invertIfNegative val="1"/>
            <c:bubble3D val="0"/>
            <c:spPr>
              <a:solidFill>
                <a:srgbClr val="AEABAB"/>
              </a:solidFill>
            </c:spPr>
            <c:extLst>
              <c:ext xmlns:c16="http://schemas.microsoft.com/office/drawing/2014/chart" uri="{C3380CC4-5D6E-409C-BE32-E72D297353CC}">
                <c16:uniqueId val="{000000CF-2993-41DE-A2CB-63102DE87051}"/>
              </c:ext>
            </c:extLst>
          </c:dPt>
          <c:dPt>
            <c:idx val="103"/>
            <c:invertIfNegative val="1"/>
            <c:bubble3D val="0"/>
            <c:spPr>
              <a:solidFill>
                <a:srgbClr val="AEABAB"/>
              </a:solidFill>
            </c:spPr>
            <c:extLst>
              <c:ext xmlns:c16="http://schemas.microsoft.com/office/drawing/2014/chart" uri="{C3380CC4-5D6E-409C-BE32-E72D297353CC}">
                <c16:uniqueId val="{000000D1-2993-41DE-A2CB-63102DE87051}"/>
              </c:ext>
            </c:extLst>
          </c:dPt>
          <c:dPt>
            <c:idx val="104"/>
            <c:invertIfNegative val="1"/>
            <c:bubble3D val="0"/>
            <c:spPr>
              <a:solidFill>
                <a:srgbClr val="AEABAB"/>
              </a:solidFill>
            </c:spPr>
            <c:extLst>
              <c:ext xmlns:c16="http://schemas.microsoft.com/office/drawing/2014/chart" uri="{C3380CC4-5D6E-409C-BE32-E72D297353CC}">
                <c16:uniqueId val="{000000D3-2993-41DE-A2CB-63102DE87051}"/>
              </c:ext>
            </c:extLst>
          </c:dPt>
          <c:dPt>
            <c:idx val="105"/>
            <c:invertIfNegative val="1"/>
            <c:bubble3D val="0"/>
            <c:spPr>
              <a:solidFill>
                <a:srgbClr val="AEABAB"/>
              </a:solidFill>
            </c:spPr>
            <c:extLst>
              <c:ext xmlns:c16="http://schemas.microsoft.com/office/drawing/2014/chart" uri="{C3380CC4-5D6E-409C-BE32-E72D297353CC}">
                <c16:uniqueId val="{000000D5-2993-41DE-A2CB-63102DE87051}"/>
              </c:ext>
            </c:extLst>
          </c:dPt>
          <c:dPt>
            <c:idx val="106"/>
            <c:invertIfNegative val="1"/>
            <c:bubble3D val="0"/>
            <c:spPr>
              <a:solidFill>
                <a:srgbClr val="AEABAB"/>
              </a:solidFill>
            </c:spPr>
            <c:extLst>
              <c:ext xmlns:c16="http://schemas.microsoft.com/office/drawing/2014/chart" uri="{C3380CC4-5D6E-409C-BE32-E72D297353CC}">
                <c16:uniqueId val="{000000D7-2993-41DE-A2CB-63102DE87051}"/>
              </c:ext>
            </c:extLst>
          </c:dPt>
          <c:dPt>
            <c:idx val="107"/>
            <c:invertIfNegative val="1"/>
            <c:bubble3D val="0"/>
            <c:spPr>
              <a:solidFill>
                <a:srgbClr val="AEABAB"/>
              </a:solidFill>
            </c:spPr>
            <c:extLst>
              <c:ext xmlns:c16="http://schemas.microsoft.com/office/drawing/2014/chart" uri="{C3380CC4-5D6E-409C-BE32-E72D297353CC}">
                <c16:uniqueId val="{000000D9-2993-41DE-A2CB-63102DE87051}"/>
              </c:ext>
            </c:extLst>
          </c:dPt>
          <c:dPt>
            <c:idx val="108"/>
            <c:invertIfNegative val="1"/>
            <c:bubble3D val="0"/>
            <c:spPr>
              <a:solidFill>
                <a:srgbClr val="AEABAB"/>
              </a:solidFill>
            </c:spPr>
            <c:extLst>
              <c:ext xmlns:c16="http://schemas.microsoft.com/office/drawing/2014/chart" uri="{C3380CC4-5D6E-409C-BE32-E72D297353CC}">
                <c16:uniqueId val="{000000DB-2993-41DE-A2CB-63102DE87051}"/>
              </c:ext>
            </c:extLst>
          </c:dPt>
          <c:dPt>
            <c:idx val="109"/>
            <c:invertIfNegative val="1"/>
            <c:bubble3D val="0"/>
            <c:spPr>
              <a:solidFill>
                <a:srgbClr val="AEABAB"/>
              </a:solidFill>
            </c:spPr>
            <c:extLst>
              <c:ext xmlns:c16="http://schemas.microsoft.com/office/drawing/2014/chart" uri="{C3380CC4-5D6E-409C-BE32-E72D297353CC}">
                <c16:uniqueId val="{000000DD-2993-41DE-A2CB-63102DE87051}"/>
              </c:ext>
            </c:extLst>
          </c:dPt>
          <c:dPt>
            <c:idx val="110"/>
            <c:invertIfNegative val="1"/>
            <c:bubble3D val="0"/>
            <c:spPr>
              <a:solidFill>
                <a:srgbClr val="AEABAB"/>
              </a:solidFill>
            </c:spPr>
            <c:extLst>
              <c:ext xmlns:c16="http://schemas.microsoft.com/office/drawing/2014/chart" uri="{C3380CC4-5D6E-409C-BE32-E72D297353CC}">
                <c16:uniqueId val="{000000DF-2993-41DE-A2CB-63102DE87051}"/>
              </c:ext>
            </c:extLst>
          </c:dPt>
          <c:dPt>
            <c:idx val="111"/>
            <c:invertIfNegative val="1"/>
            <c:bubble3D val="0"/>
            <c:spPr>
              <a:solidFill>
                <a:srgbClr val="AEABAB"/>
              </a:solidFill>
            </c:spPr>
            <c:extLst>
              <c:ext xmlns:c16="http://schemas.microsoft.com/office/drawing/2014/chart" uri="{C3380CC4-5D6E-409C-BE32-E72D297353CC}">
                <c16:uniqueId val="{000000E1-2993-41DE-A2CB-63102DE87051}"/>
              </c:ext>
            </c:extLst>
          </c:dPt>
          <c:dPt>
            <c:idx val="112"/>
            <c:invertIfNegative val="1"/>
            <c:bubble3D val="0"/>
            <c:spPr>
              <a:solidFill>
                <a:srgbClr val="AEABAB"/>
              </a:solidFill>
            </c:spPr>
            <c:extLst>
              <c:ext xmlns:c16="http://schemas.microsoft.com/office/drawing/2014/chart" uri="{C3380CC4-5D6E-409C-BE32-E72D297353CC}">
                <c16:uniqueId val="{000000E3-2993-41DE-A2CB-63102DE87051}"/>
              </c:ext>
            </c:extLst>
          </c:dPt>
          <c:dPt>
            <c:idx val="113"/>
            <c:invertIfNegative val="1"/>
            <c:bubble3D val="0"/>
            <c:spPr>
              <a:solidFill>
                <a:srgbClr val="AEABAB"/>
              </a:solidFill>
            </c:spPr>
            <c:extLst>
              <c:ext xmlns:c16="http://schemas.microsoft.com/office/drawing/2014/chart" uri="{C3380CC4-5D6E-409C-BE32-E72D297353CC}">
                <c16:uniqueId val="{000000E5-2993-41DE-A2CB-63102DE87051}"/>
              </c:ext>
            </c:extLst>
          </c:dPt>
          <c:dPt>
            <c:idx val="114"/>
            <c:invertIfNegative val="1"/>
            <c:bubble3D val="0"/>
            <c:spPr>
              <a:solidFill>
                <a:srgbClr val="AEABAB"/>
              </a:solidFill>
            </c:spPr>
            <c:extLst>
              <c:ext xmlns:c16="http://schemas.microsoft.com/office/drawing/2014/chart" uri="{C3380CC4-5D6E-409C-BE32-E72D297353CC}">
                <c16:uniqueId val="{000000E7-2993-41DE-A2CB-63102DE87051}"/>
              </c:ext>
            </c:extLst>
          </c:dPt>
          <c:dPt>
            <c:idx val="115"/>
            <c:invertIfNegative val="1"/>
            <c:bubble3D val="0"/>
            <c:spPr>
              <a:solidFill>
                <a:srgbClr val="AEABAB"/>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117</c:f>
              <c:strCache>
                <c:ptCount val="116"/>
                <c:pt idx="0">
                  <c:v>Ruinart</c:v>
                </c:pt>
                <c:pt idx="1">
                  <c:v>Nicolas</c:v>
                </c:pt>
                <c:pt idx="2">
                  <c:v>Deutz</c:v>
                </c:pt>
                <c:pt idx="3">
                  <c:v>Ruinart</c:v>
                </c:pt>
                <c:pt idx="4">
                  <c:v>Heidsieck &amp;</c:v>
                </c:pt>
                <c:pt idx="5">
                  <c:v>De Bligny</c:v>
                </c:pt>
                <c:pt idx="6">
                  <c:v>Laurent Per</c:v>
                </c:pt>
                <c:pt idx="7">
                  <c:v>Taittinger</c:v>
                </c:pt>
                <c:pt idx="8">
                  <c:v>Canard Duch</c:v>
                </c:pt>
                <c:pt idx="9">
                  <c:v>Ruinart</c:v>
                </c:pt>
                <c:pt idx="10">
                  <c:v>Ayala</c:v>
                </c:pt>
                <c:pt idx="11">
                  <c:v>Bollinger</c:v>
                </c:pt>
                <c:pt idx="12">
                  <c:v>Deutz</c:v>
                </c:pt>
                <c:pt idx="13">
                  <c:v>Demoiselle</c:v>
                </c:pt>
                <c:pt idx="14">
                  <c:v>Besserat De</c:v>
                </c:pt>
                <c:pt idx="15">
                  <c:v>Savian</c:v>
                </c:pt>
                <c:pt idx="16">
                  <c:v>Taittinger</c:v>
                </c:pt>
                <c:pt idx="17">
                  <c:v>Laurent Per</c:v>
                </c:pt>
                <c:pt idx="18">
                  <c:v>Perrier Jou</c:v>
                </c:pt>
                <c:pt idx="19">
                  <c:v>Campari: Al</c:v>
                </c:pt>
                <c:pt idx="20">
                  <c:v>Roederer</c:v>
                </c:pt>
                <c:pt idx="21">
                  <c:v>Moët &amp; Chan</c:v>
                </c:pt>
                <c:pt idx="22">
                  <c:v>All Others</c:v>
                </c:pt>
                <c:pt idx="23">
                  <c:v>Pommery</c:v>
                </c:pt>
                <c:pt idx="24">
                  <c:v>Roederer</c:v>
                </c:pt>
                <c:pt idx="25">
                  <c:v>Veuve Clicq</c:v>
                </c:pt>
                <c:pt idx="26">
                  <c:v>Veuve Clicq</c:v>
                </c:pt>
                <c:pt idx="27">
                  <c:v>Ruinart</c:v>
                </c:pt>
                <c:pt idx="28">
                  <c:v>Veuve Clicq</c:v>
                </c:pt>
                <c:pt idx="29">
                  <c:v>All Others</c:v>
                </c:pt>
                <c:pt idx="30">
                  <c:v>De Venoge</c:v>
                </c:pt>
                <c:pt idx="31">
                  <c:v>Nicolas Feu</c:v>
                </c:pt>
                <c:pt idx="32">
                  <c:v>Henriot</c:v>
                </c:pt>
                <c:pt idx="33">
                  <c:v>Nicolas</c:v>
                </c:pt>
                <c:pt idx="34">
                  <c:v>Vranken</c:v>
                </c:pt>
                <c:pt idx="35">
                  <c:v>Lanson</c:v>
                </c:pt>
                <c:pt idx="36">
                  <c:v>Canard Duch</c:v>
                </c:pt>
                <c:pt idx="37">
                  <c:v>Roederer</c:v>
                </c:pt>
                <c:pt idx="38">
                  <c:v>Campari: Al</c:v>
                </c:pt>
                <c:pt idx="39">
                  <c:v>Krug</c:v>
                </c:pt>
                <c:pt idx="40">
                  <c:v>Deutz</c:v>
                </c:pt>
                <c:pt idx="41">
                  <c:v>Bollinger</c:v>
                </c:pt>
                <c:pt idx="42">
                  <c:v>Piper Heids</c:v>
                </c:pt>
                <c:pt idx="43">
                  <c:v>Canard Duch</c:v>
                </c:pt>
                <c:pt idx="44">
                  <c:v>Roederer</c:v>
                </c:pt>
                <c:pt idx="45">
                  <c:v>Canard Duch</c:v>
                </c:pt>
                <c:pt idx="46">
                  <c:v>Veuve Clicq</c:v>
                </c:pt>
                <c:pt idx="47">
                  <c:v>De Venoge</c:v>
                </c:pt>
                <c:pt idx="48">
                  <c:v>Canard Duch</c:v>
                </c:pt>
                <c:pt idx="49">
                  <c:v>All Others</c:v>
                </c:pt>
                <c:pt idx="50">
                  <c:v>Roederer</c:v>
                </c:pt>
                <c:pt idx="51">
                  <c:v>Ruinart</c:v>
                </c:pt>
                <c:pt idx="52">
                  <c:v>Nicolas</c:v>
                </c:pt>
                <c:pt idx="53">
                  <c:v>Henriot</c:v>
                </c:pt>
                <c:pt idx="54">
                  <c:v>Ruinart</c:v>
                </c:pt>
                <c:pt idx="55">
                  <c:v>All Others</c:v>
                </c:pt>
                <c:pt idx="56">
                  <c:v>Canard Duch</c:v>
                </c:pt>
                <c:pt idx="57">
                  <c:v>De Venoge</c:v>
                </c:pt>
                <c:pt idx="58">
                  <c:v>Nicolas Feu</c:v>
                </c:pt>
                <c:pt idx="59">
                  <c:v>Ruinart</c:v>
                </c:pt>
                <c:pt idx="60">
                  <c:v>Ruinart</c:v>
                </c:pt>
                <c:pt idx="61">
                  <c:v>Moët &amp; Chan</c:v>
                </c:pt>
                <c:pt idx="62">
                  <c:v>Nicolas</c:v>
                </c:pt>
                <c:pt idx="63">
                  <c:v>Demoiselle</c:v>
                </c:pt>
                <c:pt idx="64">
                  <c:v>All Others</c:v>
                </c:pt>
                <c:pt idx="65">
                  <c:v>Ruinart</c:v>
                </c:pt>
                <c:pt idx="66">
                  <c:v>Pommery</c:v>
                </c:pt>
                <c:pt idx="67">
                  <c:v>Nicolas</c:v>
                </c:pt>
                <c:pt idx="68">
                  <c:v>Laurent Per</c:v>
                </c:pt>
                <c:pt idx="69">
                  <c:v>Malard</c:v>
                </c:pt>
                <c:pt idx="70">
                  <c:v>Nicolas</c:v>
                </c:pt>
                <c:pt idx="71">
                  <c:v>Roederer</c:v>
                </c:pt>
                <c:pt idx="72">
                  <c:v>Roederer</c:v>
                </c:pt>
                <c:pt idx="73">
                  <c:v>Deutz</c:v>
                </c:pt>
                <c:pt idx="74">
                  <c:v>Pommery</c:v>
                </c:pt>
                <c:pt idx="75">
                  <c:v>Lanson</c:v>
                </c:pt>
                <c:pt idx="76">
                  <c:v>Moët &amp; Chan</c:v>
                </c:pt>
                <c:pt idx="77">
                  <c:v>Pommery</c:v>
                </c:pt>
                <c:pt idx="78">
                  <c:v>Laurent Per</c:v>
                </c:pt>
                <c:pt idx="79">
                  <c:v>Vranken</c:v>
                </c:pt>
                <c:pt idx="80">
                  <c:v>Roederer</c:v>
                </c:pt>
                <c:pt idx="81">
                  <c:v>All Others</c:v>
                </c:pt>
                <c:pt idx="82">
                  <c:v>Deutz</c:v>
                </c:pt>
                <c:pt idx="83">
                  <c:v>Roederer</c:v>
                </c:pt>
                <c:pt idx="84">
                  <c:v>Laurent Per</c:v>
                </c:pt>
                <c:pt idx="85">
                  <c:v>Moët &amp; Chan</c:v>
                </c:pt>
                <c:pt idx="86">
                  <c:v>Henriot</c:v>
                </c:pt>
                <c:pt idx="87">
                  <c:v>Veuve Clicq</c:v>
                </c:pt>
                <c:pt idx="88">
                  <c:v>All Others</c:v>
                </c:pt>
                <c:pt idx="89">
                  <c:v>Canard Duch</c:v>
                </c:pt>
                <c:pt idx="90">
                  <c:v>Roederer</c:v>
                </c:pt>
                <c:pt idx="91">
                  <c:v>Moët &amp; Chan</c:v>
                </c:pt>
                <c:pt idx="92">
                  <c:v>Laurent Per</c:v>
                </c:pt>
                <c:pt idx="93">
                  <c:v>Nicolas</c:v>
                </c:pt>
                <c:pt idx="94">
                  <c:v>Laurent Per</c:v>
                </c:pt>
                <c:pt idx="95">
                  <c:v>Laurent Per</c:v>
                </c:pt>
                <c:pt idx="96">
                  <c:v>Laurent Per</c:v>
                </c:pt>
                <c:pt idx="97">
                  <c:v>De Venoge</c:v>
                </c:pt>
                <c:pt idx="98">
                  <c:v>Moët &amp; Chan</c:v>
                </c:pt>
                <c:pt idx="99">
                  <c:v>Besserat De</c:v>
                </c:pt>
                <c:pt idx="100">
                  <c:v>Canard Duch</c:v>
                </c:pt>
                <c:pt idx="101">
                  <c:v>All Others</c:v>
                </c:pt>
                <c:pt idx="102">
                  <c:v>All Others</c:v>
                </c:pt>
                <c:pt idx="103">
                  <c:v>All Others</c:v>
                </c:pt>
                <c:pt idx="104">
                  <c:v>Piper Heids</c:v>
                </c:pt>
                <c:pt idx="105">
                  <c:v>Roederer</c:v>
                </c:pt>
                <c:pt idx="106">
                  <c:v>Martel</c:v>
                </c:pt>
                <c:pt idx="107">
                  <c:v>Besserat De</c:v>
                </c:pt>
                <c:pt idx="108">
                  <c:v>Ruinart</c:v>
                </c:pt>
                <c:pt idx="109">
                  <c:v>Moët &amp; Chan</c:v>
                </c:pt>
                <c:pt idx="110">
                  <c:v>Bollinger</c:v>
                </c:pt>
                <c:pt idx="111">
                  <c:v>Nicolas</c:v>
                </c:pt>
                <c:pt idx="112">
                  <c:v>Lanson</c:v>
                </c:pt>
                <c:pt idx="113">
                  <c:v>Roederer</c:v>
                </c:pt>
                <c:pt idx="114">
                  <c:v>Nicolas</c:v>
                </c:pt>
                <c:pt idx="115">
                  <c:v>Veuve Clicq</c:v>
                </c:pt>
              </c:strCache>
            </c:strRef>
          </c:cat>
          <c:val>
            <c:numRef>
              <c:f>Sheet1!$C$2:$C$117</c:f>
              <c:numCache>
                <c:formatCode>General</c:formatCode>
                <c:ptCount val="116"/>
                <c:pt idx="0">
                  <c:v>0.17697176191948952</c:v>
                </c:pt>
                <c:pt idx="1">
                  <c:v>0.26571529145573225</c:v>
                </c:pt>
                <c:pt idx="2">
                  <c:v>0.33685834567740464</c:v>
                </c:pt>
                <c:pt idx="3">
                  <c:v>0.40169727589406345</c:v>
                </c:pt>
                <c:pt idx="4">
                  <c:v>0.44413629482525679</c:v>
                </c:pt>
                <c:pt idx="5">
                  <c:v>0.48204904123191117</c:v>
                </c:pt>
                <c:pt idx="6">
                  <c:v>0.51300705646802203</c:v>
                </c:pt>
                <c:pt idx="7">
                  <c:v>0.54355303745543926</c:v>
                </c:pt>
                <c:pt idx="8">
                  <c:v>0.573974390799733</c:v>
                </c:pt>
                <c:pt idx="9">
                  <c:v>0.60095907329936671</c:v>
                </c:pt>
                <c:pt idx="10">
                  <c:v>0.6258866366610778</c:v>
                </c:pt>
                <c:pt idx="11">
                  <c:v>0.65067889001025492</c:v>
                </c:pt>
                <c:pt idx="12">
                  <c:v>0.67101456057819076</c:v>
                </c:pt>
                <c:pt idx="13">
                  <c:v>0.691153879022675</c:v>
                </c:pt>
                <c:pt idx="14">
                  <c:v>0.70998740497778057</c:v>
                </c:pt>
                <c:pt idx="15">
                  <c:v>0.72672922126544359</c:v>
                </c:pt>
                <c:pt idx="16">
                  <c:v>0.74333165806651147</c:v>
                </c:pt>
                <c:pt idx="17">
                  <c:v>0.75837192551234678</c:v>
                </c:pt>
                <c:pt idx="18">
                  <c:v>0.77316446372470826</c:v>
                </c:pt>
                <c:pt idx="19">
                  <c:v>0.78782118324027806</c:v>
                </c:pt>
                <c:pt idx="20">
                  <c:v>0.80236192274510443</c:v>
                </c:pt>
                <c:pt idx="21">
                  <c:v>0.81417407989191481</c:v>
                </c:pt>
                <c:pt idx="22">
                  <c:v>0.82463415428190068</c:v>
                </c:pt>
                <c:pt idx="23">
                  <c:v>0.83438970097504606</c:v>
                </c:pt>
                <c:pt idx="24">
                  <c:v>0.8433618739114157</c:v>
                </c:pt>
                <c:pt idx="25">
                  <c:v>0.85109336594338547</c:v>
                </c:pt>
                <c:pt idx="26">
                  <c:v>0.85866614848696954</c:v>
                </c:pt>
                <c:pt idx="27">
                  <c:v>0.86551049517360379</c:v>
                </c:pt>
                <c:pt idx="28">
                  <c:v>0.87225412237722399</c:v>
                </c:pt>
                <c:pt idx="29">
                  <c:v>0.87837766347077306</c:v>
                </c:pt>
                <c:pt idx="30">
                  <c:v>0.88439132876467053</c:v>
                </c:pt>
                <c:pt idx="31">
                  <c:v>0.890318517734768</c:v>
                </c:pt>
                <c:pt idx="32">
                  <c:v>0.89604782852864095</c:v>
                </c:pt>
                <c:pt idx="33">
                  <c:v>0.90125573795842628</c:v>
                </c:pt>
                <c:pt idx="34">
                  <c:v>0.90634410658766462</c:v>
                </c:pt>
                <c:pt idx="35">
                  <c:v>0.91134955968290654</c:v>
                </c:pt>
                <c:pt idx="36">
                  <c:v>0.91616985170836518</c:v>
                </c:pt>
                <c:pt idx="37">
                  <c:v>0.92070375449676878</c:v>
                </c:pt>
                <c:pt idx="38">
                  <c:v>0.92454432064200021</c:v>
                </c:pt>
                <c:pt idx="39">
                  <c:v>0.92838081731317046</c:v>
                </c:pt>
                <c:pt idx="40">
                  <c:v>0.93202248791366205</c:v>
                </c:pt>
                <c:pt idx="41">
                  <c:v>0.93559446877085606</c:v>
                </c:pt>
                <c:pt idx="42">
                  <c:v>0.9388449611772175</c:v>
                </c:pt>
                <c:pt idx="43">
                  <c:v>0.94209036674100244</c:v>
                </c:pt>
                <c:pt idx="44">
                  <c:v>0.94530474256507091</c:v>
                </c:pt>
                <c:pt idx="45">
                  <c:v>0.94840212100988075</c:v>
                </c:pt>
                <c:pt idx="46">
                  <c:v>0.9514348965539694</c:v>
                </c:pt>
                <c:pt idx="47">
                  <c:v>0.95424792049875473</c:v>
                </c:pt>
                <c:pt idx="48">
                  <c:v>0.95700651522797198</c:v>
                </c:pt>
                <c:pt idx="49">
                  <c:v>0.95965828626308336</c:v>
                </c:pt>
                <c:pt idx="50">
                  <c:v>0.96188734068009052</c:v>
                </c:pt>
                <c:pt idx="51">
                  <c:v>0.96399380219100483</c:v>
                </c:pt>
                <c:pt idx="52">
                  <c:v>0.96608398580567445</c:v>
                </c:pt>
                <c:pt idx="53">
                  <c:v>0.96804292888187127</c:v>
                </c:pt>
                <c:pt idx="54">
                  <c:v>0.96976991193658124</c:v>
                </c:pt>
                <c:pt idx="55">
                  <c:v>0.97148468656910769</c:v>
                </c:pt>
                <c:pt idx="56">
                  <c:v>0.97310637198248484</c:v>
                </c:pt>
                <c:pt idx="57">
                  <c:v>0.97469194081356914</c:v>
                </c:pt>
                <c:pt idx="58">
                  <c:v>0.97619103332085344</c:v>
                </c:pt>
                <c:pt idx="59">
                  <c:v>0.97760212345156494</c:v>
                </c:pt>
                <c:pt idx="60">
                  <c:v>0.97888553383360721</c:v>
                </c:pt>
                <c:pt idx="61">
                  <c:v>0.98010128920938244</c:v>
                </c:pt>
                <c:pt idx="62">
                  <c:v>0.98130890563703532</c:v>
                </c:pt>
                <c:pt idx="63">
                  <c:v>0.98251346995914235</c:v>
                </c:pt>
                <c:pt idx="64">
                  <c:v>0.98366767453974235</c:v>
                </c:pt>
                <c:pt idx="65">
                  <c:v>0.98476592385200123</c:v>
                </c:pt>
                <c:pt idx="66">
                  <c:v>0.98578939657838605</c:v>
                </c:pt>
                <c:pt idx="67">
                  <c:v>0.98679252193446498</c:v>
                </c:pt>
                <c:pt idx="68">
                  <c:v>0.98778038676281454</c:v>
                </c:pt>
                <c:pt idx="69">
                  <c:v>0.98859224683801838</c:v>
                </c:pt>
                <c:pt idx="70">
                  <c:v>0.98934001269675875</c:v>
                </c:pt>
                <c:pt idx="71">
                  <c:v>0.99005624013152504</c:v>
                </c:pt>
                <c:pt idx="72">
                  <c:v>0.99076890677648788</c:v>
                </c:pt>
                <c:pt idx="73">
                  <c:v>0.99139967525596961</c:v>
                </c:pt>
                <c:pt idx="74">
                  <c:v>0.99199687057444663</c:v>
                </c:pt>
                <c:pt idx="75">
                  <c:v>0.99258185747074013</c:v>
                </c:pt>
                <c:pt idx="76">
                  <c:v>0.99315717936613834</c:v>
                </c:pt>
                <c:pt idx="77">
                  <c:v>0.99361245177673196</c:v>
                </c:pt>
                <c:pt idx="78">
                  <c:v>0.99405958523920324</c:v>
                </c:pt>
                <c:pt idx="79">
                  <c:v>0.99450214054335573</c:v>
                </c:pt>
                <c:pt idx="80">
                  <c:v>0.99490807058095765</c:v>
                </c:pt>
                <c:pt idx="81">
                  <c:v>0.99525397587615727</c:v>
                </c:pt>
                <c:pt idx="82">
                  <c:v>0.99556936011589814</c:v>
                </c:pt>
                <c:pt idx="83">
                  <c:v>0.99587609672325905</c:v>
                </c:pt>
                <c:pt idx="84">
                  <c:v>0.99614824280109993</c:v>
                </c:pt>
                <c:pt idx="85">
                  <c:v>0.99641631940487962</c:v>
                </c:pt>
                <c:pt idx="86">
                  <c:v>0.99667269627073352</c:v>
                </c:pt>
                <c:pt idx="87">
                  <c:v>0.99689651734409801</c:v>
                </c:pt>
                <c:pt idx="88">
                  <c:v>0.99711118210082483</c:v>
                </c:pt>
                <c:pt idx="89">
                  <c:v>0.99732482948903634</c:v>
                </c:pt>
                <c:pt idx="90">
                  <c:v>0.99752881187635256</c:v>
                </c:pt>
                <c:pt idx="91">
                  <c:v>0.99773177689515358</c:v>
                </c:pt>
                <c:pt idx="92">
                  <c:v>0.99793423322969688</c:v>
                </c:pt>
                <c:pt idx="93">
                  <c:v>0.99812346377354144</c:v>
                </c:pt>
                <c:pt idx="94">
                  <c:v>0.99830964221184004</c:v>
                </c:pt>
                <c:pt idx="95">
                  <c:v>0.99846224748913404</c:v>
                </c:pt>
                <c:pt idx="96">
                  <c:v>0.99861485276642803</c:v>
                </c:pt>
                <c:pt idx="97">
                  <c:v>0.99875219751599265</c:v>
                </c:pt>
                <c:pt idx="98">
                  <c:v>0.99888598147575369</c:v>
                </c:pt>
                <c:pt idx="99">
                  <c:v>0.99901315254016532</c:v>
                </c:pt>
                <c:pt idx="100">
                  <c:v>0.99913269334071231</c:v>
                </c:pt>
                <c:pt idx="101">
                  <c:v>0.9992471472986828</c:v>
                </c:pt>
                <c:pt idx="102">
                  <c:v>0.9993341323067404</c:v>
                </c:pt>
                <c:pt idx="103">
                  <c:v>0.99942111731479799</c:v>
                </c:pt>
                <c:pt idx="104">
                  <c:v>0.99950047205899084</c:v>
                </c:pt>
                <c:pt idx="105">
                  <c:v>0.99956507495971192</c:v>
                </c:pt>
                <c:pt idx="106">
                  <c:v>0.99962815180766007</c:v>
                </c:pt>
                <c:pt idx="107">
                  <c:v>0.99968919391857769</c:v>
                </c:pt>
                <c:pt idx="108">
                  <c:v>0.99974514918691881</c:v>
                </c:pt>
                <c:pt idx="109">
                  <c:v>0.99979805234971408</c:v>
                </c:pt>
                <c:pt idx="110">
                  <c:v>0.99984688603844818</c:v>
                </c:pt>
                <c:pt idx="111">
                  <c:v>0.99989215893737871</c:v>
                </c:pt>
                <c:pt idx="112">
                  <c:v>0.99992878420392928</c:v>
                </c:pt>
                <c:pt idx="113">
                  <c:v>0.99996032262790335</c:v>
                </c:pt>
                <c:pt idx="114">
                  <c:v>0.99998372210375508</c:v>
                </c:pt>
                <c:pt idx="115">
                  <c:v>0.99999999999999978</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136</c:f>
              <c:strCache>
                <c:ptCount val="135"/>
                <c:pt idx="0">
                  <c:v>Ruinart</c:v>
                </c:pt>
                <c:pt idx="1">
                  <c:v>Nicolas</c:v>
                </c:pt>
                <c:pt idx="2">
                  <c:v>Deutz</c:v>
                </c:pt>
                <c:pt idx="3">
                  <c:v>Laurent Per</c:v>
                </c:pt>
                <c:pt idx="4">
                  <c:v>Heidsieck &amp;</c:v>
                </c:pt>
                <c:pt idx="5">
                  <c:v>Ayala</c:v>
                </c:pt>
                <c:pt idx="6">
                  <c:v>De Bligny</c:v>
                </c:pt>
                <c:pt idx="7">
                  <c:v>Taittinger</c:v>
                </c:pt>
                <c:pt idx="8">
                  <c:v>Canard Duch</c:v>
                </c:pt>
                <c:pt idx="9">
                  <c:v>Bollinger</c:v>
                </c:pt>
                <c:pt idx="10">
                  <c:v>Besserat De</c:v>
                </c:pt>
                <c:pt idx="11">
                  <c:v>Ruinart</c:v>
                </c:pt>
                <c:pt idx="12">
                  <c:v>Demoiselle</c:v>
                </c:pt>
                <c:pt idx="13">
                  <c:v>Perrier Jou</c:v>
                </c:pt>
                <c:pt idx="14">
                  <c:v>Ruinart</c:v>
                </c:pt>
                <c:pt idx="15">
                  <c:v>All Others</c:v>
                </c:pt>
                <c:pt idx="16">
                  <c:v>Deutz</c:v>
                </c:pt>
                <c:pt idx="17">
                  <c:v>Laurent Per</c:v>
                </c:pt>
                <c:pt idx="18">
                  <c:v>Campari: Al</c:v>
                </c:pt>
                <c:pt idx="19">
                  <c:v>Roederer</c:v>
                </c:pt>
                <c:pt idx="20">
                  <c:v>Pommery</c:v>
                </c:pt>
                <c:pt idx="21">
                  <c:v>All Others</c:v>
                </c:pt>
                <c:pt idx="22">
                  <c:v>Moët &amp; Chan</c:v>
                </c:pt>
                <c:pt idx="23">
                  <c:v>Veuve Clicq</c:v>
                </c:pt>
                <c:pt idx="24">
                  <c:v>Savian</c:v>
                </c:pt>
                <c:pt idx="25">
                  <c:v>Veuve Clicq</c:v>
                </c:pt>
                <c:pt idx="26">
                  <c:v>Taittinger</c:v>
                </c:pt>
                <c:pt idx="27">
                  <c:v>Henriot</c:v>
                </c:pt>
                <c:pt idx="28">
                  <c:v>Veuve Clicq</c:v>
                </c:pt>
                <c:pt idx="29">
                  <c:v>All Others</c:v>
                </c:pt>
                <c:pt idx="30">
                  <c:v>Roederer</c:v>
                </c:pt>
                <c:pt idx="31">
                  <c:v>De Venoge</c:v>
                </c:pt>
                <c:pt idx="32">
                  <c:v>Ruinart</c:v>
                </c:pt>
                <c:pt idx="33">
                  <c:v>Deutz</c:v>
                </c:pt>
                <c:pt idx="34">
                  <c:v>Piper Heids</c:v>
                </c:pt>
                <c:pt idx="35">
                  <c:v>Nicolas</c:v>
                </c:pt>
                <c:pt idx="36">
                  <c:v>Campari: Al</c:v>
                </c:pt>
                <c:pt idx="37">
                  <c:v>Lanson</c:v>
                </c:pt>
                <c:pt idx="38">
                  <c:v>Nicolas Feu</c:v>
                </c:pt>
                <c:pt idx="39">
                  <c:v>Canard Duch</c:v>
                </c:pt>
                <c:pt idx="40">
                  <c:v>Henriot</c:v>
                </c:pt>
                <c:pt idx="41">
                  <c:v>Krug</c:v>
                </c:pt>
                <c:pt idx="42">
                  <c:v>Bollinger</c:v>
                </c:pt>
                <c:pt idx="43">
                  <c:v>Roederer</c:v>
                </c:pt>
                <c:pt idx="44">
                  <c:v>De Venoge</c:v>
                </c:pt>
                <c:pt idx="45">
                  <c:v>Canard Duch</c:v>
                </c:pt>
                <c:pt idx="46">
                  <c:v>Nicolas</c:v>
                </c:pt>
                <c:pt idx="47">
                  <c:v>Roederer</c:v>
                </c:pt>
                <c:pt idx="48">
                  <c:v>De Venoge</c:v>
                </c:pt>
                <c:pt idx="49">
                  <c:v>Vranken</c:v>
                </c:pt>
                <c:pt idx="50">
                  <c:v>Moët &amp; Chan</c:v>
                </c:pt>
                <c:pt idx="51">
                  <c:v>Nicolas</c:v>
                </c:pt>
                <c:pt idx="52">
                  <c:v>Roederer</c:v>
                </c:pt>
                <c:pt idx="53">
                  <c:v>Canard Duch</c:v>
                </c:pt>
                <c:pt idx="54">
                  <c:v>Veuve Clicq</c:v>
                </c:pt>
                <c:pt idx="55">
                  <c:v>Canard Duch</c:v>
                </c:pt>
                <c:pt idx="56">
                  <c:v>Laurent Per</c:v>
                </c:pt>
                <c:pt idx="57">
                  <c:v>Nicolas</c:v>
                </c:pt>
                <c:pt idx="58">
                  <c:v>Nicolas Feu</c:v>
                </c:pt>
                <c:pt idx="59">
                  <c:v>All Others</c:v>
                </c:pt>
                <c:pt idx="60">
                  <c:v>All Others</c:v>
                </c:pt>
                <c:pt idx="61">
                  <c:v>Roederer</c:v>
                </c:pt>
                <c:pt idx="62">
                  <c:v>Demoiselle</c:v>
                </c:pt>
                <c:pt idx="63">
                  <c:v>Laurent Per</c:v>
                </c:pt>
                <c:pt idx="64">
                  <c:v>Pommery</c:v>
                </c:pt>
                <c:pt idx="65">
                  <c:v>Roederer</c:v>
                </c:pt>
                <c:pt idx="66">
                  <c:v>Ruinart</c:v>
                </c:pt>
                <c:pt idx="67">
                  <c:v>Moët &amp; Chan</c:v>
                </c:pt>
                <c:pt idx="68">
                  <c:v>Pommery</c:v>
                </c:pt>
                <c:pt idx="69">
                  <c:v>Nicolas</c:v>
                </c:pt>
                <c:pt idx="70">
                  <c:v>Ruinart</c:v>
                </c:pt>
                <c:pt idx="71">
                  <c:v>Ruinart</c:v>
                </c:pt>
                <c:pt idx="72">
                  <c:v>Roederer</c:v>
                </c:pt>
                <c:pt idx="73">
                  <c:v>Vranken</c:v>
                </c:pt>
                <c:pt idx="74">
                  <c:v>Deutz</c:v>
                </c:pt>
                <c:pt idx="75">
                  <c:v>Laurent Per</c:v>
                </c:pt>
                <c:pt idx="76">
                  <c:v>Pommery</c:v>
                </c:pt>
                <c:pt idx="77">
                  <c:v>Canard Duch</c:v>
                </c:pt>
                <c:pt idx="78">
                  <c:v>Moët &amp; Chan</c:v>
                </c:pt>
                <c:pt idx="79">
                  <c:v>Ruinart</c:v>
                </c:pt>
                <c:pt idx="80">
                  <c:v>Nicolas</c:v>
                </c:pt>
                <c:pt idx="81">
                  <c:v>Laurent Per</c:v>
                </c:pt>
                <c:pt idx="82">
                  <c:v>Roederer</c:v>
                </c:pt>
                <c:pt idx="83">
                  <c:v>Malard</c:v>
                </c:pt>
                <c:pt idx="84">
                  <c:v>Bollinger</c:v>
                </c:pt>
                <c:pt idx="85">
                  <c:v>Bollinger</c:v>
                </c:pt>
                <c:pt idx="86">
                  <c:v>All Others</c:v>
                </c:pt>
                <c:pt idx="87">
                  <c:v>Moët &amp; Chan</c:v>
                </c:pt>
                <c:pt idx="88">
                  <c:v>Henriot</c:v>
                </c:pt>
                <c:pt idx="89">
                  <c:v>Moët &amp; Chan</c:v>
                </c:pt>
                <c:pt idx="90">
                  <c:v>All Others</c:v>
                </c:pt>
                <c:pt idx="91">
                  <c:v>De Venoge</c:v>
                </c:pt>
                <c:pt idx="92">
                  <c:v>Deutz</c:v>
                </c:pt>
                <c:pt idx="93">
                  <c:v>Laurent Per</c:v>
                </c:pt>
                <c:pt idx="94">
                  <c:v>All Others</c:v>
                </c:pt>
                <c:pt idx="95">
                  <c:v>Nicolas Feu</c:v>
                </c:pt>
                <c:pt idx="96">
                  <c:v>All Others</c:v>
                </c:pt>
                <c:pt idx="97">
                  <c:v>All Others</c:v>
                </c:pt>
                <c:pt idx="98">
                  <c:v>Piper Heids</c:v>
                </c:pt>
                <c:pt idx="99">
                  <c:v>Bollinger</c:v>
                </c:pt>
                <c:pt idx="100">
                  <c:v>Ruinart</c:v>
                </c:pt>
                <c:pt idx="101">
                  <c:v>Canard Duch</c:v>
                </c:pt>
                <c:pt idx="102">
                  <c:v>Taittinger</c:v>
                </c:pt>
                <c:pt idx="103">
                  <c:v>Martel</c:v>
                </c:pt>
                <c:pt idx="104">
                  <c:v>Delamotte</c:v>
                </c:pt>
                <c:pt idx="105">
                  <c:v>Roederer</c:v>
                </c:pt>
                <c:pt idx="106">
                  <c:v>Lanson</c:v>
                </c:pt>
                <c:pt idx="107">
                  <c:v>De Venoge</c:v>
                </c:pt>
                <c:pt idx="108">
                  <c:v>Ayala</c:v>
                </c:pt>
                <c:pt idx="109">
                  <c:v>Besserat De</c:v>
                </c:pt>
                <c:pt idx="110">
                  <c:v>Canard Duch</c:v>
                </c:pt>
                <c:pt idx="111">
                  <c:v>Demoiselle</c:v>
                </c:pt>
                <c:pt idx="112">
                  <c:v>Roederer</c:v>
                </c:pt>
                <c:pt idx="113">
                  <c:v>Heidsieck &amp;</c:v>
                </c:pt>
                <c:pt idx="114">
                  <c:v>Roederer</c:v>
                </c:pt>
                <c:pt idx="115">
                  <c:v>Taittinger</c:v>
                </c:pt>
                <c:pt idx="116">
                  <c:v>Laurent Per</c:v>
                </c:pt>
                <c:pt idx="117">
                  <c:v>Laurent Per</c:v>
                </c:pt>
                <c:pt idx="118">
                  <c:v>Laurent Per</c:v>
                </c:pt>
                <c:pt idx="119">
                  <c:v>Heidsieck &amp;</c:v>
                </c:pt>
                <c:pt idx="120">
                  <c:v>Taittinger</c:v>
                </c:pt>
                <c:pt idx="121">
                  <c:v>Nicolas Feu</c:v>
                </c:pt>
                <c:pt idx="122">
                  <c:v>Nicolas Feu</c:v>
                </c:pt>
                <c:pt idx="123">
                  <c:v>Veuve Clicq</c:v>
                </c:pt>
                <c:pt idx="124">
                  <c:v>Laurent Per</c:v>
                </c:pt>
                <c:pt idx="125">
                  <c:v>Nicolas</c:v>
                </c:pt>
                <c:pt idx="126">
                  <c:v>All Others</c:v>
                </c:pt>
                <c:pt idx="127">
                  <c:v>Demoiselle</c:v>
                </c:pt>
                <c:pt idx="128">
                  <c:v>Roederer</c:v>
                </c:pt>
                <c:pt idx="129">
                  <c:v>Taittinger</c:v>
                </c:pt>
                <c:pt idx="130">
                  <c:v>All Others</c:v>
                </c:pt>
                <c:pt idx="131">
                  <c:v>Moët &amp; Chan</c:v>
                </c:pt>
                <c:pt idx="132">
                  <c:v>Besserat De</c:v>
                </c:pt>
                <c:pt idx="133">
                  <c:v>Moët &amp; Chan</c:v>
                </c:pt>
                <c:pt idx="134">
                  <c:v>Roederer</c:v>
                </c:pt>
              </c:strCache>
            </c:strRef>
          </c:cat>
          <c:val>
            <c:numRef>
              <c:f>Sheet1!$B$2:$B$136</c:f>
              <c:numCache>
                <c:formatCode>General</c:formatCode>
                <c:ptCount val="135"/>
                <c:pt idx="0">
                  <c:v>1</c:v>
                </c:pt>
                <c:pt idx="1">
                  <c:v>0.99</c:v>
                </c:pt>
                <c:pt idx="2">
                  <c:v>0.99</c:v>
                </c:pt>
                <c:pt idx="3">
                  <c:v>0.98</c:v>
                </c:pt>
                <c:pt idx="4">
                  <c:v>0.94</c:v>
                </c:pt>
                <c:pt idx="5">
                  <c:v>0.95</c:v>
                </c:pt>
                <c:pt idx="6">
                  <c:v>0.93</c:v>
                </c:pt>
                <c:pt idx="7">
                  <c:v>0.88</c:v>
                </c:pt>
                <c:pt idx="8">
                  <c:v>0.95</c:v>
                </c:pt>
                <c:pt idx="9">
                  <c:v>0.86</c:v>
                </c:pt>
                <c:pt idx="10">
                  <c:v>0.83</c:v>
                </c:pt>
                <c:pt idx="11">
                  <c:v>0.66</c:v>
                </c:pt>
                <c:pt idx="12">
                  <c:v>0.89</c:v>
                </c:pt>
                <c:pt idx="13">
                  <c:v>0.83</c:v>
                </c:pt>
                <c:pt idx="14">
                  <c:v>0.51</c:v>
                </c:pt>
                <c:pt idx="15">
                  <c:v>0.81</c:v>
                </c:pt>
                <c:pt idx="16">
                  <c:v>0.68</c:v>
                </c:pt>
                <c:pt idx="17">
                  <c:v>0.72</c:v>
                </c:pt>
                <c:pt idx="18">
                  <c:v>0.65</c:v>
                </c:pt>
                <c:pt idx="19">
                  <c:v>0.59</c:v>
                </c:pt>
                <c:pt idx="20">
                  <c:v>0.68</c:v>
                </c:pt>
                <c:pt idx="21">
                  <c:v>0.66</c:v>
                </c:pt>
                <c:pt idx="22">
                  <c:v>0.72</c:v>
                </c:pt>
                <c:pt idx="23">
                  <c:v>0.62</c:v>
                </c:pt>
                <c:pt idx="24">
                  <c:v>0.67</c:v>
                </c:pt>
                <c:pt idx="25">
                  <c:v>0.52</c:v>
                </c:pt>
                <c:pt idx="26">
                  <c:v>0.49</c:v>
                </c:pt>
                <c:pt idx="27">
                  <c:v>0.56000000000000005</c:v>
                </c:pt>
                <c:pt idx="28">
                  <c:v>0.56000000000000005</c:v>
                </c:pt>
                <c:pt idx="29">
                  <c:v>0.4</c:v>
                </c:pt>
                <c:pt idx="30">
                  <c:v>0.45</c:v>
                </c:pt>
                <c:pt idx="31">
                  <c:v>0.59</c:v>
                </c:pt>
                <c:pt idx="32">
                  <c:v>0.59</c:v>
                </c:pt>
                <c:pt idx="33">
                  <c:v>0.72</c:v>
                </c:pt>
                <c:pt idx="34">
                  <c:v>0.59</c:v>
                </c:pt>
                <c:pt idx="35">
                  <c:v>0.78</c:v>
                </c:pt>
                <c:pt idx="36">
                  <c:v>0.5</c:v>
                </c:pt>
                <c:pt idx="37">
                  <c:v>0.53</c:v>
                </c:pt>
                <c:pt idx="38">
                  <c:v>0.37</c:v>
                </c:pt>
                <c:pt idx="39">
                  <c:v>0.74</c:v>
                </c:pt>
                <c:pt idx="40">
                  <c:v>0.63</c:v>
                </c:pt>
                <c:pt idx="41">
                  <c:v>0.14000000000000001</c:v>
                </c:pt>
                <c:pt idx="42">
                  <c:v>0.16</c:v>
                </c:pt>
                <c:pt idx="43">
                  <c:v>0.18</c:v>
                </c:pt>
                <c:pt idx="44">
                  <c:v>0.39</c:v>
                </c:pt>
                <c:pt idx="45">
                  <c:v>0.3</c:v>
                </c:pt>
                <c:pt idx="46">
                  <c:v>0.32</c:v>
                </c:pt>
                <c:pt idx="47">
                  <c:v>0.14000000000000001</c:v>
                </c:pt>
                <c:pt idx="48">
                  <c:v>0.18</c:v>
                </c:pt>
                <c:pt idx="49">
                  <c:v>0.17</c:v>
                </c:pt>
                <c:pt idx="50">
                  <c:v>0.28000000000000003</c:v>
                </c:pt>
                <c:pt idx="51">
                  <c:v>0.16</c:v>
                </c:pt>
                <c:pt idx="52">
                  <c:v>0.33</c:v>
                </c:pt>
                <c:pt idx="53">
                  <c:v>0.25</c:v>
                </c:pt>
                <c:pt idx="54">
                  <c:v>0.2</c:v>
                </c:pt>
                <c:pt idx="55">
                  <c:v>0.14000000000000001</c:v>
                </c:pt>
                <c:pt idx="56">
                  <c:v>0.14000000000000001</c:v>
                </c:pt>
                <c:pt idx="57">
                  <c:v>0.15</c:v>
                </c:pt>
                <c:pt idx="58">
                  <c:v>0.26</c:v>
                </c:pt>
                <c:pt idx="59">
                  <c:v>0.16</c:v>
                </c:pt>
                <c:pt idx="60">
                  <c:v>0.12</c:v>
                </c:pt>
                <c:pt idx="61">
                  <c:v>0.27</c:v>
                </c:pt>
                <c:pt idx="62">
                  <c:v>0.26</c:v>
                </c:pt>
                <c:pt idx="63">
                  <c:v>0.04</c:v>
                </c:pt>
                <c:pt idx="64">
                  <c:v>0.13</c:v>
                </c:pt>
                <c:pt idx="65">
                  <c:v>0.21</c:v>
                </c:pt>
                <c:pt idx="66">
                  <c:v>0.04</c:v>
                </c:pt>
                <c:pt idx="67">
                  <c:v>0.1</c:v>
                </c:pt>
                <c:pt idx="68">
                  <c:v>0.13</c:v>
                </c:pt>
                <c:pt idx="69">
                  <c:v>0.18</c:v>
                </c:pt>
                <c:pt idx="70">
                  <c:v>7.0000000000000007E-2</c:v>
                </c:pt>
                <c:pt idx="71">
                  <c:v>0.05</c:v>
                </c:pt>
                <c:pt idx="72">
                  <c:v>0.03</c:v>
                </c:pt>
                <c:pt idx="73">
                  <c:v>0.05</c:v>
                </c:pt>
                <c:pt idx="74">
                  <c:v>0.04</c:v>
                </c:pt>
                <c:pt idx="75">
                  <c:v>0.03</c:v>
                </c:pt>
                <c:pt idx="76">
                  <c:v>0.08</c:v>
                </c:pt>
                <c:pt idx="77">
                  <c:v>0.08</c:v>
                </c:pt>
                <c:pt idx="78">
                  <c:v>0.05</c:v>
                </c:pt>
                <c:pt idx="79">
                  <c:v>0.03</c:v>
                </c:pt>
                <c:pt idx="80">
                  <c:v>0.11</c:v>
                </c:pt>
                <c:pt idx="81">
                  <c:v>0.04</c:v>
                </c:pt>
                <c:pt idx="82">
                  <c:v>0.04</c:v>
                </c:pt>
                <c:pt idx="83">
                  <c:v>0.04</c:v>
                </c:pt>
                <c:pt idx="84">
                  <c:v>0.04</c:v>
                </c:pt>
                <c:pt idx="85">
                  <c:v>0.01</c:v>
                </c:pt>
                <c:pt idx="86">
                  <c:v>0.04</c:v>
                </c:pt>
                <c:pt idx="87">
                  <c:v>0.06</c:v>
                </c:pt>
                <c:pt idx="88">
                  <c:v>0.03</c:v>
                </c:pt>
                <c:pt idx="89">
                  <c:v>0.04</c:v>
                </c:pt>
                <c:pt idx="90">
                  <c:v>0.03</c:v>
                </c:pt>
                <c:pt idx="91">
                  <c:v>0.02</c:v>
                </c:pt>
                <c:pt idx="92">
                  <c:v>0.04</c:v>
                </c:pt>
                <c:pt idx="93">
                  <c:v>0.01</c:v>
                </c:pt>
                <c:pt idx="94">
                  <c:v>0.04</c:v>
                </c:pt>
                <c:pt idx="95">
                  <c:v>0.02</c:v>
                </c:pt>
                <c:pt idx="96">
                  <c:v>0.01</c:v>
                </c:pt>
                <c:pt idx="97">
                  <c:v>0.02</c:v>
                </c:pt>
                <c:pt idx="98">
                  <c:v>0.02</c:v>
                </c:pt>
                <c:pt idx="99">
                  <c:v>0.02</c:v>
                </c:pt>
                <c:pt idx="100">
                  <c:v>0.01</c:v>
                </c:pt>
                <c:pt idx="101">
                  <c:v>0.06</c:v>
                </c:pt>
                <c:pt idx="102">
                  <c:v>0.03</c:v>
                </c:pt>
                <c:pt idx="103">
                  <c:v>0.01</c:v>
                </c:pt>
                <c:pt idx="104">
                  <c:v>0.04</c:v>
                </c:pt>
                <c:pt idx="105">
                  <c:v>0.01</c:v>
                </c:pt>
                <c:pt idx="106">
                  <c:v>0.03</c:v>
                </c:pt>
                <c:pt idx="107">
                  <c:v>0.03</c:v>
                </c:pt>
                <c:pt idx="108">
                  <c:v>0.01</c:v>
                </c:pt>
                <c:pt idx="109">
                  <c:v>0.01</c:v>
                </c:pt>
                <c:pt idx="110">
                  <c:v>0.02</c:v>
                </c:pt>
                <c:pt idx="111">
                  <c:v>0.01</c:v>
                </c:pt>
                <c:pt idx="112">
                  <c:v>0.01</c:v>
                </c:pt>
                <c:pt idx="113">
                  <c:v>0.02</c:v>
                </c:pt>
                <c:pt idx="114">
                  <c:v>0.01</c:v>
                </c:pt>
                <c:pt idx="115">
                  <c:v>0.01</c:v>
                </c:pt>
                <c:pt idx="116">
                  <c:v>0.01</c:v>
                </c:pt>
                <c:pt idx="117">
                  <c:v>0.01</c:v>
                </c:pt>
                <c:pt idx="118">
                  <c:v>0.01</c:v>
                </c:pt>
                <c:pt idx="119">
                  <c:v>0.01</c:v>
                </c:pt>
                <c:pt idx="120">
                  <c:v>0.01</c:v>
                </c:pt>
                <c:pt idx="121">
                  <c:v>0.01</c:v>
                </c:pt>
                <c:pt idx="122">
                  <c:v>0.01</c:v>
                </c:pt>
                <c:pt idx="123">
                  <c:v>0.01</c:v>
                </c:pt>
                <c:pt idx="124">
                  <c:v>0.01</c:v>
                </c:pt>
                <c:pt idx="125">
                  <c:v>0.01</c:v>
                </c:pt>
                <c:pt idx="126">
                  <c:v>0.01</c:v>
                </c:pt>
                <c:pt idx="127">
                  <c:v>0.01</c:v>
                </c:pt>
                <c:pt idx="128">
                  <c:v>0.01</c:v>
                </c:pt>
                <c:pt idx="129">
                  <c:v>0.02</c:v>
                </c:pt>
                <c:pt idx="130">
                  <c:v>0.01</c:v>
                </c:pt>
                <c:pt idx="131">
                  <c:v>0.02</c:v>
                </c:pt>
                <c:pt idx="132">
                  <c:v>0.01</c:v>
                </c:pt>
                <c:pt idx="133">
                  <c:v>0.01</c:v>
                </c:pt>
                <c:pt idx="134">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7ECAC4"/>
              </a:solidFill>
            </c:spPr>
            <c:extLst>
              <c:ext xmlns:c16="http://schemas.microsoft.com/office/drawing/2014/chart" uri="{C3380CC4-5D6E-409C-BE32-E72D297353CC}">
                <c16:uniqueId val="{00000065-2993-41DE-A2CB-63102DE87051}"/>
              </c:ext>
            </c:extLst>
          </c:dPt>
          <c:dPt>
            <c:idx val="23"/>
            <c:invertIfNegative val="1"/>
            <c:bubble3D val="0"/>
            <c:spPr>
              <a:solidFill>
                <a:srgbClr val="7ECAC4"/>
              </a:solidFill>
            </c:spPr>
            <c:extLst>
              <c:ext xmlns:c16="http://schemas.microsoft.com/office/drawing/2014/chart" uri="{C3380CC4-5D6E-409C-BE32-E72D297353CC}">
                <c16:uniqueId val="{00000067-2993-41DE-A2CB-63102DE87051}"/>
              </c:ext>
            </c:extLst>
          </c:dPt>
          <c:dPt>
            <c:idx val="24"/>
            <c:invertIfNegative val="1"/>
            <c:bubble3D val="0"/>
            <c:spPr>
              <a:solidFill>
                <a:srgbClr val="7ECAC4"/>
              </a:solidFill>
            </c:spPr>
            <c:extLst>
              <c:ext xmlns:c16="http://schemas.microsoft.com/office/drawing/2014/chart" uri="{C3380CC4-5D6E-409C-BE32-E72D297353CC}">
                <c16:uniqueId val="{00000069-2993-41DE-A2CB-63102DE87051}"/>
              </c:ext>
            </c:extLst>
          </c:dPt>
          <c:dPt>
            <c:idx val="25"/>
            <c:invertIfNegative val="1"/>
            <c:bubble3D val="0"/>
            <c:spPr>
              <a:solidFill>
                <a:srgbClr val="7ECAC4"/>
              </a:solidFill>
            </c:spPr>
            <c:extLst>
              <c:ext xmlns:c16="http://schemas.microsoft.com/office/drawing/2014/chart" uri="{C3380CC4-5D6E-409C-BE32-E72D297353CC}">
                <c16:uniqueId val="{0000006B-2993-41DE-A2CB-63102DE87051}"/>
              </c:ext>
            </c:extLst>
          </c:dPt>
          <c:dPt>
            <c:idx val="26"/>
            <c:invertIfNegative val="1"/>
            <c:bubble3D val="0"/>
            <c:spPr>
              <a:solidFill>
                <a:srgbClr val="7ECAC4"/>
              </a:solidFill>
            </c:spPr>
            <c:extLst>
              <c:ext xmlns:c16="http://schemas.microsoft.com/office/drawing/2014/chart" uri="{C3380CC4-5D6E-409C-BE32-E72D297353CC}">
                <c16:uniqueId val="{0000006D-2993-41DE-A2CB-63102DE87051}"/>
              </c:ext>
            </c:extLst>
          </c:dPt>
          <c:dPt>
            <c:idx val="27"/>
            <c:invertIfNegative val="1"/>
            <c:bubble3D val="0"/>
            <c:spPr>
              <a:solidFill>
                <a:srgbClr val="7ECAC4"/>
              </a:solidFill>
            </c:spPr>
            <c:extLst>
              <c:ext xmlns:c16="http://schemas.microsoft.com/office/drawing/2014/chart" uri="{C3380CC4-5D6E-409C-BE32-E72D297353CC}">
                <c16:uniqueId val="{0000006F-2993-41DE-A2CB-63102DE87051}"/>
              </c:ext>
            </c:extLst>
          </c:dPt>
          <c:dPt>
            <c:idx val="28"/>
            <c:invertIfNegative val="1"/>
            <c:bubble3D val="0"/>
            <c:spPr>
              <a:solidFill>
                <a:srgbClr val="7ECAC4"/>
              </a:solidFill>
            </c:spPr>
            <c:extLst>
              <c:ext xmlns:c16="http://schemas.microsoft.com/office/drawing/2014/chart" uri="{C3380CC4-5D6E-409C-BE32-E72D297353CC}">
                <c16:uniqueId val="{00000071-2993-41DE-A2CB-63102DE87051}"/>
              </c:ext>
            </c:extLst>
          </c:dPt>
          <c:dPt>
            <c:idx val="29"/>
            <c:invertIfNegative val="1"/>
            <c:bubble3D val="0"/>
            <c:spPr>
              <a:solidFill>
                <a:srgbClr val="7ECAC4"/>
              </a:solidFill>
            </c:spPr>
            <c:extLst>
              <c:ext xmlns:c16="http://schemas.microsoft.com/office/drawing/2014/chart" uri="{C3380CC4-5D6E-409C-BE32-E72D297353CC}">
                <c16:uniqueId val="{00000073-2993-41DE-A2CB-63102DE87051}"/>
              </c:ext>
            </c:extLst>
          </c:dPt>
          <c:dPt>
            <c:idx val="30"/>
            <c:invertIfNegative val="1"/>
            <c:bubble3D val="0"/>
            <c:spPr>
              <a:solidFill>
                <a:srgbClr val="7ECAC4"/>
              </a:solidFill>
            </c:spPr>
            <c:extLst>
              <c:ext xmlns:c16="http://schemas.microsoft.com/office/drawing/2014/chart" uri="{C3380CC4-5D6E-409C-BE32-E72D297353CC}">
                <c16:uniqueId val="{00000075-2993-41DE-A2CB-63102DE87051}"/>
              </c:ext>
            </c:extLst>
          </c:dPt>
          <c:dPt>
            <c:idx val="31"/>
            <c:invertIfNegative val="1"/>
            <c:bubble3D val="0"/>
            <c:spPr>
              <a:solidFill>
                <a:srgbClr val="7ECAC4"/>
              </a:solidFill>
            </c:spPr>
            <c:extLst>
              <c:ext xmlns:c16="http://schemas.microsoft.com/office/drawing/2014/chart" uri="{C3380CC4-5D6E-409C-BE32-E72D297353CC}">
                <c16:uniqueId val="{00000077-2993-41DE-A2CB-63102DE87051}"/>
              </c:ext>
            </c:extLst>
          </c:dPt>
          <c:dPt>
            <c:idx val="32"/>
            <c:invertIfNegative val="1"/>
            <c:bubble3D val="0"/>
            <c:spPr>
              <a:solidFill>
                <a:srgbClr val="7ECAC4"/>
              </a:solidFill>
            </c:spPr>
            <c:extLst>
              <c:ext xmlns:c16="http://schemas.microsoft.com/office/drawing/2014/chart" uri="{C3380CC4-5D6E-409C-BE32-E72D297353CC}">
                <c16:uniqueId val="{00000079-2993-41DE-A2CB-63102DE87051}"/>
              </c:ext>
            </c:extLst>
          </c:dPt>
          <c:dPt>
            <c:idx val="33"/>
            <c:invertIfNegative val="1"/>
            <c:bubble3D val="0"/>
            <c:spPr>
              <a:solidFill>
                <a:srgbClr val="7ECAC4"/>
              </a:solidFill>
            </c:spPr>
            <c:extLst>
              <c:ext xmlns:c16="http://schemas.microsoft.com/office/drawing/2014/chart" uri="{C3380CC4-5D6E-409C-BE32-E72D297353CC}">
                <c16:uniqueId val="{0000007B-2993-41DE-A2CB-63102DE87051}"/>
              </c:ext>
            </c:extLst>
          </c:dPt>
          <c:dPt>
            <c:idx val="34"/>
            <c:invertIfNegative val="1"/>
            <c:bubble3D val="0"/>
            <c:spPr>
              <a:solidFill>
                <a:srgbClr val="7ECAC4"/>
              </a:solidFill>
            </c:spPr>
            <c:extLst>
              <c:ext xmlns:c16="http://schemas.microsoft.com/office/drawing/2014/chart" uri="{C3380CC4-5D6E-409C-BE32-E72D297353CC}">
                <c16:uniqueId val="{0000007D-2993-41DE-A2CB-63102DE87051}"/>
              </c:ext>
            </c:extLst>
          </c:dPt>
          <c:dPt>
            <c:idx val="35"/>
            <c:invertIfNegative val="1"/>
            <c:bubble3D val="0"/>
            <c:spPr>
              <a:solidFill>
                <a:srgbClr val="7ECAC4"/>
              </a:solidFill>
            </c:spPr>
            <c:extLst>
              <c:ext xmlns:c16="http://schemas.microsoft.com/office/drawing/2014/chart" uri="{C3380CC4-5D6E-409C-BE32-E72D297353CC}">
                <c16:uniqueId val="{0000007F-2993-41DE-A2CB-63102DE87051}"/>
              </c:ext>
            </c:extLst>
          </c:dPt>
          <c:dPt>
            <c:idx val="36"/>
            <c:invertIfNegative val="1"/>
            <c:bubble3D val="0"/>
            <c:spPr>
              <a:solidFill>
                <a:srgbClr val="7ECAC4"/>
              </a:solidFill>
            </c:spPr>
            <c:extLst>
              <c:ext xmlns:c16="http://schemas.microsoft.com/office/drawing/2014/chart" uri="{C3380CC4-5D6E-409C-BE32-E72D297353CC}">
                <c16:uniqueId val="{00000081-2993-41DE-A2CB-63102DE87051}"/>
              </c:ext>
            </c:extLst>
          </c:dPt>
          <c:dPt>
            <c:idx val="37"/>
            <c:invertIfNegative val="1"/>
            <c:bubble3D val="0"/>
            <c:spPr>
              <a:solidFill>
                <a:srgbClr val="7ECAC4"/>
              </a:solidFill>
            </c:spPr>
            <c:extLst>
              <c:ext xmlns:c16="http://schemas.microsoft.com/office/drawing/2014/chart" uri="{C3380CC4-5D6E-409C-BE32-E72D297353CC}">
                <c16:uniqueId val="{00000083-2993-41DE-A2CB-63102DE87051}"/>
              </c:ext>
            </c:extLst>
          </c:dPt>
          <c:dPt>
            <c:idx val="38"/>
            <c:invertIfNegative val="1"/>
            <c:bubble3D val="0"/>
            <c:spPr>
              <a:solidFill>
                <a:srgbClr val="7ECAC4"/>
              </a:solidFill>
            </c:spPr>
            <c:extLst>
              <c:ext xmlns:c16="http://schemas.microsoft.com/office/drawing/2014/chart" uri="{C3380CC4-5D6E-409C-BE32-E72D297353CC}">
                <c16:uniqueId val="{00000085-2993-41DE-A2CB-63102DE87051}"/>
              </c:ext>
            </c:extLst>
          </c:dPt>
          <c:dPt>
            <c:idx val="39"/>
            <c:invertIfNegative val="1"/>
            <c:bubble3D val="0"/>
            <c:spPr>
              <a:solidFill>
                <a:srgbClr val="7ECAC4"/>
              </a:solidFill>
            </c:spPr>
            <c:extLst>
              <c:ext xmlns:c16="http://schemas.microsoft.com/office/drawing/2014/chart" uri="{C3380CC4-5D6E-409C-BE32-E72D297353CC}">
                <c16:uniqueId val="{00000087-2993-41DE-A2CB-63102DE87051}"/>
              </c:ext>
            </c:extLst>
          </c:dPt>
          <c:dPt>
            <c:idx val="40"/>
            <c:invertIfNegative val="1"/>
            <c:bubble3D val="0"/>
            <c:spPr>
              <a:solidFill>
                <a:srgbClr val="7ECAC4"/>
              </a:solidFill>
            </c:spPr>
            <c:extLst>
              <c:ext xmlns:c16="http://schemas.microsoft.com/office/drawing/2014/chart" uri="{C3380CC4-5D6E-409C-BE32-E72D297353CC}">
                <c16:uniqueId val="{00000089-2993-41DE-A2CB-63102DE87051}"/>
              </c:ext>
            </c:extLst>
          </c:dPt>
          <c:dPt>
            <c:idx val="41"/>
            <c:invertIfNegative val="1"/>
            <c:bubble3D val="0"/>
            <c:spPr>
              <a:solidFill>
                <a:srgbClr val="7ECAC4"/>
              </a:solidFill>
            </c:spPr>
            <c:extLst>
              <c:ext xmlns:c16="http://schemas.microsoft.com/office/drawing/2014/chart" uri="{C3380CC4-5D6E-409C-BE32-E72D297353CC}">
                <c16:uniqueId val="{0000008B-2993-41DE-A2CB-63102DE87051}"/>
              </c:ext>
            </c:extLst>
          </c:dPt>
          <c:dPt>
            <c:idx val="42"/>
            <c:invertIfNegative val="1"/>
            <c:bubble3D val="0"/>
            <c:spPr>
              <a:solidFill>
                <a:srgbClr val="AEABAB"/>
              </a:solidFill>
            </c:spPr>
            <c:extLst>
              <c:ext xmlns:c16="http://schemas.microsoft.com/office/drawing/2014/chart" uri="{C3380CC4-5D6E-409C-BE32-E72D297353CC}">
                <c16:uniqueId val="{0000008D-2993-41DE-A2CB-63102DE87051}"/>
              </c:ext>
            </c:extLst>
          </c:dPt>
          <c:dPt>
            <c:idx val="43"/>
            <c:invertIfNegative val="1"/>
            <c:bubble3D val="0"/>
            <c:spPr>
              <a:solidFill>
                <a:srgbClr val="AEABAB"/>
              </a:solidFill>
            </c:spPr>
            <c:extLst>
              <c:ext xmlns:c16="http://schemas.microsoft.com/office/drawing/2014/chart" uri="{C3380CC4-5D6E-409C-BE32-E72D297353CC}">
                <c16:uniqueId val="{0000008F-2993-41DE-A2CB-63102DE87051}"/>
              </c:ext>
            </c:extLst>
          </c:dPt>
          <c:dPt>
            <c:idx val="44"/>
            <c:invertIfNegative val="1"/>
            <c:bubble3D val="0"/>
            <c:spPr>
              <a:solidFill>
                <a:srgbClr val="AEABAB"/>
              </a:solidFill>
            </c:spPr>
            <c:extLst>
              <c:ext xmlns:c16="http://schemas.microsoft.com/office/drawing/2014/chart" uri="{C3380CC4-5D6E-409C-BE32-E72D297353CC}">
                <c16:uniqueId val="{00000091-2993-41DE-A2CB-63102DE87051}"/>
              </c:ext>
            </c:extLst>
          </c:dPt>
          <c:dPt>
            <c:idx val="45"/>
            <c:invertIfNegative val="1"/>
            <c:bubble3D val="0"/>
            <c:spPr>
              <a:solidFill>
                <a:srgbClr val="AEABAB"/>
              </a:solidFill>
            </c:spPr>
            <c:extLst>
              <c:ext xmlns:c16="http://schemas.microsoft.com/office/drawing/2014/chart" uri="{C3380CC4-5D6E-409C-BE32-E72D297353CC}">
                <c16:uniqueId val="{00000093-2993-41DE-A2CB-63102DE87051}"/>
              </c:ext>
            </c:extLst>
          </c:dPt>
          <c:dPt>
            <c:idx val="46"/>
            <c:invertIfNegative val="1"/>
            <c:bubble3D val="0"/>
            <c:spPr>
              <a:solidFill>
                <a:srgbClr val="AEABAB"/>
              </a:solidFill>
            </c:spPr>
            <c:extLst>
              <c:ext xmlns:c16="http://schemas.microsoft.com/office/drawing/2014/chart" uri="{C3380CC4-5D6E-409C-BE32-E72D297353CC}">
                <c16:uniqueId val="{00000095-2993-41DE-A2CB-63102DE87051}"/>
              </c:ext>
            </c:extLst>
          </c:dPt>
          <c:dPt>
            <c:idx val="47"/>
            <c:invertIfNegative val="1"/>
            <c:bubble3D val="0"/>
            <c:spPr>
              <a:solidFill>
                <a:srgbClr val="AEABAB"/>
              </a:solidFill>
            </c:spPr>
            <c:extLst>
              <c:ext xmlns:c16="http://schemas.microsoft.com/office/drawing/2014/chart" uri="{C3380CC4-5D6E-409C-BE32-E72D297353CC}">
                <c16:uniqueId val="{00000097-2993-41DE-A2CB-63102DE87051}"/>
              </c:ext>
            </c:extLst>
          </c:dPt>
          <c:dPt>
            <c:idx val="48"/>
            <c:invertIfNegative val="1"/>
            <c:bubble3D val="0"/>
            <c:spPr>
              <a:solidFill>
                <a:srgbClr val="AEABAB"/>
              </a:solidFill>
            </c:spPr>
            <c:extLst>
              <c:ext xmlns:c16="http://schemas.microsoft.com/office/drawing/2014/chart" uri="{C3380CC4-5D6E-409C-BE32-E72D297353CC}">
                <c16:uniqueId val="{00000099-2993-41DE-A2CB-63102DE87051}"/>
              </c:ext>
            </c:extLst>
          </c:dPt>
          <c:dPt>
            <c:idx val="49"/>
            <c:invertIfNegative val="1"/>
            <c:bubble3D val="0"/>
            <c:spPr>
              <a:solidFill>
                <a:srgbClr val="AEABAB"/>
              </a:solidFill>
            </c:spPr>
            <c:extLst>
              <c:ext xmlns:c16="http://schemas.microsoft.com/office/drawing/2014/chart" uri="{C3380CC4-5D6E-409C-BE32-E72D297353CC}">
                <c16:uniqueId val="{0000009B-2993-41DE-A2CB-63102DE87051}"/>
              </c:ext>
            </c:extLst>
          </c:dPt>
          <c:dPt>
            <c:idx val="50"/>
            <c:invertIfNegative val="1"/>
            <c:bubble3D val="0"/>
            <c:spPr>
              <a:solidFill>
                <a:srgbClr val="AEABAB"/>
              </a:solidFill>
            </c:spPr>
            <c:extLst>
              <c:ext xmlns:c16="http://schemas.microsoft.com/office/drawing/2014/chart" uri="{C3380CC4-5D6E-409C-BE32-E72D297353CC}">
                <c16:uniqueId val="{0000009D-2993-41DE-A2CB-63102DE87051}"/>
              </c:ext>
            </c:extLst>
          </c:dPt>
          <c:dPt>
            <c:idx val="51"/>
            <c:invertIfNegative val="1"/>
            <c:bubble3D val="0"/>
            <c:spPr>
              <a:solidFill>
                <a:srgbClr val="AEABAB"/>
              </a:solidFill>
            </c:spPr>
            <c:extLst>
              <c:ext xmlns:c16="http://schemas.microsoft.com/office/drawing/2014/chart" uri="{C3380CC4-5D6E-409C-BE32-E72D297353CC}">
                <c16:uniqueId val="{0000009F-2993-41DE-A2CB-63102DE87051}"/>
              </c:ext>
            </c:extLst>
          </c:dPt>
          <c:dPt>
            <c:idx val="52"/>
            <c:invertIfNegative val="1"/>
            <c:bubble3D val="0"/>
            <c:spPr>
              <a:solidFill>
                <a:srgbClr val="AEABAB"/>
              </a:solidFill>
            </c:spPr>
            <c:extLst>
              <c:ext xmlns:c16="http://schemas.microsoft.com/office/drawing/2014/chart" uri="{C3380CC4-5D6E-409C-BE32-E72D297353CC}">
                <c16:uniqueId val="{000000A1-2993-41DE-A2CB-63102DE87051}"/>
              </c:ext>
            </c:extLst>
          </c:dPt>
          <c:dPt>
            <c:idx val="53"/>
            <c:invertIfNegative val="1"/>
            <c:bubble3D val="0"/>
            <c:spPr>
              <a:solidFill>
                <a:srgbClr val="AEABAB"/>
              </a:solidFill>
            </c:spPr>
            <c:extLst>
              <c:ext xmlns:c16="http://schemas.microsoft.com/office/drawing/2014/chart" uri="{C3380CC4-5D6E-409C-BE32-E72D297353CC}">
                <c16:uniqueId val="{000000A3-2993-41DE-A2CB-63102DE87051}"/>
              </c:ext>
            </c:extLst>
          </c:dPt>
          <c:dPt>
            <c:idx val="54"/>
            <c:invertIfNegative val="0"/>
            <c:bubble3D val="0"/>
            <c:spPr>
              <a:solidFill>
                <a:srgbClr val="AEABAB"/>
              </a:solidFill>
            </c:spPr>
            <c:extLst>
              <c:ext xmlns:c16="http://schemas.microsoft.com/office/drawing/2014/chart" uri="{C3380CC4-5D6E-409C-BE32-E72D297353CC}">
                <c16:uniqueId val="{00000072-C76F-4230-900D-40618C09729F}"/>
              </c:ext>
            </c:extLst>
          </c:dPt>
          <c:dPt>
            <c:idx val="55"/>
            <c:invertIfNegative val="0"/>
            <c:bubble3D val="0"/>
            <c:spPr>
              <a:solidFill>
                <a:srgbClr val="AEABAB"/>
              </a:solidFill>
            </c:spPr>
            <c:extLst>
              <c:ext xmlns:c16="http://schemas.microsoft.com/office/drawing/2014/chart" uri="{C3380CC4-5D6E-409C-BE32-E72D297353CC}">
                <c16:uniqueId val="{00000074-C76F-4230-900D-40618C09729F}"/>
              </c:ext>
            </c:extLst>
          </c:dPt>
          <c:dPt>
            <c:idx val="56"/>
            <c:invertIfNegative val="0"/>
            <c:bubble3D val="0"/>
            <c:spPr>
              <a:solidFill>
                <a:srgbClr val="AEABAB"/>
              </a:solidFill>
            </c:spPr>
            <c:extLst>
              <c:ext xmlns:c16="http://schemas.microsoft.com/office/drawing/2014/chart" uri="{C3380CC4-5D6E-409C-BE32-E72D297353CC}">
                <c16:uniqueId val="{00000076-C76F-4230-900D-40618C09729F}"/>
              </c:ext>
            </c:extLst>
          </c:dPt>
          <c:dPt>
            <c:idx val="57"/>
            <c:invertIfNegative val="0"/>
            <c:bubble3D val="0"/>
            <c:spPr>
              <a:solidFill>
                <a:srgbClr val="AEABAB"/>
              </a:solidFill>
            </c:spPr>
            <c:extLst>
              <c:ext xmlns:c16="http://schemas.microsoft.com/office/drawing/2014/chart" uri="{C3380CC4-5D6E-409C-BE32-E72D297353CC}">
                <c16:uniqueId val="{00000078-C76F-4230-900D-40618C09729F}"/>
              </c:ext>
            </c:extLst>
          </c:dPt>
          <c:dPt>
            <c:idx val="58"/>
            <c:invertIfNegative val="0"/>
            <c:bubble3D val="0"/>
            <c:spPr>
              <a:solidFill>
                <a:srgbClr val="AEABAB"/>
              </a:solidFill>
            </c:spPr>
            <c:extLst>
              <c:ext xmlns:c16="http://schemas.microsoft.com/office/drawing/2014/chart" uri="{C3380CC4-5D6E-409C-BE32-E72D297353CC}">
                <c16:uniqueId val="{0000007A-C76F-4230-900D-40618C09729F}"/>
              </c:ext>
            </c:extLst>
          </c:dPt>
          <c:dPt>
            <c:idx val="59"/>
            <c:invertIfNegative val="0"/>
            <c:bubble3D val="0"/>
            <c:spPr>
              <a:solidFill>
                <a:srgbClr val="AEABAB"/>
              </a:solidFill>
            </c:spPr>
            <c:extLst>
              <c:ext xmlns:c16="http://schemas.microsoft.com/office/drawing/2014/chart" uri="{C3380CC4-5D6E-409C-BE32-E72D297353CC}">
                <c16:uniqueId val="{0000007C-C76F-4230-900D-40618C09729F}"/>
              </c:ext>
            </c:extLst>
          </c:dPt>
          <c:dPt>
            <c:idx val="60"/>
            <c:invertIfNegative val="0"/>
            <c:bubble3D val="0"/>
            <c:spPr>
              <a:solidFill>
                <a:srgbClr val="AEABAB"/>
              </a:solidFill>
            </c:spPr>
            <c:extLst>
              <c:ext xmlns:c16="http://schemas.microsoft.com/office/drawing/2014/chart" uri="{C3380CC4-5D6E-409C-BE32-E72D297353CC}">
                <c16:uniqueId val="{0000007E-C76F-4230-900D-40618C09729F}"/>
              </c:ext>
            </c:extLst>
          </c:dPt>
          <c:dPt>
            <c:idx val="61"/>
            <c:invertIfNegative val="0"/>
            <c:bubble3D val="0"/>
            <c:spPr>
              <a:solidFill>
                <a:srgbClr val="AEABAB"/>
              </a:solidFill>
            </c:spPr>
            <c:extLst>
              <c:ext xmlns:c16="http://schemas.microsoft.com/office/drawing/2014/chart" uri="{C3380CC4-5D6E-409C-BE32-E72D297353CC}">
                <c16:uniqueId val="{00000080-C76F-4230-900D-40618C09729F}"/>
              </c:ext>
            </c:extLst>
          </c:dPt>
          <c:dPt>
            <c:idx val="62"/>
            <c:invertIfNegative val="0"/>
            <c:bubble3D val="0"/>
            <c:spPr>
              <a:solidFill>
                <a:srgbClr val="AEABAB"/>
              </a:solidFill>
            </c:spPr>
            <c:extLst>
              <c:ext xmlns:c16="http://schemas.microsoft.com/office/drawing/2014/chart" uri="{C3380CC4-5D6E-409C-BE32-E72D297353CC}">
                <c16:uniqueId val="{00000082-C76F-4230-900D-40618C09729F}"/>
              </c:ext>
            </c:extLst>
          </c:dPt>
          <c:dPt>
            <c:idx val="63"/>
            <c:invertIfNegative val="0"/>
            <c:bubble3D val="0"/>
            <c:spPr>
              <a:solidFill>
                <a:srgbClr val="AEABAB"/>
              </a:solidFill>
            </c:spPr>
            <c:extLst>
              <c:ext xmlns:c16="http://schemas.microsoft.com/office/drawing/2014/chart" uri="{C3380CC4-5D6E-409C-BE32-E72D297353CC}">
                <c16:uniqueId val="{00000084-C76F-4230-900D-40618C09729F}"/>
              </c:ext>
            </c:extLst>
          </c:dPt>
          <c:dPt>
            <c:idx val="64"/>
            <c:invertIfNegative val="0"/>
            <c:bubble3D val="0"/>
            <c:spPr>
              <a:solidFill>
                <a:srgbClr val="AEABAB"/>
              </a:solidFill>
            </c:spPr>
            <c:extLst>
              <c:ext xmlns:c16="http://schemas.microsoft.com/office/drawing/2014/chart" uri="{C3380CC4-5D6E-409C-BE32-E72D297353CC}">
                <c16:uniqueId val="{00000086-C76F-4230-900D-40618C09729F}"/>
              </c:ext>
            </c:extLst>
          </c:dPt>
          <c:dPt>
            <c:idx val="65"/>
            <c:invertIfNegative val="0"/>
            <c:bubble3D val="0"/>
            <c:spPr>
              <a:solidFill>
                <a:srgbClr val="AEABAB"/>
              </a:solidFill>
            </c:spPr>
            <c:extLst>
              <c:ext xmlns:c16="http://schemas.microsoft.com/office/drawing/2014/chart" uri="{C3380CC4-5D6E-409C-BE32-E72D297353CC}">
                <c16:uniqueId val="{00000088-C76F-4230-900D-40618C09729F}"/>
              </c:ext>
            </c:extLst>
          </c:dPt>
          <c:dPt>
            <c:idx val="66"/>
            <c:invertIfNegative val="0"/>
            <c:bubble3D val="0"/>
            <c:spPr>
              <a:solidFill>
                <a:srgbClr val="AEABAB"/>
              </a:solidFill>
            </c:spPr>
            <c:extLst>
              <c:ext xmlns:c16="http://schemas.microsoft.com/office/drawing/2014/chart" uri="{C3380CC4-5D6E-409C-BE32-E72D297353CC}">
                <c16:uniqueId val="{0000008A-C76F-4230-900D-40618C09729F}"/>
              </c:ext>
            </c:extLst>
          </c:dPt>
          <c:dPt>
            <c:idx val="67"/>
            <c:invertIfNegative val="0"/>
            <c:bubble3D val="0"/>
            <c:spPr>
              <a:solidFill>
                <a:srgbClr val="AEABAB"/>
              </a:solidFill>
            </c:spPr>
            <c:extLst>
              <c:ext xmlns:c16="http://schemas.microsoft.com/office/drawing/2014/chart" uri="{C3380CC4-5D6E-409C-BE32-E72D297353CC}">
                <c16:uniqueId val="{0000008C-C76F-4230-900D-40618C09729F}"/>
              </c:ext>
            </c:extLst>
          </c:dPt>
          <c:dPt>
            <c:idx val="68"/>
            <c:invertIfNegative val="0"/>
            <c:bubble3D val="0"/>
            <c:spPr>
              <a:solidFill>
                <a:srgbClr val="AEABAB"/>
              </a:solidFill>
            </c:spPr>
            <c:extLst>
              <c:ext xmlns:c16="http://schemas.microsoft.com/office/drawing/2014/chart" uri="{C3380CC4-5D6E-409C-BE32-E72D297353CC}">
                <c16:uniqueId val="{0000008E-C76F-4230-900D-40618C09729F}"/>
              </c:ext>
            </c:extLst>
          </c:dPt>
          <c:dPt>
            <c:idx val="69"/>
            <c:invertIfNegative val="0"/>
            <c:bubble3D val="0"/>
            <c:spPr>
              <a:solidFill>
                <a:srgbClr val="AEABAB"/>
              </a:solidFill>
            </c:spPr>
            <c:extLst>
              <c:ext xmlns:c16="http://schemas.microsoft.com/office/drawing/2014/chart" uri="{C3380CC4-5D6E-409C-BE32-E72D297353CC}">
                <c16:uniqueId val="{00000090-C76F-4230-900D-40618C09729F}"/>
              </c:ext>
            </c:extLst>
          </c:dPt>
          <c:dPt>
            <c:idx val="70"/>
            <c:invertIfNegative val="0"/>
            <c:bubble3D val="0"/>
            <c:spPr>
              <a:solidFill>
                <a:srgbClr val="AEABAB"/>
              </a:solidFill>
            </c:spPr>
            <c:extLst>
              <c:ext xmlns:c16="http://schemas.microsoft.com/office/drawing/2014/chart" uri="{C3380CC4-5D6E-409C-BE32-E72D297353CC}">
                <c16:uniqueId val="{00000092-C76F-4230-900D-40618C09729F}"/>
              </c:ext>
            </c:extLst>
          </c:dPt>
          <c:dPt>
            <c:idx val="71"/>
            <c:invertIfNegative val="0"/>
            <c:bubble3D val="0"/>
            <c:spPr>
              <a:solidFill>
                <a:srgbClr val="AEABAB"/>
              </a:solidFill>
            </c:spPr>
            <c:extLst>
              <c:ext xmlns:c16="http://schemas.microsoft.com/office/drawing/2014/chart" uri="{C3380CC4-5D6E-409C-BE32-E72D297353CC}">
                <c16:uniqueId val="{00000094-C76F-4230-900D-40618C09729F}"/>
              </c:ext>
            </c:extLst>
          </c:dPt>
          <c:dPt>
            <c:idx val="72"/>
            <c:invertIfNegative val="0"/>
            <c:bubble3D val="0"/>
            <c:spPr>
              <a:solidFill>
                <a:srgbClr val="AEABAB"/>
              </a:solidFill>
            </c:spPr>
            <c:extLst>
              <c:ext xmlns:c16="http://schemas.microsoft.com/office/drawing/2014/chart" uri="{C3380CC4-5D6E-409C-BE32-E72D297353CC}">
                <c16:uniqueId val="{00000096-C76F-4230-900D-40618C09729F}"/>
              </c:ext>
            </c:extLst>
          </c:dPt>
          <c:dPt>
            <c:idx val="73"/>
            <c:invertIfNegative val="0"/>
            <c:bubble3D val="0"/>
            <c:spPr>
              <a:solidFill>
                <a:srgbClr val="AEABAB"/>
              </a:solidFill>
            </c:spPr>
            <c:extLst>
              <c:ext xmlns:c16="http://schemas.microsoft.com/office/drawing/2014/chart" uri="{C3380CC4-5D6E-409C-BE32-E72D297353CC}">
                <c16:uniqueId val="{00000098-C76F-4230-900D-40618C09729F}"/>
              </c:ext>
            </c:extLst>
          </c:dPt>
          <c:dPt>
            <c:idx val="74"/>
            <c:invertIfNegative val="0"/>
            <c:bubble3D val="0"/>
            <c:spPr>
              <a:solidFill>
                <a:srgbClr val="AEABAB"/>
              </a:solidFill>
            </c:spPr>
            <c:extLst>
              <c:ext xmlns:c16="http://schemas.microsoft.com/office/drawing/2014/chart" uri="{C3380CC4-5D6E-409C-BE32-E72D297353CC}">
                <c16:uniqueId val="{0000009A-C76F-4230-900D-40618C09729F}"/>
              </c:ext>
            </c:extLst>
          </c:dPt>
          <c:dPt>
            <c:idx val="75"/>
            <c:invertIfNegative val="0"/>
            <c:bubble3D val="0"/>
            <c:spPr>
              <a:solidFill>
                <a:srgbClr val="AEABAB"/>
              </a:solidFill>
            </c:spPr>
            <c:extLst>
              <c:ext xmlns:c16="http://schemas.microsoft.com/office/drawing/2014/chart" uri="{C3380CC4-5D6E-409C-BE32-E72D297353CC}">
                <c16:uniqueId val="{0000009C-C76F-4230-900D-40618C09729F}"/>
              </c:ext>
            </c:extLst>
          </c:dPt>
          <c:dPt>
            <c:idx val="76"/>
            <c:invertIfNegative val="0"/>
            <c:bubble3D val="0"/>
            <c:spPr>
              <a:solidFill>
                <a:srgbClr val="AEABAB"/>
              </a:solidFill>
            </c:spPr>
            <c:extLst>
              <c:ext xmlns:c16="http://schemas.microsoft.com/office/drawing/2014/chart" uri="{C3380CC4-5D6E-409C-BE32-E72D297353CC}">
                <c16:uniqueId val="{0000009E-C76F-4230-900D-40618C09729F}"/>
              </c:ext>
            </c:extLst>
          </c:dPt>
          <c:dPt>
            <c:idx val="77"/>
            <c:invertIfNegative val="0"/>
            <c:bubble3D val="0"/>
            <c:spPr>
              <a:solidFill>
                <a:srgbClr val="AEABAB"/>
              </a:solidFill>
            </c:spPr>
            <c:extLst>
              <c:ext xmlns:c16="http://schemas.microsoft.com/office/drawing/2014/chart" uri="{C3380CC4-5D6E-409C-BE32-E72D297353CC}">
                <c16:uniqueId val="{000000A0-C76F-4230-900D-40618C09729F}"/>
              </c:ext>
            </c:extLst>
          </c:dPt>
          <c:dPt>
            <c:idx val="78"/>
            <c:invertIfNegative val="0"/>
            <c:bubble3D val="0"/>
            <c:spPr>
              <a:solidFill>
                <a:srgbClr val="AEABAB"/>
              </a:solidFill>
            </c:spPr>
            <c:extLst>
              <c:ext xmlns:c16="http://schemas.microsoft.com/office/drawing/2014/chart" uri="{C3380CC4-5D6E-409C-BE32-E72D297353CC}">
                <c16:uniqueId val="{000000A2-C76F-4230-900D-40618C09729F}"/>
              </c:ext>
            </c:extLst>
          </c:dPt>
          <c:dPt>
            <c:idx val="79"/>
            <c:invertIfNegative val="0"/>
            <c:bubble3D val="0"/>
            <c:spPr>
              <a:solidFill>
                <a:srgbClr val="AEABAB"/>
              </a:solidFill>
            </c:spPr>
            <c:extLst>
              <c:ext xmlns:c16="http://schemas.microsoft.com/office/drawing/2014/chart" uri="{C3380CC4-5D6E-409C-BE32-E72D297353CC}">
                <c16:uniqueId val="{000000A4-C76F-4230-900D-40618C09729F}"/>
              </c:ext>
            </c:extLst>
          </c:dPt>
          <c:dPt>
            <c:idx val="80"/>
            <c:invertIfNegative val="0"/>
            <c:bubble3D val="0"/>
            <c:spPr>
              <a:solidFill>
                <a:srgbClr val="AEABAB"/>
              </a:solidFill>
            </c:spPr>
            <c:extLst>
              <c:ext xmlns:c16="http://schemas.microsoft.com/office/drawing/2014/chart" uri="{C3380CC4-5D6E-409C-BE32-E72D297353CC}">
                <c16:uniqueId val="{000000A6-C76F-4230-900D-40618C09729F}"/>
              </c:ext>
            </c:extLst>
          </c:dPt>
          <c:dPt>
            <c:idx val="81"/>
            <c:invertIfNegative val="1"/>
            <c:bubble3D val="0"/>
            <c:spPr>
              <a:solidFill>
                <a:srgbClr val="AEABAB"/>
              </a:solidFill>
            </c:spPr>
            <c:extLst>
              <c:ext xmlns:c16="http://schemas.microsoft.com/office/drawing/2014/chart" uri="{C3380CC4-5D6E-409C-BE32-E72D297353CC}">
                <c16:uniqueId val="{000000A5-2993-41DE-A2CB-63102DE87051}"/>
              </c:ext>
            </c:extLst>
          </c:dPt>
          <c:dPt>
            <c:idx val="82"/>
            <c:invertIfNegative val="1"/>
            <c:bubble3D val="0"/>
            <c:spPr>
              <a:solidFill>
                <a:srgbClr val="AEABAB"/>
              </a:solidFill>
            </c:spPr>
            <c:extLst>
              <c:ext xmlns:c16="http://schemas.microsoft.com/office/drawing/2014/chart" uri="{C3380CC4-5D6E-409C-BE32-E72D297353CC}">
                <c16:uniqueId val="{000000A7-2993-41DE-A2CB-63102DE87051}"/>
              </c:ext>
            </c:extLst>
          </c:dPt>
          <c:dPt>
            <c:idx val="83"/>
            <c:invertIfNegative val="1"/>
            <c:bubble3D val="0"/>
            <c:spPr>
              <a:solidFill>
                <a:srgbClr val="AEABAB"/>
              </a:solidFill>
            </c:spPr>
            <c:extLst>
              <c:ext xmlns:c16="http://schemas.microsoft.com/office/drawing/2014/chart" uri="{C3380CC4-5D6E-409C-BE32-E72D297353CC}">
                <c16:uniqueId val="{000000A9-2993-41DE-A2CB-63102DE87051}"/>
              </c:ext>
            </c:extLst>
          </c:dPt>
          <c:dPt>
            <c:idx val="84"/>
            <c:invertIfNegative val="1"/>
            <c:bubble3D val="0"/>
            <c:spPr>
              <a:solidFill>
                <a:srgbClr val="AEABAB"/>
              </a:solidFill>
            </c:spPr>
            <c:extLst>
              <c:ext xmlns:c16="http://schemas.microsoft.com/office/drawing/2014/chart" uri="{C3380CC4-5D6E-409C-BE32-E72D297353CC}">
                <c16:uniqueId val="{000000AB-2993-41DE-A2CB-63102DE87051}"/>
              </c:ext>
            </c:extLst>
          </c:dPt>
          <c:dPt>
            <c:idx val="85"/>
            <c:invertIfNegative val="1"/>
            <c:bubble3D val="0"/>
            <c:spPr>
              <a:solidFill>
                <a:srgbClr val="AEABAB"/>
              </a:solidFill>
            </c:spPr>
            <c:extLst>
              <c:ext xmlns:c16="http://schemas.microsoft.com/office/drawing/2014/chart" uri="{C3380CC4-5D6E-409C-BE32-E72D297353CC}">
                <c16:uniqueId val="{000000AD-2993-41DE-A2CB-63102DE87051}"/>
              </c:ext>
            </c:extLst>
          </c:dPt>
          <c:dPt>
            <c:idx val="86"/>
            <c:invertIfNegative val="1"/>
            <c:bubble3D val="0"/>
            <c:spPr>
              <a:solidFill>
                <a:srgbClr val="AEABAB"/>
              </a:solidFill>
            </c:spPr>
            <c:extLst>
              <c:ext xmlns:c16="http://schemas.microsoft.com/office/drawing/2014/chart" uri="{C3380CC4-5D6E-409C-BE32-E72D297353CC}">
                <c16:uniqueId val="{000000AF-2993-41DE-A2CB-63102DE87051}"/>
              </c:ext>
            </c:extLst>
          </c:dPt>
          <c:dPt>
            <c:idx val="87"/>
            <c:invertIfNegative val="1"/>
            <c:bubble3D val="0"/>
            <c:spPr>
              <a:solidFill>
                <a:srgbClr val="AEABAB"/>
              </a:solidFill>
            </c:spPr>
            <c:extLst>
              <c:ext xmlns:c16="http://schemas.microsoft.com/office/drawing/2014/chart" uri="{C3380CC4-5D6E-409C-BE32-E72D297353CC}">
                <c16:uniqueId val="{000000B1-2993-41DE-A2CB-63102DE87051}"/>
              </c:ext>
            </c:extLst>
          </c:dPt>
          <c:dPt>
            <c:idx val="88"/>
            <c:invertIfNegative val="1"/>
            <c:bubble3D val="0"/>
            <c:spPr>
              <a:solidFill>
                <a:srgbClr val="AEABAB"/>
              </a:solidFill>
            </c:spPr>
            <c:extLst>
              <c:ext xmlns:c16="http://schemas.microsoft.com/office/drawing/2014/chart" uri="{C3380CC4-5D6E-409C-BE32-E72D297353CC}">
                <c16:uniqueId val="{000000B3-2993-41DE-A2CB-63102DE87051}"/>
              </c:ext>
            </c:extLst>
          </c:dPt>
          <c:dPt>
            <c:idx val="89"/>
            <c:invertIfNegative val="1"/>
            <c:bubble3D val="0"/>
            <c:spPr>
              <a:solidFill>
                <a:srgbClr val="AEABAB"/>
              </a:solidFill>
            </c:spPr>
            <c:extLst>
              <c:ext xmlns:c16="http://schemas.microsoft.com/office/drawing/2014/chart" uri="{C3380CC4-5D6E-409C-BE32-E72D297353CC}">
                <c16:uniqueId val="{000000B5-2993-41DE-A2CB-63102DE87051}"/>
              </c:ext>
            </c:extLst>
          </c:dPt>
          <c:dPt>
            <c:idx val="90"/>
            <c:invertIfNegative val="1"/>
            <c:bubble3D val="0"/>
            <c:spPr>
              <a:solidFill>
                <a:srgbClr val="AEABAB"/>
              </a:solidFill>
            </c:spPr>
            <c:extLst>
              <c:ext xmlns:c16="http://schemas.microsoft.com/office/drawing/2014/chart" uri="{C3380CC4-5D6E-409C-BE32-E72D297353CC}">
                <c16:uniqueId val="{000000B7-2993-41DE-A2CB-63102DE87051}"/>
              </c:ext>
            </c:extLst>
          </c:dPt>
          <c:dPt>
            <c:idx val="91"/>
            <c:invertIfNegative val="1"/>
            <c:bubble3D val="0"/>
            <c:spPr>
              <a:solidFill>
                <a:srgbClr val="AEABAB"/>
              </a:solidFill>
            </c:spPr>
            <c:extLst>
              <c:ext xmlns:c16="http://schemas.microsoft.com/office/drawing/2014/chart" uri="{C3380CC4-5D6E-409C-BE32-E72D297353CC}">
                <c16:uniqueId val="{000000B9-2993-41DE-A2CB-63102DE87051}"/>
              </c:ext>
            </c:extLst>
          </c:dPt>
          <c:dPt>
            <c:idx val="92"/>
            <c:invertIfNegative val="1"/>
            <c:bubble3D val="0"/>
            <c:spPr>
              <a:solidFill>
                <a:srgbClr val="AEABAB"/>
              </a:solidFill>
            </c:spPr>
            <c:extLst>
              <c:ext xmlns:c16="http://schemas.microsoft.com/office/drawing/2014/chart" uri="{C3380CC4-5D6E-409C-BE32-E72D297353CC}">
                <c16:uniqueId val="{000000BB-2993-41DE-A2CB-63102DE87051}"/>
              </c:ext>
            </c:extLst>
          </c:dPt>
          <c:dPt>
            <c:idx val="93"/>
            <c:invertIfNegative val="1"/>
            <c:bubble3D val="0"/>
            <c:spPr>
              <a:solidFill>
                <a:srgbClr val="AEABAB"/>
              </a:solidFill>
            </c:spPr>
            <c:extLst>
              <c:ext xmlns:c16="http://schemas.microsoft.com/office/drawing/2014/chart" uri="{C3380CC4-5D6E-409C-BE32-E72D297353CC}">
                <c16:uniqueId val="{000000BD-2993-41DE-A2CB-63102DE87051}"/>
              </c:ext>
            </c:extLst>
          </c:dPt>
          <c:dPt>
            <c:idx val="94"/>
            <c:invertIfNegative val="1"/>
            <c:bubble3D val="0"/>
            <c:spPr>
              <a:solidFill>
                <a:srgbClr val="AEABAB"/>
              </a:solidFill>
            </c:spPr>
            <c:extLst>
              <c:ext xmlns:c16="http://schemas.microsoft.com/office/drawing/2014/chart" uri="{C3380CC4-5D6E-409C-BE32-E72D297353CC}">
                <c16:uniqueId val="{000000BF-2993-41DE-A2CB-63102DE87051}"/>
              </c:ext>
            </c:extLst>
          </c:dPt>
          <c:dPt>
            <c:idx val="95"/>
            <c:invertIfNegative val="1"/>
            <c:bubble3D val="0"/>
            <c:spPr>
              <a:solidFill>
                <a:srgbClr val="AEABAB"/>
              </a:solidFill>
            </c:spPr>
            <c:extLst>
              <c:ext xmlns:c16="http://schemas.microsoft.com/office/drawing/2014/chart" uri="{C3380CC4-5D6E-409C-BE32-E72D297353CC}">
                <c16:uniqueId val="{000000C1-2993-41DE-A2CB-63102DE87051}"/>
              </c:ext>
            </c:extLst>
          </c:dPt>
          <c:dPt>
            <c:idx val="96"/>
            <c:invertIfNegative val="1"/>
            <c:bubble3D val="0"/>
            <c:spPr>
              <a:solidFill>
                <a:srgbClr val="AEABAB"/>
              </a:solidFill>
            </c:spPr>
            <c:extLst>
              <c:ext xmlns:c16="http://schemas.microsoft.com/office/drawing/2014/chart" uri="{C3380CC4-5D6E-409C-BE32-E72D297353CC}">
                <c16:uniqueId val="{000000C3-2993-41DE-A2CB-63102DE87051}"/>
              </c:ext>
            </c:extLst>
          </c:dPt>
          <c:dPt>
            <c:idx val="97"/>
            <c:invertIfNegative val="1"/>
            <c:bubble3D val="0"/>
            <c:spPr>
              <a:solidFill>
                <a:srgbClr val="AEABAB"/>
              </a:solidFill>
            </c:spPr>
            <c:extLst>
              <c:ext xmlns:c16="http://schemas.microsoft.com/office/drawing/2014/chart" uri="{C3380CC4-5D6E-409C-BE32-E72D297353CC}">
                <c16:uniqueId val="{000000C5-2993-41DE-A2CB-63102DE87051}"/>
              </c:ext>
            </c:extLst>
          </c:dPt>
          <c:dPt>
            <c:idx val="98"/>
            <c:invertIfNegative val="1"/>
            <c:bubble3D val="0"/>
            <c:spPr>
              <a:solidFill>
                <a:srgbClr val="AEABAB"/>
              </a:solidFill>
            </c:spPr>
            <c:extLst>
              <c:ext xmlns:c16="http://schemas.microsoft.com/office/drawing/2014/chart" uri="{C3380CC4-5D6E-409C-BE32-E72D297353CC}">
                <c16:uniqueId val="{000000C7-2993-41DE-A2CB-63102DE87051}"/>
              </c:ext>
            </c:extLst>
          </c:dPt>
          <c:dPt>
            <c:idx val="99"/>
            <c:invertIfNegative val="1"/>
            <c:bubble3D val="0"/>
            <c:spPr>
              <a:solidFill>
                <a:srgbClr val="AEABAB"/>
              </a:solidFill>
            </c:spPr>
            <c:extLst>
              <c:ext xmlns:c16="http://schemas.microsoft.com/office/drawing/2014/chart" uri="{C3380CC4-5D6E-409C-BE32-E72D297353CC}">
                <c16:uniqueId val="{000000C9-2993-41DE-A2CB-63102DE87051}"/>
              </c:ext>
            </c:extLst>
          </c:dPt>
          <c:dPt>
            <c:idx val="100"/>
            <c:invertIfNegative val="1"/>
            <c:bubble3D val="0"/>
            <c:spPr>
              <a:solidFill>
                <a:srgbClr val="AEABAB"/>
              </a:solidFill>
            </c:spPr>
            <c:extLst>
              <c:ext xmlns:c16="http://schemas.microsoft.com/office/drawing/2014/chart" uri="{C3380CC4-5D6E-409C-BE32-E72D297353CC}">
                <c16:uniqueId val="{000000CB-2993-41DE-A2CB-63102DE87051}"/>
              </c:ext>
            </c:extLst>
          </c:dPt>
          <c:dPt>
            <c:idx val="101"/>
            <c:invertIfNegative val="1"/>
            <c:bubble3D val="0"/>
            <c:spPr>
              <a:solidFill>
                <a:srgbClr val="AEABAB"/>
              </a:solidFill>
            </c:spPr>
            <c:extLst>
              <c:ext xmlns:c16="http://schemas.microsoft.com/office/drawing/2014/chart" uri="{C3380CC4-5D6E-409C-BE32-E72D297353CC}">
                <c16:uniqueId val="{000000CD-2993-41DE-A2CB-63102DE87051}"/>
              </c:ext>
            </c:extLst>
          </c:dPt>
          <c:dPt>
            <c:idx val="102"/>
            <c:invertIfNegative val="1"/>
            <c:bubble3D val="0"/>
            <c:spPr>
              <a:solidFill>
                <a:srgbClr val="AEABAB"/>
              </a:solidFill>
            </c:spPr>
            <c:extLst>
              <c:ext xmlns:c16="http://schemas.microsoft.com/office/drawing/2014/chart" uri="{C3380CC4-5D6E-409C-BE32-E72D297353CC}">
                <c16:uniqueId val="{000000CF-2993-41DE-A2CB-63102DE87051}"/>
              </c:ext>
            </c:extLst>
          </c:dPt>
          <c:dPt>
            <c:idx val="103"/>
            <c:invertIfNegative val="1"/>
            <c:bubble3D val="0"/>
            <c:spPr>
              <a:solidFill>
                <a:srgbClr val="AEABAB"/>
              </a:solidFill>
            </c:spPr>
            <c:extLst>
              <c:ext xmlns:c16="http://schemas.microsoft.com/office/drawing/2014/chart" uri="{C3380CC4-5D6E-409C-BE32-E72D297353CC}">
                <c16:uniqueId val="{000000D1-2993-41DE-A2CB-63102DE87051}"/>
              </c:ext>
            </c:extLst>
          </c:dPt>
          <c:dPt>
            <c:idx val="104"/>
            <c:invertIfNegative val="1"/>
            <c:bubble3D val="0"/>
            <c:spPr>
              <a:solidFill>
                <a:srgbClr val="AEABAB"/>
              </a:solidFill>
            </c:spPr>
            <c:extLst>
              <c:ext xmlns:c16="http://schemas.microsoft.com/office/drawing/2014/chart" uri="{C3380CC4-5D6E-409C-BE32-E72D297353CC}">
                <c16:uniqueId val="{000000D3-2993-41DE-A2CB-63102DE87051}"/>
              </c:ext>
            </c:extLst>
          </c:dPt>
          <c:dPt>
            <c:idx val="105"/>
            <c:invertIfNegative val="1"/>
            <c:bubble3D val="0"/>
            <c:spPr>
              <a:solidFill>
                <a:srgbClr val="AEABAB"/>
              </a:solidFill>
            </c:spPr>
            <c:extLst>
              <c:ext xmlns:c16="http://schemas.microsoft.com/office/drawing/2014/chart" uri="{C3380CC4-5D6E-409C-BE32-E72D297353CC}">
                <c16:uniqueId val="{000000D5-2993-41DE-A2CB-63102DE87051}"/>
              </c:ext>
            </c:extLst>
          </c:dPt>
          <c:dPt>
            <c:idx val="106"/>
            <c:invertIfNegative val="1"/>
            <c:bubble3D val="0"/>
            <c:spPr>
              <a:solidFill>
                <a:srgbClr val="AEABAB"/>
              </a:solidFill>
            </c:spPr>
            <c:extLst>
              <c:ext xmlns:c16="http://schemas.microsoft.com/office/drawing/2014/chart" uri="{C3380CC4-5D6E-409C-BE32-E72D297353CC}">
                <c16:uniqueId val="{000000D7-2993-41DE-A2CB-63102DE87051}"/>
              </c:ext>
            </c:extLst>
          </c:dPt>
          <c:dPt>
            <c:idx val="107"/>
            <c:invertIfNegative val="1"/>
            <c:bubble3D val="0"/>
            <c:spPr>
              <a:solidFill>
                <a:srgbClr val="AEABAB"/>
              </a:solidFill>
            </c:spPr>
            <c:extLst>
              <c:ext xmlns:c16="http://schemas.microsoft.com/office/drawing/2014/chart" uri="{C3380CC4-5D6E-409C-BE32-E72D297353CC}">
                <c16:uniqueId val="{000000D9-2993-41DE-A2CB-63102DE87051}"/>
              </c:ext>
            </c:extLst>
          </c:dPt>
          <c:dPt>
            <c:idx val="108"/>
            <c:invertIfNegative val="1"/>
            <c:bubble3D val="0"/>
            <c:spPr>
              <a:solidFill>
                <a:srgbClr val="AEABAB"/>
              </a:solidFill>
            </c:spPr>
            <c:extLst>
              <c:ext xmlns:c16="http://schemas.microsoft.com/office/drawing/2014/chart" uri="{C3380CC4-5D6E-409C-BE32-E72D297353CC}">
                <c16:uniqueId val="{000000DB-2993-41DE-A2CB-63102DE87051}"/>
              </c:ext>
            </c:extLst>
          </c:dPt>
          <c:dPt>
            <c:idx val="109"/>
            <c:invertIfNegative val="1"/>
            <c:bubble3D val="0"/>
            <c:spPr>
              <a:solidFill>
                <a:srgbClr val="AEABAB"/>
              </a:solidFill>
            </c:spPr>
            <c:extLst>
              <c:ext xmlns:c16="http://schemas.microsoft.com/office/drawing/2014/chart" uri="{C3380CC4-5D6E-409C-BE32-E72D297353CC}">
                <c16:uniqueId val="{000000DD-2993-41DE-A2CB-63102DE87051}"/>
              </c:ext>
            </c:extLst>
          </c:dPt>
          <c:dPt>
            <c:idx val="110"/>
            <c:invertIfNegative val="1"/>
            <c:bubble3D val="0"/>
            <c:spPr>
              <a:solidFill>
                <a:srgbClr val="AEABAB"/>
              </a:solidFill>
            </c:spPr>
            <c:extLst>
              <c:ext xmlns:c16="http://schemas.microsoft.com/office/drawing/2014/chart" uri="{C3380CC4-5D6E-409C-BE32-E72D297353CC}">
                <c16:uniqueId val="{000000DF-2993-41DE-A2CB-63102DE87051}"/>
              </c:ext>
            </c:extLst>
          </c:dPt>
          <c:dPt>
            <c:idx val="111"/>
            <c:invertIfNegative val="1"/>
            <c:bubble3D val="0"/>
            <c:spPr>
              <a:solidFill>
                <a:srgbClr val="AEABAB"/>
              </a:solidFill>
            </c:spPr>
            <c:extLst>
              <c:ext xmlns:c16="http://schemas.microsoft.com/office/drawing/2014/chart" uri="{C3380CC4-5D6E-409C-BE32-E72D297353CC}">
                <c16:uniqueId val="{000000E1-2993-41DE-A2CB-63102DE87051}"/>
              </c:ext>
            </c:extLst>
          </c:dPt>
          <c:dPt>
            <c:idx val="112"/>
            <c:invertIfNegative val="1"/>
            <c:bubble3D val="0"/>
            <c:spPr>
              <a:solidFill>
                <a:srgbClr val="AEABAB"/>
              </a:solidFill>
            </c:spPr>
            <c:extLst>
              <c:ext xmlns:c16="http://schemas.microsoft.com/office/drawing/2014/chart" uri="{C3380CC4-5D6E-409C-BE32-E72D297353CC}">
                <c16:uniqueId val="{000000E3-2993-41DE-A2CB-63102DE87051}"/>
              </c:ext>
            </c:extLst>
          </c:dPt>
          <c:dPt>
            <c:idx val="113"/>
            <c:invertIfNegative val="1"/>
            <c:bubble3D val="0"/>
            <c:spPr>
              <a:solidFill>
                <a:srgbClr val="AEABAB"/>
              </a:solidFill>
            </c:spPr>
            <c:extLst>
              <c:ext xmlns:c16="http://schemas.microsoft.com/office/drawing/2014/chart" uri="{C3380CC4-5D6E-409C-BE32-E72D297353CC}">
                <c16:uniqueId val="{000000E5-2993-41DE-A2CB-63102DE87051}"/>
              </c:ext>
            </c:extLst>
          </c:dPt>
          <c:dPt>
            <c:idx val="114"/>
            <c:invertIfNegative val="1"/>
            <c:bubble3D val="0"/>
            <c:spPr>
              <a:solidFill>
                <a:srgbClr val="AEABAB"/>
              </a:solidFill>
            </c:spPr>
            <c:extLst>
              <c:ext xmlns:c16="http://schemas.microsoft.com/office/drawing/2014/chart" uri="{C3380CC4-5D6E-409C-BE32-E72D297353CC}">
                <c16:uniqueId val="{000000E7-2993-41DE-A2CB-63102DE87051}"/>
              </c:ext>
            </c:extLst>
          </c:dPt>
          <c:dPt>
            <c:idx val="115"/>
            <c:invertIfNegative val="1"/>
            <c:bubble3D val="0"/>
            <c:spPr>
              <a:solidFill>
                <a:srgbClr val="AEABAB"/>
              </a:solidFill>
            </c:spPr>
            <c:extLst>
              <c:ext xmlns:c16="http://schemas.microsoft.com/office/drawing/2014/chart" uri="{C3380CC4-5D6E-409C-BE32-E72D297353CC}">
                <c16:uniqueId val="{000000E9-2993-41DE-A2CB-63102DE87051}"/>
              </c:ext>
            </c:extLst>
          </c:dPt>
          <c:dPt>
            <c:idx val="116"/>
            <c:invertIfNegative val="1"/>
            <c:bubble3D val="0"/>
            <c:spPr>
              <a:solidFill>
                <a:srgbClr val="AEABAB"/>
              </a:solidFill>
            </c:spPr>
            <c:extLst>
              <c:ext xmlns:c16="http://schemas.microsoft.com/office/drawing/2014/chart" uri="{C3380CC4-5D6E-409C-BE32-E72D297353CC}">
                <c16:uniqueId val="{000000EB-2993-41DE-A2CB-63102DE87051}"/>
              </c:ext>
            </c:extLst>
          </c:dPt>
          <c:dPt>
            <c:idx val="117"/>
            <c:invertIfNegative val="1"/>
            <c:bubble3D val="0"/>
            <c:spPr>
              <a:solidFill>
                <a:srgbClr val="AEABAB"/>
              </a:solidFill>
            </c:spPr>
            <c:extLst>
              <c:ext xmlns:c16="http://schemas.microsoft.com/office/drawing/2014/chart" uri="{C3380CC4-5D6E-409C-BE32-E72D297353CC}">
                <c16:uniqueId val="{000000ED-2993-41DE-A2CB-63102DE87051}"/>
              </c:ext>
            </c:extLst>
          </c:dPt>
          <c:dPt>
            <c:idx val="118"/>
            <c:invertIfNegative val="1"/>
            <c:bubble3D val="0"/>
            <c:spPr>
              <a:solidFill>
                <a:srgbClr val="AEABAB"/>
              </a:solidFill>
            </c:spPr>
            <c:extLst>
              <c:ext xmlns:c16="http://schemas.microsoft.com/office/drawing/2014/chart" uri="{C3380CC4-5D6E-409C-BE32-E72D297353CC}">
                <c16:uniqueId val="{000000EF-2993-41DE-A2CB-63102DE87051}"/>
              </c:ext>
            </c:extLst>
          </c:dPt>
          <c:dPt>
            <c:idx val="119"/>
            <c:invertIfNegative val="1"/>
            <c:bubble3D val="0"/>
            <c:spPr>
              <a:solidFill>
                <a:srgbClr val="AEABAB"/>
              </a:solidFill>
            </c:spPr>
            <c:extLst>
              <c:ext xmlns:c16="http://schemas.microsoft.com/office/drawing/2014/chart" uri="{C3380CC4-5D6E-409C-BE32-E72D297353CC}">
                <c16:uniqueId val="{000000F1-2993-41DE-A2CB-63102DE87051}"/>
              </c:ext>
            </c:extLst>
          </c:dPt>
          <c:dPt>
            <c:idx val="120"/>
            <c:invertIfNegative val="1"/>
            <c:bubble3D val="0"/>
            <c:spPr>
              <a:solidFill>
                <a:srgbClr val="AEABAB"/>
              </a:solidFill>
            </c:spPr>
            <c:extLst>
              <c:ext xmlns:c16="http://schemas.microsoft.com/office/drawing/2014/chart" uri="{C3380CC4-5D6E-409C-BE32-E72D297353CC}">
                <c16:uniqueId val="{000000F3-2993-41DE-A2CB-63102DE87051}"/>
              </c:ext>
            </c:extLst>
          </c:dPt>
          <c:dPt>
            <c:idx val="121"/>
            <c:invertIfNegative val="1"/>
            <c:bubble3D val="0"/>
            <c:spPr>
              <a:solidFill>
                <a:srgbClr val="AEABAB"/>
              </a:solidFill>
            </c:spPr>
            <c:extLst>
              <c:ext xmlns:c16="http://schemas.microsoft.com/office/drawing/2014/chart" uri="{C3380CC4-5D6E-409C-BE32-E72D297353CC}">
                <c16:uniqueId val="{000000F5-2993-41DE-A2CB-63102DE87051}"/>
              </c:ext>
            </c:extLst>
          </c:dPt>
          <c:dPt>
            <c:idx val="122"/>
            <c:invertIfNegative val="1"/>
            <c:bubble3D val="0"/>
            <c:spPr>
              <a:solidFill>
                <a:srgbClr val="AEABAB"/>
              </a:solidFill>
            </c:spPr>
            <c:extLst>
              <c:ext xmlns:c16="http://schemas.microsoft.com/office/drawing/2014/chart" uri="{C3380CC4-5D6E-409C-BE32-E72D297353CC}">
                <c16:uniqueId val="{000000F7-2993-41DE-A2CB-63102DE87051}"/>
              </c:ext>
            </c:extLst>
          </c:dPt>
          <c:dPt>
            <c:idx val="123"/>
            <c:invertIfNegative val="1"/>
            <c:bubble3D val="0"/>
            <c:spPr>
              <a:solidFill>
                <a:srgbClr val="AEABAB"/>
              </a:solidFill>
            </c:spPr>
            <c:extLst>
              <c:ext xmlns:c16="http://schemas.microsoft.com/office/drawing/2014/chart" uri="{C3380CC4-5D6E-409C-BE32-E72D297353CC}">
                <c16:uniqueId val="{000000F9-2993-41DE-A2CB-63102DE87051}"/>
              </c:ext>
            </c:extLst>
          </c:dPt>
          <c:dPt>
            <c:idx val="124"/>
            <c:invertIfNegative val="1"/>
            <c:bubble3D val="0"/>
            <c:spPr>
              <a:solidFill>
                <a:srgbClr val="AEABAB"/>
              </a:solidFill>
            </c:spPr>
            <c:extLst>
              <c:ext xmlns:c16="http://schemas.microsoft.com/office/drawing/2014/chart" uri="{C3380CC4-5D6E-409C-BE32-E72D297353CC}">
                <c16:uniqueId val="{000000FB-2993-41DE-A2CB-63102DE87051}"/>
              </c:ext>
            </c:extLst>
          </c:dPt>
          <c:dPt>
            <c:idx val="125"/>
            <c:invertIfNegative val="1"/>
            <c:bubble3D val="0"/>
            <c:spPr>
              <a:solidFill>
                <a:srgbClr val="AEABAB"/>
              </a:solidFill>
            </c:spPr>
            <c:extLst>
              <c:ext xmlns:c16="http://schemas.microsoft.com/office/drawing/2014/chart" uri="{C3380CC4-5D6E-409C-BE32-E72D297353CC}">
                <c16:uniqueId val="{000000FD-2993-41DE-A2CB-63102DE87051}"/>
              </c:ext>
            </c:extLst>
          </c:dPt>
          <c:dPt>
            <c:idx val="126"/>
            <c:invertIfNegative val="1"/>
            <c:bubble3D val="0"/>
            <c:spPr>
              <a:solidFill>
                <a:srgbClr val="AEABAB"/>
              </a:solidFill>
            </c:spPr>
            <c:extLst>
              <c:ext xmlns:c16="http://schemas.microsoft.com/office/drawing/2014/chart" uri="{C3380CC4-5D6E-409C-BE32-E72D297353CC}">
                <c16:uniqueId val="{000000FF-2993-41DE-A2CB-63102DE87051}"/>
              </c:ext>
            </c:extLst>
          </c:dPt>
          <c:dPt>
            <c:idx val="127"/>
            <c:invertIfNegative val="1"/>
            <c:bubble3D val="0"/>
            <c:spPr>
              <a:solidFill>
                <a:srgbClr val="AEABAB"/>
              </a:solidFill>
            </c:spPr>
            <c:extLst>
              <c:ext xmlns:c16="http://schemas.microsoft.com/office/drawing/2014/chart" uri="{C3380CC4-5D6E-409C-BE32-E72D297353CC}">
                <c16:uniqueId val="{00000101-2993-41DE-A2CB-63102DE87051}"/>
              </c:ext>
            </c:extLst>
          </c:dPt>
          <c:dPt>
            <c:idx val="128"/>
            <c:invertIfNegative val="1"/>
            <c:bubble3D val="0"/>
            <c:spPr>
              <a:solidFill>
                <a:srgbClr val="AEABAB"/>
              </a:solidFill>
            </c:spPr>
            <c:extLst>
              <c:ext xmlns:c16="http://schemas.microsoft.com/office/drawing/2014/chart" uri="{C3380CC4-5D6E-409C-BE32-E72D297353CC}">
                <c16:uniqueId val="{00000103-2993-41DE-A2CB-63102DE87051}"/>
              </c:ext>
            </c:extLst>
          </c:dPt>
          <c:dPt>
            <c:idx val="129"/>
            <c:invertIfNegative val="1"/>
            <c:bubble3D val="0"/>
            <c:spPr>
              <a:solidFill>
                <a:srgbClr val="AEABAB"/>
              </a:solidFill>
            </c:spPr>
            <c:extLst>
              <c:ext xmlns:c16="http://schemas.microsoft.com/office/drawing/2014/chart" uri="{C3380CC4-5D6E-409C-BE32-E72D297353CC}">
                <c16:uniqueId val="{00000105-2993-41DE-A2CB-63102DE87051}"/>
              </c:ext>
            </c:extLst>
          </c:dPt>
          <c:dPt>
            <c:idx val="130"/>
            <c:invertIfNegative val="1"/>
            <c:bubble3D val="0"/>
            <c:spPr>
              <a:solidFill>
                <a:srgbClr val="AEABAB"/>
              </a:solidFill>
            </c:spPr>
            <c:extLst>
              <c:ext xmlns:c16="http://schemas.microsoft.com/office/drawing/2014/chart" uri="{C3380CC4-5D6E-409C-BE32-E72D297353CC}">
                <c16:uniqueId val="{00000107-2993-41DE-A2CB-63102DE87051}"/>
              </c:ext>
            </c:extLst>
          </c:dPt>
          <c:dPt>
            <c:idx val="131"/>
            <c:invertIfNegative val="1"/>
            <c:bubble3D val="0"/>
            <c:spPr>
              <a:solidFill>
                <a:srgbClr val="AEABAB"/>
              </a:solidFill>
            </c:spPr>
            <c:extLst>
              <c:ext xmlns:c16="http://schemas.microsoft.com/office/drawing/2014/chart" uri="{C3380CC4-5D6E-409C-BE32-E72D297353CC}">
                <c16:uniqueId val="{00000109-2993-41DE-A2CB-63102DE87051}"/>
              </c:ext>
            </c:extLst>
          </c:dPt>
          <c:dPt>
            <c:idx val="132"/>
            <c:invertIfNegative val="1"/>
            <c:bubble3D val="0"/>
            <c:spPr>
              <a:solidFill>
                <a:srgbClr val="AEABAB"/>
              </a:solidFill>
            </c:spPr>
            <c:extLst>
              <c:ext xmlns:c16="http://schemas.microsoft.com/office/drawing/2014/chart" uri="{C3380CC4-5D6E-409C-BE32-E72D297353CC}">
                <c16:uniqueId val="{0000010B-2993-41DE-A2CB-63102DE87051}"/>
              </c:ext>
            </c:extLst>
          </c:dPt>
          <c:dPt>
            <c:idx val="133"/>
            <c:invertIfNegative val="1"/>
            <c:bubble3D val="0"/>
            <c:spPr>
              <a:solidFill>
                <a:srgbClr val="AEABAB"/>
              </a:solidFill>
            </c:spPr>
            <c:extLst>
              <c:ext xmlns:c16="http://schemas.microsoft.com/office/drawing/2014/chart" uri="{C3380CC4-5D6E-409C-BE32-E72D297353CC}">
                <c16:uniqueId val="{0000010D-2993-41DE-A2CB-63102DE87051}"/>
              </c:ext>
            </c:extLst>
          </c:dPt>
          <c:dPt>
            <c:idx val="134"/>
            <c:invertIfNegative val="1"/>
            <c:bubble3D val="0"/>
            <c:spPr>
              <a:solidFill>
                <a:srgbClr val="AEABAB"/>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136</c:f>
              <c:strCache>
                <c:ptCount val="135"/>
                <c:pt idx="0">
                  <c:v>Ruinart</c:v>
                </c:pt>
                <c:pt idx="1">
                  <c:v>Nicolas</c:v>
                </c:pt>
                <c:pt idx="2">
                  <c:v>Deutz</c:v>
                </c:pt>
                <c:pt idx="3">
                  <c:v>Laurent Per</c:v>
                </c:pt>
                <c:pt idx="4">
                  <c:v>Heidsieck &amp;</c:v>
                </c:pt>
                <c:pt idx="5">
                  <c:v>Ayala</c:v>
                </c:pt>
                <c:pt idx="6">
                  <c:v>De Bligny</c:v>
                </c:pt>
                <c:pt idx="7">
                  <c:v>Taittinger</c:v>
                </c:pt>
                <c:pt idx="8">
                  <c:v>Canard Duch</c:v>
                </c:pt>
                <c:pt idx="9">
                  <c:v>Bollinger</c:v>
                </c:pt>
                <c:pt idx="10">
                  <c:v>Besserat De</c:v>
                </c:pt>
                <c:pt idx="11">
                  <c:v>Ruinart</c:v>
                </c:pt>
                <c:pt idx="12">
                  <c:v>Demoiselle</c:v>
                </c:pt>
                <c:pt idx="13">
                  <c:v>Perrier Jou</c:v>
                </c:pt>
                <c:pt idx="14">
                  <c:v>Ruinart</c:v>
                </c:pt>
                <c:pt idx="15">
                  <c:v>All Others</c:v>
                </c:pt>
                <c:pt idx="16">
                  <c:v>Deutz</c:v>
                </c:pt>
                <c:pt idx="17">
                  <c:v>Laurent Per</c:v>
                </c:pt>
                <c:pt idx="18">
                  <c:v>Campari: Al</c:v>
                </c:pt>
                <c:pt idx="19">
                  <c:v>Roederer</c:v>
                </c:pt>
                <c:pt idx="20">
                  <c:v>Pommery</c:v>
                </c:pt>
                <c:pt idx="21">
                  <c:v>All Others</c:v>
                </c:pt>
                <c:pt idx="22">
                  <c:v>Moët &amp; Chan</c:v>
                </c:pt>
                <c:pt idx="23">
                  <c:v>Veuve Clicq</c:v>
                </c:pt>
                <c:pt idx="24">
                  <c:v>Savian</c:v>
                </c:pt>
                <c:pt idx="25">
                  <c:v>Veuve Clicq</c:v>
                </c:pt>
                <c:pt idx="26">
                  <c:v>Taittinger</c:v>
                </c:pt>
                <c:pt idx="27">
                  <c:v>Henriot</c:v>
                </c:pt>
                <c:pt idx="28">
                  <c:v>Veuve Clicq</c:v>
                </c:pt>
                <c:pt idx="29">
                  <c:v>All Others</c:v>
                </c:pt>
                <c:pt idx="30">
                  <c:v>Roederer</c:v>
                </c:pt>
                <c:pt idx="31">
                  <c:v>De Venoge</c:v>
                </c:pt>
                <c:pt idx="32">
                  <c:v>Ruinart</c:v>
                </c:pt>
                <c:pt idx="33">
                  <c:v>Deutz</c:v>
                </c:pt>
                <c:pt idx="34">
                  <c:v>Piper Heids</c:v>
                </c:pt>
                <c:pt idx="35">
                  <c:v>Nicolas</c:v>
                </c:pt>
                <c:pt idx="36">
                  <c:v>Campari: Al</c:v>
                </c:pt>
                <c:pt idx="37">
                  <c:v>Lanson</c:v>
                </c:pt>
                <c:pt idx="38">
                  <c:v>Nicolas Feu</c:v>
                </c:pt>
                <c:pt idx="39">
                  <c:v>Canard Duch</c:v>
                </c:pt>
                <c:pt idx="40">
                  <c:v>Henriot</c:v>
                </c:pt>
                <c:pt idx="41">
                  <c:v>Krug</c:v>
                </c:pt>
                <c:pt idx="42">
                  <c:v>Bollinger</c:v>
                </c:pt>
                <c:pt idx="43">
                  <c:v>Roederer</c:v>
                </c:pt>
                <c:pt idx="44">
                  <c:v>De Venoge</c:v>
                </c:pt>
                <c:pt idx="45">
                  <c:v>Canard Duch</c:v>
                </c:pt>
                <c:pt idx="46">
                  <c:v>Nicolas</c:v>
                </c:pt>
                <c:pt idx="47">
                  <c:v>Roederer</c:v>
                </c:pt>
                <c:pt idx="48">
                  <c:v>De Venoge</c:v>
                </c:pt>
                <c:pt idx="49">
                  <c:v>Vranken</c:v>
                </c:pt>
                <c:pt idx="50">
                  <c:v>Moët &amp; Chan</c:v>
                </c:pt>
                <c:pt idx="51">
                  <c:v>Nicolas</c:v>
                </c:pt>
                <c:pt idx="52">
                  <c:v>Roederer</c:v>
                </c:pt>
                <c:pt idx="53">
                  <c:v>Canard Duch</c:v>
                </c:pt>
                <c:pt idx="54">
                  <c:v>Veuve Clicq</c:v>
                </c:pt>
                <c:pt idx="55">
                  <c:v>Canard Duch</c:v>
                </c:pt>
                <c:pt idx="56">
                  <c:v>Laurent Per</c:v>
                </c:pt>
                <c:pt idx="57">
                  <c:v>Nicolas</c:v>
                </c:pt>
                <c:pt idx="58">
                  <c:v>Nicolas Feu</c:v>
                </c:pt>
                <c:pt idx="59">
                  <c:v>All Others</c:v>
                </c:pt>
                <c:pt idx="60">
                  <c:v>All Others</c:v>
                </c:pt>
                <c:pt idx="61">
                  <c:v>Roederer</c:v>
                </c:pt>
                <c:pt idx="62">
                  <c:v>Demoiselle</c:v>
                </c:pt>
                <c:pt idx="63">
                  <c:v>Laurent Per</c:v>
                </c:pt>
                <c:pt idx="64">
                  <c:v>Pommery</c:v>
                </c:pt>
                <c:pt idx="65">
                  <c:v>Roederer</c:v>
                </c:pt>
                <c:pt idx="66">
                  <c:v>Ruinart</c:v>
                </c:pt>
                <c:pt idx="67">
                  <c:v>Moët &amp; Chan</c:v>
                </c:pt>
                <c:pt idx="68">
                  <c:v>Pommery</c:v>
                </c:pt>
                <c:pt idx="69">
                  <c:v>Nicolas</c:v>
                </c:pt>
                <c:pt idx="70">
                  <c:v>Ruinart</c:v>
                </c:pt>
                <c:pt idx="71">
                  <c:v>Ruinart</c:v>
                </c:pt>
                <c:pt idx="72">
                  <c:v>Roederer</c:v>
                </c:pt>
                <c:pt idx="73">
                  <c:v>Vranken</c:v>
                </c:pt>
                <c:pt idx="74">
                  <c:v>Deutz</c:v>
                </c:pt>
                <c:pt idx="75">
                  <c:v>Laurent Per</c:v>
                </c:pt>
                <c:pt idx="76">
                  <c:v>Pommery</c:v>
                </c:pt>
                <c:pt idx="77">
                  <c:v>Canard Duch</c:v>
                </c:pt>
                <c:pt idx="78">
                  <c:v>Moët &amp; Chan</c:v>
                </c:pt>
                <c:pt idx="79">
                  <c:v>Ruinart</c:v>
                </c:pt>
                <c:pt idx="80">
                  <c:v>Nicolas</c:v>
                </c:pt>
                <c:pt idx="81">
                  <c:v>Laurent Per</c:v>
                </c:pt>
                <c:pt idx="82">
                  <c:v>Roederer</c:v>
                </c:pt>
                <c:pt idx="83">
                  <c:v>Malard</c:v>
                </c:pt>
                <c:pt idx="84">
                  <c:v>Bollinger</c:v>
                </c:pt>
                <c:pt idx="85">
                  <c:v>Bollinger</c:v>
                </c:pt>
                <c:pt idx="86">
                  <c:v>All Others</c:v>
                </c:pt>
                <c:pt idx="87">
                  <c:v>Moët &amp; Chan</c:v>
                </c:pt>
                <c:pt idx="88">
                  <c:v>Henriot</c:v>
                </c:pt>
                <c:pt idx="89">
                  <c:v>Moët &amp; Chan</c:v>
                </c:pt>
                <c:pt idx="90">
                  <c:v>All Others</c:v>
                </c:pt>
                <c:pt idx="91">
                  <c:v>De Venoge</c:v>
                </c:pt>
                <c:pt idx="92">
                  <c:v>Deutz</c:v>
                </c:pt>
                <c:pt idx="93">
                  <c:v>Laurent Per</c:v>
                </c:pt>
                <c:pt idx="94">
                  <c:v>All Others</c:v>
                </c:pt>
                <c:pt idx="95">
                  <c:v>Nicolas Feu</c:v>
                </c:pt>
                <c:pt idx="96">
                  <c:v>All Others</c:v>
                </c:pt>
                <c:pt idx="97">
                  <c:v>All Others</c:v>
                </c:pt>
                <c:pt idx="98">
                  <c:v>Piper Heids</c:v>
                </c:pt>
                <c:pt idx="99">
                  <c:v>Bollinger</c:v>
                </c:pt>
                <c:pt idx="100">
                  <c:v>Ruinart</c:v>
                </c:pt>
                <c:pt idx="101">
                  <c:v>Canard Duch</c:v>
                </c:pt>
                <c:pt idx="102">
                  <c:v>Taittinger</c:v>
                </c:pt>
                <c:pt idx="103">
                  <c:v>Martel</c:v>
                </c:pt>
                <c:pt idx="104">
                  <c:v>Delamotte</c:v>
                </c:pt>
                <c:pt idx="105">
                  <c:v>Roederer</c:v>
                </c:pt>
                <c:pt idx="106">
                  <c:v>Lanson</c:v>
                </c:pt>
                <c:pt idx="107">
                  <c:v>De Venoge</c:v>
                </c:pt>
                <c:pt idx="108">
                  <c:v>Ayala</c:v>
                </c:pt>
                <c:pt idx="109">
                  <c:v>Besserat De</c:v>
                </c:pt>
                <c:pt idx="110">
                  <c:v>Canard Duch</c:v>
                </c:pt>
                <c:pt idx="111">
                  <c:v>Demoiselle</c:v>
                </c:pt>
                <c:pt idx="112">
                  <c:v>Roederer</c:v>
                </c:pt>
                <c:pt idx="113">
                  <c:v>Heidsieck &amp;</c:v>
                </c:pt>
                <c:pt idx="114">
                  <c:v>Roederer</c:v>
                </c:pt>
                <c:pt idx="115">
                  <c:v>Taittinger</c:v>
                </c:pt>
                <c:pt idx="116">
                  <c:v>Laurent Per</c:v>
                </c:pt>
                <c:pt idx="117">
                  <c:v>Laurent Per</c:v>
                </c:pt>
                <c:pt idx="118">
                  <c:v>Laurent Per</c:v>
                </c:pt>
                <c:pt idx="119">
                  <c:v>Heidsieck &amp;</c:v>
                </c:pt>
                <c:pt idx="120">
                  <c:v>Taittinger</c:v>
                </c:pt>
                <c:pt idx="121">
                  <c:v>Nicolas Feu</c:v>
                </c:pt>
                <c:pt idx="122">
                  <c:v>Nicolas Feu</c:v>
                </c:pt>
                <c:pt idx="123">
                  <c:v>Veuve Clicq</c:v>
                </c:pt>
                <c:pt idx="124">
                  <c:v>Laurent Per</c:v>
                </c:pt>
                <c:pt idx="125">
                  <c:v>Nicolas</c:v>
                </c:pt>
                <c:pt idx="126">
                  <c:v>All Others</c:v>
                </c:pt>
                <c:pt idx="127">
                  <c:v>Demoiselle</c:v>
                </c:pt>
                <c:pt idx="128">
                  <c:v>Roederer</c:v>
                </c:pt>
                <c:pt idx="129">
                  <c:v>Taittinger</c:v>
                </c:pt>
                <c:pt idx="130">
                  <c:v>All Others</c:v>
                </c:pt>
                <c:pt idx="131">
                  <c:v>Moët &amp; Chan</c:v>
                </c:pt>
                <c:pt idx="132">
                  <c:v>Besserat De</c:v>
                </c:pt>
                <c:pt idx="133">
                  <c:v>Moët &amp; Chan</c:v>
                </c:pt>
                <c:pt idx="134">
                  <c:v>Roederer</c:v>
                </c:pt>
              </c:strCache>
            </c:strRef>
          </c:cat>
          <c:val>
            <c:numRef>
              <c:f>Sheet1!$C$2:$C$136</c:f>
              <c:numCache>
                <c:formatCode>General</c:formatCode>
                <c:ptCount val="135"/>
                <c:pt idx="0">
                  <c:v>0.1588340739961101</c:v>
                </c:pt>
                <c:pt idx="1">
                  <c:v>0.25321726111180143</c:v>
                </c:pt>
                <c:pt idx="2">
                  <c:v>0.33220475135469785</c:v>
                </c:pt>
                <c:pt idx="3">
                  <c:v>0.38250511722713926</c:v>
                </c:pt>
                <c:pt idx="4">
                  <c:v>0.43038683729876526</c:v>
                </c:pt>
                <c:pt idx="5">
                  <c:v>0.47272271337989918</c:v>
                </c:pt>
                <c:pt idx="6">
                  <c:v>0.50902981533897951</c:v>
                </c:pt>
                <c:pt idx="7">
                  <c:v>0.53905916999664116</c:v>
                </c:pt>
                <c:pt idx="8">
                  <c:v>0.56795304301777105</c:v>
                </c:pt>
                <c:pt idx="9">
                  <c:v>0.59477591656157591</c:v>
                </c:pt>
                <c:pt idx="10">
                  <c:v>0.62056845649991843</c:v>
                </c:pt>
                <c:pt idx="11">
                  <c:v>0.64623273857134222</c:v>
                </c:pt>
                <c:pt idx="12">
                  <c:v>0.6666148216499278</c:v>
                </c:pt>
                <c:pt idx="13">
                  <c:v>0.68649868284267912</c:v>
                </c:pt>
                <c:pt idx="14">
                  <c:v>0.70316834816266116</c:v>
                </c:pt>
                <c:pt idx="15">
                  <c:v>0.71976820180266354</c:v>
                </c:pt>
                <c:pt idx="16">
                  <c:v>0.7359077529745216</c:v>
                </c:pt>
                <c:pt idx="17">
                  <c:v>0.74956962666352922</c:v>
                </c:pt>
                <c:pt idx="18">
                  <c:v>0.76293720296456136</c:v>
                </c:pt>
                <c:pt idx="19">
                  <c:v>0.77624275122630215</c:v>
                </c:pt>
                <c:pt idx="20">
                  <c:v>0.78867963141086128</c:v>
                </c:pt>
                <c:pt idx="21">
                  <c:v>0.80038529710225381</c:v>
                </c:pt>
                <c:pt idx="22">
                  <c:v>0.8116646190410719</c:v>
                </c:pt>
                <c:pt idx="23">
                  <c:v>0.82283111263079611</c:v>
                </c:pt>
                <c:pt idx="24">
                  <c:v>0.83330617095299586</c:v>
                </c:pt>
                <c:pt idx="25">
                  <c:v>0.84345008013705813</c:v>
                </c:pt>
                <c:pt idx="26">
                  <c:v>0.85266690949788759</c:v>
                </c:pt>
                <c:pt idx="27">
                  <c:v>0.86155238307525162</c:v>
                </c:pt>
                <c:pt idx="28">
                  <c:v>0.86963128549650115</c:v>
                </c:pt>
                <c:pt idx="29">
                  <c:v>0.8775520009191583</c:v>
                </c:pt>
                <c:pt idx="30">
                  <c:v>0.88514401250672614</c:v>
                </c:pt>
                <c:pt idx="31">
                  <c:v>0.89268549931159535</c:v>
                </c:pt>
                <c:pt idx="32">
                  <c:v>0.89945482140746391</c:v>
                </c:pt>
                <c:pt idx="33">
                  <c:v>0.90609375030135764</c:v>
                </c:pt>
                <c:pt idx="34">
                  <c:v>0.91267729824734445</c:v>
                </c:pt>
                <c:pt idx="35">
                  <c:v>0.9181284986776076</c:v>
                </c:pt>
                <c:pt idx="36">
                  <c:v>0.92341338405970996</c:v>
                </c:pt>
                <c:pt idx="37">
                  <c:v>0.92866114216454643</c:v>
                </c:pt>
                <c:pt idx="38">
                  <c:v>0.9332675420530131</c:v>
                </c:pt>
                <c:pt idx="39">
                  <c:v>0.93775122905752928</c:v>
                </c:pt>
                <c:pt idx="40">
                  <c:v>0.94210548720493459</c:v>
                </c:pt>
                <c:pt idx="41">
                  <c:v>0.94621445734799103</c:v>
                </c:pt>
                <c:pt idx="42">
                  <c:v>0.95030124755917433</c:v>
                </c:pt>
                <c:pt idx="43">
                  <c:v>0.95320850623807152</c:v>
                </c:pt>
                <c:pt idx="44">
                  <c:v>0.95559932380138146</c:v>
                </c:pt>
                <c:pt idx="45">
                  <c:v>0.95790906751433513</c:v>
                </c:pt>
                <c:pt idx="46">
                  <c:v>0.96021113090926435</c:v>
                </c:pt>
                <c:pt idx="47">
                  <c:v>0.96247293290611946</c:v>
                </c:pt>
                <c:pt idx="48">
                  <c:v>0.96457778777635028</c:v>
                </c:pt>
                <c:pt idx="49">
                  <c:v>0.96646311642645755</c:v>
                </c:pt>
                <c:pt idx="50">
                  <c:v>0.96829630157213009</c:v>
                </c:pt>
                <c:pt idx="51">
                  <c:v>0.97004335005691011</c:v>
                </c:pt>
                <c:pt idx="52">
                  <c:v>0.97174101030829552</c:v>
                </c:pt>
                <c:pt idx="53">
                  <c:v>0.97334688559315607</c:v>
                </c:pt>
                <c:pt idx="54">
                  <c:v>0.97493113200035153</c:v>
                </c:pt>
                <c:pt idx="55">
                  <c:v>0.9764741526646088</c:v>
                </c:pt>
                <c:pt idx="56">
                  <c:v>0.97796468541555126</c:v>
                </c:pt>
                <c:pt idx="57">
                  <c:v>0.97942363587219605</c:v>
                </c:pt>
                <c:pt idx="58">
                  <c:v>0.98086161182804776</c:v>
                </c:pt>
                <c:pt idx="59">
                  <c:v>0.98202288968969298</c:v>
                </c:pt>
                <c:pt idx="60">
                  <c:v>0.98315899126220885</c:v>
                </c:pt>
                <c:pt idx="61">
                  <c:v>0.98423006843817729</c:v>
                </c:pt>
                <c:pt idx="62">
                  <c:v>0.98515621835743405</c:v>
                </c:pt>
                <c:pt idx="63">
                  <c:v>0.98601744720280737</c:v>
                </c:pt>
                <c:pt idx="64">
                  <c:v>0.98686782716846011</c:v>
                </c:pt>
                <c:pt idx="65">
                  <c:v>0.98768965563795941</c:v>
                </c:pt>
                <c:pt idx="66">
                  <c:v>0.98844759626021528</c:v>
                </c:pt>
                <c:pt idx="67">
                  <c:v>0.98918439017723814</c:v>
                </c:pt>
                <c:pt idx="68">
                  <c:v>0.98989363138385944</c:v>
                </c:pt>
                <c:pt idx="69">
                  <c:v>0.99058882070817611</c:v>
                </c:pt>
                <c:pt idx="70">
                  <c:v>0.99120035311553634</c:v>
                </c:pt>
                <c:pt idx="71">
                  <c:v>0.9917874324924153</c:v>
                </c:pt>
                <c:pt idx="72">
                  <c:v>0.99235601711243726</c:v>
                </c:pt>
                <c:pt idx="73">
                  <c:v>0.99289491368700167</c:v>
                </c:pt>
                <c:pt idx="74">
                  <c:v>0.99339657966163608</c:v>
                </c:pt>
                <c:pt idx="75">
                  <c:v>0.99387930314786954</c:v>
                </c:pt>
                <c:pt idx="76">
                  <c:v>0.99428935636041915</c:v>
                </c:pt>
                <c:pt idx="77">
                  <c:v>0.99465632402207849</c:v>
                </c:pt>
                <c:pt idx="78">
                  <c:v>0.99500517577664882</c:v>
                </c:pt>
                <c:pt idx="79">
                  <c:v>0.99534014785335445</c:v>
                </c:pt>
                <c:pt idx="80">
                  <c:v>0.99567322568121996</c:v>
                </c:pt>
                <c:pt idx="81">
                  <c:v>0.99598102389729215</c:v>
                </c:pt>
                <c:pt idx="82">
                  <c:v>0.99625861745458677</c:v>
                </c:pt>
                <c:pt idx="83">
                  <c:v>0.99651461657510421</c:v>
                </c:pt>
                <c:pt idx="84">
                  <c:v>0.99676162662385326</c:v>
                </c:pt>
                <c:pt idx="85">
                  <c:v>0.99699420594052945</c:v>
                </c:pt>
                <c:pt idx="86">
                  <c:v>0.99721865720763725</c:v>
                </c:pt>
                <c:pt idx="87">
                  <c:v>0.99744235077520904</c:v>
                </c:pt>
                <c:pt idx="88">
                  <c:v>0.99763587412489119</c:v>
                </c:pt>
                <c:pt idx="89">
                  <c:v>0.99781706763666878</c:v>
                </c:pt>
                <c:pt idx="90">
                  <c:v>0.99798414038436556</c:v>
                </c:pt>
                <c:pt idx="91">
                  <c:v>0.99813023863126926</c:v>
                </c:pt>
                <c:pt idx="92">
                  <c:v>0.99825708442177996</c:v>
                </c:pt>
                <c:pt idx="93">
                  <c:v>0.998372116987706</c:v>
                </c:pt>
                <c:pt idx="94">
                  <c:v>0.99847444086595938</c:v>
                </c:pt>
                <c:pt idx="95">
                  <c:v>0.99857063426614845</c:v>
                </c:pt>
                <c:pt idx="96">
                  <c:v>0.99866675878456146</c:v>
                </c:pt>
                <c:pt idx="97">
                  <c:v>0.99875503078051009</c:v>
                </c:pt>
                <c:pt idx="98">
                  <c:v>0.99884195958182664</c:v>
                </c:pt>
                <c:pt idx="99">
                  <c:v>0.99892096697890276</c:v>
                </c:pt>
                <c:pt idx="100">
                  <c:v>0.99899811456802678</c:v>
                </c:pt>
                <c:pt idx="101">
                  <c:v>0.99907078484171064</c:v>
                </c:pt>
                <c:pt idx="102">
                  <c:v>0.99913794457331417</c:v>
                </c:pt>
                <c:pt idx="103">
                  <c:v>0.99919907714951739</c:v>
                </c:pt>
                <c:pt idx="104">
                  <c:v>0.99925783330444851</c:v>
                </c:pt>
                <c:pt idx="105">
                  <c:v>0.99931424747899544</c:v>
                </c:pt>
                <c:pt idx="106">
                  <c:v>0.99935850402007775</c:v>
                </c:pt>
                <c:pt idx="107">
                  <c:v>0.99943275857460967</c:v>
                </c:pt>
                <c:pt idx="108">
                  <c:v>0.99946609735419545</c:v>
                </c:pt>
                <c:pt idx="109">
                  <c:v>0.99949588872231698</c:v>
                </c:pt>
                <c:pt idx="110">
                  <c:v>0.99952481906823853</c:v>
                </c:pt>
                <c:pt idx="111">
                  <c:v>0.99955326724172799</c:v>
                </c:pt>
                <c:pt idx="112">
                  <c:v>0.99958081995212944</c:v>
                </c:pt>
                <c:pt idx="113">
                  <c:v>0.99960492857373073</c:v>
                </c:pt>
                <c:pt idx="114">
                  <c:v>0.999629002754444</c:v>
                </c:pt>
                <c:pt idx="115">
                  <c:v>0.99967360370440628</c:v>
                </c:pt>
                <c:pt idx="116">
                  <c:v>0.99969426823720742</c:v>
                </c:pt>
                <c:pt idx="117">
                  <c:v>0.99971476056556852</c:v>
                </c:pt>
                <c:pt idx="118">
                  <c:v>0.99973318644064946</c:v>
                </c:pt>
                <c:pt idx="119">
                  <c:v>0.99975109570241039</c:v>
                </c:pt>
                <c:pt idx="120">
                  <c:v>0.9997688672006193</c:v>
                </c:pt>
                <c:pt idx="121">
                  <c:v>0.99981932310154198</c:v>
                </c:pt>
                <c:pt idx="122">
                  <c:v>0.99983399491983072</c:v>
                </c:pt>
                <c:pt idx="123">
                  <c:v>0.99985820686409599</c:v>
                </c:pt>
                <c:pt idx="124">
                  <c:v>0.9998895825130657</c:v>
                </c:pt>
                <c:pt idx="125">
                  <c:v>0.99992819074851569</c:v>
                </c:pt>
                <c:pt idx="126">
                  <c:v>0.99994275924414044</c:v>
                </c:pt>
                <c:pt idx="127">
                  <c:v>0.99994961298085283</c:v>
                </c:pt>
                <c:pt idx="128">
                  <c:v>0.99998153968403047</c:v>
                </c:pt>
                <c:pt idx="129">
                  <c:v>0.9999843293959586</c:v>
                </c:pt>
                <c:pt idx="130">
                  <c:v>0.99998701578522275</c:v>
                </c:pt>
                <c:pt idx="131">
                  <c:v>0.99998970217448691</c:v>
                </c:pt>
                <c:pt idx="132">
                  <c:v>0.99999176862776706</c:v>
                </c:pt>
                <c:pt idx="133">
                  <c:v>0.99999545380278321</c:v>
                </c:pt>
                <c:pt idx="134">
                  <c:v>0.99999703808363127</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120</c:f>
              <c:strCache>
                <c:ptCount val="119"/>
                <c:pt idx="0">
                  <c:v>Ruinart</c:v>
                </c:pt>
                <c:pt idx="1">
                  <c:v>Nicolas</c:v>
                </c:pt>
                <c:pt idx="2">
                  <c:v>Deutz</c:v>
                </c:pt>
                <c:pt idx="3">
                  <c:v>Heidsieck &amp;</c:v>
                </c:pt>
                <c:pt idx="4">
                  <c:v>Ruinart</c:v>
                </c:pt>
                <c:pt idx="5">
                  <c:v>Laurent Per</c:v>
                </c:pt>
                <c:pt idx="6">
                  <c:v>De Bligny</c:v>
                </c:pt>
                <c:pt idx="7">
                  <c:v>Ayala</c:v>
                </c:pt>
                <c:pt idx="8">
                  <c:v>Bollinger</c:v>
                </c:pt>
                <c:pt idx="9">
                  <c:v>Taittinger</c:v>
                </c:pt>
                <c:pt idx="10">
                  <c:v>Canard Duch</c:v>
                </c:pt>
                <c:pt idx="11">
                  <c:v>Ruinart</c:v>
                </c:pt>
                <c:pt idx="12">
                  <c:v>Deutz</c:v>
                </c:pt>
                <c:pt idx="13">
                  <c:v>Demoiselle</c:v>
                </c:pt>
                <c:pt idx="14">
                  <c:v>Perrier Jou</c:v>
                </c:pt>
                <c:pt idx="15">
                  <c:v>Besserat De</c:v>
                </c:pt>
                <c:pt idx="16">
                  <c:v>Pommery</c:v>
                </c:pt>
                <c:pt idx="17">
                  <c:v>Roederer</c:v>
                </c:pt>
                <c:pt idx="18">
                  <c:v>Laurent Per</c:v>
                </c:pt>
                <c:pt idx="19">
                  <c:v>Moët &amp; Chan</c:v>
                </c:pt>
                <c:pt idx="20">
                  <c:v>All Others</c:v>
                </c:pt>
                <c:pt idx="21">
                  <c:v>Taittinger</c:v>
                </c:pt>
                <c:pt idx="22">
                  <c:v>Veuve Clicq</c:v>
                </c:pt>
                <c:pt idx="23">
                  <c:v>Savian</c:v>
                </c:pt>
                <c:pt idx="24">
                  <c:v>Roederer</c:v>
                </c:pt>
                <c:pt idx="25">
                  <c:v>Veuve Clicq</c:v>
                </c:pt>
                <c:pt idx="26">
                  <c:v>Campari: Al</c:v>
                </c:pt>
                <c:pt idx="27">
                  <c:v>Veuve Clicq</c:v>
                </c:pt>
                <c:pt idx="28">
                  <c:v>All Others</c:v>
                </c:pt>
                <c:pt idx="29">
                  <c:v>Krug</c:v>
                </c:pt>
                <c:pt idx="30">
                  <c:v>All Others</c:v>
                </c:pt>
                <c:pt idx="31">
                  <c:v>Ruinart</c:v>
                </c:pt>
                <c:pt idx="32">
                  <c:v>Roederer</c:v>
                </c:pt>
                <c:pt idx="33">
                  <c:v>Nicolas</c:v>
                </c:pt>
                <c:pt idx="34">
                  <c:v>Piper Heids</c:v>
                </c:pt>
                <c:pt idx="35">
                  <c:v>Henriot</c:v>
                </c:pt>
                <c:pt idx="36">
                  <c:v>Bollinger</c:v>
                </c:pt>
                <c:pt idx="37">
                  <c:v>Nicolas Feu</c:v>
                </c:pt>
                <c:pt idx="38">
                  <c:v>Lanson</c:v>
                </c:pt>
                <c:pt idx="39">
                  <c:v>Deutz</c:v>
                </c:pt>
                <c:pt idx="40">
                  <c:v>Roederer</c:v>
                </c:pt>
                <c:pt idx="41">
                  <c:v>Canard Duch</c:v>
                </c:pt>
                <c:pt idx="42">
                  <c:v>Nicolas</c:v>
                </c:pt>
                <c:pt idx="43">
                  <c:v>Campari: Al</c:v>
                </c:pt>
                <c:pt idx="44">
                  <c:v>De Venoge</c:v>
                </c:pt>
                <c:pt idx="45">
                  <c:v>Henriot</c:v>
                </c:pt>
                <c:pt idx="46">
                  <c:v>Moët &amp; Chan</c:v>
                </c:pt>
                <c:pt idx="47">
                  <c:v>Nicolas</c:v>
                </c:pt>
                <c:pt idx="48">
                  <c:v>Canard Duch</c:v>
                </c:pt>
                <c:pt idx="49">
                  <c:v>Vranken</c:v>
                </c:pt>
                <c:pt idx="50">
                  <c:v>Ruinart</c:v>
                </c:pt>
                <c:pt idx="51">
                  <c:v>Laurent Per</c:v>
                </c:pt>
                <c:pt idx="52">
                  <c:v>Canard Duch</c:v>
                </c:pt>
                <c:pt idx="53">
                  <c:v>Moët &amp; Chan</c:v>
                </c:pt>
                <c:pt idx="54">
                  <c:v>De Venoge</c:v>
                </c:pt>
                <c:pt idx="55">
                  <c:v>De Venoge</c:v>
                </c:pt>
                <c:pt idx="56">
                  <c:v>Demoiselle</c:v>
                </c:pt>
                <c:pt idx="57">
                  <c:v>Ruinart</c:v>
                </c:pt>
                <c:pt idx="58">
                  <c:v>Nicolas</c:v>
                </c:pt>
                <c:pt idx="59">
                  <c:v>Nicolas</c:v>
                </c:pt>
                <c:pt idx="60">
                  <c:v>Ruinart</c:v>
                </c:pt>
                <c:pt idx="61">
                  <c:v>All Others</c:v>
                </c:pt>
                <c:pt idx="62">
                  <c:v>Canard Duch</c:v>
                </c:pt>
                <c:pt idx="63">
                  <c:v>Laurent Per</c:v>
                </c:pt>
                <c:pt idx="64">
                  <c:v>Laurent Per</c:v>
                </c:pt>
                <c:pt idx="65">
                  <c:v>Moët &amp; Chan</c:v>
                </c:pt>
                <c:pt idx="66">
                  <c:v>Roederer</c:v>
                </c:pt>
                <c:pt idx="67">
                  <c:v>Nicolas Feu</c:v>
                </c:pt>
                <c:pt idx="68">
                  <c:v>All Others</c:v>
                </c:pt>
                <c:pt idx="69">
                  <c:v>Roederer</c:v>
                </c:pt>
                <c:pt idx="70">
                  <c:v>Ruinart</c:v>
                </c:pt>
                <c:pt idx="71">
                  <c:v>Veuve Clicq</c:v>
                </c:pt>
                <c:pt idx="72">
                  <c:v>Canard Duch</c:v>
                </c:pt>
                <c:pt idx="73">
                  <c:v>Ruinart</c:v>
                </c:pt>
                <c:pt idx="74">
                  <c:v>Roederer</c:v>
                </c:pt>
                <c:pt idx="75">
                  <c:v>Roederer</c:v>
                </c:pt>
                <c:pt idx="76">
                  <c:v>Pommery</c:v>
                </c:pt>
                <c:pt idx="77">
                  <c:v>Pommery</c:v>
                </c:pt>
                <c:pt idx="78">
                  <c:v>Pommery</c:v>
                </c:pt>
                <c:pt idx="79">
                  <c:v>Vranken</c:v>
                </c:pt>
                <c:pt idx="80">
                  <c:v>Bollinger</c:v>
                </c:pt>
                <c:pt idx="81">
                  <c:v>Deutz</c:v>
                </c:pt>
                <c:pt idx="82">
                  <c:v>Malard</c:v>
                </c:pt>
                <c:pt idx="83">
                  <c:v>Demoiselle</c:v>
                </c:pt>
                <c:pt idx="84">
                  <c:v>All Others</c:v>
                </c:pt>
                <c:pt idx="85">
                  <c:v>Nicolas</c:v>
                </c:pt>
                <c:pt idx="86">
                  <c:v>Taittinger</c:v>
                </c:pt>
                <c:pt idx="87">
                  <c:v>Moët &amp; Chan</c:v>
                </c:pt>
                <c:pt idx="88">
                  <c:v>Veuve Clicq</c:v>
                </c:pt>
                <c:pt idx="89">
                  <c:v>All Others</c:v>
                </c:pt>
                <c:pt idx="90">
                  <c:v>Pommery</c:v>
                </c:pt>
                <c:pt idx="91">
                  <c:v>Henriot</c:v>
                </c:pt>
                <c:pt idx="92">
                  <c:v>De Venoge</c:v>
                </c:pt>
                <c:pt idx="93">
                  <c:v>All Others</c:v>
                </c:pt>
                <c:pt idx="94">
                  <c:v>Veuve Clicq</c:v>
                </c:pt>
                <c:pt idx="95">
                  <c:v>Roederer</c:v>
                </c:pt>
                <c:pt idx="96">
                  <c:v>Pommery</c:v>
                </c:pt>
                <c:pt idx="97">
                  <c:v>All Others</c:v>
                </c:pt>
                <c:pt idx="98">
                  <c:v>Nicolas Feu</c:v>
                </c:pt>
                <c:pt idx="99">
                  <c:v>De Venoge</c:v>
                </c:pt>
                <c:pt idx="100">
                  <c:v>Roederer</c:v>
                </c:pt>
                <c:pt idx="101">
                  <c:v>Canard Duch</c:v>
                </c:pt>
                <c:pt idx="102">
                  <c:v>Laurent Per</c:v>
                </c:pt>
                <c:pt idx="103">
                  <c:v>Moët &amp; Chan</c:v>
                </c:pt>
                <c:pt idx="104">
                  <c:v>Roederer</c:v>
                </c:pt>
                <c:pt idx="105">
                  <c:v>Demoiselle</c:v>
                </c:pt>
                <c:pt idx="106">
                  <c:v>All Others</c:v>
                </c:pt>
                <c:pt idx="107">
                  <c:v>Roederer</c:v>
                </c:pt>
                <c:pt idx="108">
                  <c:v>Laurent Per</c:v>
                </c:pt>
                <c:pt idx="109">
                  <c:v>Martel</c:v>
                </c:pt>
                <c:pt idx="110">
                  <c:v>Besserat De</c:v>
                </c:pt>
                <c:pt idx="111">
                  <c:v>Lanson</c:v>
                </c:pt>
                <c:pt idx="112">
                  <c:v>Vranken</c:v>
                </c:pt>
                <c:pt idx="113">
                  <c:v>Piper Heids</c:v>
                </c:pt>
                <c:pt idx="114">
                  <c:v>Nicolas Feu</c:v>
                </c:pt>
                <c:pt idx="115">
                  <c:v>All Others</c:v>
                </c:pt>
                <c:pt idx="116">
                  <c:v>Roederer</c:v>
                </c:pt>
                <c:pt idx="117">
                  <c:v>Nicolas</c:v>
                </c:pt>
                <c:pt idx="118">
                  <c:v>Bollinger</c:v>
                </c:pt>
              </c:strCache>
            </c:strRef>
          </c:cat>
          <c:val>
            <c:numRef>
              <c:f>Sheet1!$B$2:$B$120</c:f>
              <c:numCache>
                <c:formatCode>General</c:formatCode>
                <c:ptCount val="119"/>
                <c:pt idx="0">
                  <c:v>1</c:v>
                </c:pt>
                <c:pt idx="1">
                  <c:v>1</c:v>
                </c:pt>
                <c:pt idx="2">
                  <c:v>1</c:v>
                </c:pt>
                <c:pt idx="3">
                  <c:v>0.99</c:v>
                </c:pt>
                <c:pt idx="4">
                  <c:v>0.85</c:v>
                </c:pt>
                <c:pt idx="5">
                  <c:v>1</c:v>
                </c:pt>
                <c:pt idx="6">
                  <c:v>0.93</c:v>
                </c:pt>
                <c:pt idx="7">
                  <c:v>0.94</c:v>
                </c:pt>
                <c:pt idx="8">
                  <c:v>0.88</c:v>
                </c:pt>
                <c:pt idx="9">
                  <c:v>0.92</c:v>
                </c:pt>
                <c:pt idx="10">
                  <c:v>0.95</c:v>
                </c:pt>
                <c:pt idx="11">
                  <c:v>0.73</c:v>
                </c:pt>
                <c:pt idx="12">
                  <c:v>0.81</c:v>
                </c:pt>
                <c:pt idx="13">
                  <c:v>0.95</c:v>
                </c:pt>
                <c:pt idx="14">
                  <c:v>0.8</c:v>
                </c:pt>
                <c:pt idx="15">
                  <c:v>0.82</c:v>
                </c:pt>
                <c:pt idx="16">
                  <c:v>0.75</c:v>
                </c:pt>
                <c:pt idx="17">
                  <c:v>0.79</c:v>
                </c:pt>
                <c:pt idx="18">
                  <c:v>0.93</c:v>
                </c:pt>
                <c:pt idx="19">
                  <c:v>0.86</c:v>
                </c:pt>
                <c:pt idx="20">
                  <c:v>0.74</c:v>
                </c:pt>
                <c:pt idx="21">
                  <c:v>0.6</c:v>
                </c:pt>
                <c:pt idx="22">
                  <c:v>0.7</c:v>
                </c:pt>
                <c:pt idx="23">
                  <c:v>0.79</c:v>
                </c:pt>
                <c:pt idx="24">
                  <c:v>0.71</c:v>
                </c:pt>
                <c:pt idx="25">
                  <c:v>0.73</c:v>
                </c:pt>
                <c:pt idx="26">
                  <c:v>0.71</c:v>
                </c:pt>
                <c:pt idx="27">
                  <c:v>0.6</c:v>
                </c:pt>
                <c:pt idx="28">
                  <c:v>0.56000000000000005</c:v>
                </c:pt>
                <c:pt idx="29">
                  <c:v>0.3</c:v>
                </c:pt>
                <c:pt idx="30">
                  <c:v>0.59</c:v>
                </c:pt>
                <c:pt idx="31">
                  <c:v>0.56000000000000005</c:v>
                </c:pt>
                <c:pt idx="32">
                  <c:v>0.38</c:v>
                </c:pt>
                <c:pt idx="33">
                  <c:v>0.78</c:v>
                </c:pt>
                <c:pt idx="34">
                  <c:v>0.6</c:v>
                </c:pt>
                <c:pt idx="35">
                  <c:v>0.56000000000000005</c:v>
                </c:pt>
                <c:pt idx="36">
                  <c:v>0.38</c:v>
                </c:pt>
                <c:pt idx="37">
                  <c:v>0.54</c:v>
                </c:pt>
                <c:pt idx="38">
                  <c:v>0.69</c:v>
                </c:pt>
                <c:pt idx="39">
                  <c:v>0.84</c:v>
                </c:pt>
                <c:pt idx="40">
                  <c:v>0.3</c:v>
                </c:pt>
                <c:pt idx="41">
                  <c:v>0.77</c:v>
                </c:pt>
                <c:pt idx="42">
                  <c:v>0.39</c:v>
                </c:pt>
                <c:pt idx="43">
                  <c:v>0.43</c:v>
                </c:pt>
                <c:pt idx="44">
                  <c:v>0.54</c:v>
                </c:pt>
                <c:pt idx="45">
                  <c:v>0.56000000000000005</c:v>
                </c:pt>
                <c:pt idx="46">
                  <c:v>0.64</c:v>
                </c:pt>
                <c:pt idx="47">
                  <c:v>0.44</c:v>
                </c:pt>
                <c:pt idx="48">
                  <c:v>0.3</c:v>
                </c:pt>
                <c:pt idx="49">
                  <c:v>0.23</c:v>
                </c:pt>
                <c:pt idx="50">
                  <c:v>0.22</c:v>
                </c:pt>
                <c:pt idx="51">
                  <c:v>0.31</c:v>
                </c:pt>
                <c:pt idx="52">
                  <c:v>0.41</c:v>
                </c:pt>
                <c:pt idx="53">
                  <c:v>0.28000000000000003</c:v>
                </c:pt>
                <c:pt idx="54">
                  <c:v>0.37</c:v>
                </c:pt>
                <c:pt idx="55">
                  <c:v>0.16</c:v>
                </c:pt>
                <c:pt idx="56">
                  <c:v>0.28000000000000003</c:v>
                </c:pt>
                <c:pt idx="57">
                  <c:v>0.21</c:v>
                </c:pt>
                <c:pt idx="58">
                  <c:v>0.19</c:v>
                </c:pt>
                <c:pt idx="59">
                  <c:v>0.26</c:v>
                </c:pt>
                <c:pt idx="60">
                  <c:v>0.15</c:v>
                </c:pt>
                <c:pt idx="61">
                  <c:v>0.22</c:v>
                </c:pt>
                <c:pt idx="62">
                  <c:v>0.19</c:v>
                </c:pt>
                <c:pt idx="63">
                  <c:v>0.25</c:v>
                </c:pt>
                <c:pt idx="64">
                  <c:v>0.17</c:v>
                </c:pt>
                <c:pt idx="65">
                  <c:v>0.31</c:v>
                </c:pt>
                <c:pt idx="66">
                  <c:v>0.25</c:v>
                </c:pt>
                <c:pt idx="67">
                  <c:v>0.28000000000000003</c:v>
                </c:pt>
                <c:pt idx="68">
                  <c:v>0.3</c:v>
                </c:pt>
                <c:pt idx="69">
                  <c:v>0.06</c:v>
                </c:pt>
                <c:pt idx="70">
                  <c:v>0.2</c:v>
                </c:pt>
                <c:pt idx="71">
                  <c:v>0.23</c:v>
                </c:pt>
                <c:pt idx="72">
                  <c:v>0.28000000000000003</c:v>
                </c:pt>
                <c:pt idx="73">
                  <c:v>0.14000000000000001</c:v>
                </c:pt>
                <c:pt idx="74">
                  <c:v>0.31</c:v>
                </c:pt>
                <c:pt idx="75">
                  <c:v>0.19</c:v>
                </c:pt>
                <c:pt idx="76">
                  <c:v>0.22</c:v>
                </c:pt>
                <c:pt idx="77">
                  <c:v>0.23</c:v>
                </c:pt>
                <c:pt idx="78">
                  <c:v>0.18</c:v>
                </c:pt>
                <c:pt idx="79">
                  <c:v>0.12</c:v>
                </c:pt>
                <c:pt idx="80">
                  <c:v>0.08</c:v>
                </c:pt>
                <c:pt idx="81">
                  <c:v>0.08</c:v>
                </c:pt>
                <c:pt idx="82">
                  <c:v>0.13</c:v>
                </c:pt>
                <c:pt idx="83">
                  <c:v>0.16</c:v>
                </c:pt>
                <c:pt idx="84">
                  <c:v>0.08</c:v>
                </c:pt>
                <c:pt idx="85">
                  <c:v>0.14000000000000001</c:v>
                </c:pt>
                <c:pt idx="86">
                  <c:v>0.1</c:v>
                </c:pt>
                <c:pt idx="87">
                  <c:v>0.16</c:v>
                </c:pt>
                <c:pt idx="88">
                  <c:v>0.2</c:v>
                </c:pt>
                <c:pt idx="89">
                  <c:v>0.17</c:v>
                </c:pt>
                <c:pt idx="90">
                  <c:v>0.06</c:v>
                </c:pt>
                <c:pt idx="91">
                  <c:v>0.05</c:v>
                </c:pt>
                <c:pt idx="92">
                  <c:v>0.03</c:v>
                </c:pt>
                <c:pt idx="93">
                  <c:v>0.03</c:v>
                </c:pt>
                <c:pt idx="94">
                  <c:v>0.17</c:v>
                </c:pt>
                <c:pt idx="95">
                  <c:v>0.02</c:v>
                </c:pt>
                <c:pt idx="96">
                  <c:v>0.05</c:v>
                </c:pt>
                <c:pt idx="97">
                  <c:v>0.08</c:v>
                </c:pt>
                <c:pt idx="98">
                  <c:v>0.08</c:v>
                </c:pt>
                <c:pt idx="99">
                  <c:v>0.03</c:v>
                </c:pt>
                <c:pt idx="100">
                  <c:v>0.02</c:v>
                </c:pt>
                <c:pt idx="101">
                  <c:v>0.04</c:v>
                </c:pt>
                <c:pt idx="102">
                  <c:v>0.03</c:v>
                </c:pt>
                <c:pt idx="103">
                  <c:v>0.03</c:v>
                </c:pt>
                <c:pt idx="104">
                  <c:v>0.03</c:v>
                </c:pt>
                <c:pt idx="105">
                  <c:v>0.05</c:v>
                </c:pt>
                <c:pt idx="106">
                  <c:v>0.02</c:v>
                </c:pt>
                <c:pt idx="107">
                  <c:v>0.01</c:v>
                </c:pt>
                <c:pt idx="108">
                  <c:v>0.02</c:v>
                </c:pt>
                <c:pt idx="109">
                  <c:v>0.06</c:v>
                </c:pt>
                <c:pt idx="110">
                  <c:v>0.03</c:v>
                </c:pt>
                <c:pt idx="111">
                  <c:v>0.01</c:v>
                </c:pt>
                <c:pt idx="112">
                  <c:v>0.08</c:v>
                </c:pt>
                <c:pt idx="113">
                  <c:v>0.03</c:v>
                </c:pt>
                <c:pt idx="114">
                  <c:v>0.01</c:v>
                </c:pt>
                <c:pt idx="115">
                  <c:v>0.04</c:v>
                </c:pt>
                <c:pt idx="116">
                  <c:v>0.01</c:v>
                </c:pt>
                <c:pt idx="117">
                  <c:v>0.02</c:v>
                </c:pt>
                <c:pt idx="118">
                  <c:v>0.05</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7ECAC4"/>
              </a:solidFill>
            </c:spPr>
            <c:extLst>
              <c:ext xmlns:c16="http://schemas.microsoft.com/office/drawing/2014/chart" uri="{C3380CC4-5D6E-409C-BE32-E72D297353CC}">
                <c16:uniqueId val="{00000063-2993-41DE-A2CB-63102DE87051}"/>
              </c:ext>
            </c:extLst>
          </c:dPt>
          <c:dPt>
            <c:idx val="22"/>
            <c:invertIfNegative val="1"/>
            <c:bubble3D val="0"/>
            <c:spPr>
              <a:solidFill>
                <a:srgbClr val="7ECAC4"/>
              </a:solidFill>
            </c:spPr>
            <c:extLst>
              <c:ext xmlns:c16="http://schemas.microsoft.com/office/drawing/2014/chart" uri="{C3380CC4-5D6E-409C-BE32-E72D297353CC}">
                <c16:uniqueId val="{00000065-2993-41DE-A2CB-63102DE87051}"/>
              </c:ext>
            </c:extLst>
          </c:dPt>
          <c:dPt>
            <c:idx val="23"/>
            <c:invertIfNegative val="1"/>
            <c:bubble3D val="0"/>
            <c:spPr>
              <a:solidFill>
                <a:srgbClr val="7ECAC4"/>
              </a:solidFill>
            </c:spPr>
            <c:extLst>
              <c:ext xmlns:c16="http://schemas.microsoft.com/office/drawing/2014/chart" uri="{C3380CC4-5D6E-409C-BE32-E72D297353CC}">
                <c16:uniqueId val="{00000067-2993-41DE-A2CB-63102DE87051}"/>
              </c:ext>
            </c:extLst>
          </c:dPt>
          <c:dPt>
            <c:idx val="24"/>
            <c:invertIfNegative val="1"/>
            <c:bubble3D val="0"/>
            <c:spPr>
              <a:solidFill>
                <a:srgbClr val="7ECAC4"/>
              </a:solidFill>
            </c:spPr>
            <c:extLst>
              <c:ext xmlns:c16="http://schemas.microsoft.com/office/drawing/2014/chart" uri="{C3380CC4-5D6E-409C-BE32-E72D297353CC}">
                <c16:uniqueId val="{00000069-2993-41DE-A2CB-63102DE87051}"/>
              </c:ext>
            </c:extLst>
          </c:dPt>
          <c:dPt>
            <c:idx val="25"/>
            <c:invertIfNegative val="1"/>
            <c:bubble3D val="0"/>
            <c:spPr>
              <a:solidFill>
                <a:srgbClr val="7ECAC4"/>
              </a:solidFill>
            </c:spPr>
            <c:extLst>
              <c:ext xmlns:c16="http://schemas.microsoft.com/office/drawing/2014/chart" uri="{C3380CC4-5D6E-409C-BE32-E72D297353CC}">
                <c16:uniqueId val="{0000006B-2993-41DE-A2CB-63102DE87051}"/>
              </c:ext>
            </c:extLst>
          </c:dPt>
          <c:dPt>
            <c:idx val="26"/>
            <c:invertIfNegative val="1"/>
            <c:bubble3D val="0"/>
            <c:spPr>
              <a:solidFill>
                <a:srgbClr val="7ECAC4"/>
              </a:solidFill>
            </c:spPr>
            <c:extLst>
              <c:ext xmlns:c16="http://schemas.microsoft.com/office/drawing/2014/chart" uri="{C3380CC4-5D6E-409C-BE32-E72D297353CC}">
                <c16:uniqueId val="{0000006D-2993-41DE-A2CB-63102DE87051}"/>
              </c:ext>
            </c:extLst>
          </c:dPt>
          <c:dPt>
            <c:idx val="27"/>
            <c:invertIfNegative val="1"/>
            <c:bubble3D val="0"/>
            <c:spPr>
              <a:solidFill>
                <a:srgbClr val="7ECAC4"/>
              </a:solidFill>
            </c:spPr>
            <c:extLst>
              <c:ext xmlns:c16="http://schemas.microsoft.com/office/drawing/2014/chart" uri="{C3380CC4-5D6E-409C-BE32-E72D297353CC}">
                <c16:uniqueId val="{0000006F-2993-41DE-A2CB-63102DE87051}"/>
              </c:ext>
            </c:extLst>
          </c:dPt>
          <c:dPt>
            <c:idx val="28"/>
            <c:invertIfNegative val="1"/>
            <c:bubble3D val="0"/>
            <c:spPr>
              <a:solidFill>
                <a:srgbClr val="7ECAC4"/>
              </a:solidFill>
            </c:spPr>
            <c:extLst>
              <c:ext xmlns:c16="http://schemas.microsoft.com/office/drawing/2014/chart" uri="{C3380CC4-5D6E-409C-BE32-E72D297353CC}">
                <c16:uniqueId val="{00000071-2993-41DE-A2CB-63102DE87051}"/>
              </c:ext>
            </c:extLst>
          </c:dPt>
          <c:dPt>
            <c:idx val="29"/>
            <c:invertIfNegative val="1"/>
            <c:bubble3D val="0"/>
            <c:spPr>
              <a:solidFill>
                <a:srgbClr val="7ECAC4"/>
              </a:solidFill>
            </c:spPr>
            <c:extLst>
              <c:ext xmlns:c16="http://schemas.microsoft.com/office/drawing/2014/chart" uri="{C3380CC4-5D6E-409C-BE32-E72D297353CC}">
                <c16:uniqueId val="{00000073-2993-41DE-A2CB-63102DE87051}"/>
              </c:ext>
            </c:extLst>
          </c:dPt>
          <c:dPt>
            <c:idx val="30"/>
            <c:invertIfNegative val="1"/>
            <c:bubble3D val="0"/>
            <c:spPr>
              <a:solidFill>
                <a:srgbClr val="7ECAC4"/>
              </a:solidFill>
            </c:spPr>
            <c:extLst>
              <c:ext xmlns:c16="http://schemas.microsoft.com/office/drawing/2014/chart" uri="{C3380CC4-5D6E-409C-BE32-E72D297353CC}">
                <c16:uniqueId val="{00000075-2993-41DE-A2CB-63102DE87051}"/>
              </c:ext>
            </c:extLst>
          </c:dPt>
          <c:dPt>
            <c:idx val="31"/>
            <c:invertIfNegative val="1"/>
            <c:bubble3D val="0"/>
            <c:spPr>
              <a:solidFill>
                <a:srgbClr val="7ECAC4"/>
              </a:solidFill>
            </c:spPr>
            <c:extLst>
              <c:ext xmlns:c16="http://schemas.microsoft.com/office/drawing/2014/chart" uri="{C3380CC4-5D6E-409C-BE32-E72D297353CC}">
                <c16:uniqueId val="{00000077-2993-41DE-A2CB-63102DE87051}"/>
              </c:ext>
            </c:extLst>
          </c:dPt>
          <c:dPt>
            <c:idx val="32"/>
            <c:invertIfNegative val="1"/>
            <c:bubble3D val="0"/>
            <c:spPr>
              <a:solidFill>
                <a:srgbClr val="7ECAC4"/>
              </a:solidFill>
            </c:spPr>
            <c:extLst>
              <c:ext xmlns:c16="http://schemas.microsoft.com/office/drawing/2014/chart" uri="{C3380CC4-5D6E-409C-BE32-E72D297353CC}">
                <c16:uniqueId val="{00000079-2993-41DE-A2CB-63102DE87051}"/>
              </c:ext>
            </c:extLst>
          </c:dPt>
          <c:dPt>
            <c:idx val="33"/>
            <c:invertIfNegative val="1"/>
            <c:bubble3D val="0"/>
            <c:spPr>
              <a:solidFill>
                <a:srgbClr val="7ECAC4"/>
              </a:solidFill>
            </c:spPr>
            <c:extLst>
              <c:ext xmlns:c16="http://schemas.microsoft.com/office/drawing/2014/chart" uri="{C3380CC4-5D6E-409C-BE32-E72D297353CC}">
                <c16:uniqueId val="{0000007B-2993-41DE-A2CB-63102DE87051}"/>
              </c:ext>
            </c:extLst>
          </c:dPt>
          <c:dPt>
            <c:idx val="34"/>
            <c:invertIfNegative val="1"/>
            <c:bubble3D val="0"/>
            <c:spPr>
              <a:solidFill>
                <a:srgbClr val="7ECAC4"/>
              </a:solidFill>
            </c:spPr>
            <c:extLst>
              <c:ext xmlns:c16="http://schemas.microsoft.com/office/drawing/2014/chart" uri="{C3380CC4-5D6E-409C-BE32-E72D297353CC}">
                <c16:uniqueId val="{0000007D-2993-41DE-A2CB-63102DE87051}"/>
              </c:ext>
            </c:extLst>
          </c:dPt>
          <c:dPt>
            <c:idx val="35"/>
            <c:invertIfNegative val="1"/>
            <c:bubble3D val="0"/>
            <c:spPr>
              <a:solidFill>
                <a:srgbClr val="7ECAC4"/>
              </a:solidFill>
            </c:spPr>
            <c:extLst>
              <c:ext xmlns:c16="http://schemas.microsoft.com/office/drawing/2014/chart" uri="{C3380CC4-5D6E-409C-BE32-E72D297353CC}">
                <c16:uniqueId val="{0000007F-2993-41DE-A2CB-63102DE87051}"/>
              </c:ext>
            </c:extLst>
          </c:dPt>
          <c:dPt>
            <c:idx val="36"/>
            <c:invertIfNegative val="1"/>
            <c:bubble3D val="0"/>
            <c:spPr>
              <a:solidFill>
                <a:srgbClr val="7ECAC4"/>
              </a:solidFill>
            </c:spPr>
            <c:extLst>
              <c:ext xmlns:c16="http://schemas.microsoft.com/office/drawing/2014/chart" uri="{C3380CC4-5D6E-409C-BE32-E72D297353CC}">
                <c16:uniqueId val="{00000081-2993-41DE-A2CB-63102DE87051}"/>
              </c:ext>
            </c:extLst>
          </c:dPt>
          <c:dPt>
            <c:idx val="37"/>
            <c:invertIfNegative val="1"/>
            <c:bubble3D val="0"/>
            <c:spPr>
              <a:solidFill>
                <a:srgbClr val="7ECAC4"/>
              </a:solidFill>
            </c:spPr>
            <c:extLst>
              <c:ext xmlns:c16="http://schemas.microsoft.com/office/drawing/2014/chart" uri="{C3380CC4-5D6E-409C-BE32-E72D297353CC}">
                <c16:uniqueId val="{00000083-2993-41DE-A2CB-63102DE87051}"/>
              </c:ext>
            </c:extLst>
          </c:dPt>
          <c:dPt>
            <c:idx val="38"/>
            <c:invertIfNegative val="1"/>
            <c:bubble3D val="0"/>
            <c:spPr>
              <a:solidFill>
                <a:srgbClr val="7ECAC4"/>
              </a:solidFill>
            </c:spPr>
            <c:extLst>
              <c:ext xmlns:c16="http://schemas.microsoft.com/office/drawing/2014/chart" uri="{C3380CC4-5D6E-409C-BE32-E72D297353CC}">
                <c16:uniqueId val="{00000085-2993-41DE-A2CB-63102DE87051}"/>
              </c:ext>
            </c:extLst>
          </c:dPt>
          <c:dPt>
            <c:idx val="39"/>
            <c:invertIfNegative val="1"/>
            <c:bubble3D val="0"/>
            <c:spPr>
              <a:solidFill>
                <a:srgbClr val="7ECAC4"/>
              </a:solidFill>
            </c:spPr>
            <c:extLst>
              <c:ext xmlns:c16="http://schemas.microsoft.com/office/drawing/2014/chart" uri="{C3380CC4-5D6E-409C-BE32-E72D297353CC}">
                <c16:uniqueId val="{00000087-2993-41DE-A2CB-63102DE87051}"/>
              </c:ext>
            </c:extLst>
          </c:dPt>
          <c:dPt>
            <c:idx val="40"/>
            <c:invertIfNegative val="1"/>
            <c:bubble3D val="0"/>
            <c:spPr>
              <a:solidFill>
                <a:srgbClr val="7ECAC4"/>
              </a:solidFill>
            </c:spPr>
            <c:extLst>
              <c:ext xmlns:c16="http://schemas.microsoft.com/office/drawing/2014/chart" uri="{C3380CC4-5D6E-409C-BE32-E72D297353CC}">
                <c16:uniqueId val="{00000089-2993-41DE-A2CB-63102DE87051}"/>
              </c:ext>
            </c:extLst>
          </c:dPt>
          <c:dPt>
            <c:idx val="41"/>
            <c:invertIfNegative val="1"/>
            <c:bubble3D val="0"/>
            <c:spPr>
              <a:solidFill>
                <a:srgbClr val="7ECAC4"/>
              </a:solidFill>
            </c:spPr>
            <c:extLst>
              <c:ext xmlns:c16="http://schemas.microsoft.com/office/drawing/2014/chart" uri="{C3380CC4-5D6E-409C-BE32-E72D297353CC}">
                <c16:uniqueId val="{0000008B-2993-41DE-A2CB-63102DE87051}"/>
              </c:ext>
            </c:extLst>
          </c:dPt>
          <c:dPt>
            <c:idx val="42"/>
            <c:invertIfNegative val="1"/>
            <c:bubble3D val="0"/>
            <c:spPr>
              <a:solidFill>
                <a:srgbClr val="7ECAC4"/>
              </a:solidFill>
            </c:spPr>
            <c:extLst>
              <c:ext xmlns:c16="http://schemas.microsoft.com/office/drawing/2014/chart" uri="{C3380CC4-5D6E-409C-BE32-E72D297353CC}">
                <c16:uniqueId val="{0000008D-2993-41DE-A2CB-63102DE87051}"/>
              </c:ext>
            </c:extLst>
          </c:dPt>
          <c:dPt>
            <c:idx val="43"/>
            <c:invertIfNegative val="1"/>
            <c:bubble3D val="0"/>
            <c:spPr>
              <a:solidFill>
                <a:srgbClr val="AEABAB"/>
              </a:solidFill>
            </c:spPr>
            <c:extLst>
              <c:ext xmlns:c16="http://schemas.microsoft.com/office/drawing/2014/chart" uri="{C3380CC4-5D6E-409C-BE32-E72D297353CC}">
                <c16:uniqueId val="{0000008F-2993-41DE-A2CB-63102DE87051}"/>
              </c:ext>
            </c:extLst>
          </c:dPt>
          <c:dPt>
            <c:idx val="44"/>
            <c:invertIfNegative val="1"/>
            <c:bubble3D val="0"/>
            <c:spPr>
              <a:solidFill>
                <a:srgbClr val="AEABAB"/>
              </a:solidFill>
            </c:spPr>
            <c:extLst>
              <c:ext xmlns:c16="http://schemas.microsoft.com/office/drawing/2014/chart" uri="{C3380CC4-5D6E-409C-BE32-E72D297353CC}">
                <c16:uniqueId val="{00000091-2993-41DE-A2CB-63102DE87051}"/>
              </c:ext>
            </c:extLst>
          </c:dPt>
          <c:dPt>
            <c:idx val="45"/>
            <c:invertIfNegative val="1"/>
            <c:bubble3D val="0"/>
            <c:spPr>
              <a:solidFill>
                <a:srgbClr val="AEABAB"/>
              </a:solidFill>
            </c:spPr>
            <c:extLst>
              <c:ext xmlns:c16="http://schemas.microsoft.com/office/drawing/2014/chart" uri="{C3380CC4-5D6E-409C-BE32-E72D297353CC}">
                <c16:uniqueId val="{00000093-2993-41DE-A2CB-63102DE87051}"/>
              </c:ext>
            </c:extLst>
          </c:dPt>
          <c:dPt>
            <c:idx val="46"/>
            <c:invertIfNegative val="1"/>
            <c:bubble3D val="0"/>
            <c:spPr>
              <a:solidFill>
                <a:srgbClr val="AEABAB"/>
              </a:solidFill>
            </c:spPr>
            <c:extLst>
              <c:ext xmlns:c16="http://schemas.microsoft.com/office/drawing/2014/chart" uri="{C3380CC4-5D6E-409C-BE32-E72D297353CC}">
                <c16:uniqueId val="{00000095-2993-41DE-A2CB-63102DE87051}"/>
              </c:ext>
            </c:extLst>
          </c:dPt>
          <c:dPt>
            <c:idx val="47"/>
            <c:invertIfNegative val="1"/>
            <c:bubble3D val="0"/>
            <c:spPr>
              <a:solidFill>
                <a:srgbClr val="AEABAB"/>
              </a:solidFill>
            </c:spPr>
            <c:extLst>
              <c:ext xmlns:c16="http://schemas.microsoft.com/office/drawing/2014/chart" uri="{C3380CC4-5D6E-409C-BE32-E72D297353CC}">
                <c16:uniqueId val="{00000097-2993-41DE-A2CB-63102DE87051}"/>
              </c:ext>
            </c:extLst>
          </c:dPt>
          <c:dPt>
            <c:idx val="48"/>
            <c:invertIfNegative val="1"/>
            <c:bubble3D val="0"/>
            <c:spPr>
              <a:solidFill>
                <a:srgbClr val="AEABAB"/>
              </a:solidFill>
            </c:spPr>
            <c:extLst>
              <c:ext xmlns:c16="http://schemas.microsoft.com/office/drawing/2014/chart" uri="{C3380CC4-5D6E-409C-BE32-E72D297353CC}">
                <c16:uniqueId val="{00000099-2993-41DE-A2CB-63102DE87051}"/>
              </c:ext>
            </c:extLst>
          </c:dPt>
          <c:dPt>
            <c:idx val="49"/>
            <c:invertIfNegative val="1"/>
            <c:bubble3D val="0"/>
            <c:spPr>
              <a:solidFill>
                <a:srgbClr val="AEABAB"/>
              </a:solidFill>
            </c:spPr>
            <c:extLst>
              <c:ext xmlns:c16="http://schemas.microsoft.com/office/drawing/2014/chart" uri="{C3380CC4-5D6E-409C-BE32-E72D297353CC}">
                <c16:uniqueId val="{0000009B-2993-41DE-A2CB-63102DE87051}"/>
              </c:ext>
            </c:extLst>
          </c:dPt>
          <c:dPt>
            <c:idx val="50"/>
            <c:invertIfNegative val="1"/>
            <c:bubble3D val="0"/>
            <c:spPr>
              <a:solidFill>
                <a:srgbClr val="AEABAB"/>
              </a:solidFill>
            </c:spPr>
            <c:extLst>
              <c:ext xmlns:c16="http://schemas.microsoft.com/office/drawing/2014/chart" uri="{C3380CC4-5D6E-409C-BE32-E72D297353CC}">
                <c16:uniqueId val="{0000009D-2993-41DE-A2CB-63102DE87051}"/>
              </c:ext>
            </c:extLst>
          </c:dPt>
          <c:dPt>
            <c:idx val="51"/>
            <c:invertIfNegative val="1"/>
            <c:bubble3D val="0"/>
            <c:spPr>
              <a:solidFill>
                <a:srgbClr val="AEABAB"/>
              </a:solidFill>
            </c:spPr>
            <c:extLst>
              <c:ext xmlns:c16="http://schemas.microsoft.com/office/drawing/2014/chart" uri="{C3380CC4-5D6E-409C-BE32-E72D297353CC}">
                <c16:uniqueId val="{0000009F-2993-41DE-A2CB-63102DE87051}"/>
              </c:ext>
            </c:extLst>
          </c:dPt>
          <c:dPt>
            <c:idx val="52"/>
            <c:invertIfNegative val="1"/>
            <c:bubble3D val="0"/>
            <c:spPr>
              <a:solidFill>
                <a:srgbClr val="AEABAB"/>
              </a:solidFill>
            </c:spPr>
            <c:extLst>
              <c:ext xmlns:c16="http://schemas.microsoft.com/office/drawing/2014/chart" uri="{C3380CC4-5D6E-409C-BE32-E72D297353CC}">
                <c16:uniqueId val="{000000A1-2993-41DE-A2CB-63102DE87051}"/>
              </c:ext>
            </c:extLst>
          </c:dPt>
          <c:dPt>
            <c:idx val="53"/>
            <c:invertIfNegative val="1"/>
            <c:bubble3D val="0"/>
            <c:spPr>
              <a:solidFill>
                <a:srgbClr val="AEABAB"/>
              </a:solidFill>
            </c:spPr>
            <c:extLst>
              <c:ext xmlns:c16="http://schemas.microsoft.com/office/drawing/2014/chart" uri="{C3380CC4-5D6E-409C-BE32-E72D297353CC}">
                <c16:uniqueId val="{000000A3-2993-41DE-A2CB-63102DE87051}"/>
              </c:ext>
            </c:extLst>
          </c:dPt>
          <c:dPt>
            <c:idx val="54"/>
            <c:invertIfNegative val="0"/>
            <c:bubble3D val="0"/>
            <c:spPr>
              <a:solidFill>
                <a:srgbClr val="AEABAB"/>
              </a:solidFill>
            </c:spPr>
            <c:extLst>
              <c:ext xmlns:c16="http://schemas.microsoft.com/office/drawing/2014/chart" uri="{C3380CC4-5D6E-409C-BE32-E72D297353CC}">
                <c16:uniqueId val="{00000072-C76F-4230-900D-40618C09729F}"/>
              </c:ext>
            </c:extLst>
          </c:dPt>
          <c:dPt>
            <c:idx val="55"/>
            <c:invertIfNegative val="0"/>
            <c:bubble3D val="0"/>
            <c:spPr>
              <a:solidFill>
                <a:srgbClr val="AEABAB"/>
              </a:solidFill>
            </c:spPr>
            <c:extLst>
              <c:ext xmlns:c16="http://schemas.microsoft.com/office/drawing/2014/chart" uri="{C3380CC4-5D6E-409C-BE32-E72D297353CC}">
                <c16:uniqueId val="{00000074-C76F-4230-900D-40618C09729F}"/>
              </c:ext>
            </c:extLst>
          </c:dPt>
          <c:dPt>
            <c:idx val="56"/>
            <c:invertIfNegative val="0"/>
            <c:bubble3D val="0"/>
            <c:spPr>
              <a:solidFill>
                <a:srgbClr val="AEABAB"/>
              </a:solidFill>
            </c:spPr>
            <c:extLst>
              <c:ext xmlns:c16="http://schemas.microsoft.com/office/drawing/2014/chart" uri="{C3380CC4-5D6E-409C-BE32-E72D297353CC}">
                <c16:uniqueId val="{00000076-C76F-4230-900D-40618C09729F}"/>
              </c:ext>
            </c:extLst>
          </c:dPt>
          <c:dPt>
            <c:idx val="57"/>
            <c:invertIfNegative val="0"/>
            <c:bubble3D val="0"/>
            <c:spPr>
              <a:solidFill>
                <a:srgbClr val="AEABAB"/>
              </a:solidFill>
            </c:spPr>
            <c:extLst>
              <c:ext xmlns:c16="http://schemas.microsoft.com/office/drawing/2014/chart" uri="{C3380CC4-5D6E-409C-BE32-E72D297353CC}">
                <c16:uniqueId val="{00000078-C76F-4230-900D-40618C09729F}"/>
              </c:ext>
            </c:extLst>
          </c:dPt>
          <c:dPt>
            <c:idx val="58"/>
            <c:invertIfNegative val="0"/>
            <c:bubble3D val="0"/>
            <c:spPr>
              <a:solidFill>
                <a:srgbClr val="AEABAB"/>
              </a:solidFill>
            </c:spPr>
            <c:extLst>
              <c:ext xmlns:c16="http://schemas.microsoft.com/office/drawing/2014/chart" uri="{C3380CC4-5D6E-409C-BE32-E72D297353CC}">
                <c16:uniqueId val="{0000007A-C76F-4230-900D-40618C09729F}"/>
              </c:ext>
            </c:extLst>
          </c:dPt>
          <c:dPt>
            <c:idx val="59"/>
            <c:invertIfNegative val="0"/>
            <c:bubble3D val="0"/>
            <c:spPr>
              <a:solidFill>
                <a:srgbClr val="AEABAB"/>
              </a:solidFill>
            </c:spPr>
            <c:extLst>
              <c:ext xmlns:c16="http://schemas.microsoft.com/office/drawing/2014/chart" uri="{C3380CC4-5D6E-409C-BE32-E72D297353CC}">
                <c16:uniqueId val="{0000007C-C76F-4230-900D-40618C09729F}"/>
              </c:ext>
            </c:extLst>
          </c:dPt>
          <c:dPt>
            <c:idx val="60"/>
            <c:invertIfNegative val="0"/>
            <c:bubble3D val="0"/>
            <c:spPr>
              <a:solidFill>
                <a:srgbClr val="AEABAB"/>
              </a:solidFill>
            </c:spPr>
            <c:extLst>
              <c:ext xmlns:c16="http://schemas.microsoft.com/office/drawing/2014/chart" uri="{C3380CC4-5D6E-409C-BE32-E72D297353CC}">
                <c16:uniqueId val="{0000007E-C76F-4230-900D-40618C09729F}"/>
              </c:ext>
            </c:extLst>
          </c:dPt>
          <c:dPt>
            <c:idx val="61"/>
            <c:invertIfNegative val="0"/>
            <c:bubble3D val="0"/>
            <c:spPr>
              <a:solidFill>
                <a:srgbClr val="AEABAB"/>
              </a:solidFill>
            </c:spPr>
            <c:extLst>
              <c:ext xmlns:c16="http://schemas.microsoft.com/office/drawing/2014/chart" uri="{C3380CC4-5D6E-409C-BE32-E72D297353CC}">
                <c16:uniqueId val="{00000080-C76F-4230-900D-40618C09729F}"/>
              </c:ext>
            </c:extLst>
          </c:dPt>
          <c:dPt>
            <c:idx val="62"/>
            <c:invertIfNegative val="0"/>
            <c:bubble3D val="0"/>
            <c:spPr>
              <a:solidFill>
                <a:srgbClr val="AEABAB"/>
              </a:solidFill>
            </c:spPr>
            <c:extLst>
              <c:ext xmlns:c16="http://schemas.microsoft.com/office/drawing/2014/chart" uri="{C3380CC4-5D6E-409C-BE32-E72D297353CC}">
                <c16:uniqueId val="{00000082-C76F-4230-900D-40618C09729F}"/>
              </c:ext>
            </c:extLst>
          </c:dPt>
          <c:dPt>
            <c:idx val="63"/>
            <c:invertIfNegative val="0"/>
            <c:bubble3D val="0"/>
            <c:spPr>
              <a:solidFill>
                <a:srgbClr val="AEABAB"/>
              </a:solidFill>
            </c:spPr>
            <c:extLst>
              <c:ext xmlns:c16="http://schemas.microsoft.com/office/drawing/2014/chart" uri="{C3380CC4-5D6E-409C-BE32-E72D297353CC}">
                <c16:uniqueId val="{00000084-C76F-4230-900D-40618C09729F}"/>
              </c:ext>
            </c:extLst>
          </c:dPt>
          <c:dPt>
            <c:idx val="64"/>
            <c:invertIfNegative val="0"/>
            <c:bubble3D val="0"/>
            <c:spPr>
              <a:solidFill>
                <a:srgbClr val="AEABAB"/>
              </a:solidFill>
            </c:spPr>
            <c:extLst>
              <c:ext xmlns:c16="http://schemas.microsoft.com/office/drawing/2014/chart" uri="{C3380CC4-5D6E-409C-BE32-E72D297353CC}">
                <c16:uniqueId val="{00000086-C76F-4230-900D-40618C09729F}"/>
              </c:ext>
            </c:extLst>
          </c:dPt>
          <c:dPt>
            <c:idx val="65"/>
            <c:invertIfNegative val="0"/>
            <c:bubble3D val="0"/>
            <c:spPr>
              <a:solidFill>
                <a:srgbClr val="AEABAB"/>
              </a:solidFill>
            </c:spPr>
            <c:extLst>
              <c:ext xmlns:c16="http://schemas.microsoft.com/office/drawing/2014/chart" uri="{C3380CC4-5D6E-409C-BE32-E72D297353CC}">
                <c16:uniqueId val="{00000088-C76F-4230-900D-40618C09729F}"/>
              </c:ext>
            </c:extLst>
          </c:dPt>
          <c:dPt>
            <c:idx val="66"/>
            <c:invertIfNegative val="0"/>
            <c:bubble3D val="0"/>
            <c:spPr>
              <a:solidFill>
                <a:srgbClr val="AEABAB"/>
              </a:solidFill>
            </c:spPr>
            <c:extLst>
              <c:ext xmlns:c16="http://schemas.microsoft.com/office/drawing/2014/chart" uri="{C3380CC4-5D6E-409C-BE32-E72D297353CC}">
                <c16:uniqueId val="{0000008A-C76F-4230-900D-40618C09729F}"/>
              </c:ext>
            </c:extLst>
          </c:dPt>
          <c:dPt>
            <c:idx val="67"/>
            <c:invertIfNegative val="0"/>
            <c:bubble3D val="0"/>
            <c:spPr>
              <a:solidFill>
                <a:srgbClr val="AEABAB"/>
              </a:solidFill>
            </c:spPr>
            <c:extLst>
              <c:ext xmlns:c16="http://schemas.microsoft.com/office/drawing/2014/chart" uri="{C3380CC4-5D6E-409C-BE32-E72D297353CC}">
                <c16:uniqueId val="{0000008C-C76F-4230-900D-40618C09729F}"/>
              </c:ext>
            </c:extLst>
          </c:dPt>
          <c:dPt>
            <c:idx val="68"/>
            <c:invertIfNegative val="0"/>
            <c:bubble3D val="0"/>
            <c:spPr>
              <a:solidFill>
                <a:srgbClr val="AEABAB"/>
              </a:solidFill>
            </c:spPr>
            <c:extLst>
              <c:ext xmlns:c16="http://schemas.microsoft.com/office/drawing/2014/chart" uri="{C3380CC4-5D6E-409C-BE32-E72D297353CC}">
                <c16:uniqueId val="{0000008E-C76F-4230-900D-40618C09729F}"/>
              </c:ext>
            </c:extLst>
          </c:dPt>
          <c:dPt>
            <c:idx val="69"/>
            <c:invertIfNegative val="0"/>
            <c:bubble3D val="0"/>
            <c:spPr>
              <a:solidFill>
                <a:srgbClr val="AEABAB"/>
              </a:solidFill>
            </c:spPr>
            <c:extLst>
              <c:ext xmlns:c16="http://schemas.microsoft.com/office/drawing/2014/chart" uri="{C3380CC4-5D6E-409C-BE32-E72D297353CC}">
                <c16:uniqueId val="{00000090-C76F-4230-900D-40618C09729F}"/>
              </c:ext>
            </c:extLst>
          </c:dPt>
          <c:dPt>
            <c:idx val="70"/>
            <c:invertIfNegative val="0"/>
            <c:bubble3D val="0"/>
            <c:spPr>
              <a:solidFill>
                <a:srgbClr val="AEABAB"/>
              </a:solidFill>
            </c:spPr>
            <c:extLst>
              <c:ext xmlns:c16="http://schemas.microsoft.com/office/drawing/2014/chart" uri="{C3380CC4-5D6E-409C-BE32-E72D297353CC}">
                <c16:uniqueId val="{00000092-C76F-4230-900D-40618C09729F}"/>
              </c:ext>
            </c:extLst>
          </c:dPt>
          <c:dPt>
            <c:idx val="71"/>
            <c:invertIfNegative val="0"/>
            <c:bubble3D val="0"/>
            <c:spPr>
              <a:solidFill>
                <a:srgbClr val="AEABAB"/>
              </a:solidFill>
            </c:spPr>
            <c:extLst>
              <c:ext xmlns:c16="http://schemas.microsoft.com/office/drawing/2014/chart" uri="{C3380CC4-5D6E-409C-BE32-E72D297353CC}">
                <c16:uniqueId val="{00000094-C76F-4230-900D-40618C09729F}"/>
              </c:ext>
            </c:extLst>
          </c:dPt>
          <c:dPt>
            <c:idx val="72"/>
            <c:invertIfNegative val="0"/>
            <c:bubble3D val="0"/>
            <c:spPr>
              <a:solidFill>
                <a:srgbClr val="AEABAB"/>
              </a:solidFill>
            </c:spPr>
            <c:extLst>
              <c:ext xmlns:c16="http://schemas.microsoft.com/office/drawing/2014/chart" uri="{C3380CC4-5D6E-409C-BE32-E72D297353CC}">
                <c16:uniqueId val="{00000096-C76F-4230-900D-40618C09729F}"/>
              </c:ext>
            </c:extLst>
          </c:dPt>
          <c:dPt>
            <c:idx val="73"/>
            <c:invertIfNegative val="0"/>
            <c:bubble3D val="0"/>
            <c:spPr>
              <a:solidFill>
                <a:srgbClr val="AEABAB"/>
              </a:solidFill>
            </c:spPr>
            <c:extLst>
              <c:ext xmlns:c16="http://schemas.microsoft.com/office/drawing/2014/chart" uri="{C3380CC4-5D6E-409C-BE32-E72D297353CC}">
                <c16:uniqueId val="{00000098-C76F-4230-900D-40618C09729F}"/>
              </c:ext>
            </c:extLst>
          </c:dPt>
          <c:dPt>
            <c:idx val="74"/>
            <c:invertIfNegative val="0"/>
            <c:bubble3D val="0"/>
            <c:spPr>
              <a:solidFill>
                <a:srgbClr val="AEABAB"/>
              </a:solidFill>
            </c:spPr>
            <c:extLst>
              <c:ext xmlns:c16="http://schemas.microsoft.com/office/drawing/2014/chart" uri="{C3380CC4-5D6E-409C-BE32-E72D297353CC}">
                <c16:uniqueId val="{0000009A-C76F-4230-900D-40618C09729F}"/>
              </c:ext>
            </c:extLst>
          </c:dPt>
          <c:dPt>
            <c:idx val="75"/>
            <c:invertIfNegative val="0"/>
            <c:bubble3D val="0"/>
            <c:spPr>
              <a:solidFill>
                <a:srgbClr val="AEABAB"/>
              </a:solidFill>
            </c:spPr>
            <c:extLst>
              <c:ext xmlns:c16="http://schemas.microsoft.com/office/drawing/2014/chart" uri="{C3380CC4-5D6E-409C-BE32-E72D297353CC}">
                <c16:uniqueId val="{0000009C-C76F-4230-900D-40618C09729F}"/>
              </c:ext>
            </c:extLst>
          </c:dPt>
          <c:dPt>
            <c:idx val="76"/>
            <c:invertIfNegative val="0"/>
            <c:bubble3D val="0"/>
            <c:spPr>
              <a:solidFill>
                <a:srgbClr val="AEABAB"/>
              </a:solidFill>
            </c:spPr>
            <c:extLst>
              <c:ext xmlns:c16="http://schemas.microsoft.com/office/drawing/2014/chart" uri="{C3380CC4-5D6E-409C-BE32-E72D297353CC}">
                <c16:uniqueId val="{0000009E-C76F-4230-900D-40618C09729F}"/>
              </c:ext>
            </c:extLst>
          </c:dPt>
          <c:dPt>
            <c:idx val="77"/>
            <c:invertIfNegative val="0"/>
            <c:bubble3D val="0"/>
            <c:spPr>
              <a:solidFill>
                <a:srgbClr val="AEABAB"/>
              </a:solidFill>
            </c:spPr>
            <c:extLst>
              <c:ext xmlns:c16="http://schemas.microsoft.com/office/drawing/2014/chart" uri="{C3380CC4-5D6E-409C-BE32-E72D297353CC}">
                <c16:uniqueId val="{000000A0-C76F-4230-900D-40618C09729F}"/>
              </c:ext>
            </c:extLst>
          </c:dPt>
          <c:dPt>
            <c:idx val="78"/>
            <c:invertIfNegative val="0"/>
            <c:bubble3D val="0"/>
            <c:spPr>
              <a:solidFill>
                <a:srgbClr val="AEABAB"/>
              </a:solidFill>
            </c:spPr>
            <c:extLst>
              <c:ext xmlns:c16="http://schemas.microsoft.com/office/drawing/2014/chart" uri="{C3380CC4-5D6E-409C-BE32-E72D297353CC}">
                <c16:uniqueId val="{000000A2-C76F-4230-900D-40618C09729F}"/>
              </c:ext>
            </c:extLst>
          </c:dPt>
          <c:dPt>
            <c:idx val="79"/>
            <c:invertIfNegative val="0"/>
            <c:bubble3D val="0"/>
            <c:spPr>
              <a:solidFill>
                <a:srgbClr val="AEABAB"/>
              </a:solidFill>
            </c:spPr>
            <c:extLst>
              <c:ext xmlns:c16="http://schemas.microsoft.com/office/drawing/2014/chart" uri="{C3380CC4-5D6E-409C-BE32-E72D297353CC}">
                <c16:uniqueId val="{000000A4-C76F-4230-900D-40618C09729F}"/>
              </c:ext>
            </c:extLst>
          </c:dPt>
          <c:dPt>
            <c:idx val="80"/>
            <c:invertIfNegative val="0"/>
            <c:bubble3D val="0"/>
            <c:spPr>
              <a:solidFill>
                <a:srgbClr val="AEABAB"/>
              </a:solidFill>
            </c:spPr>
            <c:extLst>
              <c:ext xmlns:c16="http://schemas.microsoft.com/office/drawing/2014/chart" uri="{C3380CC4-5D6E-409C-BE32-E72D297353CC}">
                <c16:uniqueId val="{000000A6-C76F-4230-900D-40618C09729F}"/>
              </c:ext>
            </c:extLst>
          </c:dPt>
          <c:dPt>
            <c:idx val="81"/>
            <c:invertIfNegative val="1"/>
            <c:bubble3D val="0"/>
            <c:spPr>
              <a:solidFill>
                <a:srgbClr val="AEABAB"/>
              </a:solidFill>
            </c:spPr>
            <c:extLst>
              <c:ext xmlns:c16="http://schemas.microsoft.com/office/drawing/2014/chart" uri="{C3380CC4-5D6E-409C-BE32-E72D297353CC}">
                <c16:uniqueId val="{000000A5-2993-41DE-A2CB-63102DE87051}"/>
              </c:ext>
            </c:extLst>
          </c:dPt>
          <c:dPt>
            <c:idx val="82"/>
            <c:invertIfNegative val="1"/>
            <c:bubble3D val="0"/>
            <c:spPr>
              <a:solidFill>
                <a:srgbClr val="AEABAB"/>
              </a:solidFill>
            </c:spPr>
            <c:extLst>
              <c:ext xmlns:c16="http://schemas.microsoft.com/office/drawing/2014/chart" uri="{C3380CC4-5D6E-409C-BE32-E72D297353CC}">
                <c16:uniqueId val="{000000A7-2993-41DE-A2CB-63102DE87051}"/>
              </c:ext>
            </c:extLst>
          </c:dPt>
          <c:dPt>
            <c:idx val="83"/>
            <c:invertIfNegative val="1"/>
            <c:bubble3D val="0"/>
            <c:spPr>
              <a:solidFill>
                <a:srgbClr val="AEABAB"/>
              </a:solidFill>
            </c:spPr>
            <c:extLst>
              <c:ext xmlns:c16="http://schemas.microsoft.com/office/drawing/2014/chart" uri="{C3380CC4-5D6E-409C-BE32-E72D297353CC}">
                <c16:uniqueId val="{000000A9-2993-41DE-A2CB-63102DE87051}"/>
              </c:ext>
            </c:extLst>
          </c:dPt>
          <c:dPt>
            <c:idx val="84"/>
            <c:invertIfNegative val="1"/>
            <c:bubble3D val="0"/>
            <c:spPr>
              <a:solidFill>
                <a:srgbClr val="AEABAB"/>
              </a:solidFill>
            </c:spPr>
            <c:extLst>
              <c:ext xmlns:c16="http://schemas.microsoft.com/office/drawing/2014/chart" uri="{C3380CC4-5D6E-409C-BE32-E72D297353CC}">
                <c16:uniqueId val="{000000AB-2993-41DE-A2CB-63102DE87051}"/>
              </c:ext>
            </c:extLst>
          </c:dPt>
          <c:dPt>
            <c:idx val="85"/>
            <c:invertIfNegative val="1"/>
            <c:bubble3D val="0"/>
            <c:spPr>
              <a:solidFill>
                <a:srgbClr val="AEABAB"/>
              </a:solidFill>
            </c:spPr>
            <c:extLst>
              <c:ext xmlns:c16="http://schemas.microsoft.com/office/drawing/2014/chart" uri="{C3380CC4-5D6E-409C-BE32-E72D297353CC}">
                <c16:uniqueId val="{000000AD-2993-41DE-A2CB-63102DE87051}"/>
              </c:ext>
            </c:extLst>
          </c:dPt>
          <c:dPt>
            <c:idx val="86"/>
            <c:invertIfNegative val="1"/>
            <c:bubble3D val="0"/>
            <c:spPr>
              <a:solidFill>
                <a:srgbClr val="AEABAB"/>
              </a:solidFill>
            </c:spPr>
            <c:extLst>
              <c:ext xmlns:c16="http://schemas.microsoft.com/office/drawing/2014/chart" uri="{C3380CC4-5D6E-409C-BE32-E72D297353CC}">
                <c16:uniqueId val="{000000AF-2993-41DE-A2CB-63102DE87051}"/>
              </c:ext>
            </c:extLst>
          </c:dPt>
          <c:dPt>
            <c:idx val="87"/>
            <c:invertIfNegative val="1"/>
            <c:bubble3D val="0"/>
            <c:spPr>
              <a:solidFill>
                <a:srgbClr val="AEABAB"/>
              </a:solidFill>
            </c:spPr>
            <c:extLst>
              <c:ext xmlns:c16="http://schemas.microsoft.com/office/drawing/2014/chart" uri="{C3380CC4-5D6E-409C-BE32-E72D297353CC}">
                <c16:uniqueId val="{000000B1-2993-41DE-A2CB-63102DE87051}"/>
              </c:ext>
            </c:extLst>
          </c:dPt>
          <c:dPt>
            <c:idx val="88"/>
            <c:invertIfNegative val="1"/>
            <c:bubble3D val="0"/>
            <c:spPr>
              <a:solidFill>
                <a:srgbClr val="AEABAB"/>
              </a:solidFill>
            </c:spPr>
            <c:extLst>
              <c:ext xmlns:c16="http://schemas.microsoft.com/office/drawing/2014/chart" uri="{C3380CC4-5D6E-409C-BE32-E72D297353CC}">
                <c16:uniqueId val="{000000B3-2993-41DE-A2CB-63102DE87051}"/>
              </c:ext>
            </c:extLst>
          </c:dPt>
          <c:dPt>
            <c:idx val="89"/>
            <c:invertIfNegative val="1"/>
            <c:bubble3D val="0"/>
            <c:spPr>
              <a:solidFill>
                <a:srgbClr val="AEABAB"/>
              </a:solidFill>
            </c:spPr>
            <c:extLst>
              <c:ext xmlns:c16="http://schemas.microsoft.com/office/drawing/2014/chart" uri="{C3380CC4-5D6E-409C-BE32-E72D297353CC}">
                <c16:uniqueId val="{000000B5-2993-41DE-A2CB-63102DE87051}"/>
              </c:ext>
            </c:extLst>
          </c:dPt>
          <c:dPt>
            <c:idx val="90"/>
            <c:invertIfNegative val="1"/>
            <c:bubble3D val="0"/>
            <c:spPr>
              <a:solidFill>
                <a:srgbClr val="AEABAB"/>
              </a:solidFill>
            </c:spPr>
            <c:extLst>
              <c:ext xmlns:c16="http://schemas.microsoft.com/office/drawing/2014/chart" uri="{C3380CC4-5D6E-409C-BE32-E72D297353CC}">
                <c16:uniqueId val="{000000B7-2993-41DE-A2CB-63102DE87051}"/>
              </c:ext>
            </c:extLst>
          </c:dPt>
          <c:dPt>
            <c:idx val="91"/>
            <c:invertIfNegative val="1"/>
            <c:bubble3D val="0"/>
            <c:spPr>
              <a:solidFill>
                <a:srgbClr val="AEABAB"/>
              </a:solidFill>
            </c:spPr>
            <c:extLst>
              <c:ext xmlns:c16="http://schemas.microsoft.com/office/drawing/2014/chart" uri="{C3380CC4-5D6E-409C-BE32-E72D297353CC}">
                <c16:uniqueId val="{000000B9-2993-41DE-A2CB-63102DE87051}"/>
              </c:ext>
            </c:extLst>
          </c:dPt>
          <c:dPt>
            <c:idx val="92"/>
            <c:invertIfNegative val="1"/>
            <c:bubble3D val="0"/>
            <c:spPr>
              <a:solidFill>
                <a:srgbClr val="AEABAB"/>
              </a:solidFill>
            </c:spPr>
            <c:extLst>
              <c:ext xmlns:c16="http://schemas.microsoft.com/office/drawing/2014/chart" uri="{C3380CC4-5D6E-409C-BE32-E72D297353CC}">
                <c16:uniqueId val="{000000BB-2993-41DE-A2CB-63102DE87051}"/>
              </c:ext>
            </c:extLst>
          </c:dPt>
          <c:dPt>
            <c:idx val="93"/>
            <c:invertIfNegative val="1"/>
            <c:bubble3D val="0"/>
            <c:spPr>
              <a:solidFill>
                <a:srgbClr val="AEABAB"/>
              </a:solidFill>
            </c:spPr>
            <c:extLst>
              <c:ext xmlns:c16="http://schemas.microsoft.com/office/drawing/2014/chart" uri="{C3380CC4-5D6E-409C-BE32-E72D297353CC}">
                <c16:uniqueId val="{000000BD-2993-41DE-A2CB-63102DE87051}"/>
              </c:ext>
            </c:extLst>
          </c:dPt>
          <c:dPt>
            <c:idx val="94"/>
            <c:invertIfNegative val="1"/>
            <c:bubble3D val="0"/>
            <c:spPr>
              <a:solidFill>
                <a:srgbClr val="AEABAB"/>
              </a:solidFill>
            </c:spPr>
            <c:extLst>
              <c:ext xmlns:c16="http://schemas.microsoft.com/office/drawing/2014/chart" uri="{C3380CC4-5D6E-409C-BE32-E72D297353CC}">
                <c16:uniqueId val="{000000BF-2993-41DE-A2CB-63102DE87051}"/>
              </c:ext>
            </c:extLst>
          </c:dPt>
          <c:dPt>
            <c:idx val="95"/>
            <c:invertIfNegative val="1"/>
            <c:bubble3D val="0"/>
            <c:spPr>
              <a:solidFill>
                <a:srgbClr val="AEABAB"/>
              </a:solidFill>
            </c:spPr>
            <c:extLst>
              <c:ext xmlns:c16="http://schemas.microsoft.com/office/drawing/2014/chart" uri="{C3380CC4-5D6E-409C-BE32-E72D297353CC}">
                <c16:uniqueId val="{000000C1-2993-41DE-A2CB-63102DE87051}"/>
              </c:ext>
            </c:extLst>
          </c:dPt>
          <c:dPt>
            <c:idx val="96"/>
            <c:invertIfNegative val="1"/>
            <c:bubble3D val="0"/>
            <c:spPr>
              <a:solidFill>
                <a:srgbClr val="AEABAB"/>
              </a:solidFill>
            </c:spPr>
            <c:extLst>
              <c:ext xmlns:c16="http://schemas.microsoft.com/office/drawing/2014/chart" uri="{C3380CC4-5D6E-409C-BE32-E72D297353CC}">
                <c16:uniqueId val="{000000C3-2993-41DE-A2CB-63102DE87051}"/>
              </c:ext>
            </c:extLst>
          </c:dPt>
          <c:dPt>
            <c:idx val="97"/>
            <c:invertIfNegative val="1"/>
            <c:bubble3D val="0"/>
            <c:spPr>
              <a:solidFill>
                <a:srgbClr val="AEABAB"/>
              </a:solidFill>
            </c:spPr>
            <c:extLst>
              <c:ext xmlns:c16="http://schemas.microsoft.com/office/drawing/2014/chart" uri="{C3380CC4-5D6E-409C-BE32-E72D297353CC}">
                <c16:uniqueId val="{000000C5-2993-41DE-A2CB-63102DE87051}"/>
              </c:ext>
            </c:extLst>
          </c:dPt>
          <c:dPt>
            <c:idx val="98"/>
            <c:invertIfNegative val="1"/>
            <c:bubble3D val="0"/>
            <c:spPr>
              <a:solidFill>
                <a:srgbClr val="AEABAB"/>
              </a:solidFill>
            </c:spPr>
            <c:extLst>
              <c:ext xmlns:c16="http://schemas.microsoft.com/office/drawing/2014/chart" uri="{C3380CC4-5D6E-409C-BE32-E72D297353CC}">
                <c16:uniqueId val="{000000C7-2993-41DE-A2CB-63102DE87051}"/>
              </c:ext>
            </c:extLst>
          </c:dPt>
          <c:dPt>
            <c:idx val="99"/>
            <c:invertIfNegative val="1"/>
            <c:bubble3D val="0"/>
            <c:spPr>
              <a:solidFill>
                <a:srgbClr val="AEABAB"/>
              </a:solidFill>
            </c:spPr>
            <c:extLst>
              <c:ext xmlns:c16="http://schemas.microsoft.com/office/drawing/2014/chart" uri="{C3380CC4-5D6E-409C-BE32-E72D297353CC}">
                <c16:uniqueId val="{000000C9-2993-41DE-A2CB-63102DE87051}"/>
              </c:ext>
            </c:extLst>
          </c:dPt>
          <c:dPt>
            <c:idx val="100"/>
            <c:invertIfNegative val="1"/>
            <c:bubble3D val="0"/>
            <c:spPr>
              <a:solidFill>
                <a:srgbClr val="AEABAB"/>
              </a:solidFill>
            </c:spPr>
            <c:extLst>
              <c:ext xmlns:c16="http://schemas.microsoft.com/office/drawing/2014/chart" uri="{C3380CC4-5D6E-409C-BE32-E72D297353CC}">
                <c16:uniqueId val="{000000CB-2993-41DE-A2CB-63102DE87051}"/>
              </c:ext>
            </c:extLst>
          </c:dPt>
          <c:dPt>
            <c:idx val="101"/>
            <c:invertIfNegative val="1"/>
            <c:bubble3D val="0"/>
            <c:spPr>
              <a:solidFill>
                <a:srgbClr val="AEABAB"/>
              </a:solidFill>
            </c:spPr>
            <c:extLst>
              <c:ext xmlns:c16="http://schemas.microsoft.com/office/drawing/2014/chart" uri="{C3380CC4-5D6E-409C-BE32-E72D297353CC}">
                <c16:uniqueId val="{000000CD-2993-41DE-A2CB-63102DE87051}"/>
              </c:ext>
            </c:extLst>
          </c:dPt>
          <c:dPt>
            <c:idx val="102"/>
            <c:invertIfNegative val="1"/>
            <c:bubble3D val="0"/>
            <c:spPr>
              <a:solidFill>
                <a:srgbClr val="AEABAB"/>
              </a:solidFill>
            </c:spPr>
            <c:extLst>
              <c:ext xmlns:c16="http://schemas.microsoft.com/office/drawing/2014/chart" uri="{C3380CC4-5D6E-409C-BE32-E72D297353CC}">
                <c16:uniqueId val="{000000CF-2993-41DE-A2CB-63102DE87051}"/>
              </c:ext>
            </c:extLst>
          </c:dPt>
          <c:dPt>
            <c:idx val="103"/>
            <c:invertIfNegative val="1"/>
            <c:bubble3D val="0"/>
            <c:spPr>
              <a:solidFill>
                <a:srgbClr val="AEABAB"/>
              </a:solidFill>
            </c:spPr>
            <c:extLst>
              <c:ext xmlns:c16="http://schemas.microsoft.com/office/drawing/2014/chart" uri="{C3380CC4-5D6E-409C-BE32-E72D297353CC}">
                <c16:uniqueId val="{000000D1-2993-41DE-A2CB-63102DE87051}"/>
              </c:ext>
            </c:extLst>
          </c:dPt>
          <c:dPt>
            <c:idx val="104"/>
            <c:invertIfNegative val="1"/>
            <c:bubble3D val="0"/>
            <c:spPr>
              <a:solidFill>
                <a:srgbClr val="AEABAB"/>
              </a:solidFill>
            </c:spPr>
            <c:extLst>
              <c:ext xmlns:c16="http://schemas.microsoft.com/office/drawing/2014/chart" uri="{C3380CC4-5D6E-409C-BE32-E72D297353CC}">
                <c16:uniqueId val="{000000D3-2993-41DE-A2CB-63102DE87051}"/>
              </c:ext>
            </c:extLst>
          </c:dPt>
          <c:dPt>
            <c:idx val="105"/>
            <c:invertIfNegative val="1"/>
            <c:bubble3D val="0"/>
            <c:spPr>
              <a:solidFill>
                <a:srgbClr val="AEABAB"/>
              </a:solidFill>
            </c:spPr>
            <c:extLst>
              <c:ext xmlns:c16="http://schemas.microsoft.com/office/drawing/2014/chart" uri="{C3380CC4-5D6E-409C-BE32-E72D297353CC}">
                <c16:uniqueId val="{000000D5-2993-41DE-A2CB-63102DE87051}"/>
              </c:ext>
            </c:extLst>
          </c:dPt>
          <c:dPt>
            <c:idx val="106"/>
            <c:invertIfNegative val="1"/>
            <c:bubble3D val="0"/>
            <c:spPr>
              <a:solidFill>
                <a:srgbClr val="AEABAB"/>
              </a:solidFill>
            </c:spPr>
            <c:extLst>
              <c:ext xmlns:c16="http://schemas.microsoft.com/office/drawing/2014/chart" uri="{C3380CC4-5D6E-409C-BE32-E72D297353CC}">
                <c16:uniqueId val="{000000D7-2993-41DE-A2CB-63102DE87051}"/>
              </c:ext>
            </c:extLst>
          </c:dPt>
          <c:dPt>
            <c:idx val="107"/>
            <c:invertIfNegative val="1"/>
            <c:bubble3D val="0"/>
            <c:spPr>
              <a:solidFill>
                <a:srgbClr val="AEABAB"/>
              </a:solidFill>
            </c:spPr>
            <c:extLst>
              <c:ext xmlns:c16="http://schemas.microsoft.com/office/drawing/2014/chart" uri="{C3380CC4-5D6E-409C-BE32-E72D297353CC}">
                <c16:uniqueId val="{000000D9-2993-41DE-A2CB-63102DE87051}"/>
              </c:ext>
            </c:extLst>
          </c:dPt>
          <c:dPt>
            <c:idx val="108"/>
            <c:invertIfNegative val="1"/>
            <c:bubble3D val="0"/>
            <c:spPr>
              <a:solidFill>
                <a:srgbClr val="AEABAB"/>
              </a:solidFill>
            </c:spPr>
            <c:extLst>
              <c:ext xmlns:c16="http://schemas.microsoft.com/office/drawing/2014/chart" uri="{C3380CC4-5D6E-409C-BE32-E72D297353CC}">
                <c16:uniqueId val="{000000DB-2993-41DE-A2CB-63102DE87051}"/>
              </c:ext>
            </c:extLst>
          </c:dPt>
          <c:dPt>
            <c:idx val="109"/>
            <c:invertIfNegative val="1"/>
            <c:bubble3D val="0"/>
            <c:spPr>
              <a:solidFill>
                <a:srgbClr val="AEABAB"/>
              </a:solidFill>
            </c:spPr>
            <c:extLst>
              <c:ext xmlns:c16="http://schemas.microsoft.com/office/drawing/2014/chart" uri="{C3380CC4-5D6E-409C-BE32-E72D297353CC}">
                <c16:uniqueId val="{000000DD-2993-41DE-A2CB-63102DE87051}"/>
              </c:ext>
            </c:extLst>
          </c:dPt>
          <c:dPt>
            <c:idx val="110"/>
            <c:invertIfNegative val="1"/>
            <c:bubble3D val="0"/>
            <c:spPr>
              <a:solidFill>
                <a:srgbClr val="AEABAB"/>
              </a:solidFill>
            </c:spPr>
            <c:extLst>
              <c:ext xmlns:c16="http://schemas.microsoft.com/office/drawing/2014/chart" uri="{C3380CC4-5D6E-409C-BE32-E72D297353CC}">
                <c16:uniqueId val="{000000DF-2993-41DE-A2CB-63102DE87051}"/>
              </c:ext>
            </c:extLst>
          </c:dPt>
          <c:dPt>
            <c:idx val="111"/>
            <c:invertIfNegative val="1"/>
            <c:bubble3D val="0"/>
            <c:spPr>
              <a:solidFill>
                <a:srgbClr val="AEABAB"/>
              </a:solidFill>
            </c:spPr>
            <c:extLst>
              <c:ext xmlns:c16="http://schemas.microsoft.com/office/drawing/2014/chart" uri="{C3380CC4-5D6E-409C-BE32-E72D297353CC}">
                <c16:uniqueId val="{000000E1-2993-41DE-A2CB-63102DE87051}"/>
              </c:ext>
            </c:extLst>
          </c:dPt>
          <c:dPt>
            <c:idx val="112"/>
            <c:invertIfNegative val="1"/>
            <c:bubble3D val="0"/>
            <c:spPr>
              <a:solidFill>
                <a:srgbClr val="AEABAB"/>
              </a:solidFill>
            </c:spPr>
            <c:extLst>
              <c:ext xmlns:c16="http://schemas.microsoft.com/office/drawing/2014/chart" uri="{C3380CC4-5D6E-409C-BE32-E72D297353CC}">
                <c16:uniqueId val="{000000E3-2993-41DE-A2CB-63102DE87051}"/>
              </c:ext>
            </c:extLst>
          </c:dPt>
          <c:dPt>
            <c:idx val="113"/>
            <c:invertIfNegative val="1"/>
            <c:bubble3D val="0"/>
            <c:spPr>
              <a:solidFill>
                <a:srgbClr val="AEABAB"/>
              </a:solidFill>
            </c:spPr>
            <c:extLst>
              <c:ext xmlns:c16="http://schemas.microsoft.com/office/drawing/2014/chart" uri="{C3380CC4-5D6E-409C-BE32-E72D297353CC}">
                <c16:uniqueId val="{000000E5-2993-41DE-A2CB-63102DE87051}"/>
              </c:ext>
            </c:extLst>
          </c:dPt>
          <c:dPt>
            <c:idx val="114"/>
            <c:invertIfNegative val="1"/>
            <c:bubble3D val="0"/>
            <c:spPr>
              <a:solidFill>
                <a:srgbClr val="AEABAB"/>
              </a:solidFill>
            </c:spPr>
            <c:extLst>
              <c:ext xmlns:c16="http://schemas.microsoft.com/office/drawing/2014/chart" uri="{C3380CC4-5D6E-409C-BE32-E72D297353CC}">
                <c16:uniqueId val="{000000E7-2993-41DE-A2CB-63102DE87051}"/>
              </c:ext>
            </c:extLst>
          </c:dPt>
          <c:dPt>
            <c:idx val="115"/>
            <c:invertIfNegative val="1"/>
            <c:bubble3D val="0"/>
            <c:spPr>
              <a:solidFill>
                <a:srgbClr val="AEABAB"/>
              </a:solidFill>
            </c:spPr>
            <c:extLst>
              <c:ext xmlns:c16="http://schemas.microsoft.com/office/drawing/2014/chart" uri="{C3380CC4-5D6E-409C-BE32-E72D297353CC}">
                <c16:uniqueId val="{000000E9-2993-41DE-A2CB-63102DE87051}"/>
              </c:ext>
            </c:extLst>
          </c:dPt>
          <c:dPt>
            <c:idx val="116"/>
            <c:invertIfNegative val="1"/>
            <c:bubble3D val="0"/>
            <c:spPr>
              <a:solidFill>
                <a:srgbClr val="AEABAB"/>
              </a:solidFill>
            </c:spPr>
            <c:extLst>
              <c:ext xmlns:c16="http://schemas.microsoft.com/office/drawing/2014/chart" uri="{C3380CC4-5D6E-409C-BE32-E72D297353CC}">
                <c16:uniqueId val="{000000EB-2993-41DE-A2CB-63102DE87051}"/>
              </c:ext>
            </c:extLst>
          </c:dPt>
          <c:dPt>
            <c:idx val="117"/>
            <c:invertIfNegative val="1"/>
            <c:bubble3D val="0"/>
            <c:spPr>
              <a:solidFill>
                <a:srgbClr val="AEABAB"/>
              </a:solidFill>
            </c:spPr>
            <c:extLst>
              <c:ext xmlns:c16="http://schemas.microsoft.com/office/drawing/2014/chart" uri="{C3380CC4-5D6E-409C-BE32-E72D297353CC}">
                <c16:uniqueId val="{000000ED-2993-41DE-A2CB-63102DE87051}"/>
              </c:ext>
            </c:extLst>
          </c:dPt>
          <c:dPt>
            <c:idx val="118"/>
            <c:invertIfNegative val="1"/>
            <c:bubble3D val="0"/>
            <c:spPr>
              <a:solidFill>
                <a:srgbClr val="AEABAB"/>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120</c:f>
              <c:strCache>
                <c:ptCount val="119"/>
                <c:pt idx="0">
                  <c:v>Ruinart</c:v>
                </c:pt>
                <c:pt idx="1">
                  <c:v>Nicolas</c:v>
                </c:pt>
                <c:pt idx="2">
                  <c:v>Deutz</c:v>
                </c:pt>
                <c:pt idx="3">
                  <c:v>Heidsieck &amp;</c:v>
                </c:pt>
                <c:pt idx="4">
                  <c:v>Ruinart</c:v>
                </c:pt>
                <c:pt idx="5">
                  <c:v>Laurent Per</c:v>
                </c:pt>
                <c:pt idx="6">
                  <c:v>De Bligny</c:v>
                </c:pt>
                <c:pt idx="7">
                  <c:v>Ayala</c:v>
                </c:pt>
                <c:pt idx="8">
                  <c:v>Bollinger</c:v>
                </c:pt>
                <c:pt idx="9">
                  <c:v>Taittinger</c:v>
                </c:pt>
                <c:pt idx="10">
                  <c:v>Canard Duch</c:v>
                </c:pt>
                <c:pt idx="11">
                  <c:v>Ruinart</c:v>
                </c:pt>
                <c:pt idx="12">
                  <c:v>Deutz</c:v>
                </c:pt>
                <c:pt idx="13">
                  <c:v>Demoiselle</c:v>
                </c:pt>
                <c:pt idx="14">
                  <c:v>Perrier Jou</c:v>
                </c:pt>
                <c:pt idx="15">
                  <c:v>Besserat De</c:v>
                </c:pt>
                <c:pt idx="16">
                  <c:v>Pommery</c:v>
                </c:pt>
                <c:pt idx="17">
                  <c:v>Roederer</c:v>
                </c:pt>
                <c:pt idx="18">
                  <c:v>Laurent Per</c:v>
                </c:pt>
                <c:pt idx="19">
                  <c:v>Moët &amp; Chan</c:v>
                </c:pt>
                <c:pt idx="20">
                  <c:v>All Others</c:v>
                </c:pt>
                <c:pt idx="21">
                  <c:v>Taittinger</c:v>
                </c:pt>
                <c:pt idx="22">
                  <c:v>Veuve Clicq</c:v>
                </c:pt>
                <c:pt idx="23">
                  <c:v>Savian</c:v>
                </c:pt>
                <c:pt idx="24">
                  <c:v>Roederer</c:v>
                </c:pt>
                <c:pt idx="25">
                  <c:v>Veuve Clicq</c:v>
                </c:pt>
                <c:pt idx="26">
                  <c:v>Campari: Al</c:v>
                </c:pt>
                <c:pt idx="27">
                  <c:v>Veuve Clicq</c:v>
                </c:pt>
                <c:pt idx="28">
                  <c:v>All Others</c:v>
                </c:pt>
                <c:pt idx="29">
                  <c:v>Krug</c:v>
                </c:pt>
                <c:pt idx="30">
                  <c:v>All Others</c:v>
                </c:pt>
                <c:pt idx="31">
                  <c:v>Ruinart</c:v>
                </c:pt>
                <c:pt idx="32">
                  <c:v>Roederer</c:v>
                </c:pt>
                <c:pt idx="33">
                  <c:v>Nicolas</c:v>
                </c:pt>
                <c:pt idx="34">
                  <c:v>Piper Heids</c:v>
                </c:pt>
                <c:pt idx="35">
                  <c:v>Henriot</c:v>
                </c:pt>
                <c:pt idx="36">
                  <c:v>Bollinger</c:v>
                </c:pt>
                <c:pt idx="37">
                  <c:v>Nicolas Feu</c:v>
                </c:pt>
                <c:pt idx="38">
                  <c:v>Lanson</c:v>
                </c:pt>
                <c:pt idx="39">
                  <c:v>Deutz</c:v>
                </c:pt>
                <c:pt idx="40">
                  <c:v>Roederer</c:v>
                </c:pt>
                <c:pt idx="41">
                  <c:v>Canard Duch</c:v>
                </c:pt>
                <c:pt idx="42">
                  <c:v>Nicolas</c:v>
                </c:pt>
                <c:pt idx="43">
                  <c:v>Campari: Al</c:v>
                </c:pt>
                <c:pt idx="44">
                  <c:v>De Venoge</c:v>
                </c:pt>
                <c:pt idx="45">
                  <c:v>Henriot</c:v>
                </c:pt>
                <c:pt idx="46">
                  <c:v>Moët &amp; Chan</c:v>
                </c:pt>
                <c:pt idx="47">
                  <c:v>Nicolas</c:v>
                </c:pt>
                <c:pt idx="48">
                  <c:v>Canard Duch</c:v>
                </c:pt>
                <c:pt idx="49">
                  <c:v>Vranken</c:v>
                </c:pt>
                <c:pt idx="50">
                  <c:v>Ruinart</c:v>
                </c:pt>
                <c:pt idx="51">
                  <c:v>Laurent Per</c:v>
                </c:pt>
                <c:pt idx="52">
                  <c:v>Canard Duch</c:v>
                </c:pt>
                <c:pt idx="53">
                  <c:v>Moët &amp; Chan</c:v>
                </c:pt>
                <c:pt idx="54">
                  <c:v>De Venoge</c:v>
                </c:pt>
                <c:pt idx="55">
                  <c:v>De Venoge</c:v>
                </c:pt>
                <c:pt idx="56">
                  <c:v>Demoiselle</c:v>
                </c:pt>
                <c:pt idx="57">
                  <c:v>Ruinart</c:v>
                </c:pt>
                <c:pt idx="58">
                  <c:v>Nicolas</c:v>
                </c:pt>
                <c:pt idx="59">
                  <c:v>Nicolas</c:v>
                </c:pt>
                <c:pt idx="60">
                  <c:v>Ruinart</c:v>
                </c:pt>
                <c:pt idx="61">
                  <c:v>All Others</c:v>
                </c:pt>
                <c:pt idx="62">
                  <c:v>Canard Duch</c:v>
                </c:pt>
                <c:pt idx="63">
                  <c:v>Laurent Per</c:v>
                </c:pt>
                <c:pt idx="64">
                  <c:v>Laurent Per</c:v>
                </c:pt>
                <c:pt idx="65">
                  <c:v>Moët &amp; Chan</c:v>
                </c:pt>
                <c:pt idx="66">
                  <c:v>Roederer</c:v>
                </c:pt>
                <c:pt idx="67">
                  <c:v>Nicolas Feu</c:v>
                </c:pt>
                <c:pt idx="68">
                  <c:v>All Others</c:v>
                </c:pt>
                <c:pt idx="69">
                  <c:v>Roederer</c:v>
                </c:pt>
                <c:pt idx="70">
                  <c:v>Ruinart</c:v>
                </c:pt>
                <c:pt idx="71">
                  <c:v>Veuve Clicq</c:v>
                </c:pt>
                <c:pt idx="72">
                  <c:v>Canard Duch</c:v>
                </c:pt>
                <c:pt idx="73">
                  <c:v>Ruinart</c:v>
                </c:pt>
                <c:pt idx="74">
                  <c:v>Roederer</c:v>
                </c:pt>
                <c:pt idx="75">
                  <c:v>Roederer</c:v>
                </c:pt>
                <c:pt idx="76">
                  <c:v>Pommery</c:v>
                </c:pt>
                <c:pt idx="77">
                  <c:v>Pommery</c:v>
                </c:pt>
                <c:pt idx="78">
                  <c:v>Pommery</c:v>
                </c:pt>
                <c:pt idx="79">
                  <c:v>Vranken</c:v>
                </c:pt>
                <c:pt idx="80">
                  <c:v>Bollinger</c:v>
                </c:pt>
                <c:pt idx="81">
                  <c:v>Deutz</c:v>
                </c:pt>
                <c:pt idx="82">
                  <c:v>Malard</c:v>
                </c:pt>
                <c:pt idx="83">
                  <c:v>Demoiselle</c:v>
                </c:pt>
                <c:pt idx="84">
                  <c:v>All Others</c:v>
                </c:pt>
                <c:pt idx="85">
                  <c:v>Nicolas</c:v>
                </c:pt>
                <c:pt idx="86">
                  <c:v>Taittinger</c:v>
                </c:pt>
                <c:pt idx="87">
                  <c:v>Moët &amp; Chan</c:v>
                </c:pt>
                <c:pt idx="88">
                  <c:v>Veuve Clicq</c:v>
                </c:pt>
                <c:pt idx="89">
                  <c:v>All Others</c:v>
                </c:pt>
                <c:pt idx="90">
                  <c:v>Pommery</c:v>
                </c:pt>
                <c:pt idx="91">
                  <c:v>Henriot</c:v>
                </c:pt>
                <c:pt idx="92">
                  <c:v>De Venoge</c:v>
                </c:pt>
                <c:pt idx="93">
                  <c:v>All Others</c:v>
                </c:pt>
                <c:pt idx="94">
                  <c:v>Veuve Clicq</c:v>
                </c:pt>
                <c:pt idx="95">
                  <c:v>Roederer</c:v>
                </c:pt>
                <c:pt idx="96">
                  <c:v>Pommery</c:v>
                </c:pt>
                <c:pt idx="97">
                  <c:v>All Others</c:v>
                </c:pt>
                <c:pt idx="98">
                  <c:v>Nicolas Feu</c:v>
                </c:pt>
                <c:pt idx="99">
                  <c:v>De Venoge</c:v>
                </c:pt>
                <c:pt idx="100">
                  <c:v>Roederer</c:v>
                </c:pt>
                <c:pt idx="101">
                  <c:v>Canard Duch</c:v>
                </c:pt>
                <c:pt idx="102">
                  <c:v>Laurent Per</c:v>
                </c:pt>
                <c:pt idx="103">
                  <c:v>Moët &amp; Chan</c:v>
                </c:pt>
                <c:pt idx="104">
                  <c:v>Roederer</c:v>
                </c:pt>
                <c:pt idx="105">
                  <c:v>Demoiselle</c:v>
                </c:pt>
                <c:pt idx="106">
                  <c:v>All Others</c:v>
                </c:pt>
                <c:pt idx="107">
                  <c:v>Roederer</c:v>
                </c:pt>
                <c:pt idx="108">
                  <c:v>Laurent Per</c:v>
                </c:pt>
                <c:pt idx="109">
                  <c:v>Martel</c:v>
                </c:pt>
                <c:pt idx="110">
                  <c:v>Besserat De</c:v>
                </c:pt>
                <c:pt idx="111">
                  <c:v>Lanson</c:v>
                </c:pt>
                <c:pt idx="112">
                  <c:v>Vranken</c:v>
                </c:pt>
                <c:pt idx="113">
                  <c:v>Piper Heids</c:v>
                </c:pt>
                <c:pt idx="114">
                  <c:v>Nicolas Feu</c:v>
                </c:pt>
                <c:pt idx="115">
                  <c:v>All Others</c:v>
                </c:pt>
                <c:pt idx="116">
                  <c:v>Roederer</c:v>
                </c:pt>
                <c:pt idx="117">
                  <c:v>Nicolas</c:v>
                </c:pt>
                <c:pt idx="118">
                  <c:v>Bollinger</c:v>
                </c:pt>
              </c:strCache>
            </c:strRef>
          </c:cat>
          <c:val>
            <c:numRef>
              <c:f>Sheet1!$C$2:$C$120</c:f>
              <c:numCache>
                <c:formatCode>General</c:formatCode>
                <c:ptCount val="119"/>
                <c:pt idx="0">
                  <c:v>0.16451022688866368</c:v>
                </c:pt>
                <c:pt idx="1">
                  <c:v>0.2767351082243994</c:v>
                </c:pt>
                <c:pt idx="2">
                  <c:v>0.35355780183171726</c:v>
                </c:pt>
                <c:pt idx="3">
                  <c:v>0.40676787698554762</c:v>
                </c:pt>
                <c:pt idx="4">
                  <c:v>0.45319912698096554</c:v>
                </c:pt>
                <c:pt idx="5">
                  <c:v>0.49920393586814488</c:v>
                </c:pt>
                <c:pt idx="6">
                  <c:v>0.53362054365987155</c:v>
                </c:pt>
                <c:pt idx="7">
                  <c:v>0.56304986770550491</c:v>
                </c:pt>
                <c:pt idx="8">
                  <c:v>0.5913452738472833</c:v>
                </c:pt>
                <c:pt idx="9">
                  <c:v>0.61951067043629204</c:v>
                </c:pt>
                <c:pt idx="10">
                  <c:v>0.64435862401994914</c:v>
                </c:pt>
                <c:pt idx="11">
                  <c:v>0.66906166094046271</c:v>
                </c:pt>
                <c:pt idx="12">
                  <c:v>0.6894653406018123</c:v>
                </c:pt>
                <c:pt idx="13">
                  <c:v>0.70852151523689966</c:v>
                </c:pt>
                <c:pt idx="14">
                  <c:v>0.72471112586073294</c:v>
                </c:pt>
                <c:pt idx="15">
                  <c:v>0.74023138279088974</c:v>
                </c:pt>
                <c:pt idx="16">
                  <c:v>0.75529831693836313</c:v>
                </c:pt>
                <c:pt idx="17">
                  <c:v>0.76947082446339909</c:v>
                </c:pt>
                <c:pt idx="18">
                  <c:v>0.78291483861097999</c:v>
                </c:pt>
                <c:pt idx="19">
                  <c:v>0.79493241336097431</c:v>
                </c:pt>
                <c:pt idx="20">
                  <c:v>0.80690795494729128</c:v>
                </c:pt>
                <c:pt idx="21">
                  <c:v>0.81834781807558021</c:v>
                </c:pt>
                <c:pt idx="22">
                  <c:v>0.82898245286481687</c:v>
                </c:pt>
                <c:pt idx="23">
                  <c:v>0.83922290455514881</c:v>
                </c:pt>
                <c:pt idx="24">
                  <c:v>0.84932283840179179</c:v>
                </c:pt>
                <c:pt idx="25">
                  <c:v>0.85905815899141935</c:v>
                </c:pt>
                <c:pt idx="26">
                  <c:v>0.86627784361072724</c:v>
                </c:pt>
                <c:pt idx="27">
                  <c:v>0.87301096992258354</c:v>
                </c:pt>
                <c:pt idx="28">
                  <c:v>0.87940929719817229</c:v>
                </c:pt>
                <c:pt idx="29">
                  <c:v>0.8852426205527022</c:v>
                </c:pt>
                <c:pt idx="30">
                  <c:v>0.89078488868665207</c:v>
                </c:pt>
                <c:pt idx="31">
                  <c:v>0.8962335597177622</c:v>
                </c:pt>
                <c:pt idx="32">
                  <c:v>0.90168052009686228</c:v>
                </c:pt>
                <c:pt idx="33">
                  <c:v>0.90709619998206292</c:v>
                </c:pt>
                <c:pt idx="34">
                  <c:v>0.91203680736616566</c:v>
                </c:pt>
                <c:pt idx="35">
                  <c:v>0.91682712175223591</c:v>
                </c:pt>
                <c:pt idx="36">
                  <c:v>0.92153825738812312</c:v>
                </c:pt>
                <c:pt idx="37">
                  <c:v>0.92623741845993945</c:v>
                </c:pt>
                <c:pt idx="38">
                  <c:v>0.93064845685747888</c:v>
                </c:pt>
                <c:pt idx="39">
                  <c:v>0.93500231060210837</c:v>
                </c:pt>
                <c:pt idx="40">
                  <c:v>0.93911276300358271</c:v>
                </c:pt>
                <c:pt idx="41">
                  <c:v>0.94303919812453929</c:v>
                </c:pt>
                <c:pt idx="42">
                  <c:v>0.9466904626507241</c:v>
                </c:pt>
                <c:pt idx="43">
                  <c:v>0.95023444485798814</c:v>
                </c:pt>
                <c:pt idx="44">
                  <c:v>0.95356752811028955</c:v>
                </c:pt>
                <c:pt idx="45">
                  <c:v>0.95591429828932395</c:v>
                </c:pt>
                <c:pt idx="46">
                  <c:v>0.95825813592205522</c:v>
                </c:pt>
                <c:pt idx="47">
                  <c:v>0.96052206166802778</c:v>
                </c:pt>
                <c:pt idx="48">
                  <c:v>0.9626083239838058</c:v>
                </c:pt>
                <c:pt idx="49">
                  <c:v>0.96442308138769095</c:v>
                </c:pt>
                <c:pt idx="50">
                  <c:v>0.96619922693191895</c:v>
                </c:pt>
                <c:pt idx="51">
                  <c:v>0.96791916533867139</c:v>
                </c:pt>
                <c:pt idx="52">
                  <c:v>0.96960513508407997</c:v>
                </c:pt>
                <c:pt idx="53">
                  <c:v>0.97121021542729546</c:v>
                </c:pt>
                <c:pt idx="54">
                  <c:v>0.97260293054239666</c:v>
                </c:pt>
                <c:pt idx="55">
                  <c:v>0.9739905137014675</c:v>
                </c:pt>
                <c:pt idx="56">
                  <c:v>0.97531846841904246</c:v>
                </c:pt>
                <c:pt idx="57">
                  <c:v>0.97654085146970682</c:v>
                </c:pt>
                <c:pt idx="58">
                  <c:v>0.97775785818548222</c:v>
                </c:pt>
                <c:pt idx="59">
                  <c:v>0.978960935306318</c:v>
                </c:pt>
                <c:pt idx="60">
                  <c:v>0.98014788342248693</c:v>
                </c:pt>
                <c:pt idx="61">
                  <c:v>0.98128009067433186</c:v>
                </c:pt>
                <c:pt idx="62">
                  <c:v>0.98238859317689353</c:v>
                </c:pt>
                <c:pt idx="63">
                  <c:v>0.98346337139696993</c:v>
                </c:pt>
                <c:pt idx="64">
                  <c:v>0.98446850164234834</c:v>
                </c:pt>
                <c:pt idx="65">
                  <c:v>0.98546898868941346</c:v>
                </c:pt>
                <c:pt idx="66">
                  <c:v>0.98646507691702401</c:v>
                </c:pt>
                <c:pt idx="67">
                  <c:v>0.98744161483594739</c:v>
                </c:pt>
                <c:pt idx="68">
                  <c:v>0.98833139826007155</c:v>
                </c:pt>
                <c:pt idx="69">
                  <c:v>0.98919063432687204</c:v>
                </c:pt>
                <c:pt idx="70">
                  <c:v>0.99002030055178314</c:v>
                </c:pt>
                <c:pt idx="71">
                  <c:v>0.990847767366967</c:v>
                </c:pt>
                <c:pt idx="72">
                  <c:v>0.9916266027892916</c:v>
                </c:pt>
                <c:pt idx="73">
                  <c:v>0.99237415771771664</c:v>
                </c:pt>
                <c:pt idx="74">
                  <c:v>0.99308578895392907</c:v>
                </c:pt>
                <c:pt idx="75">
                  <c:v>0.9937683391059694</c:v>
                </c:pt>
                <c:pt idx="76">
                  <c:v>0.99433358740588673</c:v>
                </c:pt>
                <c:pt idx="77">
                  <c:v>0.99489443688634949</c:v>
                </c:pt>
                <c:pt idx="78">
                  <c:v>0.99541838515916525</c:v>
                </c:pt>
                <c:pt idx="79">
                  <c:v>0.99580279310372644</c:v>
                </c:pt>
                <c:pt idx="80">
                  <c:v>0.99618280222883304</c:v>
                </c:pt>
                <c:pt idx="81">
                  <c:v>0.99648534325576676</c:v>
                </c:pt>
                <c:pt idx="82">
                  <c:v>0.9967727327934679</c:v>
                </c:pt>
                <c:pt idx="83">
                  <c:v>0.99705156907111847</c:v>
                </c:pt>
                <c:pt idx="84">
                  <c:v>0.99731916392127395</c:v>
                </c:pt>
                <c:pt idx="85">
                  <c:v>0.99757747237480299</c:v>
                </c:pt>
                <c:pt idx="86">
                  <c:v>0.99781549738306907</c:v>
                </c:pt>
                <c:pt idx="87">
                  <c:v>0.99804325847927444</c:v>
                </c:pt>
                <c:pt idx="88">
                  <c:v>0.99823143020038829</c:v>
                </c:pt>
                <c:pt idx="89">
                  <c:v>0.99840005161281498</c:v>
                </c:pt>
                <c:pt idx="90">
                  <c:v>0.99855401029372637</c:v>
                </c:pt>
                <c:pt idx="91">
                  <c:v>0.99869770506257693</c:v>
                </c:pt>
                <c:pt idx="92">
                  <c:v>0.99882893650963944</c:v>
                </c:pt>
                <c:pt idx="93">
                  <c:v>0.998954791621813</c:v>
                </c:pt>
                <c:pt idx="94">
                  <c:v>0.99905645322698622</c:v>
                </c:pt>
                <c:pt idx="95">
                  <c:v>0.99915053908754314</c:v>
                </c:pt>
                <c:pt idx="96">
                  <c:v>0.99922751842799884</c:v>
                </c:pt>
                <c:pt idx="97">
                  <c:v>0.99930449776845454</c:v>
                </c:pt>
                <c:pt idx="98">
                  <c:v>0.99936901378712217</c:v>
                </c:pt>
                <c:pt idx="99">
                  <c:v>0.99943133039606247</c:v>
                </c:pt>
                <c:pt idx="100">
                  <c:v>0.99948900380668959</c:v>
                </c:pt>
                <c:pt idx="101">
                  <c:v>0.99954643283845812</c:v>
                </c:pt>
                <c:pt idx="102">
                  <c:v>0.99959433109474161</c:v>
                </c:pt>
                <c:pt idx="103">
                  <c:v>0.99964149621444942</c:v>
                </c:pt>
                <c:pt idx="104">
                  <c:v>0.99968108558954094</c:v>
                </c:pt>
                <c:pt idx="105">
                  <c:v>0.99972018620691527</c:v>
                </c:pt>
                <c:pt idx="106">
                  <c:v>0.99975342173168347</c:v>
                </c:pt>
                <c:pt idx="107">
                  <c:v>0.99978567974101729</c:v>
                </c:pt>
                <c:pt idx="108">
                  <c:v>0.99981744899263392</c:v>
                </c:pt>
                <c:pt idx="109">
                  <c:v>0.9998472632133818</c:v>
                </c:pt>
                <c:pt idx="110">
                  <c:v>0.99987658867641249</c:v>
                </c:pt>
                <c:pt idx="111">
                  <c:v>0.99990298159314017</c:v>
                </c:pt>
                <c:pt idx="112">
                  <c:v>0.99992228752296874</c:v>
                </c:pt>
                <c:pt idx="113">
                  <c:v>0.99993914966421138</c:v>
                </c:pt>
                <c:pt idx="114">
                  <c:v>0.99995454553230256</c:v>
                </c:pt>
                <c:pt idx="115">
                  <c:v>0.99996823074838359</c:v>
                </c:pt>
                <c:pt idx="116">
                  <c:v>0.99998118282788884</c:v>
                </c:pt>
                <c:pt idx="117">
                  <c:v>0.99999242425538393</c:v>
                </c:pt>
                <c:pt idx="118">
                  <c:v>1.0000000000000002</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117</c:f>
              <c:strCache>
                <c:ptCount val="116"/>
                <c:pt idx="0">
                  <c:v>Ruinart</c:v>
                </c:pt>
                <c:pt idx="1">
                  <c:v>Deutz</c:v>
                </c:pt>
                <c:pt idx="2">
                  <c:v>Nicolas</c:v>
                </c:pt>
                <c:pt idx="3">
                  <c:v>Heidsieck &amp;</c:v>
                </c:pt>
                <c:pt idx="4">
                  <c:v>Ayala</c:v>
                </c:pt>
                <c:pt idx="5">
                  <c:v>De Bligny</c:v>
                </c:pt>
                <c:pt idx="6">
                  <c:v>Taittinger</c:v>
                </c:pt>
                <c:pt idx="7">
                  <c:v>Canard Duch</c:v>
                </c:pt>
                <c:pt idx="8">
                  <c:v>Ruinart</c:v>
                </c:pt>
                <c:pt idx="9">
                  <c:v>Laurent Per</c:v>
                </c:pt>
                <c:pt idx="10">
                  <c:v>Bollinger</c:v>
                </c:pt>
                <c:pt idx="11">
                  <c:v>Deutz</c:v>
                </c:pt>
                <c:pt idx="12">
                  <c:v>Besserat De</c:v>
                </c:pt>
                <c:pt idx="13">
                  <c:v>Savian</c:v>
                </c:pt>
                <c:pt idx="14">
                  <c:v>Ruinart</c:v>
                </c:pt>
                <c:pt idx="15">
                  <c:v>Demoiselle</c:v>
                </c:pt>
                <c:pt idx="16">
                  <c:v>Laurent Per</c:v>
                </c:pt>
                <c:pt idx="17">
                  <c:v>Taittinger</c:v>
                </c:pt>
                <c:pt idx="18">
                  <c:v>Perrier Jou</c:v>
                </c:pt>
                <c:pt idx="19">
                  <c:v>Roederer</c:v>
                </c:pt>
                <c:pt idx="20">
                  <c:v>All Others</c:v>
                </c:pt>
                <c:pt idx="21">
                  <c:v>Moët &amp; Chan</c:v>
                </c:pt>
                <c:pt idx="22">
                  <c:v>Pommery</c:v>
                </c:pt>
                <c:pt idx="23">
                  <c:v>All Others</c:v>
                </c:pt>
                <c:pt idx="24">
                  <c:v>Campari: Al</c:v>
                </c:pt>
                <c:pt idx="25">
                  <c:v>Henriot</c:v>
                </c:pt>
                <c:pt idx="26">
                  <c:v>Roederer</c:v>
                </c:pt>
                <c:pt idx="27">
                  <c:v>Veuve Clicq</c:v>
                </c:pt>
                <c:pt idx="28">
                  <c:v>Veuve Clicq</c:v>
                </c:pt>
                <c:pt idx="29">
                  <c:v>Ruinart</c:v>
                </c:pt>
                <c:pt idx="30">
                  <c:v>Nicolas</c:v>
                </c:pt>
                <c:pt idx="31">
                  <c:v>Deutz</c:v>
                </c:pt>
                <c:pt idx="32">
                  <c:v>Nicolas Feu</c:v>
                </c:pt>
                <c:pt idx="33">
                  <c:v>De Venoge</c:v>
                </c:pt>
                <c:pt idx="34">
                  <c:v>Lanson</c:v>
                </c:pt>
                <c:pt idx="35">
                  <c:v>Campari: Al</c:v>
                </c:pt>
                <c:pt idx="36">
                  <c:v>Veuve Clicq</c:v>
                </c:pt>
                <c:pt idx="37">
                  <c:v>Bollinger</c:v>
                </c:pt>
                <c:pt idx="38">
                  <c:v>Canard Duch</c:v>
                </c:pt>
                <c:pt idx="39">
                  <c:v>Canard Duch</c:v>
                </c:pt>
                <c:pt idx="40">
                  <c:v>Krug</c:v>
                </c:pt>
                <c:pt idx="41">
                  <c:v>Nicolas</c:v>
                </c:pt>
                <c:pt idx="42">
                  <c:v>All Others</c:v>
                </c:pt>
                <c:pt idx="43">
                  <c:v>Piper Heids</c:v>
                </c:pt>
                <c:pt idx="44">
                  <c:v>Canard Duch</c:v>
                </c:pt>
                <c:pt idx="45">
                  <c:v>Henriot</c:v>
                </c:pt>
                <c:pt idx="46">
                  <c:v>Roederer</c:v>
                </c:pt>
                <c:pt idx="47">
                  <c:v>De Venoge</c:v>
                </c:pt>
                <c:pt idx="48">
                  <c:v>Roederer</c:v>
                </c:pt>
                <c:pt idx="49">
                  <c:v>Nicolas</c:v>
                </c:pt>
                <c:pt idx="50">
                  <c:v>Roederer</c:v>
                </c:pt>
                <c:pt idx="51">
                  <c:v>Veuve Clicq</c:v>
                </c:pt>
                <c:pt idx="52">
                  <c:v>Vranken</c:v>
                </c:pt>
                <c:pt idx="53">
                  <c:v>De Venoge</c:v>
                </c:pt>
                <c:pt idx="54">
                  <c:v>All Others</c:v>
                </c:pt>
                <c:pt idx="55">
                  <c:v>Demoiselle</c:v>
                </c:pt>
                <c:pt idx="56">
                  <c:v>Nicolas Feu</c:v>
                </c:pt>
                <c:pt idx="57">
                  <c:v>Canard Duch</c:v>
                </c:pt>
                <c:pt idx="58">
                  <c:v>Nicolas</c:v>
                </c:pt>
                <c:pt idx="59">
                  <c:v>Deutz</c:v>
                </c:pt>
                <c:pt idx="60">
                  <c:v>Demoiselle</c:v>
                </c:pt>
                <c:pt idx="61">
                  <c:v>All Others</c:v>
                </c:pt>
                <c:pt idx="62">
                  <c:v>Nicolas</c:v>
                </c:pt>
                <c:pt idx="63">
                  <c:v>Pommery</c:v>
                </c:pt>
                <c:pt idx="64">
                  <c:v>Canard Duch</c:v>
                </c:pt>
                <c:pt idx="65">
                  <c:v>Roederer</c:v>
                </c:pt>
                <c:pt idx="66">
                  <c:v>Laurent Per</c:v>
                </c:pt>
                <c:pt idx="67">
                  <c:v>Ruinart</c:v>
                </c:pt>
                <c:pt idx="68">
                  <c:v>Malard</c:v>
                </c:pt>
                <c:pt idx="69">
                  <c:v>Roederer</c:v>
                </c:pt>
                <c:pt idx="70">
                  <c:v>Moët &amp; Chan</c:v>
                </c:pt>
                <c:pt idx="71">
                  <c:v>Ruinart</c:v>
                </c:pt>
                <c:pt idx="72">
                  <c:v>Roederer</c:v>
                </c:pt>
                <c:pt idx="73">
                  <c:v>Laurent Per</c:v>
                </c:pt>
                <c:pt idx="74">
                  <c:v>All Others</c:v>
                </c:pt>
                <c:pt idx="75">
                  <c:v>Moët &amp; Chan</c:v>
                </c:pt>
                <c:pt idx="76">
                  <c:v>Taittinger</c:v>
                </c:pt>
                <c:pt idx="77">
                  <c:v>Deutz</c:v>
                </c:pt>
                <c:pt idx="78">
                  <c:v>Roederer</c:v>
                </c:pt>
                <c:pt idx="79">
                  <c:v>Vranken</c:v>
                </c:pt>
                <c:pt idx="80">
                  <c:v>Henriot</c:v>
                </c:pt>
                <c:pt idx="81">
                  <c:v>Ruinart</c:v>
                </c:pt>
                <c:pt idx="82">
                  <c:v>Roederer</c:v>
                </c:pt>
                <c:pt idx="83">
                  <c:v>Nicolas</c:v>
                </c:pt>
                <c:pt idx="84">
                  <c:v>Laurent Per</c:v>
                </c:pt>
                <c:pt idx="85">
                  <c:v>Besserat De</c:v>
                </c:pt>
                <c:pt idx="86">
                  <c:v>All Others</c:v>
                </c:pt>
                <c:pt idx="87">
                  <c:v>Pommery</c:v>
                </c:pt>
                <c:pt idx="88">
                  <c:v>Bollinger</c:v>
                </c:pt>
                <c:pt idx="89">
                  <c:v>Nicolas Feu</c:v>
                </c:pt>
                <c:pt idx="90">
                  <c:v>Pommery</c:v>
                </c:pt>
                <c:pt idx="91">
                  <c:v>Moët &amp; Chan</c:v>
                </c:pt>
                <c:pt idx="92">
                  <c:v>Ruinart</c:v>
                </c:pt>
                <c:pt idx="93">
                  <c:v>Pommery</c:v>
                </c:pt>
                <c:pt idx="94">
                  <c:v>Piper Heids</c:v>
                </c:pt>
                <c:pt idx="95">
                  <c:v>Laurent Per</c:v>
                </c:pt>
                <c:pt idx="96">
                  <c:v>Moët &amp; Chan</c:v>
                </c:pt>
                <c:pt idx="97">
                  <c:v>All Others</c:v>
                </c:pt>
                <c:pt idx="98">
                  <c:v>All Others</c:v>
                </c:pt>
                <c:pt idx="99">
                  <c:v>Nicolas Feu</c:v>
                </c:pt>
                <c:pt idx="100">
                  <c:v>Canard Duch</c:v>
                </c:pt>
                <c:pt idx="101">
                  <c:v>All Others</c:v>
                </c:pt>
                <c:pt idx="102">
                  <c:v>Veuve Clicq</c:v>
                </c:pt>
                <c:pt idx="103">
                  <c:v>Ruinart</c:v>
                </c:pt>
                <c:pt idx="104">
                  <c:v>Roederer</c:v>
                </c:pt>
                <c:pt idx="105">
                  <c:v>Nicolas Feu</c:v>
                </c:pt>
                <c:pt idx="106">
                  <c:v>Besserat De</c:v>
                </c:pt>
                <c:pt idx="107">
                  <c:v>Bollinger</c:v>
                </c:pt>
                <c:pt idx="108">
                  <c:v>Demoiselle</c:v>
                </c:pt>
                <c:pt idx="109">
                  <c:v>De Venoge</c:v>
                </c:pt>
                <c:pt idx="110">
                  <c:v>Roederer</c:v>
                </c:pt>
                <c:pt idx="111">
                  <c:v>Roederer</c:v>
                </c:pt>
                <c:pt idx="112">
                  <c:v>Roederer</c:v>
                </c:pt>
                <c:pt idx="113">
                  <c:v>Roederer</c:v>
                </c:pt>
                <c:pt idx="114">
                  <c:v>Martel</c:v>
                </c:pt>
                <c:pt idx="115">
                  <c:v>Nicolas</c:v>
                </c:pt>
              </c:strCache>
            </c:strRef>
          </c:cat>
          <c:val>
            <c:numRef>
              <c:f>Sheet1!$B$2:$B$117</c:f>
              <c:numCache>
                <c:formatCode>General</c:formatCode>
                <c:ptCount val="116"/>
                <c:pt idx="0">
                  <c:v>1</c:v>
                </c:pt>
                <c:pt idx="1">
                  <c:v>1</c:v>
                </c:pt>
                <c:pt idx="2">
                  <c:v>1</c:v>
                </c:pt>
                <c:pt idx="3">
                  <c:v>0.95</c:v>
                </c:pt>
                <c:pt idx="4">
                  <c:v>0.95</c:v>
                </c:pt>
                <c:pt idx="5">
                  <c:v>0.95</c:v>
                </c:pt>
                <c:pt idx="6">
                  <c:v>0.91</c:v>
                </c:pt>
                <c:pt idx="7">
                  <c:v>0.99</c:v>
                </c:pt>
                <c:pt idx="8">
                  <c:v>0.75</c:v>
                </c:pt>
                <c:pt idx="9">
                  <c:v>0.99</c:v>
                </c:pt>
                <c:pt idx="10">
                  <c:v>0.93</c:v>
                </c:pt>
                <c:pt idx="11">
                  <c:v>0.85</c:v>
                </c:pt>
                <c:pt idx="12">
                  <c:v>0.88</c:v>
                </c:pt>
                <c:pt idx="13">
                  <c:v>0.95</c:v>
                </c:pt>
                <c:pt idx="14">
                  <c:v>0.68</c:v>
                </c:pt>
                <c:pt idx="15">
                  <c:v>0.87</c:v>
                </c:pt>
                <c:pt idx="16">
                  <c:v>0.93</c:v>
                </c:pt>
                <c:pt idx="17">
                  <c:v>0.6</c:v>
                </c:pt>
                <c:pt idx="18">
                  <c:v>0.77</c:v>
                </c:pt>
                <c:pt idx="19">
                  <c:v>0.62</c:v>
                </c:pt>
                <c:pt idx="20">
                  <c:v>0.79</c:v>
                </c:pt>
                <c:pt idx="21">
                  <c:v>0.68</c:v>
                </c:pt>
                <c:pt idx="22">
                  <c:v>0.77</c:v>
                </c:pt>
                <c:pt idx="23">
                  <c:v>0.5</c:v>
                </c:pt>
                <c:pt idx="24">
                  <c:v>0.69</c:v>
                </c:pt>
                <c:pt idx="25">
                  <c:v>0.63</c:v>
                </c:pt>
                <c:pt idx="26">
                  <c:v>0.62</c:v>
                </c:pt>
                <c:pt idx="27">
                  <c:v>0.43</c:v>
                </c:pt>
                <c:pt idx="28">
                  <c:v>0.66</c:v>
                </c:pt>
                <c:pt idx="29">
                  <c:v>0.71</c:v>
                </c:pt>
                <c:pt idx="30">
                  <c:v>0.72</c:v>
                </c:pt>
                <c:pt idx="31">
                  <c:v>0.77</c:v>
                </c:pt>
                <c:pt idx="32">
                  <c:v>0.43</c:v>
                </c:pt>
                <c:pt idx="33">
                  <c:v>0.35</c:v>
                </c:pt>
                <c:pt idx="34">
                  <c:v>0.66</c:v>
                </c:pt>
                <c:pt idx="35">
                  <c:v>0.49</c:v>
                </c:pt>
                <c:pt idx="36">
                  <c:v>0.41</c:v>
                </c:pt>
                <c:pt idx="37">
                  <c:v>0.28000000000000003</c:v>
                </c:pt>
                <c:pt idx="38">
                  <c:v>0.72</c:v>
                </c:pt>
                <c:pt idx="39">
                  <c:v>0.44</c:v>
                </c:pt>
                <c:pt idx="40">
                  <c:v>0.27</c:v>
                </c:pt>
                <c:pt idx="41">
                  <c:v>0.4</c:v>
                </c:pt>
                <c:pt idx="42">
                  <c:v>0.51</c:v>
                </c:pt>
                <c:pt idx="43">
                  <c:v>0.49</c:v>
                </c:pt>
                <c:pt idx="44">
                  <c:v>0.42</c:v>
                </c:pt>
                <c:pt idx="45">
                  <c:v>0.56000000000000005</c:v>
                </c:pt>
                <c:pt idx="46">
                  <c:v>0.24</c:v>
                </c:pt>
                <c:pt idx="47">
                  <c:v>0.39</c:v>
                </c:pt>
                <c:pt idx="48">
                  <c:v>0.48</c:v>
                </c:pt>
                <c:pt idx="49">
                  <c:v>0.56000000000000005</c:v>
                </c:pt>
                <c:pt idx="50">
                  <c:v>0.27</c:v>
                </c:pt>
                <c:pt idx="51">
                  <c:v>0.25</c:v>
                </c:pt>
                <c:pt idx="52">
                  <c:v>0.36</c:v>
                </c:pt>
                <c:pt idx="53">
                  <c:v>0.36</c:v>
                </c:pt>
                <c:pt idx="54">
                  <c:v>0.36</c:v>
                </c:pt>
                <c:pt idx="55">
                  <c:v>0.27</c:v>
                </c:pt>
                <c:pt idx="56">
                  <c:v>0.4</c:v>
                </c:pt>
                <c:pt idx="57">
                  <c:v>0.18</c:v>
                </c:pt>
                <c:pt idx="58">
                  <c:v>0.26</c:v>
                </c:pt>
                <c:pt idx="59">
                  <c:v>0.14000000000000001</c:v>
                </c:pt>
                <c:pt idx="60">
                  <c:v>0.46</c:v>
                </c:pt>
                <c:pt idx="61">
                  <c:v>0.38</c:v>
                </c:pt>
                <c:pt idx="62">
                  <c:v>0.14000000000000001</c:v>
                </c:pt>
                <c:pt idx="63">
                  <c:v>0.24</c:v>
                </c:pt>
                <c:pt idx="64">
                  <c:v>0.26</c:v>
                </c:pt>
                <c:pt idx="65">
                  <c:v>0.24</c:v>
                </c:pt>
                <c:pt idx="66">
                  <c:v>0.23</c:v>
                </c:pt>
                <c:pt idx="67">
                  <c:v>7.0000000000000007E-2</c:v>
                </c:pt>
                <c:pt idx="68">
                  <c:v>0.16</c:v>
                </c:pt>
                <c:pt idx="69">
                  <c:v>0.27</c:v>
                </c:pt>
                <c:pt idx="70">
                  <c:v>0.21</c:v>
                </c:pt>
                <c:pt idx="71">
                  <c:v>0.14000000000000001</c:v>
                </c:pt>
                <c:pt idx="72">
                  <c:v>0.11</c:v>
                </c:pt>
                <c:pt idx="73">
                  <c:v>0.06</c:v>
                </c:pt>
                <c:pt idx="74">
                  <c:v>0.09</c:v>
                </c:pt>
                <c:pt idx="75">
                  <c:v>0.19</c:v>
                </c:pt>
                <c:pt idx="76">
                  <c:v>0.06</c:v>
                </c:pt>
                <c:pt idx="77">
                  <c:v>0.14000000000000001</c:v>
                </c:pt>
                <c:pt idx="78">
                  <c:v>0.08</c:v>
                </c:pt>
                <c:pt idx="79">
                  <c:v>7.0000000000000007E-2</c:v>
                </c:pt>
                <c:pt idx="80">
                  <c:v>0.11</c:v>
                </c:pt>
                <c:pt idx="81">
                  <c:v>7.0000000000000007E-2</c:v>
                </c:pt>
                <c:pt idx="82">
                  <c:v>0.09</c:v>
                </c:pt>
                <c:pt idx="83">
                  <c:v>0.09</c:v>
                </c:pt>
                <c:pt idx="84">
                  <c:v>0.27</c:v>
                </c:pt>
                <c:pt idx="85">
                  <c:v>7.0000000000000007E-2</c:v>
                </c:pt>
                <c:pt idx="86">
                  <c:v>0.06</c:v>
                </c:pt>
                <c:pt idx="87">
                  <c:v>0.33</c:v>
                </c:pt>
                <c:pt idx="88">
                  <c:v>0.11</c:v>
                </c:pt>
                <c:pt idx="89">
                  <c:v>0.24</c:v>
                </c:pt>
                <c:pt idx="90">
                  <c:v>0.27</c:v>
                </c:pt>
                <c:pt idx="91">
                  <c:v>0.04</c:v>
                </c:pt>
                <c:pt idx="92">
                  <c:v>0.06</c:v>
                </c:pt>
                <c:pt idx="93">
                  <c:v>0.19</c:v>
                </c:pt>
                <c:pt idx="94">
                  <c:v>7.0000000000000007E-2</c:v>
                </c:pt>
                <c:pt idx="95">
                  <c:v>0.11</c:v>
                </c:pt>
                <c:pt idx="96">
                  <c:v>0.21</c:v>
                </c:pt>
                <c:pt idx="97">
                  <c:v>0.24</c:v>
                </c:pt>
                <c:pt idx="98">
                  <c:v>0.01</c:v>
                </c:pt>
                <c:pt idx="99">
                  <c:v>0.06</c:v>
                </c:pt>
                <c:pt idx="100">
                  <c:v>0.09</c:v>
                </c:pt>
                <c:pt idx="101">
                  <c:v>0.04</c:v>
                </c:pt>
                <c:pt idx="102">
                  <c:v>0.21</c:v>
                </c:pt>
                <c:pt idx="103">
                  <c:v>0.02</c:v>
                </c:pt>
                <c:pt idx="104">
                  <c:v>0.02</c:v>
                </c:pt>
                <c:pt idx="105">
                  <c:v>0.02</c:v>
                </c:pt>
                <c:pt idx="106">
                  <c:v>0.06</c:v>
                </c:pt>
                <c:pt idx="107">
                  <c:v>0.03</c:v>
                </c:pt>
                <c:pt idx="108">
                  <c:v>0.03</c:v>
                </c:pt>
                <c:pt idx="109">
                  <c:v>7.0000000000000007E-2</c:v>
                </c:pt>
                <c:pt idx="110">
                  <c:v>0.04</c:v>
                </c:pt>
                <c:pt idx="111">
                  <c:v>0.01</c:v>
                </c:pt>
                <c:pt idx="112">
                  <c:v>0.1</c:v>
                </c:pt>
                <c:pt idx="113">
                  <c:v>0.03</c:v>
                </c:pt>
                <c:pt idx="114">
                  <c:v>0.05</c:v>
                </c:pt>
                <c:pt idx="115">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7ECAC4"/>
              </a:solidFill>
            </c:spPr>
            <c:extLst>
              <c:ext xmlns:c16="http://schemas.microsoft.com/office/drawing/2014/chart" uri="{C3380CC4-5D6E-409C-BE32-E72D297353CC}">
                <c16:uniqueId val="{00000065-2993-41DE-A2CB-63102DE87051}"/>
              </c:ext>
            </c:extLst>
          </c:dPt>
          <c:dPt>
            <c:idx val="23"/>
            <c:invertIfNegative val="1"/>
            <c:bubble3D val="0"/>
            <c:spPr>
              <a:solidFill>
                <a:srgbClr val="7ECAC4"/>
              </a:solidFill>
            </c:spPr>
            <c:extLst>
              <c:ext xmlns:c16="http://schemas.microsoft.com/office/drawing/2014/chart" uri="{C3380CC4-5D6E-409C-BE32-E72D297353CC}">
                <c16:uniqueId val="{00000067-2993-41DE-A2CB-63102DE87051}"/>
              </c:ext>
            </c:extLst>
          </c:dPt>
          <c:dPt>
            <c:idx val="24"/>
            <c:invertIfNegative val="1"/>
            <c:bubble3D val="0"/>
            <c:spPr>
              <a:solidFill>
                <a:srgbClr val="7ECAC4"/>
              </a:solidFill>
            </c:spPr>
            <c:extLst>
              <c:ext xmlns:c16="http://schemas.microsoft.com/office/drawing/2014/chart" uri="{C3380CC4-5D6E-409C-BE32-E72D297353CC}">
                <c16:uniqueId val="{00000069-2993-41DE-A2CB-63102DE87051}"/>
              </c:ext>
            </c:extLst>
          </c:dPt>
          <c:dPt>
            <c:idx val="25"/>
            <c:invertIfNegative val="1"/>
            <c:bubble3D val="0"/>
            <c:spPr>
              <a:solidFill>
                <a:srgbClr val="7ECAC4"/>
              </a:solidFill>
            </c:spPr>
            <c:extLst>
              <c:ext xmlns:c16="http://schemas.microsoft.com/office/drawing/2014/chart" uri="{C3380CC4-5D6E-409C-BE32-E72D297353CC}">
                <c16:uniqueId val="{0000006B-2993-41DE-A2CB-63102DE87051}"/>
              </c:ext>
            </c:extLst>
          </c:dPt>
          <c:dPt>
            <c:idx val="26"/>
            <c:invertIfNegative val="1"/>
            <c:bubble3D val="0"/>
            <c:spPr>
              <a:solidFill>
                <a:srgbClr val="7ECAC4"/>
              </a:solidFill>
            </c:spPr>
            <c:extLst>
              <c:ext xmlns:c16="http://schemas.microsoft.com/office/drawing/2014/chart" uri="{C3380CC4-5D6E-409C-BE32-E72D297353CC}">
                <c16:uniqueId val="{0000006D-2993-41DE-A2CB-63102DE87051}"/>
              </c:ext>
            </c:extLst>
          </c:dPt>
          <c:dPt>
            <c:idx val="27"/>
            <c:invertIfNegative val="1"/>
            <c:bubble3D val="0"/>
            <c:spPr>
              <a:solidFill>
                <a:srgbClr val="7ECAC4"/>
              </a:solidFill>
            </c:spPr>
            <c:extLst>
              <c:ext xmlns:c16="http://schemas.microsoft.com/office/drawing/2014/chart" uri="{C3380CC4-5D6E-409C-BE32-E72D297353CC}">
                <c16:uniqueId val="{0000006F-2993-41DE-A2CB-63102DE87051}"/>
              </c:ext>
            </c:extLst>
          </c:dPt>
          <c:dPt>
            <c:idx val="28"/>
            <c:invertIfNegative val="1"/>
            <c:bubble3D val="0"/>
            <c:spPr>
              <a:solidFill>
                <a:srgbClr val="7ECAC4"/>
              </a:solidFill>
            </c:spPr>
            <c:extLst>
              <c:ext xmlns:c16="http://schemas.microsoft.com/office/drawing/2014/chart" uri="{C3380CC4-5D6E-409C-BE32-E72D297353CC}">
                <c16:uniqueId val="{00000071-2993-41DE-A2CB-63102DE87051}"/>
              </c:ext>
            </c:extLst>
          </c:dPt>
          <c:dPt>
            <c:idx val="29"/>
            <c:invertIfNegative val="1"/>
            <c:bubble3D val="0"/>
            <c:spPr>
              <a:solidFill>
                <a:srgbClr val="7ECAC4"/>
              </a:solidFill>
            </c:spPr>
            <c:extLst>
              <c:ext xmlns:c16="http://schemas.microsoft.com/office/drawing/2014/chart" uri="{C3380CC4-5D6E-409C-BE32-E72D297353CC}">
                <c16:uniqueId val="{00000073-2993-41DE-A2CB-63102DE87051}"/>
              </c:ext>
            </c:extLst>
          </c:dPt>
          <c:dPt>
            <c:idx val="30"/>
            <c:invertIfNegative val="1"/>
            <c:bubble3D val="0"/>
            <c:spPr>
              <a:solidFill>
                <a:srgbClr val="7ECAC4"/>
              </a:solidFill>
            </c:spPr>
            <c:extLst>
              <c:ext xmlns:c16="http://schemas.microsoft.com/office/drawing/2014/chart" uri="{C3380CC4-5D6E-409C-BE32-E72D297353CC}">
                <c16:uniqueId val="{00000075-2993-41DE-A2CB-63102DE87051}"/>
              </c:ext>
            </c:extLst>
          </c:dPt>
          <c:dPt>
            <c:idx val="31"/>
            <c:invertIfNegative val="1"/>
            <c:bubble3D val="0"/>
            <c:spPr>
              <a:solidFill>
                <a:srgbClr val="7ECAC4"/>
              </a:solidFill>
            </c:spPr>
            <c:extLst>
              <c:ext xmlns:c16="http://schemas.microsoft.com/office/drawing/2014/chart" uri="{C3380CC4-5D6E-409C-BE32-E72D297353CC}">
                <c16:uniqueId val="{00000077-2993-41DE-A2CB-63102DE87051}"/>
              </c:ext>
            </c:extLst>
          </c:dPt>
          <c:dPt>
            <c:idx val="32"/>
            <c:invertIfNegative val="1"/>
            <c:bubble3D val="0"/>
            <c:spPr>
              <a:solidFill>
                <a:srgbClr val="7ECAC4"/>
              </a:solidFill>
            </c:spPr>
            <c:extLst>
              <c:ext xmlns:c16="http://schemas.microsoft.com/office/drawing/2014/chart" uri="{C3380CC4-5D6E-409C-BE32-E72D297353CC}">
                <c16:uniqueId val="{00000079-2993-41DE-A2CB-63102DE87051}"/>
              </c:ext>
            </c:extLst>
          </c:dPt>
          <c:dPt>
            <c:idx val="33"/>
            <c:invertIfNegative val="1"/>
            <c:bubble3D val="0"/>
            <c:spPr>
              <a:solidFill>
                <a:srgbClr val="7ECAC4"/>
              </a:solidFill>
            </c:spPr>
            <c:extLst>
              <c:ext xmlns:c16="http://schemas.microsoft.com/office/drawing/2014/chart" uri="{C3380CC4-5D6E-409C-BE32-E72D297353CC}">
                <c16:uniqueId val="{0000007B-2993-41DE-A2CB-63102DE87051}"/>
              </c:ext>
            </c:extLst>
          </c:dPt>
          <c:dPt>
            <c:idx val="34"/>
            <c:invertIfNegative val="1"/>
            <c:bubble3D val="0"/>
            <c:spPr>
              <a:solidFill>
                <a:srgbClr val="7ECAC4"/>
              </a:solidFill>
            </c:spPr>
            <c:extLst>
              <c:ext xmlns:c16="http://schemas.microsoft.com/office/drawing/2014/chart" uri="{C3380CC4-5D6E-409C-BE32-E72D297353CC}">
                <c16:uniqueId val="{0000007D-2993-41DE-A2CB-63102DE87051}"/>
              </c:ext>
            </c:extLst>
          </c:dPt>
          <c:dPt>
            <c:idx val="35"/>
            <c:invertIfNegative val="1"/>
            <c:bubble3D val="0"/>
            <c:spPr>
              <a:solidFill>
                <a:srgbClr val="7ECAC4"/>
              </a:solidFill>
            </c:spPr>
            <c:extLst>
              <c:ext xmlns:c16="http://schemas.microsoft.com/office/drawing/2014/chart" uri="{C3380CC4-5D6E-409C-BE32-E72D297353CC}">
                <c16:uniqueId val="{0000007F-2993-41DE-A2CB-63102DE87051}"/>
              </c:ext>
            </c:extLst>
          </c:dPt>
          <c:dPt>
            <c:idx val="36"/>
            <c:invertIfNegative val="1"/>
            <c:bubble3D val="0"/>
            <c:spPr>
              <a:solidFill>
                <a:srgbClr val="7ECAC4"/>
              </a:solidFill>
            </c:spPr>
            <c:extLst>
              <c:ext xmlns:c16="http://schemas.microsoft.com/office/drawing/2014/chart" uri="{C3380CC4-5D6E-409C-BE32-E72D297353CC}">
                <c16:uniqueId val="{00000081-2993-41DE-A2CB-63102DE87051}"/>
              </c:ext>
            </c:extLst>
          </c:dPt>
          <c:dPt>
            <c:idx val="37"/>
            <c:invertIfNegative val="1"/>
            <c:bubble3D val="0"/>
            <c:spPr>
              <a:solidFill>
                <a:srgbClr val="7ECAC4"/>
              </a:solidFill>
            </c:spPr>
            <c:extLst>
              <c:ext xmlns:c16="http://schemas.microsoft.com/office/drawing/2014/chart" uri="{C3380CC4-5D6E-409C-BE32-E72D297353CC}">
                <c16:uniqueId val="{00000083-2993-41DE-A2CB-63102DE87051}"/>
              </c:ext>
            </c:extLst>
          </c:dPt>
          <c:dPt>
            <c:idx val="38"/>
            <c:invertIfNegative val="1"/>
            <c:bubble3D val="0"/>
            <c:spPr>
              <a:solidFill>
                <a:srgbClr val="7ECAC4"/>
              </a:solidFill>
            </c:spPr>
            <c:extLst>
              <c:ext xmlns:c16="http://schemas.microsoft.com/office/drawing/2014/chart" uri="{C3380CC4-5D6E-409C-BE32-E72D297353CC}">
                <c16:uniqueId val="{00000085-2993-41DE-A2CB-63102DE87051}"/>
              </c:ext>
            </c:extLst>
          </c:dPt>
          <c:dPt>
            <c:idx val="39"/>
            <c:invertIfNegative val="1"/>
            <c:bubble3D val="0"/>
            <c:spPr>
              <a:solidFill>
                <a:srgbClr val="7ECAC4"/>
              </a:solidFill>
            </c:spPr>
            <c:extLst>
              <c:ext xmlns:c16="http://schemas.microsoft.com/office/drawing/2014/chart" uri="{C3380CC4-5D6E-409C-BE32-E72D297353CC}">
                <c16:uniqueId val="{00000087-2993-41DE-A2CB-63102DE87051}"/>
              </c:ext>
            </c:extLst>
          </c:dPt>
          <c:dPt>
            <c:idx val="40"/>
            <c:invertIfNegative val="1"/>
            <c:bubble3D val="0"/>
            <c:spPr>
              <a:solidFill>
                <a:srgbClr val="7ECAC4"/>
              </a:solidFill>
            </c:spPr>
            <c:extLst>
              <c:ext xmlns:c16="http://schemas.microsoft.com/office/drawing/2014/chart" uri="{C3380CC4-5D6E-409C-BE32-E72D297353CC}">
                <c16:uniqueId val="{00000089-2993-41DE-A2CB-63102DE87051}"/>
              </c:ext>
            </c:extLst>
          </c:dPt>
          <c:dPt>
            <c:idx val="41"/>
            <c:invertIfNegative val="1"/>
            <c:bubble3D val="0"/>
            <c:spPr>
              <a:solidFill>
                <a:srgbClr val="7ECAC4"/>
              </a:solidFill>
            </c:spPr>
            <c:extLst>
              <c:ext xmlns:c16="http://schemas.microsoft.com/office/drawing/2014/chart" uri="{C3380CC4-5D6E-409C-BE32-E72D297353CC}">
                <c16:uniqueId val="{0000008B-2993-41DE-A2CB-63102DE87051}"/>
              </c:ext>
            </c:extLst>
          </c:dPt>
          <c:dPt>
            <c:idx val="42"/>
            <c:invertIfNegative val="1"/>
            <c:bubble3D val="0"/>
            <c:spPr>
              <a:solidFill>
                <a:srgbClr val="7ECAC4"/>
              </a:solidFill>
            </c:spPr>
            <c:extLst>
              <c:ext xmlns:c16="http://schemas.microsoft.com/office/drawing/2014/chart" uri="{C3380CC4-5D6E-409C-BE32-E72D297353CC}">
                <c16:uniqueId val="{0000008D-2993-41DE-A2CB-63102DE87051}"/>
              </c:ext>
            </c:extLst>
          </c:dPt>
          <c:dPt>
            <c:idx val="43"/>
            <c:invertIfNegative val="1"/>
            <c:bubble3D val="0"/>
            <c:spPr>
              <a:solidFill>
                <a:srgbClr val="7ECAC4"/>
              </a:solidFill>
            </c:spPr>
            <c:extLst>
              <c:ext xmlns:c16="http://schemas.microsoft.com/office/drawing/2014/chart" uri="{C3380CC4-5D6E-409C-BE32-E72D297353CC}">
                <c16:uniqueId val="{0000008F-2993-41DE-A2CB-63102DE87051}"/>
              </c:ext>
            </c:extLst>
          </c:dPt>
          <c:dPt>
            <c:idx val="44"/>
            <c:invertIfNegative val="1"/>
            <c:bubble3D val="0"/>
            <c:spPr>
              <a:solidFill>
                <a:srgbClr val="7ECAC4"/>
              </a:solidFill>
            </c:spPr>
            <c:extLst>
              <c:ext xmlns:c16="http://schemas.microsoft.com/office/drawing/2014/chart" uri="{C3380CC4-5D6E-409C-BE32-E72D297353CC}">
                <c16:uniqueId val="{00000091-2993-41DE-A2CB-63102DE87051}"/>
              </c:ext>
            </c:extLst>
          </c:dPt>
          <c:dPt>
            <c:idx val="45"/>
            <c:invertIfNegative val="1"/>
            <c:bubble3D val="0"/>
            <c:spPr>
              <a:solidFill>
                <a:srgbClr val="7ECAC4"/>
              </a:solidFill>
            </c:spPr>
            <c:extLst>
              <c:ext xmlns:c16="http://schemas.microsoft.com/office/drawing/2014/chart" uri="{C3380CC4-5D6E-409C-BE32-E72D297353CC}">
                <c16:uniqueId val="{00000093-2993-41DE-A2CB-63102DE87051}"/>
              </c:ext>
            </c:extLst>
          </c:dPt>
          <c:dPt>
            <c:idx val="46"/>
            <c:invertIfNegative val="1"/>
            <c:bubble3D val="0"/>
            <c:spPr>
              <a:solidFill>
                <a:srgbClr val="AEABAB"/>
              </a:solidFill>
            </c:spPr>
            <c:extLst>
              <c:ext xmlns:c16="http://schemas.microsoft.com/office/drawing/2014/chart" uri="{C3380CC4-5D6E-409C-BE32-E72D297353CC}">
                <c16:uniqueId val="{00000095-2993-41DE-A2CB-63102DE87051}"/>
              </c:ext>
            </c:extLst>
          </c:dPt>
          <c:dPt>
            <c:idx val="47"/>
            <c:invertIfNegative val="1"/>
            <c:bubble3D val="0"/>
            <c:spPr>
              <a:solidFill>
                <a:srgbClr val="AEABAB"/>
              </a:solidFill>
            </c:spPr>
            <c:extLst>
              <c:ext xmlns:c16="http://schemas.microsoft.com/office/drawing/2014/chart" uri="{C3380CC4-5D6E-409C-BE32-E72D297353CC}">
                <c16:uniqueId val="{00000097-2993-41DE-A2CB-63102DE87051}"/>
              </c:ext>
            </c:extLst>
          </c:dPt>
          <c:dPt>
            <c:idx val="48"/>
            <c:invertIfNegative val="1"/>
            <c:bubble3D val="0"/>
            <c:spPr>
              <a:solidFill>
                <a:srgbClr val="AEABAB"/>
              </a:solidFill>
            </c:spPr>
            <c:extLst>
              <c:ext xmlns:c16="http://schemas.microsoft.com/office/drawing/2014/chart" uri="{C3380CC4-5D6E-409C-BE32-E72D297353CC}">
                <c16:uniqueId val="{00000099-2993-41DE-A2CB-63102DE87051}"/>
              </c:ext>
            </c:extLst>
          </c:dPt>
          <c:dPt>
            <c:idx val="49"/>
            <c:invertIfNegative val="1"/>
            <c:bubble3D val="0"/>
            <c:spPr>
              <a:solidFill>
                <a:srgbClr val="AEABAB"/>
              </a:solidFill>
            </c:spPr>
            <c:extLst>
              <c:ext xmlns:c16="http://schemas.microsoft.com/office/drawing/2014/chart" uri="{C3380CC4-5D6E-409C-BE32-E72D297353CC}">
                <c16:uniqueId val="{0000009B-2993-41DE-A2CB-63102DE87051}"/>
              </c:ext>
            </c:extLst>
          </c:dPt>
          <c:dPt>
            <c:idx val="50"/>
            <c:invertIfNegative val="1"/>
            <c:bubble3D val="0"/>
            <c:spPr>
              <a:solidFill>
                <a:srgbClr val="AEABAB"/>
              </a:solidFill>
            </c:spPr>
            <c:extLst>
              <c:ext xmlns:c16="http://schemas.microsoft.com/office/drawing/2014/chart" uri="{C3380CC4-5D6E-409C-BE32-E72D297353CC}">
                <c16:uniqueId val="{0000009D-2993-41DE-A2CB-63102DE87051}"/>
              </c:ext>
            </c:extLst>
          </c:dPt>
          <c:dPt>
            <c:idx val="51"/>
            <c:invertIfNegative val="1"/>
            <c:bubble3D val="0"/>
            <c:spPr>
              <a:solidFill>
                <a:srgbClr val="AEABAB"/>
              </a:solidFill>
            </c:spPr>
            <c:extLst>
              <c:ext xmlns:c16="http://schemas.microsoft.com/office/drawing/2014/chart" uri="{C3380CC4-5D6E-409C-BE32-E72D297353CC}">
                <c16:uniqueId val="{0000009F-2993-41DE-A2CB-63102DE87051}"/>
              </c:ext>
            </c:extLst>
          </c:dPt>
          <c:dPt>
            <c:idx val="52"/>
            <c:invertIfNegative val="1"/>
            <c:bubble3D val="0"/>
            <c:spPr>
              <a:solidFill>
                <a:srgbClr val="AEABAB"/>
              </a:solidFill>
            </c:spPr>
            <c:extLst>
              <c:ext xmlns:c16="http://schemas.microsoft.com/office/drawing/2014/chart" uri="{C3380CC4-5D6E-409C-BE32-E72D297353CC}">
                <c16:uniqueId val="{000000A1-2993-41DE-A2CB-63102DE87051}"/>
              </c:ext>
            </c:extLst>
          </c:dPt>
          <c:dPt>
            <c:idx val="53"/>
            <c:invertIfNegative val="1"/>
            <c:bubble3D val="0"/>
            <c:spPr>
              <a:solidFill>
                <a:srgbClr val="AEABAB"/>
              </a:solidFill>
            </c:spPr>
            <c:extLst>
              <c:ext xmlns:c16="http://schemas.microsoft.com/office/drawing/2014/chart" uri="{C3380CC4-5D6E-409C-BE32-E72D297353CC}">
                <c16:uniqueId val="{000000A3-2993-41DE-A2CB-63102DE87051}"/>
              </c:ext>
            </c:extLst>
          </c:dPt>
          <c:dPt>
            <c:idx val="54"/>
            <c:invertIfNegative val="0"/>
            <c:bubble3D val="0"/>
            <c:spPr>
              <a:solidFill>
                <a:srgbClr val="AEABAB"/>
              </a:solidFill>
            </c:spPr>
            <c:extLst>
              <c:ext xmlns:c16="http://schemas.microsoft.com/office/drawing/2014/chart" uri="{C3380CC4-5D6E-409C-BE32-E72D297353CC}">
                <c16:uniqueId val="{00000072-C76F-4230-900D-40618C09729F}"/>
              </c:ext>
            </c:extLst>
          </c:dPt>
          <c:dPt>
            <c:idx val="55"/>
            <c:invertIfNegative val="0"/>
            <c:bubble3D val="0"/>
            <c:spPr>
              <a:solidFill>
                <a:srgbClr val="AEABAB"/>
              </a:solidFill>
            </c:spPr>
            <c:extLst>
              <c:ext xmlns:c16="http://schemas.microsoft.com/office/drawing/2014/chart" uri="{C3380CC4-5D6E-409C-BE32-E72D297353CC}">
                <c16:uniqueId val="{00000074-C76F-4230-900D-40618C09729F}"/>
              </c:ext>
            </c:extLst>
          </c:dPt>
          <c:dPt>
            <c:idx val="56"/>
            <c:invertIfNegative val="0"/>
            <c:bubble3D val="0"/>
            <c:spPr>
              <a:solidFill>
                <a:srgbClr val="AEABAB"/>
              </a:solidFill>
            </c:spPr>
            <c:extLst>
              <c:ext xmlns:c16="http://schemas.microsoft.com/office/drawing/2014/chart" uri="{C3380CC4-5D6E-409C-BE32-E72D297353CC}">
                <c16:uniqueId val="{00000076-C76F-4230-900D-40618C09729F}"/>
              </c:ext>
            </c:extLst>
          </c:dPt>
          <c:dPt>
            <c:idx val="57"/>
            <c:invertIfNegative val="0"/>
            <c:bubble3D val="0"/>
            <c:spPr>
              <a:solidFill>
                <a:srgbClr val="AEABAB"/>
              </a:solidFill>
            </c:spPr>
            <c:extLst>
              <c:ext xmlns:c16="http://schemas.microsoft.com/office/drawing/2014/chart" uri="{C3380CC4-5D6E-409C-BE32-E72D297353CC}">
                <c16:uniqueId val="{00000078-C76F-4230-900D-40618C09729F}"/>
              </c:ext>
            </c:extLst>
          </c:dPt>
          <c:dPt>
            <c:idx val="58"/>
            <c:invertIfNegative val="0"/>
            <c:bubble3D val="0"/>
            <c:spPr>
              <a:solidFill>
                <a:srgbClr val="AEABAB"/>
              </a:solidFill>
            </c:spPr>
            <c:extLst>
              <c:ext xmlns:c16="http://schemas.microsoft.com/office/drawing/2014/chart" uri="{C3380CC4-5D6E-409C-BE32-E72D297353CC}">
                <c16:uniqueId val="{0000007A-C76F-4230-900D-40618C09729F}"/>
              </c:ext>
            </c:extLst>
          </c:dPt>
          <c:dPt>
            <c:idx val="59"/>
            <c:invertIfNegative val="0"/>
            <c:bubble3D val="0"/>
            <c:spPr>
              <a:solidFill>
                <a:srgbClr val="AEABAB"/>
              </a:solidFill>
            </c:spPr>
            <c:extLst>
              <c:ext xmlns:c16="http://schemas.microsoft.com/office/drawing/2014/chart" uri="{C3380CC4-5D6E-409C-BE32-E72D297353CC}">
                <c16:uniqueId val="{0000007C-C76F-4230-900D-40618C09729F}"/>
              </c:ext>
            </c:extLst>
          </c:dPt>
          <c:dPt>
            <c:idx val="60"/>
            <c:invertIfNegative val="0"/>
            <c:bubble3D val="0"/>
            <c:spPr>
              <a:solidFill>
                <a:srgbClr val="AEABAB"/>
              </a:solidFill>
            </c:spPr>
            <c:extLst>
              <c:ext xmlns:c16="http://schemas.microsoft.com/office/drawing/2014/chart" uri="{C3380CC4-5D6E-409C-BE32-E72D297353CC}">
                <c16:uniqueId val="{0000007E-C76F-4230-900D-40618C09729F}"/>
              </c:ext>
            </c:extLst>
          </c:dPt>
          <c:dPt>
            <c:idx val="61"/>
            <c:invertIfNegative val="0"/>
            <c:bubble3D val="0"/>
            <c:spPr>
              <a:solidFill>
                <a:srgbClr val="AEABAB"/>
              </a:solidFill>
            </c:spPr>
            <c:extLst>
              <c:ext xmlns:c16="http://schemas.microsoft.com/office/drawing/2014/chart" uri="{C3380CC4-5D6E-409C-BE32-E72D297353CC}">
                <c16:uniqueId val="{00000080-C76F-4230-900D-40618C09729F}"/>
              </c:ext>
            </c:extLst>
          </c:dPt>
          <c:dPt>
            <c:idx val="62"/>
            <c:invertIfNegative val="0"/>
            <c:bubble3D val="0"/>
            <c:spPr>
              <a:solidFill>
                <a:srgbClr val="AEABAB"/>
              </a:solidFill>
            </c:spPr>
            <c:extLst>
              <c:ext xmlns:c16="http://schemas.microsoft.com/office/drawing/2014/chart" uri="{C3380CC4-5D6E-409C-BE32-E72D297353CC}">
                <c16:uniqueId val="{00000082-C76F-4230-900D-40618C09729F}"/>
              </c:ext>
            </c:extLst>
          </c:dPt>
          <c:dPt>
            <c:idx val="63"/>
            <c:invertIfNegative val="0"/>
            <c:bubble3D val="0"/>
            <c:spPr>
              <a:solidFill>
                <a:srgbClr val="AEABAB"/>
              </a:solidFill>
            </c:spPr>
            <c:extLst>
              <c:ext xmlns:c16="http://schemas.microsoft.com/office/drawing/2014/chart" uri="{C3380CC4-5D6E-409C-BE32-E72D297353CC}">
                <c16:uniqueId val="{00000084-C76F-4230-900D-40618C09729F}"/>
              </c:ext>
            </c:extLst>
          </c:dPt>
          <c:dPt>
            <c:idx val="64"/>
            <c:invertIfNegative val="0"/>
            <c:bubble3D val="0"/>
            <c:spPr>
              <a:solidFill>
                <a:srgbClr val="AEABAB"/>
              </a:solidFill>
            </c:spPr>
            <c:extLst>
              <c:ext xmlns:c16="http://schemas.microsoft.com/office/drawing/2014/chart" uri="{C3380CC4-5D6E-409C-BE32-E72D297353CC}">
                <c16:uniqueId val="{00000086-C76F-4230-900D-40618C09729F}"/>
              </c:ext>
            </c:extLst>
          </c:dPt>
          <c:dPt>
            <c:idx val="65"/>
            <c:invertIfNegative val="0"/>
            <c:bubble3D val="0"/>
            <c:spPr>
              <a:solidFill>
                <a:srgbClr val="AEABAB"/>
              </a:solidFill>
            </c:spPr>
            <c:extLst>
              <c:ext xmlns:c16="http://schemas.microsoft.com/office/drawing/2014/chart" uri="{C3380CC4-5D6E-409C-BE32-E72D297353CC}">
                <c16:uniqueId val="{00000088-C76F-4230-900D-40618C09729F}"/>
              </c:ext>
            </c:extLst>
          </c:dPt>
          <c:dPt>
            <c:idx val="66"/>
            <c:invertIfNegative val="0"/>
            <c:bubble3D val="0"/>
            <c:spPr>
              <a:solidFill>
                <a:srgbClr val="AEABAB"/>
              </a:solidFill>
            </c:spPr>
            <c:extLst>
              <c:ext xmlns:c16="http://schemas.microsoft.com/office/drawing/2014/chart" uri="{C3380CC4-5D6E-409C-BE32-E72D297353CC}">
                <c16:uniqueId val="{0000008A-C76F-4230-900D-40618C09729F}"/>
              </c:ext>
            </c:extLst>
          </c:dPt>
          <c:dPt>
            <c:idx val="67"/>
            <c:invertIfNegative val="0"/>
            <c:bubble3D val="0"/>
            <c:spPr>
              <a:solidFill>
                <a:srgbClr val="AEABAB"/>
              </a:solidFill>
            </c:spPr>
            <c:extLst>
              <c:ext xmlns:c16="http://schemas.microsoft.com/office/drawing/2014/chart" uri="{C3380CC4-5D6E-409C-BE32-E72D297353CC}">
                <c16:uniqueId val="{0000008C-C76F-4230-900D-40618C09729F}"/>
              </c:ext>
            </c:extLst>
          </c:dPt>
          <c:dPt>
            <c:idx val="68"/>
            <c:invertIfNegative val="0"/>
            <c:bubble3D val="0"/>
            <c:spPr>
              <a:solidFill>
                <a:srgbClr val="AEABAB"/>
              </a:solidFill>
            </c:spPr>
            <c:extLst>
              <c:ext xmlns:c16="http://schemas.microsoft.com/office/drawing/2014/chart" uri="{C3380CC4-5D6E-409C-BE32-E72D297353CC}">
                <c16:uniqueId val="{0000008E-C76F-4230-900D-40618C09729F}"/>
              </c:ext>
            </c:extLst>
          </c:dPt>
          <c:dPt>
            <c:idx val="69"/>
            <c:invertIfNegative val="0"/>
            <c:bubble3D val="0"/>
            <c:spPr>
              <a:solidFill>
                <a:srgbClr val="AEABAB"/>
              </a:solidFill>
            </c:spPr>
            <c:extLst>
              <c:ext xmlns:c16="http://schemas.microsoft.com/office/drawing/2014/chart" uri="{C3380CC4-5D6E-409C-BE32-E72D297353CC}">
                <c16:uniqueId val="{00000090-C76F-4230-900D-40618C09729F}"/>
              </c:ext>
            </c:extLst>
          </c:dPt>
          <c:dPt>
            <c:idx val="70"/>
            <c:invertIfNegative val="0"/>
            <c:bubble3D val="0"/>
            <c:spPr>
              <a:solidFill>
                <a:srgbClr val="AEABAB"/>
              </a:solidFill>
            </c:spPr>
            <c:extLst>
              <c:ext xmlns:c16="http://schemas.microsoft.com/office/drawing/2014/chart" uri="{C3380CC4-5D6E-409C-BE32-E72D297353CC}">
                <c16:uniqueId val="{00000092-C76F-4230-900D-40618C09729F}"/>
              </c:ext>
            </c:extLst>
          </c:dPt>
          <c:dPt>
            <c:idx val="71"/>
            <c:invertIfNegative val="0"/>
            <c:bubble3D val="0"/>
            <c:spPr>
              <a:solidFill>
                <a:srgbClr val="AEABAB"/>
              </a:solidFill>
            </c:spPr>
            <c:extLst>
              <c:ext xmlns:c16="http://schemas.microsoft.com/office/drawing/2014/chart" uri="{C3380CC4-5D6E-409C-BE32-E72D297353CC}">
                <c16:uniqueId val="{00000094-C76F-4230-900D-40618C09729F}"/>
              </c:ext>
            </c:extLst>
          </c:dPt>
          <c:dPt>
            <c:idx val="72"/>
            <c:invertIfNegative val="0"/>
            <c:bubble3D val="0"/>
            <c:spPr>
              <a:solidFill>
                <a:srgbClr val="AEABAB"/>
              </a:solidFill>
            </c:spPr>
            <c:extLst>
              <c:ext xmlns:c16="http://schemas.microsoft.com/office/drawing/2014/chart" uri="{C3380CC4-5D6E-409C-BE32-E72D297353CC}">
                <c16:uniqueId val="{00000096-C76F-4230-900D-40618C09729F}"/>
              </c:ext>
            </c:extLst>
          </c:dPt>
          <c:dPt>
            <c:idx val="73"/>
            <c:invertIfNegative val="0"/>
            <c:bubble3D val="0"/>
            <c:spPr>
              <a:solidFill>
                <a:srgbClr val="AEABAB"/>
              </a:solidFill>
            </c:spPr>
            <c:extLst>
              <c:ext xmlns:c16="http://schemas.microsoft.com/office/drawing/2014/chart" uri="{C3380CC4-5D6E-409C-BE32-E72D297353CC}">
                <c16:uniqueId val="{00000098-C76F-4230-900D-40618C09729F}"/>
              </c:ext>
            </c:extLst>
          </c:dPt>
          <c:dPt>
            <c:idx val="74"/>
            <c:invertIfNegative val="0"/>
            <c:bubble3D val="0"/>
            <c:spPr>
              <a:solidFill>
                <a:srgbClr val="AEABAB"/>
              </a:solidFill>
            </c:spPr>
            <c:extLst>
              <c:ext xmlns:c16="http://schemas.microsoft.com/office/drawing/2014/chart" uri="{C3380CC4-5D6E-409C-BE32-E72D297353CC}">
                <c16:uniqueId val="{0000009A-C76F-4230-900D-40618C09729F}"/>
              </c:ext>
            </c:extLst>
          </c:dPt>
          <c:dPt>
            <c:idx val="75"/>
            <c:invertIfNegative val="0"/>
            <c:bubble3D val="0"/>
            <c:spPr>
              <a:solidFill>
                <a:srgbClr val="AEABAB"/>
              </a:solidFill>
            </c:spPr>
            <c:extLst>
              <c:ext xmlns:c16="http://schemas.microsoft.com/office/drawing/2014/chart" uri="{C3380CC4-5D6E-409C-BE32-E72D297353CC}">
                <c16:uniqueId val="{0000009C-C76F-4230-900D-40618C09729F}"/>
              </c:ext>
            </c:extLst>
          </c:dPt>
          <c:dPt>
            <c:idx val="76"/>
            <c:invertIfNegative val="0"/>
            <c:bubble3D val="0"/>
            <c:spPr>
              <a:solidFill>
                <a:srgbClr val="AEABAB"/>
              </a:solidFill>
            </c:spPr>
            <c:extLst>
              <c:ext xmlns:c16="http://schemas.microsoft.com/office/drawing/2014/chart" uri="{C3380CC4-5D6E-409C-BE32-E72D297353CC}">
                <c16:uniqueId val="{0000009E-C76F-4230-900D-40618C09729F}"/>
              </c:ext>
            </c:extLst>
          </c:dPt>
          <c:dPt>
            <c:idx val="77"/>
            <c:invertIfNegative val="0"/>
            <c:bubble3D val="0"/>
            <c:spPr>
              <a:solidFill>
                <a:srgbClr val="AEABAB"/>
              </a:solidFill>
            </c:spPr>
            <c:extLst>
              <c:ext xmlns:c16="http://schemas.microsoft.com/office/drawing/2014/chart" uri="{C3380CC4-5D6E-409C-BE32-E72D297353CC}">
                <c16:uniqueId val="{000000A0-C76F-4230-900D-40618C09729F}"/>
              </c:ext>
            </c:extLst>
          </c:dPt>
          <c:dPt>
            <c:idx val="78"/>
            <c:invertIfNegative val="0"/>
            <c:bubble3D val="0"/>
            <c:spPr>
              <a:solidFill>
                <a:srgbClr val="AEABAB"/>
              </a:solidFill>
            </c:spPr>
            <c:extLst>
              <c:ext xmlns:c16="http://schemas.microsoft.com/office/drawing/2014/chart" uri="{C3380CC4-5D6E-409C-BE32-E72D297353CC}">
                <c16:uniqueId val="{000000A2-C76F-4230-900D-40618C09729F}"/>
              </c:ext>
            </c:extLst>
          </c:dPt>
          <c:dPt>
            <c:idx val="79"/>
            <c:invertIfNegative val="0"/>
            <c:bubble3D val="0"/>
            <c:spPr>
              <a:solidFill>
                <a:srgbClr val="AEABAB"/>
              </a:solidFill>
            </c:spPr>
            <c:extLst>
              <c:ext xmlns:c16="http://schemas.microsoft.com/office/drawing/2014/chart" uri="{C3380CC4-5D6E-409C-BE32-E72D297353CC}">
                <c16:uniqueId val="{000000A4-C76F-4230-900D-40618C09729F}"/>
              </c:ext>
            </c:extLst>
          </c:dPt>
          <c:dPt>
            <c:idx val="80"/>
            <c:invertIfNegative val="0"/>
            <c:bubble3D val="0"/>
            <c:spPr>
              <a:solidFill>
                <a:srgbClr val="AEABAB"/>
              </a:solidFill>
            </c:spPr>
            <c:extLst>
              <c:ext xmlns:c16="http://schemas.microsoft.com/office/drawing/2014/chart" uri="{C3380CC4-5D6E-409C-BE32-E72D297353CC}">
                <c16:uniqueId val="{000000A6-C76F-4230-900D-40618C09729F}"/>
              </c:ext>
            </c:extLst>
          </c:dPt>
          <c:dPt>
            <c:idx val="81"/>
            <c:invertIfNegative val="1"/>
            <c:bubble3D val="0"/>
            <c:spPr>
              <a:solidFill>
                <a:srgbClr val="AEABAB"/>
              </a:solidFill>
            </c:spPr>
            <c:extLst>
              <c:ext xmlns:c16="http://schemas.microsoft.com/office/drawing/2014/chart" uri="{C3380CC4-5D6E-409C-BE32-E72D297353CC}">
                <c16:uniqueId val="{000000A5-2993-41DE-A2CB-63102DE87051}"/>
              </c:ext>
            </c:extLst>
          </c:dPt>
          <c:dPt>
            <c:idx val="82"/>
            <c:invertIfNegative val="1"/>
            <c:bubble3D val="0"/>
            <c:spPr>
              <a:solidFill>
                <a:srgbClr val="AEABAB"/>
              </a:solidFill>
            </c:spPr>
            <c:extLst>
              <c:ext xmlns:c16="http://schemas.microsoft.com/office/drawing/2014/chart" uri="{C3380CC4-5D6E-409C-BE32-E72D297353CC}">
                <c16:uniqueId val="{000000A7-2993-41DE-A2CB-63102DE87051}"/>
              </c:ext>
            </c:extLst>
          </c:dPt>
          <c:dPt>
            <c:idx val="83"/>
            <c:invertIfNegative val="1"/>
            <c:bubble3D val="0"/>
            <c:spPr>
              <a:solidFill>
                <a:srgbClr val="AEABAB"/>
              </a:solidFill>
            </c:spPr>
            <c:extLst>
              <c:ext xmlns:c16="http://schemas.microsoft.com/office/drawing/2014/chart" uri="{C3380CC4-5D6E-409C-BE32-E72D297353CC}">
                <c16:uniqueId val="{000000A9-2993-41DE-A2CB-63102DE87051}"/>
              </c:ext>
            </c:extLst>
          </c:dPt>
          <c:dPt>
            <c:idx val="84"/>
            <c:invertIfNegative val="1"/>
            <c:bubble3D val="0"/>
            <c:spPr>
              <a:solidFill>
                <a:srgbClr val="AEABAB"/>
              </a:solidFill>
            </c:spPr>
            <c:extLst>
              <c:ext xmlns:c16="http://schemas.microsoft.com/office/drawing/2014/chart" uri="{C3380CC4-5D6E-409C-BE32-E72D297353CC}">
                <c16:uniqueId val="{000000AB-2993-41DE-A2CB-63102DE87051}"/>
              </c:ext>
            </c:extLst>
          </c:dPt>
          <c:dPt>
            <c:idx val="85"/>
            <c:invertIfNegative val="1"/>
            <c:bubble3D val="0"/>
            <c:spPr>
              <a:solidFill>
                <a:srgbClr val="AEABAB"/>
              </a:solidFill>
            </c:spPr>
            <c:extLst>
              <c:ext xmlns:c16="http://schemas.microsoft.com/office/drawing/2014/chart" uri="{C3380CC4-5D6E-409C-BE32-E72D297353CC}">
                <c16:uniqueId val="{000000AD-2993-41DE-A2CB-63102DE87051}"/>
              </c:ext>
            </c:extLst>
          </c:dPt>
          <c:dPt>
            <c:idx val="86"/>
            <c:invertIfNegative val="1"/>
            <c:bubble3D val="0"/>
            <c:spPr>
              <a:solidFill>
                <a:srgbClr val="AEABAB"/>
              </a:solidFill>
            </c:spPr>
            <c:extLst>
              <c:ext xmlns:c16="http://schemas.microsoft.com/office/drawing/2014/chart" uri="{C3380CC4-5D6E-409C-BE32-E72D297353CC}">
                <c16:uniqueId val="{000000AF-2993-41DE-A2CB-63102DE87051}"/>
              </c:ext>
            </c:extLst>
          </c:dPt>
          <c:dPt>
            <c:idx val="87"/>
            <c:invertIfNegative val="1"/>
            <c:bubble3D val="0"/>
            <c:spPr>
              <a:solidFill>
                <a:srgbClr val="AEABAB"/>
              </a:solidFill>
            </c:spPr>
            <c:extLst>
              <c:ext xmlns:c16="http://schemas.microsoft.com/office/drawing/2014/chart" uri="{C3380CC4-5D6E-409C-BE32-E72D297353CC}">
                <c16:uniqueId val="{000000B1-2993-41DE-A2CB-63102DE87051}"/>
              </c:ext>
            </c:extLst>
          </c:dPt>
          <c:dPt>
            <c:idx val="88"/>
            <c:invertIfNegative val="1"/>
            <c:bubble3D val="0"/>
            <c:spPr>
              <a:solidFill>
                <a:srgbClr val="AEABAB"/>
              </a:solidFill>
            </c:spPr>
            <c:extLst>
              <c:ext xmlns:c16="http://schemas.microsoft.com/office/drawing/2014/chart" uri="{C3380CC4-5D6E-409C-BE32-E72D297353CC}">
                <c16:uniqueId val="{000000B3-2993-41DE-A2CB-63102DE87051}"/>
              </c:ext>
            </c:extLst>
          </c:dPt>
          <c:dPt>
            <c:idx val="89"/>
            <c:invertIfNegative val="1"/>
            <c:bubble3D val="0"/>
            <c:spPr>
              <a:solidFill>
                <a:srgbClr val="AEABAB"/>
              </a:solidFill>
            </c:spPr>
            <c:extLst>
              <c:ext xmlns:c16="http://schemas.microsoft.com/office/drawing/2014/chart" uri="{C3380CC4-5D6E-409C-BE32-E72D297353CC}">
                <c16:uniqueId val="{000000B5-2993-41DE-A2CB-63102DE87051}"/>
              </c:ext>
            </c:extLst>
          </c:dPt>
          <c:dPt>
            <c:idx val="90"/>
            <c:invertIfNegative val="1"/>
            <c:bubble3D val="0"/>
            <c:spPr>
              <a:solidFill>
                <a:srgbClr val="AEABAB"/>
              </a:solidFill>
            </c:spPr>
            <c:extLst>
              <c:ext xmlns:c16="http://schemas.microsoft.com/office/drawing/2014/chart" uri="{C3380CC4-5D6E-409C-BE32-E72D297353CC}">
                <c16:uniqueId val="{000000B7-2993-41DE-A2CB-63102DE87051}"/>
              </c:ext>
            </c:extLst>
          </c:dPt>
          <c:dPt>
            <c:idx val="91"/>
            <c:invertIfNegative val="1"/>
            <c:bubble3D val="0"/>
            <c:spPr>
              <a:solidFill>
                <a:srgbClr val="AEABAB"/>
              </a:solidFill>
            </c:spPr>
            <c:extLst>
              <c:ext xmlns:c16="http://schemas.microsoft.com/office/drawing/2014/chart" uri="{C3380CC4-5D6E-409C-BE32-E72D297353CC}">
                <c16:uniqueId val="{000000B9-2993-41DE-A2CB-63102DE87051}"/>
              </c:ext>
            </c:extLst>
          </c:dPt>
          <c:dPt>
            <c:idx val="92"/>
            <c:invertIfNegative val="1"/>
            <c:bubble3D val="0"/>
            <c:spPr>
              <a:solidFill>
                <a:srgbClr val="AEABAB"/>
              </a:solidFill>
            </c:spPr>
            <c:extLst>
              <c:ext xmlns:c16="http://schemas.microsoft.com/office/drawing/2014/chart" uri="{C3380CC4-5D6E-409C-BE32-E72D297353CC}">
                <c16:uniqueId val="{000000BB-2993-41DE-A2CB-63102DE87051}"/>
              </c:ext>
            </c:extLst>
          </c:dPt>
          <c:dPt>
            <c:idx val="93"/>
            <c:invertIfNegative val="1"/>
            <c:bubble3D val="0"/>
            <c:spPr>
              <a:solidFill>
                <a:srgbClr val="AEABAB"/>
              </a:solidFill>
            </c:spPr>
            <c:extLst>
              <c:ext xmlns:c16="http://schemas.microsoft.com/office/drawing/2014/chart" uri="{C3380CC4-5D6E-409C-BE32-E72D297353CC}">
                <c16:uniqueId val="{000000BD-2993-41DE-A2CB-63102DE87051}"/>
              </c:ext>
            </c:extLst>
          </c:dPt>
          <c:dPt>
            <c:idx val="94"/>
            <c:invertIfNegative val="1"/>
            <c:bubble3D val="0"/>
            <c:spPr>
              <a:solidFill>
                <a:srgbClr val="AEABAB"/>
              </a:solidFill>
            </c:spPr>
            <c:extLst>
              <c:ext xmlns:c16="http://schemas.microsoft.com/office/drawing/2014/chart" uri="{C3380CC4-5D6E-409C-BE32-E72D297353CC}">
                <c16:uniqueId val="{000000BF-2993-41DE-A2CB-63102DE87051}"/>
              </c:ext>
            </c:extLst>
          </c:dPt>
          <c:dPt>
            <c:idx val="95"/>
            <c:invertIfNegative val="1"/>
            <c:bubble3D val="0"/>
            <c:spPr>
              <a:solidFill>
                <a:srgbClr val="AEABAB"/>
              </a:solidFill>
            </c:spPr>
            <c:extLst>
              <c:ext xmlns:c16="http://schemas.microsoft.com/office/drawing/2014/chart" uri="{C3380CC4-5D6E-409C-BE32-E72D297353CC}">
                <c16:uniqueId val="{000000C1-2993-41DE-A2CB-63102DE87051}"/>
              </c:ext>
            </c:extLst>
          </c:dPt>
          <c:dPt>
            <c:idx val="96"/>
            <c:invertIfNegative val="1"/>
            <c:bubble3D val="0"/>
            <c:spPr>
              <a:solidFill>
                <a:srgbClr val="AEABAB"/>
              </a:solidFill>
            </c:spPr>
            <c:extLst>
              <c:ext xmlns:c16="http://schemas.microsoft.com/office/drawing/2014/chart" uri="{C3380CC4-5D6E-409C-BE32-E72D297353CC}">
                <c16:uniqueId val="{000000C3-2993-41DE-A2CB-63102DE87051}"/>
              </c:ext>
            </c:extLst>
          </c:dPt>
          <c:dPt>
            <c:idx val="97"/>
            <c:invertIfNegative val="1"/>
            <c:bubble3D val="0"/>
            <c:spPr>
              <a:solidFill>
                <a:srgbClr val="AEABAB"/>
              </a:solidFill>
            </c:spPr>
            <c:extLst>
              <c:ext xmlns:c16="http://schemas.microsoft.com/office/drawing/2014/chart" uri="{C3380CC4-5D6E-409C-BE32-E72D297353CC}">
                <c16:uniqueId val="{000000C5-2993-41DE-A2CB-63102DE87051}"/>
              </c:ext>
            </c:extLst>
          </c:dPt>
          <c:dPt>
            <c:idx val="98"/>
            <c:invertIfNegative val="1"/>
            <c:bubble3D val="0"/>
            <c:spPr>
              <a:solidFill>
                <a:srgbClr val="AEABAB"/>
              </a:solidFill>
            </c:spPr>
            <c:extLst>
              <c:ext xmlns:c16="http://schemas.microsoft.com/office/drawing/2014/chart" uri="{C3380CC4-5D6E-409C-BE32-E72D297353CC}">
                <c16:uniqueId val="{000000C7-2993-41DE-A2CB-63102DE87051}"/>
              </c:ext>
            </c:extLst>
          </c:dPt>
          <c:dPt>
            <c:idx val="99"/>
            <c:invertIfNegative val="1"/>
            <c:bubble3D val="0"/>
            <c:spPr>
              <a:solidFill>
                <a:srgbClr val="AEABAB"/>
              </a:solidFill>
            </c:spPr>
            <c:extLst>
              <c:ext xmlns:c16="http://schemas.microsoft.com/office/drawing/2014/chart" uri="{C3380CC4-5D6E-409C-BE32-E72D297353CC}">
                <c16:uniqueId val="{000000C9-2993-41DE-A2CB-63102DE87051}"/>
              </c:ext>
            </c:extLst>
          </c:dPt>
          <c:dPt>
            <c:idx val="100"/>
            <c:invertIfNegative val="1"/>
            <c:bubble3D val="0"/>
            <c:spPr>
              <a:solidFill>
                <a:srgbClr val="AEABAB"/>
              </a:solidFill>
            </c:spPr>
            <c:extLst>
              <c:ext xmlns:c16="http://schemas.microsoft.com/office/drawing/2014/chart" uri="{C3380CC4-5D6E-409C-BE32-E72D297353CC}">
                <c16:uniqueId val="{000000CB-2993-41DE-A2CB-63102DE87051}"/>
              </c:ext>
            </c:extLst>
          </c:dPt>
          <c:dPt>
            <c:idx val="101"/>
            <c:invertIfNegative val="1"/>
            <c:bubble3D val="0"/>
            <c:spPr>
              <a:solidFill>
                <a:srgbClr val="AEABAB"/>
              </a:solidFill>
            </c:spPr>
            <c:extLst>
              <c:ext xmlns:c16="http://schemas.microsoft.com/office/drawing/2014/chart" uri="{C3380CC4-5D6E-409C-BE32-E72D297353CC}">
                <c16:uniqueId val="{000000CD-2993-41DE-A2CB-63102DE87051}"/>
              </c:ext>
            </c:extLst>
          </c:dPt>
          <c:dPt>
            <c:idx val="102"/>
            <c:invertIfNegative val="1"/>
            <c:bubble3D val="0"/>
            <c:spPr>
              <a:solidFill>
                <a:srgbClr val="AEABAB"/>
              </a:solidFill>
            </c:spPr>
            <c:extLst>
              <c:ext xmlns:c16="http://schemas.microsoft.com/office/drawing/2014/chart" uri="{C3380CC4-5D6E-409C-BE32-E72D297353CC}">
                <c16:uniqueId val="{000000CF-2993-41DE-A2CB-63102DE87051}"/>
              </c:ext>
            </c:extLst>
          </c:dPt>
          <c:dPt>
            <c:idx val="103"/>
            <c:invertIfNegative val="1"/>
            <c:bubble3D val="0"/>
            <c:spPr>
              <a:solidFill>
                <a:srgbClr val="AEABAB"/>
              </a:solidFill>
            </c:spPr>
            <c:extLst>
              <c:ext xmlns:c16="http://schemas.microsoft.com/office/drawing/2014/chart" uri="{C3380CC4-5D6E-409C-BE32-E72D297353CC}">
                <c16:uniqueId val="{000000D1-2993-41DE-A2CB-63102DE87051}"/>
              </c:ext>
            </c:extLst>
          </c:dPt>
          <c:dPt>
            <c:idx val="104"/>
            <c:invertIfNegative val="1"/>
            <c:bubble3D val="0"/>
            <c:spPr>
              <a:solidFill>
                <a:srgbClr val="AEABAB"/>
              </a:solidFill>
            </c:spPr>
            <c:extLst>
              <c:ext xmlns:c16="http://schemas.microsoft.com/office/drawing/2014/chart" uri="{C3380CC4-5D6E-409C-BE32-E72D297353CC}">
                <c16:uniqueId val="{000000D3-2993-41DE-A2CB-63102DE87051}"/>
              </c:ext>
            </c:extLst>
          </c:dPt>
          <c:dPt>
            <c:idx val="105"/>
            <c:invertIfNegative val="1"/>
            <c:bubble3D val="0"/>
            <c:spPr>
              <a:solidFill>
                <a:srgbClr val="AEABAB"/>
              </a:solidFill>
            </c:spPr>
            <c:extLst>
              <c:ext xmlns:c16="http://schemas.microsoft.com/office/drawing/2014/chart" uri="{C3380CC4-5D6E-409C-BE32-E72D297353CC}">
                <c16:uniqueId val="{000000D5-2993-41DE-A2CB-63102DE87051}"/>
              </c:ext>
            </c:extLst>
          </c:dPt>
          <c:dPt>
            <c:idx val="106"/>
            <c:invertIfNegative val="1"/>
            <c:bubble3D val="0"/>
            <c:spPr>
              <a:solidFill>
                <a:srgbClr val="AEABAB"/>
              </a:solidFill>
            </c:spPr>
            <c:extLst>
              <c:ext xmlns:c16="http://schemas.microsoft.com/office/drawing/2014/chart" uri="{C3380CC4-5D6E-409C-BE32-E72D297353CC}">
                <c16:uniqueId val="{000000D7-2993-41DE-A2CB-63102DE87051}"/>
              </c:ext>
            </c:extLst>
          </c:dPt>
          <c:dPt>
            <c:idx val="107"/>
            <c:invertIfNegative val="1"/>
            <c:bubble3D val="0"/>
            <c:spPr>
              <a:solidFill>
                <a:srgbClr val="AEABAB"/>
              </a:solidFill>
            </c:spPr>
            <c:extLst>
              <c:ext xmlns:c16="http://schemas.microsoft.com/office/drawing/2014/chart" uri="{C3380CC4-5D6E-409C-BE32-E72D297353CC}">
                <c16:uniqueId val="{000000D9-2993-41DE-A2CB-63102DE87051}"/>
              </c:ext>
            </c:extLst>
          </c:dPt>
          <c:dPt>
            <c:idx val="108"/>
            <c:invertIfNegative val="1"/>
            <c:bubble3D val="0"/>
            <c:spPr>
              <a:solidFill>
                <a:srgbClr val="AEABAB"/>
              </a:solidFill>
            </c:spPr>
            <c:extLst>
              <c:ext xmlns:c16="http://schemas.microsoft.com/office/drawing/2014/chart" uri="{C3380CC4-5D6E-409C-BE32-E72D297353CC}">
                <c16:uniqueId val="{000000DB-2993-41DE-A2CB-63102DE87051}"/>
              </c:ext>
            </c:extLst>
          </c:dPt>
          <c:dPt>
            <c:idx val="109"/>
            <c:invertIfNegative val="1"/>
            <c:bubble3D val="0"/>
            <c:spPr>
              <a:solidFill>
                <a:srgbClr val="AEABAB"/>
              </a:solidFill>
            </c:spPr>
            <c:extLst>
              <c:ext xmlns:c16="http://schemas.microsoft.com/office/drawing/2014/chart" uri="{C3380CC4-5D6E-409C-BE32-E72D297353CC}">
                <c16:uniqueId val="{000000DD-2993-41DE-A2CB-63102DE87051}"/>
              </c:ext>
            </c:extLst>
          </c:dPt>
          <c:dPt>
            <c:idx val="110"/>
            <c:invertIfNegative val="1"/>
            <c:bubble3D val="0"/>
            <c:spPr>
              <a:solidFill>
                <a:srgbClr val="AEABAB"/>
              </a:solidFill>
            </c:spPr>
            <c:extLst>
              <c:ext xmlns:c16="http://schemas.microsoft.com/office/drawing/2014/chart" uri="{C3380CC4-5D6E-409C-BE32-E72D297353CC}">
                <c16:uniqueId val="{000000DF-2993-41DE-A2CB-63102DE87051}"/>
              </c:ext>
            </c:extLst>
          </c:dPt>
          <c:dPt>
            <c:idx val="111"/>
            <c:invertIfNegative val="1"/>
            <c:bubble3D val="0"/>
            <c:spPr>
              <a:solidFill>
                <a:srgbClr val="AEABAB"/>
              </a:solidFill>
            </c:spPr>
            <c:extLst>
              <c:ext xmlns:c16="http://schemas.microsoft.com/office/drawing/2014/chart" uri="{C3380CC4-5D6E-409C-BE32-E72D297353CC}">
                <c16:uniqueId val="{000000E1-2993-41DE-A2CB-63102DE87051}"/>
              </c:ext>
            </c:extLst>
          </c:dPt>
          <c:dPt>
            <c:idx val="112"/>
            <c:invertIfNegative val="1"/>
            <c:bubble3D val="0"/>
            <c:spPr>
              <a:solidFill>
                <a:srgbClr val="AEABAB"/>
              </a:solidFill>
            </c:spPr>
            <c:extLst>
              <c:ext xmlns:c16="http://schemas.microsoft.com/office/drawing/2014/chart" uri="{C3380CC4-5D6E-409C-BE32-E72D297353CC}">
                <c16:uniqueId val="{000000E3-2993-41DE-A2CB-63102DE87051}"/>
              </c:ext>
            </c:extLst>
          </c:dPt>
          <c:dPt>
            <c:idx val="113"/>
            <c:invertIfNegative val="1"/>
            <c:bubble3D val="0"/>
            <c:spPr>
              <a:solidFill>
                <a:srgbClr val="AEABAB"/>
              </a:solidFill>
            </c:spPr>
            <c:extLst>
              <c:ext xmlns:c16="http://schemas.microsoft.com/office/drawing/2014/chart" uri="{C3380CC4-5D6E-409C-BE32-E72D297353CC}">
                <c16:uniqueId val="{000000E5-2993-41DE-A2CB-63102DE87051}"/>
              </c:ext>
            </c:extLst>
          </c:dPt>
          <c:dPt>
            <c:idx val="114"/>
            <c:invertIfNegative val="1"/>
            <c:bubble3D val="0"/>
            <c:spPr>
              <a:solidFill>
                <a:srgbClr val="AEABAB"/>
              </a:solidFill>
            </c:spPr>
            <c:extLst>
              <c:ext xmlns:c16="http://schemas.microsoft.com/office/drawing/2014/chart" uri="{C3380CC4-5D6E-409C-BE32-E72D297353CC}">
                <c16:uniqueId val="{000000E7-2993-41DE-A2CB-63102DE87051}"/>
              </c:ext>
            </c:extLst>
          </c:dPt>
          <c:dPt>
            <c:idx val="115"/>
            <c:invertIfNegative val="1"/>
            <c:bubble3D val="0"/>
            <c:spPr>
              <a:solidFill>
                <a:srgbClr val="AEABAB"/>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117</c:f>
              <c:strCache>
                <c:ptCount val="116"/>
                <c:pt idx="0">
                  <c:v>Ruinart</c:v>
                </c:pt>
                <c:pt idx="1">
                  <c:v>Deutz</c:v>
                </c:pt>
                <c:pt idx="2">
                  <c:v>Nicolas</c:v>
                </c:pt>
                <c:pt idx="3">
                  <c:v>Heidsieck &amp;</c:v>
                </c:pt>
                <c:pt idx="4">
                  <c:v>Ayala</c:v>
                </c:pt>
                <c:pt idx="5">
                  <c:v>De Bligny</c:v>
                </c:pt>
                <c:pt idx="6">
                  <c:v>Taittinger</c:v>
                </c:pt>
                <c:pt idx="7">
                  <c:v>Canard Duch</c:v>
                </c:pt>
                <c:pt idx="8">
                  <c:v>Ruinart</c:v>
                </c:pt>
                <c:pt idx="9">
                  <c:v>Laurent Per</c:v>
                </c:pt>
                <c:pt idx="10">
                  <c:v>Bollinger</c:v>
                </c:pt>
                <c:pt idx="11">
                  <c:v>Deutz</c:v>
                </c:pt>
                <c:pt idx="12">
                  <c:v>Besserat De</c:v>
                </c:pt>
                <c:pt idx="13">
                  <c:v>Savian</c:v>
                </c:pt>
                <c:pt idx="14">
                  <c:v>Ruinart</c:v>
                </c:pt>
                <c:pt idx="15">
                  <c:v>Demoiselle</c:v>
                </c:pt>
                <c:pt idx="16">
                  <c:v>Laurent Per</c:v>
                </c:pt>
                <c:pt idx="17">
                  <c:v>Taittinger</c:v>
                </c:pt>
                <c:pt idx="18">
                  <c:v>Perrier Jou</c:v>
                </c:pt>
                <c:pt idx="19">
                  <c:v>Roederer</c:v>
                </c:pt>
                <c:pt idx="20">
                  <c:v>All Others</c:v>
                </c:pt>
                <c:pt idx="21">
                  <c:v>Moët &amp; Chan</c:v>
                </c:pt>
                <c:pt idx="22">
                  <c:v>Pommery</c:v>
                </c:pt>
                <c:pt idx="23">
                  <c:v>All Others</c:v>
                </c:pt>
                <c:pt idx="24">
                  <c:v>Campari: Al</c:v>
                </c:pt>
                <c:pt idx="25">
                  <c:v>Henriot</c:v>
                </c:pt>
                <c:pt idx="26">
                  <c:v>Roederer</c:v>
                </c:pt>
                <c:pt idx="27">
                  <c:v>Veuve Clicq</c:v>
                </c:pt>
                <c:pt idx="28">
                  <c:v>Veuve Clicq</c:v>
                </c:pt>
                <c:pt idx="29">
                  <c:v>Ruinart</c:v>
                </c:pt>
                <c:pt idx="30">
                  <c:v>Nicolas</c:v>
                </c:pt>
                <c:pt idx="31">
                  <c:v>Deutz</c:v>
                </c:pt>
                <c:pt idx="32">
                  <c:v>Nicolas Feu</c:v>
                </c:pt>
                <c:pt idx="33">
                  <c:v>De Venoge</c:v>
                </c:pt>
                <c:pt idx="34">
                  <c:v>Lanson</c:v>
                </c:pt>
                <c:pt idx="35">
                  <c:v>Campari: Al</c:v>
                </c:pt>
                <c:pt idx="36">
                  <c:v>Veuve Clicq</c:v>
                </c:pt>
                <c:pt idx="37">
                  <c:v>Bollinger</c:v>
                </c:pt>
                <c:pt idx="38">
                  <c:v>Canard Duch</c:v>
                </c:pt>
                <c:pt idx="39">
                  <c:v>Canard Duch</c:v>
                </c:pt>
                <c:pt idx="40">
                  <c:v>Krug</c:v>
                </c:pt>
                <c:pt idx="41">
                  <c:v>Nicolas</c:v>
                </c:pt>
                <c:pt idx="42">
                  <c:v>All Others</c:v>
                </c:pt>
                <c:pt idx="43">
                  <c:v>Piper Heids</c:v>
                </c:pt>
                <c:pt idx="44">
                  <c:v>Canard Duch</c:v>
                </c:pt>
                <c:pt idx="45">
                  <c:v>Henriot</c:v>
                </c:pt>
                <c:pt idx="46">
                  <c:v>Roederer</c:v>
                </c:pt>
                <c:pt idx="47">
                  <c:v>De Venoge</c:v>
                </c:pt>
                <c:pt idx="48">
                  <c:v>Roederer</c:v>
                </c:pt>
                <c:pt idx="49">
                  <c:v>Nicolas</c:v>
                </c:pt>
                <c:pt idx="50">
                  <c:v>Roederer</c:v>
                </c:pt>
                <c:pt idx="51">
                  <c:v>Veuve Clicq</c:v>
                </c:pt>
                <c:pt idx="52">
                  <c:v>Vranken</c:v>
                </c:pt>
                <c:pt idx="53">
                  <c:v>De Venoge</c:v>
                </c:pt>
                <c:pt idx="54">
                  <c:v>All Others</c:v>
                </c:pt>
                <c:pt idx="55">
                  <c:v>Demoiselle</c:v>
                </c:pt>
                <c:pt idx="56">
                  <c:v>Nicolas Feu</c:v>
                </c:pt>
                <c:pt idx="57">
                  <c:v>Canard Duch</c:v>
                </c:pt>
                <c:pt idx="58">
                  <c:v>Nicolas</c:v>
                </c:pt>
                <c:pt idx="59">
                  <c:v>Deutz</c:v>
                </c:pt>
                <c:pt idx="60">
                  <c:v>Demoiselle</c:v>
                </c:pt>
                <c:pt idx="61">
                  <c:v>All Others</c:v>
                </c:pt>
                <c:pt idx="62">
                  <c:v>Nicolas</c:v>
                </c:pt>
                <c:pt idx="63">
                  <c:v>Pommery</c:v>
                </c:pt>
                <c:pt idx="64">
                  <c:v>Canard Duch</c:v>
                </c:pt>
                <c:pt idx="65">
                  <c:v>Roederer</c:v>
                </c:pt>
                <c:pt idx="66">
                  <c:v>Laurent Per</c:v>
                </c:pt>
                <c:pt idx="67">
                  <c:v>Ruinart</c:v>
                </c:pt>
                <c:pt idx="68">
                  <c:v>Malard</c:v>
                </c:pt>
                <c:pt idx="69">
                  <c:v>Roederer</c:v>
                </c:pt>
                <c:pt idx="70">
                  <c:v>Moët &amp; Chan</c:v>
                </c:pt>
                <c:pt idx="71">
                  <c:v>Ruinart</c:v>
                </c:pt>
                <c:pt idx="72">
                  <c:v>Roederer</c:v>
                </c:pt>
                <c:pt idx="73">
                  <c:v>Laurent Per</c:v>
                </c:pt>
                <c:pt idx="74">
                  <c:v>All Others</c:v>
                </c:pt>
                <c:pt idx="75">
                  <c:v>Moët &amp; Chan</c:v>
                </c:pt>
                <c:pt idx="76">
                  <c:v>Taittinger</c:v>
                </c:pt>
                <c:pt idx="77">
                  <c:v>Deutz</c:v>
                </c:pt>
                <c:pt idx="78">
                  <c:v>Roederer</c:v>
                </c:pt>
                <c:pt idx="79">
                  <c:v>Vranken</c:v>
                </c:pt>
                <c:pt idx="80">
                  <c:v>Henriot</c:v>
                </c:pt>
                <c:pt idx="81">
                  <c:v>Ruinart</c:v>
                </c:pt>
                <c:pt idx="82">
                  <c:v>Roederer</c:v>
                </c:pt>
                <c:pt idx="83">
                  <c:v>Nicolas</c:v>
                </c:pt>
                <c:pt idx="84">
                  <c:v>Laurent Per</c:v>
                </c:pt>
                <c:pt idx="85">
                  <c:v>Besserat De</c:v>
                </c:pt>
                <c:pt idx="86">
                  <c:v>All Others</c:v>
                </c:pt>
                <c:pt idx="87">
                  <c:v>Pommery</c:v>
                </c:pt>
                <c:pt idx="88">
                  <c:v>Bollinger</c:v>
                </c:pt>
                <c:pt idx="89">
                  <c:v>Nicolas Feu</c:v>
                </c:pt>
                <c:pt idx="90">
                  <c:v>Pommery</c:v>
                </c:pt>
                <c:pt idx="91">
                  <c:v>Moët &amp; Chan</c:v>
                </c:pt>
                <c:pt idx="92">
                  <c:v>Ruinart</c:v>
                </c:pt>
                <c:pt idx="93">
                  <c:v>Pommery</c:v>
                </c:pt>
                <c:pt idx="94">
                  <c:v>Piper Heids</c:v>
                </c:pt>
                <c:pt idx="95">
                  <c:v>Laurent Per</c:v>
                </c:pt>
                <c:pt idx="96">
                  <c:v>Moët &amp; Chan</c:v>
                </c:pt>
                <c:pt idx="97">
                  <c:v>All Others</c:v>
                </c:pt>
                <c:pt idx="98">
                  <c:v>All Others</c:v>
                </c:pt>
                <c:pt idx="99">
                  <c:v>Nicolas Feu</c:v>
                </c:pt>
                <c:pt idx="100">
                  <c:v>Canard Duch</c:v>
                </c:pt>
                <c:pt idx="101">
                  <c:v>All Others</c:v>
                </c:pt>
                <c:pt idx="102">
                  <c:v>Veuve Clicq</c:v>
                </c:pt>
                <c:pt idx="103">
                  <c:v>Ruinart</c:v>
                </c:pt>
                <c:pt idx="104">
                  <c:v>Roederer</c:v>
                </c:pt>
                <c:pt idx="105">
                  <c:v>Nicolas Feu</c:v>
                </c:pt>
                <c:pt idx="106">
                  <c:v>Besserat De</c:v>
                </c:pt>
                <c:pt idx="107">
                  <c:v>Bollinger</c:v>
                </c:pt>
                <c:pt idx="108">
                  <c:v>Demoiselle</c:v>
                </c:pt>
                <c:pt idx="109">
                  <c:v>De Venoge</c:v>
                </c:pt>
                <c:pt idx="110">
                  <c:v>Roederer</c:v>
                </c:pt>
                <c:pt idx="111">
                  <c:v>Roederer</c:v>
                </c:pt>
                <c:pt idx="112">
                  <c:v>Roederer</c:v>
                </c:pt>
                <c:pt idx="113">
                  <c:v>Roederer</c:v>
                </c:pt>
                <c:pt idx="114">
                  <c:v>Martel</c:v>
                </c:pt>
                <c:pt idx="115">
                  <c:v>Nicolas</c:v>
                </c:pt>
              </c:strCache>
            </c:strRef>
          </c:cat>
          <c:val>
            <c:numRef>
              <c:f>Sheet1!$C$2:$C$117</c:f>
              <c:numCache>
                <c:formatCode>General</c:formatCode>
                <c:ptCount val="116"/>
                <c:pt idx="0">
                  <c:v>0.14757361096945953</c:v>
                </c:pt>
                <c:pt idx="1">
                  <c:v>0.23157583357067316</c:v>
                </c:pt>
                <c:pt idx="2">
                  <c:v>0.30753064857890211</c:v>
                </c:pt>
                <c:pt idx="3">
                  <c:v>0.36080536708256505</c:v>
                </c:pt>
                <c:pt idx="4">
                  <c:v>0.4055108830015442</c:v>
                </c:pt>
                <c:pt idx="5">
                  <c:v>0.44273437503306179</c:v>
                </c:pt>
                <c:pt idx="6">
                  <c:v>0.47655583142932467</c:v>
                </c:pt>
                <c:pt idx="7">
                  <c:v>0.51037347910302044</c:v>
                </c:pt>
                <c:pt idx="8">
                  <c:v>0.54338240801829207</c:v>
                </c:pt>
                <c:pt idx="9">
                  <c:v>0.57638583544541111</c:v>
                </c:pt>
                <c:pt idx="10">
                  <c:v>0.60802362423650991</c:v>
                </c:pt>
                <c:pt idx="11">
                  <c:v>0.63293901769659466</c:v>
                </c:pt>
                <c:pt idx="12">
                  <c:v>0.65531399320439265</c:v>
                </c:pt>
                <c:pt idx="13">
                  <c:v>0.67714897649044847</c:v>
                </c:pt>
                <c:pt idx="14">
                  <c:v>0.69783287917843329</c:v>
                </c:pt>
                <c:pt idx="15">
                  <c:v>0.71727725426651001</c:v>
                </c:pt>
                <c:pt idx="16">
                  <c:v>0.73382446105517707</c:v>
                </c:pt>
                <c:pt idx="17">
                  <c:v>0.7496937152268921</c:v>
                </c:pt>
                <c:pt idx="18">
                  <c:v>0.76468823278235243</c:v>
                </c:pt>
                <c:pt idx="19">
                  <c:v>0.77742798657806189</c:v>
                </c:pt>
                <c:pt idx="20">
                  <c:v>0.78996460850352346</c:v>
                </c:pt>
                <c:pt idx="21">
                  <c:v>0.80012416435568912</c:v>
                </c:pt>
                <c:pt idx="22">
                  <c:v>0.81019696597160318</c:v>
                </c:pt>
                <c:pt idx="23">
                  <c:v>0.82026511248215739</c:v>
                </c:pt>
                <c:pt idx="24">
                  <c:v>0.82945344407970067</c:v>
                </c:pt>
                <c:pt idx="25">
                  <c:v>0.83782628585647823</c:v>
                </c:pt>
                <c:pt idx="26">
                  <c:v>0.84562612648259838</c:v>
                </c:pt>
                <c:pt idx="27">
                  <c:v>0.8528229193689203</c:v>
                </c:pt>
                <c:pt idx="28">
                  <c:v>0.85972347827779749</c:v>
                </c:pt>
                <c:pt idx="29">
                  <c:v>0.86659864570289369</c:v>
                </c:pt>
                <c:pt idx="30">
                  <c:v>0.87333627592417629</c:v>
                </c:pt>
                <c:pt idx="31">
                  <c:v>0.87964986836631653</c:v>
                </c:pt>
                <c:pt idx="32">
                  <c:v>0.88594399400422463</c:v>
                </c:pt>
                <c:pt idx="33">
                  <c:v>0.8921704090187168</c:v>
                </c:pt>
                <c:pt idx="34">
                  <c:v>0.89816576153080208</c:v>
                </c:pt>
                <c:pt idx="35">
                  <c:v>0.90382383049999671</c:v>
                </c:pt>
                <c:pt idx="36">
                  <c:v>0.90929273291502299</c:v>
                </c:pt>
                <c:pt idx="37">
                  <c:v>0.91463764025091887</c:v>
                </c:pt>
                <c:pt idx="38">
                  <c:v>0.91970578041360207</c:v>
                </c:pt>
                <c:pt idx="39">
                  <c:v>0.92443452107641289</c:v>
                </c:pt>
                <c:pt idx="40">
                  <c:v>0.92909470473301503</c:v>
                </c:pt>
                <c:pt idx="41">
                  <c:v>0.93314930150144093</c:v>
                </c:pt>
                <c:pt idx="42">
                  <c:v>0.93705832042952253</c:v>
                </c:pt>
                <c:pt idx="43">
                  <c:v>0.94083572683333938</c:v>
                </c:pt>
                <c:pt idx="44">
                  <c:v>0.94444639582699452</c:v>
                </c:pt>
                <c:pt idx="45">
                  <c:v>0.9477159725551918</c:v>
                </c:pt>
                <c:pt idx="46">
                  <c:v>0.95098131736942559</c:v>
                </c:pt>
                <c:pt idx="47">
                  <c:v>0.95376887909718067</c:v>
                </c:pt>
                <c:pt idx="48">
                  <c:v>0.95655220891097226</c:v>
                </c:pt>
                <c:pt idx="49">
                  <c:v>0.95905538602038032</c:v>
                </c:pt>
                <c:pt idx="50">
                  <c:v>0.96146673059678056</c:v>
                </c:pt>
                <c:pt idx="51">
                  <c:v>0.96372530307909854</c:v>
                </c:pt>
                <c:pt idx="52">
                  <c:v>0.96589542855957944</c:v>
                </c:pt>
                <c:pt idx="53">
                  <c:v>0.96806174531749323</c:v>
                </c:pt>
                <c:pt idx="54">
                  <c:v>0.97015823549500935</c:v>
                </c:pt>
                <c:pt idx="55">
                  <c:v>0.97216712505348102</c:v>
                </c:pt>
                <c:pt idx="56">
                  <c:v>0.97413030994114702</c:v>
                </c:pt>
                <c:pt idx="57">
                  <c:v>0.97583492488564338</c:v>
                </c:pt>
                <c:pt idx="58">
                  <c:v>0.97729959030840952</c:v>
                </c:pt>
                <c:pt idx="59">
                  <c:v>0.97874224977856539</c:v>
                </c:pt>
                <c:pt idx="60">
                  <c:v>0.98009392309850607</c:v>
                </c:pt>
                <c:pt idx="61">
                  <c:v>0.98141004834115342</c:v>
                </c:pt>
                <c:pt idx="62">
                  <c:v>0.98269443422907454</c:v>
                </c:pt>
                <c:pt idx="63">
                  <c:v>0.98371559506846618</c:v>
                </c:pt>
                <c:pt idx="64">
                  <c:v>0.98460683614917854</c:v>
                </c:pt>
                <c:pt idx="65">
                  <c:v>0.9854688770235428</c:v>
                </c:pt>
                <c:pt idx="66">
                  <c:v>0.98628648280129028</c:v>
                </c:pt>
                <c:pt idx="67">
                  <c:v>0.98707319560710427</c:v>
                </c:pt>
                <c:pt idx="68">
                  <c:v>0.98780785587116726</c:v>
                </c:pt>
                <c:pt idx="69">
                  <c:v>0.98851077678050403</c:v>
                </c:pt>
                <c:pt idx="70">
                  <c:v>0.98920904258448095</c:v>
                </c:pt>
                <c:pt idx="71">
                  <c:v>0.98989165030679294</c:v>
                </c:pt>
                <c:pt idx="72">
                  <c:v>0.99051501123361596</c:v>
                </c:pt>
                <c:pt idx="73">
                  <c:v>0.99112017493039595</c:v>
                </c:pt>
                <c:pt idx="74">
                  <c:v>0.99171941394762708</c:v>
                </c:pt>
                <c:pt idx="75">
                  <c:v>0.99229029914130273</c:v>
                </c:pt>
                <c:pt idx="76">
                  <c:v>0.99284044795655724</c:v>
                </c:pt>
                <c:pt idx="77">
                  <c:v>0.99336520528803074</c:v>
                </c:pt>
                <c:pt idx="78">
                  <c:v>0.9938184432735212</c:v>
                </c:pt>
                <c:pt idx="79">
                  <c:v>0.99426702615365181</c:v>
                </c:pt>
                <c:pt idx="80">
                  <c:v>0.99469360308117227</c:v>
                </c:pt>
                <c:pt idx="81">
                  <c:v>0.99506897384973436</c:v>
                </c:pt>
                <c:pt idx="82">
                  <c:v>0.99540710377541775</c:v>
                </c:pt>
                <c:pt idx="83">
                  <c:v>0.99573338434200331</c:v>
                </c:pt>
                <c:pt idx="84">
                  <c:v>0.99605839533439988</c:v>
                </c:pt>
                <c:pt idx="85">
                  <c:v>0.99637578888166212</c:v>
                </c:pt>
                <c:pt idx="86">
                  <c:v>0.99668344902680828</c:v>
                </c:pt>
                <c:pt idx="87">
                  <c:v>0.99698941640636907</c:v>
                </c:pt>
                <c:pt idx="88">
                  <c:v>0.99728480400102115</c:v>
                </c:pt>
                <c:pt idx="89">
                  <c:v>0.99756241755702646</c:v>
                </c:pt>
                <c:pt idx="90">
                  <c:v>0.99782902813672669</c:v>
                </c:pt>
                <c:pt idx="91">
                  <c:v>0.99807151680683504</c:v>
                </c:pt>
                <c:pt idx="92">
                  <c:v>0.99830004016086382</c:v>
                </c:pt>
                <c:pt idx="93">
                  <c:v>0.99847608778174524</c:v>
                </c:pt>
                <c:pt idx="94">
                  <c:v>0.99864536434028506</c:v>
                </c:pt>
                <c:pt idx="95">
                  <c:v>0.99881379451603225</c:v>
                </c:pt>
                <c:pt idx="96">
                  <c:v>0.99896233469615092</c:v>
                </c:pt>
                <c:pt idx="97">
                  <c:v>0.99909394722041567</c:v>
                </c:pt>
                <c:pt idx="98">
                  <c:v>0.99921413357697897</c:v>
                </c:pt>
                <c:pt idx="99">
                  <c:v>0.9993178154690846</c:v>
                </c:pt>
                <c:pt idx="100">
                  <c:v>0.99941726544722675</c:v>
                </c:pt>
                <c:pt idx="101">
                  <c:v>0.99950275010928935</c:v>
                </c:pt>
                <c:pt idx="102">
                  <c:v>0.99957046073270528</c:v>
                </c:pt>
                <c:pt idx="103">
                  <c:v>0.99963182348517599</c:v>
                </c:pt>
                <c:pt idx="104">
                  <c:v>0.9996876847494941</c:v>
                </c:pt>
                <c:pt idx="105">
                  <c:v>0.9997397372912451</c:v>
                </c:pt>
                <c:pt idx="106">
                  <c:v>0.99979009706741073</c:v>
                </c:pt>
                <c:pt idx="107">
                  <c:v>0.99983876407799099</c:v>
                </c:pt>
                <c:pt idx="108">
                  <c:v>0.99988446874879677</c:v>
                </c:pt>
                <c:pt idx="109">
                  <c:v>0.99992255597446822</c:v>
                </c:pt>
                <c:pt idx="110">
                  <c:v>0.99994202277870026</c:v>
                </c:pt>
                <c:pt idx="111">
                  <c:v>0.99995641128617618</c:v>
                </c:pt>
                <c:pt idx="112">
                  <c:v>0.99996868383667037</c:v>
                </c:pt>
                <c:pt idx="113">
                  <c:v>0.99998053319576818</c:v>
                </c:pt>
                <c:pt idx="114">
                  <c:v>0.99999068978928063</c:v>
                </c:pt>
                <c:pt idx="115">
                  <c:v>1.0000000000000002</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98</c:f>
              <c:strCache>
                <c:ptCount val="97"/>
                <c:pt idx="0">
                  <c:v>Ruinart</c:v>
                </c:pt>
                <c:pt idx="1">
                  <c:v>Nicolas</c:v>
                </c:pt>
                <c:pt idx="2">
                  <c:v>Deutz</c:v>
                </c:pt>
                <c:pt idx="3">
                  <c:v>Heidsieck &amp;</c:v>
                </c:pt>
                <c:pt idx="4">
                  <c:v>Ayala</c:v>
                </c:pt>
                <c:pt idx="5">
                  <c:v>De Bligny</c:v>
                </c:pt>
                <c:pt idx="6">
                  <c:v>Canard Duch</c:v>
                </c:pt>
                <c:pt idx="7">
                  <c:v>Besserat De</c:v>
                </c:pt>
                <c:pt idx="8">
                  <c:v>Laurent Per</c:v>
                </c:pt>
                <c:pt idx="9">
                  <c:v>Campari: Al</c:v>
                </c:pt>
                <c:pt idx="10">
                  <c:v>Bollinger</c:v>
                </c:pt>
                <c:pt idx="11">
                  <c:v>Deutz</c:v>
                </c:pt>
                <c:pt idx="12">
                  <c:v>Taittinger</c:v>
                </c:pt>
                <c:pt idx="13">
                  <c:v>Ruinart</c:v>
                </c:pt>
                <c:pt idx="14">
                  <c:v>Ruinart</c:v>
                </c:pt>
                <c:pt idx="15">
                  <c:v>Demoiselle</c:v>
                </c:pt>
                <c:pt idx="16">
                  <c:v>Savian</c:v>
                </c:pt>
                <c:pt idx="17">
                  <c:v>All Others</c:v>
                </c:pt>
                <c:pt idx="18">
                  <c:v>Perrier Jou</c:v>
                </c:pt>
                <c:pt idx="19">
                  <c:v>Laurent Per</c:v>
                </c:pt>
                <c:pt idx="20">
                  <c:v>Henriot</c:v>
                </c:pt>
                <c:pt idx="21">
                  <c:v>Roederer</c:v>
                </c:pt>
                <c:pt idx="22">
                  <c:v>Pommery</c:v>
                </c:pt>
                <c:pt idx="23">
                  <c:v>Roederer</c:v>
                </c:pt>
                <c:pt idx="24">
                  <c:v>Campari: Al</c:v>
                </c:pt>
                <c:pt idx="25">
                  <c:v>All Others</c:v>
                </c:pt>
                <c:pt idx="26">
                  <c:v>Nicolas</c:v>
                </c:pt>
                <c:pt idx="27">
                  <c:v>Moët &amp; Chan</c:v>
                </c:pt>
                <c:pt idx="28">
                  <c:v>Taittinger</c:v>
                </c:pt>
                <c:pt idx="29">
                  <c:v>Deutz</c:v>
                </c:pt>
                <c:pt idx="30">
                  <c:v>All Others</c:v>
                </c:pt>
                <c:pt idx="31">
                  <c:v>Ruinart</c:v>
                </c:pt>
                <c:pt idx="32">
                  <c:v>Henriot</c:v>
                </c:pt>
                <c:pt idx="33">
                  <c:v>Veuve Clicq</c:v>
                </c:pt>
                <c:pt idx="34">
                  <c:v>Veuve Clicq</c:v>
                </c:pt>
                <c:pt idx="35">
                  <c:v>Lanson</c:v>
                </c:pt>
                <c:pt idx="36">
                  <c:v>Veuve Clicq</c:v>
                </c:pt>
                <c:pt idx="37">
                  <c:v>Piper Heids</c:v>
                </c:pt>
                <c:pt idx="38">
                  <c:v>Canard Duch</c:v>
                </c:pt>
                <c:pt idx="39">
                  <c:v>De Venoge</c:v>
                </c:pt>
                <c:pt idx="40">
                  <c:v>Nicolas Feu</c:v>
                </c:pt>
                <c:pt idx="41">
                  <c:v>Krug</c:v>
                </c:pt>
                <c:pt idx="42">
                  <c:v>Canard Duch</c:v>
                </c:pt>
                <c:pt idx="43">
                  <c:v>Roederer</c:v>
                </c:pt>
                <c:pt idx="44">
                  <c:v>Bollinger</c:v>
                </c:pt>
                <c:pt idx="45">
                  <c:v>Roederer</c:v>
                </c:pt>
                <c:pt idx="46">
                  <c:v>Roederer</c:v>
                </c:pt>
                <c:pt idx="47">
                  <c:v>Nicolas</c:v>
                </c:pt>
                <c:pt idx="48">
                  <c:v>Nicolas</c:v>
                </c:pt>
                <c:pt idx="49">
                  <c:v>Canard Duch</c:v>
                </c:pt>
                <c:pt idx="50">
                  <c:v>De Venoge</c:v>
                </c:pt>
                <c:pt idx="51">
                  <c:v>Veuve Clicq</c:v>
                </c:pt>
                <c:pt idx="52">
                  <c:v>De Venoge</c:v>
                </c:pt>
                <c:pt idx="53">
                  <c:v>Vranken</c:v>
                </c:pt>
                <c:pt idx="54">
                  <c:v>Roederer</c:v>
                </c:pt>
                <c:pt idx="55">
                  <c:v>All Others</c:v>
                </c:pt>
                <c:pt idx="56">
                  <c:v>Nicolas</c:v>
                </c:pt>
                <c:pt idx="57">
                  <c:v>Nicolas Feu</c:v>
                </c:pt>
                <c:pt idx="58">
                  <c:v>Roederer</c:v>
                </c:pt>
                <c:pt idx="59">
                  <c:v>Canard Duch</c:v>
                </c:pt>
                <c:pt idx="60">
                  <c:v>Nicolas</c:v>
                </c:pt>
                <c:pt idx="61">
                  <c:v>Laurent Per</c:v>
                </c:pt>
                <c:pt idx="62">
                  <c:v>Demoiselle</c:v>
                </c:pt>
                <c:pt idx="63">
                  <c:v>Roederer</c:v>
                </c:pt>
                <c:pt idx="64">
                  <c:v>All Others</c:v>
                </c:pt>
                <c:pt idx="65">
                  <c:v>Deutz</c:v>
                </c:pt>
                <c:pt idx="66">
                  <c:v>Vranken</c:v>
                </c:pt>
                <c:pt idx="67">
                  <c:v>Moët &amp; Chan</c:v>
                </c:pt>
                <c:pt idx="68">
                  <c:v>Pommery</c:v>
                </c:pt>
                <c:pt idx="69">
                  <c:v>Ruinart</c:v>
                </c:pt>
                <c:pt idx="70">
                  <c:v>Ruinart</c:v>
                </c:pt>
                <c:pt idx="71">
                  <c:v>Piper Heids</c:v>
                </c:pt>
                <c:pt idx="72">
                  <c:v>Laurent Per</c:v>
                </c:pt>
                <c:pt idx="73">
                  <c:v>All Others</c:v>
                </c:pt>
                <c:pt idx="74">
                  <c:v>All Others</c:v>
                </c:pt>
                <c:pt idx="75">
                  <c:v>Nicolas</c:v>
                </c:pt>
                <c:pt idx="76">
                  <c:v>Canard Duch</c:v>
                </c:pt>
                <c:pt idx="77">
                  <c:v>Malard</c:v>
                </c:pt>
                <c:pt idx="78">
                  <c:v>Roederer</c:v>
                </c:pt>
                <c:pt idx="79">
                  <c:v>Pommery</c:v>
                </c:pt>
                <c:pt idx="80">
                  <c:v>Pommery</c:v>
                </c:pt>
                <c:pt idx="81">
                  <c:v>Bollinger</c:v>
                </c:pt>
                <c:pt idx="82">
                  <c:v>All Others</c:v>
                </c:pt>
                <c:pt idx="83">
                  <c:v>Moët &amp; Chan</c:v>
                </c:pt>
                <c:pt idx="84">
                  <c:v>Martel</c:v>
                </c:pt>
                <c:pt idx="85">
                  <c:v>Nicolas Feu</c:v>
                </c:pt>
                <c:pt idx="86">
                  <c:v>Roederer</c:v>
                </c:pt>
                <c:pt idx="87">
                  <c:v>De Venoge</c:v>
                </c:pt>
                <c:pt idx="88">
                  <c:v>Henriot</c:v>
                </c:pt>
                <c:pt idx="89">
                  <c:v>Roederer</c:v>
                </c:pt>
                <c:pt idx="90">
                  <c:v>Roederer</c:v>
                </c:pt>
                <c:pt idx="91">
                  <c:v>Bollinger</c:v>
                </c:pt>
                <c:pt idx="92">
                  <c:v>Lanson</c:v>
                </c:pt>
                <c:pt idx="93">
                  <c:v>All Others</c:v>
                </c:pt>
                <c:pt idx="94">
                  <c:v>Nicolas</c:v>
                </c:pt>
                <c:pt idx="95">
                  <c:v>Demoiselle</c:v>
                </c:pt>
                <c:pt idx="96">
                  <c:v>Ayala</c:v>
                </c:pt>
              </c:strCache>
            </c:strRef>
          </c:cat>
          <c:val>
            <c:numRef>
              <c:f>Sheet1!$B$2:$B$98</c:f>
              <c:numCache>
                <c:formatCode>General</c:formatCode>
                <c:ptCount val="97"/>
                <c:pt idx="0">
                  <c:v>1</c:v>
                </c:pt>
                <c:pt idx="1">
                  <c:v>1</c:v>
                </c:pt>
                <c:pt idx="2">
                  <c:v>1</c:v>
                </c:pt>
                <c:pt idx="3">
                  <c:v>0.98</c:v>
                </c:pt>
                <c:pt idx="4">
                  <c:v>1</c:v>
                </c:pt>
                <c:pt idx="5">
                  <c:v>0.99</c:v>
                </c:pt>
                <c:pt idx="6">
                  <c:v>0.99</c:v>
                </c:pt>
                <c:pt idx="7">
                  <c:v>0.92</c:v>
                </c:pt>
                <c:pt idx="8">
                  <c:v>0.97</c:v>
                </c:pt>
                <c:pt idx="9">
                  <c:v>0.75</c:v>
                </c:pt>
                <c:pt idx="10">
                  <c:v>0.93</c:v>
                </c:pt>
                <c:pt idx="11">
                  <c:v>0.77</c:v>
                </c:pt>
                <c:pt idx="12">
                  <c:v>0.98</c:v>
                </c:pt>
                <c:pt idx="13">
                  <c:v>0.73</c:v>
                </c:pt>
                <c:pt idx="14">
                  <c:v>0.73</c:v>
                </c:pt>
                <c:pt idx="15">
                  <c:v>0.87</c:v>
                </c:pt>
                <c:pt idx="16">
                  <c:v>0.84</c:v>
                </c:pt>
                <c:pt idx="17">
                  <c:v>0.84</c:v>
                </c:pt>
                <c:pt idx="18">
                  <c:v>0.82</c:v>
                </c:pt>
                <c:pt idx="19">
                  <c:v>0.81</c:v>
                </c:pt>
                <c:pt idx="20">
                  <c:v>0.68</c:v>
                </c:pt>
                <c:pt idx="21">
                  <c:v>0.67</c:v>
                </c:pt>
                <c:pt idx="22">
                  <c:v>0.76</c:v>
                </c:pt>
                <c:pt idx="23">
                  <c:v>0.68</c:v>
                </c:pt>
                <c:pt idx="24">
                  <c:v>0.76</c:v>
                </c:pt>
                <c:pt idx="25">
                  <c:v>0.69</c:v>
                </c:pt>
                <c:pt idx="26">
                  <c:v>0.83</c:v>
                </c:pt>
                <c:pt idx="27">
                  <c:v>0.71</c:v>
                </c:pt>
                <c:pt idx="28">
                  <c:v>0.49</c:v>
                </c:pt>
                <c:pt idx="29">
                  <c:v>0.77</c:v>
                </c:pt>
                <c:pt idx="30">
                  <c:v>0.65</c:v>
                </c:pt>
                <c:pt idx="31">
                  <c:v>0.6</c:v>
                </c:pt>
                <c:pt idx="32">
                  <c:v>0.65</c:v>
                </c:pt>
                <c:pt idx="33">
                  <c:v>0.56000000000000005</c:v>
                </c:pt>
                <c:pt idx="34">
                  <c:v>0.56999999999999995</c:v>
                </c:pt>
                <c:pt idx="35">
                  <c:v>0.61</c:v>
                </c:pt>
                <c:pt idx="36">
                  <c:v>0.52</c:v>
                </c:pt>
                <c:pt idx="37">
                  <c:v>0.59</c:v>
                </c:pt>
                <c:pt idx="38">
                  <c:v>0.47</c:v>
                </c:pt>
                <c:pt idx="39">
                  <c:v>0.45</c:v>
                </c:pt>
                <c:pt idx="40">
                  <c:v>0.51</c:v>
                </c:pt>
                <c:pt idx="41">
                  <c:v>0.56000000000000005</c:v>
                </c:pt>
                <c:pt idx="42">
                  <c:v>0.72</c:v>
                </c:pt>
                <c:pt idx="43">
                  <c:v>0.53</c:v>
                </c:pt>
                <c:pt idx="44">
                  <c:v>0.39</c:v>
                </c:pt>
                <c:pt idx="45">
                  <c:v>0.27</c:v>
                </c:pt>
                <c:pt idx="46">
                  <c:v>0.34</c:v>
                </c:pt>
                <c:pt idx="47">
                  <c:v>0.51</c:v>
                </c:pt>
                <c:pt idx="48">
                  <c:v>0.36</c:v>
                </c:pt>
                <c:pt idx="49">
                  <c:v>0.44</c:v>
                </c:pt>
                <c:pt idx="50">
                  <c:v>0.42</c:v>
                </c:pt>
                <c:pt idx="51">
                  <c:v>0.24</c:v>
                </c:pt>
                <c:pt idx="52">
                  <c:v>0.41</c:v>
                </c:pt>
                <c:pt idx="53">
                  <c:v>0.32</c:v>
                </c:pt>
                <c:pt idx="54">
                  <c:v>0.46</c:v>
                </c:pt>
                <c:pt idx="55">
                  <c:v>0.36</c:v>
                </c:pt>
                <c:pt idx="56">
                  <c:v>0.28000000000000003</c:v>
                </c:pt>
                <c:pt idx="57">
                  <c:v>0.4</c:v>
                </c:pt>
                <c:pt idx="58">
                  <c:v>0.27</c:v>
                </c:pt>
                <c:pt idx="59">
                  <c:v>0.11</c:v>
                </c:pt>
                <c:pt idx="60">
                  <c:v>0.18</c:v>
                </c:pt>
                <c:pt idx="61">
                  <c:v>0.26</c:v>
                </c:pt>
                <c:pt idx="62">
                  <c:v>0.31</c:v>
                </c:pt>
                <c:pt idx="63">
                  <c:v>0.05</c:v>
                </c:pt>
                <c:pt idx="64">
                  <c:v>0.16</c:v>
                </c:pt>
                <c:pt idx="65">
                  <c:v>0.02</c:v>
                </c:pt>
                <c:pt idx="66">
                  <c:v>0.12</c:v>
                </c:pt>
                <c:pt idx="67">
                  <c:v>0.25</c:v>
                </c:pt>
                <c:pt idx="68">
                  <c:v>0.26</c:v>
                </c:pt>
                <c:pt idx="69">
                  <c:v>0.1</c:v>
                </c:pt>
                <c:pt idx="70">
                  <c:v>0.14000000000000001</c:v>
                </c:pt>
                <c:pt idx="71">
                  <c:v>0.18</c:v>
                </c:pt>
                <c:pt idx="72">
                  <c:v>0.22</c:v>
                </c:pt>
                <c:pt idx="73">
                  <c:v>0.18</c:v>
                </c:pt>
                <c:pt idx="74">
                  <c:v>0.05</c:v>
                </c:pt>
                <c:pt idx="75">
                  <c:v>0.22</c:v>
                </c:pt>
                <c:pt idx="76">
                  <c:v>7.0000000000000007E-2</c:v>
                </c:pt>
                <c:pt idx="77">
                  <c:v>0.08</c:v>
                </c:pt>
                <c:pt idx="78">
                  <c:v>0.1</c:v>
                </c:pt>
                <c:pt idx="79">
                  <c:v>0.11</c:v>
                </c:pt>
                <c:pt idx="80">
                  <c:v>0.11</c:v>
                </c:pt>
                <c:pt idx="81">
                  <c:v>0.1</c:v>
                </c:pt>
                <c:pt idx="82">
                  <c:v>0.13</c:v>
                </c:pt>
                <c:pt idx="83">
                  <c:v>0.08</c:v>
                </c:pt>
                <c:pt idx="84">
                  <c:v>0.04</c:v>
                </c:pt>
                <c:pt idx="85">
                  <c:v>7.0000000000000007E-2</c:v>
                </c:pt>
                <c:pt idx="86">
                  <c:v>0.06</c:v>
                </c:pt>
                <c:pt idx="87">
                  <c:v>0.05</c:v>
                </c:pt>
                <c:pt idx="88">
                  <c:v>0.09</c:v>
                </c:pt>
                <c:pt idx="89">
                  <c:v>0.04</c:v>
                </c:pt>
                <c:pt idx="90">
                  <c:v>0.02</c:v>
                </c:pt>
                <c:pt idx="91">
                  <c:v>0.03</c:v>
                </c:pt>
                <c:pt idx="92">
                  <c:v>0.08</c:v>
                </c:pt>
                <c:pt idx="93">
                  <c:v>7.0000000000000007E-2</c:v>
                </c:pt>
                <c:pt idx="94">
                  <c:v>0.08</c:v>
                </c:pt>
                <c:pt idx="95">
                  <c:v>0.09</c:v>
                </c:pt>
                <c:pt idx="96">
                  <c:v>0.08</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7ECAC4"/>
              </a:solidFill>
            </c:spPr>
            <c:extLst>
              <c:ext xmlns:c16="http://schemas.microsoft.com/office/drawing/2014/chart" uri="{C3380CC4-5D6E-409C-BE32-E72D297353CC}">
                <c16:uniqueId val="{00000061-2993-41DE-A2CB-63102DE87051}"/>
              </c:ext>
            </c:extLst>
          </c:dPt>
          <c:dPt>
            <c:idx val="21"/>
            <c:invertIfNegative val="1"/>
            <c:bubble3D val="0"/>
            <c:spPr>
              <a:solidFill>
                <a:srgbClr val="7ECAC4"/>
              </a:solidFill>
            </c:spPr>
            <c:extLst>
              <c:ext xmlns:c16="http://schemas.microsoft.com/office/drawing/2014/chart" uri="{C3380CC4-5D6E-409C-BE32-E72D297353CC}">
                <c16:uniqueId val="{00000063-2993-41DE-A2CB-63102DE87051}"/>
              </c:ext>
            </c:extLst>
          </c:dPt>
          <c:dPt>
            <c:idx val="22"/>
            <c:invertIfNegative val="1"/>
            <c:bubble3D val="0"/>
            <c:spPr>
              <a:solidFill>
                <a:srgbClr val="7ECAC4"/>
              </a:solidFill>
            </c:spPr>
            <c:extLst>
              <c:ext xmlns:c16="http://schemas.microsoft.com/office/drawing/2014/chart" uri="{C3380CC4-5D6E-409C-BE32-E72D297353CC}">
                <c16:uniqueId val="{00000065-2993-41DE-A2CB-63102DE87051}"/>
              </c:ext>
            </c:extLst>
          </c:dPt>
          <c:dPt>
            <c:idx val="23"/>
            <c:invertIfNegative val="1"/>
            <c:bubble3D val="0"/>
            <c:spPr>
              <a:solidFill>
                <a:srgbClr val="7ECAC4"/>
              </a:solidFill>
            </c:spPr>
            <c:extLst>
              <c:ext xmlns:c16="http://schemas.microsoft.com/office/drawing/2014/chart" uri="{C3380CC4-5D6E-409C-BE32-E72D297353CC}">
                <c16:uniqueId val="{00000067-2993-41DE-A2CB-63102DE87051}"/>
              </c:ext>
            </c:extLst>
          </c:dPt>
          <c:dPt>
            <c:idx val="24"/>
            <c:invertIfNegative val="1"/>
            <c:bubble3D val="0"/>
            <c:spPr>
              <a:solidFill>
                <a:srgbClr val="7ECAC4"/>
              </a:solidFill>
            </c:spPr>
            <c:extLst>
              <c:ext xmlns:c16="http://schemas.microsoft.com/office/drawing/2014/chart" uri="{C3380CC4-5D6E-409C-BE32-E72D297353CC}">
                <c16:uniqueId val="{00000069-2993-41DE-A2CB-63102DE87051}"/>
              </c:ext>
            </c:extLst>
          </c:dPt>
          <c:dPt>
            <c:idx val="25"/>
            <c:invertIfNegative val="1"/>
            <c:bubble3D val="0"/>
            <c:spPr>
              <a:solidFill>
                <a:srgbClr val="7ECAC4"/>
              </a:solidFill>
            </c:spPr>
            <c:extLst>
              <c:ext xmlns:c16="http://schemas.microsoft.com/office/drawing/2014/chart" uri="{C3380CC4-5D6E-409C-BE32-E72D297353CC}">
                <c16:uniqueId val="{0000006B-2993-41DE-A2CB-63102DE87051}"/>
              </c:ext>
            </c:extLst>
          </c:dPt>
          <c:dPt>
            <c:idx val="26"/>
            <c:invertIfNegative val="1"/>
            <c:bubble3D val="0"/>
            <c:spPr>
              <a:solidFill>
                <a:srgbClr val="7ECAC4"/>
              </a:solidFill>
            </c:spPr>
            <c:extLst>
              <c:ext xmlns:c16="http://schemas.microsoft.com/office/drawing/2014/chart" uri="{C3380CC4-5D6E-409C-BE32-E72D297353CC}">
                <c16:uniqueId val="{0000006D-2993-41DE-A2CB-63102DE87051}"/>
              </c:ext>
            </c:extLst>
          </c:dPt>
          <c:dPt>
            <c:idx val="27"/>
            <c:invertIfNegative val="1"/>
            <c:bubble3D val="0"/>
            <c:spPr>
              <a:solidFill>
                <a:srgbClr val="7ECAC4"/>
              </a:solidFill>
            </c:spPr>
            <c:extLst>
              <c:ext xmlns:c16="http://schemas.microsoft.com/office/drawing/2014/chart" uri="{C3380CC4-5D6E-409C-BE32-E72D297353CC}">
                <c16:uniqueId val="{0000006F-2993-41DE-A2CB-63102DE87051}"/>
              </c:ext>
            </c:extLst>
          </c:dPt>
          <c:dPt>
            <c:idx val="28"/>
            <c:invertIfNegative val="1"/>
            <c:bubble3D val="0"/>
            <c:spPr>
              <a:solidFill>
                <a:srgbClr val="7ECAC4"/>
              </a:solidFill>
            </c:spPr>
            <c:extLst>
              <c:ext xmlns:c16="http://schemas.microsoft.com/office/drawing/2014/chart" uri="{C3380CC4-5D6E-409C-BE32-E72D297353CC}">
                <c16:uniqueId val="{00000071-2993-41DE-A2CB-63102DE87051}"/>
              </c:ext>
            </c:extLst>
          </c:dPt>
          <c:dPt>
            <c:idx val="29"/>
            <c:invertIfNegative val="1"/>
            <c:bubble3D val="0"/>
            <c:spPr>
              <a:solidFill>
                <a:srgbClr val="7ECAC4"/>
              </a:solidFill>
            </c:spPr>
            <c:extLst>
              <c:ext xmlns:c16="http://schemas.microsoft.com/office/drawing/2014/chart" uri="{C3380CC4-5D6E-409C-BE32-E72D297353CC}">
                <c16:uniqueId val="{00000073-2993-41DE-A2CB-63102DE87051}"/>
              </c:ext>
            </c:extLst>
          </c:dPt>
          <c:dPt>
            <c:idx val="30"/>
            <c:invertIfNegative val="1"/>
            <c:bubble3D val="0"/>
            <c:spPr>
              <a:solidFill>
                <a:srgbClr val="7ECAC4"/>
              </a:solidFill>
            </c:spPr>
            <c:extLst>
              <c:ext xmlns:c16="http://schemas.microsoft.com/office/drawing/2014/chart" uri="{C3380CC4-5D6E-409C-BE32-E72D297353CC}">
                <c16:uniqueId val="{00000075-2993-41DE-A2CB-63102DE87051}"/>
              </c:ext>
            </c:extLst>
          </c:dPt>
          <c:dPt>
            <c:idx val="31"/>
            <c:invertIfNegative val="1"/>
            <c:bubble3D val="0"/>
            <c:spPr>
              <a:solidFill>
                <a:srgbClr val="7ECAC4"/>
              </a:solidFill>
            </c:spPr>
            <c:extLst>
              <c:ext xmlns:c16="http://schemas.microsoft.com/office/drawing/2014/chart" uri="{C3380CC4-5D6E-409C-BE32-E72D297353CC}">
                <c16:uniqueId val="{00000077-2993-41DE-A2CB-63102DE87051}"/>
              </c:ext>
            </c:extLst>
          </c:dPt>
          <c:dPt>
            <c:idx val="32"/>
            <c:invertIfNegative val="1"/>
            <c:bubble3D val="0"/>
            <c:spPr>
              <a:solidFill>
                <a:srgbClr val="7ECAC4"/>
              </a:solidFill>
            </c:spPr>
            <c:extLst>
              <c:ext xmlns:c16="http://schemas.microsoft.com/office/drawing/2014/chart" uri="{C3380CC4-5D6E-409C-BE32-E72D297353CC}">
                <c16:uniqueId val="{00000079-2993-41DE-A2CB-63102DE87051}"/>
              </c:ext>
            </c:extLst>
          </c:dPt>
          <c:dPt>
            <c:idx val="33"/>
            <c:invertIfNegative val="1"/>
            <c:bubble3D val="0"/>
            <c:spPr>
              <a:solidFill>
                <a:srgbClr val="7ECAC4"/>
              </a:solidFill>
            </c:spPr>
            <c:extLst>
              <c:ext xmlns:c16="http://schemas.microsoft.com/office/drawing/2014/chart" uri="{C3380CC4-5D6E-409C-BE32-E72D297353CC}">
                <c16:uniqueId val="{0000007B-2993-41DE-A2CB-63102DE87051}"/>
              </c:ext>
            </c:extLst>
          </c:dPt>
          <c:dPt>
            <c:idx val="34"/>
            <c:invertIfNegative val="1"/>
            <c:bubble3D val="0"/>
            <c:spPr>
              <a:solidFill>
                <a:srgbClr val="7ECAC4"/>
              </a:solidFill>
            </c:spPr>
            <c:extLst>
              <c:ext xmlns:c16="http://schemas.microsoft.com/office/drawing/2014/chart" uri="{C3380CC4-5D6E-409C-BE32-E72D297353CC}">
                <c16:uniqueId val="{0000007D-2993-41DE-A2CB-63102DE87051}"/>
              </c:ext>
            </c:extLst>
          </c:dPt>
          <c:dPt>
            <c:idx val="35"/>
            <c:invertIfNegative val="1"/>
            <c:bubble3D val="0"/>
            <c:spPr>
              <a:solidFill>
                <a:srgbClr val="7ECAC4"/>
              </a:solidFill>
            </c:spPr>
            <c:extLst>
              <c:ext xmlns:c16="http://schemas.microsoft.com/office/drawing/2014/chart" uri="{C3380CC4-5D6E-409C-BE32-E72D297353CC}">
                <c16:uniqueId val="{0000007F-2993-41DE-A2CB-63102DE87051}"/>
              </c:ext>
            </c:extLst>
          </c:dPt>
          <c:dPt>
            <c:idx val="36"/>
            <c:invertIfNegative val="1"/>
            <c:bubble3D val="0"/>
            <c:spPr>
              <a:solidFill>
                <a:srgbClr val="7ECAC4"/>
              </a:solidFill>
            </c:spPr>
            <c:extLst>
              <c:ext xmlns:c16="http://schemas.microsoft.com/office/drawing/2014/chart" uri="{C3380CC4-5D6E-409C-BE32-E72D297353CC}">
                <c16:uniqueId val="{00000081-2993-41DE-A2CB-63102DE87051}"/>
              </c:ext>
            </c:extLst>
          </c:dPt>
          <c:dPt>
            <c:idx val="37"/>
            <c:invertIfNegative val="1"/>
            <c:bubble3D val="0"/>
            <c:spPr>
              <a:solidFill>
                <a:srgbClr val="7ECAC4"/>
              </a:solidFill>
            </c:spPr>
            <c:extLst>
              <c:ext xmlns:c16="http://schemas.microsoft.com/office/drawing/2014/chart" uri="{C3380CC4-5D6E-409C-BE32-E72D297353CC}">
                <c16:uniqueId val="{00000083-2993-41DE-A2CB-63102DE87051}"/>
              </c:ext>
            </c:extLst>
          </c:dPt>
          <c:dPt>
            <c:idx val="38"/>
            <c:invertIfNegative val="1"/>
            <c:bubble3D val="0"/>
            <c:spPr>
              <a:solidFill>
                <a:srgbClr val="7ECAC4"/>
              </a:solidFill>
            </c:spPr>
            <c:extLst>
              <c:ext xmlns:c16="http://schemas.microsoft.com/office/drawing/2014/chart" uri="{C3380CC4-5D6E-409C-BE32-E72D297353CC}">
                <c16:uniqueId val="{00000085-2993-41DE-A2CB-63102DE87051}"/>
              </c:ext>
            </c:extLst>
          </c:dPt>
          <c:dPt>
            <c:idx val="39"/>
            <c:invertIfNegative val="1"/>
            <c:bubble3D val="0"/>
            <c:spPr>
              <a:solidFill>
                <a:srgbClr val="7ECAC4"/>
              </a:solidFill>
            </c:spPr>
            <c:extLst>
              <c:ext xmlns:c16="http://schemas.microsoft.com/office/drawing/2014/chart" uri="{C3380CC4-5D6E-409C-BE32-E72D297353CC}">
                <c16:uniqueId val="{00000087-2993-41DE-A2CB-63102DE87051}"/>
              </c:ext>
            </c:extLst>
          </c:dPt>
          <c:dPt>
            <c:idx val="40"/>
            <c:invertIfNegative val="1"/>
            <c:bubble3D val="0"/>
            <c:spPr>
              <a:solidFill>
                <a:srgbClr val="7ECAC4"/>
              </a:solidFill>
            </c:spPr>
            <c:extLst>
              <c:ext xmlns:c16="http://schemas.microsoft.com/office/drawing/2014/chart" uri="{C3380CC4-5D6E-409C-BE32-E72D297353CC}">
                <c16:uniqueId val="{00000089-2993-41DE-A2CB-63102DE87051}"/>
              </c:ext>
            </c:extLst>
          </c:dPt>
          <c:dPt>
            <c:idx val="41"/>
            <c:invertIfNegative val="1"/>
            <c:bubble3D val="0"/>
            <c:spPr>
              <a:solidFill>
                <a:srgbClr val="AEABAB"/>
              </a:solidFill>
            </c:spPr>
            <c:extLst>
              <c:ext xmlns:c16="http://schemas.microsoft.com/office/drawing/2014/chart" uri="{C3380CC4-5D6E-409C-BE32-E72D297353CC}">
                <c16:uniqueId val="{0000008B-2993-41DE-A2CB-63102DE87051}"/>
              </c:ext>
            </c:extLst>
          </c:dPt>
          <c:dPt>
            <c:idx val="42"/>
            <c:invertIfNegative val="1"/>
            <c:bubble3D val="0"/>
            <c:spPr>
              <a:solidFill>
                <a:srgbClr val="AEABAB"/>
              </a:solidFill>
            </c:spPr>
            <c:extLst>
              <c:ext xmlns:c16="http://schemas.microsoft.com/office/drawing/2014/chart" uri="{C3380CC4-5D6E-409C-BE32-E72D297353CC}">
                <c16:uniqueId val="{0000008D-2993-41DE-A2CB-63102DE87051}"/>
              </c:ext>
            </c:extLst>
          </c:dPt>
          <c:dPt>
            <c:idx val="43"/>
            <c:invertIfNegative val="1"/>
            <c:bubble3D val="0"/>
            <c:spPr>
              <a:solidFill>
                <a:srgbClr val="AEABAB"/>
              </a:solidFill>
            </c:spPr>
            <c:extLst>
              <c:ext xmlns:c16="http://schemas.microsoft.com/office/drawing/2014/chart" uri="{C3380CC4-5D6E-409C-BE32-E72D297353CC}">
                <c16:uniqueId val="{0000008F-2993-41DE-A2CB-63102DE87051}"/>
              </c:ext>
            </c:extLst>
          </c:dPt>
          <c:dPt>
            <c:idx val="44"/>
            <c:invertIfNegative val="1"/>
            <c:bubble3D val="0"/>
            <c:spPr>
              <a:solidFill>
                <a:srgbClr val="AEABAB"/>
              </a:solidFill>
            </c:spPr>
            <c:extLst>
              <c:ext xmlns:c16="http://schemas.microsoft.com/office/drawing/2014/chart" uri="{C3380CC4-5D6E-409C-BE32-E72D297353CC}">
                <c16:uniqueId val="{00000091-2993-41DE-A2CB-63102DE87051}"/>
              </c:ext>
            </c:extLst>
          </c:dPt>
          <c:dPt>
            <c:idx val="45"/>
            <c:invertIfNegative val="1"/>
            <c:bubble3D val="0"/>
            <c:spPr>
              <a:solidFill>
                <a:srgbClr val="AEABAB"/>
              </a:solidFill>
            </c:spPr>
            <c:extLst>
              <c:ext xmlns:c16="http://schemas.microsoft.com/office/drawing/2014/chart" uri="{C3380CC4-5D6E-409C-BE32-E72D297353CC}">
                <c16:uniqueId val="{00000093-2993-41DE-A2CB-63102DE87051}"/>
              </c:ext>
            </c:extLst>
          </c:dPt>
          <c:dPt>
            <c:idx val="46"/>
            <c:invertIfNegative val="1"/>
            <c:bubble3D val="0"/>
            <c:spPr>
              <a:solidFill>
                <a:srgbClr val="AEABAB"/>
              </a:solidFill>
            </c:spPr>
            <c:extLst>
              <c:ext xmlns:c16="http://schemas.microsoft.com/office/drawing/2014/chart" uri="{C3380CC4-5D6E-409C-BE32-E72D297353CC}">
                <c16:uniqueId val="{00000095-2993-41DE-A2CB-63102DE87051}"/>
              </c:ext>
            </c:extLst>
          </c:dPt>
          <c:dPt>
            <c:idx val="47"/>
            <c:invertIfNegative val="1"/>
            <c:bubble3D val="0"/>
            <c:spPr>
              <a:solidFill>
                <a:srgbClr val="AEABAB"/>
              </a:solidFill>
            </c:spPr>
            <c:extLst>
              <c:ext xmlns:c16="http://schemas.microsoft.com/office/drawing/2014/chart" uri="{C3380CC4-5D6E-409C-BE32-E72D297353CC}">
                <c16:uniqueId val="{00000097-2993-41DE-A2CB-63102DE87051}"/>
              </c:ext>
            </c:extLst>
          </c:dPt>
          <c:dPt>
            <c:idx val="48"/>
            <c:invertIfNegative val="1"/>
            <c:bubble3D val="0"/>
            <c:spPr>
              <a:solidFill>
                <a:srgbClr val="AEABAB"/>
              </a:solidFill>
            </c:spPr>
            <c:extLst>
              <c:ext xmlns:c16="http://schemas.microsoft.com/office/drawing/2014/chart" uri="{C3380CC4-5D6E-409C-BE32-E72D297353CC}">
                <c16:uniqueId val="{00000099-2993-41DE-A2CB-63102DE87051}"/>
              </c:ext>
            </c:extLst>
          </c:dPt>
          <c:dPt>
            <c:idx val="49"/>
            <c:invertIfNegative val="1"/>
            <c:bubble3D val="0"/>
            <c:spPr>
              <a:solidFill>
                <a:srgbClr val="AEABAB"/>
              </a:solidFill>
            </c:spPr>
            <c:extLst>
              <c:ext xmlns:c16="http://schemas.microsoft.com/office/drawing/2014/chart" uri="{C3380CC4-5D6E-409C-BE32-E72D297353CC}">
                <c16:uniqueId val="{0000009B-2993-41DE-A2CB-63102DE87051}"/>
              </c:ext>
            </c:extLst>
          </c:dPt>
          <c:dPt>
            <c:idx val="50"/>
            <c:invertIfNegative val="1"/>
            <c:bubble3D val="0"/>
            <c:spPr>
              <a:solidFill>
                <a:srgbClr val="AEABAB"/>
              </a:solidFill>
            </c:spPr>
            <c:extLst>
              <c:ext xmlns:c16="http://schemas.microsoft.com/office/drawing/2014/chart" uri="{C3380CC4-5D6E-409C-BE32-E72D297353CC}">
                <c16:uniqueId val="{0000009D-2993-41DE-A2CB-63102DE87051}"/>
              </c:ext>
            </c:extLst>
          </c:dPt>
          <c:dPt>
            <c:idx val="51"/>
            <c:invertIfNegative val="1"/>
            <c:bubble3D val="0"/>
            <c:spPr>
              <a:solidFill>
                <a:srgbClr val="AEABAB"/>
              </a:solidFill>
            </c:spPr>
            <c:extLst>
              <c:ext xmlns:c16="http://schemas.microsoft.com/office/drawing/2014/chart" uri="{C3380CC4-5D6E-409C-BE32-E72D297353CC}">
                <c16:uniqueId val="{0000009F-2993-41DE-A2CB-63102DE87051}"/>
              </c:ext>
            </c:extLst>
          </c:dPt>
          <c:dPt>
            <c:idx val="52"/>
            <c:invertIfNegative val="1"/>
            <c:bubble3D val="0"/>
            <c:spPr>
              <a:solidFill>
                <a:srgbClr val="AEABAB"/>
              </a:solidFill>
            </c:spPr>
            <c:extLst>
              <c:ext xmlns:c16="http://schemas.microsoft.com/office/drawing/2014/chart" uri="{C3380CC4-5D6E-409C-BE32-E72D297353CC}">
                <c16:uniqueId val="{000000A1-2993-41DE-A2CB-63102DE87051}"/>
              </c:ext>
            </c:extLst>
          </c:dPt>
          <c:dPt>
            <c:idx val="53"/>
            <c:invertIfNegative val="1"/>
            <c:bubble3D val="0"/>
            <c:spPr>
              <a:solidFill>
                <a:srgbClr val="AEABAB"/>
              </a:solidFill>
            </c:spPr>
            <c:extLst>
              <c:ext xmlns:c16="http://schemas.microsoft.com/office/drawing/2014/chart" uri="{C3380CC4-5D6E-409C-BE32-E72D297353CC}">
                <c16:uniqueId val="{000000A3-2993-41DE-A2CB-63102DE87051}"/>
              </c:ext>
            </c:extLst>
          </c:dPt>
          <c:dPt>
            <c:idx val="54"/>
            <c:invertIfNegative val="0"/>
            <c:bubble3D val="0"/>
            <c:spPr>
              <a:solidFill>
                <a:srgbClr val="AEABAB"/>
              </a:solidFill>
            </c:spPr>
            <c:extLst>
              <c:ext xmlns:c16="http://schemas.microsoft.com/office/drawing/2014/chart" uri="{C3380CC4-5D6E-409C-BE32-E72D297353CC}">
                <c16:uniqueId val="{00000072-C76F-4230-900D-40618C09729F}"/>
              </c:ext>
            </c:extLst>
          </c:dPt>
          <c:dPt>
            <c:idx val="55"/>
            <c:invertIfNegative val="0"/>
            <c:bubble3D val="0"/>
            <c:spPr>
              <a:solidFill>
                <a:srgbClr val="AEABAB"/>
              </a:solidFill>
            </c:spPr>
            <c:extLst>
              <c:ext xmlns:c16="http://schemas.microsoft.com/office/drawing/2014/chart" uri="{C3380CC4-5D6E-409C-BE32-E72D297353CC}">
                <c16:uniqueId val="{00000074-C76F-4230-900D-40618C09729F}"/>
              </c:ext>
            </c:extLst>
          </c:dPt>
          <c:dPt>
            <c:idx val="56"/>
            <c:invertIfNegative val="0"/>
            <c:bubble3D val="0"/>
            <c:spPr>
              <a:solidFill>
                <a:srgbClr val="AEABAB"/>
              </a:solidFill>
            </c:spPr>
            <c:extLst>
              <c:ext xmlns:c16="http://schemas.microsoft.com/office/drawing/2014/chart" uri="{C3380CC4-5D6E-409C-BE32-E72D297353CC}">
                <c16:uniqueId val="{00000076-C76F-4230-900D-40618C09729F}"/>
              </c:ext>
            </c:extLst>
          </c:dPt>
          <c:dPt>
            <c:idx val="57"/>
            <c:invertIfNegative val="0"/>
            <c:bubble3D val="0"/>
            <c:spPr>
              <a:solidFill>
                <a:srgbClr val="AEABAB"/>
              </a:solidFill>
            </c:spPr>
            <c:extLst>
              <c:ext xmlns:c16="http://schemas.microsoft.com/office/drawing/2014/chart" uri="{C3380CC4-5D6E-409C-BE32-E72D297353CC}">
                <c16:uniqueId val="{00000078-C76F-4230-900D-40618C09729F}"/>
              </c:ext>
            </c:extLst>
          </c:dPt>
          <c:dPt>
            <c:idx val="58"/>
            <c:invertIfNegative val="0"/>
            <c:bubble3D val="0"/>
            <c:spPr>
              <a:solidFill>
                <a:srgbClr val="AEABAB"/>
              </a:solidFill>
            </c:spPr>
            <c:extLst>
              <c:ext xmlns:c16="http://schemas.microsoft.com/office/drawing/2014/chart" uri="{C3380CC4-5D6E-409C-BE32-E72D297353CC}">
                <c16:uniqueId val="{0000007A-C76F-4230-900D-40618C09729F}"/>
              </c:ext>
            </c:extLst>
          </c:dPt>
          <c:dPt>
            <c:idx val="59"/>
            <c:invertIfNegative val="0"/>
            <c:bubble3D val="0"/>
            <c:spPr>
              <a:solidFill>
                <a:srgbClr val="AEABAB"/>
              </a:solidFill>
            </c:spPr>
            <c:extLst>
              <c:ext xmlns:c16="http://schemas.microsoft.com/office/drawing/2014/chart" uri="{C3380CC4-5D6E-409C-BE32-E72D297353CC}">
                <c16:uniqueId val="{0000007C-C76F-4230-900D-40618C09729F}"/>
              </c:ext>
            </c:extLst>
          </c:dPt>
          <c:dPt>
            <c:idx val="60"/>
            <c:invertIfNegative val="0"/>
            <c:bubble3D val="0"/>
            <c:spPr>
              <a:solidFill>
                <a:srgbClr val="AEABAB"/>
              </a:solidFill>
            </c:spPr>
            <c:extLst>
              <c:ext xmlns:c16="http://schemas.microsoft.com/office/drawing/2014/chart" uri="{C3380CC4-5D6E-409C-BE32-E72D297353CC}">
                <c16:uniqueId val="{0000007E-C76F-4230-900D-40618C09729F}"/>
              </c:ext>
            </c:extLst>
          </c:dPt>
          <c:dPt>
            <c:idx val="61"/>
            <c:invertIfNegative val="0"/>
            <c:bubble3D val="0"/>
            <c:spPr>
              <a:solidFill>
                <a:srgbClr val="AEABAB"/>
              </a:solidFill>
            </c:spPr>
            <c:extLst>
              <c:ext xmlns:c16="http://schemas.microsoft.com/office/drawing/2014/chart" uri="{C3380CC4-5D6E-409C-BE32-E72D297353CC}">
                <c16:uniqueId val="{00000080-C76F-4230-900D-40618C09729F}"/>
              </c:ext>
            </c:extLst>
          </c:dPt>
          <c:dPt>
            <c:idx val="62"/>
            <c:invertIfNegative val="0"/>
            <c:bubble3D val="0"/>
            <c:spPr>
              <a:solidFill>
                <a:srgbClr val="AEABAB"/>
              </a:solidFill>
            </c:spPr>
            <c:extLst>
              <c:ext xmlns:c16="http://schemas.microsoft.com/office/drawing/2014/chart" uri="{C3380CC4-5D6E-409C-BE32-E72D297353CC}">
                <c16:uniqueId val="{00000082-C76F-4230-900D-40618C09729F}"/>
              </c:ext>
            </c:extLst>
          </c:dPt>
          <c:dPt>
            <c:idx val="63"/>
            <c:invertIfNegative val="0"/>
            <c:bubble3D val="0"/>
            <c:spPr>
              <a:solidFill>
                <a:srgbClr val="AEABAB"/>
              </a:solidFill>
            </c:spPr>
            <c:extLst>
              <c:ext xmlns:c16="http://schemas.microsoft.com/office/drawing/2014/chart" uri="{C3380CC4-5D6E-409C-BE32-E72D297353CC}">
                <c16:uniqueId val="{00000084-C76F-4230-900D-40618C09729F}"/>
              </c:ext>
            </c:extLst>
          </c:dPt>
          <c:dPt>
            <c:idx val="64"/>
            <c:invertIfNegative val="0"/>
            <c:bubble3D val="0"/>
            <c:spPr>
              <a:solidFill>
                <a:srgbClr val="AEABAB"/>
              </a:solidFill>
            </c:spPr>
            <c:extLst>
              <c:ext xmlns:c16="http://schemas.microsoft.com/office/drawing/2014/chart" uri="{C3380CC4-5D6E-409C-BE32-E72D297353CC}">
                <c16:uniqueId val="{00000086-C76F-4230-900D-40618C09729F}"/>
              </c:ext>
            </c:extLst>
          </c:dPt>
          <c:dPt>
            <c:idx val="65"/>
            <c:invertIfNegative val="0"/>
            <c:bubble3D val="0"/>
            <c:spPr>
              <a:solidFill>
                <a:srgbClr val="AEABAB"/>
              </a:solidFill>
            </c:spPr>
            <c:extLst>
              <c:ext xmlns:c16="http://schemas.microsoft.com/office/drawing/2014/chart" uri="{C3380CC4-5D6E-409C-BE32-E72D297353CC}">
                <c16:uniqueId val="{00000088-C76F-4230-900D-40618C09729F}"/>
              </c:ext>
            </c:extLst>
          </c:dPt>
          <c:dPt>
            <c:idx val="66"/>
            <c:invertIfNegative val="0"/>
            <c:bubble3D val="0"/>
            <c:spPr>
              <a:solidFill>
                <a:srgbClr val="AEABAB"/>
              </a:solidFill>
            </c:spPr>
            <c:extLst>
              <c:ext xmlns:c16="http://schemas.microsoft.com/office/drawing/2014/chart" uri="{C3380CC4-5D6E-409C-BE32-E72D297353CC}">
                <c16:uniqueId val="{0000008A-C76F-4230-900D-40618C09729F}"/>
              </c:ext>
            </c:extLst>
          </c:dPt>
          <c:dPt>
            <c:idx val="67"/>
            <c:invertIfNegative val="0"/>
            <c:bubble3D val="0"/>
            <c:spPr>
              <a:solidFill>
                <a:srgbClr val="AEABAB"/>
              </a:solidFill>
            </c:spPr>
            <c:extLst>
              <c:ext xmlns:c16="http://schemas.microsoft.com/office/drawing/2014/chart" uri="{C3380CC4-5D6E-409C-BE32-E72D297353CC}">
                <c16:uniqueId val="{0000008C-C76F-4230-900D-40618C09729F}"/>
              </c:ext>
            </c:extLst>
          </c:dPt>
          <c:dPt>
            <c:idx val="68"/>
            <c:invertIfNegative val="0"/>
            <c:bubble3D val="0"/>
            <c:spPr>
              <a:solidFill>
                <a:srgbClr val="AEABAB"/>
              </a:solidFill>
            </c:spPr>
            <c:extLst>
              <c:ext xmlns:c16="http://schemas.microsoft.com/office/drawing/2014/chart" uri="{C3380CC4-5D6E-409C-BE32-E72D297353CC}">
                <c16:uniqueId val="{0000008E-C76F-4230-900D-40618C09729F}"/>
              </c:ext>
            </c:extLst>
          </c:dPt>
          <c:dPt>
            <c:idx val="69"/>
            <c:invertIfNegative val="0"/>
            <c:bubble3D val="0"/>
            <c:spPr>
              <a:solidFill>
                <a:srgbClr val="AEABAB"/>
              </a:solidFill>
            </c:spPr>
            <c:extLst>
              <c:ext xmlns:c16="http://schemas.microsoft.com/office/drawing/2014/chart" uri="{C3380CC4-5D6E-409C-BE32-E72D297353CC}">
                <c16:uniqueId val="{00000090-C76F-4230-900D-40618C09729F}"/>
              </c:ext>
            </c:extLst>
          </c:dPt>
          <c:dPt>
            <c:idx val="70"/>
            <c:invertIfNegative val="0"/>
            <c:bubble3D val="0"/>
            <c:spPr>
              <a:solidFill>
                <a:srgbClr val="AEABAB"/>
              </a:solidFill>
            </c:spPr>
            <c:extLst>
              <c:ext xmlns:c16="http://schemas.microsoft.com/office/drawing/2014/chart" uri="{C3380CC4-5D6E-409C-BE32-E72D297353CC}">
                <c16:uniqueId val="{00000092-C76F-4230-900D-40618C09729F}"/>
              </c:ext>
            </c:extLst>
          </c:dPt>
          <c:dPt>
            <c:idx val="71"/>
            <c:invertIfNegative val="0"/>
            <c:bubble3D val="0"/>
            <c:spPr>
              <a:solidFill>
                <a:srgbClr val="AEABAB"/>
              </a:solidFill>
            </c:spPr>
            <c:extLst>
              <c:ext xmlns:c16="http://schemas.microsoft.com/office/drawing/2014/chart" uri="{C3380CC4-5D6E-409C-BE32-E72D297353CC}">
                <c16:uniqueId val="{00000094-C76F-4230-900D-40618C09729F}"/>
              </c:ext>
            </c:extLst>
          </c:dPt>
          <c:dPt>
            <c:idx val="72"/>
            <c:invertIfNegative val="0"/>
            <c:bubble3D val="0"/>
            <c:spPr>
              <a:solidFill>
                <a:srgbClr val="AEABAB"/>
              </a:solidFill>
            </c:spPr>
            <c:extLst>
              <c:ext xmlns:c16="http://schemas.microsoft.com/office/drawing/2014/chart" uri="{C3380CC4-5D6E-409C-BE32-E72D297353CC}">
                <c16:uniqueId val="{00000096-C76F-4230-900D-40618C09729F}"/>
              </c:ext>
            </c:extLst>
          </c:dPt>
          <c:dPt>
            <c:idx val="73"/>
            <c:invertIfNegative val="0"/>
            <c:bubble3D val="0"/>
            <c:spPr>
              <a:solidFill>
                <a:srgbClr val="AEABAB"/>
              </a:solidFill>
            </c:spPr>
            <c:extLst>
              <c:ext xmlns:c16="http://schemas.microsoft.com/office/drawing/2014/chart" uri="{C3380CC4-5D6E-409C-BE32-E72D297353CC}">
                <c16:uniqueId val="{00000098-C76F-4230-900D-40618C09729F}"/>
              </c:ext>
            </c:extLst>
          </c:dPt>
          <c:dPt>
            <c:idx val="74"/>
            <c:invertIfNegative val="0"/>
            <c:bubble3D val="0"/>
            <c:spPr>
              <a:solidFill>
                <a:srgbClr val="AEABAB"/>
              </a:solidFill>
            </c:spPr>
            <c:extLst>
              <c:ext xmlns:c16="http://schemas.microsoft.com/office/drawing/2014/chart" uri="{C3380CC4-5D6E-409C-BE32-E72D297353CC}">
                <c16:uniqueId val="{0000009A-C76F-4230-900D-40618C09729F}"/>
              </c:ext>
            </c:extLst>
          </c:dPt>
          <c:dPt>
            <c:idx val="75"/>
            <c:invertIfNegative val="0"/>
            <c:bubble3D val="0"/>
            <c:spPr>
              <a:solidFill>
                <a:srgbClr val="AEABAB"/>
              </a:solidFill>
            </c:spPr>
            <c:extLst>
              <c:ext xmlns:c16="http://schemas.microsoft.com/office/drawing/2014/chart" uri="{C3380CC4-5D6E-409C-BE32-E72D297353CC}">
                <c16:uniqueId val="{0000009C-C76F-4230-900D-40618C09729F}"/>
              </c:ext>
            </c:extLst>
          </c:dPt>
          <c:dPt>
            <c:idx val="76"/>
            <c:invertIfNegative val="0"/>
            <c:bubble3D val="0"/>
            <c:spPr>
              <a:solidFill>
                <a:srgbClr val="AEABAB"/>
              </a:solidFill>
            </c:spPr>
            <c:extLst>
              <c:ext xmlns:c16="http://schemas.microsoft.com/office/drawing/2014/chart" uri="{C3380CC4-5D6E-409C-BE32-E72D297353CC}">
                <c16:uniqueId val="{0000009E-C76F-4230-900D-40618C09729F}"/>
              </c:ext>
            </c:extLst>
          </c:dPt>
          <c:dPt>
            <c:idx val="77"/>
            <c:invertIfNegative val="0"/>
            <c:bubble3D val="0"/>
            <c:spPr>
              <a:solidFill>
                <a:srgbClr val="AEABAB"/>
              </a:solidFill>
            </c:spPr>
            <c:extLst>
              <c:ext xmlns:c16="http://schemas.microsoft.com/office/drawing/2014/chart" uri="{C3380CC4-5D6E-409C-BE32-E72D297353CC}">
                <c16:uniqueId val="{000000A0-C76F-4230-900D-40618C09729F}"/>
              </c:ext>
            </c:extLst>
          </c:dPt>
          <c:dPt>
            <c:idx val="78"/>
            <c:invertIfNegative val="0"/>
            <c:bubble3D val="0"/>
            <c:spPr>
              <a:solidFill>
                <a:srgbClr val="AEABAB"/>
              </a:solidFill>
            </c:spPr>
            <c:extLst>
              <c:ext xmlns:c16="http://schemas.microsoft.com/office/drawing/2014/chart" uri="{C3380CC4-5D6E-409C-BE32-E72D297353CC}">
                <c16:uniqueId val="{000000A2-C76F-4230-900D-40618C09729F}"/>
              </c:ext>
            </c:extLst>
          </c:dPt>
          <c:dPt>
            <c:idx val="79"/>
            <c:invertIfNegative val="0"/>
            <c:bubble3D val="0"/>
            <c:spPr>
              <a:solidFill>
                <a:srgbClr val="AEABAB"/>
              </a:solidFill>
            </c:spPr>
            <c:extLst>
              <c:ext xmlns:c16="http://schemas.microsoft.com/office/drawing/2014/chart" uri="{C3380CC4-5D6E-409C-BE32-E72D297353CC}">
                <c16:uniqueId val="{000000A4-C76F-4230-900D-40618C09729F}"/>
              </c:ext>
            </c:extLst>
          </c:dPt>
          <c:dPt>
            <c:idx val="80"/>
            <c:invertIfNegative val="0"/>
            <c:bubble3D val="0"/>
            <c:spPr>
              <a:solidFill>
                <a:srgbClr val="AEABAB"/>
              </a:solidFill>
            </c:spPr>
            <c:extLst>
              <c:ext xmlns:c16="http://schemas.microsoft.com/office/drawing/2014/chart" uri="{C3380CC4-5D6E-409C-BE32-E72D297353CC}">
                <c16:uniqueId val="{000000A6-C76F-4230-900D-40618C09729F}"/>
              </c:ext>
            </c:extLst>
          </c:dPt>
          <c:dPt>
            <c:idx val="81"/>
            <c:invertIfNegative val="1"/>
            <c:bubble3D val="0"/>
            <c:spPr>
              <a:solidFill>
                <a:srgbClr val="AEABAB"/>
              </a:solidFill>
            </c:spPr>
            <c:extLst>
              <c:ext xmlns:c16="http://schemas.microsoft.com/office/drawing/2014/chart" uri="{C3380CC4-5D6E-409C-BE32-E72D297353CC}">
                <c16:uniqueId val="{000000A5-2993-41DE-A2CB-63102DE87051}"/>
              </c:ext>
            </c:extLst>
          </c:dPt>
          <c:dPt>
            <c:idx val="82"/>
            <c:invertIfNegative val="1"/>
            <c:bubble3D val="0"/>
            <c:spPr>
              <a:solidFill>
                <a:srgbClr val="AEABAB"/>
              </a:solidFill>
            </c:spPr>
            <c:extLst>
              <c:ext xmlns:c16="http://schemas.microsoft.com/office/drawing/2014/chart" uri="{C3380CC4-5D6E-409C-BE32-E72D297353CC}">
                <c16:uniqueId val="{000000A7-2993-41DE-A2CB-63102DE87051}"/>
              </c:ext>
            </c:extLst>
          </c:dPt>
          <c:dPt>
            <c:idx val="83"/>
            <c:invertIfNegative val="1"/>
            <c:bubble3D val="0"/>
            <c:spPr>
              <a:solidFill>
                <a:srgbClr val="AEABAB"/>
              </a:solidFill>
            </c:spPr>
            <c:extLst>
              <c:ext xmlns:c16="http://schemas.microsoft.com/office/drawing/2014/chart" uri="{C3380CC4-5D6E-409C-BE32-E72D297353CC}">
                <c16:uniqueId val="{000000A9-2993-41DE-A2CB-63102DE87051}"/>
              </c:ext>
            </c:extLst>
          </c:dPt>
          <c:dPt>
            <c:idx val="84"/>
            <c:invertIfNegative val="1"/>
            <c:bubble3D val="0"/>
            <c:spPr>
              <a:solidFill>
                <a:srgbClr val="AEABAB"/>
              </a:solidFill>
            </c:spPr>
            <c:extLst>
              <c:ext xmlns:c16="http://schemas.microsoft.com/office/drawing/2014/chart" uri="{C3380CC4-5D6E-409C-BE32-E72D297353CC}">
                <c16:uniqueId val="{000000AB-2993-41DE-A2CB-63102DE87051}"/>
              </c:ext>
            </c:extLst>
          </c:dPt>
          <c:dPt>
            <c:idx val="85"/>
            <c:invertIfNegative val="1"/>
            <c:bubble3D val="0"/>
            <c:spPr>
              <a:solidFill>
                <a:srgbClr val="AEABAB"/>
              </a:solidFill>
            </c:spPr>
            <c:extLst>
              <c:ext xmlns:c16="http://schemas.microsoft.com/office/drawing/2014/chart" uri="{C3380CC4-5D6E-409C-BE32-E72D297353CC}">
                <c16:uniqueId val="{000000AD-2993-41DE-A2CB-63102DE87051}"/>
              </c:ext>
            </c:extLst>
          </c:dPt>
          <c:dPt>
            <c:idx val="86"/>
            <c:invertIfNegative val="1"/>
            <c:bubble3D val="0"/>
            <c:spPr>
              <a:solidFill>
                <a:srgbClr val="AEABAB"/>
              </a:solidFill>
            </c:spPr>
            <c:extLst>
              <c:ext xmlns:c16="http://schemas.microsoft.com/office/drawing/2014/chart" uri="{C3380CC4-5D6E-409C-BE32-E72D297353CC}">
                <c16:uniqueId val="{000000AF-2993-41DE-A2CB-63102DE87051}"/>
              </c:ext>
            </c:extLst>
          </c:dPt>
          <c:dPt>
            <c:idx val="87"/>
            <c:invertIfNegative val="1"/>
            <c:bubble3D val="0"/>
            <c:spPr>
              <a:solidFill>
                <a:srgbClr val="AEABAB"/>
              </a:solidFill>
            </c:spPr>
            <c:extLst>
              <c:ext xmlns:c16="http://schemas.microsoft.com/office/drawing/2014/chart" uri="{C3380CC4-5D6E-409C-BE32-E72D297353CC}">
                <c16:uniqueId val="{000000B1-2993-41DE-A2CB-63102DE87051}"/>
              </c:ext>
            </c:extLst>
          </c:dPt>
          <c:dPt>
            <c:idx val="88"/>
            <c:invertIfNegative val="1"/>
            <c:bubble3D val="0"/>
            <c:spPr>
              <a:solidFill>
                <a:srgbClr val="AEABAB"/>
              </a:solidFill>
            </c:spPr>
            <c:extLst>
              <c:ext xmlns:c16="http://schemas.microsoft.com/office/drawing/2014/chart" uri="{C3380CC4-5D6E-409C-BE32-E72D297353CC}">
                <c16:uniqueId val="{000000B3-2993-41DE-A2CB-63102DE87051}"/>
              </c:ext>
            </c:extLst>
          </c:dPt>
          <c:dPt>
            <c:idx val="89"/>
            <c:invertIfNegative val="1"/>
            <c:bubble3D val="0"/>
            <c:spPr>
              <a:solidFill>
                <a:srgbClr val="AEABAB"/>
              </a:solidFill>
            </c:spPr>
            <c:extLst>
              <c:ext xmlns:c16="http://schemas.microsoft.com/office/drawing/2014/chart" uri="{C3380CC4-5D6E-409C-BE32-E72D297353CC}">
                <c16:uniqueId val="{000000B5-2993-41DE-A2CB-63102DE87051}"/>
              </c:ext>
            </c:extLst>
          </c:dPt>
          <c:dPt>
            <c:idx val="90"/>
            <c:invertIfNegative val="1"/>
            <c:bubble3D val="0"/>
            <c:spPr>
              <a:solidFill>
                <a:srgbClr val="AEABAB"/>
              </a:solidFill>
            </c:spPr>
            <c:extLst>
              <c:ext xmlns:c16="http://schemas.microsoft.com/office/drawing/2014/chart" uri="{C3380CC4-5D6E-409C-BE32-E72D297353CC}">
                <c16:uniqueId val="{000000B7-2993-41DE-A2CB-63102DE87051}"/>
              </c:ext>
            </c:extLst>
          </c:dPt>
          <c:dPt>
            <c:idx val="91"/>
            <c:invertIfNegative val="1"/>
            <c:bubble3D val="0"/>
            <c:spPr>
              <a:solidFill>
                <a:srgbClr val="AEABAB"/>
              </a:solidFill>
            </c:spPr>
            <c:extLst>
              <c:ext xmlns:c16="http://schemas.microsoft.com/office/drawing/2014/chart" uri="{C3380CC4-5D6E-409C-BE32-E72D297353CC}">
                <c16:uniqueId val="{000000B9-2993-41DE-A2CB-63102DE87051}"/>
              </c:ext>
            </c:extLst>
          </c:dPt>
          <c:dPt>
            <c:idx val="92"/>
            <c:invertIfNegative val="1"/>
            <c:bubble3D val="0"/>
            <c:spPr>
              <a:solidFill>
                <a:srgbClr val="AEABAB"/>
              </a:solidFill>
            </c:spPr>
            <c:extLst>
              <c:ext xmlns:c16="http://schemas.microsoft.com/office/drawing/2014/chart" uri="{C3380CC4-5D6E-409C-BE32-E72D297353CC}">
                <c16:uniqueId val="{000000BB-2993-41DE-A2CB-63102DE87051}"/>
              </c:ext>
            </c:extLst>
          </c:dPt>
          <c:dPt>
            <c:idx val="93"/>
            <c:invertIfNegative val="1"/>
            <c:bubble3D val="0"/>
            <c:spPr>
              <a:solidFill>
                <a:srgbClr val="AEABAB"/>
              </a:solidFill>
            </c:spPr>
            <c:extLst>
              <c:ext xmlns:c16="http://schemas.microsoft.com/office/drawing/2014/chart" uri="{C3380CC4-5D6E-409C-BE32-E72D297353CC}">
                <c16:uniqueId val="{000000BD-2993-41DE-A2CB-63102DE87051}"/>
              </c:ext>
            </c:extLst>
          </c:dPt>
          <c:dPt>
            <c:idx val="94"/>
            <c:invertIfNegative val="1"/>
            <c:bubble3D val="0"/>
            <c:spPr>
              <a:solidFill>
                <a:srgbClr val="AEABAB"/>
              </a:solidFill>
            </c:spPr>
            <c:extLst>
              <c:ext xmlns:c16="http://schemas.microsoft.com/office/drawing/2014/chart" uri="{C3380CC4-5D6E-409C-BE32-E72D297353CC}">
                <c16:uniqueId val="{000000BF-2993-41DE-A2CB-63102DE87051}"/>
              </c:ext>
            </c:extLst>
          </c:dPt>
          <c:dPt>
            <c:idx val="95"/>
            <c:invertIfNegative val="1"/>
            <c:bubble3D val="0"/>
            <c:spPr>
              <a:solidFill>
                <a:srgbClr val="AEABAB"/>
              </a:solidFill>
            </c:spPr>
            <c:extLst>
              <c:ext xmlns:c16="http://schemas.microsoft.com/office/drawing/2014/chart" uri="{C3380CC4-5D6E-409C-BE32-E72D297353CC}">
                <c16:uniqueId val="{000000C1-2993-41DE-A2CB-63102DE87051}"/>
              </c:ext>
            </c:extLst>
          </c:dPt>
          <c:dPt>
            <c:idx val="96"/>
            <c:invertIfNegative val="1"/>
            <c:bubble3D val="0"/>
            <c:spPr>
              <a:solidFill>
                <a:srgbClr val="AEABAB"/>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98</c:f>
              <c:strCache>
                <c:ptCount val="97"/>
                <c:pt idx="0">
                  <c:v>Ruinart</c:v>
                </c:pt>
                <c:pt idx="1">
                  <c:v>Nicolas</c:v>
                </c:pt>
                <c:pt idx="2">
                  <c:v>Deutz</c:v>
                </c:pt>
                <c:pt idx="3">
                  <c:v>Heidsieck &amp;</c:v>
                </c:pt>
                <c:pt idx="4">
                  <c:v>Ayala</c:v>
                </c:pt>
                <c:pt idx="5">
                  <c:v>De Bligny</c:v>
                </c:pt>
                <c:pt idx="6">
                  <c:v>Canard Duch</c:v>
                </c:pt>
                <c:pt idx="7">
                  <c:v>Besserat De</c:v>
                </c:pt>
                <c:pt idx="8">
                  <c:v>Laurent Per</c:v>
                </c:pt>
                <c:pt idx="9">
                  <c:v>Campari: Al</c:v>
                </c:pt>
                <c:pt idx="10">
                  <c:v>Bollinger</c:v>
                </c:pt>
                <c:pt idx="11">
                  <c:v>Deutz</c:v>
                </c:pt>
                <c:pt idx="12">
                  <c:v>Taittinger</c:v>
                </c:pt>
                <c:pt idx="13">
                  <c:v>Ruinart</c:v>
                </c:pt>
                <c:pt idx="14">
                  <c:v>Ruinart</c:v>
                </c:pt>
                <c:pt idx="15">
                  <c:v>Demoiselle</c:v>
                </c:pt>
                <c:pt idx="16">
                  <c:v>Savian</c:v>
                </c:pt>
                <c:pt idx="17">
                  <c:v>All Others</c:v>
                </c:pt>
                <c:pt idx="18">
                  <c:v>Perrier Jou</c:v>
                </c:pt>
                <c:pt idx="19">
                  <c:v>Laurent Per</c:v>
                </c:pt>
                <c:pt idx="20">
                  <c:v>Henriot</c:v>
                </c:pt>
                <c:pt idx="21">
                  <c:v>Roederer</c:v>
                </c:pt>
                <c:pt idx="22">
                  <c:v>Pommery</c:v>
                </c:pt>
                <c:pt idx="23">
                  <c:v>Roederer</c:v>
                </c:pt>
                <c:pt idx="24">
                  <c:v>Campari: Al</c:v>
                </c:pt>
                <c:pt idx="25">
                  <c:v>All Others</c:v>
                </c:pt>
                <c:pt idx="26">
                  <c:v>Nicolas</c:v>
                </c:pt>
                <c:pt idx="27">
                  <c:v>Moët &amp; Chan</c:v>
                </c:pt>
                <c:pt idx="28">
                  <c:v>Taittinger</c:v>
                </c:pt>
                <c:pt idx="29">
                  <c:v>Deutz</c:v>
                </c:pt>
                <c:pt idx="30">
                  <c:v>All Others</c:v>
                </c:pt>
                <c:pt idx="31">
                  <c:v>Ruinart</c:v>
                </c:pt>
                <c:pt idx="32">
                  <c:v>Henriot</c:v>
                </c:pt>
                <c:pt idx="33">
                  <c:v>Veuve Clicq</c:v>
                </c:pt>
                <c:pt idx="34">
                  <c:v>Veuve Clicq</c:v>
                </c:pt>
                <c:pt idx="35">
                  <c:v>Lanson</c:v>
                </c:pt>
                <c:pt idx="36">
                  <c:v>Veuve Clicq</c:v>
                </c:pt>
                <c:pt idx="37">
                  <c:v>Piper Heids</c:v>
                </c:pt>
                <c:pt idx="38">
                  <c:v>Canard Duch</c:v>
                </c:pt>
                <c:pt idx="39">
                  <c:v>De Venoge</c:v>
                </c:pt>
                <c:pt idx="40">
                  <c:v>Nicolas Feu</c:v>
                </c:pt>
                <c:pt idx="41">
                  <c:v>Krug</c:v>
                </c:pt>
                <c:pt idx="42">
                  <c:v>Canard Duch</c:v>
                </c:pt>
                <c:pt idx="43">
                  <c:v>Roederer</c:v>
                </c:pt>
                <c:pt idx="44">
                  <c:v>Bollinger</c:v>
                </c:pt>
                <c:pt idx="45">
                  <c:v>Roederer</c:v>
                </c:pt>
                <c:pt idx="46">
                  <c:v>Roederer</c:v>
                </c:pt>
                <c:pt idx="47">
                  <c:v>Nicolas</c:v>
                </c:pt>
                <c:pt idx="48">
                  <c:v>Nicolas</c:v>
                </c:pt>
                <c:pt idx="49">
                  <c:v>Canard Duch</c:v>
                </c:pt>
                <c:pt idx="50">
                  <c:v>De Venoge</c:v>
                </c:pt>
                <c:pt idx="51">
                  <c:v>Veuve Clicq</c:v>
                </c:pt>
                <c:pt idx="52">
                  <c:v>De Venoge</c:v>
                </c:pt>
                <c:pt idx="53">
                  <c:v>Vranken</c:v>
                </c:pt>
                <c:pt idx="54">
                  <c:v>Roederer</c:v>
                </c:pt>
                <c:pt idx="55">
                  <c:v>All Others</c:v>
                </c:pt>
                <c:pt idx="56">
                  <c:v>Nicolas</c:v>
                </c:pt>
                <c:pt idx="57">
                  <c:v>Nicolas Feu</c:v>
                </c:pt>
                <c:pt idx="58">
                  <c:v>Roederer</c:v>
                </c:pt>
                <c:pt idx="59">
                  <c:v>Canard Duch</c:v>
                </c:pt>
                <c:pt idx="60">
                  <c:v>Nicolas</c:v>
                </c:pt>
                <c:pt idx="61">
                  <c:v>Laurent Per</c:v>
                </c:pt>
                <c:pt idx="62">
                  <c:v>Demoiselle</c:v>
                </c:pt>
                <c:pt idx="63">
                  <c:v>Roederer</c:v>
                </c:pt>
                <c:pt idx="64">
                  <c:v>All Others</c:v>
                </c:pt>
                <c:pt idx="65">
                  <c:v>Deutz</c:v>
                </c:pt>
                <c:pt idx="66">
                  <c:v>Vranken</c:v>
                </c:pt>
                <c:pt idx="67">
                  <c:v>Moët &amp; Chan</c:v>
                </c:pt>
                <c:pt idx="68">
                  <c:v>Pommery</c:v>
                </c:pt>
                <c:pt idx="69">
                  <c:v>Ruinart</c:v>
                </c:pt>
                <c:pt idx="70">
                  <c:v>Ruinart</c:v>
                </c:pt>
                <c:pt idx="71">
                  <c:v>Piper Heids</c:v>
                </c:pt>
                <c:pt idx="72">
                  <c:v>Laurent Per</c:v>
                </c:pt>
                <c:pt idx="73">
                  <c:v>All Others</c:v>
                </c:pt>
                <c:pt idx="74">
                  <c:v>All Others</c:v>
                </c:pt>
                <c:pt idx="75">
                  <c:v>Nicolas</c:v>
                </c:pt>
                <c:pt idx="76">
                  <c:v>Canard Duch</c:v>
                </c:pt>
                <c:pt idx="77">
                  <c:v>Malard</c:v>
                </c:pt>
                <c:pt idx="78">
                  <c:v>Roederer</c:v>
                </c:pt>
                <c:pt idx="79">
                  <c:v>Pommery</c:v>
                </c:pt>
                <c:pt idx="80">
                  <c:v>Pommery</c:v>
                </c:pt>
                <c:pt idx="81">
                  <c:v>Bollinger</c:v>
                </c:pt>
                <c:pt idx="82">
                  <c:v>All Others</c:v>
                </c:pt>
                <c:pt idx="83">
                  <c:v>Moët &amp; Chan</c:v>
                </c:pt>
                <c:pt idx="84">
                  <c:v>Martel</c:v>
                </c:pt>
                <c:pt idx="85">
                  <c:v>Nicolas Feu</c:v>
                </c:pt>
                <c:pt idx="86">
                  <c:v>Roederer</c:v>
                </c:pt>
                <c:pt idx="87">
                  <c:v>De Venoge</c:v>
                </c:pt>
                <c:pt idx="88">
                  <c:v>Henriot</c:v>
                </c:pt>
                <c:pt idx="89">
                  <c:v>Roederer</c:v>
                </c:pt>
                <c:pt idx="90">
                  <c:v>Roederer</c:v>
                </c:pt>
                <c:pt idx="91">
                  <c:v>Bollinger</c:v>
                </c:pt>
                <c:pt idx="92">
                  <c:v>Lanson</c:v>
                </c:pt>
                <c:pt idx="93">
                  <c:v>All Others</c:v>
                </c:pt>
                <c:pt idx="94">
                  <c:v>Nicolas</c:v>
                </c:pt>
                <c:pt idx="95">
                  <c:v>Demoiselle</c:v>
                </c:pt>
                <c:pt idx="96">
                  <c:v>Ayala</c:v>
                </c:pt>
              </c:strCache>
            </c:strRef>
          </c:cat>
          <c:val>
            <c:numRef>
              <c:f>Sheet1!$C$2:$C$98</c:f>
              <c:numCache>
                <c:formatCode>General</c:formatCode>
                <c:ptCount val="97"/>
                <c:pt idx="0">
                  <c:v>0.13534443321044276</c:v>
                </c:pt>
                <c:pt idx="1">
                  <c:v>0.26198452270656575</c:v>
                </c:pt>
                <c:pt idx="2">
                  <c:v>0.34265866532371225</c:v>
                </c:pt>
                <c:pt idx="3">
                  <c:v>0.41265785801332444</c:v>
                </c:pt>
                <c:pt idx="4">
                  <c:v>0.46353840298627957</c:v>
                </c:pt>
                <c:pt idx="5">
                  <c:v>0.5135985668318449</c:v>
                </c:pt>
                <c:pt idx="6">
                  <c:v>0.54388654598017094</c:v>
                </c:pt>
                <c:pt idx="7">
                  <c:v>0.5709237553003772</c:v>
                </c:pt>
                <c:pt idx="8">
                  <c:v>0.59575431622732333</c:v>
                </c:pt>
                <c:pt idx="9">
                  <c:v>0.61953921798533784</c:v>
                </c:pt>
                <c:pt idx="10">
                  <c:v>0.64296813430569399</c:v>
                </c:pt>
                <c:pt idx="11">
                  <c:v>0.66627787623547341</c:v>
                </c:pt>
                <c:pt idx="12">
                  <c:v>0.68830207248109565</c:v>
                </c:pt>
                <c:pt idx="13">
                  <c:v>0.7093475009899165</c:v>
                </c:pt>
                <c:pt idx="14">
                  <c:v>0.72782491359856705</c:v>
                </c:pt>
                <c:pt idx="15">
                  <c:v>0.74538583670033043</c:v>
                </c:pt>
                <c:pt idx="16">
                  <c:v>0.76101844127585816</c:v>
                </c:pt>
                <c:pt idx="17">
                  <c:v>0.77476040180991324</c:v>
                </c:pt>
                <c:pt idx="18">
                  <c:v>0.78825017395616714</c:v>
                </c:pt>
                <c:pt idx="19">
                  <c:v>0.8014408568254251</c:v>
                </c:pt>
                <c:pt idx="20">
                  <c:v>0.81342903165041169</c:v>
                </c:pt>
                <c:pt idx="21">
                  <c:v>0.8248567024061696</c:v>
                </c:pt>
                <c:pt idx="22">
                  <c:v>0.83538787419797578</c:v>
                </c:pt>
                <c:pt idx="23">
                  <c:v>0.84506022151059323</c:v>
                </c:pt>
                <c:pt idx="24">
                  <c:v>0.85418744209470154</c:v>
                </c:pt>
                <c:pt idx="25">
                  <c:v>0.8628641065957261</c:v>
                </c:pt>
                <c:pt idx="26">
                  <c:v>0.87104408299150804</c:v>
                </c:pt>
                <c:pt idx="27">
                  <c:v>0.87886653621555977</c:v>
                </c:pt>
                <c:pt idx="28">
                  <c:v>0.88657673485235855</c:v>
                </c:pt>
                <c:pt idx="29">
                  <c:v>0.89294679824544565</c:v>
                </c:pt>
                <c:pt idx="30">
                  <c:v>0.89888014516209658</c:v>
                </c:pt>
                <c:pt idx="31">
                  <c:v>0.9045343933446871</c:v>
                </c:pt>
                <c:pt idx="32">
                  <c:v>0.90973654771012191</c:v>
                </c:pt>
                <c:pt idx="33">
                  <c:v>0.9148295229564477</c:v>
                </c:pt>
                <c:pt idx="34">
                  <c:v>0.9198517624354634</c:v>
                </c:pt>
                <c:pt idx="35">
                  <c:v>0.92466256347958486</c:v>
                </c:pt>
                <c:pt idx="36">
                  <c:v>0.92932881752094221</c:v>
                </c:pt>
                <c:pt idx="37">
                  <c:v>0.93396124141271653</c:v>
                </c:pt>
                <c:pt idx="38">
                  <c:v>0.93831994863968227</c:v>
                </c:pt>
                <c:pt idx="39">
                  <c:v>0.94235188737635689</c:v>
                </c:pt>
                <c:pt idx="40">
                  <c:v>0.94633692522383672</c:v>
                </c:pt>
                <c:pt idx="41">
                  <c:v>0.95011052463642232</c:v>
                </c:pt>
                <c:pt idx="42">
                  <c:v>0.95381492601576978</c:v>
                </c:pt>
                <c:pt idx="43">
                  <c:v>0.95740322847268444</c:v>
                </c:pt>
                <c:pt idx="44">
                  <c:v>0.96090772442267736</c:v>
                </c:pt>
                <c:pt idx="45">
                  <c:v>0.96427843750840991</c:v>
                </c:pt>
                <c:pt idx="46">
                  <c:v>0.96736005658861424</c:v>
                </c:pt>
                <c:pt idx="47">
                  <c:v>0.97023177496799629</c:v>
                </c:pt>
                <c:pt idx="48">
                  <c:v>0.97279825313409463</c:v>
                </c:pt>
                <c:pt idx="49">
                  <c:v>0.97511792498164362</c:v>
                </c:pt>
                <c:pt idx="50">
                  <c:v>0.97690477197325909</c:v>
                </c:pt>
                <c:pt idx="51">
                  <c:v>0.97850939747734755</c:v>
                </c:pt>
                <c:pt idx="52">
                  <c:v>0.98009864564071647</c:v>
                </c:pt>
                <c:pt idx="53">
                  <c:v>0.9816763607985457</c:v>
                </c:pt>
                <c:pt idx="54">
                  <c:v>0.98307723653809964</c:v>
                </c:pt>
                <c:pt idx="55">
                  <c:v>0.98442429158513511</c:v>
                </c:pt>
                <c:pt idx="56">
                  <c:v>0.98569830426375249</c:v>
                </c:pt>
                <c:pt idx="57">
                  <c:v>0.98695155753239849</c:v>
                </c:pt>
                <c:pt idx="58">
                  <c:v>0.98817021178442543</c:v>
                </c:pt>
                <c:pt idx="59">
                  <c:v>0.9893304321417179</c:v>
                </c:pt>
                <c:pt idx="60">
                  <c:v>0.99032073288405897</c:v>
                </c:pt>
                <c:pt idx="61">
                  <c:v>0.99122722711947842</c:v>
                </c:pt>
                <c:pt idx="62">
                  <c:v>0.99212449495046606</c:v>
                </c:pt>
                <c:pt idx="63">
                  <c:v>0.99270960276484621</c:v>
                </c:pt>
                <c:pt idx="64">
                  <c:v>0.99326088042964322</c:v>
                </c:pt>
                <c:pt idx="65">
                  <c:v>0.99373680912491436</c:v>
                </c:pt>
                <c:pt idx="66">
                  <c:v>0.99420735575093355</c:v>
                </c:pt>
                <c:pt idx="67">
                  <c:v>0.9946294637536861</c:v>
                </c:pt>
                <c:pt idx="68">
                  <c:v>0.99502773687832324</c:v>
                </c:pt>
                <c:pt idx="69">
                  <c:v>0.99538526005005357</c:v>
                </c:pt>
                <c:pt idx="70">
                  <c:v>0.9957266370140283</c:v>
                </c:pt>
                <c:pt idx="71">
                  <c:v>0.99599343387551309</c:v>
                </c:pt>
                <c:pt idx="72">
                  <c:v>0.99625792413588987</c:v>
                </c:pt>
                <c:pt idx="73">
                  <c:v>0.99652087666219469</c:v>
                </c:pt>
                <c:pt idx="74">
                  <c:v>0.99676768298074403</c:v>
                </c:pt>
                <c:pt idx="75">
                  <c:v>0.99699834309153779</c:v>
                </c:pt>
                <c:pt idx="76">
                  <c:v>0.99721747019679186</c:v>
                </c:pt>
                <c:pt idx="77">
                  <c:v>0.99743275296686607</c:v>
                </c:pt>
                <c:pt idx="78">
                  <c:v>0.99764496026879634</c:v>
                </c:pt>
                <c:pt idx="79">
                  <c:v>0.99785639870369058</c:v>
                </c:pt>
                <c:pt idx="80">
                  <c:v>0.9980670682715489</c:v>
                </c:pt>
                <c:pt idx="81">
                  <c:v>0.99826620483386752</c:v>
                </c:pt>
                <c:pt idx="82">
                  <c:v>0.99846380366211418</c:v>
                </c:pt>
                <c:pt idx="83">
                  <c:v>0.99865602042110901</c:v>
                </c:pt>
                <c:pt idx="84">
                  <c:v>0.99882824663716829</c:v>
                </c:pt>
                <c:pt idx="85">
                  <c:v>0.99899739738508375</c:v>
                </c:pt>
                <c:pt idx="86">
                  <c:v>0.99915117079227955</c:v>
                </c:pt>
                <c:pt idx="87">
                  <c:v>0.99928879799171977</c:v>
                </c:pt>
                <c:pt idx="88">
                  <c:v>0.99941796765376423</c:v>
                </c:pt>
                <c:pt idx="89">
                  <c:v>0.99952560903880128</c:v>
                </c:pt>
                <c:pt idx="90">
                  <c:v>0.99962709948755057</c:v>
                </c:pt>
                <c:pt idx="91">
                  <c:v>0.99972397673408397</c:v>
                </c:pt>
                <c:pt idx="92">
                  <c:v>0.99980701437396968</c:v>
                </c:pt>
                <c:pt idx="93">
                  <c:v>0.99988466994460357</c:v>
                </c:pt>
                <c:pt idx="94">
                  <c:v>0.99993541516897821</c:v>
                </c:pt>
                <c:pt idx="95">
                  <c:v>0.99996847645152531</c:v>
                </c:pt>
                <c:pt idx="96">
                  <c:v>1.000000000000000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113</c:f>
              <c:strCache>
                <c:ptCount val="112"/>
                <c:pt idx="0">
                  <c:v>Ruinart</c:v>
                </c:pt>
                <c:pt idx="1">
                  <c:v>Nicolas</c:v>
                </c:pt>
                <c:pt idx="2">
                  <c:v>Deutz</c:v>
                </c:pt>
                <c:pt idx="3">
                  <c:v>Ayala</c:v>
                </c:pt>
                <c:pt idx="4">
                  <c:v>All Others</c:v>
                </c:pt>
                <c:pt idx="5">
                  <c:v>Bollinger</c:v>
                </c:pt>
                <c:pt idx="6">
                  <c:v>De Bligny</c:v>
                </c:pt>
                <c:pt idx="7">
                  <c:v>Laurent Per</c:v>
                </c:pt>
                <c:pt idx="8">
                  <c:v>Heidsieck &amp;</c:v>
                </c:pt>
                <c:pt idx="9">
                  <c:v>Canard Duch</c:v>
                </c:pt>
                <c:pt idx="10">
                  <c:v>Ruinart</c:v>
                </c:pt>
                <c:pt idx="11">
                  <c:v>Taittinger</c:v>
                </c:pt>
                <c:pt idx="12">
                  <c:v>All Others</c:v>
                </c:pt>
                <c:pt idx="13">
                  <c:v>Demoiselle</c:v>
                </c:pt>
                <c:pt idx="14">
                  <c:v>Deutz</c:v>
                </c:pt>
                <c:pt idx="15">
                  <c:v>All Others</c:v>
                </c:pt>
                <c:pt idx="16">
                  <c:v>Ruinart</c:v>
                </c:pt>
                <c:pt idx="17">
                  <c:v>Perrier Jou</c:v>
                </c:pt>
                <c:pt idx="18">
                  <c:v>Pommery</c:v>
                </c:pt>
                <c:pt idx="19">
                  <c:v>Lanson-Bcc:</c:v>
                </c:pt>
                <c:pt idx="20">
                  <c:v>Campari: Al</c:v>
                </c:pt>
                <c:pt idx="21">
                  <c:v>All Others</c:v>
                </c:pt>
                <c:pt idx="22">
                  <c:v>Savian</c:v>
                </c:pt>
                <c:pt idx="23">
                  <c:v>Besserat De</c:v>
                </c:pt>
                <c:pt idx="24">
                  <c:v>All Others</c:v>
                </c:pt>
                <c:pt idx="25">
                  <c:v>Laurent Per</c:v>
                </c:pt>
                <c:pt idx="26">
                  <c:v>All Others</c:v>
                </c:pt>
                <c:pt idx="27">
                  <c:v>Taittinger</c:v>
                </c:pt>
                <c:pt idx="28">
                  <c:v>Roederer</c:v>
                </c:pt>
                <c:pt idx="29">
                  <c:v>Moët &amp; Chan</c:v>
                </c:pt>
                <c:pt idx="30">
                  <c:v>Roederer</c:v>
                </c:pt>
                <c:pt idx="31">
                  <c:v>Canard Duch</c:v>
                </c:pt>
                <c:pt idx="32">
                  <c:v>Bollinger</c:v>
                </c:pt>
                <c:pt idx="33">
                  <c:v>Veuve Clicq</c:v>
                </c:pt>
                <c:pt idx="34">
                  <c:v>Veuve Clicq</c:v>
                </c:pt>
                <c:pt idx="35">
                  <c:v>Vranken</c:v>
                </c:pt>
                <c:pt idx="36">
                  <c:v>Henriot</c:v>
                </c:pt>
                <c:pt idx="37">
                  <c:v>Ruinart</c:v>
                </c:pt>
                <c:pt idx="38">
                  <c:v>Lanson</c:v>
                </c:pt>
                <c:pt idx="39">
                  <c:v>De Venoge</c:v>
                </c:pt>
                <c:pt idx="40">
                  <c:v>Veuve Clicq</c:v>
                </c:pt>
                <c:pt idx="41">
                  <c:v>All Others</c:v>
                </c:pt>
                <c:pt idx="42">
                  <c:v>Deutz</c:v>
                </c:pt>
                <c:pt idx="43">
                  <c:v>Nicolas Feu</c:v>
                </c:pt>
                <c:pt idx="44">
                  <c:v>All Others</c:v>
                </c:pt>
                <c:pt idx="45">
                  <c:v>Piper Heids</c:v>
                </c:pt>
                <c:pt idx="46">
                  <c:v>Canard Duch</c:v>
                </c:pt>
                <c:pt idx="47">
                  <c:v>Henriot</c:v>
                </c:pt>
                <c:pt idx="48">
                  <c:v>Campari: Al</c:v>
                </c:pt>
                <c:pt idx="49">
                  <c:v>Canard Duch</c:v>
                </c:pt>
                <c:pt idx="50">
                  <c:v>Krug</c:v>
                </c:pt>
                <c:pt idx="51">
                  <c:v>All Others</c:v>
                </c:pt>
                <c:pt idx="52">
                  <c:v>De Venoge</c:v>
                </c:pt>
                <c:pt idx="53">
                  <c:v>Nicolas</c:v>
                </c:pt>
                <c:pt idx="54">
                  <c:v>Veuve Clicq</c:v>
                </c:pt>
                <c:pt idx="55">
                  <c:v>Canard Duch</c:v>
                </c:pt>
                <c:pt idx="56">
                  <c:v>Roederer</c:v>
                </c:pt>
                <c:pt idx="57">
                  <c:v>De Venoge</c:v>
                </c:pt>
                <c:pt idx="58">
                  <c:v>Nicolas</c:v>
                </c:pt>
                <c:pt idx="59">
                  <c:v>All Others</c:v>
                </c:pt>
                <c:pt idx="60">
                  <c:v>Nicolas</c:v>
                </c:pt>
                <c:pt idx="61">
                  <c:v>Ruinart</c:v>
                </c:pt>
                <c:pt idx="62">
                  <c:v>Roederer</c:v>
                </c:pt>
                <c:pt idx="63">
                  <c:v>Roederer</c:v>
                </c:pt>
                <c:pt idx="64">
                  <c:v>All Others</c:v>
                </c:pt>
                <c:pt idx="65">
                  <c:v>Nicolas Feu</c:v>
                </c:pt>
                <c:pt idx="66">
                  <c:v>Nicolas</c:v>
                </c:pt>
                <c:pt idx="67">
                  <c:v>Laurent Per</c:v>
                </c:pt>
                <c:pt idx="68">
                  <c:v>All Others</c:v>
                </c:pt>
                <c:pt idx="69">
                  <c:v>All Others</c:v>
                </c:pt>
                <c:pt idx="70">
                  <c:v>Moët &amp; Chan</c:v>
                </c:pt>
                <c:pt idx="71">
                  <c:v>Ruinart</c:v>
                </c:pt>
                <c:pt idx="72">
                  <c:v>Vranken</c:v>
                </c:pt>
                <c:pt idx="73">
                  <c:v>Moët &amp; Chan</c:v>
                </c:pt>
                <c:pt idx="74">
                  <c:v>Pommery</c:v>
                </c:pt>
                <c:pt idx="75">
                  <c:v>Roederer</c:v>
                </c:pt>
                <c:pt idx="76">
                  <c:v>Ruinart</c:v>
                </c:pt>
                <c:pt idx="77">
                  <c:v>Ruinart</c:v>
                </c:pt>
                <c:pt idx="78">
                  <c:v>Canard Duch</c:v>
                </c:pt>
                <c:pt idx="79">
                  <c:v>Nicolas</c:v>
                </c:pt>
                <c:pt idx="80">
                  <c:v>Pommery</c:v>
                </c:pt>
                <c:pt idx="81">
                  <c:v>Lanson</c:v>
                </c:pt>
                <c:pt idx="82">
                  <c:v>Roederer</c:v>
                </c:pt>
                <c:pt idx="83">
                  <c:v>Pommery</c:v>
                </c:pt>
                <c:pt idx="84">
                  <c:v>Demoiselle</c:v>
                </c:pt>
                <c:pt idx="85">
                  <c:v>Henriot</c:v>
                </c:pt>
                <c:pt idx="86">
                  <c:v>Laurent Per</c:v>
                </c:pt>
                <c:pt idx="87">
                  <c:v>Moët &amp; Chan</c:v>
                </c:pt>
                <c:pt idx="88">
                  <c:v>Laurent Per</c:v>
                </c:pt>
                <c:pt idx="89">
                  <c:v>All Others</c:v>
                </c:pt>
                <c:pt idx="90">
                  <c:v>Nicolas Feu</c:v>
                </c:pt>
                <c:pt idx="91">
                  <c:v>Roederer</c:v>
                </c:pt>
                <c:pt idx="92">
                  <c:v>Laurent Per</c:v>
                </c:pt>
                <c:pt idx="93">
                  <c:v>Malard</c:v>
                </c:pt>
                <c:pt idx="94">
                  <c:v>All Others</c:v>
                </c:pt>
                <c:pt idx="95">
                  <c:v>Nicolas</c:v>
                </c:pt>
                <c:pt idx="96">
                  <c:v>All Others</c:v>
                </c:pt>
                <c:pt idx="97">
                  <c:v>Roederer</c:v>
                </c:pt>
                <c:pt idx="98">
                  <c:v>Bollinger</c:v>
                </c:pt>
                <c:pt idx="99">
                  <c:v>Laurent Per</c:v>
                </c:pt>
                <c:pt idx="100">
                  <c:v>Bollinger</c:v>
                </c:pt>
                <c:pt idx="101">
                  <c:v>Roederer</c:v>
                </c:pt>
                <c:pt idx="102">
                  <c:v>Veuve Clicq</c:v>
                </c:pt>
                <c:pt idx="103">
                  <c:v>Nicolas Feu</c:v>
                </c:pt>
                <c:pt idx="104">
                  <c:v>All Others</c:v>
                </c:pt>
                <c:pt idx="105">
                  <c:v>Roederer</c:v>
                </c:pt>
                <c:pt idx="106">
                  <c:v>Lanson</c:v>
                </c:pt>
                <c:pt idx="107">
                  <c:v>Roederer</c:v>
                </c:pt>
                <c:pt idx="108">
                  <c:v>De Venoge</c:v>
                </c:pt>
                <c:pt idx="109">
                  <c:v>Piper Heids</c:v>
                </c:pt>
                <c:pt idx="110">
                  <c:v>Nicolas</c:v>
                </c:pt>
                <c:pt idx="111">
                  <c:v>Demoiselle</c:v>
                </c:pt>
              </c:strCache>
            </c:strRef>
          </c:cat>
          <c:val>
            <c:numRef>
              <c:f>Sheet1!$B$2:$B$113</c:f>
              <c:numCache>
                <c:formatCode>General</c:formatCode>
                <c:ptCount val="112"/>
                <c:pt idx="0">
                  <c:v>1</c:v>
                </c:pt>
                <c:pt idx="1">
                  <c:v>1</c:v>
                </c:pt>
                <c:pt idx="2">
                  <c:v>0.93</c:v>
                </c:pt>
                <c:pt idx="3">
                  <c:v>0.9</c:v>
                </c:pt>
                <c:pt idx="4">
                  <c:v>0.46</c:v>
                </c:pt>
                <c:pt idx="5">
                  <c:v>0.95</c:v>
                </c:pt>
                <c:pt idx="6">
                  <c:v>0.86</c:v>
                </c:pt>
                <c:pt idx="7">
                  <c:v>0.97</c:v>
                </c:pt>
                <c:pt idx="8">
                  <c:v>0.85</c:v>
                </c:pt>
                <c:pt idx="9">
                  <c:v>0.96</c:v>
                </c:pt>
                <c:pt idx="10">
                  <c:v>0.71</c:v>
                </c:pt>
                <c:pt idx="11">
                  <c:v>0.91</c:v>
                </c:pt>
                <c:pt idx="12">
                  <c:v>0.39</c:v>
                </c:pt>
                <c:pt idx="13">
                  <c:v>0.86</c:v>
                </c:pt>
                <c:pt idx="14">
                  <c:v>0.68</c:v>
                </c:pt>
                <c:pt idx="15">
                  <c:v>0.76</c:v>
                </c:pt>
                <c:pt idx="16">
                  <c:v>0.64</c:v>
                </c:pt>
                <c:pt idx="17">
                  <c:v>0.73</c:v>
                </c:pt>
                <c:pt idx="18">
                  <c:v>0.74</c:v>
                </c:pt>
                <c:pt idx="19">
                  <c:v>0.4</c:v>
                </c:pt>
                <c:pt idx="20">
                  <c:v>0.75</c:v>
                </c:pt>
                <c:pt idx="21">
                  <c:v>0.43</c:v>
                </c:pt>
                <c:pt idx="22">
                  <c:v>0.68</c:v>
                </c:pt>
                <c:pt idx="23">
                  <c:v>0.73</c:v>
                </c:pt>
                <c:pt idx="24">
                  <c:v>0.38</c:v>
                </c:pt>
                <c:pt idx="25">
                  <c:v>0.72</c:v>
                </c:pt>
                <c:pt idx="26">
                  <c:v>0.38</c:v>
                </c:pt>
                <c:pt idx="27">
                  <c:v>0.56000000000000005</c:v>
                </c:pt>
                <c:pt idx="28">
                  <c:v>0.55000000000000004</c:v>
                </c:pt>
                <c:pt idx="29">
                  <c:v>0.59</c:v>
                </c:pt>
                <c:pt idx="30">
                  <c:v>0.55000000000000004</c:v>
                </c:pt>
                <c:pt idx="31">
                  <c:v>0.6</c:v>
                </c:pt>
                <c:pt idx="32">
                  <c:v>0.36</c:v>
                </c:pt>
                <c:pt idx="33">
                  <c:v>0.52</c:v>
                </c:pt>
                <c:pt idx="34">
                  <c:v>0.43</c:v>
                </c:pt>
                <c:pt idx="35">
                  <c:v>0.5</c:v>
                </c:pt>
                <c:pt idx="36">
                  <c:v>0.46</c:v>
                </c:pt>
                <c:pt idx="37">
                  <c:v>0.54</c:v>
                </c:pt>
                <c:pt idx="38">
                  <c:v>0.44</c:v>
                </c:pt>
                <c:pt idx="39">
                  <c:v>0.49</c:v>
                </c:pt>
                <c:pt idx="40">
                  <c:v>0.5</c:v>
                </c:pt>
                <c:pt idx="41">
                  <c:v>0.48</c:v>
                </c:pt>
                <c:pt idx="42">
                  <c:v>0.56000000000000005</c:v>
                </c:pt>
                <c:pt idx="43">
                  <c:v>0.51</c:v>
                </c:pt>
                <c:pt idx="44">
                  <c:v>0.52</c:v>
                </c:pt>
                <c:pt idx="45">
                  <c:v>0.42</c:v>
                </c:pt>
                <c:pt idx="46">
                  <c:v>0.89</c:v>
                </c:pt>
                <c:pt idx="47">
                  <c:v>0.5</c:v>
                </c:pt>
                <c:pt idx="48">
                  <c:v>0.61</c:v>
                </c:pt>
                <c:pt idx="49">
                  <c:v>0.38</c:v>
                </c:pt>
                <c:pt idx="50">
                  <c:v>0.22</c:v>
                </c:pt>
                <c:pt idx="51">
                  <c:v>0.36</c:v>
                </c:pt>
                <c:pt idx="52">
                  <c:v>0.47</c:v>
                </c:pt>
                <c:pt idx="53">
                  <c:v>0.56999999999999995</c:v>
                </c:pt>
                <c:pt idx="54">
                  <c:v>0.23</c:v>
                </c:pt>
                <c:pt idx="55">
                  <c:v>0.45</c:v>
                </c:pt>
                <c:pt idx="56">
                  <c:v>0.32</c:v>
                </c:pt>
                <c:pt idx="57">
                  <c:v>0.28000000000000003</c:v>
                </c:pt>
                <c:pt idx="58">
                  <c:v>0.27</c:v>
                </c:pt>
                <c:pt idx="59">
                  <c:v>0.39</c:v>
                </c:pt>
                <c:pt idx="60">
                  <c:v>0.32</c:v>
                </c:pt>
                <c:pt idx="61">
                  <c:v>0.19</c:v>
                </c:pt>
                <c:pt idx="62">
                  <c:v>0.27</c:v>
                </c:pt>
                <c:pt idx="63">
                  <c:v>0.41</c:v>
                </c:pt>
                <c:pt idx="64">
                  <c:v>0.47</c:v>
                </c:pt>
                <c:pt idx="65">
                  <c:v>0.32</c:v>
                </c:pt>
                <c:pt idx="66">
                  <c:v>0.5</c:v>
                </c:pt>
                <c:pt idx="67">
                  <c:v>0.27</c:v>
                </c:pt>
                <c:pt idx="68">
                  <c:v>0.34</c:v>
                </c:pt>
                <c:pt idx="69">
                  <c:v>0.35</c:v>
                </c:pt>
                <c:pt idx="70">
                  <c:v>0.4</c:v>
                </c:pt>
                <c:pt idx="71">
                  <c:v>0.24</c:v>
                </c:pt>
                <c:pt idx="72">
                  <c:v>0.34</c:v>
                </c:pt>
                <c:pt idx="73">
                  <c:v>0.28000000000000003</c:v>
                </c:pt>
                <c:pt idx="74">
                  <c:v>0.34</c:v>
                </c:pt>
                <c:pt idx="75">
                  <c:v>0.15</c:v>
                </c:pt>
                <c:pt idx="76">
                  <c:v>0.18</c:v>
                </c:pt>
                <c:pt idx="77">
                  <c:v>0.13</c:v>
                </c:pt>
                <c:pt idx="78">
                  <c:v>0.25</c:v>
                </c:pt>
                <c:pt idx="79">
                  <c:v>0.28000000000000003</c:v>
                </c:pt>
                <c:pt idx="80">
                  <c:v>0.32</c:v>
                </c:pt>
                <c:pt idx="81">
                  <c:v>0.12</c:v>
                </c:pt>
                <c:pt idx="82">
                  <c:v>0.34</c:v>
                </c:pt>
                <c:pt idx="83">
                  <c:v>0.22</c:v>
                </c:pt>
                <c:pt idx="84">
                  <c:v>0.38</c:v>
                </c:pt>
                <c:pt idx="85">
                  <c:v>0.1</c:v>
                </c:pt>
                <c:pt idx="86">
                  <c:v>0.16</c:v>
                </c:pt>
                <c:pt idx="87">
                  <c:v>0.06</c:v>
                </c:pt>
                <c:pt idx="88">
                  <c:v>0.2</c:v>
                </c:pt>
                <c:pt idx="89">
                  <c:v>0.28000000000000003</c:v>
                </c:pt>
                <c:pt idx="90">
                  <c:v>0.03</c:v>
                </c:pt>
                <c:pt idx="91">
                  <c:v>0.06</c:v>
                </c:pt>
                <c:pt idx="92">
                  <c:v>0.09</c:v>
                </c:pt>
                <c:pt idx="93">
                  <c:v>0.11</c:v>
                </c:pt>
                <c:pt idx="94">
                  <c:v>0.23</c:v>
                </c:pt>
                <c:pt idx="95">
                  <c:v>0.15</c:v>
                </c:pt>
                <c:pt idx="96">
                  <c:v>0.09</c:v>
                </c:pt>
                <c:pt idx="97">
                  <c:v>0.14000000000000001</c:v>
                </c:pt>
                <c:pt idx="98">
                  <c:v>0.13</c:v>
                </c:pt>
                <c:pt idx="99">
                  <c:v>0.16</c:v>
                </c:pt>
                <c:pt idx="100">
                  <c:v>0.15</c:v>
                </c:pt>
                <c:pt idx="101">
                  <c:v>0.31</c:v>
                </c:pt>
                <c:pt idx="102">
                  <c:v>0.23</c:v>
                </c:pt>
                <c:pt idx="103">
                  <c:v>0.05</c:v>
                </c:pt>
                <c:pt idx="104">
                  <c:v>0.03</c:v>
                </c:pt>
                <c:pt idx="105">
                  <c:v>0.02</c:v>
                </c:pt>
                <c:pt idx="106">
                  <c:v>0.05</c:v>
                </c:pt>
                <c:pt idx="107">
                  <c:v>0.04</c:v>
                </c:pt>
                <c:pt idx="108">
                  <c:v>0.08</c:v>
                </c:pt>
                <c:pt idx="109">
                  <c:v>0.03</c:v>
                </c:pt>
                <c:pt idx="110">
                  <c:v>0.05</c:v>
                </c:pt>
                <c:pt idx="111">
                  <c:v>0.2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7ECAC4"/>
              </a:solidFill>
            </c:spPr>
            <c:extLst>
              <c:ext xmlns:c16="http://schemas.microsoft.com/office/drawing/2014/chart" uri="{C3380CC4-5D6E-409C-BE32-E72D297353CC}">
                <c16:uniqueId val="{00000075-2993-41DE-A2CB-63102DE87051}"/>
              </c:ext>
            </c:extLst>
          </c:dPt>
          <c:dPt>
            <c:idx val="31"/>
            <c:invertIfNegative val="1"/>
            <c:bubble3D val="0"/>
            <c:spPr>
              <a:solidFill>
                <a:srgbClr val="7ECAC4"/>
              </a:solidFill>
            </c:spPr>
            <c:extLst>
              <c:ext xmlns:c16="http://schemas.microsoft.com/office/drawing/2014/chart" uri="{C3380CC4-5D6E-409C-BE32-E72D297353CC}">
                <c16:uniqueId val="{00000077-2993-41DE-A2CB-63102DE87051}"/>
              </c:ext>
            </c:extLst>
          </c:dPt>
          <c:dPt>
            <c:idx val="32"/>
            <c:invertIfNegative val="1"/>
            <c:bubble3D val="0"/>
            <c:spPr>
              <a:solidFill>
                <a:srgbClr val="7ECAC4"/>
              </a:solidFill>
            </c:spPr>
            <c:extLst>
              <c:ext xmlns:c16="http://schemas.microsoft.com/office/drawing/2014/chart" uri="{C3380CC4-5D6E-409C-BE32-E72D297353CC}">
                <c16:uniqueId val="{00000079-2993-41DE-A2CB-63102DE87051}"/>
              </c:ext>
            </c:extLst>
          </c:dPt>
          <c:dPt>
            <c:idx val="33"/>
            <c:invertIfNegative val="1"/>
            <c:bubble3D val="0"/>
            <c:spPr>
              <a:solidFill>
                <a:srgbClr val="7ECAC4"/>
              </a:solidFill>
            </c:spPr>
            <c:extLst>
              <c:ext xmlns:c16="http://schemas.microsoft.com/office/drawing/2014/chart" uri="{C3380CC4-5D6E-409C-BE32-E72D297353CC}">
                <c16:uniqueId val="{0000007B-2993-41DE-A2CB-63102DE87051}"/>
              </c:ext>
            </c:extLst>
          </c:dPt>
          <c:dPt>
            <c:idx val="34"/>
            <c:invertIfNegative val="1"/>
            <c:bubble3D val="0"/>
            <c:spPr>
              <a:solidFill>
                <a:srgbClr val="7ECAC4"/>
              </a:solidFill>
            </c:spPr>
            <c:extLst>
              <c:ext xmlns:c16="http://schemas.microsoft.com/office/drawing/2014/chart" uri="{C3380CC4-5D6E-409C-BE32-E72D297353CC}">
                <c16:uniqueId val="{0000007D-2993-41DE-A2CB-63102DE87051}"/>
              </c:ext>
            </c:extLst>
          </c:dPt>
          <c:dPt>
            <c:idx val="35"/>
            <c:invertIfNegative val="1"/>
            <c:bubble3D val="0"/>
            <c:spPr>
              <a:solidFill>
                <a:srgbClr val="7ECAC4"/>
              </a:solidFill>
            </c:spPr>
            <c:extLst>
              <c:ext xmlns:c16="http://schemas.microsoft.com/office/drawing/2014/chart" uri="{C3380CC4-5D6E-409C-BE32-E72D297353CC}">
                <c16:uniqueId val="{0000007F-2993-41DE-A2CB-63102DE87051}"/>
              </c:ext>
            </c:extLst>
          </c:dPt>
          <c:dPt>
            <c:idx val="36"/>
            <c:invertIfNegative val="1"/>
            <c:bubble3D val="0"/>
            <c:spPr>
              <a:solidFill>
                <a:srgbClr val="7ECAC4"/>
              </a:solidFill>
            </c:spPr>
            <c:extLst>
              <c:ext xmlns:c16="http://schemas.microsoft.com/office/drawing/2014/chart" uri="{C3380CC4-5D6E-409C-BE32-E72D297353CC}">
                <c16:uniqueId val="{00000081-2993-41DE-A2CB-63102DE87051}"/>
              </c:ext>
            </c:extLst>
          </c:dPt>
          <c:dPt>
            <c:idx val="37"/>
            <c:invertIfNegative val="1"/>
            <c:bubble3D val="0"/>
            <c:spPr>
              <a:solidFill>
                <a:srgbClr val="7ECAC4"/>
              </a:solidFill>
            </c:spPr>
            <c:extLst>
              <c:ext xmlns:c16="http://schemas.microsoft.com/office/drawing/2014/chart" uri="{C3380CC4-5D6E-409C-BE32-E72D297353CC}">
                <c16:uniqueId val="{00000083-2993-41DE-A2CB-63102DE87051}"/>
              </c:ext>
            </c:extLst>
          </c:dPt>
          <c:dPt>
            <c:idx val="38"/>
            <c:invertIfNegative val="1"/>
            <c:bubble3D val="0"/>
            <c:spPr>
              <a:solidFill>
                <a:srgbClr val="7ECAC4"/>
              </a:solidFill>
            </c:spPr>
            <c:extLst>
              <c:ext xmlns:c16="http://schemas.microsoft.com/office/drawing/2014/chart" uri="{C3380CC4-5D6E-409C-BE32-E72D297353CC}">
                <c16:uniqueId val="{00000085-2993-41DE-A2CB-63102DE87051}"/>
              </c:ext>
            </c:extLst>
          </c:dPt>
          <c:dPt>
            <c:idx val="39"/>
            <c:invertIfNegative val="1"/>
            <c:bubble3D val="0"/>
            <c:spPr>
              <a:solidFill>
                <a:srgbClr val="7ECAC4"/>
              </a:solidFill>
            </c:spPr>
            <c:extLst>
              <c:ext xmlns:c16="http://schemas.microsoft.com/office/drawing/2014/chart" uri="{C3380CC4-5D6E-409C-BE32-E72D297353CC}">
                <c16:uniqueId val="{00000087-2993-41DE-A2CB-63102DE87051}"/>
              </c:ext>
            </c:extLst>
          </c:dPt>
          <c:dPt>
            <c:idx val="40"/>
            <c:invertIfNegative val="1"/>
            <c:bubble3D val="0"/>
            <c:spPr>
              <a:solidFill>
                <a:srgbClr val="7ECAC4"/>
              </a:solidFill>
            </c:spPr>
            <c:extLst>
              <c:ext xmlns:c16="http://schemas.microsoft.com/office/drawing/2014/chart" uri="{C3380CC4-5D6E-409C-BE32-E72D297353CC}">
                <c16:uniqueId val="{00000089-2993-41DE-A2CB-63102DE87051}"/>
              </c:ext>
            </c:extLst>
          </c:dPt>
          <c:dPt>
            <c:idx val="41"/>
            <c:invertIfNegative val="1"/>
            <c:bubble3D val="0"/>
            <c:spPr>
              <a:solidFill>
                <a:srgbClr val="7ECAC4"/>
              </a:solidFill>
            </c:spPr>
            <c:extLst>
              <c:ext xmlns:c16="http://schemas.microsoft.com/office/drawing/2014/chart" uri="{C3380CC4-5D6E-409C-BE32-E72D297353CC}">
                <c16:uniqueId val="{0000008B-2993-41DE-A2CB-63102DE87051}"/>
              </c:ext>
            </c:extLst>
          </c:dPt>
          <c:dPt>
            <c:idx val="42"/>
            <c:invertIfNegative val="1"/>
            <c:bubble3D val="0"/>
            <c:spPr>
              <a:solidFill>
                <a:srgbClr val="7ECAC4"/>
              </a:solidFill>
            </c:spPr>
            <c:extLst>
              <c:ext xmlns:c16="http://schemas.microsoft.com/office/drawing/2014/chart" uri="{C3380CC4-5D6E-409C-BE32-E72D297353CC}">
                <c16:uniqueId val="{0000008D-2993-41DE-A2CB-63102DE87051}"/>
              </c:ext>
            </c:extLst>
          </c:dPt>
          <c:dPt>
            <c:idx val="43"/>
            <c:invertIfNegative val="1"/>
            <c:bubble3D val="0"/>
            <c:spPr>
              <a:solidFill>
                <a:srgbClr val="7ECAC4"/>
              </a:solidFill>
            </c:spPr>
            <c:extLst>
              <c:ext xmlns:c16="http://schemas.microsoft.com/office/drawing/2014/chart" uri="{C3380CC4-5D6E-409C-BE32-E72D297353CC}">
                <c16:uniqueId val="{0000008F-2993-41DE-A2CB-63102DE87051}"/>
              </c:ext>
            </c:extLst>
          </c:dPt>
          <c:dPt>
            <c:idx val="44"/>
            <c:invertIfNegative val="1"/>
            <c:bubble3D val="0"/>
            <c:spPr>
              <a:solidFill>
                <a:srgbClr val="7ECAC4"/>
              </a:solidFill>
            </c:spPr>
            <c:extLst>
              <c:ext xmlns:c16="http://schemas.microsoft.com/office/drawing/2014/chart" uri="{C3380CC4-5D6E-409C-BE32-E72D297353CC}">
                <c16:uniqueId val="{00000091-2993-41DE-A2CB-63102DE87051}"/>
              </c:ext>
            </c:extLst>
          </c:dPt>
          <c:dPt>
            <c:idx val="45"/>
            <c:invertIfNegative val="1"/>
            <c:bubble3D val="0"/>
            <c:spPr>
              <a:solidFill>
                <a:srgbClr val="7ECAC4"/>
              </a:solidFill>
            </c:spPr>
            <c:extLst>
              <c:ext xmlns:c16="http://schemas.microsoft.com/office/drawing/2014/chart" uri="{C3380CC4-5D6E-409C-BE32-E72D297353CC}">
                <c16:uniqueId val="{00000093-2993-41DE-A2CB-63102DE87051}"/>
              </c:ext>
            </c:extLst>
          </c:dPt>
          <c:dPt>
            <c:idx val="46"/>
            <c:invertIfNegative val="1"/>
            <c:bubble3D val="0"/>
            <c:spPr>
              <a:solidFill>
                <a:srgbClr val="7ECAC4"/>
              </a:solidFill>
            </c:spPr>
            <c:extLst>
              <c:ext xmlns:c16="http://schemas.microsoft.com/office/drawing/2014/chart" uri="{C3380CC4-5D6E-409C-BE32-E72D297353CC}">
                <c16:uniqueId val="{00000095-2993-41DE-A2CB-63102DE87051}"/>
              </c:ext>
            </c:extLst>
          </c:dPt>
          <c:dPt>
            <c:idx val="47"/>
            <c:invertIfNegative val="1"/>
            <c:bubble3D val="0"/>
            <c:spPr>
              <a:solidFill>
                <a:srgbClr val="7ECAC4"/>
              </a:solidFill>
            </c:spPr>
            <c:extLst>
              <c:ext xmlns:c16="http://schemas.microsoft.com/office/drawing/2014/chart" uri="{C3380CC4-5D6E-409C-BE32-E72D297353CC}">
                <c16:uniqueId val="{00000097-2993-41DE-A2CB-63102DE87051}"/>
              </c:ext>
            </c:extLst>
          </c:dPt>
          <c:dPt>
            <c:idx val="48"/>
            <c:invertIfNegative val="1"/>
            <c:bubble3D val="0"/>
            <c:spPr>
              <a:solidFill>
                <a:srgbClr val="7ECAC4"/>
              </a:solidFill>
            </c:spPr>
            <c:extLst>
              <c:ext xmlns:c16="http://schemas.microsoft.com/office/drawing/2014/chart" uri="{C3380CC4-5D6E-409C-BE32-E72D297353CC}">
                <c16:uniqueId val="{00000099-2993-41DE-A2CB-63102DE87051}"/>
              </c:ext>
            </c:extLst>
          </c:dPt>
          <c:dPt>
            <c:idx val="49"/>
            <c:invertIfNegative val="1"/>
            <c:bubble3D val="0"/>
            <c:spPr>
              <a:solidFill>
                <a:srgbClr val="7ECAC4"/>
              </a:solidFill>
            </c:spPr>
            <c:extLst>
              <c:ext xmlns:c16="http://schemas.microsoft.com/office/drawing/2014/chart" uri="{C3380CC4-5D6E-409C-BE32-E72D297353CC}">
                <c16:uniqueId val="{0000009B-2993-41DE-A2CB-63102DE87051}"/>
              </c:ext>
            </c:extLst>
          </c:dPt>
          <c:dPt>
            <c:idx val="50"/>
            <c:invertIfNegative val="1"/>
            <c:bubble3D val="0"/>
            <c:spPr>
              <a:solidFill>
                <a:srgbClr val="7ECAC4"/>
              </a:solidFill>
            </c:spPr>
            <c:extLst>
              <c:ext xmlns:c16="http://schemas.microsoft.com/office/drawing/2014/chart" uri="{C3380CC4-5D6E-409C-BE32-E72D297353CC}">
                <c16:uniqueId val="{0000009D-2993-41DE-A2CB-63102DE87051}"/>
              </c:ext>
            </c:extLst>
          </c:dPt>
          <c:dPt>
            <c:idx val="51"/>
            <c:invertIfNegative val="1"/>
            <c:bubble3D val="0"/>
            <c:spPr>
              <a:solidFill>
                <a:srgbClr val="7ECAC4"/>
              </a:solidFill>
            </c:spPr>
            <c:extLst>
              <c:ext xmlns:c16="http://schemas.microsoft.com/office/drawing/2014/chart" uri="{C3380CC4-5D6E-409C-BE32-E72D297353CC}">
                <c16:uniqueId val="{0000009F-2993-41DE-A2CB-63102DE87051}"/>
              </c:ext>
            </c:extLst>
          </c:dPt>
          <c:dPt>
            <c:idx val="52"/>
            <c:invertIfNegative val="1"/>
            <c:bubble3D val="0"/>
            <c:spPr>
              <a:solidFill>
                <a:srgbClr val="7ECAC4"/>
              </a:solidFill>
            </c:spPr>
            <c:extLst>
              <c:ext xmlns:c16="http://schemas.microsoft.com/office/drawing/2014/chart" uri="{C3380CC4-5D6E-409C-BE32-E72D297353CC}">
                <c16:uniqueId val="{000000A1-2993-41DE-A2CB-63102DE87051}"/>
              </c:ext>
            </c:extLst>
          </c:dPt>
          <c:dPt>
            <c:idx val="53"/>
            <c:invertIfNegative val="1"/>
            <c:bubble3D val="0"/>
            <c:spPr>
              <a:solidFill>
                <a:srgbClr val="7ECAC4"/>
              </a:solidFill>
            </c:spPr>
            <c:extLst>
              <c:ext xmlns:c16="http://schemas.microsoft.com/office/drawing/2014/chart" uri="{C3380CC4-5D6E-409C-BE32-E72D297353CC}">
                <c16:uniqueId val="{000000A3-2993-41DE-A2CB-63102DE87051}"/>
              </c:ext>
            </c:extLst>
          </c:dPt>
          <c:dPt>
            <c:idx val="54"/>
            <c:invertIfNegative val="0"/>
            <c:bubble3D val="0"/>
            <c:spPr>
              <a:solidFill>
                <a:srgbClr val="7ECAC4"/>
              </a:solidFill>
            </c:spPr>
            <c:extLst>
              <c:ext xmlns:c16="http://schemas.microsoft.com/office/drawing/2014/chart" uri="{C3380CC4-5D6E-409C-BE32-E72D297353CC}">
                <c16:uniqueId val="{00000072-C76F-4230-900D-40618C09729F}"/>
              </c:ext>
            </c:extLst>
          </c:dPt>
          <c:dPt>
            <c:idx val="55"/>
            <c:invertIfNegative val="0"/>
            <c:bubble3D val="0"/>
            <c:spPr>
              <a:solidFill>
                <a:srgbClr val="7ECAC4"/>
              </a:solidFill>
            </c:spPr>
            <c:extLst>
              <c:ext xmlns:c16="http://schemas.microsoft.com/office/drawing/2014/chart" uri="{C3380CC4-5D6E-409C-BE32-E72D297353CC}">
                <c16:uniqueId val="{00000074-C76F-4230-900D-40618C09729F}"/>
              </c:ext>
            </c:extLst>
          </c:dPt>
          <c:dPt>
            <c:idx val="56"/>
            <c:invertIfNegative val="0"/>
            <c:bubble3D val="0"/>
            <c:spPr>
              <a:solidFill>
                <a:srgbClr val="AEABAB"/>
              </a:solidFill>
            </c:spPr>
            <c:extLst>
              <c:ext xmlns:c16="http://schemas.microsoft.com/office/drawing/2014/chart" uri="{C3380CC4-5D6E-409C-BE32-E72D297353CC}">
                <c16:uniqueId val="{00000076-C76F-4230-900D-40618C09729F}"/>
              </c:ext>
            </c:extLst>
          </c:dPt>
          <c:dPt>
            <c:idx val="57"/>
            <c:invertIfNegative val="0"/>
            <c:bubble3D val="0"/>
            <c:spPr>
              <a:solidFill>
                <a:srgbClr val="AEABAB"/>
              </a:solidFill>
            </c:spPr>
            <c:extLst>
              <c:ext xmlns:c16="http://schemas.microsoft.com/office/drawing/2014/chart" uri="{C3380CC4-5D6E-409C-BE32-E72D297353CC}">
                <c16:uniqueId val="{00000078-C76F-4230-900D-40618C09729F}"/>
              </c:ext>
            </c:extLst>
          </c:dPt>
          <c:dPt>
            <c:idx val="58"/>
            <c:invertIfNegative val="0"/>
            <c:bubble3D val="0"/>
            <c:spPr>
              <a:solidFill>
                <a:srgbClr val="AEABAB"/>
              </a:solidFill>
            </c:spPr>
            <c:extLst>
              <c:ext xmlns:c16="http://schemas.microsoft.com/office/drawing/2014/chart" uri="{C3380CC4-5D6E-409C-BE32-E72D297353CC}">
                <c16:uniqueId val="{0000007A-C76F-4230-900D-40618C09729F}"/>
              </c:ext>
            </c:extLst>
          </c:dPt>
          <c:dPt>
            <c:idx val="59"/>
            <c:invertIfNegative val="0"/>
            <c:bubble3D val="0"/>
            <c:spPr>
              <a:solidFill>
                <a:srgbClr val="AEABAB"/>
              </a:solidFill>
            </c:spPr>
            <c:extLst>
              <c:ext xmlns:c16="http://schemas.microsoft.com/office/drawing/2014/chart" uri="{C3380CC4-5D6E-409C-BE32-E72D297353CC}">
                <c16:uniqueId val="{0000007C-C76F-4230-900D-40618C09729F}"/>
              </c:ext>
            </c:extLst>
          </c:dPt>
          <c:dPt>
            <c:idx val="60"/>
            <c:invertIfNegative val="0"/>
            <c:bubble3D val="0"/>
            <c:spPr>
              <a:solidFill>
                <a:srgbClr val="AEABAB"/>
              </a:solidFill>
            </c:spPr>
            <c:extLst>
              <c:ext xmlns:c16="http://schemas.microsoft.com/office/drawing/2014/chart" uri="{C3380CC4-5D6E-409C-BE32-E72D297353CC}">
                <c16:uniqueId val="{0000007E-C76F-4230-900D-40618C09729F}"/>
              </c:ext>
            </c:extLst>
          </c:dPt>
          <c:dPt>
            <c:idx val="61"/>
            <c:invertIfNegative val="0"/>
            <c:bubble3D val="0"/>
            <c:spPr>
              <a:solidFill>
                <a:srgbClr val="AEABAB"/>
              </a:solidFill>
            </c:spPr>
            <c:extLst>
              <c:ext xmlns:c16="http://schemas.microsoft.com/office/drawing/2014/chart" uri="{C3380CC4-5D6E-409C-BE32-E72D297353CC}">
                <c16:uniqueId val="{00000080-C76F-4230-900D-40618C09729F}"/>
              </c:ext>
            </c:extLst>
          </c:dPt>
          <c:dPt>
            <c:idx val="62"/>
            <c:invertIfNegative val="0"/>
            <c:bubble3D val="0"/>
            <c:spPr>
              <a:solidFill>
                <a:srgbClr val="AEABAB"/>
              </a:solidFill>
            </c:spPr>
            <c:extLst>
              <c:ext xmlns:c16="http://schemas.microsoft.com/office/drawing/2014/chart" uri="{C3380CC4-5D6E-409C-BE32-E72D297353CC}">
                <c16:uniqueId val="{00000082-C76F-4230-900D-40618C09729F}"/>
              </c:ext>
            </c:extLst>
          </c:dPt>
          <c:dPt>
            <c:idx val="63"/>
            <c:invertIfNegative val="0"/>
            <c:bubble3D val="0"/>
            <c:spPr>
              <a:solidFill>
                <a:srgbClr val="AEABAB"/>
              </a:solidFill>
            </c:spPr>
            <c:extLst>
              <c:ext xmlns:c16="http://schemas.microsoft.com/office/drawing/2014/chart" uri="{C3380CC4-5D6E-409C-BE32-E72D297353CC}">
                <c16:uniqueId val="{00000084-C76F-4230-900D-40618C09729F}"/>
              </c:ext>
            </c:extLst>
          </c:dPt>
          <c:dPt>
            <c:idx val="64"/>
            <c:invertIfNegative val="0"/>
            <c:bubble3D val="0"/>
            <c:spPr>
              <a:solidFill>
                <a:srgbClr val="AEABAB"/>
              </a:solidFill>
            </c:spPr>
            <c:extLst>
              <c:ext xmlns:c16="http://schemas.microsoft.com/office/drawing/2014/chart" uri="{C3380CC4-5D6E-409C-BE32-E72D297353CC}">
                <c16:uniqueId val="{00000086-C76F-4230-900D-40618C09729F}"/>
              </c:ext>
            </c:extLst>
          </c:dPt>
          <c:dPt>
            <c:idx val="65"/>
            <c:invertIfNegative val="0"/>
            <c:bubble3D val="0"/>
            <c:spPr>
              <a:solidFill>
                <a:srgbClr val="AEABAB"/>
              </a:solidFill>
            </c:spPr>
            <c:extLst>
              <c:ext xmlns:c16="http://schemas.microsoft.com/office/drawing/2014/chart" uri="{C3380CC4-5D6E-409C-BE32-E72D297353CC}">
                <c16:uniqueId val="{00000088-C76F-4230-900D-40618C09729F}"/>
              </c:ext>
            </c:extLst>
          </c:dPt>
          <c:dPt>
            <c:idx val="66"/>
            <c:invertIfNegative val="0"/>
            <c:bubble3D val="0"/>
            <c:spPr>
              <a:solidFill>
                <a:srgbClr val="AEABAB"/>
              </a:solidFill>
            </c:spPr>
            <c:extLst>
              <c:ext xmlns:c16="http://schemas.microsoft.com/office/drawing/2014/chart" uri="{C3380CC4-5D6E-409C-BE32-E72D297353CC}">
                <c16:uniqueId val="{0000008A-C76F-4230-900D-40618C09729F}"/>
              </c:ext>
            </c:extLst>
          </c:dPt>
          <c:dPt>
            <c:idx val="67"/>
            <c:invertIfNegative val="0"/>
            <c:bubble3D val="0"/>
            <c:spPr>
              <a:solidFill>
                <a:srgbClr val="AEABAB"/>
              </a:solidFill>
            </c:spPr>
            <c:extLst>
              <c:ext xmlns:c16="http://schemas.microsoft.com/office/drawing/2014/chart" uri="{C3380CC4-5D6E-409C-BE32-E72D297353CC}">
                <c16:uniqueId val="{0000008C-C76F-4230-900D-40618C09729F}"/>
              </c:ext>
            </c:extLst>
          </c:dPt>
          <c:dPt>
            <c:idx val="68"/>
            <c:invertIfNegative val="0"/>
            <c:bubble3D val="0"/>
            <c:spPr>
              <a:solidFill>
                <a:srgbClr val="AEABAB"/>
              </a:solidFill>
            </c:spPr>
            <c:extLst>
              <c:ext xmlns:c16="http://schemas.microsoft.com/office/drawing/2014/chart" uri="{C3380CC4-5D6E-409C-BE32-E72D297353CC}">
                <c16:uniqueId val="{0000008E-C76F-4230-900D-40618C09729F}"/>
              </c:ext>
            </c:extLst>
          </c:dPt>
          <c:dPt>
            <c:idx val="69"/>
            <c:invertIfNegative val="0"/>
            <c:bubble3D val="0"/>
            <c:spPr>
              <a:solidFill>
                <a:srgbClr val="AEABAB"/>
              </a:solidFill>
            </c:spPr>
            <c:extLst>
              <c:ext xmlns:c16="http://schemas.microsoft.com/office/drawing/2014/chart" uri="{C3380CC4-5D6E-409C-BE32-E72D297353CC}">
                <c16:uniqueId val="{00000090-C76F-4230-900D-40618C09729F}"/>
              </c:ext>
            </c:extLst>
          </c:dPt>
          <c:dPt>
            <c:idx val="70"/>
            <c:invertIfNegative val="0"/>
            <c:bubble3D val="0"/>
            <c:spPr>
              <a:solidFill>
                <a:srgbClr val="AEABAB"/>
              </a:solidFill>
            </c:spPr>
            <c:extLst>
              <c:ext xmlns:c16="http://schemas.microsoft.com/office/drawing/2014/chart" uri="{C3380CC4-5D6E-409C-BE32-E72D297353CC}">
                <c16:uniqueId val="{00000092-C76F-4230-900D-40618C09729F}"/>
              </c:ext>
            </c:extLst>
          </c:dPt>
          <c:dPt>
            <c:idx val="71"/>
            <c:invertIfNegative val="0"/>
            <c:bubble3D val="0"/>
            <c:spPr>
              <a:solidFill>
                <a:srgbClr val="AEABAB"/>
              </a:solidFill>
            </c:spPr>
            <c:extLst>
              <c:ext xmlns:c16="http://schemas.microsoft.com/office/drawing/2014/chart" uri="{C3380CC4-5D6E-409C-BE32-E72D297353CC}">
                <c16:uniqueId val="{00000094-C76F-4230-900D-40618C09729F}"/>
              </c:ext>
            </c:extLst>
          </c:dPt>
          <c:dPt>
            <c:idx val="72"/>
            <c:invertIfNegative val="0"/>
            <c:bubble3D val="0"/>
            <c:spPr>
              <a:solidFill>
                <a:srgbClr val="AEABAB"/>
              </a:solidFill>
            </c:spPr>
            <c:extLst>
              <c:ext xmlns:c16="http://schemas.microsoft.com/office/drawing/2014/chart" uri="{C3380CC4-5D6E-409C-BE32-E72D297353CC}">
                <c16:uniqueId val="{00000096-C76F-4230-900D-40618C09729F}"/>
              </c:ext>
            </c:extLst>
          </c:dPt>
          <c:dPt>
            <c:idx val="73"/>
            <c:invertIfNegative val="0"/>
            <c:bubble3D val="0"/>
            <c:spPr>
              <a:solidFill>
                <a:srgbClr val="AEABAB"/>
              </a:solidFill>
            </c:spPr>
            <c:extLst>
              <c:ext xmlns:c16="http://schemas.microsoft.com/office/drawing/2014/chart" uri="{C3380CC4-5D6E-409C-BE32-E72D297353CC}">
                <c16:uniqueId val="{00000098-C76F-4230-900D-40618C09729F}"/>
              </c:ext>
            </c:extLst>
          </c:dPt>
          <c:dPt>
            <c:idx val="74"/>
            <c:invertIfNegative val="0"/>
            <c:bubble3D val="0"/>
            <c:spPr>
              <a:solidFill>
                <a:srgbClr val="AEABAB"/>
              </a:solidFill>
            </c:spPr>
            <c:extLst>
              <c:ext xmlns:c16="http://schemas.microsoft.com/office/drawing/2014/chart" uri="{C3380CC4-5D6E-409C-BE32-E72D297353CC}">
                <c16:uniqueId val="{0000009A-C76F-4230-900D-40618C09729F}"/>
              </c:ext>
            </c:extLst>
          </c:dPt>
          <c:dPt>
            <c:idx val="75"/>
            <c:invertIfNegative val="0"/>
            <c:bubble3D val="0"/>
            <c:spPr>
              <a:solidFill>
                <a:srgbClr val="AEABAB"/>
              </a:solidFill>
            </c:spPr>
            <c:extLst>
              <c:ext xmlns:c16="http://schemas.microsoft.com/office/drawing/2014/chart" uri="{C3380CC4-5D6E-409C-BE32-E72D297353CC}">
                <c16:uniqueId val="{0000009C-C76F-4230-900D-40618C09729F}"/>
              </c:ext>
            </c:extLst>
          </c:dPt>
          <c:dPt>
            <c:idx val="76"/>
            <c:invertIfNegative val="0"/>
            <c:bubble3D val="0"/>
            <c:spPr>
              <a:solidFill>
                <a:srgbClr val="AEABAB"/>
              </a:solidFill>
            </c:spPr>
            <c:extLst>
              <c:ext xmlns:c16="http://schemas.microsoft.com/office/drawing/2014/chart" uri="{C3380CC4-5D6E-409C-BE32-E72D297353CC}">
                <c16:uniqueId val="{0000009E-C76F-4230-900D-40618C09729F}"/>
              </c:ext>
            </c:extLst>
          </c:dPt>
          <c:dPt>
            <c:idx val="77"/>
            <c:invertIfNegative val="0"/>
            <c:bubble3D val="0"/>
            <c:spPr>
              <a:solidFill>
                <a:srgbClr val="AEABAB"/>
              </a:solidFill>
            </c:spPr>
            <c:extLst>
              <c:ext xmlns:c16="http://schemas.microsoft.com/office/drawing/2014/chart" uri="{C3380CC4-5D6E-409C-BE32-E72D297353CC}">
                <c16:uniqueId val="{000000A0-C76F-4230-900D-40618C09729F}"/>
              </c:ext>
            </c:extLst>
          </c:dPt>
          <c:dPt>
            <c:idx val="78"/>
            <c:invertIfNegative val="0"/>
            <c:bubble3D val="0"/>
            <c:spPr>
              <a:solidFill>
                <a:srgbClr val="AEABAB"/>
              </a:solidFill>
            </c:spPr>
            <c:extLst>
              <c:ext xmlns:c16="http://schemas.microsoft.com/office/drawing/2014/chart" uri="{C3380CC4-5D6E-409C-BE32-E72D297353CC}">
                <c16:uniqueId val="{000000A2-C76F-4230-900D-40618C09729F}"/>
              </c:ext>
            </c:extLst>
          </c:dPt>
          <c:dPt>
            <c:idx val="79"/>
            <c:invertIfNegative val="0"/>
            <c:bubble3D val="0"/>
            <c:spPr>
              <a:solidFill>
                <a:srgbClr val="AEABAB"/>
              </a:solidFill>
            </c:spPr>
            <c:extLst>
              <c:ext xmlns:c16="http://schemas.microsoft.com/office/drawing/2014/chart" uri="{C3380CC4-5D6E-409C-BE32-E72D297353CC}">
                <c16:uniqueId val="{000000A4-C76F-4230-900D-40618C09729F}"/>
              </c:ext>
            </c:extLst>
          </c:dPt>
          <c:dPt>
            <c:idx val="80"/>
            <c:invertIfNegative val="0"/>
            <c:bubble3D val="0"/>
            <c:spPr>
              <a:solidFill>
                <a:srgbClr val="AEABAB"/>
              </a:solidFill>
            </c:spPr>
            <c:extLst>
              <c:ext xmlns:c16="http://schemas.microsoft.com/office/drawing/2014/chart" uri="{C3380CC4-5D6E-409C-BE32-E72D297353CC}">
                <c16:uniqueId val="{000000A6-C76F-4230-900D-40618C09729F}"/>
              </c:ext>
            </c:extLst>
          </c:dPt>
          <c:dPt>
            <c:idx val="81"/>
            <c:invertIfNegative val="1"/>
            <c:bubble3D val="0"/>
            <c:spPr>
              <a:solidFill>
                <a:srgbClr val="AEABAB"/>
              </a:solidFill>
            </c:spPr>
            <c:extLst>
              <c:ext xmlns:c16="http://schemas.microsoft.com/office/drawing/2014/chart" uri="{C3380CC4-5D6E-409C-BE32-E72D297353CC}">
                <c16:uniqueId val="{000000A5-2993-41DE-A2CB-63102DE87051}"/>
              </c:ext>
            </c:extLst>
          </c:dPt>
          <c:dPt>
            <c:idx val="82"/>
            <c:invertIfNegative val="1"/>
            <c:bubble3D val="0"/>
            <c:spPr>
              <a:solidFill>
                <a:srgbClr val="AEABAB"/>
              </a:solidFill>
            </c:spPr>
            <c:extLst>
              <c:ext xmlns:c16="http://schemas.microsoft.com/office/drawing/2014/chart" uri="{C3380CC4-5D6E-409C-BE32-E72D297353CC}">
                <c16:uniqueId val="{000000A7-2993-41DE-A2CB-63102DE87051}"/>
              </c:ext>
            </c:extLst>
          </c:dPt>
          <c:dPt>
            <c:idx val="83"/>
            <c:invertIfNegative val="1"/>
            <c:bubble3D val="0"/>
            <c:spPr>
              <a:solidFill>
                <a:srgbClr val="AEABAB"/>
              </a:solidFill>
            </c:spPr>
            <c:extLst>
              <c:ext xmlns:c16="http://schemas.microsoft.com/office/drawing/2014/chart" uri="{C3380CC4-5D6E-409C-BE32-E72D297353CC}">
                <c16:uniqueId val="{000000A9-2993-41DE-A2CB-63102DE87051}"/>
              </c:ext>
            </c:extLst>
          </c:dPt>
          <c:dPt>
            <c:idx val="84"/>
            <c:invertIfNegative val="1"/>
            <c:bubble3D val="0"/>
            <c:spPr>
              <a:solidFill>
                <a:srgbClr val="AEABAB"/>
              </a:solidFill>
            </c:spPr>
            <c:extLst>
              <c:ext xmlns:c16="http://schemas.microsoft.com/office/drawing/2014/chart" uri="{C3380CC4-5D6E-409C-BE32-E72D297353CC}">
                <c16:uniqueId val="{000000AB-2993-41DE-A2CB-63102DE87051}"/>
              </c:ext>
            </c:extLst>
          </c:dPt>
          <c:dPt>
            <c:idx val="85"/>
            <c:invertIfNegative val="1"/>
            <c:bubble3D val="0"/>
            <c:spPr>
              <a:solidFill>
                <a:srgbClr val="AEABAB"/>
              </a:solidFill>
            </c:spPr>
            <c:extLst>
              <c:ext xmlns:c16="http://schemas.microsoft.com/office/drawing/2014/chart" uri="{C3380CC4-5D6E-409C-BE32-E72D297353CC}">
                <c16:uniqueId val="{000000AD-2993-41DE-A2CB-63102DE87051}"/>
              </c:ext>
            </c:extLst>
          </c:dPt>
          <c:dPt>
            <c:idx val="86"/>
            <c:invertIfNegative val="1"/>
            <c:bubble3D val="0"/>
            <c:spPr>
              <a:solidFill>
                <a:srgbClr val="AEABAB"/>
              </a:solidFill>
            </c:spPr>
            <c:extLst>
              <c:ext xmlns:c16="http://schemas.microsoft.com/office/drawing/2014/chart" uri="{C3380CC4-5D6E-409C-BE32-E72D297353CC}">
                <c16:uniqueId val="{000000AF-2993-41DE-A2CB-63102DE87051}"/>
              </c:ext>
            </c:extLst>
          </c:dPt>
          <c:dPt>
            <c:idx val="87"/>
            <c:invertIfNegative val="1"/>
            <c:bubble3D val="0"/>
            <c:spPr>
              <a:solidFill>
                <a:srgbClr val="AEABAB"/>
              </a:solidFill>
            </c:spPr>
            <c:extLst>
              <c:ext xmlns:c16="http://schemas.microsoft.com/office/drawing/2014/chart" uri="{C3380CC4-5D6E-409C-BE32-E72D297353CC}">
                <c16:uniqueId val="{000000B1-2993-41DE-A2CB-63102DE87051}"/>
              </c:ext>
            </c:extLst>
          </c:dPt>
          <c:dPt>
            <c:idx val="88"/>
            <c:invertIfNegative val="1"/>
            <c:bubble3D val="0"/>
            <c:spPr>
              <a:solidFill>
                <a:srgbClr val="AEABAB"/>
              </a:solidFill>
            </c:spPr>
            <c:extLst>
              <c:ext xmlns:c16="http://schemas.microsoft.com/office/drawing/2014/chart" uri="{C3380CC4-5D6E-409C-BE32-E72D297353CC}">
                <c16:uniqueId val="{000000B3-2993-41DE-A2CB-63102DE87051}"/>
              </c:ext>
            </c:extLst>
          </c:dPt>
          <c:dPt>
            <c:idx val="89"/>
            <c:invertIfNegative val="1"/>
            <c:bubble3D val="0"/>
            <c:spPr>
              <a:solidFill>
                <a:srgbClr val="AEABAB"/>
              </a:solidFill>
            </c:spPr>
            <c:extLst>
              <c:ext xmlns:c16="http://schemas.microsoft.com/office/drawing/2014/chart" uri="{C3380CC4-5D6E-409C-BE32-E72D297353CC}">
                <c16:uniqueId val="{000000B5-2993-41DE-A2CB-63102DE87051}"/>
              </c:ext>
            </c:extLst>
          </c:dPt>
          <c:dPt>
            <c:idx val="90"/>
            <c:invertIfNegative val="1"/>
            <c:bubble3D val="0"/>
            <c:spPr>
              <a:solidFill>
                <a:srgbClr val="AEABAB"/>
              </a:solidFill>
            </c:spPr>
            <c:extLst>
              <c:ext xmlns:c16="http://schemas.microsoft.com/office/drawing/2014/chart" uri="{C3380CC4-5D6E-409C-BE32-E72D297353CC}">
                <c16:uniqueId val="{000000B7-2993-41DE-A2CB-63102DE87051}"/>
              </c:ext>
            </c:extLst>
          </c:dPt>
          <c:dPt>
            <c:idx val="91"/>
            <c:invertIfNegative val="1"/>
            <c:bubble3D val="0"/>
            <c:spPr>
              <a:solidFill>
                <a:srgbClr val="AEABAB"/>
              </a:solidFill>
            </c:spPr>
            <c:extLst>
              <c:ext xmlns:c16="http://schemas.microsoft.com/office/drawing/2014/chart" uri="{C3380CC4-5D6E-409C-BE32-E72D297353CC}">
                <c16:uniqueId val="{000000B9-2993-41DE-A2CB-63102DE87051}"/>
              </c:ext>
            </c:extLst>
          </c:dPt>
          <c:dPt>
            <c:idx val="92"/>
            <c:invertIfNegative val="1"/>
            <c:bubble3D val="0"/>
            <c:spPr>
              <a:solidFill>
                <a:srgbClr val="AEABAB"/>
              </a:solidFill>
            </c:spPr>
            <c:extLst>
              <c:ext xmlns:c16="http://schemas.microsoft.com/office/drawing/2014/chart" uri="{C3380CC4-5D6E-409C-BE32-E72D297353CC}">
                <c16:uniqueId val="{000000BB-2993-41DE-A2CB-63102DE87051}"/>
              </c:ext>
            </c:extLst>
          </c:dPt>
          <c:dPt>
            <c:idx val="93"/>
            <c:invertIfNegative val="1"/>
            <c:bubble3D val="0"/>
            <c:spPr>
              <a:solidFill>
                <a:srgbClr val="AEABAB"/>
              </a:solidFill>
            </c:spPr>
            <c:extLst>
              <c:ext xmlns:c16="http://schemas.microsoft.com/office/drawing/2014/chart" uri="{C3380CC4-5D6E-409C-BE32-E72D297353CC}">
                <c16:uniqueId val="{000000BD-2993-41DE-A2CB-63102DE87051}"/>
              </c:ext>
            </c:extLst>
          </c:dPt>
          <c:dPt>
            <c:idx val="94"/>
            <c:invertIfNegative val="1"/>
            <c:bubble3D val="0"/>
            <c:spPr>
              <a:solidFill>
                <a:srgbClr val="AEABAB"/>
              </a:solidFill>
            </c:spPr>
            <c:extLst>
              <c:ext xmlns:c16="http://schemas.microsoft.com/office/drawing/2014/chart" uri="{C3380CC4-5D6E-409C-BE32-E72D297353CC}">
                <c16:uniqueId val="{000000BF-2993-41DE-A2CB-63102DE87051}"/>
              </c:ext>
            </c:extLst>
          </c:dPt>
          <c:dPt>
            <c:idx val="95"/>
            <c:invertIfNegative val="1"/>
            <c:bubble3D val="0"/>
            <c:spPr>
              <a:solidFill>
                <a:srgbClr val="AEABAB"/>
              </a:solidFill>
            </c:spPr>
            <c:extLst>
              <c:ext xmlns:c16="http://schemas.microsoft.com/office/drawing/2014/chart" uri="{C3380CC4-5D6E-409C-BE32-E72D297353CC}">
                <c16:uniqueId val="{000000C1-2993-41DE-A2CB-63102DE87051}"/>
              </c:ext>
            </c:extLst>
          </c:dPt>
          <c:dPt>
            <c:idx val="96"/>
            <c:invertIfNegative val="1"/>
            <c:bubble3D val="0"/>
            <c:spPr>
              <a:solidFill>
                <a:srgbClr val="AEABAB"/>
              </a:solidFill>
            </c:spPr>
            <c:extLst>
              <c:ext xmlns:c16="http://schemas.microsoft.com/office/drawing/2014/chart" uri="{C3380CC4-5D6E-409C-BE32-E72D297353CC}">
                <c16:uniqueId val="{000000C3-2993-41DE-A2CB-63102DE87051}"/>
              </c:ext>
            </c:extLst>
          </c:dPt>
          <c:dPt>
            <c:idx val="97"/>
            <c:invertIfNegative val="1"/>
            <c:bubble3D val="0"/>
            <c:spPr>
              <a:solidFill>
                <a:srgbClr val="AEABAB"/>
              </a:solidFill>
            </c:spPr>
            <c:extLst>
              <c:ext xmlns:c16="http://schemas.microsoft.com/office/drawing/2014/chart" uri="{C3380CC4-5D6E-409C-BE32-E72D297353CC}">
                <c16:uniqueId val="{000000C5-2993-41DE-A2CB-63102DE87051}"/>
              </c:ext>
            </c:extLst>
          </c:dPt>
          <c:dPt>
            <c:idx val="98"/>
            <c:invertIfNegative val="1"/>
            <c:bubble3D val="0"/>
            <c:spPr>
              <a:solidFill>
                <a:srgbClr val="AEABAB"/>
              </a:solidFill>
            </c:spPr>
            <c:extLst>
              <c:ext xmlns:c16="http://schemas.microsoft.com/office/drawing/2014/chart" uri="{C3380CC4-5D6E-409C-BE32-E72D297353CC}">
                <c16:uniqueId val="{000000C7-2993-41DE-A2CB-63102DE87051}"/>
              </c:ext>
            </c:extLst>
          </c:dPt>
          <c:dPt>
            <c:idx val="99"/>
            <c:invertIfNegative val="1"/>
            <c:bubble3D val="0"/>
            <c:spPr>
              <a:solidFill>
                <a:srgbClr val="AEABAB"/>
              </a:solidFill>
            </c:spPr>
            <c:extLst>
              <c:ext xmlns:c16="http://schemas.microsoft.com/office/drawing/2014/chart" uri="{C3380CC4-5D6E-409C-BE32-E72D297353CC}">
                <c16:uniqueId val="{000000C9-2993-41DE-A2CB-63102DE87051}"/>
              </c:ext>
            </c:extLst>
          </c:dPt>
          <c:dPt>
            <c:idx val="100"/>
            <c:invertIfNegative val="1"/>
            <c:bubble3D val="0"/>
            <c:spPr>
              <a:solidFill>
                <a:srgbClr val="AEABAB"/>
              </a:solidFill>
            </c:spPr>
            <c:extLst>
              <c:ext xmlns:c16="http://schemas.microsoft.com/office/drawing/2014/chart" uri="{C3380CC4-5D6E-409C-BE32-E72D297353CC}">
                <c16:uniqueId val="{000000CB-2993-41DE-A2CB-63102DE87051}"/>
              </c:ext>
            </c:extLst>
          </c:dPt>
          <c:dPt>
            <c:idx val="101"/>
            <c:invertIfNegative val="1"/>
            <c:bubble3D val="0"/>
            <c:spPr>
              <a:solidFill>
                <a:srgbClr val="AEABAB"/>
              </a:solidFill>
            </c:spPr>
            <c:extLst>
              <c:ext xmlns:c16="http://schemas.microsoft.com/office/drawing/2014/chart" uri="{C3380CC4-5D6E-409C-BE32-E72D297353CC}">
                <c16:uniqueId val="{000000CD-2993-41DE-A2CB-63102DE87051}"/>
              </c:ext>
            </c:extLst>
          </c:dPt>
          <c:dPt>
            <c:idx val="102"/>
            <c:invertIfNegative val="1"/>
            <c:bubble3D val="0"/>
            <c:spPr>
              <a:solidFill>
                <a:srgbClr val="AEABAB"/>
              </a:solidFill>
            </c:spPr>
            <c:extLst>
              <c:ext xmlns:c16="http://schemas.microsoft.com/office/drawing/2014/chart" uri="{C3380CC4-5D6E-409C-BE32-E72D297353CC}">
                <c16:uniqueId val="{000000CF-2993-41DE-A2CB-63102DE87051}"/>
              </c:ext>
            </c:extLst>
          </c:dPt>
          <c:dPt>
            <c:idx val="103"/>
            <c:invertIfNegative val="1"/>
            <c:bubble3D val="0"/>
            <c:spPr>
              <a:solidFill>
                <a:srgbClr val="AEABAB"/>
              </a:solidFill>
            </c:spPr>
            <c:extLst>
              <c:ext xmlns:c16="http://schemas.microsoft.com/office/drawing/2014/chart" uri="{C3380CC4-5D6E-409C-BE32-E72D297353CC}">
                <c16:uniqueId val="{000000D1-2993-41DE-A2CB-63102DE87051}"/>
              </c:ext>
            </c:extLst>
          </c:dPt>
          <c:dPt>
            <c:idx val="104"/>
            <c:invertIfNegative val="1"/>
            <c:bubble3D val="0"/>
            <c:spPr>
              <a:solidFill>
                <a:srgbClr val="AEABAB"/>
              </a:solidFill>
            </c:spPr>
            <c:extLst>
              <c:ext xmlns:c16="http://schemas.microsoft.com/office/drawing/2014/chart" uri="{C3380CC4-5D6E-409C-BE32-E72D297353CC}">
                <c16:uniqueId val="{000000D3-2993-41DE-A2CB-63102DE87051}"/>
              </c:ext>
            </c:extLst>
          </c:dPt>
          <c:dPt>
            <c:idx val="105"/>
            <c:invertIfNegative val="1"/>
            <c:bubble3D val="0"/>
            <c:spPr>
              <a:solidFill>
                <a:srgbClr val="AEABAB"/>
              </a:solidFill>
            </c:spPr>
            <c:extLst>
              <c:ext xmlns:c16="http://schemas.microsoft.com/office/drawing/2014/chart" uri="{C3380CC4-5D6E-409C-BE32-E72D297353CC}">
                <c16:uniqueId val="{000000D5-2993-41DE-A2CB-63102DE87051}"/>
              </c:ext>
            </c:extLst>
          </c:dPt>
          <c:dPt>
            <c:idx val="106"/>
            <c:invertIfNegative val="1"/>
            <c:bubble3D val="0"/>
            <c:spPr>
              <a:solidFill>
                <a:srgbClr val="AEABAB"/>
              </a:solidFill>
            </c:spPr>
            <c:extLst>
              <c:ext xmlns:c16="http://schemas.microsoft.com/office/drawing/2014/chart" uri="{C3380CC4-5D6E-409C-BE32-E72D297353CC}">
                <c16:uniqueId val="{000000D7-2993-41DE-A2CB-63102DE87051}"/>
              </c:ext>
            </c:extLst>
          </c:dPt>
          <c:dPt>
            <c:idx val="107"/>
            <c:invertIfNegative val="1"/>
            <c:bubble3D val="0"/>
            <c:spPr>
              <a:solidFill>
                <a:srgbClr val="AEABAB"/>
              </a:solidFill>
            </c:spPr>
            <c:extLst>
              <c:ext xmlns:c16="http://schemas.microsoft.com/office/drawing/2014/chart" uri="{C3380CC4-5D6E-409C-BE32-E72D297353CC}">
                <c16:uniqueId val="{000000D9-2993-41DE-A2CB-63102DE87051}"/>
              </c:ext>
            </c:extLst>
          </c:dPt>
          <c:dPt>
            <c:idx val="108"/>
            <c:invertIfNegative val="1"/>
            <c:bubble3D val="0"/>
            <c:spPr>
              <a:solidFill>
                <a:srgbClr val="AEABAB"/>
              </a:solidFill>
            </c:spPr>
            <c:extLst>
              <c:ext xmlns:c16="http://schemas.microsoft.com/office/drawing/2014/chart" uri="{C3380CC4-5D6E-409C-BE32-E72D297353CC}">
                <c16:uniqueId val="{000000DB-2993-41DE-A2CB-63102DE87051}"/>
              </c:ext>
            </c:extLst>
          </c:dPt>
          <c:dPt>
            <c:idx val="109"/>
            <c:invertIfNegative val="1"/>
            <c:bubble3D val="0"/>
            <c:spPr>
              <a:solidFill>
                <a:srgbClr val="AEABAB"/>
              </a:solidFill>
            </c:spPr>
            <c:extLst>
              <c:ext xmlns:c16="http://schemas.microsoft.com/office/drawing/2014/chart" uri="{C3380CC4-5D6E-409C-BE32-E72D297353CC}">
                <c16:uniqueId val="{000000DD-2993-41DE-A2CB-63102DE87051}"/>
              </c:ext>
            </c:extLst>
          </c:dPt>
          <c:dPt>
            <c:idx val="110"/>
            <c:invertIfNegative val="1"/>
            <c:bubble3D val="0"/>
            <c:spPr>
              <a:solidFill>
                <a:srgbClr val="AEABAB"/>
              </a:solidFill>
            </c:spPr>
            <c:extLst>
              <c:ext xmlns:c16="http://schemas.microsoft.com/office/drawing/2014/chart" uri="{C3380CC4-5D6E-409C-BE32-E72D297353CC}">
                <c16:uniqueId val="{000000DF-2993-41DE-A2CB-63102DE87051}"/>
              </c:ext>
            </c:extLst>
          </c:dPt>
          <c:dPt>
            <c:idx val="111"/>
            <c:invertIfNegative val="1"/>
            <c:bubble3D val="0"/>
            <c:spPr>
              <a:solidFill>
                <a:srgbClr val="AEABAB"/>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113</c:f>
              <c:strCache>
                <c:ptCount val="112"/>
                <c:pt idx="0">
                  <c:v>Ruinart</c:v>
                </c:pt>
                <c:pt idx="1">
                  <c:v>Nicolas</c:v>
                </c:pt>
                <c:pt idx="2">
                  <c:v>Deutz</c:v>
                </c:pt>
                <c:pt idx="3">
                  <c:v>Ayala</c:v>
                </c:pt>
                <c:pt idx="4">
                  <c:v>All Others</c:v>
                </c:pt>
                <c:pt idx="5">
                  <c:v>Bollinger</c:v>
                </c:pt>
                <c:pt idx="6">
                  <c:v>De Bligny</c:v>
                </c:pt>
                <c:pt idx="7">
                  <c:v>Laurent Per</c:v>
                </c:pt>
                <c:pt idx="8">
                  <c:v>Heidsieck &amp;</c:v>
                </c:pt>
                <c:pt idx="9">
                  <c:v>Canard Duch</c:v>
                </c:pt>
                <c:pt idx="10">
                  <c:v>Ruinart</c:v>
                </c:pt>
                <c:pt idx="11">
                  <c:v>Taittinger</c:v>
                </c:pt>
                <c:pt idx="12">
                  <c:v>All Others</c:v>
                </c:pt>
                <c:pt idx="13">
                  <c:v>Demoiselle</c:v>
                </c:pt>
                <c:pt idx="14">
                  <c:v>Deutz</c:v>
                </c:pt>
                <c:pt idx="15">
                  <c:v>All Others</c:v>
                </c:pt>
                <c:pt idx="16">
                  <c:v>Ruinart</c:v>
                </c:pt>
                <c:pt idx="17">
                  <c:v>Perrier Jou</c:v>
                </c:pt>
                <c:pt idx="18">
                  <c:v>Pommery</c:v>
                </c:pt>
                <c:pt idx="19">
                  <c:v>Lanson-Bcc:</c:v>
                </c:pt>
                <c:pt idx="20">
                  <c:v>Campari: Al</c:v>
                </c:pt>
                <c:pt idx="21">
                  <c:v>All Others</c:v>
                </c:pt>
                <c:pt idx="22">
                  <c:v>Savian</c:v>
                </c:pt>
                <c:pt idx="23">
                  <c:v>Besserat De</c:v>
                </c:pt>
                <c:pt idx="24">
                  <c:v>All Others</c:v>
                </c:pt>
                <c:pt idx="25">
                  <c:v>Laurent Per</c:v>
                </c:pt>
                <c:pt idx="26">
                  <c:v>All Others</c:v>
                </c:pt>
                <c:pt idx="27">
                  <c:v>Taittinger</c:v>
                </c:pt>
                <c:pt idx="28">
                  <c:v>Roederer</c:v>
                </c:pt>
                <c:pt idx="29">
                  <c:v>Moët &amp; Chan</c:v>
                </c:pt>
                <c:pt idx="30">
                  <c:v>Roederer</c:v>
                </c:pt>
                <c:pt idx="31">
                  <c:v>Canard Duch</c:v>
                </c:pt>
                <c:pt idx="32">
                  <c:v>Bollinger</c:v>
                </c:pt>
                <c:pt idx="33">
                  <c:v>Veuve Clicq</c:v>
                </c:pt>
                <c:pt idx="34">
                  <c:v>Veuve Clicq</c:v>
                </c:pt>
                <c:pt idx="35">
                  <c:v>Vranken</c:v>
                </c:pt>
                <c:pt idx="36">
                  <c:v>Henriot</c:v>
                </c:pt>
                <c:pt idx="37">
                  <c:v>Ruinart</c:v>
                </c:pt>
                <c:pt idx="38">
                  <c:v>Lanson</c:v>
                </c:pt>
                <c:pt idx="39">
                  <c:v>De Venoge</c:v>
                </c:pt>
                <c:pt idx="40">
                  <c:v>Veuve Clicq</c:v>
                </c:pt>
                <c:pt idx="41">
                  <c:v>All Others</c:v>
                </c:pt>
                <c:pt idx="42">
                  <c:v>Deutz</c:v>
                </c:pt>
                <c:pt idx="43">
                  <c:v>Nicolas Feu</c:v>
                </c:pt>
                <c:pt idx="44">
                  <c:v>All Others</c:v>
                </c:pt>
                <c:pt idx="45">
                  <c:v>Piper Heids</c:v>
                </c:pt>
                <c:pt idx="46">
                  <c:v>Canard Duch</c:v>
                </c:pt>
                <c:pt idx="47">
                  <c:v>Henriot</c:v>
                </c:pt>
                <c:pt idx="48">
                  <c:v>Campari: Al</c:v>
                </c:pt>
                <c:pt idx="49">
                  <c:v>Canard Duch</c:v>
                </c:pt>
                <c:pt idx="50">
                  <c:v>Krug</c:v>
                </c:pt>
                <c:pt idx="51">
                  <c:v>All Others</c:v>
                </c:pt>
                <c:pt idx="52">
                  <c:v>De Venoge</c:v>
                </c:pt>
                <c:pt idx="53">
                  <c:v>Nicolas</c:v>
                </c:pt>
                <c:pt idx="54">
                  <c:v>Veuve Clicq</c:v>
                </c:pt>
                <c:pt idx="55">
                  <c:v>Canard Duch</c:v>
                </c:pt>
                <c:pt idx="56">
                  <c:v>Roederer</c:v>
                </c:pt>
                <c:pt idx="57">
                  <c:v>De Venoge</c:v>
                </c:pt>
                <c:pt idx="58">
                  <c:v>Nicolas</c:v>
                </c:pt>
                <c:pt idx="59">
                  <c:v>All Others</c:v>
                </c:pt>
                <c:pt idx="60">
                  <c:v>Nicolas</c:v>
                </c:pt>
                <c:pt idx="61">
                  <c:v>Ruinart</c:v>
                </c:pt>
                <c:pt idx="62">
                  <c:v>Roederer</c:v>
                </c:pt>
                <c:pt idx="63">
                  <c:v>Roederer</c:v>
                </c:pt>
                <c:pt idx="64">
                  <c:v>All Others</c:v>
                </c:pt>
                <c:pt idx="65">
                  <c:v>Nicolas Feu</c:v>
                </c:pt>
                <c:pt idx="66">
                  <c:v>Nicolas</c:v>
                </c:pt>
                <c:pt idx="67">
                  <c:v>Laurent Per</c:v>
                </c:pt>
                <c:pt idx="68">
                  <c:v>All Others</c:v>
                </c:pt>
                <c:pt idx="69">
                  <c:v>All Others</c:v>
                </c:pt>
                <c:pt idx="70">
                  <c:v>Moët &amp; Chan</c:v>
                </c:pt>
                <c:pt idx="71">
                  <c:v>Ruinart</c:v>
                </c:pt>
                <c:pt idx="72">
                  <c:v>Vranken</c:v>
                </c:pt>
                <c:pt idx="73">
                  <c:v>Moët &amp; Chan</c:v>
                </c:pt>
                <c:pt idx="74">
                  <c:v>Pommery</c:v>
                </c:pt>
                <c:pt idx="75">
                  <c:v>Roederer</c:v>
                </c:pt>
                <c:pt idx="76">
                  <c:v>Ruinart</c:v>
                </c:pt>
                <c:pt idx="77">
                  <c:v>Ruinart</c:v>
                </c:pt>
                <c:pt idx="78">
                  <c:v>Canard Duch</c:v>
                </c:pt>
                <c:pt idx="79">
                  <c:v>Nicolas</c:v>
                </c:pt>
                <c:pt idx="80">
                  <c:v>Pommery</c:v>
                </c:pt>
                <c:pt idx="81">
                  <c:v>Lanson</c:v>
                </c:pt>
                <c:pt idx="82">
                  <c:v>Roederer</c:v>
                </c:pt>
                <c:pt idx="83">
                  <c:v>Pommery</c:v>
                </c:pt>
                <c:pt idx="84">
                  <c:v>Demoiselle</c:v>
                </c:pt>
                <c:pt idx="85">
                  <c:v>Henriot</c:v>
                </c:pt>
                <c:pt idx="86">
                  <c:v>Laurent Per</c:v>
                </c:pt>
                <c:pt idx="87">
                  <c:v>Moët &amp; Chan</c:v>
                </c:pt>
                <c:pt idx="88">
                  <c:v>Laurent Per</c:v>
                </c:pt>
                <c:pt idx="89">
                  <c:v>All Others</c:v>
                </c:pt>
                <c:pt idx="90">
                  <c:v>Nicolas Feu</c:v>
                </c:pt>
                <c:pt idx="91">
                  <c:v>Roederer</c:v>
                </c:pt>
                <c:pt idx="92">
                  <c:v>Laurent Per</c:v>
                </c:pt>
                <c:pt idx="93">
                  <c:v>Malard</c:v>
                </c:pt>
                <c:pt idx="94">
                  <c:v>All Others</c:v>
                </c:pt>
                <c:pt idx="95">
                  <c:v>Nicolas</c:v>
                </c:pt>
                <c:pt idx="96">
                  <c:v>All Others</c:v>
                </c:pt>
                <c:pt idx="97">
                  <c:v>Roederer</c:v>
                </c:pt>
                <c:pt idx="98">
                  <c:v>Bollinger</c:v>
                </c:pt>
                <c:pt idx="99">
                  <c:v>Laurent Per</c:v>
                </c:pt>
                <c:pt idx="100">
                  <c:v>Bollinger</c:v>
                </c:pt>
                <c:pt idx="101">
                  <c:v>Roederer</c:v>
                </c:pt>
                <c:pt idx="102">
                  <c:v>Veuve Clicq</c:v>
                </c:pt>
                <c:pt idx="103">
                  <c:v>Nicolas Feu</c:v>
                </c:pt>
                <c:pt idx="104">
                  <c:v>All Others</c:v>
                </c:pt>
                <c:pt idx="105">
                  <c:v>Roederer</c:v>
                </c:pt>
                <c:pt idx="106">
                  <c:v>Lanson</c:v>
                </c:pt>
                <c:pt idx="107">
                  <c:v>Roederer</c:v>
                </c:pt>
                <c:pt idx="108">
                  <c:v>De Venoge</c:v>
                </c:pt>
                <c:pt idx="109">
                  <c:v>Piper Heids</c:v>
                </c:pt>
                <c:pt idx="110">
                  <c:v>Nicolas</c:v>
                </c:pt>
                <c:pt idx="111">
                  <c:v>Demoiselle</c:v>
                </c:pt>
              </c:strCache>
            </c:strRef>
          </c:cat>
          <c:val>
            <c:numRef>
              <c:f>Sheet1!$C$2:$C$113</c:f>
              <c:numCache>
                <c:formatCode>General</c:formatCode>
                <c:ptCount val="112"/>
                <c:pt idx="0">
                  <c:v>0.12401645679610951</c:v>
                </c:pt>
                <c:pt idx="1">
                  <c:v>0.22559540669121425</c:v>
                </c:pt>
                <c:pt idx="2">
                  <c:v>0.27716547529320268</c:v>
                </c:pt>
                <c:pt idx="3">
                  <c:v>0.31670883280605655</c:v>
                </c:pt>
                <c:pt idx="4">
                  <c:v>0.34923164812796742</c:v>
                </c:pt>
                <c:pt idx="5">
                  <c:v>0.38127343341190478</c:v>
                </c:pt>
                <c:pt idx="6">
                  <c:v>0.41315487534985096</c:v>
                </c:pt>
                <c:pt idx="7">
                  <c:v>0.44417699217005996</c:v>
                </c:pt>
                <c:pt idx="8">
                  <c:v>0.47139791553650212</c:v>
                </c:pt>
                <c:pt idx="9">
                  <c:v>0.49676864951536942</c:v>
                </c:pt>
                <c:pt idx="10">
                  <c:v>0.52163723038074339</c:v>
                </c:pt>
                <c:pt idx="11">
                  <c:v>0.54330566530486835</c:v>
                </c:pt>
                <c:pt idx="12">
                  <c:v>0.56451227298694684</c:v>
                </c:pt>
                <c:pt idx="13">
                  <c:v>0.58265411443906223</c:v>
                </c:pt>
                <c:pt idx="14">
                  <c:v>0.60003072447348327</c:v>
                </c:pt>
                <c:pt idx="15">
                  <c:v>0.61738429115279181</c:v>
                </c:pt>
                <c:pt idx="16">
                  <c:v>0.63452662707690233</c:v>
                </c:pt>
                <c:pt idx="17">
                  <c:v>0.6503718141361382</c:v>
                </c:pt>
                <c:pt idx="18">
                  <c:v>0.66604129561264114</c:v>
                </c:pt>
                <c:pt idx="19">
                  <c:v>0.68171077708914407</c:v>
                </c:pt>
                <c:pt idx="20">
                  <c:v>0.69711910054103865</c:v>
                </c:pt>
                <c:pt idx="21">
                  <c:v>0.71251302189598797</c:v>
                </c:pt>
                <c:pt idx="22">
                  <c:v>0.72699769086378974</c:v>
                </c:pt>
                <c:pt idx="23">
                  <c:v>0.74110118433243877</c:v>
                </c:pt>
                <c:pt idx="24">
                  <c:v>0.75479757852743357</c:v>
                </c:pt>
                <c:pt idx="25">
                  <c:v>0.7676000825720225</c:v>
                </c:pt>
                <c:pt idx="26">
                  <c:v>0.77892109091083661</c:v>
                </c:pt>
                <c:pt idx="27">
                  <c:v>0.79010863981795754</c:v>
                </c:pt>
                <c:pt idx="28">
                  <c:v>0.79967163218964687</c:v>
                </c:pt>
                <c:pt idx="29">
                  <c:v>0.80872863088865743</c:v>
                </c:pt>
                <c:pt idx="30">
                  <c:v>0.8169810324383231</c:v>
                </c:pt>
                <c:pt idx="31">
                  <c:v>0.82468519416427044</c:v>
                </c:pt>
                <c:pt idx="32">
                  <c:v>0.83234903001877081</c:v>
                </c:pt>
                <c:pt idx="33">
                  <c:v>0.83962208897615498</c:v>
                </c:pt>
                <c:pt idx="34">
                  <c:v>0.84673480458754802</c:v>
                </c:pt>
                <c:pt idx="35">
                  <c:v>0.85364589084170661</c:v>
                </c:pt>
                <c:pt idx="36">
                  <c:v>0.86041391626620845</c:v>
                </c:pt>
                <c:pt idx="37">
                  <c:v>0.86671915430886748</c:v>
                </c:pt>
                <c:pt idx="38">
                  <c:v>0.8730138308137666</c:v>
                </c:pt>
                <c:pt idx="39">
                  <c:v>0.87915680523084172</c:v>
                </c:pt>
                <c:pt idx="40">
                  <c:v>0.88522296846420845</c:v>
                </c:pt>
                <c:pt idx="41">
                  <c:v>0.89080138068102721</c:v>
                </c:pt>
                <c:pt idx="42">
                  <c:v>0.89635002856415902</c:v>
                </c:pt>
                <c:pt idx="43">
                  <c:v>0.90176329673600486</c:v>
                </c:pt>
                <c:pt idx="44">
                  <c:v>0.90698933764756162</c:v>
                </c:pt>
                <c:pt idx="45">
                  <c:v>0.91205311493353447</c:v>
                </c:pt>
                <c:pt idx="46">
                  <c:v>0.91710152998276562</c:v>
                </c:pt>
                <c:pt idx="47">
                  <c:v>0.9214308003245274</c:v>
                </c:pt>
                <c:pt idx="48">
                  <c:v>0.92543938397430681</c:v>
                </c:pt>
                <c:pt idx="49">
                  <c:v>0.92943356552714085</c:v>
                </c:pt>
                <c:pt idx="50">
                  <c:v>0.93336245757382286</c:v>
                </c:pt>
                <c:pt idx="51">
                  <c:v>0.93722221955516738</c:v>
                </c:pt>
                <c:pt idx="52">
                  <c:v>0.94056062562709142</c:v>
                </c:pt>
                <c:pt idx="53">
                  <c:v>0.94351593592027005</c:v>
                </c:pt>
                <c:pt idx="54">
                  <c:v>0.94644724271853986</c:v>
                </c:pt>
                <c:pt idx="55">
                  <c:v>0.94921532575142942</c:v>
                </c:pt>
                <c:pt idx="56">
                  <c:v>0.9519632458485956</c:v>
                </c:pt>
                <c:pt idx="57">
                  <c:v>0.95461899252531168</c:v>
                </c:pt>
                <c:pt idx="58">
                  <c:v>0.95690220496104228</c:v>
                </c:pt>
                <c:pt idx="59">
                  <c:v>0.9590855628579521</c:v>
                </c:pt>
                <c:pt idx="60">
                  <c:v>0.96121419278646969</c:v>
                </c:pt>
                <c:pt idx="61">
                  <c:v>0.96329577586496595</c:v>
                </c:pt>
                <c:pt idx="62">
                  <c:v>0.96531879041588453</c:v>
                </c:pt>
                <c:pt idx="63">
                  <c:v>0.96728995741779999</c:v>
                </c:pt>
                <c:pt idx="64">
                  <c:v>0.96918719365539618</c:v>
                </c:pt>
                <c:pt idx="65">
                  <c:v>0.97089048165412883</c:v>
                </c:pt>
                <c:pt idx="66">
                  <c:v>0.97258608853449058</c:v>
                </c:pt>
                <c:pt idx="67">
                  <c:v>0.97420296395155126</c:v>
                </c:pt>
                <c:pt idx="68">
                  <c:v>0.97574782888388545</c:v>
                </c:pt>
                <c:pt idx="69">
                  <c:v>0.97722548403047482</c:v>
                </c:pt>
                <c:pt idx="70">
                  <c:v>0.97866473358521</c:v>
                </c:pt>
                <c:pt idx="71">
                  <c:v>0.98008574048381447</c:v>
                </c:pt>
                <c:pt idx="72">
                  <c:v>0.98147986346812099</c:v>
                </c:pt>
                <c:pt idx="73">
                  <c:v>0.98270500184826914</c:v>
                </c:pt>
                <c:pt idx="74">
                  <c:v>0.98387445212022873</c:v>
                </c:pt>
                <c:pt idx="75">
                  <c:v>0.98486435625027002</c:v>
                </c:pt>
                <c:pt idx="76">
                  <c:v>0.98574672472311964</c:v>
                </c:pt>
                <c:pt idx="77">
                  <c:v>0.98661085053983855</c:v>
                </c:pt>
                <c:pt idx="78">
                  <c:v>0.98743753090449959</c:v>
                </c:pt>
                <c:pt idx="79">
                  <c:v>0.98825268959160439</c:v>
                </c:pt>
                <c:pt idx="80">
                  <c:v>0.98906400771952385</c:v>
                </c:pt>
                <c:pt idx="81">
                  <c:v>0.9898417209545709</c:v>
                </c:pt>
                <c:pt idx="82">
                  <c:v>0.99060983279165438</c:v>
                </c:pt>
                <c:pt idx="83">
                  <c:v>0.99136930337057072</c:v>
                </c:pt>
                <c:pt idx="84">
                  <c:v>0.99212013269131982</c:v>
                </c:pt>
                <c:pt idx="85">
                  <c:v>0.99284599837736376</c:v>
                </c:pt>
                <c:pt idx="86">
                  <c:v>0.99352865777257171</c:v>
                </c:pt>
                <c:pt idx="87">
                  <c:v>0.99405577452077021</c:v>
                </c:pt>
                <c:pt idx="88">
                  <c:v>0.99458193112917237</c:v>
                </c:pt>
                <c:pt idx="89">
                  <c:v>0.99498999054262294</c:v>
                </c:pt>
                <c:pt idx="90">
                  <c:v>0.99539132897749905</c:v>
                </c:pt>
                <c:pt idx="91">
                  <c:v>0.99579170727257882</c:v>
                </c:pt>
                <c:pt idx="92">
                  <c:v>0.99617384291152788</c:v>
                </c:pt>
                <c:pt idx="93">
                  <c:v>0.99654733729230971</c:v>
                </c:pt>
                <c:pt idx="94">
                  <c:v>0.99691507083431341</c:v>
                </c:pt>
                <c:pt idx="95">
                  <c:v>0.9972722428385572</c:v>
                </c:pt>
                <c:pt idx="96">
                  <c:v>0.9975986903693177</c:v>
                </c:pt>
                <c:pt idx="97">
                  <c:v>0.99787713091026042</c:v>
                </c:pt>
                <c:pt idx="98">
                  <c:v>0.99815269103181414</c:v>
                </c:pt>
                <c:pt idx="99">
                  <c:v>0.99840904835744071</c:v>
                </c:pt>
                <c:pt idx="100">
                  <c:v>0.99865868470449282</c:v>
                </c:pt>
                <c:pt idx="101">
                  <c:v>0.99889007839541422</c:v>
                </c:pt>
                <c:pt idx="102">
                  <c:v>0.99912147208633562</c:v>
                </c:pt>
                <c:pt idx="103">
                  <c:v>0.99928949655069765</c:v>
                </c:pt>
                <c:pt idx="104">
                  <c:v>0.99945368045587424</c:v>
                </c:pt>
                <c:pt idx="105">
                  <c:v>0.99956601681204771</c:v>
                </c:pt>
                <c:pt idx="106">
                  <c:v>0.9996687517702576</c:v>
                </c:pt>
                <c:pt idx="107">
                  <c:v>0.9997638056100967</c:v>
                </c:pt>
                <c:pt idx="108">
                  <c:v>0.99985021819176856</c:v>
                </c:pt>
                <c:pt idx="109">
                  <c:v>0.9999231888162915</c:v>
                </c:pt>
                <c:pt idx="110">
                  <c:v>0.99996639510712748</c:v>
                </c:pt>
                <c:pt idx="111">
                  <c:v>0.99999999999999989</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152</c:f>
              <c:strCache>
                <c:ptCount val="151"/>
                <c:pt idx="0">
                  <c:v>Ruinart</c:v>
                </c:pt>
                <c:pt idx="1">
                  <c:v>Nicolas</c:v>
                </c:pt>
                <c:pt idx="2">
                  <c:v>Deutz</c:v>
                </c:pt>
                <c:pt idx="3">
                  <c:v>Laurent Per</c:v>
                </c:pt>
                <c:pt idx="4">
                  <c:v>Heidsieck &amp;</c:v>
                </c:pt>
                <c:pt idx="5">
                  <c:v>Ayala</c:v>
                </c:pt>
                <c:pt idx="6">
                  <c:v>Taittinger</c:v>
                </c:pt>
                <c:pt idx="7">
                  <c:v>Bollinger</c:v>
                </c:pt>
                <c:pt idx="8">
                  <c:v>Ruinart</c:v>
                </c:pt>
                <c:pt idx="9">
                  <c:v>De Bligny</c:v>
                </c:pt>
                <c:pt idx="10">
                  <c:v>Canard Duch</c:v>
                </c:pt>
                <c:pt idx="11">
                  <c:v>Perrier Jou</c:v>
                </c:pt>
                <c:pt idx="12">
                  <c:v>Ruinart</c:v>
                </c:pt>
                <c:pt idx="13">
                  <c:v>Besserat De</c:v>
                </c:pt>
                <c:pt idx="14">
                  <c:v>Deutz</c:v>
                </c:pt>
                <c:pt idx="15">
                  <c:v>Roederer</c:v>
                </c:pt>
                <c:pt idx="16">
                  <c:v>Demoiselle</c:v>
                </c:pt>
                <c:pt idx="17">
                  <c:v>All Others</c:v>
                </c:pt>
                <c:pt idx="18">
                  <c:v>Laurent Per</c:v>
                </c:pt>
                <c:pt idx="19">
                  <c:v>Campari: Al</c:v>
                </c:pt>
                <c:pt idx="20">
                  <c:v>Veuve Clicq</c:v>
                </c:pt>
                <c:pt idx="21">
                  <c:v>Pommery</c:v>
                </c:pt>
                <c:pt idx="22">
                  <c:v>All Others</c:v>
                </c:pt>
                <c:pt idx="23">
                  <c:v>Moët &amp; Chan</c:v>
                </c:pt>
                <c:pt idx="24">
                  <c:v>Veuve Clicq</c:v>
                </c:pt>
                <c:pt idx="25">
                  <c:v>Taittinger</c:v>
                </c:pt>
                <c:pt idx="26">
                  <c:v>Savian</c:v>
                </c:pt>
                <c:pt idx="27">
                  <c:v>Veuve Clicq</c:v>
                </c:pt>
                <c:pt idx="28">
                  <c:v>Henriot</c:v>
                </c:pt>
                <c:pt idx="29">
                  <c:v>Ruinart</c:v>
                </c:pt>
                <c:pt idx="30">
                  <c:v>Roederer</c:v>
                </c:pt>
                <c:pt idx="31">
                  <c:v>All Others</c:v>
                </c:pt>
                <c:pt idx="32">
                  <c:v>Krug</c:v>
                </c:pt>
                <c:pt idx="33">
                  <c:v>Deutz</c:v>
                </c:pt>
                <c:pt idx="34">
                  <c:v>Piper Heids</c:v>
                </c:pt>
                <c:pt idx="35">
                  <c:v>Campari: Al</c:v>
                </c:pt>
                <c:pt idx="36">
                  <c:v>Nicolas</c:v>
                </c:pt>
                <c:pt idx="37">
                  <c:v>Bollinger</c:v>
                </c:pt>
                <c:pt idx="38">
                  <c:v>De Venoge</c:v>
                </c:pt>
                <c:pt idx="39">
                  <c:v>Lanson</c:v>
                </c:pt>
                <c:pt idx="40">
                  <c:v>Nicolas Feu</c:v>
                </c:pt>
                <c:pt idx="41">
                  <c:v>Canard Duch</c:v>
                </c:pt>
                <c:pt idx="42">
                  <c:v>Henriot</c:v>
                </c:pt>
                <c:pt idx="43">
                  <c:v>Roederer</c:v>
                </c:pt>
                <c:pt idx="44">
                  <c:v>Roederer</c:v>
                </c:pt>
                <c:pt idx="45">
                  <c:v>Roederer</c:v>
                </c:pt>
                <c:pt idx="46">
                  <c:v>Nicolas</c:v>
                </c:pt>
                <c:pt idx="47">
                  <c:v>Canard Duch</c:v>
                </c:pt>
                <c:pt idx="48">
                  <c:v>De Venoge</c:v>
                </c:pt>
                <c:pt idx="49">
                  <c:v>Laurent Per</c:v>
                </c:pt>
                <c:pt idx="50">
                  <c:v>Nicolas</c:v>
                </c:pt>
                <c:pt idx="51">
                  <c:v>Canard Duch</c:v>
                </c:pt>
                <c:pt idx="52">
                  <c:v>Nicolas Feu</c:v>
                </c:pt>
                <c:pt idx="53">
                  <c:v>De Venoge</c:v>
                </c:pt>
                <c:pt idx="54">
                  <c:v>Moët &amp; Chan</c:v>
                </c:pt>
                <c:pt idx="55">
                  <c:v>Roederer</c:v>
                </c:pt>
                <c:pt idx="56">
                  <c:v>Vranken</c:v>
                </c:pt>
                <c:pt idx="57">
                  <c:v>Ruinart</c:v>
                </c:pt>
                <c:pt idx="58">
                  <c:v>Ruinart</c:v>
                </c:pt>
                <c:pt idx="59">
                  <c:v>Nicolas</c:v>
                </c:pt>
                <c:pt idx="60">
                  <c:v>Demoiselle</c:v>
                </c:pt>
                <c:pt idx="61">
                  <c:v>Laurent Per</c:v>
                </c:pt>
                <c:pt idx="62">
                  <c:v>Ruinart</c:v>
                </c:pt>
                <c:pt idx="63">
                  <c:v>Pommery</c:v>
                </c:pt>
                <c:pt idx="64">
                  <c:v>All Others</c:v>
                </c:pt>
                <c:pt idx="65">
                  <c:v>Veuve Clicq</c:v>
                </c:pt>
                <c:pt idx="66">
                  <c:v>Moët &amp; Chan</c:v>
                </c:pt>
                <c:pt idx="67">
                  <c:v>Moët &amp; Chan</c:v>
                </c:pt>
                <c:pt idx="68">
                  <c:v>Canard Duch</c:v>
                </c:pt>
                <c:pt idx="69">
                  <c:v>All Others</c:v>
                </c:pt>
                <c:pt idx="70">
                  <c:v>All Others</c:v>
                </c:pt>
                <c:pt idx="71">
                  <c:v>Laurent Per</c:v>
                </c:pt>
                <c:pt idx="72">
                  <c:v>Pommery</c:v>
                </c:pt>
                <c:pt idx="73">
                  <c:v>Pommery</c:v>
                </c:pt>
                <c:pt idx="74">
                  <c:v>All Others</c:v>
                </c:pt>
                <c:pt idx="75">
                  <c:v>Deutz</c:v>
                </c:pt>
                <c:pt idx="76">
                  <c:v>Lanson-Bcc:</c:v>
                </c:pt>
                <c:pt idx="77">
                  <c:v>Nicolas</c:v>
                </c:pt>
                <c:pt idx="78">
                  <c:v>Moët &amp; Chan</c:v>
                </c:pt>
                <c:pt idx="79">
                  <c:v>Laurent Per</c:v>
                </c:pt>
                <c:pt idx="80">
                  <c:v>Roederer</c:v>
                </c:pt>
                <c:pt idx="81">
                  <c:v>All Others</c:v>
                </c:pt>
                <c:pt idx="82">
                  <c:v>Bollinger</c:v>
                </c:pt>
                <c:pt idx="83">
                  <c:v>All Others</c:v>
                </c:pt>
                <c:pt idx="84">
                  <c:v>Canard Duch</c:v>
                </c:pt>
                <c:pt idx="85">
                  <c:v>All Others</c:v>
                </c:pt>
                <c:pt idx="86">
                  <c:v>Ruinart</c:v>
                </c:pt>
                <c:pt idx="87">
                  <c:v>Ruinart</c:v>
                </c:pt>
                <c:pt idx="88">
                  <c:v>Demoiselle</c:v>
                </c:pt>
                <c:pt idx="89">
                  <c:v>Vranken</c:v>
                </c:pt>
                <c:pt idx="90">
                  <c:v>All Others</c:v>
                </c:pt>
                <c:pt idx="91">
                  <c:v>All Others</c:v>
                </c:pt>
                <c:pt idx="92">
                  <c:v>Taittinger</c:v>
                </c:pt>
                <c:pt idx="93">
                  <c:v>Deutz</c:v>
                </c:pt>
                <c:pt idx="94">
                  <c:v>Malard</c:v>
                </c:pt>
                <c:pt idx="95">
                  <c:v>Roederer</c:v>
                </c:pt>
                <c:pt idx="96">
                  <c:v>Delamotte</c:v>
                </c:pt>
                <c:pt idx="97">
                  <c:v>All Others</c:v>
                </c:pt>
                <c:pt idx="98">
                  <c:v>Moët &amp; Chan</c:v>
                </c:pt>
                <c:pt idx="99">
                  <c:v>Laurent Per</c:v>
                </c:pt>
                <c:pt idx="100">
                  <c:v>De Venoge</c:v>
                </c:pt>
                <c:pt idx="101">
                  <c:v>All Others</c:v>
                </c:pt>
                <c:pt idx="102">
                  <c:v>Demoiselle</c:v>
                </c:pt>
                <c:pt idx="103">
                  <c:v>Nicolas</c:v>
                </c:pt>
                <c:pt idx="104">
                  <c:v>Veuve Clicq</c:v>
                </c:pt>
                <c:pt idx="105">
                  <c:v>De Venoge</c:v>
                </c:pt>
                <c:pt idx="106">
                  <c:v>Ayala</c:v>
                </c:pt>
                <c:pt idx="107">
                  <c:v>Pommery</c:v>
                </c:pt>
                <c:pt idx="108">
                  <c:v>Canard Duch</c:v>
                </c:pt>
                <c:pt idx="109">
                  <c:v>Canard Duch</c:v>
                </c:pt>
                <c:pt idx="110">
                  <c:v>Veuve Clicq</c:v>
                </c:pt>
                <c:pt idx="111">
                  <c:v>Roederer</c:v>
                </c:pt>
                <c:pt idx="112">
                  <c:v>Bollinger</c:v>
                </c:pt>
                <c:pt idx="113">
                  <c:v>Nicolas Feu</c:v>
                </c:pt>
                <c:pt idx="114">
                  <c:v>Heidsieck &amp;</c:v>
                </c:pt>
                <c:pt idx="115">
                  <c:v>Roederer</c:v>
                </c:pt>
                <c:pt idx="116">
                  <c:v>Henriot</c:v>
                </c:pt>
                <c:pt idx="117">
                  <c:v>Taittinger</c:v>
                </c:pt>
                <c:pt idx="118">
                  <c:v>Pommery</c:v>
                </c:pt>
                <c:pt idx="119">
                  <c:v>Laurent Per</c:v>
                </c:pt>
                <c:pt idx="120">
                  <c:v>Laurent Per</c:v>
                </c:pt>
                <c:pt idx="121">
                  <c:v>Heidsieck &amp;</c:v>
                </c:pt>
                <c:pt idx="122">
                  <c:v>Taittinger</c:v>
                </c:pt>
                <c:pt idx="123">
                  <c:v>Besserat De</c:v>
                </c:pt>
                <c:pt idx="124">
                  <c:v>All Others</c:v>
                </c:pt>
                <c:pt idx="125">
                  <c:v>Nicolas Feu</c:v>
                </c:pt>
                <c:pt idx="126">
                  <c:v>Lanson</c:v>
                </c:pt>
                <c:pt idx="127">
                  <c:v>Moët &amp; Chan</c:v>
                </c:pt>
                <c:pt idx="128">
                  <c:v>Bollinger</c:v>
                </c:pt>
                <c:pt idx="129">
                  <c:v>Martel</c:v>
                </c:pt>
                <c:pt idx="130">
                  <c:v>All Others</c:v>
                </c:pt>
                <c:pt idx="131">
                  <c:v>Nicolas Feu</c:v>
                </c:pt>
                <c:pt idx="132">
                  <c:v>Laurent Per</c:v>
                </c:pt>
                <c:pt idx="133">
                  <c:v>All Others</c:v>
                </c:pt>
                <c:pt idx="134">
                  <c:v>Roederer</c:v>
                </c:pt>
                <c:pt idx="135">
                  <c:v>Demoiselle</c:v>
                </c:pt>
                <c:pt idx="136">
                  <c:v>All Others</c:v>
                </c:pt>
                <c:pt idx="137">
                  <c:v>Nicolas Feu</c:v>
                </c:pt>
                <c:pt idx="138">
                  <c:v>Besserat De</c:v>
                </c:pt>
                <c:pt idx="139">
                  <c:v>Pommery</c:v>
                </c:pt>
                <c:pt idx="140">
                  <c:v>All Others</c:v>
                </c:pt>
                <c:pt idx="141">
                  <c:v>Laurent Per</c:v>
                </c:pt>
                <c:pt idx="142">
                  <c:v>Taittinger</c:v>
                </c:pt>
                <c:pt idx="143">
                  <c:v>Vranken</c:v>
                </c:pt>
                <c:pt idx="144">
                  <c:v>Nicolas</c:v>
                </c:pt>
                <c:pt idx="145">
                  <c:v>Moët &amp; Chan</c:v>
                </c:pt>
                <c:pt idx="146">
                  <c:v>Roederer</c:v>
                </c:pt>
                <c:pt idx="147">
                  <c:v>Piper Heids</c:v>
                </c:pt>
                <c:pt idx="148">
                  <c:v>Demoiselle</c:v>
                </c:pt>
                <c:pt idx="149">
                  <c:v>All Others</c:v>
                </c:pt>
                <c:pt idx="150">
                  <c:v>Roederer</c:v>
                </c:pt>
              </c:strCache>
            </c:strRef>
          </c:cat>
          <c:val>
            <c:numRef>
              <c:f>Sheet1!$B$2:$B$152</c:f>
              <c:numCache>
                <c:formatCode>General</c:formatCode>
                <c:ptCount val="151"/>
                <c:pt idx="0">
                  <c:v>1</c:v>
                </c:pt>
                <c:pt idx="1">
                  <c:v>1</c:v>
                </c:pt>
                <c:pt idx="2">
                  <c:v>1</c:v>
                </c:pt>
                <c:pt idx="3">
                  <c:v>1</c:v>
                </c:pt>
                <c:pt idx="4">
                  <c:v>0.98</c:v>
                </c:pt>
                <c:pt idx="5">
                  <c:v>1</c:v>
                </c:pt>
                <c:pt idx="6">
                  <c:v>0.96</c:v>
                </c:pt>
                <c:pt idx="7">
                  <c:v>1</c:v>
                </c:pt>
                <c:pt idx="8">
                  <c:v>0.8</c:v>
                </c:pt>
                <c:pt idx="9">
                  <c:v>0.96</c:v>
                </c:pt>
                <c:pt idx="10">
                  <c:v>0.98</c:v>
                </c:pt>
                <c:pt idx="11">
                  <c:v>0.98</c:v>
                </c:pt>
                <c:pt idx="12">
                  <c:v>0.74</c:v>
                </c:pt>
                <c:pt idx="13">
                  <c:v>0.91</c:v>
                </c:pt>
                <c:pt idx="14">
                  <c:v>0.93</c:v>
                </c:pt>
                <c:pt idx="15">
                  <c:v>0.88</c:v>
                </c:pt>
                <c:pt idx="16">
                  <c:v>0.94</c:v>
                </c:pt>
                <c:pt idx="17">
                  <c:v>0.89</c:v>
                </c:pt>
                <c:pt idx="18">
                  <c:v>0.98</c:v>
                </c:pt>
                <c:pt idx="19">
                  <c:v>0.88</c:v>
                </c:pt>
                <c:pt idx="20">
                  <c:v>0.76</c:v>
                </c:pt>
                <c:pt idx="21">
                  <c:v>0.85</c:v>
                </c:pt>
                <c:pt idx="22">
                  <c:v>0.74</c:v>
                </c:pt>
                <c:pt idx="23">
                  <c:v>0.92</c:v>
                </c:pt>
                <c:pt idx="24">
                  <c:v>0.78</c:v>
                </c:pt>
                <c:pt idx="25">
                  <c:v>0.7</c:v>
                </c:pt>
                <c:pt idx="26">
                  <c:v>0.86</c:v>
                </c:pt>
                <c:pt idx="27">
                  <c:v>0.74</c:v>
                </c:pt>
                <c:pt idx="28">
                  <c:v>0.67</c:v>
                </c:pt>
                <c:pt idx="29">
                  <c:v>0.83</c:v>
                </c:pt>
                <c:pt idx="30">
                  <c:v>0.65</c:v>
                </c:pt>
                <c:pt idx="31">
                  <c:v>0.56000000000000005</c:v>
                </c:pt>
                <c:pt idx="32">
                  <c:v>0.28000000000000003</c:v>
                </c:pt>
                <c:pt idx="33">
                  <c:v>0.92</c:v>
                </c:pt>
                <c:pt idx="34">
                  <c:v>0.72</c:v>
                </c:pt>
                <c:pt idx="35">
                  <c:v>0.66</c:v>
                </c:pt>
                <c:pt idx="36">
                  <c:v>0.9</c:v>
                </c:pt>
                <c:pt idx="37">
                  <c:v>0.37</c:v>
                </c:pt>
                <c:pt idx="38">
                  <c:v>0.66</c:v>
                </c:pt>
                <c:pt idx="39">
                  <c:v>0.74</c:v>
                </c:pt>
                <c:pt idx="40">
                  <c:v>0.56000000000000005</c:v>
                </c:pt>
                <c:pt idx="41">
                  <c:v>0.86</c:v>
                </c:pt>
                <c:pt idx="42">
                  <c:v>0.75</c:v>
                </c:pt>
                <c:pt idx="43">
                  <c:v>0.33</c:v>
                </c:pt>
                <c:pt idx="44">
                  <c:v>0.23</c:v>
                </c:pt>
                <c:pt idx="45">
                  <c:v>0.59</c:v>
                </c:pt>
                <c:pt idx="46">
                  <c:v>0.34</c:v>
                </c:pt>
                <c:pt idx="47">
                  <c:v>0.54</c:v>
                </c:pt>
                <c:pt idx="48">
                  <c:v>0.48</c:v>
                </c:pt>
                <c:pt idx="49">
                  <c:v>0.27</c:v>
                </c:pt>
                <c:pt idx="50">
                  <c:v>0.43</c:v>
                </c:pt>
                <c:pt idx="51">
                  <c:v>0.37</c:v>
                </c:pt>
                <c:pt idx="52">
                  <c:v>0.46</c:v>
                </c:pt>
                <c:pt idx="53">
                  <c:v>0.26</c:v>
                </c:pt>
                <c:pt idx="54">
                  <c:v>0.39</c:v>
                </c:pt>
                <c:pt idx="55">
                  <c:v>0.49</c:v>
                </c:pt>
                <c:pt idx="56">
                  <c:v>0.22</c:v>
                </c:pt>
                <c:pt idx="57">
                  <c:v>0.13</c:v>
                </c:pt>
                <c:pt idx="58">
                  <c:v>0.14000000000000001</c:v>
                </c:pt>
                <c:pt idx="59">
                  <c:v>0.28000000000000003</c:v>
                </c:pt>
                <c:pt idx="60">
                  <c:v>0.45</c:v>
                </c:pt>
                <c:pt idx="61">
                  <c:v>0.09</c:v>
                </c:pt>
                <c:pt idx="62">
                  <c:v>0.1</c:v>
                </c:pt>
                <c:pt idx="63">
                  <c:v>0.27</c:v>
                </c:pt>
                <c:pt idx="64">
                  <c:v>0.2</c:v>
                </c:pt>
                <c:pt idx="65">
                  <c:v>0.32</c:v>
                </c:pt>
                <c:pt idx="66">
                  <c:v>0.23</c:v>
                </c:pt>
                <c:pt idx="67">
                  <c:v>0.14000000000000001</c:v>
                </c:pt>
                <c:pt idx="68">
                  <c:v>0.17</c:v>
                </c:pt>
                <c:pt idx="69">
                  <c:v>0.03</c:v>
                </c:pt>
                <c:pt idx="70">
                  <c:v>0.27</c:v>
                </c:pt>
                <c:pt idx="71">
                  <c:v>0.15</c:v>
                </c:pt>
                <c:pt idx="72">
                  <c:v>0.24</c:v>
                </c:pt>
                <c:pt idx="73">
                  <c:v>0.21</c:v>
                </c:pt>
                <c:pt idx="74">
                  <c:v>0.03</c:v>
                </c:pt>
                <c:pt idx="75">
                  <c:v>0.1</c:v>
                </c:pt>
                <c:pt idx="76">
                  <c:v>0.03</c:v>
                </c:pt>
                <c:pt idx="77">
                  <c:v>0.24</c:v>
                </c:pt>
                <c:pt idx="78">
                  <c:v>0.11</c:v>
                </c:pt>
                <c:pt idx="79">
                  <c:v>0.09</c:v>
                </c:pt>
                <c:pt idx="80">
                  <c:v>0.28000000000000003</c:v>
                </c:pt>
                <c:pt idx="81">
                  <c:v>0.03</c:v>
                </c:pt>
                <c:pt idx="82">
                  <c:v>0.09</c:v>
                </c:pt>
                <c:pt idx="83">
                  <c:v>0.03</c:v>
                </c:pt>
                <c:pt idx="84">
                  <c:v>0.2</c:v>
                </c:pt>
                <c:pt idx="85">
                  <c:v>0.09</c:v>
                </c:pt>
                <c:pt idx="86">
                  <c:v>0.05</c:v>
                </c:pt>
                <c:pt idx="87">
                  <c:v>0.08</c:v>
                </c:pt>
                <c:pt idx="88">
                  <c:v>0.06</c:v>
                </c:pt>
                <c:pt idx="89">
                  <c:v>0.08</c:v>
                </c:pt>
                <c:pt idx="90">
                  <c:v>0.09</c:v>
                </c:pt>
                <c:pt idx="91">
                  <c:v>0.03</c:v>
                </c:pt>
                <c:pt idx="92">
                  <c:v>7.0000000000000007E-2</c:v>
                </c:pt>
                <c:pt idx="93">
                  <c:v>0.09</c:v>
                </c:pt>
                <c:pt idx="94">
                  <c:v>0.05</c:v>
                </c:pt>
                <c:pt idx="95">
                  <c:v>0.08</c:v>
                </c:pt>
                <c:pt idx="96">
                  <c:v>0.09</c:v>
                </c:pt>
                <c:pt idx="97">
                  <c:v>0.02</c:v>
                </c:pt>
                <c:pt idx="98">
                  <c:v>0.08</c:v>
                </c:pt>
                <c:pt idx="99">
                  <c:v>0.03</c:v>
                </c:pt>
                <c:pt idx="100">
                  <c:v>0.05</c:v>
                </c:pt>
                <c:pt idx="101">
                  <c:v>0.02</c:v>
                </c:pt>
                <c:pt idx="102">
                  <c:v>7.0000000000000007E-2</c:v>
                </c:pt>
                <c:pt idx="103">
                  <c:v>7.0000000000000007E-2</c:v>
                </c:pt>
                <c:pt idx="104">
                  <c:v>0.1</c:v>
                </c:pt>
                <c:pt idx="105">
                  <c:v>7.0000000000000007E-2</c:v>
                </c:pt>
                <c:pt idx="106">
                  <c:v>0.02</c:v>
                </c:pt>
                <c:pt idx="107">
                  <c:v>0.06</c:v>
                </c:pt>
                <c:pt idx="108">
                  <c:v>7.0000000000000007E-2</c:v>
                </c:pt>
                <c:pt idx="109">
                  <c:v>0.06</c:v>
                </c:pt>
                <c:pt idx="110">
                  <c:v>0.08</c:v>
                </c:pt>
                <c:pt idx="111">
                  <c:v>0.03</c:v>
                </c:pt>
                <c:pt idx="112">
                  <c:v>0.02</c:v>
                </c:pt>
                <c:pt idx="113">
                  <c:v>0.06</c:v>
                </c:pt>
                <c:pt idx="114">
                  <c:v>0.04</c:v>
                </c:pt>
                <c:pt idx="115">
                  <c:v>0.03</c:v>
                </c:pt>
                <c:pt idx="116">
                  <c:v>0.06</c:v>
                </c:pt>
                <c:pt idx="117">
                  <c:v>0.03</c:v>
                </c:pt>
                <c:pt idx="118">
                  <c:v>0.02</c:v>
                </c:pt>
                <c:pt idx="119">
                  <c:v>0.02</c:v>
                </c:pt>
                <c:pt idx="120">
                  <c:v>0.02</c:v>
                </c:pt>
                <c:pt idx="121">
                  <c:v>0.02</c:v>
                </c:pt>
                <c:pt idx="122">
                  <c:v>0.03</c:v>
                </c:pt>
                <c:pt idx="123">
                  <c:v>0.02</c:v>
                </c:pt>
                <c:pt idx="124">
                  <c:v>0.02</c:v>
                </c:pt>
                <c:pt idx="125">
                  <c:v>0.03</c:v>
                </c:pt>
                <c:pt idx="126">
                  <c:v>0.06</c:v>
                </c:pt>
                <c:pt idx="127">
                  <c:v>0.03</c:v>
                </c:pt>
                <c:pt idx="128">
                  <c:v>0.04</c:v>
                </c:pt>
                <c:pt idx="129">
                  <c:v>0.02</c:v>
                </c:pt>
                <c:pt idx="130">
                  <c:v>0.03</c:v>
                </c:pt>
                <c:pt idx="131">
                  <c:v>0.02</c:v>
                </c:pt>
                <c:pt idx="132">
                  <c:v>0.03</c:v>
                </c:pt>
                <c:pt idx="133">
                  <c:v>0.04</c:v>
                </c:pt>
                <c:pt idx="134">
                  <c:v>0.02</c:v>
                </c:pt>
                <c:pt idx="135">
                  <c:v>0.02</c:v>
                </c:pt>
                <c:pt idx="136">
                  <c:v>0.02</c:v>
                </c:pt>
                <c:pt idx="137">
                  <c:v>0.01</c:v>
                </c:pt>
                <c:pt idx="138">
                  <c:v>0.02</c:v>
                </c:pt>
                <c:pt idx="139">
                  <c:v>0.01</c:v>
                </c:pt>
                <c:pt idx="140">
                  <c:v>0.02</c:v>
                </c:pt>
                <c:pt idx="141">
                  <c:v>0.02</c:v>
                </c:pt>
                <c:pt idx="142">
                  <c:v>0.05</c:v>
                </c:pt>
                <c:pt idx="143">
                  <c:v>0.03</c:v>
                </c:pt>
                <c:pt idx="144">
                  <c:v>0.02</c:v>
                </c:pt>
                <c:pt idx="145">
                  <c:v>0.02</c:v>
                </c:pt>
                <c:pt idx="146">
                  <c:v>0.02</c:v>
                </c:pt>
                <c:pt idx="147">
                  <c:v>0.01</c:v>
                </c:pt>
                <c:pt idx="148">
                  <c:v>0.02</c:v>
                </c:pt>
                <c:pt idx="149">
                  <c:v>0.02</c:v>
                </c:pt>
                <c:pt idx="150">
                  <c:v>0.02</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7ECAC4"/>
              </a:solidFill>
            </c:spPr>
            <c:extLst>
              <c:ext xmlns:c16="http://schemas.microsoft.com/office/drawing/2014/chart" uri="{C3380CC4-5D6E-409C-BE32-E72D297353CC}">
                <c16:uniqueId val="{00000069-2993-41DE-A2CB-63102DE87051}"/>
              </c:ext>
            </c:extLst>
          </c:dPt>
          <c:dPt>
            <c:idx val="25"/>
            <c:invertIfNegative val="1"/>
            <c:bubble3D val="0"/>
            <c:spPr>
              <a:solidFill>
                <a:srgbClr val="7ECAC4"/>
              </a:solidFill>
            </c:spPr>
            <c:extLst>
              <c:ext xmlns:c16="http://schemas.microsoft.com/office/drawing/2014/chart" uri="{C3380CC4-5D6E-409C-BE32-E72D297353CC}">
                <c16:uniqueId val="{0000006B-2993-41DE-A2CB-63102DE87051}"/>
              </c:ext>
            </c:extLst>
          </c:dPt>
          <c:dPt>
            <c:idx val="26"/>
            <c:invertIfNegative val="1"/>
            <c:bubble3D val="0"/>
            <c:spPr>
              <a:solidFill>
                <a:srgbClr val="7ECAC4"/>
              </a:solidFill>
            </c:spPr>
            <c:extLst>
              <c:ext xmlns:c16="http://schemas.microsoft.com/office/drawing/2014/chart" uri="{C3380CC4-5D6E-409C-BE32-E72D297353CC}">
                <c16:uniqueId val="{0000006D-2993-41DE-A2CB-63102DE87051}"/>
              </c:ext>
            </c:extLst>
          </c:dPt>
          <c:dPt>
            <c:idx val="27"/>
            <c:invertIfNegative val="1"/>
            <c:bubble3D val="0"/>
            <c:spPr>
              <a:solidFill>
                <a:srgbClr val="7ECAC4"/>
              </a:solidFill>
            </c:spPr>
            <c:extLst>
              <c:ext xmlns:c16="http://schemas.microsoft.com/office/drawing/2014/chart" uri="{C3380CC4-5D6E-409C-BE32-E72D297353CC}">
                <c16:uniqueId val="{0000006F-2993-41DE-A2CB-63102DE87051}"/>
              </c:ext>
            </c:extLst>
          </c:dPt>
          <c:dPt>
            <c:idx val="28"/>
            <c:invertIfNegative val="1"/>
            <c:bubble3D val="0"/>
            <c:spPr>
              <a:solidFill>
                <a:srgbClr val="7ECAC4"/>
              </a:solidFill>
            </c:spPr>
            <c:extLst>
              <c:ext xmlns:c16="http://schemas.microsoft.com/office/drawing/2014/chart" uri="{C3380CC4-5D6E-409C-BE32-E72D297353CC}">
                <c16:uniqueId val="{00000071-2993-41DE-A2CB-63102DE87051}"/>
              </c:ext>
            </c:extLst>
          </c:dPt>
          <c:dPt>
            <c:idx val="29"/>
            <c:invertIfNegative val="1"/>
            <c:bubble3D val="0"/>
            <c:spPr>
              <a:solidFill>
                <a:srgbClr val="7ECAC4"/>
              </a:solidFill>
            </c:spPr>
            <c:extLst>
              <c:ext xmlns:c16="http://schemas.microsoft.com/office/drawing/2014/chart" uri="{C3380CC4-5D6E-409C-BE32-E72D297353CC}">
                <c16:uniqueId val="{00000073-2993-41DE-A2CB-63102DE87051}"/>
              </c:ext>
            </c:extLst>
          </c:dPt>
          <c:dPt>
            <c:idx val="30"/>
            <c:invertIfNegative val="1"/>
            <c:bubble3D val="0"/>
            <c:spPr>
              <a:solidFill>
                <a:srgbClr val="7ECAC4"/>
              </a:solidFill>
            </c:spPr>
            <c:extLst>
              <c:ext xmlns:c16="http://schemas.microsoft.com/office/drawing/2014/chart" uri="{C3380CC4-5D6E-409C-BE32-E72D297353CC}">
                <c16:uniqueId val="{00000075-2993-41DE-A2CB-63102DE87051}"/>
              </c:ext>
            </c:extLst>
          </c:dPt>
          <c:dPt>
            <c:idx val="31"/>
            <c:invertIfNegative val="1"/>
            <c:bubble3D val="0"/>
            <c:spPr>
              <a:solidFill>
                <a:srgbClr val="7ECAC4"/>
              </a:solidFill>
            </c:spPr>
            <c:extLst>
              <c:ext xmlns:c16="http://schemas.microsoft.com/office/drawing/2014/chart" uri="{C3380CC4-5D6E-409C-BE32-E72D297353CC}">
                <c16:uniqueId val="{00000077-2993-41DE-A2CB-63102DE87051}"/>
              </c:ext>
            </c:extLst>
          </c:dPt>
          <c:dPt>
            <c:idx val="32"/>
            <c:invertIfNegative val="1"/>
            <c:bubble3D val="0"/>
            <c:spPr>
              <a:solidFill>
                <a:srgbClr val="7ECAC4"/>
              </a:solidFill>
            </c:spPr>
            <c:extLst>
              <c:ext xmlns:c16="http://schemas.microsoft.com/office/drawing/2014/chart" uri="{C3380CC4-5D6E-409C-BE32-E72D297353CC}">
                <c16:uniqueId val="{00000079-2993-41DE-A2CB-63102DE87051}"/>
              </c:ext>
            </c:extLst>
          </c:dPt>
          <c:dPt>
            <c:idx val="33"/>
            <c:invertIfNegative val="1"/>
            <c:bubble3D val="0"/>
            <c:spPr>
              <a:solidFill>
                <a:srgbClr val="7ECAC4"/>
              </a:solidFill>
            </c:spPr>
            <c:extLst>
              <c:ext xmlns:c16="http://schemas.microsoft.com/office/drawing/2014/chart" uri="{C3380CC4-5D6E-409C-BE32-E72D297353CC}">
                <c16:uniqueId val="{0000007B-2993-41DE-A2CB-63102DE87051}"/>
              </c:ext>
            </c:extLst>
          </c:dPt>
          <c:dPt>
            <c:idx val="34"/>
            <c:invertIfNegative val="1"/>
            <c:bubble3D val="0"/>
            <c:spPr>
              <a:solidFill>
                <a:srgbClr val="7ECAC4"/>
              </a:solidFill>
            </c:spPr>
            <c:extLst>
              <c:ext xmlns:c16="http://schemas.microsoft.com/office/drawing/2014/chart" uri="{C3380CC4-5D6E-409C-BE32-E72D297353CC}">
                <c16:uniqueId val="{0000007D-2993-41DE-A2CB-63102DE87051}"/>
              </c:ext>
            </c:extLst>
          </c:dPt>
          <c:dPt>
            <c:idx val="35"/>
            <c:invertIfNegative val="1"/>
            <c:bubble3D val="0"/>
            <c:spPr>
              <a:solidFill>
                <a:srgbClr val="7ECAC4"/>
              </a:solidFill>
            </c:spPr>
            <c:extLst>
              <c:ext xmlns:c16="http://schemas.microsoft.com/office/drawing/2014/chart" uri="{C3380CC4-5D6E-409C-BE32-E72D297353CC}">
                <c16:uniqueId val="{0000007F-2993-41DE-A2CB-63102DE87051}"/>
              </c:ext>
            </c:extLst>
          </c:dPt>
          <c:dPt>
            <c:idx val="36"/>
            <c:invertIfNegative val="1"/>
            <c:bubble3D val="0"/>
            <c:spPr>
              <a:solidFill>
                <a:srgbClr val="7ECAC4"/>
              </a:solidFill>
            </c:spPr>
            <c:extLst>
              <c:ext xmlns:c16="http://schemas.microsoft.com/office/drawing/2014/chart" uri="{C3380CC4-5D6E-409C-BE32-E72D297353CC}">
                <c16:uniqueId val="{00000081-2993-41DE-A2CB-63102DE87051}"/>
              </c:ext>
            </c:extLst>
          </c:dPt>
          <c:dPt>
            <c:idx val="37"/>
            <c:invertIfNegative val="1"/>
            <c:bubble3D val="0"/>
            <c:spPr>
              <a:solidFill>
                <a:srgbClr val="7ECAC4"/>
              </a:solidFill>
            </c:spPr>
            <c:extLst>
              <c:ext xmlns:c16="http://schemas.microsoft.com/office/drawing/2014/chart" uri="{C3380CC4-5D6E-409C-BE32-E72D297353CC}">
                <c16:uniqueId val="{00000083-2993-41DE-A2CB-63102DE87051}"/>
              </c:ext>
            </c:extLst>
          </c:dPt>
          <c:dPt>
            <c:idx val="38"/>
            <c:invertIfNegative val="1"/>
            <c:bubble3D val="0"/>
            <c:spPr>
              <a:solidFill>
                <a:srgbClr val="7ECAC4"/>
              </a:solidFill>
            </c:spPr>
            <c:extLst>
              <c:ext xmlns:c16="http://schemas.microsoft.com/office/drawing/2014/chart" uri="{C3380CC4-5D6E-409C-BE32-E72D297353CC}">
                <c16:uniqueId val="{00000085-2993-41DE-A2CB-63102DE87051}"/>
              </c:ext>
            </c:extLst>
          </c:dPt>
          <c:dPt>
            <c:idx val="39"/>
            <c:invertIfNegative val="1"/>
            <c:bubble3D val="0"/>
            <c:spPr>
              <a:solidFill>
                <a:srgbClr val="7ECAC4"/>
              </a:solidFill>
            </c:spPr>
            <c:extLst>
              <c:ext xmlns:c16="http://schemas.microsoft.com/office/drawing/2014/chart" uri="{C3380CC4-5D6E-409C-BE32-E72D297353CC}">
                <c16:uniqueId val="{00000087-2993-41DE-A2CB-63102DE87051}"/>
              </c:ext>
            </c:extLst>
          </c:dPt>
          <c:dPt>
            <c:idx val="40"/>
            <c:invertIfNegative val="1"/>
            <c:bubble3D val="0"/>
            <c:spPr>
              <a:solidFill>
                <a:srgbClr val="7ECAC4"/>
              </a:solidFill>
            </c:spPr>
            <c:extLst>
              <c:ext xmlns:c16="http://schemas.microsoft.com/office/drawing/2014/chart" uri="{C3380CC4-5D6E-409C-BE32-E72D297353CC}">
                <c16:uniqueId val="{00000089-2993-41DE-A2CB-63102DE87051}"/>
              </c:ext>
            </c:extLst>
          </c:dPt>
          <c:dPt>
            <c:idx val="41"/>
            <c:invertIfNegative val="1"/>
            <c:bubble3D val="0"/>
            <c:spPr>
              <a:solidFill>
                <a:srgbClr val="7ECAC4"/>
              </a:solidFill>
            </c:spPr>
            <c:extLst>
              <c:ext xmlns:c16="http://schemas.microsoft.com/office/drawing/2014/chart" uri="{C3380CC4-5D6E-409C-BE32-E72D297353CC}">
                <c16:uniqueId val="{0000008B-2993-41DE-A2CB-63102DE87051}"/>
              </c:ext>
            </c:extLst>
          </c:dPt>
          <c:dPt>
            <c:idx val="42"/>
            <c:invertIfNegative val="1"/>
            <c:bubble3D val="0"/>
            <c:spPr>
              <a:solidFill>
                <a:srgbClr val="7ECAC4"/>
              </a:solidFill>
            </c:spPr>
            <c:extLst>
              <c:ext xmlns:c16="http://schemas.microsoft.com/office/drawing/2014/chart" uri="{C3380CC4-5D6E-409C-BE32-E72D297353CC}">
                <c16:uniqueId val="{0000008D-2993-41DE-A2CB-63102DE87051}"/>
              </c:ext>
            </c:extLst>
          </c:dPt>
          <c:dPt>
            <c:idx val="43"/>
            <c:invertIfNegative val="1"/>
            <c:bubble3D val="0"/>
            <c:spPr>
              <a:solidFill>
                <a:srgbClr val="7ECAC4"/>
              </a:solidFill>
            </c:spPr>
            <c:extLst>
              <c:ext xmlns:c16="http://schemas.microsoft.com/office/drawing/2014/chart" uri="{C3380CC4-5D6E-409C-BE32-E72D297353CC}">
                <c16:uniqueId val="{0000008F-2993-41DE-A2CB-63102DE87051}"/>
              </c:ext>
            </c:extLst>
          </c:dPt>
          <c:dPt>
            <c:idx val="44"/>
            <c:invertIfNegative val="1"/>
            <c:bubble3D val="0"/>
            <c:spPr>
              <a:solidFill>
                <a:srgbClr val="7ECAC4"/>
              </a:solidFill>
            </c:spPr>
            <c:extLst>
              <c:ext xmlns:c16="http://schemas.microsoft.com/office/drawing/2014/chart" uri="{C3380CC4-5D6E-409C-BE32-E72D297353CC}">
                <c16:uniqueId val="{00000091-2993-41DE-A2CB-63102DE87051}"/>
              </c:ext>
            </c:extLst>
          </c:dPt>
          <c:dPt>
            <c:idx val="45"/>
            <c:invertIfNegative val="1"/>
            <c:bubble3D val="0"/>
            <c:spPr>
              <a:solidFill>
                <a:srgbClr val="7ECAC4"/>
              </a:solidFill>
            </c:spPr>
            <c:extLst>
              <c:ext xmlns:c16="http://schemas.microsoft.com/office/drawing/2014/chart" uri="{C3380CC4-5D6E-409C-BE32-E72D297353CC}">
                <c16:uniqueId val="{00000093-2993-41DE-A2CB-63102DE87051}"/>
              </c:ext>
            </c:extLst>
          </c:dPt>
          <c:dPt>
            <c:idx val="46"/>
            <c:invertIfNegative val="1"/>
            <c:bubble3D val="0"/>
            <c:spPr>
              <a:solidFill>
                <a:srgbClr val="AEABAB"/>
              </a:solidFill>
            </c:spPr>
            <c:extLst>
              <c:ext xmlns:c16="http://schemas.microsoft.com/office/drawing/2014/chart" uri="{C3380CC4-5D6E-409C-BE32-E72D297353CC}">
                <c16:uniqueId val="{00000095-2993-41DE-A2CB-63102DE87051}"/>
              </c:ext>
            </c:extLst>
          </c:dPt>
          <c:dPt>
            <c:idx val="47"/>
            <c:invertIfNegative val="1"/>
            <c:bubble3D val="0"/>
            <c:spPr>
              <a:solidFill>
                <a:srgbClr val="AEABAB"/>
              </a:solidFill>
            </c:spPr>
            <c:extLst>
              <c:ext xmlns:c16="http://schemas.microsoft.com/office/drawing/2014/chart" uri="{C3380CC4-5D6E-409C-BE32-E72D297353CC}">
                <c16:uniqueId val="{00000097-2993-41DE-A2CB-63102DE87051}"/>
              </c:ext>
            </c:extLst>
          </c:dPt>
          <c:dPt>
            <c:idx val="48"/>
            <c:invertIfNegative val="1"/>
            <c:bubble3D val="0"/>
            <c:spPr>
              <a:solidFill>
                <a:srgbClr val="AEABAB"/>
              </a:solidFill>
            </c:spPr>
            <c:extLst>
              <c:ext xmlns:c16="http://schemas.microsoft.com/office/drawing/2014/chart" uri="{C3380CC4-5D6E-409C-BE32-E72D297353CC}">
                <c16:uniqueId val="{00000099-2993-41DE-A2CB-63102DE87051}"/>
              </c:ext>
            </c:extLst>
          </c:dPt>
          <c:dPt>
            <c:idx val="49"/>
            <c:invertIfNegative val="1"/>
            <c:bubble3D val="0"/>
            <c:spPr>
              <a:solidFill>
                <a:srgbClr val="AEABAB"/>
              </a:solidFill>
            </c:spPr>
            <c:extLst>
              <c:ext xmlns:c16="http://schemas.microsoft.com/office/drawing/2014/chart" uri="{C3380CC4-5D6E-409C-BE32-E72D297353CC}">
                <c16:uniqueId val="{0000009B-2993-41DE-A2CB-63102DE87051}"/>
              </c:ext>
            </c:extLst>
          </c:dPt>
          <c:dPt>
            <c:idx val="50"/>
            <c:invertIfNegative val="1"/>
            <c:bubble3D val="0"/>
            <c:spPr>
              <a:solidFill>
                <a:srgbClr val="AEABAB"/>
              </a:solidFill>
            </c:spPr>
            <c:extLst>
              <c:ext xmlns:c16="http://schemas.microsoft.com/office/drawing/2014/chart" uri="{C3380CC4-5D6E-409C-BE32-E72D297353CC}">
                <c16:uniqueId val="{0000009D-2993-41DE-A2CB-63102DE87051}"/>
              </c:ext>
            </c:extLst>
          </c:dPt>
          <c:dPt>
            <c:idx val="51"/>
            <c:invertIfNegative val="1"/>
            <c:bubble3D val="0"/>
            <c:spPr>
              <a:solidFill>
                <a:srgbClr val="AEABAB"/>
              </a:solidFill>
            </c:spPr>
            <c:extLst>
              <c:ext xmlns:c16="http://schemas.microsoft.com/office/drawing/2014/chart" uri="{C3380CC4-5D6E-409C-BE32-E72D297353CC}">
                <c16:uniqueId val="{0000009F-2993-41DE-A2CB-63102DE87051}"/>
              </c:ext>
            </c:extLst>
          </c:dPt>
          <c:dPt>
            <c:idx val="52"/>
            <c:invertIfNegative val="1"/>
            <c:bubble3D val="0"/>
            <c:spPr>
              <a:solidFill>
                <a:srgbClr val="AEABAB"/>
              </a:solidFill>
            </c:spPr>
            <c:extLst>
              <c:ext xmlns:c16="http://schemas.microsoft.com/office/drawing/2014/chart" uri="{C3380CC4-5D6E-409C-BE32-E72D297353CC}">
                <c16:uniqueId val="{000000A1-2993-41DE-A2CB-63102DE87051}"/>
              </c:ext>
            </c:extLst>
          </c:dPt>
          <c:dPt>
            <c:idx val="53"/>
            <c:invertIfNegative val="1"/>
            <c:bubble3D val="0"/>
            <c:spPr>
              <a:solidFill>
                <a:srgbClr val="AEABAB"/>
              </a:solidFill>
            </c:spPr>
            <c:extLst>
              <c:ext xmlns:c16="http://schemas.microsoft.com/office/drawing/2014/chart" uri="{C3380CC4-5D6E-409C-BE32-E72D297353CC}">
                <c16:uniqueId val="{000000A3-2993-41DE-A2CB-63102DE87051}"/>
              </c:ext>
            </c:extLst>
          </c:dPt>
          <c:dPt>
            <c:idx val="54"/>
            <c:invertIfNegative val="0"/>
            <c:bubble3D val="0"/>
            <c:spPr>
              <a:solidFill>
                <a:srgbClr val="AEABAB"/>
              </a:solidFill>
            </c:spPr>
            <c:extLst>
              <c:ext xmlns:c16="http://schemas.microsoft.com/office/drawing/2014/chart" uri="{C3380CC4-5D6E-409C-BE32-E72D297353CC}">
                <c16:uniqueId val="{00000072-C76F-4230-900D-40618C09729F}"/>
              </c:ext>
            </c:extLst>
          </c:dPt>
          <c:dPt>
            <c:idx val="55"/>
            <c:invertIfNegative val="0"/>
            <c:bubble3D val="0"/>
            <c:spPr>
              <a:solidFill>
                <a:srgbClr val="AEABAB"/>
              </a:solidFill>
            </c:spPr>
            <c:extLst>
              <c:ext xmlns:c16="http://schemas.microsoft.com/office/drawing/2014/chart" uri="{C3380CC4-5D6E-409C-BE32-E72D297353CC}">
                <c16:uniqueId val="{00000074-C76F-4230-900D-40618C09729F}"/>
              </c:ext>
            </c:extLst>
          </c:dPt>
          <c:dPt>
            <c:idx val="56"/>
            <c:invertIfNegative val="0"/>
            <c:bubble3D val="0"/>
            <c:spPr>
              <a:solidFill>
                <a:srgbClr val="AEABAB"/>
              </a:solidFill>
            </c:spPr>
            <c:extLst>
              <c:ext xmlns:c16="http://schemas.microsoft.com/office/drawing/2014/chart" uri="{C3380CC4-5D6E-409C-BE32-E72D297353CC}">
                <c16:uniqueId val="{00000076-C76F-4230-900D-40618C09729F}"/>
              </c:ext>
            </c:extLst>
          </c:dPt>
          <c:dPt>
            <c:idx val="57"/>
            <c:invertIfNegative val="0"/>
            <c:bubble3D val="0"/>
            <c:spPr>
              <a:solidFill>
                <a:srgbClr val="AEABAB"/>
              </a:solidFill>
            </c:spPr>
            <c:extLst>
              <c:ext xmlns:c16="http://schemas.microsoft.com/office/drawing/2014/chart" uri="{C3380CC4-5D6E-409C-BE32-E72D297353CC}">
                <c16:uniqueId val="{00000078-C76F-4230-900D-40618C09729F}"/>
              </c:ext>
            </c:extLst>
          </c:dPt>
          <c:dPt>
            <c:idx val="58"/>
            <c:invertIfNegative val="0"/>
            <c:bubble3D val="0"/>
            <c:spPr>
              <a:solidFill>
                <a:srgbClr val="AEABAB"/>
              </a:solidFill>
            </c:spPr>
            <c:extLst>
              <c:ext xmlns:c16="http://schemas.microsoft.com/office/drawing/2014/chart" uri="{C3380CC4-5D6E-409C-BE32-E72D297353CC}">
                <c16:uniqueId val="{0000007A-C76F-4230-900D-40618C09729F}"/>
              </c:ext>
            </c:extLst>
          </c:dPt>
          <c:dPt>
            <c:idx val="59"/>
            <c:invertIfNegative val="0"/>
            <c:bubble3D val="0"/>
            <c:spPr>
              <a:solidFill>
                <a:srgbClr val="AEABAB"/>
              </a:solidFill>
            </c:spPr>
            <c:extLst>
              <c:ext xmlns:c16="http://schemas.microsoft.com/office/drawing/2014/chart" uri="{C3380CC4-5D6E-409C-BE32-E72D297353CC}">
                <c16:uniqueId val="{0000007C-C76F-4230-900D-40618C09729F}"/>
              </c:ext>
            </c:extLst>
          </c:dPt>
          <c:dPt>
            <c:idx val="60"/>
            <c:invertIfNegative val="0"/>
            <c:bubble3D val="0"/>
            <c:spPr>
              <a:solidFill>
                <a:srgbClr val="AEABAB"/>
              </a:solidFill>
            </c:spPr>
            <c:extLst>
              <c:ext xmlns:c16="http://schemas.microsoft.com/office/drawing/2014/chart" uri="{C3380CC4-5D6E-409C-BE32-E72D297353CC}">
                <c16:uniqueId val="{0000007E-C76F-4230-900D-40618C09729F}"/>
              </c:ext>
            </c:extLst>
          </c:dPt>
          <c:dPt>
            <c:idx val="61"/>
            <c:invertIfNegative val="0"/>
            <c:bubble3D val="0"/>
            <c:spPr>
              <a:solidFill>
                <a:srgbClr val="AEABAB"/>
              </a:solidFill>
            </c:spPr>
            <c:extLst>
              <c:ext xmlns:c16="http://schemas.microsoft.com/office/drawing/2014/chart" uri="{C3380CC4-5D6E-409C-BE32-E72D297353CC}">
                <c16:uniqueId val="{00000080-C76F-4230-900D-40618C09729F}"/>
              </c:ext>
            </c:extLst>
          </c:dPt>
          <c:dPt>
            <c:idx val="62"/>
            <c:invertIfNegative val="0"/>
            <c:bubble3D val="0"/>
            <c:spPr>
              <a:solidFill>
                <a:srgbClr val="AEABAB"/>
              </a:solidFill>
            </c:spPr>
            <c:extLst>
              <c:ext xmlns:c16="http://schemas.microsoft.com/office/drawing/2014/chart" uri="{C3380CC4-5D6E-409C-BE32-E72D297353CC}">
                <c16:uniqueId val="{00000082-C76F-4230-900D-40618C09729F}"/>
              </c:ext>
            </c:extLst>
          </c:dPt>
          <c:dPt>
            <c:idx val="63"/>
            <c:invertIfNegative val="0"/>
            <c:bubble3D val="0"/>
            <c:spPr>
              <a:solidFill>
                <a:srgbClr val="AEABAB"/>
              </a:solidFill>
            </c:spPr>
            <c:extLst>
              <c:ext xmlns:c16="http://schemas.microsoft.com/office/drawing/2014/chart" uri="{C3380CC4-5D6E-409C-BE32-E72D297353CC}">
                <c16:uniqueId val="{00000084-C76F-4230-900D-40618C09729F}"/>
              </c:ext>
            </c:extLst>
          </c:dPt>
          <c:dPt>
            <c:idx val="64"/>
            <c:invertIfNegative val="0"/>
            <c:bubble3D val="0"/>
            <c:spPr>
              <a:solidFill>
                <a:srgbClr val="AEABAB"/>
              </a:solidFill>
            </c:spPr>
            <c:extLst>
              <c:ext xmlns:c16="http://schemas.microsoft.com/office/drawing/2014/chart" uri="{C3380CC4-5D6E-409C-BE32-E72D297353CC}">
                <c16:uniqueId val="{00000086-C76F-4230-900D-40618C09729F}"/>
              </c:ext>
            </c:extLst>
          </c:dPt>
          <c:dPt>
            <c:idx val="65"/>
            <c:invertIfNegative val="0"/>
            <c:bubble3D val="0"/>
            <c:spPr>
              <a:solidFill>
                <a:srgbClr val="AEABAB"/>
              </a:solidFill>
            </c:spPr>
            <c:extLst>
              <c:ext xmlns:c16="http://schemas.microsoft.com/office/drawing/2014/chart" uri="{C3380CC4-5D6E-409C-BE32-E72D297353CC}">
                <c16:uniqueId val="{00000088-C76F-4230-900D-40618C09729F}"/>
              </c:ext>
            </c:extLst>
          </c:dPt>
          <c:dPt>
            <c:idx val="66"/>
            <c:invertIfNegative val="0"/>
            <c:bubble3D val="0"/>
            <c:spPr>
              <a:solidFill>
                <a:srgbClr val="AEABAB"/>
              </a:solidFill>
            </c:spPr>
            <c:extLst>
              <c:ext xmlns:c16="http://schemas.microsoft.com/office/drawing/2014/chart" uri="{C3380CC4-5D6E-409C-BE32-E72D297353CC}">
                <c16:uniqueId val="{0000008A-C76F-4230-900D-40618C09729F}"/>
              </c:ext>
            </c:extLst>
          </c:dPt>
          <c:dPt>
            <c:idx val="67"/>
            <c:invertIfNegative val="0"/>
            <c:bubble3D val="0"/>
            <c:spPr>
              <a:solidFill>
                <a:srgbClr val="AEABAB"/>
              </a:solidFill>
            </c:spPr>
            <c:extLst>
              <c:ext xmlns:c16="http://schemas.microsoft.com/office/drawing/2014/chart" uri="{C3380CC4-5D6E-409C-BE32-E72D297353CC}">
                <c16:uniqueId val="{0000008C-C76F-4230-900D-40618C09729F}"/>
              </c:ext>
            </c:extLst>
          </c:dPt>
          <c:dPt>
            <c:idx val="68"/>
            <c:invertIfNegative val="0"/>
            <c:bubble3D val="0"/>
            <c:spPr>
              <a:solidFill>
                <a:srgbClr val="AEABAB"/>
              </a:solidFill>
            </c:spPr>
            <c:extLst>
              <c:ext xmlns:c16="http://schemas.microsoft.com/office/drawing/2014/chart" uri="{C3380CC4-5D6E-409C-BE32-E72D297353CC}">
                <c16:uniqueId val="{0000008E-C76F-4230-900D-40618C09729F}"/>
              </c:ext>
            </c:extLst>
          </c:dPt>
          <c:dPt>
            <c:idx val="69"/>
            <c:invertIfNegative val="0"/>
            <c:bubble3D val="0"/>
            <c:spPr>
              <a:solidFill>
                <a:srgbClr val="AEABAB"/>
              </a:solidFill>
            </c:spPr>
            <c:extLst>
              <c:ext xmlns:c16="http://schemas.microsoft.com/office/drawing/2014/chart" uri="{C3380CC4-5D6E-409C-BE32-E72D297353CC}">
                <c16:uniqueId val="{00000090-C76F-4230-900D-40618C09729F}"/>
              </c:ext>
            </c:extLst>
          </c:dPt>
          <c:dPt>
            <c:idx val="70"/>
            <c:invertIfNegative val="0"/>
            <c:bubble3D val="0"/>
            <c:spPr>
              <a:solidFill>
                <a:srgbClr val="AEABAB"/>
              </a:solidFill>
            </c:spPr>
            <c:extLst>
              <c:ext xmlns:c16="http://schemas.microsoft.com/office/drawing/2014/chart" uri="{C3380CC4-5D6E-409C-BE32-E72D297353CC}">
                <c16:uniqueId val="{00000092-C76F-4230-900D-40618C09729F}"/>
              </c:ext>
            </c:extLst>
          </c:dPt>
          <c:dPt>
            <c:idx val="71"/>
            <c:invertIfNegative val="0"/>
            <c:bubble3D val="0"/>
            <c:spPr>
              <a:solidFill>
                <a:srgbClr val="AEABAB"/>
              </a:solidFill>
            </c:spPr>
            <c:extLst>
              <c:ext xmlns:c16="http://schemas.microsoft.com/office/drawing/2014/chart" uri="{C3380CC4-5D6E-409C-BE32-E72D297353CC}">
                <c16:uniqueId val="{00000094-C76F-4230-900D-40618C09729F}"/>
              </c:ext>
            </c:extLst>
          </c:dPt>
          <c:dPt>
            <c:idx val="72"/>
            <c:invertIfNegative val="0"/>
            <c:bubble3D val="0"/>
            <c:spPr>
              <a:solidFill>
                <a:srgbClr val="AEABAB"/>
              </a:solidFill>
            </c:spPr>
            <c:extLst>
              <c:ext xmlns:c16="http://schemas.microsoft.com/office/drawing/2014/chart" uri="{C3380CC4-5D6E-409C-BE32-E72D297353CC}">
                <c16:uniqueId val="{00000096-C76F-4230-900D-40618C09729F}"/>
              </c:ext>
            </c:extLst>
          </c:dPt>
          <c:dPt>
            <c:idx val="73"/>
            <c:invertIfNegative val="0"/>
            <c:bubble3D val="0"/>
            <c:spPr>
              <a:solidFill>
                <a:srgbClr val="AEABAB"/>
              </a:solidFill>
            </c:spPr>
            <c:extLst>
              <c:ext xmlns:c16="http://schemas.microsoft.com/office/drawing/2014/chart" uri="{C3380CC4-5D6E-409C-BE32-E72D297353CC}">
                <c16:uniqueId val="{00000098-C76F-4230-900D-40618C09729F}"/>
              </c:ext>
            </c:extLst>
          </c:dPt>
          <c:dPt>
            <c:idx val="74"/>
            <c:invertIfNegative val="0"/>
            <c:bubble3D val="0"/>
            <c:spPr>
              <a:solidFill>
                <a:srgbClr val="AEABAB"/>
              </a:solidFill>
            </c:spPr>
            <c:extLst>
              <c:ext xmlns:c16="http://schemas.microsoft.com/office/drawing/2014/chart" uri="{C3380CC4-5D6E-409C-BE32-E72D297353CC}">
                <c16:uniqueId val="{0000009A-C76F-4230-900D-40618C09729F}"/>
              </c:ext>
            </c:extLst>
          </c:dPt>
          <c:dPt>
            <c:idx val="75"/>
            <c:invertIfNegative val="0"/>
            <c:bubble3D val="0"/>
            <c:spPr>
              <a:solidFill>
                <a:srgbClr val="AEABAB"/>
              </a:solidFill>
            </c:spPr>
            <c:extLst>
              <c:ext xmlns:c16="http://schemas.microsoft.com/office/drawing/2014/chart" uri="{C3380CC4-5D6E-409C-BE32-E72D297353CC}">
                <c16:uniqueId val="{0000009C-C76F-4230-900D-40618C09729F}"/>
              </c:ext>
            </c:extLst>
          </c:dPt>
          <c:dPt>
            <c:idx val="76"/>
            <c:invertIfNegative val="0"/>
            <c:bubble3D val="0"/>
            <c:spPr>
              <a:solidFill>
                <a:srgbClr val="AEABAB"/>
              </a:solidFill>
            </c:spPr>
            <c:extLst>
              <c:ext xmlns:c16="http://schemas.microsoft.com/office/drawing/2014/chart" uri="{C3380CC4-5D6E-409C-BE32-E72D297353CC}">
                <c16:uniqueId val="{0000009E-C76F-4230-900D-40618C09729F}"/>
              </c:ext>
            </c:extLst>
          </c:dPt>
          <c:dPt>
            <c:idx val="77"/>
            <c:invertIfNegative val="0"/>
            <c:bubble3D val="0"/>
            <c:spPr>
              <a:solidFill>
                <a:srgbClr val="AEABAB"/>
              </a:solidFill>
            </c:spPr>
            <c:extLst>
              <c:ext xmlns:c16="http://schemas.microsoft.com/office/drawing/2014/chart" uri="{C3380CC4-5D6E-409C-BE32-E72D297353CC}">
                <c16:uniqueId val="{000000A0-C76F-4230-900D-40618C09729F}"/>
              </c:ext>
            </c:extLst>
          </c:dPt>
          <c:dPt>
            <c:idx val="78"/>
            <c:invertIfNegative val="0"/>
            <c:bubble3D val="0"/>
            <c:spPr>
              <a:solidFill>
                <a:srgbClr val="AEABAB"/>
              </a:solidFill>
            </c:spPr>
            <c:extLst>
              <c:ext xmlns:c16="http://schemas.microsoft.com/office/drawing/2014/chart" uri="{C3380CC4-5D6E-409C-BE32-E72D297353CC}">
                <c16:uniqueId val="{000000A2-C76F-4230-900D-40618C09729F}"/>
              </c:ext>
            </c:extLst>
          </c:dPt>
          <c:dPt>
            <c:idx val="79"/>
            <c:invertIfNegative val="0"/>
            <c:bubble3D val="0"/>
            <c:spPr>
              <a:solidFill>
                <a:srgbClr val="AEABAB"/>
              </a:solidFill>
            </c:spPr>
            <c:extLst>
              <c:ext xmlns:c16="http://schemas.microsoft.com/office/drawing/2014/chart" uri="{C3380CC4-5D6E-409C-BE32-E72D297353CC}">
                <c16:uniqueId val="{000000A4-C76F-4230-900D-40618C09729F}"/>
              </c:ext>
            </c:extLst>
          </c:dPt>
          <c:dPt>
            <c:idx val="80"/>
            <c:invertIfNegative val="0"/>
            <c:bubble3D val="0"/>
            <c:spPr>
              <a:solidFill>
                <a:srgbClr val="AEABAB"/>
              </a:solidFill>
            </c:spPr>
            <c:extLst>
              <c:ext xmlns:c16="http://schemas.microsoft.com/office/drawing/2014/chart" uri="{C3380CC4-5D6E-409C-BE32-E72D297353CC}">
                <c16:uniqueId val="{000000A6-C76F-4230-900D-40618C09729F}"/>
              </c:ext>
            </c:extLst>
          </c:dPt>
          <c:dPt>
            <c:idx val="81"/>
            <c:invertIfNegative val="1"/>
            <c:bubble3D val="0"/>
            <c:spPr>
              <a:solidFill>
                <a:srgbClr val="AEABAB"/>
              </a:solidFill>
            </c:spPr>
            <c:extLst>
              <c:ext xmlns:c16="http://schemas.microsoft.com/office/drawing/2014/chart" uri="{C3380CC4-5D6E-409C-BE32-E72D297353CC}">
                <c16:uniqueId val="{000000A5-2993-41DE-A2CB-63102DE87051}"/>
              </c:ext>
            </c:extLst>
          </c:dPt>
          <c:dPt>
            <c:idx val="82"/>
            <c:invertIfNegative val="1"/>
            <c:bubble3D val="0"/>
            <c:spPr>
              <a:solidFill>
                <a:srgbClr val="AEABAB"/>
              </a:solidFill>
            </c:spPr>
            <c:extLst>
              <c:ext xmlns:c16="http://schemas.microsoft.com/office/drawing/2014/chart" uri="{C3380CC4-5D6E-409C-BE32-E72D297353CC}">
                <c16:uniqueId val="{000000A7-2993-41DE-A2CB-63102DE87051}"/>
              </c:ext>
            </c:extLst>
          </c:dPt>
          <c:dPt>
            <c:idx val="83"/>
            <c:invertIfNegative val="1"/>
            <c:bubble3D val="0"/>
            <c:spPr>
              <a:solidFill>
                <a:srgbClr val="AEABAB"/>
              </a:solidFill>
            </c:spPr>
            <c:extLst>
              <c:ext xmlns:c16="http://schemas.microsoft.com/office/drawing/2014/chart" uri="{C3380CC4-5D6E-409C-BE32-E72D297353CC}">
                <c16:uniqueId val="{000000A9-2993-41DE-A2CB-63102DE87051}"/>
              </c:ext>
            </c:extLst>
          </c:dPt>
          <c:dPt>
            <c:idx val="84"/>
            <c:invertIfNegative val="1"/>
            <c:bubble3D val="0"/>
            <c:spPr>
              <a:solidFill>
                <a:srgbClr val="AEABAB"/>
              </a:solidFill>
            </c:spPr>
            <c:extLst>
              <c:ext xmlns:c16="http://schemas.microsoft.com/office/drawing/2014/chart" uri="{C3380CC4-5D6E-409C-BE32-E72D297353CC}">
                <c16:uniqueId val="{000000AB-2993-41DE-A2CB-63102DE87051}"/>
              </c:ext>
            </c:extLst>
          </c:dPt>
          <c:dPt>
            <c:idx val="85"/>
            <c:invertIfNegative val="1"/>
            <c:bubble3D val="0"/>
            <c:spPr>
              <a:solidFill>
                <a:srgbClr val="AEABAB"/>
              </a:solidFill>
            </c:spPr>
            <c:extLst>
              <c:ext xmlns:c16="http://schemas.microsoft.com/office/drawing/2014/chart" uri="{C3380CC4-5D6E-409C-BE32-E72D297353CC}">
                <c16:uniqueId val="{000000AD-2993-41DE-A2CB-63102DE87051}"/>
              </c:ext>
            </c:extLst>
          </c:dPt>
          <c:dPt>
            <c:idx val="86"/>
            <c:invertIfNegative val="1"/>
            <c:bubble3D val="0"/>
            <c:spPr>
              <a:solidFill>
                <a:srgbClr val="AEABAB"/>
              </a:solidFill>
            </c:spPr>
            <c:extLst>
              <c:ext xmlns:c16="http://schemas.microsoft.com/office/drawing/2014/chart" uri="{C3380CC4-5D6E-409C-BE32-E72D297353CC}">
                <c16:uniqueId val="{000000AF-2993-41DE-A2CB-63102DE87051}"/>
              </c:ext>
            </c:extLst>
          </c:dPt>
          <c:dPt>
            <c:idx val="87"/>
            <c:invertIfNegative val="1"/>
            <c:bubble3D val="0"/>
            <c:spPr>
              <a:solidFill>
                <a:srgbClr val="AEABAB"/>
              </a:solidFill>
            </c:spPr>
            <c:extLst>
              <c:ext xmlns:c16="http://schemas.microsoft.com/office/drawing/2014/chart" uri="{C3380CC4-5D6E-409C-BE32-E72D297353CC}">
                <c16:uniqueId val="{000000B1-2993-41DE-A2CB-63102DE87051}"/>
              </c:ext>
            </c:extLst>
          </c:dPt>
          <c:dPt>
            <c:idx val="88"/>
            <c:invertIfNegative val="1"/>
            <c:bubble3D val="0"/>
            <c:spPr>
              <a:solidFill>
                <a:srgbClr val="AEABAB"/>
              </a:solidFill>
            </c:spPr>
            <c:extLst>
              <c:ext xmlns:c16="http://schemas.microsoft.com/office/drawing/2014/chart" uri="{C3380CC4-5D6E-409C-BE32-E72D297353CC}">
                <c16:uniqueId val="{000000B3-2993-41DE-A2CB-63102DE87051}"/>
              </c:ext>
            </c:extLst>
          </c:dPt>
          <c:dPt>
            <c:idx val="89"/>
            <c:invertIfNegative val="1"/>
            <c:bubble3D val="0"/>
            <c:spPr>
              <a:solidFill>
                <a:srgbClr val="AEABAB"/>
              </a:solidFill>
            </c:spPr>
            <c:extLst>
              <c:ext xmlns:c16="http://schemas.microsoft.com/office/drawing/2014/chart" uri="{C3380CC4-5D6E-409C-BE32-E72D297353CC}">
                <c16:uniqueId val="{000000B5-2993-41DE-A2CB-63102DE87051}"/>
              </c:ext>
            </c:extLst>
          </c:dPt>
          <c:dPt>
            <c:idx val="90"/>
            <c:invertIfNegative val="1"/>
            <c:bubble3D val="0"/>
            <c:spPr>
              <a:solidFill>
                <a:srgbClr val="AEABAB"/>
              </a:solidFill>
            </c:spPr>
            <c:extLst>
              <c:ext xmlns:c16="http://schemas.microsoft.com/office/drawing/2014/chart" uri="{C3380CC4-5D6E-409C-BE32-E72D297353CC}">
                <c16:uniqueId val="{000000B7-2993-41DE-A2CB-63102DE87051}"/>
              </c:ext>
            </c:extLst>
          </c:dPt>
          <c:dPt>
            <c:idx val="91"/>
            <c:invertIfNegative val="1"/>
            <c:bubble3D val="0"/>
            <c:spPr>
              <a:solidFill>
                <a:srgbClr val="AEABAB"/>
              </a:solidFill>
            </c:spPr>
            <c:extLst>
              <c:ext xmlns:c16="http://schemas.microsoft.com/office/drawing/2014/chart" uri="{C3380CC4-5D6E-409C-BE32-E72D297353CC}">
                <c16:uniqueId val="{000000B9-2993-41DE-A2CB-63102DE87051}"/>
              </c:ext>
            </c:extLst>
          </c:dPt>
          <c:dPt>
            <c:idx val="92"/>
            <c:invertIfNegative val="1"/>
            <c:bubble3D val="0"/>
            <c:spPr>
              <a:solidFill>
                <a:srgbClr val="AEABAB"/>
              </a:solidFill>
            </c:spPr>
            <c:extLst>
              <c:ext xmlns:c16="http://schemas.microsoft.com/office/drawing/2014/chart" uri="{C3380CC4-5D6E-409C-BE32-E72D297353CC}">
                <c16:uniqueId val="{000000BB-2993-41DE-A2CB-63102DE87051}"/>
              </c:ext>
            </c:extLst>
          </c:dPt>
          <c:dPt>
            <c:idx val="93"/>
            <c:invertIfNegative val="1"/>
            <c:bubble3D val="0"/>
            <c:spPr>
              <a:solidFill>
                <a:srgbClr val="AEABAB"/>
              </a:solidFill>
            </c:spPr>
            <c:extLst>
              <c:ext xmlns:c16="http://schemas.microsoft.com/office/drawing/2014/chart" uri="{C3380CC4-5D6E-409C-BE32-E72D297353CC}">
                <c16:uniqueId val="{000000BD-2993-41DE-A2CB-63102DE87051}"/>
              </c:ext>
            </c:extLst>
          </c:dPt>
          <c:dPt>
            <c:idx val="94"/>
            <c:invertIfNegative val="1"/>
            <c:bubble3D val="0"/>
            <c:spPr>
              <a:solidFill>
                <a:srgbClr val="AEABAB"/>
              </a:solidFill>
            </c:spPr>
            <c:extLst>
              <c:ext xmlns:c16="http://schemas.microsoft.com/office/drawing/2014/chart" uri="{C3380CC4-5D6E-409C-BE32-E72D297353CC}">
                <c16:uniqueId val="{000000BF-2993-41DE-A2CB-63102DE87051}"/>
              </c:ext>
            </c:extLst>
          </c:dPt>
          <c:dPt>
            <c:idx val="95"/>
            <c:invertIfNegative val="1"/>
            <c:bubble3D val="0"/>
            <c:spPr>
              <a:solidFill>
                <a:srgbClr val="AEABAB"/>
              </a:solidFill>
            </c:spPr>
            <c:extLst>
              <c:ext xmlns:c16="http://schemas.microsoft.com/office/drawing/2014/chart" uri="{C3380CC4-5D6E-409C-BE32-E72D297353CC}">
                <c16:uniqueId val="{000000C1-2993-41DE-A2CB-63102DE87051}"/>
              </c:ext>
            </c:extLst>
          </c:dPt>
          <c:dPt>
            <c:idx val="96"/>
            <c:invertIfNegative val="1"/>
            <c:bubble3D val="0"/>
            <c:spPr>
              <a:solidFill>
                <a:srgbClr val="AEABAB"/>
              </a:solidFill>
            </c:spPr>
            <c:extLst>
              <c:ext xmlns:c16="http://schemas.microsoft.com/office/drawing/2014/chart" uri="{C3380CC4-5D6E-409C-BE32-E72D297353CC}">
                <c16:uniqueId val="{000000C3-2993-41DE-A2CB-63102DE87051}"/>
              </c:ext>
            </c:extLst>
          </c:dPt>
          <c:dPt>
            <c:idx val="97"/>
            <c:invertIfNegative val="1"/>
            <c:bubble3D val="0"/>
            <c:spPr>
              <a:solidFill>
                <a:srgbClr val="AEABAB"/>
              </a:solidFill>
            </c:spPr>
            <c:extLst>
              <c:ext xmlns:c16="http://schemas.microsoft.com/office/drawing/2014/chart" uri="{C3380CC4-5D6E-409C-BE32-E72D297353CC}">
                <c16:uniqueId val="{000000C5-2993-41DE-A2CB-63102DE87051}"/>
              </c:ext>
            </c:extLst>
          </c:dPt>
          <c:dPt>
            <c:idx val="98"/>
            <c:invertIfNegative val="1"/>
            <c:bubble3D val="0"/>
            <c:spPr>
              <a:solidFill>
                <a:srgbClr val="AEABAB"/>
              </a:solidFill>
            </c:spPr>
            <c:extLst>
              <c:ext xmlns:c16="http://schemas.microsoft.com/office/drawing/2014/chart" uri="{C3380CC4-5D6E-409C-BE32-E72D297353CC}">
                <c16:uniqueId val="{000000C7-2993-41DE-A2CB-63102DE87051}"/>
              </c:ext>
            </c:extLst>
          </c:dPt>
          <c:dPt>
            <c:idx val="99"/>
            <c:invertIfNegative val="1"/>
            <c:bubble3D val="0"/>
            <c:spPr>
              <a:solidFill>
                <a:srgbClr val="AEABAB"/>
              </a:solidFill>
            </c:spPr>
            <c:extLst>
              <c:ext xmlns:c16="http://schemas.microsoft.com/office/drawing/2014/chart" uri="{C3380CC4-5D6E-409C-BE32-E72D297353CC}">
                <c16:uniqueId val="{000000C9-2993-41DE-A2CB-63102DE87051}"/>
              </c:ext>
            </c:extLst>
          </c:dPt>
          <c:dPt>
            <c:idx val="100"/>
            <c:invertIfNegative val="1"/>
            <c:bubble3D val="0"/>
            <c:spPr>
              <a:solidFill>
                <a:srgbClr val="AEABAB"/>
              </a:solidFill>
            </c:spPr>
            <c:extLst>
              <c:ext xmlns:c16="http://schemas.microsoft.com/office/drawing/2014/chart" uri="{C3380CC4-5D6E-409C-BE32-E72D297353CC}">
                <c16:uniqueId val="{000000CB-2993-41DE-A2CB-63102DE87051}"/>
              </c:ext>
            </c:extLst>
          </c:dPt>
          <c:dPt>
            <c:idx val="101"/>
            <c:invertIfNegative val="1"/>
            <c:bubble3D val="0"/>
            <c:spPr>
              <a:solidFill>
                <a:srgbClr val="AEABAB"/>
              </a:solidFill>
            </c:spPr>
            <c:extLst>
              <c:ext xmlns:c16="http://schemas.microsoft.com/office/drawing/2014/chart" uri="{C3380CC4-5D6E-409C-BE32-E72D297353CC}">
                <c16:uniqueId val="{000000CD-2993-41DE-A2CB-63102DE87051}"/>
              </c:ext>
            </c:extLst>
          </c:dPt>
          <c:dPt>
            <c:idx val="102"/>
            <c:invertIfNegative val="1"/>
            <c:bubble3D val="0"/>
            <c:spPr>
              <a:solidFill>
                <a:srgbClr val="AEABAB"/>
              </a:solidFill>
            </c:spPr>
            <c:extLst>
              <c:ext xmlns:c16="http://schemas.microsoft.com/office/drawing/2014/chart" uri="{C3380CC4-5D6E-409C-BE32-E72D297353CC}">
                <c16:uniqueId val="{000000CF-2993-41DE-A2CB-63102DE87051}"/>
              </c:ext>
            </c:extLst>
          </c:dPt>
          <c:dPt>
            <c:idx val="103"/>
            <c:invertIfNegative val="1"/>
            <c:bubble3D val="0"/>
            <c:spPr>
              <a:solidFill>
                <a:srgbClr val="AEABAB"/>
              </a:solidFill>
            </c:spPr>
            <c:extLst>
              <c:ext xmlns:c16="http://schemas.microsoft.com/office/drawing/2014/chart" uri="{C3380CC4-5D6E-409C-BE32-E72D297353CC}">
                <c16:uniqueId val="{000000D1-2993-41DE-A2CB-63102DE87051}"/>
              </c:ext>
            </c:extLst>
          </c:dPt>
          <c:dPt>
            <c:idx val="104"/>
            <c:invertIfNegative val="1"/>
            <c:bubble3D val="0"/>
            <c:spPr>
              <a:solidFill>
                <a:srgbClr val="AEABAB"/>
              </a:solidFill>
            </c:spPr>
            <c:extLst>
              <c:ext xmlns:c16="http://schemas.microsoft.com/office/drawing/2014/chart" uri="{C3380CC4-5D6E-409C-BE32-E72D297353CC}">
                <c16:uniqueId val="{000000D3-2993-41DE-A2CB-63102DE87051}"/>
              </c:ext>
            </c:extLst>
          </c:dPt>
          <c:dPt>
            <c:idx val="105"/>
            <c:invertIfNegative val="1"/>
            <c:bubble3D val="0"/>
            <c:spPr>
              <a:solidFill>
                <a:srgbClr val="AEABAB"/>
              </a:solidFill>
            </c:spPr>
            <c:extLst>
              <c:ext xmlns:c16="http://schemas.microsoft.com/office/drawing/2014/chart" uri="{C3380CC4-5D6E-409C-BE32-E72D297353CC}">
                <c16:uniqueId val="{000000D5-2993-41DE-A2CB-63102DE87051}"/>
              </c:ext>
            </c:extLst>
          </c:dPt>
          <c:dPt>
            <c:idx val="106"/>
            <c:invertIfNegative val="1"/>
            <c:bubble3D val="0"/>
            <c:spPr>
              <a:solidFill>
                <a:srgbClr val="AEABAB"/>
              </a:solidFill>
            </c:spPr>
            <c:extLst>
              <c:ext xmlns:c16="http://schemas.microsoft.com/office/drawing/2014/chart" uri="{C3380CC4-5D6E-409C-BE32-E72D297353CC}">
                <c16:uniqueId val="{000000D7-2993-41DE-A2CB-63102DE87051}"/>
              </c:ext>
            </c:extLst>
          </c:dPt>
          <c:dPt>
            <c:idx val="107"/>
            <c:invertIfNegative val="1"/>
            <c:bubble3D val="0"/>
            <c:spPr>
              <a:solidFill>
                <a:srgbClr val="AEABAB"/>
              </a:solidFill>
            </c:spPr>
            <c:extLst>
              <c:ext xmlns:c16="http://schemas.microsoft.com/office/drawing/2014/chart" uri="{C3380CC4-5D6E-409C-BE32-E72D297353CC}">
                <c16:uniqueId val="{000000D9-2993-41DE-A2CB-63102DE87051}"/>
              </c:ext>
            </c:extLst>
          </c:dPt>
          <c:dPt>
            <c:idx val="108"/>
            <c:invertIfNegative val="1"/>
            <c:bubble3D val="0"/>
            <c:spPr>
              <a:solidFill>
                <a:srgbClr val="AEABAB"/>
              </a:solidFill>
            </c:spPr>
            <c:extLst>
              <c:ext xmlns:c16="http://schemas.microsoft.com/office/drawing/2014/chart" uri="{C3380CC4-5D6E-409C-BE32-E72D297353CC}">
                <c16:uniqueId val="{000000DB-2993-41DE-A2CB-63102DE87051}"/>
              </c:ext>
            </c:extLst>
          </c:dPt>
          <c:dPt>
            <c:idx val="109"/>
            <c:invertIfNegative val="1"/>
            <c:bubble3D val="0"/>
            <c:spPr>
              <a:solidFill>
                <a:srgbClr val="AEABAB"/>
              </a:solidFill>
            </c:spPr>
            <c:extLst>
              <c:ext xmlns:c16="http://schemas.microsoft.com/office/drawing/2014/chart" uri="{C3380CC4-5D6E-409C-BE32-E72D297353CC}">
                <c16:uniqueId val="{000000DD-2993-41DE-A2CB-63102DE87051}"/>
              </c:ext>
            </c:extLst>
          </c:dPt>
          <c:dPt>
            <c:idx val="110"/>
            <c:invertIfNegative val="1"/>
            <c:bubble3D val="0"/>
            <c:spPr>
              <a:solidFill>
                <a:srgbClr val="AEABAB"/>
              </a:solidFill>
            </c:spPr>
            <c:extLst>
              <c:ext xmlns:c16="http://schemas.microsoft.com/office/drawing/2014/chart" uri="{C3380CC4-5D6E-409C-BE32-E72D297353CC}">
                <c16:uniqueId val="{000000DF-2993-41DE-A2CB-63102DE87051}"/>
              </c:ext>
            </c:extLst>
          </c:dPt>
          <c:dPt>
            <c:idx val="111"/>
            <c:invertIfNegative val="1"/>
            <c:bubble3D val="0"/>
            <c:spPr>
              <a:solidFill>
                <a:srgbClr val="AEABAB"/>
              </a:solidFill>
            </c:spPr>
            <c:extLst>
              <c:ext xmlns:c16="http://schemas.microsoft.com/office/drawing/2014/chart" uri="{C3380CC4-5D6E-409C-BE32-E72D297353CC}">
                <c16:uniqueId val="{000000E1-2993-41DE-A2CB-63102DE87051}"/>
              </c:ext>
            </c:extLst>
          </c:dPt>
          <c:dPt>
            <c:idx val="112"/>
            <c:invertIfNegative val="1"/>
            <c:bubble3D val="0"/>
            <c:spPr>
              <a:solidFill>
                <a:srgbClr val="AEABAB"/>
              </a:solidFill>
            </c:spPr>
            <c:extLst>
              <c:ext xmlns:c16="http://schemas.microsoft.com/office/drawing/2014/chart" uri="{C3380CC4-5D6E-409C-BE32-E72D297353CC}">
                <c16:uniqueId val="{000000E3-2993-41DE-A2CB-63102DE87051}"/>
              </c:ext>
            </c:extLst>
          </c:dPt>
          <c:dPt>
            <c:idx val="113"/>
            <c:invertIfNegative val="1"/>
            <c:bubble3D val="0"/>
            <c:spPr>
              <a:solidFill>
                <a:srgbClr val="AEABAB"/>
              </a:solidFill>
            </c:spPr>
            <c:extLst>
              <c:ext xmlns:c16="http://schemas.microsoft.com/office/drawing/2014/chart" uri="{C3380CC4-5D6E-409C-BE32-E72D297353CC}">
                <c16:uniqueId val="{000000E5-2993-41DE-A2CB-63102DE87051}"/>
              </c:ext>
            </c:extLst>
          </c:dPt>
          <c:dPt>
            <c:idx val="114"/>
            <c:invertIfNegative val="1"/>
            <c:bubble3D val="0"/>
            <c:spPr>
              <a:solidFill>
                <a:srgbClr val="AEABAB"/>
              </a:solidFill>
            </c:spPr>
            <c:extLst>
              <c:ext xmlns:c16="http://schemas.microsoft.com/office/drawing/2014/chart" uri="{C3380CC4-5D6E-409C-BE32-E72D297353CC}">
                <c16:uniqueId val="{000000E7-2993-41DE-A2CB-63102DE87051}"/>
              </c:ext>
            </c:extLst>
          </c:dPt>
          <c:dPt>
            <c:idx val="115"/>
            <c:invertIfNegative val="1"/>
            <c:bubble3D val="0"/>
            <c:spPr>
              <a:solidFill>
                <a:srgbClr val="AEABAB"/>
              </a:solidFill>
            </c:spPr>
            <c:extLst>
              <c:ext xmlns:c16="http://schemas.microsoft.com/office/drawing/2014/chart" uri="{C3380CC4-5D6E-409C-BE32-E72D297353CC}">
                <c16:uniqueId val="{000000E9-2993-41DE-A2CB-63102DE87051}"/>
              </c:ext>
            </c:extLst>
          </c:dPt>
          <c:dPt>
            <c:idx val="116"/>
            <c:invertIfNegative val="1"/>
            <c:bubble3D val="0"/>
            <c:spPr>
              <a:solidFill>
                <a:srgbClr val="AEABAB"/>
              </a:solidFill>
            </c:spPr>
            <c:extLst>
              <c:ext xmlns:c16="http://schemas.microsoft.com/office/drawing/2014/chart" uri="{C3380CC4-5D6E-409C-BE32-E72D297353CC}">
                <c16:uniqueId val="{000000EB-2993-41DE-A2CB-63102DE87051}"/>
              </c:ext>
            </c:extLst>
          </c:dPt>
          <c:dPt>
            <c:idx val="117"/>
            <c:invertIfNegative val="1"/>
            <c:bubble3D val="0"/>
            <c:spPr>
              <a:solidFill>
                <a:srgbClr val="AEABAB"/>
              </a:solidFill>
            </c:spPr>
            <c:extLst>
              <c:ext xmlns:c16="http://schemas.microsoft.com/office/drawing/2014/chart" uri="{C3380CC4-5D6E-409C-BE32-E72D297353CC}">
                <c16:uniqueId val="{000000ED-2993-41DE-A2CB-63102DE87051}"/>
              </c:ext>
            </c:extLst>
          </c:dPt>
          <c:dPt>
            <c:idx val="118"/>
            <c:invertIfNegative val="1"/>
            <c:bubble3D val="0"/>
            <c:spPr>
              <a:solidFill>
                <a:srgbClr val="AEABAB"/>
              </a:solidFill>
            </c:spPr>
            <c:extLst>
              <c:ext xmlns:c16="http://schemas.microsoft.com/office/drawing/2014/chart" uri="{C3380CC4-5D6E-409C-BE32-E72D297353CC}">
                <c16:uniqueId val="{000000EF-2993-41DE-A2CB-63102DE87051}"/>
              </c:ext>
            </c:extLst>
          </c:dPt>
          <c:dPt>
            <c:idx val="119"/>
            <c:invertIfNegative val="1"/>
            <c:bubble3D val="0"/>
            <c:spPr>
              <a:solidFill>
                <a:srgbClr val="AEABAB"/>
              </a:solidFill>
            </c:spPr>
            <c:extLst>
              <c:ext xmlns:c16="http://schemas.microsoft.com/office/drawing/2014/chart" uri="{C3380CC4-5D6E-409C-BE32-E72D297353CC}">
                <c16:uniqueId val="{000000F1-2993-41DE-A2CB-63102DE87051}"/>
              </c:ext>
            </c:extLst>
          </c:dPt>
          <c:dPt>
            <c:idx val="120"/>
            <c:invertIfNegative val="1"/>
            <c:bubble3D val="0"/>
            <c:spPr>
              <a:solidFill>
                <a:srgbClr val="AEABAB"/>
              </a:solidFill>
            </c:spPr>
            <c:extLst>
              <c:ext xmlns:c16="http://schemas.microsoft.com/office/drawing/2014/chart" uri="{C3380CC4-5D6E-409C-BE32-E72D297353CC}">
                <c16:uniqueId val="{000000F3-2993-41DE-A2CB-63102DE87051}"/>
              </c:ext>
            </c:extLst>
          </c:dPt>
          <c:dPt>
            <c:idx val="121"/>
            <c:invertIfNegative val="1"/>
            <c:bubble3D val="0"/>
            <c:spPr>
              <a:solidFill>
                <a:srgbClr val="AEABAB"/>
              </a:solidFill>
            </c:spPr>
            <c:extLst>
              <c:ext xmlns:c16="http://schemas.microsoft.com/office/drawing/2014/chart" uri="{C3380CC4-5D6E-409C-BE32-E72D297353CC}">
                <c16:uniqueId val="{000000F5-2993-41DE-A2CB-63102DE87051}"/>
              </c:ext>
            </c:extLst>
          </c:dPt>
          <c:dPt>
            <c:idx val="122"/>
            <c:invertIfNegative val="1"/>
            <c:bubble3D val="0"/>
            <c:spPr>
              <a:solidFill>
                <a:srgbClr val="AEABAB"/>
              </a:solidFill>
            </c:spPr>
            <c:extLst>
              <c:ext xmlns:c16="http://schemas.microsoft.com/office/drawing/2014/chart" uri="{C3380CC4-5D6E-409C-BE32-E72D297353CC}">
                <c16:uniqueId val="{000000F7-2993-41DE-A2CB-63102DE87051}"/>
              </c:ext>
            </c:extLst>
          </c:dPt>
          <c:dPt>
            <c:idx val="123"/>
            <c:invertIfNegative val="1"/>
            <c:bubble3D val="0"/>
            <c:spPr>
              <a:solidFill>
                <a:srgbClr val="AEABAB"/>
              </a:solidFill>
            </c:spPr>
            <c:extLst>
              <c:ext xmlns:c16="http://schemas.microsoft.com/office/drawing/2014/chart" uri="{C3380CC4-5D6E-409C-BE32-E72D297353CC}">
                <c16:uniqueId val="{000000F9-2993-41DE-A2CB-63102DE87051}"/>
              </c:ext>
            </c:extLst>
          </c:dPt>
          <c:dPt>
            <c:idx val="124"/>
            <c:invertIfNegative val="1"/>
            <c:bubble3D val="0"/>
            <c:spPr>
              <a:solidFill>
                <a:srgbClr val="AEABAB"/>
              </a:solidFill>
            </c:spPr>
            <c:extLst>
              <c:ext xmlns:c16="http://schemas.microsoft.com/office/drawing/2014/chart" uri="{C3380CC4-5D6E-409C-BE32-E72D297353CC}">
                <c16:uniqueId val="{000000FB-2993-41DE-A2CB-63102DE87051}"/>
              </c:ext>
            </c:extLst>
          </c:dPt>
          <c:dPt>
            <c:idx val="125"/>
            <c:invertIfNegative val="1"/>
            <c:bubble3D val="0"/>
            <c:spPr>
              <a:solidFill>
                <a:srgbClr val="AEABAB"/>
              </a:solidFill>
            </c:spPr>
            <c:extLst>
              <c:ext xmlns:c16="http://schemas.microsoft.com/office/drawing/2014/chart" uri="{C3380CC4-5D6E-409C-BE32-E72D297353CC}">
                <c16:uniqueId val="{000000FD-2993-41DE-A2CB-63102DE87051}"/>
              </c:ext>
            </c:extLst>
          </c:dPt>
          <c:dPt>
            <c:idx val="126"/>
            <c:invertIfNegative val="1"/>
            <c:bubble3D val="0"/>
            <c:spPr>
              <a:solidFill>
                <a:srgbClr val="AEABAB"/>
              </a:solidFill>
            </c:spPr>
            <c:extLst>
              <c:ext xmlns:c16="http://schemas.microsoft.com/office/drawing/2014/chart" uri="{C3380CC4-5D6E-409C-BE32-E72D297353CC}">
                <c16:uniqueId val="{000000FF-2993-41DE-A2CB-63102DE87051}"/>
              </c:ext>
            </c:extLst>
          </c:dPt>
          <c:dPt>
            <c:idx val="127"/>
            <c:invertIfNegative val="1"/>
            <c:bubble3D val="0"/>
            <c:spPr>
              <a:solidFill>
                <a:srgbClr val="AEABAB"/>
              </a:solidFill>
            </c:spPr>
            <c:extLst>
              <c:ext xmlns:c16="http://schemas.microsoft.com/office/drawing/2014/chart" uri="{C3380CC4-5D6E-409C-BE32-E72D297353CC}">
                <c16:uniqueId val="{00000101-2993-41DE-A2CB-63102DE87051}"/>
              </c:ext>
            </c:extLst>
          </c:dPt>
          <c:dPt>
            <c:idx val="128"/>
            <c:invertIfNegative val="1"/>
            <c:bubble3D val="0"/>
            <c:spPr>
              <a:solidFill>
                <a:srgbClr val="AEABAB"/>
              </a:solidFill>
            </c:spPr>
            <c:extLst>
              <c:ext xmlns:c16="http://schemas.microsoft.com/office/drawing/2014/chart" uri="{C3380CC4-5D6E-409C-BE32-E72D297353CC}">
                <c16:uniqueId val="{00000103-2993-41DE-A2CB-63102DE87051}"/>
              </c:ext>
            </c:extLst>
          </c:dPt>
          <c:dPt>
            <c:idx val="129"/>
            <c:invertIfNegative val="1"/>
            <c:bubble3D val="0"/>
            <c:spPr>
              <a:solidFill>
                <a:srgbClr val="AEABAB"/>
              </a:solidFill>
            </c:spPr>
            <c:extLst>
              <c:ext xmlns:c16="http://schemas.microsoft.com/office/drawing/2014/chart" uri="{C3380CC4-5D6E-409C-BE32-E72D297353CC}">
                <c16:uniqueId val="{00000105-2993-41DE-A2CB-63102DE87051}"/>
              </c:ext>
            </c:extLst>
          </c:dPt>
          <c:dPt>
            <c:idx val="130"/>
            <c:invertIfNegative val="1"/>
            <c:bubble3D val="0"/>
            <c:spPr>
              <a:solidFill>
                <a:srgbClr val="AEABAB"/>
              </a:solidFill>
            </c:spPr>
            <c:extLst>
              <c:ext xmlns:c16="http://schemas.microsoft.com/office/drawing/2014/chart" uri="{C3380CC4-5D6E-409C-BE32-E72D297353CC}">
                <c16:uniqueId val="{00000107-2993-41DE-A2CB-63102DE87051}"/>
              </c:ext>
            </c:extLst>
          </c:dPt>
          <c:dPt>
            <c:idx val="131"/>
            <c:invertIfNegative val="1"/>
            <c:bubble3D val="0"/>
            <c:spPr>
              <a:solidFill>
                <a:srgbClr val="AEABAB"/>
              </a:solidFill>
            </c:spPr>
            <c:extLst>
              <c:ext xmlns:c16="http://schemas.microsoft.com/office/drawing/2014/chart" uri="{C3380CC4-5D6E-409C-BE32-E72D297353CC}">
                <c16:uniqueId val="{00000109-2993-41DE-A2CB-63102DE87051}"/>
              </c:ext>
            </c:extLst>
          </c:dPt>
          <c:dPt>
            <c:idx val="132"/>
            <c:invertIfNegative val="1"/>
            <c:bubble3D val="0"/>
            <c:spPr>
              <a:solidFill>
                <a:srgbClr val="AEABAB"/>
              </a:solidFill>
            </c:spPr>
            <c:extLst>
              <c:ext xmlns:c16="http://schemas.microsoft.com/office/drawing/2014/chart" uri="{C3380CC4-5D6E-409C-BE32-E72D297353CC}">
                <c16:uniqueId val="{0000010B-2993-41DE-A2CB-63102DE87051}"/>
              </c:ext>
            </c:extLst>
          </c:dPt>
          <c:dPt>
            <c:idx val="133"/>
            <c:invertIfNegative val="1"/>
            <c:bubble3D val="0"/>
            <c:spPr>
              <a:solidFill>
                <a:srgbClr val="AEABAB"/>
              </a:solidFill>
            </c:spPr>
            <c:extLst>
              <c:ext xmlns:c16="http://schemas.microsoft.com/office/drawing/2014/chart" uri="{C3380CC4-5D6E-409C-BE32-E72D297353CC}">
                <c16:uniqueId val="{0000010D-2993-41DE-A2CB-63102DE87051}"/>
              </c:ext>
            </c:extLst>
          </c:dPt>
          <c:dPt>
            <c:idx val="134"/>
            <c:invertIfNegative val="1"/>
            <c:bubble3D val="0"/>
            <c:spPr>
              <a:solidFill>
                <a:srgbClr val="AEABAB"/>
              </a:solidFill>
            </c:spPr>
            <c:extLst>
              <c:ext xmlns:c16="http://schemas.microsoft.com/office/drawing/2014/chart" uri="{C3380CC4-5D6E-409C-BE32-E72D297353CC}">
                <c16:uniqueId val="{0000010F-2993-41DE-A2CB-63102DE87051}"/>
              </c:ext>
            </c:extLst>
          </c:dPt>
          <c:dPt>
            <c:idx val="135"/>
            <c:invertIfNegative val="1"/>
            <c:bubble3D val="0"/>
            <c:spPr>
              <a:solidFill>
                <a:srgbClr val="AEABAB"/>
              </a:solidFill>
            </c:spPr>
            <c:extLst>
              <c:ext xmlns:c16="http://schemas.microsoft.com/office/drawing/2014/chart" uri="{C3380CC4-5D6E-409C-BE32-E72D297353CC}">
                <c16:uniqueId val="{00000111-2993-41DE-A2CB-63102DE87051}"/>
              </c:ext>
            </c:extLst>
          </c:dPt>
          <c:dPt>
            <c:idx val="136"/>
            <c:invertIfNegative val="1"/>
            <c:bubble3D val="0"/>
            <c:spPr>
              <a:solidFill>
                <a:srgbClr val="AEABAB"/>
              </a:solidFill>
            </c:spPr>
            <c:extLst>
              <c:ext xmlns:c16="http://schemas.microsoft.com/office/drawing/2014/chart" uri="{C3380CC4-5D6E-409C-BE32-E72D297353CC}">
                <c16:uniqueId val="{00000113-2993-41DE-A2CB-63102DE87051}"/>
              </c:ext>
            </c:extLst>
          </c:dPt>
          <c:dPt>
            <c:idx val="137"/>
            <c:invertIfNegative val="1"/>
            <c:bubble3D val="0"/>
            <c:spPr>
              <a:solidFill>
                <a:srgbClr val="AEABAB"/>
              </a:solidFill>
            </c:spPr>
            <c:extLst>
              <c:ext xmlns:c16="http://schemas.microsoft.com/office/drawing/2014/chart" uri="{C3380CC4-5D6E-409C-BE32-E72D297353CC}">
                <c16:uniqueId val="{00000115-2993-41DE-A2CB-63102DE87051}"/>
              </c:ext>
            </c:extLst>
          </c:dPt>
          <c:dPt>
            <c:idx val="138"/>
            <c:invertIfNegative val="1"/>
            <c:bubble3D val="0"/>
            <c:spPr>
              <a:solidFill>
                <a:srgbClr val="AEABAB"/>
              </a:solidFill>
            </c:spPr>
            <c:extLst>
              <c:ext xmlns:c16="http://schemas.microsoft.com/office/drawing/2014/chart" uri="{C3380CC4-5D6E-409C-BE32-E72D297353CC}">
                <c16:uniqueId val="{00000117-2993-41DE-A2CB-63102DE87051}"/>
              </c:ext>
            </c:extLst>
          </c:dPt>
          <c:dPt>
            <c:idx val="139"/>
            <c:invertIfNegative val="1"/>
            <c:bubble3D val="0"/>
            <c:spPr>
              <a:solidFill>
                <a:srgbClr val="AEABAB"/>
              </a:solidFill>
            </c:spPr>
            <c:extLst>
              <c:ext xmlns:c16="http://schemas.microsoft.com/office/drawing/2014/chart" uri="{C3380CC4-5D6E-409C-BE32-E72D297353CC}">
                <c16:uniqueId val="{00000119-2993-41DE-A2CB-63102DE87051}"/>
              </c:ext>
            </c:extLst>
          </c:dPt>
          <c:dPt>
            <c:idx val="140"/>
            <c:invertIfNegative val="1"/>
            <c:bubble3D val="0"/>
            <c:spPr>
              <a:solidFill>
                <a:srgbClr val="AEABAB"/>
              </a:solidFill>
            </c:spPr>
            <c:extLst>
              <c:ext xmlns:c16="http://schemas.microsoft.com/office/drawing/2014/chart" uri="{C3380CC4-5D6E-409C-BE32-E72D297353CC}">
                <c16:uniqueId val="{0000011B-2993-41DE-A2CB-63102DE87051}"/>
              </c:ext>
            </c:extLst>
          </c:dPt>
          <c:dPt>
            <c:idx val="141"/>
            <c:invertIfNegative val="1"/>
            <c:bubble3D val="0"/>
            <c:spPr>
              <a:solidFill>
                <a:srgbClr val="AEABAB"/>
              </a:solidFill>
            </c:spPr>
            <c:extLst>
              <c:ext xmlns:c16="http://schemas.microsoft.com/office/drawing/2014/chart" uri="{C3380CC4-5D6E-409C-BE32-E72D297353CC}">
                <c16:uniqueId val="{0000011D-2993-41DE-A2CB-63102DE87051}"/>
              </c:ext>
            </c:extLst>
          </c:dPt>
          <c:dPt>
            <c:idx val="142"/>
            <c:invertIfNegative val="1"/>
            <c:bubble3D val="0"/>
            <c:spPr>
              <a:solidFill>
                <a:srgbClr val="AEABAB"/>
              </a:solidFill>
            </c:spPr>
            <c:extLst>
              <c:ext xmlns:c16="http://schemas.microsoft.com/office/drawing/2014/chart" uri="{C3380CC4-5D6E-409C-BE32-E72D297353CC}">
                <c16:uniqueId val="{0000011F-2993-41DE-A2CB-63102DE87051}"/>
              </c:ext>
            </c:extLst>
          </c:dPt>
          <c:dPt>
            <c:idx val="143"/>
            <c:invertIfNegative val="1"/>
            <c:bubble3D val="0"/>
            <c:spPr>
              <a:solidFill>
                <a:srgbClr val="AEABAB"/>
              </a:solidFill>
            </c:spPr>
            <c:extLst>
              <c:ext xmlns:c16="http://schemas.microsoft.com/office/drawing/2014/chart" uri="{C3380CC4-5D6E-409C-BE32-E72D297353CC}">
                <c16:uniqueId val="{00000121-2993-41DE-A2CB-63102DE87051}"/>
              </c:ext>
            </c:extLst>
          </c:dPt>
          <c:dPt>
            <c:idx val="144"/>
            <c:invertIfNegative val="1"/>
            <c:bubble3D val="0"/>
            <c:spPr>
              <a:solidFill>
                <a:srgbClr val="AEABAB"/>
              </a:solidFill>
            </c:spPr>
            <c:extLst>
              <c:ext xmlns:c16="http://schemas.microsoft.com/office/drawing/2014/chart" uri="{C3380CC4-5D6E-409C-BE32-E72D297353CC}">
                <c16:uniqueId val="{00000123-2993-41DE-A2CB-63102DE87051}"/>
              </c:ext>
            </c:extLst>
          </c:dPt>
          <c:dPt>
            <c:idx val="145"/>
            <c:invertIfNegative val="1"/>
            <c:bubble3D val="0"/>
            <c:spPr>
              <a:solidFill>
                <a:srgbClr val="AEABAB"/>
              </a:solidFill>
            </c:spPr>
            <c:extLst>
              <c:ext xmlns:c16="http://schemas.microsoft.com/office/drawing/2014/chart" uri="{C3380CC4-5D6E-409C-BE32-E72D297353CC}">
                <c16:uniqueId val="{00000125-2993-41DE-A2CB-63102DE87051}"/>
              </c:ext>
            </c:extLst>
          </c:dPt>
          <c:dPt>
            <c:idx val="146"/>
            <c:invertIfNegative val="1"/>
            <c:bubble3D val="0"/>
            <c:spPr>
              <a:solidFill>
                <a:srgbClr val="AEABAB"/>
              </a:solidFill>
            </c:spPr>
            <c:extLst>
              <c:ext xmlns:c16="http://schemas.microsoft.com/office/drawing/2014/chart" uri="{C3380CC4-5D6E-409C-BE32-E72D297353CC}">
                <c16:uniqueId val="{00000127-2993-41DE-A2CB-63102DE87051}"/>
              </c:ext>
            </c:extLst>
          </c:dPt>
          <c:dPt>
            <c:idx val="147"/>
            <c:invertIfNegative val="1"/>
            <c:bubble3D val="0"/>
            <c:spPr>
              <a:solidFill>
                <a:srgbClr val="AEABAB"/>
              </a:solidFill>
            </c:spPr>
            <c:extLst>
              <c:ext xmlns:c16="http://schemas.microsoft.com/office/drawing/2014/chart" uri="{C3380CC4-5D6E-409C-BE32-E72D297353CC}">
                <c16:uniqueId val="{00000129-2993-41DE-A2CB-63102DE87051}"/>
              </c:ext>
            </c:extLst>
          </c:dPt>
          <c:dPt>
            <c:idx val="148"/>
            <c:invertIfNegative val="1"/>
            <c:bubble3D val="0"/>
            <c:spPr>
              <a:solidFill>
                <a:srgbClr val="AEABAB"/>
              </a:solidFill>
            </c:spPr>
            <c:extLst>
              <c:ext xmlns:c16="http://schemas.microsoft.com/office/drawing/2014/chart" uri="{C3380CC4-5D6E-409C-BE32-E72D297353CC}">
                <c16:uniqueId val="{0000012B-2993-41DE-A2CB-63102DE87051}"/>
              </c:ext>
            </c:extLst>
          </c:dPt>
          <c:dPt>
            <c:idx val="149"/>
            <c:invertIfNegative val="1"/>
            <c:bubble3D val="0"/>
            <c:spPr>
              <a:solidFill>
                <a:srgbClr val="AEABAB"/>
              </a:solidFill>
            </c:spPr>
            <c:extLst>
              <c:ext xmlns:c16="http://schemas.microsoft.com/office/drawing/2014/chart" uri="{C3380CC4-5D6E-409C-BE32-E72D297353CC}">
                <c16:uniqueId val="{0000012D-2993-41DE-A2CB-63102DE87051}"/>
              </c:ext>
            </c:extLst>
          </c:dPt>
          <c:dPt>
            <c:idx val="150"/>
            <c:invertIfNegative val="1"/>
            <c:bubble3D val="0"/>
            <c:spPr>
              <a:solidFill>
                <a:srgbClr val="AEABAB"/>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152</c:f>
              <c:strCache>
                <c:ptCount val="151"/>
                <c:pt idx="0">
                  <c:v>Ruinart</c:v>
                </c:pt>
                <c:pt idx="1">
                  <c:v>Nicolas</c:v>
                </c:pt>
                <c:pt idx="2">
                  <c:v>Deutz</c:v>
                </c:pt>
                <c:pt idx="3">
                  <c:v>Laurent Per</c:v>
                </c:pt>
                <c:pt idx="4">
                  <c:v>Heidsieck &amp;</c:v>
                </c:pt>
                <c:pt idx="5">
                  <c:v>Ayala</c:v>
                </c:pt>
                <c:pt idx="6">
                  <c:v>Taittinger</c:v>
                </c:pt>
                <c:pt idx="7">
                  <c:v>Bollinger</c:v>
                </c:pt>
                <c:pt idx="8">
                  <c:v>Ruinart</c:v>
                </c:pt>
                <c:pt idx="9">
                  <c:v>De Bligny</c:v>
                </c:pt>
                <c:pt idx="10">
                  <c:v>Canard Duch</c:v>
                </c:pt>
                <c:pt idx="11">
                  <c:v>Perrier Jou</c:v>
                </c:pt>
                <c:pt idx="12">
                  <c:v>Ruinart</c:v>
                </c:pt>
                <c:pt idx="13">
                  <c:v>Besserat De</c:v>
                </c:pt>
                <c:pt idx="14">
                  <c:v>Deutz</c:v>
                </c:pt>
                <c:pt idx="15">
                  <c:v>Roederer</c:v>
                </c:pt>
                <c:pt idx="16">
                  <c:v>Demoiselle</c:v>
                </c:pt>
                <c:pt idx="17">
                  <c:v>All Others</c:v>
                </c:pt>
                <c:pt idx="18">
                  <c:v>Laurent Per</c:v>
                </c:pt>
                <c:pt idx="19">
                  <c:v>Campari: Al</c:v>
                </c:pt>
                <c:pt idx="20">
                  <c:v>Veuve Clicq</c:v>
                </c:pt>
                <c:pt idx="21">
                  <c:v>Pommery</c:v>
                </c:pt>
                <c:pt idx="22">
                  <c:v>All Others</c:v>
                </c:pt>
                <c:pt idx="23">
                  <c:v>Moët &amp; Chan</c:v>
                </c:pt>
                <c:pt idx="24">
                  <c:v>Veuve Clicq</c:v>
                </c:pt>
                <c:pt idx="25">
                  <c:v>Taittinger</c:v>
                </c:pt>
                <c:pt idx="26">
                  <c:v>Savian</c:v>
                </c:pt>
                <c:pt idx="27">
                  <c:v>Veuve Clicq</c:v>
                </c:pt>
                <c:pt idx="28">
                  <c:v>Henriot</c:v>
                </c:pt>
                <c:pt idx="29">
                  <c:v>Ruinart</c:v>
                </c:pt>
                <c:pt idx="30">
                  <c:v>Roederer</c:v>
                </c:pt>
                <c:pt idx="31">
                  <c:v>All Others</c:v>
                </c:pt>
                <c:pt idx="32">
                  <c:v>Krug</c:v>
                </c:pt>
                <c:pt idx="33">
                  <c:v>Deutz</c:v>
                </c:pt>
                <c:pt idx="34">
                  <c:v>Piper Heids</c:v>
                </c:pt>
                <c:pt idx="35">
                  <c:v>Campari: Al</c:v>
                </c:pt>
                <c:pt idx="36">
                  <c:v>Nicolas</c:v>
                </c:pt>
                <c:pt idx="37">
                  <c:v>Bollinger</c:v>
                </c:pt>
                <c:pt idx="38">
                  <c:v>De Venoge</c:v>
                </c:pt>
                <c:pt idx="39">
                  <c:v>Lanson</c:v>
                </c:pt>
                <c:pt idx="40">
                  <c:v>Nicolas Feu</c:v>
                </c:pt>
                <c:pt idx="41">
                  <c:v>Canard Duch</c:v>
                </c:pt>
                <c:pt idx="42">
                  <c:v>Henriot</c:v>
                </c:pt>
                <c:pt idx="43">
                  <c:v>Roederer</c:v>
                </c:pt>
                <c:pt idx="44">
                  <c:v>Roederer</c:v>
                </c:pt>
                <c:pt idx="45">
                  <c:v>Roederer</c:v>
                </c:pt>
                <c:pt idx="46">
                  <c:v>Nicolas</c:v>
                </c:pt>
                <c:pt idx="47">
                  <c:v>Canard Duch</c:v>
                </c:pt>
                <c:pt idx="48">
                  <c:v>De Venoge</c:v>
                </c:pt>
                <c:pt idx="49">
                  <c:v>Laurent Per</c:v>
                </c:pt>
                <c:pt idx="50">
                  <c:v>Nicolas</c:v>
                </c:pt>
                <c:pt idx="51">
                  <c:v>Canard Duch</c:v>
                </c:pt>
                <c:pt idx="52">
                  <c:v>Nicolas Feu</c:v>
                </c:pt>
                <c:pt idx="53">
                  <c:v>De Venoge</c:v>
                </c:pt>
                <c:pt idx="54">
                  <c:v>Moët &amp; Chan</c:v>
                </c:pt>
                <c:pt idx="55">
                  <c:v>Roederer</c:v>
                </c:pt>
                <c:pt idx="56">
                  <c:v>Vranken</c:v>
                </c:pt>
                <c:pt idx="57">
                  <c:v>Ruinart</c:v>
                </c:pt>
                <c:pt idx="58">
                  <c:v>Ruinart</c:v>
                </c:pt>
                <c:pt idx="59">
                  <c:v>Nicolas</c:v>
                </c:pt>
                <c:pt idx="60">
                  <c:v>Demoiselle</c:v>
                </c:pt>
                <c:pt idx="61">
                  <c:v>Laurent Per</c:v>
                </c:pt>
                <c:pt idx="62">
                  <c:v>Ruinart</c:v>
                </c:pt>
                <c:pt idx="63">
                  <c:v>Pommery</c:v>
                </c:pt>
                <c:pt idx="64">
                  <c:v>All Others</c:v>
                </c:pt>
                <c:pt idx="65">
                  <c:v>Veuve Clicq</c:v>
                </c:pt>
                <c:pt idx="66">
                  <c:v>Moët &amp; Chan</c:v>
                </c:pt>
                <c:pt idx="67">
                  <c:v>Moët &amp; Chan</c:v>
                </c:pt>
                <c:pt idx="68">
                  <c:v>Canard Duch</c:v>
                </c:pt>
                <c:pt idx="69">
                  <c:v>All Others</c:v>
                </c:pt>
                <c:pt idx="70">
                  <c:v>All Others</c:v>
                </c:pt>
                <c:pt idx="71">
                  <c:v>Laurent Per</c:v>
                </c:pt>
                <c:pt idx="72">
                  <c:v>Pommery</c:v>
                </c:pt>
                <c:pt idx="73">
                  <c:v>Pommery</c:v>
                </c:pt>
                <c:pt idx="74">
                  <c:v>All Others</c:v>
                </c:pt>
                <c:pt idx="75">
                  <c:v>Deutz</c:v>
                </c:pt>
                <c:pt idx="76">
                  <c:v>Lanson-Bcc:</c:v>
                </c:pt>
                <c:pt idx="77">
                  <c:v>Nicolas</c:v>
                </c:pt>
                <c:pt idx="78">
                  <c:v>Moët &amp; Chan</c:v>
                </c:pt>
                <c:pt idx="79">
                  <c:v>Laurent Per</c:v>
                </c:pt>
                <c:pt idx="80">
                  <c:v>Roederer</c:v>
                </c:pt>
                <c:pt idx="81">
                  <c:v>All Others</c:v>
                </c:pt>
                <c:pt idx="82">
                  <c:v>Bollinger</c:v>
                </c:pt>
                <c:pt idx="83">
                  <c:v>All Others</c:v>
                </c:pt>
                <c:pt idx="84">
                  <c:v>Canard Duch</c:v>
                </c:pt>
                <c:pt idx="85">
                  <c:v>All Others</c:v>
                </c:pt>
                <c:pt idx="86">
                  <c:v>Ruinart</c:v>
                </c:pt>
                <c:pt idx="87">
                  <c:v>Ruinart</c:v>
                </c:pt>
                <c:pt idx="88">
                  <c:v>Demoiselle</c:v>
                </c:pt>
                <c:pt idx="89">
                  <c:v>Vranken</c:v>
                </c:pt>
                <c:pt idx="90">
                  <c:v>All Others</c:v>
                </c:pt>
                <c:pt idx="91">
                  <c:v>All Others</c:v>
                </c:pt>
                <c:pt idx="92">
                  <c:v>Taittinger</c:v>
                </c:pt>
                <c:pt idx="93">
                  <c:v>Deutz</c:v>
                </c:pt>
                <c:pt idx="94">
                  <c:v>Malard</c:v>
                </c:pt>
                <c:pt idx="95">
                  <c:v>Roederer</c:v>
                </c:pt>
                <c:pt idx="96">
                  <c:v>Delamotte</c:v>
                </c:pt>
                <c:pt idx="97">
                  <c:v>All Others</c:v>
                </c:pt>
                <c:pt idx="98">
                  <c:v>Moët &amp; Chan</c:v>
                </c:pt>
                <c:pt idx="99">
                  <c:v>Laurent Per</c:v>
                </c:pt>
                <c:pt idx="100">
                  <c:v>De Venoge</c:v>
                </c:pt>
                <c:pt idx="101">
                  <c:v>All Others</c:v>
                </c:pt>
                <c:pt idx="102">
                  <c:v>Demoiselle</c:v>
                </c:pt>
                <c:pt idx="103">
                  <c:v>Nicolas</c:v>
                </c:pt>
                <c:pt idx="104">
                  <c:v>Veuve Clicq</c:v>
                </c:pt>
                <c:pt idx="105">
                  <c:v>De Venoge</c:v>
                </c:pt>
                <c:pt idx="106">
                  <c:v>Ayala</c:v>
                </c:pt>
                <c:pt idx="107">
                  <c:v>Pommery</c:v>
                </c:pt>
                <c:pt idx="108">
                  <c:v>Canard Duch</c:v>
                </c:pt>
                <c:pt idx="109">
                  <c:v>Canard Duch</c:v>
                </c:pt>
                <c:pt idx="110">
                  <c:v>Veuve Clicq</c:v>
                </c:pt>
                <c:pt idx="111">
                  <c:v>Roederer</c:v>
                </c:pt>
                <c:pt idx="112">
                  <c:v>Bollinger</c:v>
                </c:pt>
                <c:pt idx="113">
                  <c:v>Nicolas Feu</c:v>
                </c:pt>
                <c:pt idx="114">
                  <c:v>Heidsieck &amp;</c:v>
                </c:pt>
                <c:pt idx="115">
                  <c:v>Roederer</c:v>
                </c:pt>
                <c:pt idx="116">
                  <c:v>Henriot</c:v>
                </c:pt>
                <c:pt idx="117">
                  <c:v>Taittinger</c:v>
                </c:pt>
                <c:pt idx="118">
                  <c:v>Pommery</c:v>
                </c:pt>
                <c:pt idx="119">
                  <c:v>Laurent Per</c:v>
                </c:pt>
                <c:pt idx="120">
                  <c:v>Laurent Per</c:v>
                </c:pt>
                <c:pt idx="121">
                  <c:v>Heidsieck &amp;</c:v>
                </c:pt>
                <c:pt idx="122">
                  <c:v>Taittinger</c:v>
                </c:pt>
                <c:pt idx="123">
                  <c:v>Besserat De</c:v>
                </c:pt>
                <c:pt idx="124">
                  <c:v>All Others</c:v>
                </c:pt>
                <c:pt idx="125">
                  <c:v>Nicolas Feu</c:v>
                </c:pt>
                <c:pt idx="126">
                  <c:v>Lanson</c:v>
                </c:pt>
                <c:pt idx="127">
                  <c:v>Moët &amp; Chan</c:v>
                </c:pt>
                <c:pt idx="128">
                  <c:v>Bollinger</c:v>
                </c:pt>
                <c:pt idx="129">
                  <c:v>Martel</c:v>
                </c:pt>
                <c:pt idx="130">
                  <c:v>All Others</c:v>
                </c:pt>
                <c:pt idx="131">
                  <c:v>Nicolas Feu</c:v>
                </c:pt>
                <c:pt idx="132">
                  <c:v>Laurent Per</c:v>
                </c:pt>
                <c:pt idx="133">
                  <c:v>All Others</c:v>
                </c:pt>
                <c:pt idx="134">
                  <c:v>Roederer</c:v>
                </c:pt>
                <c:pt idx="135">
                  <c:v>Demoiselle</c:v>
                </c:pt>
                <c:pt idx="136">
                  <c:v>All Others</c:v>
                </c:pt>
                <c:pt idx="137">
                  <c:v>Nicolas Feu</c:v>
                </c:pt>
                <c:pt idx="138">
                  <c:v>Besserat De</c:v>
                </c:pt>
                <c:pt idx="139">
                  <c:v>Pommery</c:v>
                </c:pt>
                <c:pt idx="140">
                  <c:v>All Others</c:v>
                </c:pt>
                <c:pt idx="141">
                  <c:v>Laurent Per</c:v>
                </c:pt>
                <c:pt idx="142">
                  <c:v>Taittinger</c:v>
                </c:pt>
                <c:pt idx="143">
                  <c:v>Vranken</c:v>
                </c:pt>
                <c:pt idx="144">
                  <c:v>Nicolas</c:v>
                </c:pt>
                <c:pt idx="145">
                  <c:v>Moët &amp; Chan</c:v>
                </c:pt>
                <c:pt idx="146">
                  <c:v>Roederer</c:v>
                </c:pt>
                <c:pt idx="147">
                  <c:v>Piper Heids</c:v>
                </c:pt>
                <c:pt idx="148">
                  <c:v>Demoiselle</c:v>
                </c:pt>
                <c:pt idx="149">
                  <c:v>All Others</c:v>
                </c:pt>
                <c:pt idx="150">
                  <c:v>Roederer</c:v>
                </c:pt>
              </c:strCache>
            </c:strRef>
          </c:cat>
          <c:val>
            <c:numRef>
              <c:f>Sheet1!$C$2:$C$152</c:f>
              <c:numCache>
                <c:formatCode>General</c:formatCode>
                <c:ptCount val="151"/>
                <c:pt idx="0">
                  <c:v>0.15345471191639171</c:v>
                </c:pt>
                <c:pt idx="1">
                  <c:v>0.2417927701371132</c:v>
                </c:pt>
                <c:pt idx="2">
                  <c:v>0.31616563272993575</c:v>
                </c:pt>
                <c:pt idx="3">
                  <c:v>0.36819911292905816</c:v>
                </c:pt>
                <c:pt idx="4">
                  <c:v>0.41423995898812382</c:v>
                </c:pt>
                <c:pt idx="5">
                  <c:v>0.45341146775675945</c:v>
                </c:pt>
                <c:pt idx="6">
                  <c:v>0.48406239114030003</c:v>
                </c:pt>
                <c:pt idx="7">
                  <c:v>0.51462804197165679</c:v>
                </c:pt>
                <c:pt idx="8">
                  <c:v>0.54354784811759582</c:v>
                </c:pt>
                <c:pt idx="9">
                  <c:v>0.57220128307329721</c:v>
                </c:pt>
                <c:pt idx="10">
                  <c:v>0.59848692721118069</c:v>
                </c:pt>
                <c:pt idx="11">
                  <c:v>0.6219618698295073</c:v>
                </c:pt>
                <c:pt idx="12">
                  <c:v>0.64380996412305125</c:v>
                </c:pt>
                <c:pt idx="13">
                  <c:v>0.66501783884906041</c:v>
                </c:pt>
                <c:pt idx="14">
                  <c:v>0.68246553173683988</c:v>
                </c:pt>
                <c:pt idx="15">
                  <c:v>0.69913479597993111</c:v>
                </c:pt>
                <c:pt idx="16">
                  <c:v>0.7156185713149551</c:v>
                </c:pt>
                <c:pt idx="17">
                  <c:v>0.73113167483566455</c:v>
                </c:pt>
                <c:pt idx="18">
                  <c:v>0.74654405543087377</c:v>
                </c:pt>
                <c:pt idx="19">
                  <c:v>0.76105305354255104</c:v>
                </c:pt>
                <c:pt idx="20">
                  <c:v>0.77400941577832638</c:v>
                </c:pt>
                <c:pt idx="21">
                  <c:v>0.78660552258819239</c:v>
                </c:pt>
                <c:pt idx="22">
                  <c:v>0.79905675048761537</c:v>
                </c:pt>
                <c:pt idx="23">
                  <c:v>0.811162751193098</c:v>
                </c:pt>
                <c:pt idx="24">
                  <c:v>0.82244827797568698</c:v>
                </c:pt>
                <c:pt idx="25">
                  <c:v>0.8328403003822743</c:v>
                </c:pt>
                <c:pt idx="26">
                  <c:v>0.84314620595398282</c:v>
                </c:pt>
                <c:pt idx="27">
                  <c:v>0.85136757755200898</c:v>
                </c:pt>
                <c:pt idx="28">
                  <c:v>0.85905173207127694</c:v>
                </c:pt>
                <c:pt idx="29">
                  <c:v>0.8666504451818221</c:v>
                </c:pt>
                <c:pt idx="30">
                  <c:v>0.87419098721468935</c:v>
                </c:pt>
                <c:pt idx="31">
                  <c:v>0.88131268060262191</c:v>
                </c:pt>
                <c:pt idx="32">
                  <c:v>0.88775801912367835</c:v>
                </c:pt>
                <c:pt idx="33">
                  <c:v>0.89406058944102906</c:v>
                </c:pt>
                <c:pt idx="34">
                  <c:v>0.90009087858927783</c:v>
                </c:pt>
                <c:pt idx="35">
                  <c:v>0.90587514376023581</c:v>
                </c:pt>
                <c:pt idx="36">
                  <c:v>0.91163357388073019</c:v>
                </c:pt>
                <c:pt idx="37">
                  <c:v>0.91708502281336268</c:v>
                </c:pt>
                <c:pt idx="38">
                  <c:v>0.92234372200675185</c:v>
                </c:pt>
                <c:pt idx="39">
                  <c:v>0.92726141541967511</c:v>
                </c:pt>
                <c:pt idx="40">
                  <c:v>0.9314726975017843</c:v>
                </c:pt>
                <c:pt idx="41">
                  <c:v>0.93542275851809464</c:v>
                </c:pt>
                <c:pt idx="42">
                  <c:v>0.93932883240600129</c:v>
                </c:pt>
                <c:pt idx="43">
                  <c:v>0.94304536482890522</c:v>
                </c:pt>
                <c:pt idx="44">
                  <c:v>0.9466618497524647</c:v>
                </c:pt>
                <c:pt idx="45">
                  <c:v>0.94894757629233928</c:v>
                </c:pt>
                <c:pt idx="46">
                  <c:v>0.95119927823960981</c:v>
                </c:pt>
                <c:pt idx="47">
                  <c:v>0.95333100761593648</c:v>
                </c:pt>
                <c:pt idx="48">
                  <c:v>0.95540169535342268</c:v>
                </c:pt>
                <c:pt idx="49">
                  <c:v>0.95726266326949827</c:v>
                </c:pt>
                <c:pt idx="50">
                  <c:v>0.95912135162229761</c:v>
                </c:pt>
                <c:pt idx="51">
                  <c:v>0.96096264775158224</c:v>
                </c:pt>
                <c:pt idx="52">
                  <c:v>0.96278520080504038</c:v>
                </c:pt>
                <c:pt idx="53">
                  <c:v>0.9645903616349838</c:v>
                </c:pt>
                <c:pt idx="54">
                  <c:v>0.96617659996214234</c:v>
                </c:pt>
                <c:pt idx="55">
                  <c:v>0.96774705020290641</c:v>
                </c:pt>
                <c:pt idx="56">
                  <c:v>0.96920141157312323</c:v>
                </c:pt>
                <c:pt idx="57">
                  <c:v>0.97058949675179118</c:v>
                </c:pt>
                <c:pt idx="58">
                  <c:v>0.971890367528077</c:v>
                </c:pt>
                <c:pt idx="59">
                  <c:v>0.97307920199075104</c:v>
                </c:pt>
                <c:pt idx="60">
                  <c:v>0.9742206721942418</c:v>
                </c:pt>
                <c:pt idx="61">
                  <c:v>0.97535673898848518</c:v>
                </c:pt>
                <c:pt idx="62">
                  <c:v>0.97644932522394179</c:v>
                </c:pt>
                <c:pt idx="63">
                  <c:v>0.97753118906917325</c:v>
                </c:pt>
                <c:pt idx="64">
                  <c:v>0.97859363441242231</c:v>
                </c:pt>
                <c:pt idx="65">
                  <c:v>0.97962838728327895</c:v>
                </c:pt>
                <c:pt idx="66">
                  <c:v>0.98060522236126613</c:v>
                </c:pt>
                <c:pt idx="67">
                  <c:v>0.98156745134863177</c:v>
                </c:pt>
                <c:pt idx="68">
                  <c:v>0.98250933312305055</c:v>
                </c:pt>
                <c:pt idx="69">
                  <c:v>0.98343204968029541</c:v>
                </c:pt>
                <c:pt idx="70">
                  <c:v>0.98433923143595425</c:v>
                </c:pt>
                <c:pt idx="71">
                  <c:v>0.98523104724656607</c:v>
                </c:pt>
                <c:pt idx="72">
                  <c:v>0.98611146524079696</c:v>
                </c:pt>
                <c:pt idx="73">
                  <c:v>0.98695633893357293</c:v>
                </c:pt>
                <c:pt idx="74">
                  <c:v>0.98776980531009906</c:v>
                </c:pt>
                <c:pt idx="75">
                  <c:v>0.98855346850749559</c:v>
                </c:pt>
                <c:pt idx="76">
                  <c:v>0.98930960808903867</c:v>
                </c:pt>
                <c:pt idx="77">
                  <c:v>0.99005781141324978</c:v>
                </c:pt>
                <c:pt idx="78">
                  <c:v>0.99077004829465865</c:v>
                </c:pt>
                <c:pt idx="79">
                  <c:v>0.99144243503286866</c:v>
                </c:pt>
                <c:pt idx="80">
                  <c:v>0.99202870493619999</c:v>
                </c:pt>
                <c:pt idx="81">
                  <c:v>0.99259673833332174</c:v>
                </c:pt>
                <c:pt idx="82">
                  <c:v>0.99316046588869955</c:v>
                </c:pt>
                <c:pt idx="83">
                  <c:v>0.99362667879281752</c:v>
                </c:pt>
                <c:pt idx="84">
                  <c:v>0.99408419558517813</c:v>
                </c:pt>
                <c:pt idx="85">
                  <c:v>0.99451621504015308</c:v>
                </c:pt>
                <c:pt idx="86">
                  <c:v>0.99494468850780959</c:v>
                </c:pt>
                <c:pt idx="87">
                  <c:v>0.99535484104098693</c:v>
                </c:pt>
                <c:pt idx="88">
                  <c:v>0.99575562203625101</c:v>
                </c:pt>
                <c:pt idx="89">
                  <c:v>0.9960443667179032</c:v>
                </c:pt>
                <c:pt idx="90">
                  <c:v>0.99632146029836599</c:v>
                </c:pt>
                <c:pt idx="91">
                  <c:v>0.99659500789151023</c:v>
                </c:pt>
                <c:pt idx="92">
                  <c:v>0.996841876151496</c:v>
                </c:pt>
                <c:pt idx="93">
                  <c:v>0.99705108940328968</c:v>
                </c:pt>
                <c:pt idx="94">
                  <c:v>0.99721184082839665</c:v>
                </c:pt>
                <c:pt idx="95">
                  <c:v>0.9973629674307819</c:v>
                </c:pt>
                <c:pt idx="96">
                  <c:v>0.99749585752695746</c:v>
                </c:pt>
                <c:pt idx="97">
                  <c:v>0.99761802523290799</c:v>
                </c:pt>
                <c:pt idx="98">
                  <c:v>0.99773293210768244</c:v>
                </c:pt>
                <c:pt idx="99">
                  <c:v>0.99784648813014509</c:v>
                </c:pt>
                <c:pt idx="100">
                  <c:v>0.99795995972433826</c:v>
                </c:pt>
                <c:pt idx="101">
                  <c:v>0.99806532620466049</c:v>
                </c:pt>
                <c:pt idx="102">
                  <c:v>0.9981616588601474</c:v>
                </c:pt>
                <c:pt idx="103">
                  <c:v>0.99825495209793269</c:v>
                </c:pt>
                <c:pt idx="104">
                  <c:v>0.99834782319437054</c:v>
                </c:pt>
                <c:pt idx="105">
                  <c:v>0.99843334903136283</c:v>
                </c:pt>
                <c:pt idx="106">
                  <c:v>0.99851853715527716</c:v>
                </c:pt>
                <c:pt idx="107">
                  <c:v>0.99859832186994424</c:v>
                </c:pt>
                <c:pt idx="108">
                  <c:v>0.99867768444326388</c:v>
                </c:pt>
                <c:pt idx="109">
                  <c:v>0.99874860418963463</c:v>
                </c:pt>
                <c:pt idx="110">
                  <c:v>0.99881758208580707</c:v>
                </c:pt>
                <c:pt idx="111">
                  <c:v>0.99888436484697285</c:v>
                </c:pt>
                <c:pt idx="112">
                  <c:v>0.99895013446890479</c:v>
                </c:pt>
                <c:pt idx="113">
                  <c:v>0.99901320238621305</c:v>
                </c:pt>
                <c:pt idx="114">
                  <c:v>0.99907230217485532</c:v>
                </c:pt>
                <c:pt idx="115">
                  <c:v>0.99913097982215016</c:v>
                </c:pt>
                <c:pt idx="116">
                  <c:v>0.99918771561924669</c:v>
                </c:pt>
                <c:pt idx="117">
                  <c:v>0.99924141199864169</c:v>
                </c:pt>
                <c:pt idx="118">
                  <c:v>0.99929460180841978</c:v>
                </c:pt>
                <c:pt idx="119">
                  <c:v>0.99934525877011315</c:v>
                </c:pt>
                <c:pt idx="120">
                  <c:v>0.99939042789428978</c:v>
                </c:pt>
                <c:pt idx="121">
                  <c:v>0.99943433059442399</c:v>
                </c:pt>
                <c:pt idx="122">
                  <c:v>0.99947789558148026</c:v>
                </c:pt>
                <c:pt idx="123">
                  <c:v>0.99952010971622474</c:v>
                </c:pt>
                <c:pt idx="124">
                  <c:v>0.99956071971384897</c:v>
                </c:pt>
                <c:pt idx="125">
                  <c:v>0.99960090757012576</c:v>
                </c:pt>
                <c:pt idx="126">
                  <c:v>0.99963712729773657</c:v>
                </c:pt>
                <c:pt idx="127">
                  <c:v>0.99966667719205771</c:v>
                </c:pt>
                <c:pt idx="128">
                  <c:v>0.99969605822983987</c:v>
                </c:pt>
                <c:pt idx="129">
                  <c:v>0.99972535483935254</c:v>
                </c:pt>
                <c:pt idx="130">
                  <c:v>0.99975194974424153</c:v>
                </c:pt>
                <c:pt idx="131">
                  <c:v>0.99977778479470514</c:v>
                </c:pt>
                <c:pt idx="132">
                  <c:v>0.99980311327555182</c:v>
                </c:pt>
                <c:pt idx="133">
                  <c:v>0.99982827289985954</c:v>
                </c:pt>
                <c:pt idx="134">
                  <c:v>0.99985317923935879</c:v>
                </c:pt>
                <c:pt idx="135">
                  <c:v>0.99987546830250384</c:v>
                </c:pt>
                <c:pt idx="136">
                  <c:v>0.99989725079603198</c:v>
                </c:pt>
                <c:pt idx="137">
                  <c:v>0.99991793572205678</c:v>
                </c:pt>
                <c:pt idx="138">
                  <c:v>0.99993043110594115</c:v>
                </c:pt>
                <c:pt idx="139">
                  <c:v>0.9999418289223222</c:v>
                </c:pt>
                <c:pt idx="140">
                  <c:v>0.99995246688427786</c:v>
                </c:pt>
                <c:pt idx="141">
                  <c:v>0.99996090971122675</c:v>
                </c:pt>
                <c:pt idx="142">
                  <c:v>0.9999677484010554</c:v>
                </c:pt>
                <c:pt idx="143">
                  <c:v>0.99997441823434507</c:v>
                </c:pt>
                <c:pt idx="144">
                  <c:v>0.9999800749284008</c:v>
                </c:pt>
                <c:pt idx="145">
                  <c:v>0.99998421191360576</c:v>
                </c:pt>
                <c:pt idx="146">
                  <c:v>0.99998809561400226</c:v>
                </c:pt>
                <c:pt idx="147">
                  <c:v>0.9999917260295903</c:v>
                </c:pt>
                <c:pt idx="148">
                  <c:v>0.99999468101902245</c:v>
                </c:pt>
                <c:pt idx="149">
                  <c:v>0.99999755158018511</c:v>
                </c:pt>
                <c:pt idx="150">
                  <c:v>1.0000000000000002</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107</c:f>
              <c:strCache>
                <c:ptCount val="106"/>
                <c:pt idx="0">
                  <c:v>Ruinart</c:v>
                </c:pt>
                <c:pt idx="1">
                  <c:v>Nicolas</c:v>
                </c:pt>
                <c:pt idx="2">
                  <c:v>Deutz</c:v>
                </c:pt>
                <c:pt idx="3">
                  <c:v>Laurent Per</c:v>
                </c:pt>
                <c:pt idx="4">
                  <c:v>Heidsieck &amp;</c:v>
                </c:pt>
                <c:pt idx="5">
                  <c:v>Ayala</c:v>
                </c:pt>
                <c:pt idx="6">
                  <c:v>De Bligny</c:v>
                </c:pt>
                <c:pt idx="7">
                  <c:v>Ruinart</c:v>
                </c:pt>
                <c:pt idx="8">
                  <c:v>Canard Duch</c:v>
                </c:pt>
                <c:pt idx="9">
                  <c:v>Taittinger</c:v>
                </c:pt>
                <c:pt idx="10">
                  <c:v>Bollinger</c:v>
                </c:pt>
                <c:pt idx="11">
                  <c:v>Besserat De</c:v>
                </c:pt>
                <c:pt idx="12">
                  <c:v>Demoiselle</c:v>
                </c:pt>
                <c:pt idx="13">
                  <c:v>Campari: Al</c:v>
                </c:pt>
                <c:pt idx="14">
                  <c:v>Deutz</c:v>
                </c:pt>
                <c:pt idx="15">
                  <c:v>Perrier Jou</c:v>
                </c:pt>
                <c:pt idx="16">
                  <c:v>Ruinart</c:v>
                </c:pt>
                <c:pt idx="17">
                  <c:v>All Others</c:v>
                </c:pt>
                <c:pt idx="18">
                  <c:v>Roederer</c:v>
                </c:pt>
                <c:pt idx="19">
                  <c:v>Laurent Per</c:v>
                </c:pt>
                <c:pt idx="20">
                  <c:v>Pommery</c:v>
                </c:pt>
                <c:pt idx="21">
                  <c:v>All Others</c:v>
                </c:pt>
                <c:pt idx="22">
                  <c:v>Savian</c:v>
                </c:pt>
                <c:pt idx="23">
                  <c:v>Veuve Clicq</c:v>
                </c:pt>
                <c:pt idx="24">
                  <c:v>Henriot</c:v>
                </c:pt>
                <c:pt idx="25">
                  <c:v>Moët &amp; Chan</c:v>
                </c:pt>
                <c:pt idx="26">
                  <c:v>Taittinger</c:v>
                </c:pt>
                <c:pt idx="27">
                  <c:v>Roederer</c:v>
                </c:pt>
                <c:pt idx="28">
                  <c:v>Veuve Clicq</c:v>
                </c:pt>
                <c:pt idx="29">
                  <c:v>Veuve Clicq</c:v>
                </c:pt>
                <c:pt idx="30">
                  <c:v>Piper Heids</c:v>
                </c:pt>
                <c:pt idx="31">
                  <c:v>De Venoge</c:v>
                </c:pt>
                <c:pt idx="32">
                  <c:v>Deutz</c:v>
                </c:pt>
                <c:pt idx="33">
                  <c:v>Ruinart</c:v>
                </c:pt>
                <c:pt idx="34">
                  <c:v>All Others</c:v>
                </c:pt>
                <c:pt idx="35">
                  <c:v>Lanson</c:v>
                </c:pt>
                <c:pt idx="36">
                  <c:v>Campari: Al</c:v>
                </c:pt>
                <c:pt idx="37">
                  <c:v>Nicolas</c:v>
                </c:pt>
                <c:pt idx="38">
                  <c:v>Canard Duch</c:v>
                </c:pt>
                <c:pt idx="39">
                  <c:v>Henriot</c:v>
                </c:pt>
                <c:pt idx="40">
                  <c:v>Nicolas Feu</c:v>
                </c:pt>
                <c:pt idx="41">
                  <c:v>Krug</c:v>
                </c:pt>
                <c:pt idx="42">
                  <c:v>Bollinger</c:v>
                </c:pt>
                <c:pt idx="43">
                  <c:v>Roederer</c:v>
                </c:pt>
                <c:pt idx="44">
                  <c:v>Nicolas</c:v>
                </c:pt>
                <c:pt idx="45">
                  <c:v>De Venoge</c:v>
                </c:pt>
                <c:pt idx="46">
                  <c:v>Roederer</c:v>
                </c:pt>
                <c:pt idx="47">
                  <c:v>Canard Duch</c:v>
                </c:pt>
                <c:pt idx="48">
                  <c:v>De Venoge</c:v>
                </c:pt>
                <c:pt idx="49">
                  <c:v>Roederer</c:v>
                </c:pt>
                <c:pt idx="50">
                  <c:v>Canard Duch</c:v>
                </c:pt>
                <c:pt idx="51">
                  <c:v>Vranken</c:v>
                </c:pt>
                <c:pt idx="52">
                  <c:v>Moët &amp; Chan</c:v>
                </c:pt>
                <c:pt idx="53">
                  <c:v>Nicolas</c:v>
                </c:pt>
                <c:pt idx="54">
                  <c:v>Canard Duch</c:v>
                </c:pt>
                <c:pt idx="55">
                  <c:v>Nicolas Feu</c:v>
                </c:pt>
                <c:pt idx="56">
                  <c:v>Veuve Clicq</c:v>
                </c:pt>
                <c:pt idx="57">
                  <c:v>Nicolas</c:v>
                </c:pt>
                <c:pt idx="58">
                  <c:v>All Others</c:v>
                </c:pt>
                <c:pt idx="59">
                  <c:v>Roederer</c:v>
                </c:pt>
                <c:pt idx="60">
                  <c:v>Laurent Per</c:v>
                </c:pt>
                <c:pt idx="61">
                  <c:v>Moët &amp; Chan</c:v>
                </c:pt>
                <c:pt idx="62">
                  <c:v>All Others</c:v>
                </c:pt>
                <c:pt idx="63">
                  <c:v>Demoiselle</c:v>
                </c:pt>
                <c:pt idx="64">
                  <c:v>Nicolas</c:v>
                </c:pt>
                <c:pt idx="65">
                  <c:v>Vranken</c:v>
                </c:pt>
                <c:pt idx="66">
                  <c:v>Roederer</c:v>
                </c:pt>
                <c:pt idx="67">
                  <c:v>Pommery</c:v>
                </c:pt>
                <c:pt idx="68">
                  <c:v>Deutz</c:v>
                </c:pt>
                <c:pt idx="69">
                  <c:v>Ruinart</c:v>
                </c:pt>
                <c:pt idx="70">
                  <c:v>Canard Duch</c:v>
                </c:pt>
                <c:pt idx="71">
                  <c:v>Pommery</c:v>
                </c:pt>
                <c:pt idx="72">
                  <c:v>Ruinart</c:v>
                </c:pt>
                <c:pt idx="73">
                  <c:v>Laurent Per</c:v>
                </c:pt>
                <c:pt idx="74">
                  <c:v>Pommery</c:v>
                </c:pt>
                <c:pt idx="75">
                  <c:v>Ruinart</c:v>
                </c:pt>
                <c:pt idx="76">
                  <c:v>Laurent Per</c:v>
                </c:pt>
                <c:pt idx="77">
                  <c:v>Ruinart</c:v>
                </c:pt>
                <c:pt idx="78">
                  <c:v>Laurent Per</c:v>
                </c:pt>
                <c:pt idx="79">
                  <c:v>Nicolas</c:v>
                </c:pt>
                <c:pt idx="80">
                  <c:v>Roederer</c:v>
                </c:pt>
                <c:pt idx="81">
                  <c:v>Bollinger</c:v>
                </c:pt>
                <c:pt idx="82">
                  <c:v>Roederer</c:v>
                </c:pt>
                <c:pt idx="83">
                  <c:v>Henriot</c:v>
                </c:pt>
                <c:pt idx="84">
                  <c:v>All Others</c:v>
                </c:pt>
                <c:pt idx="85">
                  <c:v>Demoiselle</c:v>
                </c:pt>
                <c:pt idx="86">
                  <c:v>Malard</c:v>
                </c:pt>
                <c:pt idx="87">
                  <c:v>Bollinger</c:v>
                </c:pt>
                <c:pt idx="88">
                  <c:v>De Venoge</c:v>
                </c:pt>
                <c:pt idx="89">
                  <c:v>All Others</c:v>
                </c:pt>
                <c:pt idx="90">
                  <c:v>Moët &amp; Chan</c:v>
                </c:pt>
                <c:pt idx="91">
                  <c:v>All Others</c:v>
                </c:pt>
                <c:pt idx="92">
                  <c:v>Taittinger</c:v>
                </c:pt>
                <c:pt idx="93">
                  <c:v>Nicolas Feu</c:v>
                </c:pt>
                <c:pt idx="94">
                  <c:v>Piper Heids</c:v>
                </c:pt>
                <c:pt idx="95">
                  <c:v>Roederer</c:v>
                </c:pt>
                <c:pt idx="96">
                  <c:v>Canard Duch</c:v>
                </c:pt>
                <c:pt idx="97">
                  <c:v>Martel</c:v>
                </c:pt>
                <c:pt idx="98">
                  <c:v>Besserat De</c:v>
                </c:pt>
                <c:pt idx="99">
                  <c:v>Lanson</c:v>
                </c:pt>
                <c:pt idx="100">
                  <c:v>Demoiselle</c:v>
                </c:pt>
                <c:pt idx="101">
                  <c:v>Moët &amp; Chan</c:v>
                </c:pt>
                <c:pt idx="102">
                  <c:v>All Others</c:v>
                </c:pt>
                <c:pt idx="103">
                  <c:v>Laurent Per</c:v>
                </c:pt>
                <c:pt idx="104">
                  <c:v>Nicolas</c:v>
                </c:pt>
                <c:pt idx="105">
                  <c:v>Nicolas</c:v>
                </c:pt>
              </c:strCache>
            </c:strRef>
          </c:cat>
          <c:val>
            <c:numRef>
              <c:f>Sheet1!$B$2:$B$107</c:f>
              <c:numCache>
                <c:formatCode>General</c:formatCode>
                <c:ptCount val="106"/>
                <c:pt idx="0">
                  <c:v>1</c:v>
                </c:pt>
                <c:pt idx="1">
                  <c:v>1</c:v>
                </c:pt>
                <c:pt idx="2">
                  <c:v>1</c:v>
                </c:pt>
                <c:pt idx="3">
                  <c:v>1</c:v>
                </c:pt>
                <c:pt idx="4">
                  <c:v>0.99</c:v>
                </c:pt>
                <c:pt idx="5">
                  <c:v>1</c:v>
                </c:pt>
                <c:pt idx="6">
                  <c:v>0.94</c:v>
                </c:pt>
                <c:pt idx="7">
                  <c:v>0.76</c:v>
                </c:pt>
                <c:pt idx="8">
                  <c:v>0.98</c:v>
                </c:pt>
                <c:pt idx="9">
                  <c:v>0.93</c:v>
                </c:pt>
                <c:pt idx="10">
                  <c:v>0.97</c:v>
                </c:pt>
                <c:pt idx="11">
                  <c:v>0.86</c:v>
                </c:pt>
                <c:pt idx="12">
                  <c:v>0.97</c:v>
                </c:pt>
                <c:pt idx="13">
                  <c:v>0.74</c:v>
                </c:pt>
                <c:pt idx="14">
                  <c:v>0.78</c:v>
                </c:pt>
                <c:pt idx="15">
                  <c:v>0.89</c:v>
                </c:pt>
                <c:pt idx="16">
                  <c:v>0.61</c:v>
                </c:pt>
                <c:pt idx="17">
                  <c:v>0.92</c:v>
                </c:pt>
                <c:pt idx="18">
                  <c:v>0.64</c:v>
                </c:pt>
                <c:pt idx="19">
                  <c:v>0.82</c:v>
                </c:pt>
                <c:pt idx="20">
                  <c:v>0.73</c:v>
                </c:pt>
                <c:pt idx="21">
                  <c:v>0.74</c:v>
                </c:pt>
                <c:pt idx="22">
                  <c:v>0.79</c:v>
                </c:pt>
                <c:pt idx="23">
                  <c:v>0.71</c:v>
                </c:pt>
                <c:pt idx="24">
                  <c:v>0.7</c:v>
                </c:pt>
                <c:pt idx="25">
                  <c:v>0.75</c:v>
                </c:pt>
                <c:pt idx="26">
                  <c:v>0.54</c:v>
                </c:pt>
                <c:pt idx="27">
                  <c:v>0.5</c:v>
                </c:pt>
                <c:pt idx="28">
                  <c:v>0.56000000000000005</c:v>
                </c:pt>
                <c:pt idx="29">
                  <c:v>0.68</c:v>
                </c:pt>
                <c:pt idx="30">
                  <c:v>0.6</c:v>
                </c:pt>
                <c:pt idx="31">
                  <c:v>0.6</c:v>
                </c:pt>
                <c:pt idx="32">
                  <c:v>0.77</c:v>
                </c:pt>
                <c:pt idx="33">
                  <c:v>0.78</c:v>
                </c:pt>
                <c:pt idx="34">
                  <c:v>0.43</c:v>
                </c:pt>
                <c:pt idx="35">
                  <c:v>0.53</c:v>
                </c:pt>
                <c:pt idx="36">
                  <c:v>0.56999999999999995</c:v>
                </c:pt>
                <c:pt idx="37">
                  <c:v>0.91</c:v>
                </c:pt>
                <c:pt idx="38">
                  <c:v>0.79</c:v>
                </c:pt>
                <c:pt idx="39">
                  <c:v>0.68</c:v>
                </c:pt>
                <c:pt idx="40">
                  <c:v>0.5</c:v>
                </c:pt>
                <c:pt idx="41">
                  <c:v>0.13</c:v>
                </c:pt>
                <c:pt idx="42">
                  <c:v>0.23</c:v>
                </c:pt>
                <c:pt idx="43">
                  <c:v>0.17</c:v>
                </c:pt>
                <c:pt idx="44">
                  <c:v>0.45</c:v>
                </c:pt>
                <c:pt idx="45">
                  <c:v>0.39</c:v>
                </c:pt>
                <c:pt idx="46">
                  <c:v>0.28000000000000003</c:v>
                </c:pt>
                <c:pt idx="47">
                  <c:v>0.42</c:v>
                </c:pt>
                <c:pt idx="48">
                  <c:v>0.26</c:v>
                </c:pt>
                <c:pt idx="49">
                  <c:v>0.3</c:v>
                </c:pt>
                <c:pt idx="50">
                  <c:v>0.27</c:v>
                </c:pt>
                <c:pt idx="51">
                  <c:v>0.16</c:v>
                </c:pt>
                <c:pt idx="52">
                  <c:v>0.28000000000000003</c:v>
                </c:pt>
                <c:pt idx="53">
                  <c:v>0.21</c:v>
                </c:pt>
                <c:pt idx="54">
                  <c:v>0.16</c:v>
                </c:pt>
                <c:pt idx="55">
                  <c:v>0.25</c:v>
                </c:pt>
                <c:pt idx="56">
                  <c:v>0.19</c:v>
                </c:pt>
                <c:pt idx="57">
                  <c:v>0.21</c:v>
                </c:pt>
                <c:pt idx="58">
                  <c:v>0.18</c:v>
                </c:pt>
                <c:pt idx="59">
                  <c:v>0.27</c:v>
                </c:pt>
                <c:pt idx="60">
                  <c:v>0.1</c:v>
                </c:pt>
                <c:pt idx="61">
                  <c:v>0.16</c:v>
                </c:pt>
                <c:pt idx="62">
                  <c:v>0.22</c:v>
                </c:pt>
                <c:pt idx="63">
                  <c:v>0.3</c:v>
                </c:pt>
                <c:pt idx="64">
                  <c:v>0.12</c:v>
                </c:pt>
                <c:pt idx="65">
                  <c:v>0.09</c:v>
                </c:pt>
                <c:pt idx="66">
                  <c:v>0.15</c:v>
                </c:pt>
                <c:pt idx="67">
                  <c:v>0.14000000000000001</c:v>
                </c:pt>
                <c:pt idx="68">
                  <c:v>0.08</c:v>
                </c:pt>
                <c:pt idx="69">
                  <c:v>0.05</c:v>
                </c:pt>
                <c:pt idx="70">
                  <c:v>0.18</c:v>
                </c:pt>
                <c:pt idx="71">
                  <c:v>0.16</c:v>
                </c:pt>
                <c:pt idx="72">
                  <c:v>0.08</c:v>
                </c:pt>
                <c:pt idx="73">
                  <c:v>7.0000000000000007E-2</c:v>
                </c:pt>
                <c:pt idx="74">
                  <c:v>0.1</c:v>
                </c:pt>
                <c:pt idx="75">
                  <c:v>0.03</c:v>
                </c:pt>
                <c:pt idx="76">
                  <c:v>0.04</c:v>
                </c:pt>
                <c:pt idx="77">
                  <c:v>0.05</c:v>
                </c:pt>
                <c:pt idx="78">
                  <c:v>0.03</c:v>
                </c:pt>
                <c:pt idx="79">
                  <c:v>0.12</c:v>
                </c:pt>
                <c:pt idx="80">
                  <c:v>0.03</c:v>
                </c:pt>
                <c:pt idx="81">
                  <c:v>0.03</c:v>
                </c:pt>
                <c:pt idx="82">
                  <c:v>0.06</c:v>
                </c:pt>
                <c:pt idx="83">
                  <c:v>0.03</c:v>
                </c:pt>
                <c:pt idx="84">
                  <c:v>0.06</c:v>
                </c:pt>
                <c:pt idx="85">
                  <c:v>0.05</c:v>
                </c:pt>
                <c:pt idx="86">
                  <c:v>0.05</c:v>
                </c:pt>
                <c:pt idx="87">
                  <c:v>0.03</c:v>
                </c:pt>
                <c:pt idx="88">
                  <c:v>0.03</c:v>
                </c:pt>
                <c:pt idx="89">
                  <c:v>0.05</c:v>
                </c:pt>
                <c:pt idx="90">
                  <c:v>0.02</c:v>
                </c:pt>
                <c:pt idx="91">
                  <c:v>0.01</c:v>
                </c:pt>
                <c:pt idx="92">
                  <c:v>0.03</c:v>
                </c:pt>
                <c:pt idx="93">
                  <c:v>7.0000000000000007E-2</c:v>
                </c:pt>
                <c:pt idx="94">
                  <c:v>0.03</c:v>
                </c:pt>
                <c:pt idx="95">
                  <c:v>0.03</c:v>
                </c:pt>
                <c:pt idx="96">
                  <c:v>0.03</c:v>
                </c:pt>
                <c:pt idx="97">
                  <c:v>0.03</c:v>
                </c:pt>
                <c:pt idx="98">
                  <c:v>0.03</c:v>
                </c:pt>
                <c:pt idx="99">
                  <c:v>0.02</c:v>
                </c:pt>
                <c:pt idx="100">
                  <c:v>0.02</c:v>
                </c:pt>
                <c:pt idx="101">
                  <c:v>0.03</c:v>
                </c:pt>
                <c:pt idx="102">
                  <c:v>0.04</c:v>
                </c:pt>
                <c:pt idx="103">
                  <c:v>0.03</c:v>
                </c:pt>
                <c:pt idx="104">
                  <c:v>0.01</c:v>
                </c:pt>
                <c:pt idx="105">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7ECAC4"/>
              </a:solidFill>
            </c:spPr>
            <c:extLst>
              <c:ext xmlns:c16="http://schemas.microsoft.com/office/drawing/2014/chart" uri="{C3380CC4-5D6E-409C-BE32-E72D297353CC}">
                <c16:uniqueId val="{00000065-2993-41DE-A2CB-63102DE87051}"/>
              </c:ext>
            </c:extLst>
          </c:dPt>
          <c:dPt>
            <c:idx val="23"/>
            <c:invertIfNegative val="1"/>
            <c:bubble3D val="0"/>
            <c:spPr>
              <a:solidFill>
                <a:srgbClr val="7ECAC4"/>
              </a:solidFill>
            </c:spPr>
            <c:extLst>
              <c:ext xmlns:c16="http://schemas.microsoft.com/office/drawing/2014/chart" uri="{C3380CC4-5D6E-409C-BE32-E72D297353CC}">
                <c16:uniqueId val="{00000067-2993-41DE-A2CB-63102DE87051}"/>
              </c:ext>
            </c:extLst>
          </c:dPt>
          <c:dPt>
            <c:idx val="24"/>
            <c:invertIfNegative val="1"/>
            <c:bubble3D val="0"/>
            <c:spPr>
              <a:solidFill>
                <a:srgbClr val="7ECAC4"/>
              </a:solidFill>
            </c:spPr>
            <c:extLst>
              <c:ext xmlns:c16="http://schemas.microsoft.com/office/drawing/2014/chart" uri="{C3380CC4-5D6E-409C-BE32-E72D297353CC}">
                <c16:uniqueId val="{00000069-2993-41DE-A2CB-63102DE87051}"/>
              </c:ext>
            </c:extLst>
          </c:dPt>
          <c:dPt>
            <c:idx val="25"/>
            <c:invertIfNegative val="1"/>
            <c:bubble3D val="0"/>
            <c:spPr>
              <a:solidFill>
                <a:srgbClr val="7ECAC4"/>
              </a:solidFill>
            </c:spPr>
            <c:extLst>
              <c:ext xmlns:c16="http://schemas.microsoft.com/office/drawing/2014/chart" uri="{C3380CC4-5D6E-409C-BE32-E72D297353CC}">
                <c16:uniqueId val="{0000006B-2993-41DE-A2CB-63102DE87051}"/>
              </c:ext>
            </c:extLst>
          </c:dPt>
          <c:dPt>
            <c:idx val="26"/>
            <c:invertIfNegative val="1"/>
            <c:bubble3D val="0"/>
            <c:spPr>
              <a:solidFill>
                <a:srgbClr val="7ECAC4"/>
              </a:solidFill>
            </c:spPr>
            <c:extLst>
              <c:ext xmlns:c16="http://schemas.microsoft.com/office/drawing/2014/chart" uri="{C3380CC4-5D6E-409C-BE32-E72D297353CC}">
                <c16:uniqueId val="{0000006D-2993-41DE-A2CB-63102DE87051}"/>
              </c:ext>
            </c:extLst>
          </c:dPt>
          <c:dPt>
            <c:idx val="27"/>
            <c:invertIfNegative val="1"/>
            <c:bubble3D val="0"/>
            <c:spPr>
              <a:solidFill>
                <a:srgbClr val="7ECAC4"/>
              </a:solidFill>
            </c:spPr>
            <c:extLst>
              <c:ext xmlns:c16="http://schemas.microsoft.com/office/drawing/2014/chart" uri="{C3380CC4-5D6E-409C-BE32-E72D297353CC}">
                <c16:uniqueId val="{0000006F-2993-41DE-A2CB-63102DE87051}"/>
              </c:ext>
            </c:extLst>
          </c:dPt>
          <c:dPt>
            <c:idx val="28"/>
            <c:invertIfNegative val="1"/>
            <c:bubble3D val="0"/>
            <c:spPr>
              <a:solidFill>
                <a:srgbClr val="7ECAC4"/>
              </a:solidFill>
            </c:spPr>
            <c:extLst>
              <c:ext xmlns:c16="http://schemas.microsoft.com/office/drawing/2014/chart" uri="{C3380CC4-5D6E-409C-BE32-E72D297353CC}">
                <c16:uniqueId val="{00000071-2993-41DE-A2CB-63102DE87051}"/>
              </c:ext>
            </c:extLst>
          </c:dPt>
          <c:dPt>
            <c:idx val="29"/>
            <c:invertIfNegative val="1"/>
            <c:bubble3D val="0"/>
            <c:spPr>
              <a:solidFill>
                <a:srgbClr val="7ECAC4"/>
              </a:solidFill>
            </c:spPr>
            <c:extLst>
              <c:ext xmlns:c16="http://schemas.microsoft.com/office/drawing/2014/chart" uri="{C3380CC4-5D6E-409C-BE32-E72D297353CC}">
                <c16:uniqueId val="{00000073-2993-41DE-A2CB-63102DE87051}"/>
              </c:ext>
            </c:extLst>
          </c:dPt>
          <c:dPt>
            <c:idx val="30"/>
            <c:invertIfNegative val="1"/>
            <c:bubble3D val="0"/>
            <c:spPr>
              <a:solidFill>
                <a:srgbClr val="7ECAC4"/>
              </a:solidFill>
            </c:spPr>
            <c:extLst>
              <c:ext xmlns:c16="http://schemas.microsoft.com/office/drawing/2014/chart" uri="{C3380CC4-5D6E-409C-BE32-E72D297353CC}">
                <c16:uniqueId val="{00000075-2993-41DE-A2CB-63102DE87051}"/>
              </c:ext>
            </c:extLst>
          </c:dPt>
          <c:dPt>
            <c:idx val="31"/>
            <c:invertIfNegative val="1"/>
            <c:bubble3D val="0"/>
            <c:spPr>
              <a:solidFill>
                <a:srgbClr val="7ECAC4"/>
              </a:solidFill>
            </c:spPr>
            <c:extLst>
              <c:ext xmlns:c16="http://schemas.microsoft.com/office/drawing/2014/chart" uri="{C3380CC4-5D6E-409C-BE32-E72D297353CC}">
                <c16:uniqueId val="{00000077-2993-41DE-A2CB-63102DE87051}"/>
              </c:ext>
            </c:extLst>
          </c:dPt>
          <c:dPt>
            <c:idx val="32"/>
            <c:invertIfNegative val="1"/>
            <c:bubble3D val="0"/>
            <c:spPr>
              <a:solidFill>
                <a:srgbClr val="7ECAC4"/>
              </a:solidFill>
            </c:spPr>
            <c:extLst>
              <c:ext xmlns:c16="http://schemas.microsoft.com/office/drawing/2014/chart" uri="{C3380CC4-5D6E-409C-BE32-E72D297353CC}">
                <c16:uniqueId val="{00000079-2993-41DE-A2CB-63102DE87051}"/>
              </c:ext>
            </c:extLst>
          </c:dPt>
          <c:dPt>
            <c:idx val="33"/>
            <c:invertIfNegative val="1"/>
            <c:bubble3D val="0"/>
            <c:spPr>
              <a:solidFill>
                <a:srgbClr val="7ECAC4"/>
              </a:solidFill>
            </c:spPr>
            <c:extLst>
              <c:ext xmlns:c16="http://schemas.microsoft.com/office/drawing/2014/chart" uri="{C3380CC4-5D6E-409C-BE32-E72D297353CC}">
                <c16:uniqueId val="{0000007B-2993-41DE-A2CB-63102DE87051}"/>
              </c:ext>
            </c:extLst>
          </c:dPt>
          <c:dPt>
            <c:idx val="34"/>
            <c:invertIfNegative val="1"/>
            <c:bubble3D val="0"/>
            <c:spPr>
              <a:solidFill>
                <a:srgbClr val="7ECAC4"/>
              </a:solidFill>
            </c:spPr>
            <c:extLst>
              <c:ext xmlns:c16="http://schemas.microsoft.com/office/drawing/2014/chart" uri="{C3380CC4-5D6E-409C-BE32-E72D297353CC}">
                <c16:uniqueId val="{0000007D-2993-41DE-A2CB-63102DE87051}"/>
              </c:ext>
            </c:extLst>
          </c:dPt>
          <c:dPt>
            <c:idx val="35"/>
            <c:invertIfNegative val="1"/>
            <c:bubble3D val="0"/>
            <c:spPr>
              <a:solidFill>
                <a:srgbClr val="7ECAC4"/>
              </a:solidFill>
            </c:spPr>
            <c:extLst>
              <c:ext xmlns:c16="http://schemas.microsoft.com/office/drawing/2014/chart" uri="{C3380CC4-5D6E-409C-BE32-E72D297353CC}">
                <c16:uniqueId val="{0000007F-2993-41DE-A2CB-63102DE87051}"/>
              </c:ext>
            </c:extLst>
          </c:dPt>
          <c:dPt>
            <c:idx val="36"/>
            <c:invertIfNegative val="1"/>
            <c:bubble3D val="0"/>
            <c:spPr>
              <a:solidFill>
                <a:srgbClr val="7ECAC4"/>
              </a:solidFill>
            </c:spPr>
            <c:extLst>
              <c:ext xmlns:c16="http://schemas.microsoft.com/office/drawing/2014/chart" uri="{C3380CC4-5D6E-409C-BE32-E72D297353CC}">
                <c16:uniqueId val="{00000081-2993-41DE-A2CB-63102DE87051}"/>
              </c:ext>
            </c:extLst>
          </c:dPt>
          <c:dPt>
            <c:idx val="37"/>
            <c:invertIfNegative val="1"/>
            <c:bubble3D val="0"/>
            <c:spPr>
              <a:solidFill>
                <a:srgbClr val="7ECAC4"/>
              </a:solidFill>
            </c:spPr>
            <c:extLst>
              <c:ext xmlns:c16="http://schemas.microsoft.com/office/drawing/2014/chart" uri="{C3380CC4-5D6E-409C-BE32-E72D297353CC}">
                <c16:uniqueId val="{00000083-2993-41DE-A2CB-63102DE87051}"/>
              </c:ext>
            </c:extLst>
          </c:dPt>
          <c:dPt>
            <c:idx val="38"/>
            <c:invertIfNegative val="1"/>
            <c:bubble3D val="0"/>
            <c:spPr>
              <a:solidFill>
                <a:srgbClr val="7ECAC4"/>
              </a:solidFill>
            </c:spPr>
            <c:extLst>
              <c:ext xmlns:c16="http://schemas.microsoft.com/office/drawing/2014/chart" uri="{C3380CC4-5D6E-409C-BE32-E72D297353CC}">
                <c16:uniqueId val="{00000085-2993-41DE-A2CB-63102DE87051}"/>
              </c:ext>
            </c:extLst>
          </c:dPt>
          <c:dPt>
            <c:idx val="39"/>
            <c:invertIfNegative val="1"/>
            <c:bubble3D val="0"/>
            <c:spPr>
              <a:solidFill>
                <a:srgbClr val="7ECAC4"/>
              </a:solidFill>
            </c:spPr>
            <c:extLst>
              <c:ext xmlns:c16="http://schemas.microsoft.com/office/drawing/2014/chart" uri="{C3380CC4-5D6E-409C-BE32-E72D297353CC}">
                <c16:uniqueId val="{00000087-2993-41DE-A2CB-63102DE87051}"/>
              </c:ext>
            </c:extLst>
          </c:dPt>
          <c:dPt>
            <c:idx val="40"/>
            <c:invertIfNegative val="1"/>
            <c:bubble3D val="0"/>
            <c:spPr>
              <a:solidFill>
                <a:srgbClr val="7ECAC4"/>
              </a:solidFill>
            </c:spPr>
            <c:extLst>
              <c:ext xmlns:c16="http://schemas.microsoft.com/office/drawing/2014/chart" uri="{C3380CC4-5D6E-409C-BE32-E72D297353CC}">
                <c16:uniqueId val="{00000089-2993-41DE-A2CB-63102DE87051}"/>
              </c:ext>
            </c:extLst>
          </c:dPt>
          <c:dPt>
            <c:idx val="41"/>
            <c:invertIfNegative val="1"/>
            <c:bubble3D val="0"/>
            <c:spPr>
              <a:solidFill>
                <a:srgbClr val="AEABAB"/>
              </a:solidFill>
            </c:spPr>
            <c:extLst>
              <c:ext xmlns:c16="http://schemas.microsoft.com/office/drawing/2014/chart" uri="{C3380CC4-5D6E-409C-BE32-E72D297353CC}">
                <c16:uniqueId val="{0000008B-2993-41DE-A2CB-63102DE87051}"/>
              </c:ext>
            </c:extLst>
          </c:dPt>
          <c:dPt>
            <c:idx val="42"/>
            <c:invertIfNegative val="1"/>
            <c:bubble3D val="0"/>
            <c:spPr>
              <a:solidFill>
                <a:srgbClr val="AEABAB"/>
              </a:solidFill>
            </c:spPr>
            <c:extLst>
              <c:ext xmlns:c16="http://schemas.microsoft.com/office/drawing/2014/chart" uri="{C3380CC4-5D6E-409C-BE32-E72D297353CC}">
                <c16:uniqueId val="{0000008D-2993-41DE-A2CB-63102DE87051}"/>
              </c:ext>
            </c:extLst>
          </c:dPt>
          <c:dPt>
            <c:idx val="43"/>
            <c:invertIfNegative val="1"/>
            <c:bubble3D val="0"/>
            <c:spPr>
              <a:solidFill>
                <a:srgbClr val="AEABAB"/>
              </a:solidFill>
            </c:spPr>
            <c:extLst>
              <c:ext xmlns:c16="http://schemas.microsoft.com/office/drawing/2014/chart" uri="{C3380CC4-5D6E-409C-BE32-E72D297353CC}">
                <c16:uniqueId val="{0000008F-2993-41DE-A2CB-63102DE87051}"/>
              </c:ext>
            </c:extLst>
          </c:dPt>
          <c:dPt>
            <c:idx val="44"/>
            <c:invertIfNegative val="1"/>
            <c:bubble3D val="0"/>
            <c:spPr>
              <a:solidFill>
                <a:srgbClr val="AEABAB"/>
              </a:solidFill>
            </c:spPr>
            <c:extLst>
              <c:ext xmlns:c16="http://schemas.microsoft.com/office/drawing/2014/chart" uri="{C3380CC4-5D6E-409C-BE32-E72D297353CC}">
                <c16:uniqueId val="{00000091-2993-41DE-A2CB-63102DE87051}"/>
              </c:ext>
            </c:extLst>
          </c:dPt>
          <c:dPt>
            <c:idx val="45"/>
            <c:invertIfNegative val="1"/>
            <c:bubble3D val="0"/>
            <c:spPr>
              <a:solidFill>
                <a:srgbClr val="AEABAB"/>
              </a:solidFill>
            </c:spPr>
            <c:extLst>
              <c:ext xmlns:c16="http://schemas.microsoft.com/office/drawing/2014/chart" uri="{C3380CC4-5D6E-409C-BE32-E72D297353CC}">
                <c16:uniqueId val="{00000093-2993-41DE-A2CB-63102DE87051}"/>
              </c:ext>
            </c:extLst>
          </c:dPt>
          <c:dPt>
            <c:idx val="46"/>
            <c:invertIfNegative val="1"/>
            <c:bubble3D val="0"/>
            <c:spPr>
              <a:solidFill>
                <a:srgbClr val="AEABAB"/>
              </a:solidFill>
            </c:spPr>
            <c:extLst>
              <c:ext xmlns:c16="http://schemas.microsoft.com/office/drawing/2014/chart" uri="{C3380CC4-5D6E-409C-BE32-E72D297353CC}">
                <c16:uniqueId val="{00000095-2993-41DE-A2CB-63102DE87051}"/>
              </c:ext>
            </c:extLst>
          </c:dPt>
          <c:dPt>
            <c:idx val="47"/>
            <c:invertIfNegative val="1"/>
            <c:bubble3D val="0"/>
            <c:spPr>
              <a:solidFill>
                <a:srgbClr val="AEABAB"/>
              </a:solidFill>
            </c:spPr>
            <c:extLst>
              <c:ext xmlns:c16="http://schemas.microsoft.com/office/drawing/2014/chart" uri="{C3380CC4-5D6E-409C-BE32-E72D297353CC}">
                <c16:uniqueId val="{00000097-2993-41DE-A2CB-63102DE87051}"/>
              </c:ext>
            </c:extLst>
          </c:dPt>
          <c:dPt>
            <c:idx val="48"/>
            <c:invertIfNegative val="1"/>
            <c:bubble3D val="0"/>
            <c:spPr>
              <a:solidFill>
                <a:srgbClr val="AEABAB"/>
              </a:solidFill>
            </c:spPr>
            <c:extLst>
              <c:ext xmlns:c16="http://schemas.microsoft.com/office/drawing/2014/chart" uri="{C3380CC4-5D6E-409C-BE32-E72D297353CC}">
                <c16:uniqueId val="{00000099-2993-41DE-A2CB-63102DE87051}"/>
              </c:ext>
            </c:extLst>
          </c:dPt>
          <c:dPt>
            <c:idx val="49"/>
            <c:invertIfNegative val="1"/>
            <c:bubble3D val="0"/>
            <c:spPr>
              <a:solidFill>
                <a:srgbClr val="AEABAB"/>
              </a:solidFill>
            </c:spPr>
            <c:extLst>
              <c:ext xmlns:c16="http://schemas.microsoft.com/office/drawing/2014/chart" uri="{C3380CC4-5D6E-409C-BE32-E72D297353CC}">
                <c16:uniqueId val="{0000009B-2993-41DE-A2CB-63102DE87051}"/>
              </c:ext>
            </c:extLst>
          </c:dPt>
          <c:dPt>
            <c:idx val="50"/>
            <c:invertIfNegative val="1"/>
            <c:bubble3D val="0"/>
            <c:spPr>
              <a:solidFill>
                <a:srgbClr val="AEABAB"/>
              </a:solidFill>
            </c:spPr>
            <c:extLst>
              <c:ext xmlns:c16="http://schemas.microsoft.com/office/drawing/2014/chart" uri="{C3380CC4-5D6E-409C-BE32-E72D297353CC}">
                <c16:uniqueId val="{0000009D-2993-41DE-A2CB-63102DE87051}"/>
              </c:ext>
            </c:extLst>
          </c:dPt>
          <c:dPt>
            <c:idx val="51"/>
            <c:invertIfNegative val="1"/>
            <c:bubble3D val="0"/>
            <c:spPr>
              <a:solidFill>
                <a:srgbClr val="AEABAB"/>
              </a:solidFill>
            </c:spPr>
            <c:extLst>
              <c:ext xmlns:c16="http://schemas.microsoft.com/office/drawing/2014/chart" uri="{C3380CC4-5D6E-409C-BE32-E72D297353CC}">
                <c16:uniqueId val="{0000009F-2993-41DE-A2CB-63102DE87051}"/>
              </c:ext>
            </c:extLst>
          </c:dPt>
          <c:dPt>
            <c:idx val="52"/>
            <c:invertIfNegative val="1"/>
            <c:bubble3D val="0"/>
            <c:spPr>
              <a:solidFill>
                <a:srgbClr val="AEABAB"/>
              </a:solidFill>
            </c:spPr>
            <c:extLst>
              <c:ext xmlns:c16="http://schemas.microsoft.com/office/drawing/2014/chart" uri="{C3380CC4-5D6E-409C-BE32-E72D297353CC}">
                <c16:uniqueId val="{000000A1-2993-41DE-A2CB-63102DE87051}"/>
              </c:ext>
            </c:extLst>
          </c:dPt>
          <c:dPt>
            <c:idx val="53"/>
            <c:invertIfNegative val="1"/>
            <c:bubble3D val="0"/>
            <c:spPr>
              <a:solidFill>
                <a:srgbClr val="AEABAB"/>
              </a:solidFill>
            </c:spPr>
            <c:extLst>
              <c:ext xmlns:c16="http://schemas.microsoft.com/office/drawing/2014/chart" uri="{C3380CC4-5D6E-409C-BE32-E72D297353CC}">
                <c16:uniqueId val="{000000A3-2993-41DE-A2CB-63102DE87051}"/>
              </c:ext>
            </c:extLst>
          </c:dPt>
          <c:dPt>
            <c:idx val="54"/>
            <c:invertIfNegative val="0"/>
            <c:bubble3D val="0"/>
            <c:spPr>
              <a:solidFill>
                <a:srgbClr val="AEABAB"/>
              </a:solidFill>
            </c:spPr>
            <c:extLst>
              <c:ext xmlns:c16="http://schemas.microsoft.com/office/drawing/2014/chart" uri="{C3380CC4-5D6E-409C-BE32-E72D297353CC}">
                <c16:uniqueId val="{00000072-C76F-4230-900D-40618C09729F}"/>
              </c:ext>
            </c:extLst>
          </c:dPt>
          <c:dPt>
            <c:idx val="55"/>
            <c:invertIfNegative val="0"/>
            <c:bubble3D val="0"/>
            <c:spPr>
              <a:solidFill>
                <a:srgbClr val="AEABAB"/>
              </a:solidFill>
            </c:spPr>
            <c:extLst>
              <c:ext xmlns:c16="http://schemas.microsoft.com/office/drawing/2014/chart" uri="{C3380CC4-5D6E-409C-BE32-E72D297353CC}">
                <c16:uniqueId val="{00000074-C76F-4230-900D-40618C09729F}"/>
              </c:ext>
            </c:extLst>
          </c:dPt>
          <c:dPt>
            <c:idx val="56"/>
            <c:invertIfNegative val="0"/>
            <c:bubble3D val="0"/>
            <c:spPr>
              <a:solidFill>
                <a:srgbClr val="AEABAB"/>
              </a:solidFill>
            </c:spPr>
            <c:extLst>
              <c:ext xmlns:c16="http://schemas.microsoft.com/office/drawing/2014/chart" uri="{C3380CC4-5D6E-409C-BE32-E72D297353CC}">
                <c16:uniqueId val="{00000076-C76F-4230-900D-40618C09729F}"/>
              </c:ext>
            </c:extLst>
          </c:dPt>
          <c:dPt>
            <c:idx val="57"/>
            <c:invertIfNegative val="0"/>
            <c:bubble3D val="0"/>
            <c:spPr>
              <a:solidFill>
                <a:srgbClr val="AEABAB"/>
              </a:solidFill>
            </c:spPr>
            <c:extLst>
              <c:ext xmlns:c16="http://schemas.microsoft.com/office/drawing/2014/chart" uri="{C3380CC4-5D6E-409C-BE32-E72D297353CC}">
                <c16:uniqueId val="{00000078-C76F-4230-900D-40618C09729F}"/>
              </c:ext>
            </c:extLst>
          </c:dPt>
          <c:dPt>
            <c:idx val="58"/>
            <c:invertIfNegative val="0"/>
            <c:bubble3D val="0"/>
            <c:spPr>
              <a:solidFill>
                <a:srgbClr val="AEABAB"/>
              </a:solidFill>
            </c:spPr>
            <c:extLst>
              <c:ext xmlns:c16="http://schemas.microsoft.com/office/drawing/2014/chart" uri="{C3380CC4-5D6E-409C-BE32-E72D297353CC}">
                <c16:uniqueId val="{0000007A-C76F-4230-900D-40618C09729F}"/>
              </c:ext>
            </c:extLst>
          </c:dPt>
          <c:dPt>
            <c:idx val="59"/>
            <c:invertIfNegative val="0"/>
            <c:bubble3D val="0"/>
            <c:spPr>
              <a:solidFill>
                <a:srgbClr val="AEABAB"/>
              </a:solidFill>
            </c:spPr>
            <c:extLst>
              <c:ext xmlns:c16="http://schemas.microsoft.com/office/drawing/2014/chart" uri="{C3380CC4-5D6E-409C-BE32-E72D297353CC}">
                <c16:uniqueId val="{0000007C-C76F-4230-900D-40618C09729F}"/>
              </c:ext>
            </c:extLst>
          </c:dPt>
          <c:dPt>
            <c:idx val="60"/>
            <c:invertIfNegative val="0"/>
            <c:bubble3D val="0"/>
            <c:spPr>
              <a:solidFill>
                <a:srgbClr val="AEABAB"/>
              </a:solidFill>
            </c:spPr>
            <c:extLst>
              <c:ext xmlns:c16="http://schemas.microsoft.com/office/drawing/2014/chart" uri="{C3380CC4-5D6E-409C-BE32-E72D297353CC}">
                <c16:uniqueId val="{0000007E-C76F-4230-900D-40618C09729F}"/>
              </c:ext>
            </c:extLst>
          </c:dPt>
          <c:dPt>
            <c:idx val="61"/>
            <c:invertIfNegative val="0"/>
            <c:bubble3D val="0"/>
            <c:spPr>
              <a:solidFill>
                <a:srgbClr val="AEABAB"/>
              </a:solidFill>
            </c:spPr>
            <c:extLst>
              <c:ext xmlns:c16="http://schemas.microsoft.com/office/drawing/2014/chart" uri="{C3380CC4-5D6E-409C-BE32-E72D297353CC}">
                <c16:uniqueId val="{00000080-C76F-4230-900D-40618C09729F}"/>
              </c:ext>
            </c:extLst>
          </c:dPt>
          <c:dPt>
            <c:idx val="62"/>
            <c:invertIfNegative val="0"/>
            <c:bubble3D val="0"/>
            <c:spPr>
              <a:solidFill>
                <a:srgbClr val="AEABAB"/>
              </a:solidFill>
            </c:spPr>
            <c:extLst>
              <c:ext xmlns:c16="http://schemas.microsoft.com/office/drawing/2014/chart" uri="{C3380CC4-5D6E-409C-BE32-E72D297353CC}">
                <c16:uniqueId val="{00000082-C76F-4230-900D-40618C09729F}"/>
              </c:ext>
            </c:extLst>
          </c:dPt>
          <c:dPt>
            <c:idx val="63"/>
            <c:invertIfNegative val="0"/>
            <c:bubble3D val="0"/>
            <c:spPr>
              <a:solidFill>
                <a:srgbClr val="AEABAB"/>
              </a:solidFill>
            </c:spPr>
            <c:extLst>
              <c:ext xmlns:c16="http://schemas.microsoft.com/office/drawing/2014/chart" uri="{C3380CC4-5D6E-409C-BE32-E72D297353CC}">
                <c16:uniqueId val="{00000084-C76F-4230-900D-40618C09729F}"/>
              </c:ext>
            </c:extLst>
          </c:dPt>
          <c:dPt>
            <c:idx val="64"/>
            <c:invertIfNegative val="0"/>
            <c:bubble3D val="0"/>
            <c:spPr>
              <a:solidFill>
                <a:srgbClr val="AEABAB"/>
              </a:solidFill>
            </c:spPr>
            <c:extLst>
              <c:ext xmlns:c16="http://schemas.microsoft.com/office/drawing/2014/chart" uri="{C3380CC4-5D6E-409C-BE32-E72D297353CC}">
                <c16:uniqueId val="{00000086-C76F-4230-900D-40618C09729F}"/>
              </c:ext>
            </c:extLst>
          </c:dPt>
          <c:dPt>
            <c:idx val="65"/>
            <c:invertIfNegative val="0"/>
            <c:bubble3D val="0"/>
            <c:spPr>
              <a:solidFill>
                <a:srgbClr val="AEABAB"/>
              </a:solidFill>
            </c:spPr>
            <c:extLst>
              <c:ext xmlns:c16="http://schemas.microsoft.com/office/drawing/2014/chart" uri="{C3380CC4-5D6E-409C-BE32-E72D297353CC}">
                <c16:uniqueId val="{00000088-C76F-4230-900D-40618C09729F}"/>
              </c:ext>
            </c:extLst>
          </c:dPt>
          <c:dPt>
            <c:idx val="66"/>
            <c:invertIfNegative val="0"/>
            <c:bubble3D val="0"/>
            <c:spPr>
              <a:solidFill>
                <a:srgbClr val="AEABAB"/>
              </a:solidFill>
            </c:spPr>
            <c:extLst>
              <c:ext xmlns:c16="http://schemas.microsoft.com/office/drawing/2014/chart" uri="{C3380CC4-5D6E-409C-BE32-E72D297353CC}">
                <c16:uniqueId val="{0000008A-C76F-4230-900D-40618C09729F}"/>
              </c:ext>
            </c:extLst>
          </c:dPt>
          <c:dPt>
            <c:idx val="67"/>
            <c:invertIfNegative val="0"/>
            <c:bubble3D val="0"/>
            <c:spPr>
              <a:solidFill>
                <a:srgbClr val="AEABAB"/>
              </a:solidFill>
            </c:spPr>
            <c:extLst>
              <c:ext xmlns:c16="http://schemas.microsoft.com/office/drawing/2014/chart" uri="{C3380CC4-5D6E-409C-BE32-E72D297353CC}">
                <c16:uniqueId val="{0000008C-C76F-4230-900D-40618C09729F}"/>
              </c:ext>
            </c:extLst>
          </c:dPt>
          <c:dPt>
            <c:idx val="68"/>
            <c:invertIfNegative val="0"/>
            <c:bubble3D val="0"/>
            <c:spPr>
              <a:solidFill>
                <a:srgbClr val="AEABAB"/>
              </a:solidFill>
            </c:spPr>
            <c:extLst>
              <c:ext xmlns:c16="http://schemas.microsoft.com/office/drawing/2014/chart" uri="{C3380CC4-5D6E-409C-BE32-E72D297353CC}">
                <c16:uniqueId val="{0000008E-C76F-4230-900D-40618C09729F}"/>
              </c:ext>
            </c:extLst>
          </c:dPt>
          <c:dPt>
            <c:idx val="69"/>
            <c:invertIfNegative val="0"/>
            <c:bubble3D val="0"/>
            <c:spPr>
              <a:solidFill>
                <a:srgbClr val="AEABAB"/>
              </a:solidFill>
            </c:spPr>
            <c:extLst>
              <c:ext xmlns:c16="http://schemas.microsoft.com/office/drawing/2014/chart" uri="{C3380CC4-5D6E-409C-BE32-E72D297353CC}">
                <c16:uniqueId val="{00000090-C76F-4230-900D-40618C09729F}"/>
              </c:ext>
            </c:extLst>
          </c:dPt>
          <c:dPt>
            <c:idx val="70"/>
            <c:invertIfNegative val="0"/>
            <c:bubble3D val="0"/>
            <c:spPr>
              <a:solidFill>
                <a:srgbClr val="AEABAB"/>
              </a:solidFill>
            </c:spPr>
            <c:extLst>
              <c:ext xmlns:c16="http://schemas.microsoft.com/office/drawing/2014/chart" uri="{C3380CC4-5D6E-409C-BE32-E72D297353CC}">
                <c16:uniqueId val="{00000092-C76F-4230-900D-40618C09729F}"/>
              </c:ext>
            </c:extLst>
          </c:dPt>
          <c:dPt>
            <c:idx val="71"/>
            <c:invertIfNegative val="0"/>
            <c:bubble3D val="0"/>
            <c:spPr>
              <a:solidFill>
                <a:srgbClr val="AEABAB"/>
              </a:solidFill>
            </c:spPr>
            <c:extLst>
              <c:ext xmlns:c16="http://schemas.microsoft.com/office/drawing/2014/chart" uri="{C3380CC4-5D6E-409C-BE32-E72D297353CC}">
                <c16:uniqueId val="{00000094-C76F-4230-900D-40618C09729F}"/>
              </c:ext>
            </c:extLst>
          </c:dPt>
          <c:dPt>
            <c:idx val="72"/>
            <c:invertIfNegative val="0"/>
            <c:bubble3D val="0"/>
            <c:spPr>
              <a:solidFill>
                <a:srgbClr val="AEABAB"/>
              </a:solidFill>
            </c:spPr>
            <c:extLst>
              <c:ext xmlns:c16="http://schemas.microsoft.com/office/drawing/2014/chart" uri="{C3380CC4-5D6E-409C-BE32-E72D297353CC}">
                <c16:uniqueId val="{00000096-C76F-4230-900D-40618C09729F}"/>
              </c:ext>
            </c:extLst>
          </c:dPt>
          <c:dPt>
            <c:idx val="73"/>
            <c:invertIfNegative val="0"/>
            <c:bubble3D val="0"/>
            <c:spPr>
              <a:solidFill>
                <a:srgbClr val="AEABAB"/>
              </a:solidFill>
            </c:spPr>
            <c:extLst>
              <c:ext xmlns:c16="http://schemas.microsoft.com/office/drawing/2014/chart" uri="{C3380CC4-5D6E-409C-BE32-E72D297353CC}">
                <c16:uniqueId val="{00000098-C76F-4230-900D-40618C09729F}"/>
              </c:ext>
            </c:extLst>
          </c:dPt>
          <c:dPt>
            <c:idx val="74"/>
            <c:invertIfNegative val="0"/>
            <c:bubble3D val="0"/>
            <c:spPr>
              <a:solidFill>
                <a:srgbClr val="AEABAB"/>
              </a:solidFill>
            </c:spPr>
            <c:extLst>
              <c:ext xmlns:c16="http://schemas.microsoft.com/office/drawing/2014/chart" uri="{C3380CC4-5D6E-409C-BE32-E72D297353CC}">
                <c16:uniqueId val="{0000009A-C76F-4230-900D-40618C09729F}"/>
              </c:ext>
            </c:extLst>
          </c:dPt>
          <c:dPt>
            <c:idx val="75"/>
            <c:invertIfNegative val="0"/>
            <c:bubble3D val="0"/>
            <c:spPr>
              <a:solidFill>
                <a:srgbClr val="AEABAB"/>
              </a:solidFill>
            </c:spPr>
            <c:extLst>
              <c:ext xmlns:c16="http://schemas.microsoft.com/office/drawing/2014/chart" uri="{C3380CC4-5D6E-409C-BE32-E72D297353CC}">
                <c16:uniqueId val="{0000009C-C76F-4230-900D-40618C09729F}"/>
              </c:ext>
            </c:extLst>
          </c:dPt>
          <c:dPt>
            <c:idx val="76"/>
            <c:invertIfNegative val="0"/>
            <c:bubble3D val="0"/>
            <c:spPr>
              <a:solidFill>
                <a:srgbClr val="AEABAB"/>
              </a:solidFill>
            </c:spPr>
            <c:extLst>
              <c:ext xmlns:c16="http://schemas.microsoft.com/office/drawing/2014/chart" uri="{C3380CC4-5D6E-409C-BE32-E72D297353CC}">
                <c16:uniqueId val="{0000009E-C76F-4230-900D-40618C09729F}"/>
              </c:ext>
            </c:extLst>
          </c:dPt>
          <c:dPt>
            <c:idx val="77"/>
            <c:invertIfNegative val="0"/>
            <c:bubble3D val="0"/>
            <c:spPr>
              <a:solidFill>
                <a:srgbClr val="AEABAB"/>
              </a:solidFill>
            </c:spPr>
            <c:extLst>
              <c:ext xmlns:c16="http://schemas.microsoft.com/office/drawing/2014/chart" uri="{C3380CC4-5D6E-409C-BE32-E72D297353CC}">
                <c16:uniqueId val="{000000A0-C76F-4230-900D-40618C09729F}"/>
              </c:ext>
            </c:extLst>
          </c:dPt>
          <c:dPt>
            <c:idx val="78"/>
            <c:invertIfNegative val="0"/>
            <c:bubble3D val="0"/>
            <c:spPr>
              <a:solidFill>
                <a:srgbClr val="AEABAB"/>
              </a:solidFill>
            </c:spPr>
            <c:extLst>
              <c:ext xmlns:c16="http://schemas.microsoft.com/office/drawing/2014/chart" uri="{C3380CC4-5D6E-409C-BE32-E72D297353CC}">
                <c16:uniqueId val="{000000A2-C76F-4230-900D-40618C09729F}"/>
              </c:ext>
            </c:extLst>
          </c:dPt>
          <c:dPt>
            <c:idx val="79"/>
            <c:invertIfNegative val="0"/>
            <c:bubble3D val="0"/>
            <c:spPr>
              <a:solidFill>
                <a:srgbClr val="AEABAB"/>
              </a:solidFill>
            </c:spPr>
            <c:extLst>
              <c:ext xmlns:c16="http://schemas.microsoft.com/office/drawing/2014/chart" uri="{C3380CC4-5D6E-409C-BE32-E72D297353CC}">
                <c16:uniqueId val="{000000A4-C76F-4230-900D-40618C09729F}"/>
              </c:ext>
            </c:extLst>
          </c:dPt>
          <c:dPt>
            <c:idx val="80"/>
            <c:invertIfNegative val="0"/>
            <c:bubble3D val="0"/>
            <c:spPr>
              <a:solidFill>
                <a:srgbClr val="AEABAB"/>
              </a:solidFill>
            </c:spPr>
            <c:extLst>
              <c:ext xmlns:c16="http://schemas.microsoft.com/office/drawing/2014/chart" uri="{C3380CC4-5D6E-409C-BE32-E72D297353CC}">
                <c16:uniqueId val="{000000A6-C76F-4230-900D-40618C09729F}"/>
              </c:ext>
            </c:extLst>
          </c:dPt>
          <c:dPt>
            <c:idx val="81"/>
            <c:invertIfNegative val="1"/>
            <c:bubble3D val="0"/>
            <c:spPr>
              <a:solidFill>
                <a:srgbClr val="AEABAB"/>
              </a:solidFill>
            </c:spPr>
            <c:extLst>
              <c:ext xmlns:c16="http://schemas.microsoft.com/office/drawing/2014/chart" uri="{C3380CC4-5D6E-409C-BE32-E72D297353CC}">
                <c16:uniqueId val="{000000A5-2993-41DE-A2CB-63102DE87051}"/>
              </c:ext>
            </c:extLst>
          </c:dPt>
          <c:dPt>
            <c:idx val="82"/>
            <c:invertIfNegative val="1"/>
            <c:bubble3D val="0"/>
            <c:spPr>
              <a:solidFill>
                <a:srgbClr val="AEABAB"/>
              </a:solidFill>
            </c:spPr>
            <c:extLst>
              <c:ext xmlns:c16="http://schemas.microsoft.com/office/drawing/2014/chart" uri="{C3380CC4-5D6E-409C-BE32-E72D297353CC}">
                <c16:uniqueId val="{000000A7-2993-41DE-A2CB-63102DE87051}"/>
              </c:ext>
            </c:extLst>
          </c:dPt>
          <c:dPt>
            <c:idx val="83"/>
            <c:invertIfNegative val="1"/>
            <c:bubble3D val="0"/>
            <c:spPr>
              <a:solidFill>
                <a:srgbClr val="AEABAB"/>
              </a:solidFill>
            </c:spPr>
            <c:extLst>
              <c:ext xmlns:c16="http://schemas.microsoft.com/office/drawing/2014/chart" uri="{C3380CC4-5D6E-409C-BE32-E72D297353CC}">
                <c16:uniqueId val="{000000A9-2993-41DE-A2CB-63102DE87051}"/>
              </c:ext>
            </c:extLst>
          </c:dPt>
          <c:dPt>
            <c:idx val="84"/>
            <c:invertIfNegative val="1"/>
            <c:bubble3D val="0"/>
            <c:spPr>
              <a:solidFill>
                <a:srgbClr val="AEABAB"/>
              </a:solidFill>
            </c:spPr>
            <c:extLst>
              <c:ext xmlns:c16="http://schemas.microsoft.com/office/drawing/2014/chart" uri="{C3380CC4-5D6E-409C-BE32-E72D297353CC}">
                <c16:uniqueId val="{000000AB-2993-41DE-A2CB-63102DE87051}"/>
              </c:ext>
            </c:extLst>
          </c:dPt>
          <c:dPt>
            <c:idx val="85"/>
            <c:invertIfNegative val="1"/>
            <c:bubble3D val="0"/>
            <c:spPr>
              <a:solidFill>
                <a:srgbClr val="AEABAB"/>
              </a:solidFill>
            </c:spPr>
            <c:extLst>
              <c:ext xmlns:c16="http://schemas.microsoft.com/office/drawing/2014/chart" uri="{C3380CC4-5D6E-409C-BE32-E72D297353CC}">
                <c16:uniqueId val="{000000AD-2993-41DE-A2CB-63102DE87051}"/>
              </c:ext>
            </c:extLst>
          </c:dPt>
          <c:dPt>
            <c:idx val="86"/>
            <c:invertIfNegative val="1"/>
            <c:bubble3D val="0"/>
            <c:spPr>
              <a:solidFill>
                <a:srgbClr val="AEABAB"/>
              </a:solidFill>
            </c:spPr>
            <c:extLst>
              <c:ext xmlns:c16="http://schemas.microsoft.com/office/drawing/2014/chart" uri="{C3380CC4-5D6E-409C-BE32-E72D297353CC}">
                <c16:uniqueId val="{000000AF-2993-41DE-A2CB-63102DE87051}"/>
              </c:ext>
            </c:extLst>
          </c:dPt>
          <c:dPt>
            <c:idx val="87"/>
            <c:invertIfNegative val="1"/>
            <c:bubble3D val="0"/>
            <c:spPr>
              <a:solidFill>
                <a:srgbClr val="AEABAB"/>
              </a:solidFill>
            </c:spPr>
            <c:extLst>
              <c:ext xmlns:c16="http://schemas.microsoft.com/office/drawing/2014/chart" uri="{C3380CC4-5D6E-409C-BE32-E72D297353CC}">
                <c16:uniqueId val="{000000B1-2993-41DE-A2CB-63102DE87051}"/>
              </c:ext>
            </c:extLst>
          </c:dPt>
          <c:dPt>
            <c:idx val="88"/>
            <c:invertIfNegative val="1"/>
            <c:bubble3D val="0"/>
            <c:spPr>
              <a:solidFill>
                <a:srgbClr val="AEABAB"/>
              </a:solidFill>
            </c:spPr>
            <c:extLst>
              <c:ext xmlns:c16="http://schemas.microsoft.com/office/drawing/2014/chart" uri="{C3380CC4-5D6E-409C-BE32-E72D297353CC}">
                <c16:uniqueId val="{000000B3-2993-41DE-A2CB-63102DE87051}"/>
              </c:ext>
            </c:extLst>
          </c:dPt>
          <c:dPt>
            <c:idx val="89"/>
            <c:invertIfNegative val="1"/>
            <c:bubble3D val="0"/>
            <c:spPr>
              <a:solidFill>
                <a:srgbClr val="AEABAB"/>
              </a:solidFill>
            </c:spPr>
            <c:extLst>
              <c:ext xmlns:c16="http://schemas.microsoft.com/office/drawing/2014/chart" uri="{C3380CC4-5D6E-409C-BE32-E72D297353CC}">
                <c16:uniqueId val="{000000B5-2993-41DE-A2CB-63102DE87051}"/>
              </c:ext>
            </c:extLst>
          </c:dPt>
          <c:dPt>
            <c:idx val="90"/>
            <c:invertIfNegative val="1"/>
            <c:bubble3D val="0"/>
            <c:spPr>
              <a:solidFill>
                <a:srgbClr val="AEABAB"/>
              </a:solidFill>
            </c:spPr>
            <c:extLst>
              <c:ext xmlns:c16="http://schemas.microsoft.com/office/drawing/2014/chart" uri="{C3380CC4-5D6E-409C-BE32-E72D297353CC}">
                <c16:uniqueId val="{000000B7-2993-41DE-A2CB-63102DE87051}"/>
              </c:ext>
            </c:extLst>
          </c:dPt>
          <c:dPt>
            <c:idx val="91"/>
            <c:invertIfNegative val="1"/>
            <c:bubble3D val="0"/>
            <c:spPr>
              <a:solidFill>
                <a:srgbClr val="AEABAB"/>
              </a:solidFill>
            </c:spPr>
            <c:extLst>
              <c:ext xmlns:c16="http://schemas.microsoft.com/office/drawing/2014/chart" uri="{C3380CC4-5D6E-409C-BE32-E72D297353CC}">
                <c16:uniqueId val="{000000B9-2993-41DE-A2CB-63102DE87051}"/>
              </c:ext>
            </c:extLst>
          </c:dPt>
          <c:dPt>
            <c:idx val="92"/>
            <c:invertIfNegative val="1"/>
            <c:bubble3D val="0"/>
            <c:spPr>
              <a:solidFill>
                <a:srgbClr val="AEABAB"/>
              </a:solidFill>
            </c:spPr>
            <c:extLst>
              <c:ext xmlns:c16="http://schemas.microsoft.com/office/drawing/2014/chart" uri="{C3380CC4-5D6E-409C-BE32-E72D297353CC}">
                <c16:uniqueId val="{000000BB-2993-41DE-A2CB-63102DE87051}"/>
              </c:ext>
            </c:extLst>
          </c:dPt>
          <c:dPt>
            <c:idx val="93"/>
            <c:invertIfNegative val="1"/>
            <c:bubble3D val="0"/>
            <c:spPr>
              <a:solidFill>
                <a:srgbClr val="AEABAB"/>
              </a:solidFill>
            </c:spPr>
            <c:extLst>
              <c:ext xmlns:c16="http://schemas.microsoft.com/office/drawing/2014/chart" uri="{C3380CC4-5D6E-409C-BE32-E72D297353CC}">
                <c16:uniqueId val="{000000BD-2993-41DE-A2CB-63102DE87051}"/>
              </c:ext>
            </c:extLst>
          </c:dPt>
          <c:dPt>
            <c:idx val="94"/>
            <c:invertIfNegative val="1"/>
            <c:bubble3D val="0"/>
            <c:spPr>
              <a:solidFill>
                <a:srgbClr val="AEABAB"/>
              </a:solidFill>
            </c:spPr>
            <c:extLst>
              <c:ext xmlns:c16="http://schemas.microsoft.com/office/drawing/2014/chart" uri="{C3380CC4-5D6E-409C-BE32-E72D297353CC}">
                <c16:uniqueId val="{000000BF-2993-41DE-A2CB-63102DE87051}"/>
              </c:ext>
            </c:extLst>
          </c:dPt>
          <c:dPt>
            <c:idx val="95"/>
            <c:invertIfNegative val="1"/>
            <c:bubble3D val="0"/>
            <c:spPr>
              <a:solidFill>
                <a:srgbClr val="AEABAB"/>
              </a:solidFill>
            </c:spPr>
            <c:extLst>
              <c:ext xmlns:c16="http://schemas.microsoft.com/office/drawing/2014/chart" uri="{C3380CC4-5D6E-409C-BE32-E72D297353CC}">
                <c16:uniqueId val="{000000C1-2993-41DE-A2CB-63102DE87051}"/>
              </c:ext>
            </c:extLst>
          </c:dPt>
          <c:dPt>
            <c:idx val="96"/>
            <c:invertIfNegative val="1"/>
            <c:bubble3D val="0"/>
            <c:spPr>
              <a:solidFill>
                <a:srgbClr val="AEABAB"/>
              </a:solidFill>
            </c:spPr>
            <c:extLst>
              <c:ext xmlns:c16="http://schemas.microsoft.com/office/drawing/2014/chart" uri="{C3380CC4-5D6E-409C-BE32-E72D297353CC}">
                <c16:uniqueId val="{000000C3-2993-41DE-A2CB-63102DE87051}"/>
              </c:ext>
            </c:extLst>
          </c:dPt>
          <c:dPt>
            <c:idx val="97"/>
            <c:invertIfNegative val="1"/>
            <c:bubble3D val="0"/>
            <c:spPr>
              <a:solidFill>
                <a:srgbClr val="AEABAB"/>
              </a:solidFill>
            </c:spPr>
            <c:extLst>
              <c:ext xmlns:c16="http://schemas.microsoft.com/office/drawing/2014/chart" uri="{C3380CC4-5D6E-409C-BE32-E72D297353CC}">
                <c16:uniqueId val="{000000C5-2993-41DE-A2CB-63102DE87051}"/>
              </c:ext>
            </c:extLst>
          </c:dPt>
          <c:dPt>
            <c:idx val="98"/>
            <c:invertIfNegative val="1"/>
            <c:bubble3D val="0"/>
            <c:spPr>
              <a:solidFill>
                <a:srgbClr val="AEABAB"/>
              </a:solidFill>
            </c:spPr>
            <c:extLst>
              <c:ext xmlns:c16="http://schemas.microsoft.com/office/drawing/2014/chart" uri="{C3380CC4-5D6E-409C-BE32-E72D297353CC}">
                <c16:uniqueId val="{000000C7-2993-41DE-A2CB-63102DE87051}"/>
              </c:ext>
            </c:extLst>
          </c:dPt>
          <c:dPt>
            <c:idx val="99"/>
            <c:invertIfNegative val="1"/>
            <c:bubble3D val="0"/>
            <c:spPr>
              <a:solidFill>
                <a:srgbClr val="AEABAB"/>
              </a:solidFill>
            </c:spPr>
            <c:extLst>
              <c:ext xmlns:c16="http://schemas.microsoft.com/office/drawing/2014/chart" uri="{C3380CC4-5D6E-409C-BE32-E72D297353CC}">
                <c16:uniqueId val="{000000C9-2993-41DE-A2CB-63102DE87051}"/>
              </c:ext>
            </c:extLst>
          </c:dPt>
          <c:dPt>
            <c:idx val="100"/>
            <c:invertIfNegative val="1"/>
            <c:bubble3D val="0"/>
            <c:spPr>
              <a:solidFill>
                <a:srgbClr val="AEABAB"/>
              </a:solidFill>
            </c:spPr>
            <c:extLst>
              <c:ext xmlns:c16="http://schemas.microsoft.com/office/drawing/2014/chart" uri="{C3380CC4-5D6E-409C-BE32-E72D297353CC}">
                <c16:uniqueId val="{000000CB-2993-41DE-A2CB-63102DE87051}"/>
              </c:ext>
            </c:extLst>
          </c:dPt>
          <c:dPt>
            <c:idx val="101"/>
            <c:invertIfNegative val="1"/>
            <c:bubble3D val="0"/>
            <c:spPr>
              <a:solidFill>
                <a:srgbClr val="AEABAB"/>
              </a:solidFill>
            </c:spPr>
            <c:extLst>
              <c:ext xmlns:c16="http://schemas.microsoft.com/office/drawing/2014/chart" uri="{C3380CC4-5D6E-409C-BE32-E72D297353CC}">
                <c16:uniqueId val="{000000CD-2993-41DE-A2CB-63102DE87051}"/>
              </c:ext>
            </c:extLst>
          </c:dPt>
          <c:dPt>
            <c:idx val="102"/>
            <c:invertIfNegative val="1"/>
            <c:bubble3D val="0"/>
            <c:spPr>
              <a:solidFill>
                <a:srgbClr val="AEABAB"/>
              </a:solidFill>
            </c:spPr>
            <c:extLst>
              <c:ext xmlns:c16="http://schemas.microsoft.com/office/drawing/2014/chart" uri="{C3380CC4-5D6E-409C-BE32-E72D297353CC}">
                <c16:uniqueId val="{000000CF-2993-41DE-A2CB-63102DE87051}"/>
              </c:ext>
            </c:extLst>
          </c:dPt>
          <c:dPt>
            <c:idx val="103"/>
            <c:invertIfNegative val="1"/>
            <c:bubble3D val="0"/>
            <c:spPr>
              <a:solidFill>
                <a:srgbClr val="AEABAB"/>
              </a:solidFill>
            </c:spPr>
            <c:extLst>
              <c:ext xmlns:c16="http://schemas.microsoft.com/office/drawing/2014/chart" uri="{C3380CC4-5D6E-409C-BE32-E72D297353CC}">
                <c16:uniqueId val="{000000D1-2993-41DE-A2CB-63102DE87051}"/>
              </c:ext>
            </c:extLst>
          </c:dPt>
          <c:dPt>
            <c:idx val="104"/>
            <c:invertIfNegative val="1"/>
            <c:bubble3D val="0"/>
            <c:spPr>
              <a:solidFill>
                <a:srgbClr val="AEABAB"/>
              </a:solidFill>
            </c:spPr>
            <c:extLst>
              <c:ext xmlns:c16="http://schemas.microsoft.com/office/drawing/2014/chart" uri="{C3380CC4-5D6E-409C-BE32-E72D297353CC}">
                <c16:uniqueId val="{000000D3-2993-41DE-A2CB-63102DE87051}"/>
              </c:ext>
            </c:extLst>
          </c:dPt>
          <c:dPt>
            <c:idx val="105"/>
            <c:invertIfNegative val="1"/>
            <c:bubble3D val="0"/>
            <c:spPr>
              <a:solidFill>
                <a:srgbClr val="AEABAB"/>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107</c:f>
              <c:strCache>
                <c:ptCount val="106"/>
                <c:pt idx="0">
                  <c:v>Ruinart</c:v>
                </c:pt>
                <c:pt idx="1">
                  <c:v>Nicolas</c:v>
                </c:pt>
                <c:pt idx="2">
                  <c:v>Deutz</c:v>
                </c:pt>
                <c:pt idx="3">
                  <c:v>Laurent Per</c:v>
                </c:pt>
                <c:pt idx="4">
                  <c:v>Heidsieck &amp;</c:v>
                </c:pt>
                <c:pt idx="5">
                  <c:v>Ayala</c:v>
                </c:pt>
                <c:pt idx="6">
                  <c:v>De Bligny</c:v>
                </c:pt>
                <c:pt idx="7">
                  <c:v>Ruinart</c:v>
                </c:pt>
                <c:pt idx="8">
                  <c:v>Canard Duch</c:v>
                </c:pt>
                <c:pt idx="9">
                  <c:v>Taittinger</c:v>
                </c:pt>
                <c:pt idx="10">
                  <c:v>Bollinger</c:v>
                </c:pt>
                <c:pt idx="11">
                  <c:v>Besserat De</c:v>
                </c:pt>
                <c:pt idx="12">
                  <c:v>Demoiselle</c:v>
                </c:pt>
                <c:pt idx="13">
                  <c:v>Campari: Al</c:v>
                </c:pt>
                <c:pt idx="14">
                  <c:v>Deutz</c:v>
                </c:pt>
                <c:pt idx="15">
                  <c:v>Perrier Jou</c:v>
                </c:pt>
                <c:pt idx="16">
                  <c:v>Ruinart</c:v>
                </c:pt>
                <c:pt idx="17">
                  <c:v>All Others</c:v>
                </c:pt>
                <c:pt idx="18">
                  <c:v>Roederer</c:v>
                </c:pt>
                <c:pt idx="19">
                  <c:v>Laurent Per</c:v>
                </c:pt>
                <c:pt idx="20">
                  <c:v>Pommery</c:v>
                </c:pt>
                <c:pt idx="21">
                  <c:v>All Others</c:v>
                </c:pt>
                <c:pt idx="22">
                  <c:v>Savian</c:v>
                </c:pt>
                <c:pt idx="23">
                  <c:v>Veuve Clicq</c:v>
                </c:pt>
                <c:pt idx="24">
                  <c:v>Henriot</c:v>
                </c:pt>
                <c:pt idx="25">
                  <c:v>Moët &amp; Chan</c:v>
                </c:pt>
                <c:pt idx="26">
                  <c:v>Taittinger</c:v>
                </c:pt>
                <c:pt idx="27">
                  <c:v>Roederer</c:v>
                </c:pt>
                <c:pt idx="28">
                  <c:v>Veuve Clicq</c:v>
                </c:pt>
                <c:pt idx="29">
                  <c:v>Veuve Clicq</c:v>
                </c:pt>
                <c:pt idx="30">
                  <c:v>Piper Heids</c:v>
                </c:pt>
                <c:pt idx="31">
                  <c:v>De Venoge</c:v>
                </c:pt>
                <c:pt idx="32">
                  <c:v>Deutz</c:v>
                </c:pt>
                <c:pt idx="33">
                  <c:v>Ruinart</c:v>
                </c:pt>
                <c:pt idx="34">
                  <c:v>All Others</c:v>
                </c:pt>
                <c:pt idx="35">
                  <c:v>Lanson</c:v>
                </c:pt>
                <c:pt idx="36">
                  <c:v>Campari: Al</c:v>
                </c:pt>
                <c:pt idx="37">
                  <c:v>Nicolas</c:v>
                </c:pt>
                <c:pt idx="38">
                  <c:v>Canard Duch</c:v>
                </c:pt>
                <c:pt idx="39">
                  <c:v>Henriot</c:v>
                </c:pt>
                <c:pt idx="40">
                  <c:v>Nicolas Feu</c:v>
                </c:pt>
                <c:pt idx="41">
                  <c:v>Krug</c:v>
                </c:pt>
                <c:pt idx="42">
                  <c:v>Bollinger</c:v>
                </c:pt>
                <c:pt idx="43">
                  <c:v>Roederer</c:v>
                </c:pt>
                <c:pt idx="44">
                  <c:v>Nicolas</c:v>
                </c:pt>
                <c:pt idx="45">
                  <c:v>De Venoge</c:v>
                </c:pt>
                <c:pt idx="46">
                  <c:v>Roederer</c:v>
                </c:pt>
                <c:pt idx="47">
                  <c:v>Canard Duch</c:v>
                </c:pt>
                <c:pt idx="48">
                  <c:v>De Venoge</c:v>
                </c:pt>
                <c:pt idx="49">
                  <c:v>Roederer</c:v>
                </c:pt>
                <c:pt idx="50">
                  <c:v>Canard Duch</c:v>
                </c:pt>
                <c:pt idx="51">
                  <c:v>Vranken</c:v>
                </c:pt>
                <c:pt idx="52">
                  <c:v>Moët &amp; Chan</c:v>
                </c:pt>
                <c:pt idx="53">
                  <c:v>Nicolas</c:v>
                </c:pt>
                <c:pt idx="54">
                  <c:v>Canard Duch</c:v>
                </c:pt>
                <c:pt idx="55">
                  <c:v>Nicolas Feu</c:v>
                </c:pt>
                <c:pt idx="56">
                  <c:v>Veuve Clicq</c:v>
                </c:pt>
                <c:pt idx="57">
                  <c:v>Nicolas</c:v>
                </c:pt>
                <c:pt idx="58">
                  <c:v>All Others</c:v>
                </c:pt>
                <c:pt idx="59">
                  <c:v>Roederer</c:v>
                </c:pt>
                <c:pt idx="60">
                  <c:v>Laurent Per</c:v>
                </c:pt>
                <c:pt idx="61">
                  <c:v>Moët &amp; Chan</c:v>
                </c:pt>
                <c:pt idx="62">
                  <c:v>All Others</c:v>
                </c:pt>
                <c:pt idx="63">
                  <c:v>Demoiselle</c:v>
                </c:pt>
                <c:pt idx="64">
                  <c:v>Nicolas</c:v>
                </c:pt>
                <c:pt idx="65">
                  <c:v>Vranken</c:v>
                </c:pt>
                <c:pt idx="66">
                  <c:v>Roederer</c:v>
                </c:pt>
                <c:pt idx="67">
                  <c:v>Pommery</c:v>
                </c:pt>
                <c:pt idx="68">
                  <c:v>Deutz</c:v>
                </c:pt>
                <c:pt idx="69">
                  <c:v>Ruinart</c:v>
                </c:pt>
                <c:pt idx="70">
                  <c:v>Canard Duch</c:v>
                </c:pt>
                <c:pt idx="71">
                  <c:v>Pommery</c:v>
                </c:pt>
                <c:pt idx="72">
                  <c:v>Ruinart</c:v>
                </c:pt>
                <c:pt idx="73">
                  <c:v>Laurent Per</c:v>
                </c:pt>
                <c:pt idx="74">
                  <c:v>Pommery</c:v>
                </c:pt>
                <c:pt idx="75">
                  <c:v>Ruinart</c:v>
                </c:pt>
                <c:pt idx="76">
                  <c:v>Laurent Per</c:v>
                </c:pt>
                <c:pt idx="77">
                  <c:v>Ruinart</c:v>
                </c:pt>
                <c:pt idx="78">
                  <c:v>Laurent Per</c:v>
                </c:pt>
                <c:pt idx="79">
                  <c:v>Nicolas</c:v>
                </c:pt>
                <c:pt idx="80">
                  <c:v>Roederer</c:v>
                </c:pt>
                <c:pt idx="81">
                  <c:v>Bollinger</c:v>
                </c:pt>
                <c:pt idx="82">
                  <c:v>Roederer</c:v>
                </c:pt>
                <c:pt idx="83">
                  <c:v>Henriot</c:v>
                </c:pt>
                <c:pt idx="84">
                  <c:v>All Others</c:v>
                </c:pt>
                <c:pt idx="85">
                  <c:v>Demoiselle</c:v>
                </c:pt>
                <c:pt idx="86">
                  <c:v>Malard</c:v>
                </c:pt>
                <c:pt idx="87">
                  <c:v>Bollinger</c:v>
                </c:pt>
                <c:pt idx="88">
                  <c:v>De Venoge</c:v>
                </c:pt>
                <c:pt idx="89">
                  <c:v>All Others</c:v>
                </c:pt>
                <c:pt idx="90">
                  <c:v>Moët &amp; Chan</c:v>
                </c:pt>
                <c:pt idx="91">
                  <c:v>All Others</c:v>
                </c:pt>
                <c:pt idx="92">
                  <c:v>Taittinger</c:v>
                </c:pt>
                <c:pt idx="93">
                  <c:v>Nicolas Feu</c:v>
                </c:pt>
                <c:pt idx="94">
                  <c:v>Piper Heids</c:v>
                </c:pt>
                <c:pt idx="95">
                  <c:v>Roederer</c:v>
                </c:pt>
                <c:pt idx="96">
                  <c:v>Canard Duch</c:v>
                </c:pt>
                <c:pt idx="97">
                  <c:v>Martel</c:v>
                </c:pt>
                <c:pt idx="98">
                  <c:v>Besserat De</c:v>
                </c:pt>
                <c:pt idx="99">
                  <c:v>Lanson</c:v>
                </c:pt>
                <c:pt idx="100">
                  <c:v>Demoiselle</c:v>
                </c:pt>
                <c:pt idx="101">
                  <c:v>Moët &amp; Chan</c:v>
                </c:pt>
                <c:pt idx="102">
                  <c:v>All Others</c:v>
                </c:pt>
                <c:pt idx="103">
                  <c:v>Laurent Per</c:v>
                </c:pt>
                <c:pt idx="104">
                  <c:v>Nicolas</c:v>
                </c:pt>
                <c:pt idx="105">
                  <c:v>Nicolas</c:v>
                </c:pt>
              </c:strCache>
            </c:strRef>
          </c:cat>
          <c:val>
            <c:numRef>
              <c:f>Sheet1!$C$2:$C$107</c:f>
              <c:numCache>
                <c:formatCode>General</c:formatCode>
                <c:ptCount val="106"/>
                <c:pt idx="0">
                  <c:v>0.15577646331489364</c:v>
                </c:pt>
                <c:pt idx="1">
                  <c:v>0.25703450518736998</c:v>
                </c:pt>
                <c:pt idx="2">
                  <c:v>0.33916238947456545</c:v>
                </c:pt>
                <c:pt idx="3">
                  <c:v>0.39094657427502399</c:v>
                </c:pt>
                <c:pt idx="4">
                  <c:v>0.43996915269736803</c:v>
                </c:pt>
                <c:pt idx="5">
                  <c:v>0.48052160277174932</c:v>
                </c:pt>
                <c:pt idx="6">
                  <c:v>0.51392024780881118</c:v>
                </c:pt>
                <c:pt idx="7">
                  <c:v>0.54498022939058877</c:v>
                </c:pt>
                <c:pt idx="8">
                  <c:v>0.57483996754271294</c:v>
                </c:pt>
                <c:pt idx="9">
                  <c:v>0.60179303971509723</c:v>
                </c:pt>
                <c:pt idx="10">
                  <c:v>0.62669177169132095</c:v>
                </c:pt>
                <c:pt idx="11">
                  <c:v>0.65134836200179036</c:v>
                </c:pt>
                <c:pt idx="12">
                  <c:v>0.67175201731055323</c:v>
                </c:pt>
                <c:pt idx="13">
                  <c:v>0.6899686697020242</c:v>
                </c:pt>
                <c:pt idx="14">
                  <c:v>0.70674454698256717</c:v>
                </c:pt>
                <c:pt idx="15">
                  <c:v>0.72331660022797384</c:v>
                </c:pt>
                <c:pt idx="16">
                  <c:v>0.73967484753446977</c:v>
                </c:pt>
                <c:pt idx="17">
                  <c:v>0.75580946799672855</c:v>
                </c:pt>
                <c:pt idx="18">
                  <c:v>0.77075865688654766</c:v>
                </c:pt>
                <c:pt idx="19">
                  <c:v>0.78506481797515471</c:v>
                </c:pt>
                <c:pt idx="20">
                  <c:v>0.7987648199071361</c:v>
                </c:pt>
                <c:pt idx="21">
                  <c:v>0.81178943334986253</c:v>
                </c:pt>
                <c:pt idx="22">
                  <c:v>0.82221472685003316</c:v>
                </c:pt>
                <c:pt idx="23">
                  <c:v>0.83211580940359731</c:v>
                </c:pt>
                <c:pt idx="24">
                  <c:v>0.8419972501465085</c:v>
                </c:pt>
                <c:pt idx="25">
                  <c:v>0.85182218043418056</c:v>
                </c:pt>
                <c:pt idx="26">
                  <c:v>0.86067886605573118</c:v>
                </c:pt>
                <c:pt idx="27">
                  <c:v>0.86870705366400269</c:v>
                </c:pt>
                <c:pt idx="28">
                  <c:v>0.87659211365202439</c:v>
                </c:pt>
                <c:pt idx="29">
                  <c:v>0.88396326659411006</c:v>
                </c:pt>
                <c:pt idx="30">
                  <c:v>0.89098102794289069</c:v>
                </c:pt>
                <c:pt idx="31">
                  <c:v>0.89773539583078421</c:v>
                </c:pt>
                <c:pt idx="32">
                  <c:v>0.90429737057334769</c:v>
                </c:pt>
                <c:pt idx="33">
                  <c:v>0.91048904888556881</c:v>
                </c:pt>
                <c:pt idx="34">
                  <c:v>0.91664579053457929</c:v>
                </c:pt>
                <c:pt idx="35">
                  <c:v>0.92209446100939596</c:v>
                </c:pt>
                <c:pt idx="36">
                  <c:v>0.9274188406823759</c:v>
                </c:pt>
                <c:pt idx="37">
                  <c:v>0.93270828369214531</c:v>
                </c:pt>
                <c:pt idx="38">
                  <c:v>0.93736274882310144</c:v>
                </c:pt>
                <c:pt idx="39">
                  <c:v>0.94166800832039987</c:v>
                </c:pt>
                <c:pt idx="40">
                  <c:v>0.94590355548972516</c:v>
                </c:pt>
                <c:pt idx="41">
                  <c:v>0.95003976661664991</c:v>
                </c:pt>
                <c:pt idx="42">
                  <c:v>0.95370505728324784</c:v>
                </c:pt>
                <c:pt idx="43">
                  <c:v>0.95671749924330729</c:v>
                </c:pt>
                <c:pt idx="44">
                  <c:v>0.95936157675440004</c:v>
                </c:pt>
                <c:pt idx="45">
                  <c:v>0.96196798062866673</c:v>
                </c:pt>
                <c:pt idx="46">
                  <c:v>0.96450193520134464</c:v>
                </c:pt>
                <c:pt idx="47">
                  <c:v>0.96703588977402255</c:v>
                </c:pt>
                <c:pt idx="48">
                  <c:v>0.9693009769385823</c:v>
                </c:pt>
                <c:pt idx="49">
                  <c:v>0.97118675175971303</c:v>
                </c:pt>
                <c:pt idx="50">
                  <c:v>0.97297077556172362</c:v>
                </c:pt>
                <c:pt idx="51">
                  <c:v>0.97475479936373421</c:v>
                </c:pt>
                <c:pt idx="52">
                  <c:v>0.97635947089470065</c:v>
                </c:pt>
                <c:pt idx="53">
                  <c:v>0.97791906286023411</c:v>
                </c:pt>
                <c:pt idx="54">
                  <c:v>0.97946303797631395</c:v>
                </c:pt>
                <c:pt idx="55">
                  <c:v>0.98099783618085923</c:v>
                </c:pt>
                <c:pt idx="56">
                  <c:v>0.98250719663062447</c:v>
                </c:pt>
                <c:pt idx="57">
                  <c:v>0.98378826128116126</c:v>
                </c:pt>
                <c:pt idx="58">
                  <c:v>0.98496242296224268</c:v>
                </c:pt>
                <c:pt idx="59">
                  <c:v>0.98612611974420572</c:v>
                </c:pt>
                <c:pt idx="60">
                  <c:v>0.98728015661929025</c:v>
                </c:pt>
                <c:pt idx="61">
                  <c:v>0.98834081439454935</c:v>
                </c:pt>
                <c:pt idx="62">
                  <c:v>0.98923113581185085</c:v>
                </c:pt>
                <c:pt idx="63">
                  <c:v>0.99009247750851692</c:v>
                </c:pt>
                <c:pt idx="64">
                  <c:v>0.99088378488031381</c:v>
                </c:pt>
                <c:pt idx="65">
                  <c:v>0.99161101486981673</c:v>
                </c:pt>
                <c:pt idx="66">
                  <c:v>0.99227368448168163</c:v>
                </c:pt>
                <c:pt idx="67">
                  <c:v>0.99290914535583885</c:v>
                </c:pt>
                <c:pt idx="68">
                  <c:v>0.99350789858385768</c:v>
                </c:pt>
                <c:pt idx="69">
                  <c:v>0.99406189424333957</c:v>
                </c:pt>
                <c:pt idx="70">
                  <c:v>0.99461218693851794</c:v>
                </c:pt>
                <c:pt idx="71">
                  <c:v>0.99516022565542472</c:v>
                </c:pt>
                <c:pt idx="72">
                  <c:v>0.99566028683483498</c:v>
                </c:pt>
                <c:pt idx="73">
                  <c:v>0.99614022320824835</c:v>
                </c:pt>
                <c:pt idx="74">
                  <c:v>0.99661790560339003</c:v>
                </c:pt>
                <c:pt idx="75">
                  <c:v>0.99699592995923525</c:v>
                </c:pt>
                <c:pt idx="76">
                  <c:v>0.99735511749666739</c:v>
                </c:pt>
                <c:pt idx="77">
                  <c:v>0.99770416213187707</c:v>
                </c:pt>
                <c:pt idx="78">
                  <c:v>0.99802535403558712</c:v>
                </c:pt>
                <c:pt idx="79">
                  <c:v>0.99827715560821995</c:v>
                </c:pt>
                <c:pt idx="80">
                  <c:v>0.99851430632208704</c:v>
                </c:pt>
                <c:pt idx="81">
                  <c:v>0.9987020305124259</c:v>
                </c:pt>
                <c:pt idx="82">
                  <c:v>0.99887912880519836</c:v>
                </c:pt>
                <c:pt idx="83">
                  <c:v>0.9990143675014973</c:v>
                </c:pt>
                <c:pt idx="84">
                  <c:v>0.99912465143836016</c:v>
                </c:pt>
                <c:pt idx="85">
                  <c:v>0.99922447047610463</c:v>
                </c:pt>
                <c:pt idx="86">
                  <c:v>0.99931462960697059</c:v>
                </c:pt>
                <c:pt idx="87">
                  <c:v>0.99938659591321544</c:v>
                </c:pt>
                <c:pt idx="88">
                  <c:v>0.9994564692396366</c:v>
                </c:pt>
                <c:pt idx="89">
                  <c:v>0.9995255375738179</c:v>
                </c:pt>
                <c:pt idx="90">
                  <c:v>0.99958913196076804</c:v>
                </c:pt>
                <c:pt idx="91">
                  <c:v>0.99964387143307953</c:v>
                </c:pt>
                <c:pt idx="92">
                  <c:v>0.99969619592867143</c:v>
                </c:pt>
                <c:pt idx="93">
                  <c:v>0.99974546145375176</c:v>
                </c:pt>
                <c:pt idx="94">
                  <c:v>0.99978490607350567</c:v>
                </c:pt>
                <c:pt idx="95">
                  <c:v>0.99982274070877974</c:v>
                </c:pt>
                <c:pt idx="96">
                  <c:v>0.99986057534405381</c:v>
                </c:pt>
                <c:pt idx="97">
                  <c:v>0.99988842807555345</c:v>
                </c:pt>
                <c:pt idx="98">
                  <c:v>0.99991257784274967</c:v>
                </c:pt>
                <c:pt idx="99">
                  <c:v>0.99993560062081011</c:v>
                </c:pt>
                <c:pt idx="100">
                  <c:v>0.99995669141749488</c:v>
                </c:pt>
                <c:pt idx="101">
                  <c:v>0.99997279126229233</c:v>
                </c:pt>
                <c:pt idx="102">
                  <c:v>0.9999819681738269</c:v>
                </c:pt>
                <c:pt idx="103">
                  <c:v>0.99999001809622567</c:v>
                </c:pt>
                <c:pt idx="104">
                  <c:v>0.99999661903259263</c:v>
                </c:pt>
                <c:pt idx="105">
                  <c:v>1</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128</c:f>
              <c:strCache>
                <c:ptCount val="127"/>
                <c:pt idx="0">
                  <c:v>Ruinart</c:v>
                </c:pt>
                <c:pt idx="1">
                  <c:v>Nicolas</c:v>
                </c:pt>
                <c:pt idx="2">
                  <c:v>Deutz</c:v>
                </c:pt>
                <c:pt idx="3">
                  <c:v>Heidsieck &amp;</c:v>
                </c:pt>
                <c:pt idx="4">
                  <c:v>Ayala</c:v>
                </c:pt>
                <c:pt idx="5">
                  <c:v>Laurent Per</c:v>
                </c:pt>
                <c:pt idx="6">
                  <c:v>De Bligny</c:v>
                </c:pt>
                <c:pt idx="7">
                  <c:v>Canard Duch</c:v>
                </c:pt>
                <c:pt idx="8">
                  <c:v>Ruinart</c:v>
                </c:pt>
                <c:pt idx="9">
                  <c:v>Taittinger</c:v>
                </c:pt>
                <c:pt idx="10">
                  <c:v>Bollinger</c:v>
                </c:pt>
                <c:pt idx="11">
                  <c:v>Besserat De</c:v>
                </c:pt>
                <c:pt idx="12">
                  <c:v>Demoiselle</c:v>
                </c:pt>
                <c:pt idx="13">
                  <c:v>Ruinart</c:v>
                </c:pt>
                <c:pt idx="14">
                  <c:v>Deutz</c:v>
                </c:pt>
                <c:pt idx="15">
                  <c:v>Perrier Jou</c:v>
                </c:pt>
                <c:pt idx="16">
                  <c:v>All Others</c:v>
                </c:pt>
                <c:pt idx="17">
                  <c:v>Campari: Al</c:v>
                </c:pt>
                <c:pt idx="18">
                  <c:v>Laurent Per</c:v>
                </c:pt>
                <c:pt idx="19">
                  <c:v>Savian</c:v>
                </c:pt>
                <c:pt idx="20">
                  <c:v>Pommery</c:v>
                </c:pt>
                <c:pt idx="21">
                  <c:v>Roederer</c:v>
                </c:pt>
                <c:pt idx="22">
                  <c:v>Veuve Clicq</c:v>
                </c:pt>
                <c:pt idx="23">
                  <c:v>Moët &amp; Chan</c:v>
                </c:pt>
                <c:pt idx="24">
                  <c:v>Taittinger</c:v>
                </c:pt>
                <c:pt idx="25">
                  <c:v>All Others</c:v>
                </c:pt>
                <c:pt idx="26">
                  <c:v>Veuve Clicq</c:v>
                </c:pt>
                <c:pt idx="27">
                  <c:v>Henriot</c:v>
                </c:pt>
                <c:pt idx="28">
                  <c:v>Roederer</c:v>
                </c:pt>
                <c:pt idx="29">
                  <c:v>All Others</c:v>
                </c:pt>
                <c:pt idx="30">
                  <c:v>Veuve Clicq</c:v>
                </c:pt>
                <c:pt idx="31">
                  <c:v>De Venoge</c:v>
                </c:pt>
                <c:pt idx="32">
                  <c:v>Nicolas</c:v>
                </c:pt>
                <c:pt idx="33">
                  <c:v>Piper Heids</c:v>
                </c:pt>
                <c:pt idx="34">
                  <c:v>Ruinart</c:v>
                </c:pt>
                <c:pt idx="35">
                  <c:v>Deutz</c:v>
                </c:pt>
                <c:pt idx="36">
                  <c:v>Lanson</c:v>
                </c:pt>
                <c:pt idx="37">
                  <c:v>Campari: Al</c:v>
                </c:pt>
                <c:pt idx="38">
                  <c:v>Nicolas Feu</c:v>
                </c:pt>
                <c:pt idx="39">
                  <c:v>Canard Duch</c:v>
                </c:pt>
                <c:pt idx="40">
                  <c:v>Henriot</c:v>
                </c:pt>
                <c:pt idx="41">
                  <c:v>Bollinger</c:v>
                </c:pt>
                <c:pt idx="42">
                  <c:v>Krug</c:v>
                </c:pt>
                <c:pt idx="43">
                  <c:v>Roederer</c:v>
                </c:pt>
                <c:pt idx="44">
                  <c:v>Canard Duch</c:v>
                </c:pt>
                <c:pt idx="45">
                  <c:v>Vranken</c:v>
                </c:pt>
                <c:pt idx="46">
                  <c:v>Nicolas</c:v>
                </c:pt>
                <c:pt idx="47">
                  <c:v>Nicolas</c:v>
                </c:pt>
                <c:pt idx="48">
                  <c:v>De Venoge</c:v>
                </c:pt>
                <c:pt idx="49">
                  <c:v>Roederer</c:v>
                </c:pt>
                <c:pt idx="50">
                  <c:v>Canard Duch</c:v>
                </c:pt>
                <c:pt idx="51">
                  <c:v>De Venoge</c:v>
                </c:pt>
                <c:pt idx="52">
                  <c:v>Moët &amp; Chan</c:v>
                </c:pt>
                <c:pt idx="53">
                  <c:v>Canard Duch</c:v>
                </c:pt>
                <c:pt idx="54">
                  <c:v>All Others</c:v>
                </c:pt>
                <c:pt idx="55">
                  <c:v>Nicolas</c:v>
                </c:pt>
                <c:pt idx="56">
                  <c:v>Roederer</c:v>
                </c:pt>
                <c:pt idx="57">
                  <c:v>All Others</c:v>
                </c:pt>
                <c:pt idx="58">
                  <c:v>Veuve Clicq</c:v>
                </c:pt>
                <c:pt idx="59">
                  <c:v>All Others</c:v>
                </c:pt>
                <c:pt idx="60">
                  <c:v>Nicolas Feu</c:v>
                </c:pt>
                <c:pt idx="61">
                  <c:v>Demoiselle</c:v>
                </c:pt>
                <c:pt idx="62">
                  <c:v>All Others</c:v>
                </c:pt>
                <c:pt idx="63">
                  <c:v>Roederer</c:v>
                </c:pt>
                <c:pt idx="64">
                  <c:v>Laurent Per</c:v>
                </c:pt>
                <c:pt idx="65">
                  <c:v>Nicolas</c:v>
                </c:pt>
                <c:pt idx="66">
                  <c:v>Laurent Per</c:v>
                </c:pt>
                <c:pt idx="67">
                  <c:v>All Others</c:v>
                </c:pt>
                <c:pt idx="68">
                  <c:v>Roederer</c:v>
                </c:pt>
                <c:pt idx="69">
                  <c:v>Moët &amp; Chan</c:v>
                </c:pt>
                <c:pt idx="70">
                  <c:v>Ruinart</c:v>
                </c:pt>
                <c:pt idx="71">
                  <c:v>Pommery</c:v>
                </c:pt>
                <c:pt idx="72">
                  <c:v>Ruinart</c:v>
                </c:pt>
                <c:pt idx="73">
                  <c:v>Ruinart</c:v>
                </c:pt>
                <c:pt idx="74">
                  <c:v>Lanson-Bcc:</c:v>
                </c:pt>
                <c:pt idx="75">
                  <c:v>Laurent Per</c:v>
                </c:pt>
                <c:pt idx="76">
                  <c:v>Vranken</c:v>
                </c:pt>
                <c:pt idx="77">
                  <c:v>Canard Duch</c:v>
                </c:pt>
                <c:pt idx="78">
                  <c:v>Roederer</c:v>
                </c:pt>
                <c:pt idx="79">
                  <c:v>Deutz</c:v>
                </c:pt>
                <c:pt idx="80">
                  <c:v>All Others</c:v>
                </c:pt>
                <c:pt idx="81">
                  <c:v>Pommery</c:v>
                </c:pt>
                <c:pt idx="82">
                  <c:v>Malard</c:v>
                </c:pt>
                <c:pt idx="83">
                  <c:v>Pommery</c:v>
                </c:pt>
                <c:pt idx="84">
                  <c:v>Deutz</c:v>
                </c:pt>
                <c:pt idx="85">
                  <c:v>Nicolas</c:v>
                </c:pt>
                <c:pt idx="86">
                  <c:v>Bollinger</c:v>
                </c:pt>
                <c:pt idx="87">
                  <c:v>Ruinart</c:v>
                </c:pt>
                <c:pt idx="88">
                  <c:v>Henriot</c:v>
                </c:pt>
                <c:pt idx="89">
                  <c:v>Roederer</c:v>
                </c:pt>
                <c:pt idx="90">
                  <c:v>All Others</c:v>
                </c:pt>
                <c:pt idx="91">
                  <c:v>De Venoge</c:v>
                </c:pt>
                <c:pt idx="92">
                  <c:v>Moët &amp; Chan</c:v>
                </c:pt>
                <c:pt idx="93">
                  <c:v>All Others</c:v>
                </c:pt>
                <c:pt idx="94">
                  <c:v>Piper Heids</c:v>
                </c:pt>
                <c:pt idx="95">
                  <c:v>Moët &amp; Chan</c:v>
                </c:pt>
                <c:pt idx="96">
                  <c:v>All Others</c:v>
                </c:pt>
                <c:pt idx="97">
                  <c:v>Lanson</c:v>
                </c:pt>
                <c:pt idx="98">
                  <c:v>Nicolas Feu</c:v>
                </c:pt>
                <c:pt idx="99">
                  <c:v>All Others</c:v>
                </c:pt>
                <c:pt idx="100">
                  <c:v>Taittinger</c:v>
                </c:pt>
                <c:pt idx="101">
                  <c:v>Bollinger</c:v>
                </c:pt>
                <c:pt idx="102">
                  <c:v>Laurent Per</c:v>
                </c:pt>
                <c:pt idx="103">
                  <c:v>All Others</c:v>
                </c:pt>
                <c:pt idx="104">
                  <c:v>Ruinart</c:v>
                </c:pt>
                <c:pt idx="105">
                  <c:v>Moët &amp; Chan</c:v>
                </c:pt>
                <c:pt idx="106">
                  <c:v>Bollinger</c:v>
                </c:pt>
                <c:pt idx="107">
                  <c:v>Besserat De</c:v>
                </c:pt>
                <c:pt idx="108">
                  <c:v>Martel</c:v>
                </c:pt>
                <c:pt idx="109">
                  <c:v>Roederer</c:v>
                </c:pt>
                <c:pt idx="110">
                  <c:v>Lanson</c:v>
                </c:pt>
                <c:pt idx="111">
                  <c:v>Demoiselle</c:v>
                </c:pt>
                <c:pt idx="112">
                  <c:v>Besserat De</c:v>
                </c:pt>
                <c:pt idx="113">
                  <c:v>All Others</c:v>
                </c:pt>
                <c:pt idx="114">
                  <c:v>Lanson</c:v>
                </c:pt>
                <c:pt idx="115">
                  <c:v>Besserat De</c:v>
                </c:pt>
                <c:pt idx="116">
                  <c:v>Canard Duch</c:v>
                </c:pt>
                <c:pt idx="117">
                  <c:v>All Others</c:v>
                </c:pt>
                <c:pt idx="118">
                  <c:v>Roederer</c:v>
                </c:pt>
                <c:pt idx="119">
                  <c:v>All Others</c:v>
                </c:pt>
                <c:pt idx="120">
                  <c:v>Pommery</c:v>
                </c:pt>
                <c:pt idx="121">
                  <c:v>Laurent Per</c:v>
                </c:pt>
                <c:pt idx="122">
                  <c:v>Nicolas Feu</c:v>
                </c:pt>
                <c:pt idx="123">
                  <c:v>Demoiselle</c:v>
                </c:pt>
                <c:pt idx="124">
                  <c:v>Roederer</c:v>
                </c:pt>
                <c:pt idx="125">
                  <c:v>Nicolas</c:v>
                </c:pt>
                <c:pt idx="126">
                  <c:v>Nicolas</c:v>
                </c:pt>
              </c:strCache>
            </c:strRef>
          </c:cat>
          <c:val>
            <c:numRef>
              <c:f>Sheet1!$B$2:$B$128</c:f>
              <c:numCache>
                <c:formatCode>General</c:formatCode>
                <c:ptCount val="127"/>
                <c:pt idx="0">
                  <c:v>1</c:v>
                </c:pt>
                <c:pt idx="1">
                  <c:v>1</c:v>
                </c:pt>
                <c:pt idx="2">
                  <c:v>1</c:v>
                </c:pt>
                <c:pt idx="3">
                  <c:v>0.94</c:v>
                </c:pt>
                <c:pt idx="4">
                  <c:v>0.97</c:v>
                </c:pt>
                <c:pt idx="5">
                  <c:v>0.98</c:v>
                </c:pt>
                <c:pt idx="6">
                  <c:v>0.98</c:v>
                </c:pt>
                <c:pt idx="7">
                  <c:v>0.97</c:v>
                </c:pt>
                <c:pt idx="8">
                  <c:v>0.66</c:v>
                </c:pt>
                <c:pt idx="9">
                  <c:v>0.92</c:v>
                </c:pt>
                <c:pt idx="10">
                  <c:v>0.92</c:v>
                </c:pt>
                <c:pt idx="11">
                  <c:v>0.84</c:v>
                </c:pt>
                <c:pt idx="12">
                  <c:v>0.93</c:v>
                </c:pt>
                <c:pt idx="13">
                  <c:v>0.52</c:v>
                </c:pt>
                <c:pt idx="14">
                  <c:v>0.67</c:v>
                </c:pt>
                <c:pt idx="15">
                  <c:v>0.83</c:v>
                </c:pt>
                <c:pt idx="16">
                  <c:v>0.78</c:v>
                </c:pt>
                <c:pt idx="17">
                  <c:v>0.66</c:v>
                </c:pt>
                <c:pt idx="18">
                  <c:v>0.69</c:v>
                </c:pt>
                <c:pt idx="19">
                  <c:v>0.71</c:v>
                </c:pt>
                <c:pt idx="20">
                  <c:v>0.68</c:v>
                </c:pt>
                <c:pt idx="21">
                  <c:v>0.53</c:v>
                </c:pt>
                <c:pt idx="22">
                  <c:v>0.62</c:v>
                </c:pt>
                <c:pt idx="23">
                  <c:v>0.64</c:v>
                </c:pt>
                <c:pt idx="24">
                  <c:v>0.45</c:v>
                </c:pt>
                <c:pt idx="25">
                  <c:v>0.62</c:v>
                </c:pt>
                <c:pt idx="26">
                  <c:v>0.42</c:v>
                </c:pt>
                <c:pt idx="27">
                  <c:v>0.62</c:v>
                </c:pt>
                <c:pt idx="28">
                  <c:v>0.49</c:v>
                </c:pt>
                <c:pt idx="29">
                  <c:v>0.49</c:v>
                </c:pt>
                <c:pt idx="30">
                  <c:v>0.56000000000000005</c:v>
                </c:pt>
                <c:pt idx="31">
                  <c:v>0.53</c:v>
                </c:pt>
                <c:pt idx="32">
                  <c:v>0.77</c:v>
                </c:pt>
                <c:pt idx="33">
                  <c:v>0.56000000000000005</c:v>
                </c:pt>
                <c:pt idx="34">
                  <c:v>0.55000000000000004</c:v>
                </c:pt>
                <c:pt idx="35">
                  <c:v>0.72</c:v>
                </c:pt>
                <c:pt idx="36">
                  <c:v>0.53</c:v>
                </c:pt>
                <c:pt idx="37">
                  <c:v>0.41</c:v>
                </c:pt>
                <c:pt idx="38">
                  <c:v>0.38</c:v>
                </c:pt>
                <c:pt idx="39">
                  <c:v>0.78</c:v>
                </c:pt>
                <c:pt idx="40">
                  <c:v>0.59</c:v>
                </c:pt>
                <c:pt idx="41">
                  <c:v>0.16</c:v>
                </c:pt>
                <c:pt idx="42">
                  <c:v>0.12</c:v>
                </c:pt>
                <c:pt idx="43">
                  <c:v>0.24</c:v>
                </c:pt>
                <c:pt idx="44">
                  <c:v>0.35</c:v>
                </c:pt>
                <c:pt idx="45">
                  <c:v>0.24</c:v>
                </c:pt>
                <c:pt idx="46">
                  <c:v>0.36</c:v>
                </c:pt>
                <c:pt idx="47">
                  <c:v>0.17</c:v>
                </c:pt>
                <c:pt idx="48">
                  <c:v>0.4</c:v>
                </c:pt>
                <c:pt idx="49">
                  <c:v>0.13</c:v>
                </c:pt>
                <c:pt idx="50">
                  <c:v>0.22</c:v>
                </c:pt>
                <c:pt idx="51">
                  <c:v>0.15</c:v>
                </c:pt>
                <c:pt idx="52">
                  <c:v>0.21</c:v>
                </c:pt>
                <c:pt idx="53">
                  <c:v>0.17</c:v>
                </c:pt>
                <c:pt idx="54">
                  <c:v>0.03</c:v>
                </c:pt>
                <c:pt idx="55">
                  <c:v>0.18</c:v>
                </c:pt>
                <c:pt idx="56">
                  <c:v>0.26</c:v>
                </c:pt>
                <c:pt idx="57">
                  <c:v>0.03</c:v>
                </c:pt>
                <c:pt idx="58">
                  <c:v>0.16</c:v>
                </c:pt>
                <c:pt idx="59">
                  <c:v>0.19</c:v>
                </c:pt>
                <c:pt idx="60">
                  <c:v>0.16</c:v>
                </c:pt>
                <c:pt idx="61">
                  <c:v>0.21</c:v>
                </c:pt>
                <c:pt idx="62">
                  <c:v>0.13</c:v>
                </c:pt>
                <c:pt idx="63">
                  <c:v>0.19</c:v>
                </c:pt>
                <c:pt idx="64">
                  <c:v>0.1</c:v>
                </c:pt>
                <c:pt idx="65">
                  <c:v>0.06</c:v>
                </c:pt>
                <c:pt idx="66">
                  <c:v>0.06</c:v>
                </c:pt>
                <c:pt idx="67">
                  <c:v>0.03</c:v>
                </c:pt>
                <c:pt idx="68">
                  <c:v>0.15</c:v>
                </c:pt>
                <c:pt idx="69">
                  <c:v>0.1</c:v>
                </c:pt>
                <c:pt idx="70">
                  <c:v>0.03</c:v>
                </c:pt>
                <c:pt idx="71">
                  <c:v>0.12</c:v>
                </c:pt>
                <c:pt idx="72">
                  <c:v>0.03</c:v>
                </c:pt>
                <c:pt idx="73">
                  <c:v>7.0000000000000007E-2</c:v>
                </c:pt>
                <c:pt idx="74">
                  <c:v>0.03</c:v>
                </c:pt>
                <c:pt idx="75">
                  <c:v>0.03</c:v>
                </c:pt>
                <c:pt idx="76">
                  <c:v>0.06</c:v>
                </c:pt>
                <c:pt idx="77">
                  <c:v>0.08</c:v>
                </c:pt>
                <c:pt idx="78">
                  <c:v>0.05</c:v>
                </c:pt>
                <c:pt idx="79">
                  <c:v>0.03</c:v>
                </c:pt>
                <c:pt idx="80">
                  <c:v>0.03</c:v>
                </c:pt>
                <c:pt idx="81">
                  <c:v>0.08</c:v>
                </c:pt>
                <c:pt idx="82">
                  <c:v>7.0000000000000007E-2</c:v>
                </c:pt>
                <c:pt idx="83">
                  <c:v>0.1</c:v>
                </c:pt>
                <c:pt idx="84">
                  <c:v>0.03</c:v>
                </c:pt>
                <c:pt idx="85">
                  <c:v>0.16</c:v>
                </c:pt>
                <c:pt idx="86">
                  <c:v>0.03</c:v>
                </c:pt>
                <c:pt idx="87">
                  <c:v>0.02</c:v>
                </c:pt>
                <c:pt idx="88">
                  <c:v>0.04</c:v>
                </c:pt>
                <c:pt idx="89">
                  <c:v>0.03</c:v>
                </c:pt>
                <c:pt idx="90">
                  <c:v>0.03</c:v>
                </c:pt>
                <c:pt idx="91">
                  <c:v>0.02</c:v>
                </c:pt>
                <c:pt idx="92">
                  <c:v>0.05</c:v>
                </c:pt>
                <c:pt idx="93">
                  <c:v>0.02</c:v>
                </c:pt>
                <c:pt idx="94">
                  <c:v>0.02</c:v>
                </c:pt>
                <c:pt idx="95">
                  <c:v>0.02</c:v>
                </c:pt>
                <c:pt idx="96">
                  <c:v>0.02</c:v>
                </c:pt>
                <c:pt idx="97">
                  <c:v>0.02</c:v>
                </c:pt>
                <c:pt idx="98">
                  <c:v>0.03</c:v>
                </c:pt>
                <c:pt idx="99">
                  <c:v>0.01</c:v>
                </c:pt>
                <c:pt idx="100">
                  <c:v>0.03</c:v>
                </c:pt>
                <c:pt idx="101">
                  <c:v>0.03</c:v>
                </c:pt>
                <c:pt idx="102">
                  <c:v>0.01</c:v>
                </c:pt>
                <c:pt idx="103">
                  <c:v>0.01</c:v>
                </c:pt>
                <c:pt idx="104">
                  <c:v>0.01</c:v>
                </c:pt>
                <c:pt idx="105">
                  <c:v>0.03</c:v>
                </c:pt>
                <c:pt idx="106">
                  <c:v>0.02</c:v>
                </c:pt>
                <c:pt idx="107">
                  <c:v>0.01</c:v>
                </c:pt>
                <c:pt idx="108">
                  <c:v>0.04</c:v>
                </c:pt>
                <c:pt idx="109">
                  <c:v>0.01</c:v>
                </c:pt>
                <c:pt idx="110">
                  <c:v>0.02</c:v>
                </c:pt>
                <c:pt idx="111">
                  <c:v>0.02</c:v>
                </c:pt>
                <c:pt idx="112">
                  <c:v>0.02</c:v>
                </c:pt>
                <c:pt idx="113">
                  <c:v>0.01</c:v>
                </c:pt>
                <c:pt idx="114">
                  <c:v>0.01</c:v>
                </c:pt>
                <c:pt idx="115">
                  <c:v>0.01</c:v>
                </c:pt>
                <c:pt idx="116">
                  <c:v>0.01</c:v>
                </c:pt>
                <c:pt idx="117">
                  <c:v>0.01</c:v>
                </c:pt>
                <c:pt idx="118">
                  <c:v>0.02</c:v>
                </c:pt>
                <c:pt idx="119">
                  <c:v>0.02</c:v>
                </c:pt>
                <c:pt idx="120">
                  <c:v>0.01</c:v>
                </c:pt>
                <c:pt idx="121">
                  <c:v>0.01</c:v>
                </c:pt>
                <c:pt idx="122">
                  <c:v>0.01</c:v>
                </c:pt>
                <c:pt idx="123">
                  <c:v>0.02</c:v>
                </c:pt>
                <c:pt idx="124">
                  <c:v>0.02</c:v>
                </c:pt>
                <c:pt idx="125">
                  <c:v>0.02</c:v>
                </c:pt>
                <c:pt idx="126">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7ECAC4"/>
              </a:solidFill>
            </c:spPr>
            <c:extLst>
              <c:ext xmlns:c16="http://schemas.microsoft.com/office/drawing/2014/chart" uri="{C3380CC4-5D6E-409C-BE32-E72D297353CC}">
                <c16:uniqueId val="{00000065-2993-41DE-A2CB-63102DE87051}"/>
              </c:ext>
            </c:extLst>
          </c:dPt>
          <c:dPt>
            <c:idx val="23"/>
            <c:invertIfNegative val="1"/>
            <c:bubble3D val="0"/>
            <c:spPr>
              <a:solidFill>
                <a:srgbClr val="7ECAC4"/>
              </a:solidFill>
            </c:spPr>
            <c:extLst>
              <c:ext xmlns:c16="http://schemas.microsoft.com/office/drawing/2014/chart" uri="{C3380CC4-5D6E-409C-BE32-E72D297353CC}">
                <c16:uniqueId val="{00000067-2993-41DE-A2CB-63102DE87051}"/>
              </c:ext>
            </c:extLst>
          </c:dPt>
          <c:dPt>
            <c:idx val="24"/>
            <c:invertIfNegative val="1"/>
            <c:bubble3D val="0"/>
            <c:spPr>
              <a:solidFill>
                <a:srgbClr val="7ECAC4"/>
              </a:solidFill>
            </c:spPr>
            <c:extLst>
              <c:ext xmlns:c16="http://schemas.microsoft.com/office/drawing/2014/chart" uri="{C3380CC4-5D6E-409C-BE32-E72D297353CC}">
                <c16:uniqueId val="{00000069-2993-41DE-A2CB-63102DE87051}"/>
              </c:ext>
            </c:extLst>
          </c:dPt>
          <c:dPt>
            <c:idx val="25"/>
            <c:invertIfNegative val="1"/>
            <c:bubble3D val="0"/>
            <c:spPr>
              <a:solidFill>
                <a:srgbClr val="7ECAC4"/>
              </a:solidFill>
            </c:spPr>
            <c:extLst>
              <c:ext xmlns:c16="http://schemas.microsoft.com/office/drawing/2014/chart" uri="{C3380CC4-5D6E-409C-BE32-E72D297353CC}">
                <c16:uniqueId val="{0000006B-2993-41DE-A2CB-63102DE87051}"/>
              </c:ext>
            </c:extLst>
          </c:dPt>
          <c:dPt>
            <c:idx val="26"/>
            <c:invertIfNegative val="1"/>
            <c:bubble3D val="0"/>
            <c:spPr>
              <a:solidFill>
                <a:srgbClr val="7ECAC4"/>
              </a:solidFill>
            </c:spPr>
            <c:extLst>
              <c:ext xmlns:c16="http://schemas.microsoft.com/office/drawing/2014/chart" uri="{C3380CC4-5D6E-409C-BE32-E72D297353CC}">
                <c16:uniqueId val="{0000006D-2993-41DE-A2CB-63102DE87051}"/>
              </c:ext>
            </c:extLst>
          </c:dPt>
          <c:dPt>
            <c:idx val="27"/>
            <c:invertIfNegative val="1"/>
            <c:bubble3D val="0"/>
            <c:spPr>
              <a:solidFill>
                <a:srgbClr val="7ECAC4"/>
              </a:solidFill>
            </c:spPr>
            <c:extLst>
              <c:ext xmlns:c16="http://schemas.microsoft.com/office/drawing/2014/chart" uri="{C3380CC4-5D6E-409C-BE32-E72D297353CC}">
                <c16:uniqueId val="{0000006F-2993-41DE-A2CB-63102DE87051}"/>
              </c:ext>
            </c:extLst>
          </c:dPt>
          <c:dPt>
            <c:idx val="28"/>
            <c:invertIfNegative val="1"/>
            <c:bubble3D val="0"/>
            <c:spPr>
              <a:solidFill>
                <a:srgbClr val="7ECAC4"/>
              </a:solidFill>
            </c:spPr>
            <c:extLst>
              <c:ext xmlns:c16="http://schemas.microsoft.com/office/drawing/2014/chart" uri="{C3380CC4-5D6E-409C-BE32-E72D297353CC}">
                <c16:uniqueId val="{00000071-2993-41DE-A2CB-63102DE87051}"/>
              </c:ext>
            </c:extLst>
          </c:dPt>
          <c:dPt>
            <c:idx val="29"/>
            <c:invertIfNegative val="1"/>
            <c:bubble3D val="0"/>
            <c:spPr>
              <a:solidFill>
                <a:srgbClr val="7ECAC4"/>
              </a:solidFill>
            </c:spPr>
            <c:extLst>
              <c:ext xmlns:c16="http://schemas.microsoft.com/office/drawing/2014/chart" uri="{C3380CC4-5D6E-409C-BE32-E72D297353CC}">
                <c16:uniqueId val="{00000073-2993-41DE-A2CB-63102DE87051}"/>
              </c:ext>
            </c:extLst>
          </c:dPt>
          <c:dPt>
            <c:idx val="30"/>
            <c:invertIfNegative val="1"/>
            <c:bubble3D val="0"/>
            <c:spPr>
              <a:solidFill>
                <a:srgbClr val="7ECAC4"/>
              </a:solidFill>
            </c:spPr>
            <c:extLst>
              <c:ext xmlns:c16="http://schemas.microsoft.com/office/drawing/2014/chart" uri="{C3380CC4-5D6E-409C-BE32-E72D297353CC}">
                <c16:uniqueId val="{00000075-2993-41DE-A2CB-63102DE87051}"/>
              </c:ext>
            </c:extLst>
          </c:dPt>
          <c:dPt>
            <c:idx val="31"/>
            <c:invertIfNegative val="1"/>
            <c:bubble3D val="0"/>
            <c:spPr>
              <a:solidFill>
                <a:srgbClr val="7ECAC4"/>
              </a:solidFill>
            </c:spPr>
            <c:extLst>
              <c:ext xmlns:c16="http://schemas.microsoft.com/office/drawing/2014/chart" uri="{C3380CC4-5D6E-409C-BE32-E72D297353CC}">
                <c16:uniqueId val="{00000077-2993-41DE-A2CB-63102DE87051}"/>
              </c:ext>
            </c:extLst>
          </c:dPt>
          <c:dPt>
            <c:idx val="32"/>
            <c:invertIfNegative val="1"/>
            <c:bubble3D val="0"/>
            <c:spPr>
              <a:solidFill>
                <a:srgbClr val="7ECAC4"/>
              </a:solidFill>
            </c:spPr>
            <c:extLst>
              <c:ext xmlns:c16="http://schemas.microsoft.com/office/drawing/2014/chart" uri="{C3380CC4-5D6E-409C-BE32-E72D297353CC}">
                <c16:uniqueId val="{00000079-2993-41DE-A2CB-63102DE87051}"/>
              </c:ext>
            </c:extLst>
          </c:dPt>
          <c:dPt>
            <c:idx val="33"/>
            <c:invertIfNegative val="1"/>
            <c:bubble3D val="0"/>
            <c:spPr>
              <a:solidFill>
                <a:srgbClr val="7ECAC4"/>
              </a:solidFill>
            </c:spPr>
            <c:extLst>
              <c:ext xmlns:c16="http://schemas.microsoft.com/office/drawing/2014/chart" uri="{C3380CC4-5D6E-409C-BE32-E72D297353CC}">
                <c16:uniqueId val="{0000007B-2993-41DE-A2CB-63102DE87051}"/>
              </c:ext>
            </c:extLst>
          </c:dPt>
          <c:dPt>
            <c:idx val="34"/>
            <c:invertIfNegative val="1"/>
            <c:bubble3D val="0"/>
            <c:spPr>
              <a:solidFill>
                <a:srgbClr val="7ECAC4"/>
              </a:solidFill>
            </c:spPr>
            <c:extLst>
              <c:ext xmlns:c16="http://schemas.microsoft.com/office/drawing/2014/chart" uri="{C3380CC4-5D6E-409C-BE32-E72D297353CC}">
                <c16:uniqueId val="{0000007D-2993-41DE-A2CB-63102DE87051}"/>
              </c:ext>
            </c:extLst>
          </c:dPt>
          <c:dPt>
            <c:idx val="35"/>
            <c:invertIfNegative val="1"/>
            <c:bubble3D val="0"/>
            <c:spPr>
              <a:solidFill>
                <a:srgbClr val="7ECAC4"/>
              </a:solidFill>
            </c:spPr>
            <c:extLst>
              <c:ext xmlns:c16="http://schemas.microsoft.com/office/drawing/2014/chart" uri="{C3380CC4-5D6E-409C-BE32-E72D297353CC}">
                <c16:uniqueId val="{0000007F-2993-41DE-A2CB-63102DE87051}"/>
              </c:ext>
            </c:extLst>
          </c:dPt>
          <c:dPt>
            <c:idx val="36"/>
            <c:invertIfNegative val="1"/>
            <c:bubble3D val="0"/>
            <c:spPr>
              <a:solidFill>
                <a:srgbClr val="7ECAC4"/>
              </a:solidFill>
            </c:spPr>
            <c:extLst>
              <c:ext xmlns:c16="http://schemas.microsoft.com/office/drawing/2014/chart" uri="{C3380CC4-5D6E-409C-BE32-E72D297353CC}">
                <c16:uniqueId val="{00000081-2993-41DE-A2CB-63102DE87051}"/>
              </c:ext>
            </c:extLst>
          </c:dPt>
          <c:dPt>
            <c:idx val="37"/>
            <c:invertIfNegative val="1"/>
            <c:bubble3D val="0"/>
            <c:spPr>
              <a:solidFill>
                <a:srgbClr val="7ECAC4"/>
              </a:solidFill>
            </c:spPr>
            <c:extLst>
              <c:ext xmlns:c16="http://schemas.microsoft.com/office/drawing/2014/chart" uri="{C3380CC4-5D6E-409C-BE32-E72D297353CC}">
                <c16:uniqueId val="{00000083-2993-41DE-A2CB-63102DE87051}"/>
              </c:ext>
            </c:extLst>
          </c:dPt>
          <c:dPt>
            <c:idx val="38"/>
            <c:invertIfNegative val="1"/>
            <c:bubble3D val="0"/>
            <c:spPr>
              <a:solidFill>
                <a:srgbClr val="7ECAC4"/>
              </a:solidFill>
            </c:spPr>
            <c:extLst>
              <c:ext xmlns:c16="http://schemas.microsoft.com/office/drawing/2014/chart" uri="{C3380CC4-5D6E-409C-BE32-E72D297353CC}">
                <c16:uniqueId val="{00000085-2993-41DE-A2CB-63102DE87051}"/>
              </c:ext>
            </c:extLst>
          </c:dPt>
          <c:dPt>
            <c:idx val="39"/>
            <c:invertIfNegative val="1"/>
            <c:bubble3D val="0"/>
            <c:spPr>
              <a:solidFill>
                <a:srgbClr val="7ECAC4"/>
              </a:solidFill>
            </c:spPr>
            <c:extLst>
              <c:ext xmlns:c16="http://schemas.microsoft.com/office/drawing/2014/chart" uri="{C3380CC4-5D6E-409C-BE32-E72D297353CC}">
                <c16:uniqueId val="{00000087-2993-41DE-A2CB-63102DE87051}"/>
              </c:ext>
            </c:extLst>
          </c:dPt>
          <c:dPt>
            <c:idx val="40"/>
            <c:invertIfNegative val="1"/>
            <c:bubble3D val="0"/>
            <c:spPr>
              <a:solidFill>
                <a:srgbClr val="7ECAC4"/>
              </a:solidFill>
            </c:spPr>
            <c:extLst>
              <c:ext xmlns:c16="http://schemas.microsoft.com/office/drawing/2014/chart" uri="{C3380CC4-5D6E-409C-BE32-E72D297353CC}">
                <c16:uniqueId val="{00000089-2993-41DE-A2CB-63102DE87051}"/>
              </c:ext>
            </c:extLst>
          </c:dPt>
          <c:dPt>
            <c:idx val="41"/>
            <c:invertIfNegative val="1"/>
            <c:bubble3D val="0"/>
            <c:spPr>
              <a:solidFill>
                <a:srgbClr val="7ECAC4"/>
              </a:solidFill>
            </c:spPr>
            <c:extLst>
              <c:ext xmlns:c16="http://schemas.microsoft.com/office/drawing/2014/chart" uri="{C3380CC4-5D6E-409C-BE32-E72D297353CC}">
                <c16:uniqueId val="{0000008B-2993-41DE-A2CB-63102DE87051}"/>
              </c:ext>
            </c:extLst>
          </c:dPt>
          <c:dPt>
            <c:idx val="42"/>
            <c:invertIfNegative val="1"/>
            <c:bubble3D val="0"/>
            <c:spPr>
              <a:solidFill>
                <a:srgbClr val="7ECAC4"/>
              </a:solidFill>
            </c:spPr>
            <c:extLst>
              <c:ext xmlns:c16="http://schemas.microsoft.com/office/drawing/2014/chart" uri="{C3380CC4-5D6E-409C-BE32-E72D297353CC}">
                <c16:uniqueId val="{0000008D-2993-41DE-A2CB-63102DE87051}"/>
              </c:ext>
            </c:extLst>
          </c:dPt>
          <c:dPt>
            <c:idx val="43"/>
            <c:invertIfNegative val="1"/>
            <c:bubble3D val="0"/>
            <c:spPr>
              <a:solidFill>
                <a:srgbClr val="7ECAC4"/>
              </a:solidFill>
            </c:spPr>
            <c:extLst>
              <c:ext xmlns:c16="http://schemas.microsoft.com/office/drawing/2014/chart" uri="{C3380CC4-5D6E-409C-BE32-E72D297353CC}">
                <c16:uniqueId val="{0000008F-2993-41DE-A2CB-63102DE87051}"/>
              </c:ext>
            </c:extLst>
          </c:dPt>
          <c:dPt>
            <c:idx val="44"/>
            <c:invertIfNegative val="1"/>
            <c:bubble3D val="0"/>
            <c:spPr>
              <a:solidFill>
                <a:srgbClr val="AEABAB"/>
              </a:solidFill>
            </c:spPr>
            <c:extLst>
              <c:ext xmlns:c16="http://schemas.microsoft.com/office/drawing/2014/chart" uri="{C3380CC4-5D6E-409C-BE32-E72D297353CC}">
                <c16:uniqueId val="{00000091-2993-41DE-A2CB-63102DE87051}"/>
              </c:ext>
            </c:extLst>
          </c:dPt>
          <c:dPt>
            <c:idx val="45"/>
            <c:invertIfNegative val="1"/>
            <c:bubble3D val="0"/>
            <c:spPr>
              <a:solidFill>
                <a:srgbClr val="AEABAB"/>
              </a:solidFill>
            </c:spPr>
            <c:extLst>
              <c:ext xmlns:c16="http://schemas.microsoft.com/office/drawing/2014/chart" uri="{C3380CC4-5D6E-409C-BE32-E72D297353CC}">
                <c16:uniqueId val="{00000093-2993-41DE-A2CB-63102DE87051}"/>
              </c:ext>
            </c:extLst>
          </c:dPt>
          <c:dPt>
            <c:idx val="46"/>
            <c:invertIfNegative val="1"/>
            <c:bubble3D val="0"/>
            <c:spPr>
              <a:solidFill>
                <a:srgbClr val="AEABAB"/>
              </a:solidFill>
            </c:spPr>
            <c:extLst>
              <c:ext xmlns:c16="http://schemas.microsoft.com/office/drawing/2014/chart" uri="{C3380CC4-5D6E-409C-BE32-E72D297353CC}">
                <c16:uniqueId val="{00000095-2993-41DE-A2CB-63102DE87051}"/>
              </c:ext>
            </c:extLst>
          </c:dPt>
          <c:dPt>
            <c:idx val="47"/>
            <c:invertIfNegative val="1"/>
            <c:bubble3D val="0"/>
            <c:spPr>
              <a:solidFill>
                <a:srgbClr val="AEABAB"/>
              </a:solidFill>
            </c:spPr>
            <c:extLst>
              <c:ext xmlns:c16="http://schemas.microsoft.com/office/drawing/2014/chart" uri="{C3380CC4-5D6E-409C-BE32-E72D297353CC}">
                <c16:uniqueId val="{00000097-2993-41DE-A2CB-63102DE87051}"/>
              </c:ext>
            </c:extLst>
          </c:dPt>
          <c:dPt>
            <c:idx val="48"/>
            <c:invertIfNegative val="1"/>
            <c:bubble3D val="0"/>
            <c:spPr>
              <a:solidFill>
                <a:srgbClr val="AEABAB"/>
              </a:solidFill>
            </c:spPr>
            <c:extLst>
              <c:ext xmlns:c16="http://schemas.microsoft.com/office/drawing/2014/chart" uri="{C3380CC4-5D6E-409C-BE32-E72D297353CC}">
                <c16:uniqueId val="{00000099-2993-41DE-A2CB-63102DE87051}"/>
              </c:ext>
            </c:extLst>
          </c:dPt>
          <c:dPt>
            <c:idx val="49"/>
            <c:invertIfNegative val="1"/>
            <c:bubble3D val="0"/>
            <c:spPr>
              <a:solidFill>
                <a:srgbClr val="AEABAB"/>
              </a:solidFill>
            </c:spPr>
            <c:extLst>
              <c:ext xmlns:c16="http://schemas.microsoft.com/office/drawing/2014/chart" uri="{C3380CC4-5D6E-409C-BE32-E72D297353CC}">
                <c16:uniqueId val="{0000009B-2993-41DE-A2CB-63102DE87051}"/>
              </c:ext>
            </c:extLst>
          </c:dPt>
          <c:dPt>
            <c:idx val="50"/>
            <c:invertIfNegative val="1"/>
            <c:bubble3D val="0"/>
            <c:spPr>
              <a:solidFill>
                <a:srgbClr val="AEABAB"/>
              </a:solidFill>
            </c:spPr>
            <c:extLst>
              <c:ext xmlns:c16="http://schemas.microsoft.com/office/drawing/2014/chart" uri="{C3380CC4-5D6E-409C-BE32-E72D297353CC}">
                <c16:uniqueId val="{0000009D-2993-41DE-A2CB-63102DE87051}"/>
              </c:ext>
            </c:extLst>
          </c:dPt>
          <c:dPt>
            <c:idx val="51"/>
            <c:invertIfNegative val="1"/>
            <c:bubble3D val="0"/>
            <c:spPr>
              <a:solidFill>
                <a:srgbClr val="AEABAB"/>
              </a:solidFill>
            </c:spPr>
            <c:extLst>
              <c:ext xmlns:c16="http://schemas.microsoft.com/office/drawing/2014/chart" uri="{C3380CC4-5D6E-409C-BE32-E72D297353CC}">
                <c16:uniqueId val="{0000009F-2993-41DE-A2CB-63102DE87051}"/>
              </c:ext>
            </c:extLst>
          </c:dPt>
          <c:dPt>
            <c:idx val="52"/>
            <c:invertIfNegative val="1"/>
            <c:bubble3D val="0"/>
            <c:spPr>
              <a:solidFill>
                <a:srgbClr val="AEABAB"/>
              </a:solidFill>
            </c:spPr>
            <c:extLst>
              <c:ext xmlns:c16="http://schemas.microsoft.com/office/drawing/2014/chart" uri="{C3380CC4-5D6E-409C-BE32-E72D297353CC}">
                <c16:uniqueId val="{000000A1-2993-41DE-A2CB-63102DE87051}"/>
              </c:ext>
            </c:extLst>
          </c:dPt>
          <c:dPt>
            <c:idx val="53"/>
            <c:invertIfNegative val="1"/>
            <c:bubble3D val="0"/>
            <c:spPr>
              <a:solidFill>
                <a:srgbClr val="AEABAB"/>
              </a:solidFill>
            </c:spPr>
            <c:extLst>
              <c:ext xmlns:c16="http://schemas.microsoft.com/office/drawing/2014/chart" uri="{C3380CC4-5D6E-409C-BE32-E72D297353CC}">
                <c16:uniqueId val="{000000A3-2993-41DE-A2CB-63102DE87051}"/>
              </c:ext>
            </c:extLst>
          </c:dPt>
          <c:dPt>
            <c:idx val="54"/>
            <c:invertIfNegative val="0"/>
            <c:bubble3D val="0"/>
            <c:spPr>
              <a:solidFill>
                <a:srgbClr val="AEABAB"/>
              </a:solidFill>
            </c:spPr>
            <c:extLst>
              <c:ext xmlns:c16="http://schemas.microsoft.com/office/drawing/2014/chart" uri="{C3380CC4-5D6E-409C-BE32-E72D297353CC}">
                <c16:uniqueId val="{00000072-C76F-4230-900D-40618C09729F}"/>
              </c:ext>
            </c:extLst>
          </c:dPt>
          <c:dPt>
            <c:idx val="55"/>
            <c:invertIfNegative val="0"/>
            <c:bubble3D val="0"/>
            <c:spPr>
              <a:solidFill>
                <a:srgbClr val="AEABAB"/>
              </a:solidFill>
            </c:spPr>
            <c:extLst>
              <c:ext xmlns:c16="http://schemas.microsoft.com/office/drawing/2014/chart" uri="{C3380CC4-5D6E-409C-BE32-E72D297353CC}">
                <c16:uniqueId val="{00000074-C76F-4230-900D-40618C09729F}"/>
              </c:ext>
            </c:extLst>
          </c:dPt>
          <c:dPt>
            <c:idx val="56"/>
            <c:invertIfNegative val="0"/>
            <c:bubble3D val="0"/>
            <c:spPr>
              <a:solidFill>
                <a:srgbClr val="AEABAB"/>
              </a:solidFill>
            </c:spPr>
            <c:extLst>
              <c:ext xmlns:c16="http://schemas.microsoft.com/office/drawing/2014/chart" uri="{C3380CC4-5D6E-409C-BE32-E72D297353CC}">
                <c16:uniqueId val="{00000076-C76F-4230-900D-40618C09729F}"/>
              </c:ext>
            </c:extLst>
          </c:dPt>
          <c:dPt>
            <c:idx val="57"/>
            <c:invertIfNegative val="0"/>
            <c:bubble3D val="0"/>
            <c:spPr>
              <a:solidFill>
                <a:srgbClr val="AEABAB"/>
              </a:solidFill>
            </c:spPr>
            <c:extLst>
              <c:ext xmlns:c16="http://schemas.microsoft.com/office/drawing/2014/chart" uri="{C3380CC4-5D6E-409C-BE32-E72D297353CC}">
                <c16:uniqueId val="{00000078-C76F-4230-900D-40618C09729F}"/>
              </c:ext>
            </c:extLst>
          </c:dPt>
          <c:dPt>
            <c:idx val="58"/>
            <c:invertIfNegative val="0"/>
            <c:bubble3D val="0"/>
            <c:spPr>
              <a:solidFill>
                <a:srgbClr val="AEABAB"/>
              </a:solidFill>
            </c:spPr>
            <c:extLst>
              <c:ext xmlns:c16="http://schemas.microsoft.com/office/drawing/2014/chart" uri="{C3380CC4-5D6E-409C-BE32-E72D297353CC}">
                <c16:uniqueId val="{0000007A-C76F-4230-900D-40618C09729F}"/>
              </c:ext>
            </c:extLst>
          </c:dPt>
          <c:dPt>
            <c:idx val="59"/>
            <c:invertIfNegative val="0"/>
            <c:bubble3D val="0"/>
            <c:spPr>
              <a:solidFill>
                <a:srgbClr val="AEABAB"/>
              </a:solidFill>
            </c:spPr>
            <c:extLst>
              <c:ext xmlns:c16="http://schemas.microsoft.com/office/drawing/2014/chart" uri="{C3380CC4-5D6E-409C-BE32-E72D297353CC}">
                <c16:uniqueId val="{0000007C-C76F-4230-900D-40618C09729F}"/>
              </c:ext>
            </c:extLst>
          </c:dPt>
          <c:dPt>
            <c:idx val="60"/>
            <c:invertIfNegative val="0"/>
            <c:bubble3D val="0"/>
            <c:spPr>
              <a:solidFill>
                <a:srgbClr val="AEABAB"/>
              </a:solidFill>
            </c:spPr>
            <c:extLst>
              <c:ext xmlns:c16="http://schemas.microsoft.com/office/drawing/2014/chart" uri="{C3380CC4-5D6E-409C-BE32-E72D297353CC}">
                <c16:uniqueId val="{0000007E-C76F-4230-900D-40618C09729F}"/>
              </c:ext>
            </c:extLst>
          </c:dPt>
          <c:dPt>
            <c:idx val="61"/>
            <c:invertIfNegative val="0"/>
            <c:bubble3D val="0"/>
            <c:spPr>
              <a:solidFill>
                <a:srgbClr val="AEABAB"/>
              </a:solidFill>
            </c:spPr>
            <c:extLst>
              <c:ext xmlns:c16="http://schemas.microsoft.com/office/drawing/2014/chart" uri="{C3380CC4-5D6E-409C-BE32-E72D297353CC}">
                <c16:uniqueId val="{00000080-C76F-4230-900D-40618C09729F}"/>
              </c:ext>
            </c:extLst>
          </c:dPt>
          <c:dPt>
            <c:idx val="62"/>
            <c:invertIfNegative val="0"/>
            <c:bubble3D val="0"/>
            <c:spPr>
              <a:solidFill>
                <a:srgbClr val="AEABAB"/>
              </a:solidFill>
            </c:spPr>
            <c:extLst>
              <c:ext xmlns:c16="http://schemas.microsoft.com/office/drawing/2014/chart" uri="{C3380CC4-5D6E-409C-BE32-E72D297353CC}">
                <c16:uniqueId val="{00000082-C76F-4230-900D-40618C09729F}"/>
              </c:ext>
            </c:extLst>
          </c:dPt>
          <c:dPt>
            <c:idx val="63"/>
            <c:invertIfNegative val="0"/>
            <c:bubble3D val="0"/>
            <c:spPr>
              <a:solidFill>
                <a:srgbClr val="AEABAB"/>
              </a:solidFill>
            </c:spPr>
            <c:extLst>
              <c:ext xmlns:c16="http://schemas.microsoft.com/office/drawing/2014/chart" uri="{C3380CC4-5D6E-409C-BE32-E72D297353CC}">
                <c16:uniqueId val="{00000084-C76F-4230-900D-40618C09729F}"/>
              </c:ext>
            </c:extLst>
          </c:dPt>
          <c:dPt>
            <c:idx val="64"/>
            <c:invertIfNegative val="0"/>
            <c:bubble3D val="0"/>
            <c:spPr>
              <a:solidFill>
                <a:srgbClr val="AEABAB"/>
              </a:solidFill>
            </c:spPr>
            <c:extLst>
              <c:ext xmlns:c16="http://schemas.microsoft.com/office/drawing/2014/chart" uri="{C3380CC4-5D6E-409C-BE32-E72D297353CC}">
                <c16:uniqueId val="{00000086-C76F-4230-900D-40618C09729F}"/>
              </c:ext>
            </c:extLst>
          </c:dPt>
          <c:dPt>
            <c:idx val="65"/>
            <c:invertIfNegative val="0"/>
            <c:bubble3D val="0"/>
            <c:spPr>
              <a:solidFill>
                <a:srgbClr val="AEABAB"/>
              </a:solidFill>
            </c:spPr>
            <c:extLst>
              <c:ext xmlns:c16="http://schemas.microsoft.com/office/drawing/2014/chart" uri="{C3380CC4-5D6E-409C-BE32-E72D297353CC}">
                <c16:uniqueId val="{00000088-C76F-4230-900D-40618C09729F}"/>
              </c:ext>
            </c:extLst>
          </c:dPt>
          <c:dPt>
            <c:idx val="66"/>
            <c:invertIfNegative val="0"/>
            <c:bubble3D val="0"/>
            <c:spPr>
              <a:solidFill>
                <a:srgbClr val="AEABAB"/>
              </a:solidFill>
            </c:spPr>
            <c:extLst>
              <c:ext xmlns:c16="http://schemas.microsoft.com/office/drawing/2014/chart" uri="{C3380CC4-5D6E-409C-BE32-E72D297353CC}">
                <c16:uniqueId val="{0000008A-C76F-4230-900D-40618C09729F}"/>
              </c:ext>
            </c:extLst>
          </c:dPt>
          <c:dPt>
            <c:idx val="67"/>
            <c:invertIfNegative val="0"/>
            <c:bubble3D val="0"/>
            <c:spPr>
              <a:solidFill>
                <a:srgbClr val="AEABAB"/>
              </a:solidFill>
            </c:spPr>
            <c:extLst>
              <c:ext xmlns:c16="http://schemas.microsoft.com/office/drawing/2014/chart" uri="{C3380CC4-5D6E-409C-BE32-E72D297353CC}">
                <c16:uniqueId val="{0000008C-C76F-4230-900D-40618C09729F}"/>
              </c:ext>
            </c:extLst>
          </c:dPt>
          <c:dPt>
            <c:idx val="68"/>
            <c:invertIfNegative val="0"/>
            <c:bubble3D val="0"/>
            <c:spPr>
              <a:solidFill>
                <a:srgbClr val="AEABAB"/>
              </a:solidFill>
            </c:spPr>
            <c:extLst>
              <c:ext xmlns:c16="http://schemas.microsoft.com/office/drawing/2014/chart" uri="{C3380CC4-5D6E-409C-BE32-E72D297353CC}">
                <c16:uniqueId val="{0000008E-C76F-4230-900D-40618C09729F}"/>
              </c:ext>
            </c:extLst>
          </c:dPt>
          <c:dPt>
            <c:idx val="69"/>
            <c:invertIfNegative val="0"/>
            <c:bubble3D val="0"/>
            <c:spPr>
              <a:solidFill>
                <a:srgbClr val="AEABAB"/>
              </a:solidFill>
            </c:spPr>
            <c:extLst>
              <c:ext xmlns:c16="http://schemas.microsoft.com/office/drawing/2014/chart" uri="{C3380CC4-5D6E-409C-BE32-E72D297353CC}">
                <c16:uniqueId val="{00000090-C76F-4230-900D-40618C09729F}"/>
              </c:ext>
            </c:extLst>
          </c:dPt>
          <c:dPt>
            <c:idx val="70"/>
            <c:invertIfNegative val="0"/>
            <c:bubble3D val="0"/>
            <c:spPr>
              <a:solidFill>
                <a:srgbClr val="AEABAB"/>
              </a:solidFill>
            </c:spPr>
            <c:extLst>
              <c:ext xmlns:c16="http://schemas.microsoft.com/office/drawing/2014/chart" uri="{C3380CC4-5D6E-409C-BE32-E72D297353CC}">
                <c16:uniqueId val="{00000092-C76F-4230-900D-40618C09729F}"/>
              </c:ext>
            </c:extLst>
          </c:dPt>
          <c:dPt>
            <c:idx val="71"/>
            <c:invertIfNegative val="0"/>
            <c:bubble3D val="0"/>
            <c:spPr>
              <a:solidFill>
                <a:srgbClr val="AEABAB"/>
              </a:solidFill>
            </c:spPr>
            <c:extLst>
              <c:ext xmlns:c16="http://schemas.microsoft.com/office/drawing/2014/chart" uri="{C3380CC4-5D6E-409C-BE32-E72D297353CC}">
                <c16:uniqueId val="{00000094-C76F-4230-900D-40618C09729F}"/>
              </c:ext>
            </c:extLst>
          </c:dPt>
          <c:dPt>
            <c:idx val="72"/>
            <c:invertIfNegative val="0"/>
            <c:bubble3D val="0"/>
            <c:spPr>
              <a:solidFill>
                <a:srgbClr val="AEABAB"/>
              </a:solidFill>
            </c:spPr>
            <c:extLst>
              <c:ext xmlns:c16="http://schemas.microsoft.com/office/drawing/2014/chart" uri="{C3380CC4-5D6E-409C-BE32-E72D297353CC}">
                <c16:uniqueId val="{00000096-C76F-4230-900D-40618C09729F}"/>
              </c:ext>
            </c:extLst>
          </c:dPt>
          <c:dPt>
            <c:idx val="73"/>
            <c:invertIfNegative val="0"/>
            <c:bubble3D val="0"/>
            <c:spPr>
              <a:solidFill>
                <a:srgbClr val="AEABAB"/>
              </a:solidFill>
            </c:spPr>
            <c:extLst>
              <c:ext xmlns:c16="http://schemas.microsoft.com/office/drawing/2014/chart" uri="{C3380CC4-5D6E-409C-BE32-E72D297353CC}">
                <c16:uniqueId val="{00000098-C76F-4230-900D-40618C09729F}"/>
              </c:ext>
            </c:extLst>
          </c:dPt>
          <c:dPt>
            <c:idx val="74"/>
            <c:invertIfNegative val="0"/>
            <c:bubble3D val="0"/>
            <c:spPr>
              <a:solidFill>
                <a:srgbClr val="AEABAB"/>
              </a:solidFill>
            </c:spPr>
            <c:extLst>
              <c:ext xmlns:c16="http://schemas.microsoft.com/office/drawing/2014/chart" uri="{C3380CC4-5D6E-409C-BE32-E72D297353CC}">
                <c16:uniqueId val="{0000009A-C76F-4230-900D-40618C09729F}"/>
              </c:ext>
            </c:extLst>
          </c:dPt>
          <c:dPt>
            <c:idx val="75"/>
            <c:invertIfNegative val="0"/>
            <c:bubble3D val="0"/>
            <c:spPr>
              <a:solidFill>
                <a:srgbClr val="AEABAB"/>
              </a:solidFill>
            </c:spPr>
            <c:extLst>
              <c:ext xmlns:c16="http://schemas.microsoft.com/office/drawing/2014/chart" uri="{C3380CC4-5D6E-409C-BE32-E72D297353CC}">
                <c16:uniqueId val="{0000009C-C76F-4230-900D-40618C09729F}"/>
              </c:ext>
            </c:extLst>
          </c:dPt>
          <c:dPt>
            <c:idx val="76"/>
            <c:invertIfNegative val="0"/>
            <c:bubble3D val="0"/>
            <c:spPr>
              <a:solidFill>
                <a:srgbClr val="AEABAB"/>
              </a:solidFill>
            </c:spPr>
            <c:extLst>
              <c:ext xmlns:c16="http://schemas.microsoft.com/office/drawing/2014/chart" uri="{C3380CC4-5D6E-409C-BE32-E72D297353CC}">
                <c16:uniqueId val="{0000009E-C76F-4230-900D-40618C09729F}"/>
              </c:ext>
            </c:extLst>
          </c:dPt>
          <c:dPt>
            <c:idx val="77"/>
            <c:invertIfNegative val="0"/>
            <c:bubble3D val="0"/>
            <c:spPr>
              <a:solidFill>
                <a:srgbClr val="AEABAB"/>
              </a:solidFill>
            </c:spPr>
            <c:extLst>
              <c:ext xmlns:c16="http://schemas.microsoft.com/office/drawing/2014/chart" uri="{C3380CC4-5D6E-409C-BE32-E72D297353CC}">
                <c16:uniqueId val="{000000A0-C76F-4230-900D-40618C09729F}"/>
              </c:ext>
            </c:extLst>
          </c:dPt>
          <c:dPt>
            <c:idx val="78"/>
            <c:invertIfNegative val="0"/>
            <c:bubble3D val="0"/>
            <c:spPr>
              <a:solidFill>
                <a:srgbClr val="AEABAB"/>
              </a:solidFill>
            </c:spPr>
            <c:extLst>
              <c:ext xmlns:c16="http://schemas.microsoft.com/office/drawing/2014/chart" uri="{C3380CC4-5D6E-409C-BE32-E72D297353CC}">
                <c16:uniqueId val="{000000A2-C76F-4230-900D-40618C09729F}"/>
              </c:ext>
            </c:extLst>
          </c:dPt>
          <c:dPt>
            <c:idx val="79"/>
            <c:invertIfNegative val="0"/>
            <c:bubble3D val="0"/>
            <c:spPr>
              <a:solidFill>
                <a:srgbClr val="AEABAB"/>
              </a:solidFill>
            </c:spPr>
            <c:extLst>
              <c:ext xmlns:c16="http://schemas.microsoft.com/office/drawing/2014/chart" uri="{C3380CC4-5D6E-409C-BE32-E72D297353CC}">
                <c16:uniqueId val="{000000A4-C76F-4230-900D-40618C09729F}"/>
              </c:ext>
            </c:extLst>
          </c:dPt>
          <c:dPt>
            <c:idx val="80"/>
            <c:invertIfNegative val="0"/>
            <c:bubble3D val="0"/>
            <c:spPr>
              <a:solidFill>
                <a:srgbClr val="AEABAB"/>
              </a:solidFill>
            </c:spPr>
            <c:extLst>
              <c:ext xmlns:c16="http://schemas.microsoft.com/office/drawing/2014/chart" uri="{C3380CC4-5D6E-409C-BE32-E72D297353CC}">
                <c16:uniqueId val="{000000A6-C76F-4230-900D-40618C09729F}"/>
              </c:ext>
            </c:extLst>
          </c:dPt>
          <c:dPt>
            <c:idx val="81"/>
            <c:invertIfNegative val="1"/>
            <c:bubble3D val="0"/>
            <c:spPr>
              <a:solidFill>
                <a:srgbClr val="AEABAB"/>
              </a:solidFill>
            </c:spPr>
            <c:extLst>
              <c:ext xmlns:c16="http://schemas.microsoft.com/office/drawing/2014/chart" uri="{C3380CC4-5D6E-409C-BE32-E72D297353CC}">
                <c16:uniqueId val="{000000A5-2993-41DE-A2CB-63102DE87051}"/>
              </c:ext>
            </c:extLst>
          </c:dPt>
          <c:dPt>
            <c:idx val="82"/>
            <c:invertIfNegative val="1"/>
            <c:bubble3D val="0"/>
            <c:spPr>
              <a:solidFill>
                <a:srgbClr val="AEABAB"/>
              </a:solidFill>
            </c:spPr>
            <c:extLst>
              <c:ext xmlns:c16="http://schemas.microsoft.com/office/drawing/2014/chart" uri="{C3380CC4-5D6E-409C-BE32-E72D297353CC}">
                <c16:uniqueId val="{000000A7-2993-41DE-A2CB-63102DE87051}"/>
              </c:ext>
            </c:extLst>
          </c:dPt>
          <c:dPt>
            <c:idx val="83"/>
            <c:invertIfNegative val="1"/>
            <c:bubble3D val="0"/>
            <c:spPr>
              <a:solidFill>
                <a:srgbClr val="AEABAB"/>
              </a:solidFill>
            </c:spPr>
            <c:extLst>
              <c:ext xmlns:c16="http://schemas.microsoft.com/office/drawing/2014/chart" uri="{C3380CC4-5D6E-409C-BE32-E72D297353CC}">
                <c16:uniqueId val="{000000A9-2993-41DE-A2CB-63102DE87051}"/>
              </c:ext>
            </c:extLst>
          </c:dPt>
          <c:dPt>
            <c:idx val="84"/>
            <c:invertIfNegative val="1"/>
            <c:bubble3D val="0"/>
            <c:spPr>
              <a:solidFill>
                <a:srgbClr val="AEABAB"/>
              </a:solidFill>
            </c:spPr>
            <c:extLst>
              <c:ext xmlns:c16="http://schemas.microsoft.com/office/drawing/2014/chart" uri="{C3380CC4-5D6E-409C-BE32-E72D297353CC}">
                <c16:uniqueId val="{000000AB-2993-41DE-A2CB-63102DE87051}"/>
              </c:ext>
            </c:extLst>
          </c:dPt>
          <c:dPt>
            <c:idx val="85"/>
            <c:invertIfNegative val="1"/>
            <c:bubble3D val="0"/>
            <c:spPr>
              <a:solidFill>
                <a:srgbClr val="AEABAB"/>
              </a:solidFill>
            </c:spPr>
            <c:extLst>
              <c:ext xmlns:c16="http://schemas.microsoft.com/office/drawing/2014/chart" uri="{C3380CC4-5D6E-409C-BE32-E72D297353CC}">
                <c16:uniqueId val="{000000AD-2993-41DE-A2CB-63102DE87051}"/>
              </c:ext>
            </c:extLst>
          </c:dPt>
          <c:dPt>
            <c:idx val="86"/>
            <c:invertIfNegative val="1"/>
            <c:bubble3D val="0"/>
            <c:spPr>
              <a:solidFill>
                <a:srgbClr val="AEABAB"/>
              </a:solidFill>
            </c:spPr>
            <c:extLst>
              <c:ext xmlns:c16="http://schemas.microsoft.com/office/drawing/2014/chart" uri="{C3380CC4-5D6E-409C-BE32-E72D297353CC}">
                <c16:uniqueId val="{000000AF-2993-41DE-A2CB-63102DE87051}"/>
              </c:ext>
            </c:extLst>
          </c:dPt>
          <c:dPt>
            <c:idx val="87"/>
            <c:invertIfNegative val="1"/>
            <c:bubble3D val="0"/>
            <c:spPr>
              <a:solidFill>
                <a:srgbClr val="AEABAB"/>
              </a:solidFill>
            </c:spPr>
            <c:extLst>
              <c:ext xmlns:c16="http://schemas.microsoft.com/office/drawing/2014/chart" uri="{C3380CC4-5D6E-409C-BE32-E72D297353CC}">
                <c16:uniqueId val="{000000B1-2993-41DE-A2CB-63102DE87051}"/>
              </c:ext>
            </c:extLst>
          </c:dPt>
          <c:dPt>
            <c:idx val="88"/>
            <c:invertIfNegative val="1"/>
            <c:bubble3D val="0"/>
            <c:spPr>
              <a:solidFill>
                <a:srgbClr val="AEABAB"/>
              </a:solidFill>
            </c:spPr>
            <c:extLst>
              <c:ext xmlns:c16="http://schemas.microsoft.com/office/drawing/2014/chart" uri="{C3380CC4-5D6E-409C-BE32-E72D297353CC}">
                <c16:uniqueId val="{000000B3-2993-41DE-A2CB-63102DE87051}"/>
              </c:ext>
            </c:extLst>
          </c:dPt>
          <c:dPt>
            <c:idx val="89"/>
            <c:invertIfNegative val="1"/>
            <c:bubble3D val="0"/>
            <c:spPr>
              <a:solidFill>
                <a:srgbClr val="AEABAB"/>
              </a:solidFill>
            </c:spPr>
            <c:extLst>
              <c:ext xmlns:c16="http://schemas.microsoft.com/office/drawing/2014/chart" uri="{C3380CC4-5D6E-409C-BE32-E72D297353CC}">
                <c16:uniqueId val="{000000B5-2993-41DE-A2CB-63102DE87051}"/>
              </c:ext>
            </c:extLst>
          </c:dPt>
          <c:dPt>
            <c:idx val="90"/>
            <c:invertIfNegative val="1"/>
            <c:bubble3D val="0"/>
            <c:spPr>
              <a:solidFill>
                <a:srgbClr val="AEABAB"/>
              </a:solidFill>
            </c:spPr>
            <c:extLst>
              <c:ext xmlns:c16="http://schemas.microsoft.com/office/drawing/2014/chart" uri="{C3380CC4-5D6E-409C-BE32-E72D297353CC}">
                <c16:uniqueId val="{000000B7-2993-41DE-A2CB-63102DE87051}"/>
              </c:ext>
            </c:extLst>
          </c:dPt>
          <c:dPt>
            <c:idx val="91"/>
            <c:invertIfNegative val="1"/>
            <c:bubble3D val="0"/>
            <c:spPr>
              <a:solidFill>
                <a:srgbClr val="AEABAB"/>
              </a:solidFill>
            </c:spPr>
            <c:extLst>
              <c:ext xmlns:c16="http://schemas.microsoft.com/office/drawing/2014/chart" uri="{C3380CC4-5D6E-409C-BE32-E72D297353CC}">
                <c16:uniqueId val="{000000B9-2993-41DE-A2CB-63102DE87051}"/>
              </c:ext>
            </c:extLst>
          </c:dPt>
          <c:dPt>
            <c:idx val="92"/>
            <c:invertIfNegative val="1"/>
            <c:bubble3D val="0"/>
            <c:spPr>
              <a:solidFill>
                <a:srgbClr val="AEABAB"/>
              </a:solidFill>
            </c:spPr>
            <c:extLst>
              <c:ext xmlns:c16="http://schemas.microsoft.com/office/drawing/2014/chart" uri="{C3380CC4-5D6E-409C-BE32-E72D297353CC}">
                <c16:uniqueId val="{000000BB-2993-41DE-A2CB-63102DE87051}"/>
              </c:ext>
            </c:extLst>
          </c:dPt>
          <c:dPt>
            <c:idx val="93"/>
            <c:invertIfNegative val="1"/>
            <c:bubble3D val="0"/>
            <c:spPr>
              <a:solidFill>
                <a:srgbClr val="AEABAB"/>
              </a:solidFill>
            </c:spPr>
            <c:extLst>
              <c:ext xmlns:c16="http://schemas.microsoft.com/office/drawing/2014/chart" uri="{C3380CC4-5D6E-409C-BE32-E72D297353CC}">
                <c16:uniqueId val="{000000BD-2993-41DE-A2CB-63102DE87051}"/>
              </c:ext>
            </c:extLst>
          </c:dPt>
          <c:dPt>
            <c:idx val="94"/>
            <c:invertIfNegative val="1"/>
            <c:bubble3D val="0"/>
            <c:spPr>
              <a:solidFill>
                <a:srgbClr val="AEABAB"/>
              </a:solidFill>
            </c:spPr>
            <c:extLst>
              <c:ext xmlns:c16="http://schemas.microsoft.com/office/drawing/2014/chart" uri="{C3380CC4-5D6E-409C-BE32-E72D297353CC}">
                <c16:uniqueId val="{000000BF-2993-41DE-A2CB-63102DE87051}"/>
              </c:ext>
            </c:extLst>
          </c:dPt>
          <c:dPt>
            <c:idx val="95"/>
            <c:invertIfNegative val="1"/>
            <c:bubble3D val="0"/>
            <c:spPr>
              <a:solidFill>
                <a:srgbClr val="AEABAB"/>
              </a:solidFill>
            </c:spPr>
            <c:extLst>
              <c:ext xmlns:c16="http://schemas.microsoft.com/office/drawing/2014/chart" uri="{C3380CC4-5D6E-409C-BE32-E72D297353CC}">
                <c16:uniqueId val="{000000C1-2993-41DE-A2CB-63102DE87051}"/>
              </c:ext>
            </c:extLst>
          </c:dPt>
          <c:dPt>
            <c:idx val="96"/>
            <c:invertIfNegative val="1"/>
            <c:bubble3D val="0"/>
            <c:spPr>
              <a:solidFill>
                <a:srgbClr val="AEABAB"/>
              </a:solidFill>
            </c:spPr>
            <c:extLst>
              <c:ext xmlns:c16="http://schemas.microsoft.com/office/drawing/2014/chart" uri="{C3380CC4-5D6E-409C-BE32-E72D297353CC}">
                <c16:uniqueId val="{000000C3-2993-41DE-A2CB-63102DE87051}"/>
              </c:ext>
            </c:extLst>
          </c:dPt>
          <c:dPt>
            <c:idx val="97"/>
            <c:invertIfNegative val="1"/>
            <c:bubble3D val="0"/>
            <c:spPr>
              <a:solidFill>
                <a:srgbClr val="AEABAB"/>
              </a:solidFill>
            </c:spPr>
            <c:extLst>
              <c:ext xmlns:c16="http://schemas.microsoft.com/office/drawing/2014/chart" uri="{C3380CC4-5D6E-409C-BE32-E72D297353CC}">
                <c16:uniqueId val="{000000C5-2993-41DE-A2CB-63102DE87051}"/>
              </c:ext>
            </c:extLst>
          </c:dPt>
          <c:dPt>
            <c:idx val="98"/>
            <c:invertIfNegative val="1"/>
            <c:bubble3D val="0"/>
            <c:spPr>
              <a:solidFill>
                <a:srgbClr val="AEABAB"/>
              </a:solidFill>
            </c:spPr>
            <c:extLst>
              <c:ext xmlns:c16="http://schemas.microsoft.com/office/drawing/2014/chart" uri="{C3380CC4-5D6E-409C-BE32-E72D297353CC}">
                <c16:uniqueId val="{000000C7-2993-41DE-A2CB-63102DE87051}"/>
              </c:ext>
            </c:extLst>
          </c:dPt>
          <c:dPt>
            <c:idx val="99"/>
            <c:invertIfNegative val="1"/>
            <c:bubble3D val="0"/>
            <c:spPr>
              <a:solidFill>
                <a:srgbClr val="AEABAB"/>
              </a:solidFill>
            </c:spPr>
            <c:extLst>
              <c:ext xmlns:c16="http://schemas.microsoft.com/office/drawing/2014/chart" uri="{C3380CC4-5D6E-409C-BE32-E72D297353CC}">
                <c16:uniqueId val="{000000C9-2993-41DE-A2CB-63102DE87051}"/>
              </c:ext>
            </c:extLst>
          </c:dPt>
          <c:dPt>
            <c:idx val="100"/>
            <c:invertIfNegative val="1"/>
            <c:bubble3D val="0"/>
            <c:spPr>
              <a:solidFill>
                <a:srgbClr val="AEABAB"/>
              </a:solidFill>
            </c:spPr>
            <c:extLst>
              <c:ext xmlns:c16="http://schemas.microsoft.com/office/drawing/2014/chart" uri="{C3380CC4-5D6E-409C-BE32-E72D297353CC}">
                <c16:uniqueId val="{000000CB-2993-41DE-A2CB-63102DE87051}"/>
              </c:ext>
            </c:extLst>
          </c:dPt>
          <c:dPt>
            <c:idx val="101"/>
            <c:invertIfNegative val="1"/>
            <c:bubble3D val="0"/>
            <c:spPr>
              <a:solidFill>
                <a:srgbClr val="AEABAB"/>
              </a:solidFill>
            </c:spPr>
            <c:extLst>
              <c:ext xmlns:c16="http://schemas.microsoft.com/office/drawing/2014/chart" uri="{C3380CC4-5D6E-409C-BE32-E72D297353CC}">
                <c16:uniqueId val="{000000CD-2993-41DE-A2CB-63102DE87051}"/>
              </c:ext>
            </c:extLst>
          </c:dPt>
          <c:dPt>
            <c:idx val="102"/>
            <c:invertIfNegative val="1"/>
            <c:bubble3D val="0"/>
            <c:spPr>
              <a:solidFill>
                <a:srgbClr val="AEABAB"/>
              </a:solidFill>
            </c:spPr>
            <c:extLst>
              <c:ext xmlns:c16="http://schemas.microsoft.com/office/drawing/2014/chart" uri="{C3380CC4-5D6E-409C-BE32-E72D297353CC}">
                <c16:uniqueId val="{000000CF-2993-41DE-A2CB-63102DE87051}"/>
              </c:ext>
            </c:extLst>
          </c:dPt>
          <c:dPt>
            <c:idx val="103"/>
            <c:invertIfNegative val="1"/>
            <c:bubble3D val="0"/>
            <c:spPr>
              <a:solidFill>
                <a:srgbClr val="AEABAB"/>
              </a:solidFill>
            </c:spPr>
            <c:extLst>
              <c:ext xmlns:c16="http://schemas.microsoft.com/office/drawing/2014/chart" uri="{C3380CC4-5D6E-409C-BE32-E72D297353CC}">
                <c16:uniqueId val="{000000D1-2993-41DE-A2CB-63102DE87051}"/>
              </c:ext>
            </c:extLst>
          </c:dPt>
          <c:dPt>
            <c:idx val="104"/>
            <c:invertIfNegative val="1"/>
            <c:bubble3D val="0"/>
            <c:spPr>
              <a:solidFill>
                <a:srgbClr val="AEABAB"/>
              </a:solidFill>
            </c:spPr>
            <c:extLst>
              <c:ext xmlns:c16="http://schemas.microsoft.com/office/drawing/2014/chart" uri="{C3380CC4-5D6E-409C-BE32-E72D297353CC}">
                <c16:uniqueId val="{000000D3-2993-41DE-A2CB-63102DE87051}"/>
              </c:ext>
            </c:extLst>
          </c:dPt>
          <c:dPt>
            <c:idx val="105"/>
            <c:invertIfNegative val="1"/>
            <c:bubble3D val="0"/>
            <c:spPr>
              <a:solidFill>
                <a:srgbClr val="AEABAB"/>
              </a:solidFill>
            </c:spPr>
            <c:extLst>
              <c:ext xmlns:c16="http://schemas.microsoft.com/office/drawing/2014/chart" uri="{C3380CC4-5D6E-409C-BE32-E72D297353CC}">
                <c16:uniqueId val="{000000D5-2993-41DE-A2CB-63102DE87051}"/>
              </c:ext>
            </c:extLst>
          </c:dPt>
          <c:dPt>
            <c:idx val="106"/>
            <c:invertIfNegative val="1"/>
            <c:bubble3D val="0"/>
            <c:spPr>
              <a:solidFill>
                <a:srgbClr val="AEABAB"/>
              </a:solidFill>
            </c:spPr>
            <c:extLst>
              <c:ext xmlns:c16="http://schemas.microsoft.com/office/drawing/2014/chart" uri="{C3380CC4-5D6E-409C-BE32-E72D297353CC}">
                <c16:uniqueId val="{000000D7-2993-41DE-A2CB-63102DE87051}"/>
              </c:ext>
            </c:extLst>
          </c:dPt>
          <c:dPt>
            <c:idx val="107"/>
            <c:invertIfNegative val="1"/>
            <c:bubble3D val="0"/>
            <c:spPr>
              <a:solidFill>
                <a:srgbClr val="AEABAB"/>
              </a:solidFill>
            </c:spPr>
            <c:extLst>
              <c:ext xmlns:c16="http://schemas.microsoft.com/office/drawing/2014/chart" uri="{C3380CC4-5D6E-409C-BE32-E72D297353CC}">
                <c16:uniqueId val="{000000D9-2993-41DE-A2CB-63102DE87051}"/>
              </c:ext>
            </c:extLst>
          </c:dPt>
          <c:dPt>
            <c:idx val="108"/>
            <c:invertIfNegative val="1"/>
            <c:bubble3D val="0"/>
            <c:spPr>
              <a:solidFill>
                <a:srgbClr val="AEABAB"/>
              </a:solidFill>
            </c:spPr>
            <c:extLst>
              <c:ext xmlns:c16="http://schemas.microsoft.com/office/drawing/2014/chart" uri="{C3380CC4-5D6E-409C-BE32-E72D297353CC}">
                <c16:uniqueId val="{000000DB-2993-41DE-A2CB-63102DE87051}"/>
              </c:ext>
            </c:extLst>
          </c:dPt>
          <c:dPt>
            <c:idx val="109"/>
            <c:invertIfNegative val="1"/>
            <c:bubble3D val="0"/>
            <c:spPr>
              <a:solidFill>
                <a:srgbClr val="AEABAB"/>
              </a:solidFill>
            </c:spPr>
            <c:extLst>
              <c:ext xmlns:c16="http://schemas.microsoft.com/office/drawing/2014/chart" uri="{C3380CC4-5D6E-409C-BE32-E72D297353CC}">
                <c16:uniqueId val="{000000DD-2993-41DE-A2CB-63102DE87051}"/>
              </c:ext>
            </c:extLst>
          </c:dPt>
          <c:dPt>
            <c:idx val="110"/>
            <c:invertIfNegative val="1"/>
            <c:bubble3D val="0"/>
            <c:spPr>
              <a:solidFill>
                <a:srgbClr val="AEABAB"/>
              </a:solidFill>
            </c:spPr>
            <c:extLst>
              <c:ext xmlns:c16="http://schemas.microsoft.com/office/drawing/2014/chart" uri="{C3380CC4-5D6E-409C-BE32-E72D297353CC}">
                <c16:uniqueId val="{000000DF-2993-41DE-A2CB-63102DE87051}"/>
              </c:ext>
            </c:extLst>
          </c:dPt>
          <c:dPt>
            <c:idx val="111"/>
            <c:invertIfNegative val="1"/>
            <c:bubble3D val="0"/>
            <c:spPr>
              <a:solidFill>
                <a:srgbClr val="AEABAB"/>
              </a:solidFill>
            </c:spPr>
            <c:extLst>
              <c:ext xmlns:c16="http://schemas.microsoft.com/office/drawing/2014/chart" uri="{C3380CC4-5D6E-409C-BE32-E72D297353CC}">
                <c16:uniqueId val="{000000E1-2993-41DE-A2CB-63102DE87051}"/>
              </c:ext>
            </c:extLst>
          </c:dPt>
          <c:dPt>
            <c:idx val="112"/>
            <c:invertIfNegative val="1"/>
            <c:bubble3D val="0"/>
            <c:spPr>
              <a:solidFill>
                <a:srgbClr val="AEABAB"/>
              </a:solidFill>
            </c:spPr>
            <c:extLst>
              <c:ext xmlns:c16="http://schemas.microsoft.com/office/drawing/2014/chart" uri="{C3380CC4-5D6E-409C-BE32-E72D297353CC}">
                <c16:uniqueId val="{000000E3-2993-41DE-A2CB-63102DE87051}"/>
              </c:ext>
            </c:extLst>
          </c:dPt>
          <c:dPt>
            <c:idx val="113"/>
            <c:invertIfNegative val="1"/>
            <c:bubble3D val="0"/>
            <c:spPr>
              <a:solidFill>
                <a:srgbClr val="AEABAB"/>
              </a:solidFill>
            </c:spPr>
            <c:extLst>
              <c:ext xmlns:c16="http://schemas.microsoft.com/office/drawing/2014/chart" uri="{C3380CC4-5D6E-409C-BE32-E72D297353CC}">
                <c16:uniqueId val="{000000E5-2993-41DE-A2CB-63102DE87051}"/>
              </c:ext>
            </c:extLst>
          </c:dPt>
          <c:dPt>
            <c:idx val="114"/>
            <c:invertIfNegative val="1"/>
            <c:bubble3D val="0"/>
            <c:spPr>
              <a:solidFill>
                <a:srgbClr val="AEABAB"/>
              </a:solidFill>
            </c:spPr>
            <c:extLst>
              <c:ext xmlns:c16="http://schemas.microsoft.com/office/drawing/2014/chart" uri="{C3380CC4-5D6E-409C-BE32-E72D297353CC}">
                <c16:uniqueId val="{000000E7-2993-41DE-A2CB-63102DE87051}"/>
              </c:ext>
            </c:extLst>
          </c:dPt>
          <c:dPt>
            <c:idx val="115"/>
            <c:invertIfNegative val="1"/>
            <c:bubble3D val="0"/>
            <c:spPr>
              <a:solidFill>
                <a:srgbClr val="AEABAB"/>
              </a:solidFill>
            </c:spPr>
            <c:extLst>
              <c:ext xmlns:c16="http://schemas.microsoft.com/office/drawing/2014/chart" uri="{C3380CC4-5D6E-409C-BE32-E72D297353CC}">
                <c16:uniqueId val="{000000E9-2993-41DE-A2CB-63102DE87051}"/>
              </c:ext>
            </c:extLst>
          </c:dPt>
          <c:dPt>
            <c:idx val="116"/>
            <c:invertIfNegative val="1"/>
            <c:bubble3D val="0"/>
            <c:spPr>
              <a:solidFill>
                <a:srgbClr val="AEABAB"/>
              </a:solidFill>
            </c:spPr>
            <c:extLst>
              <c:ext xmlns:c16="http://schemas.microsoft.com/office/drawing/2014/chart" uri="{C3380CC4-5D6E-409C-BE32-E72D297353CC}">
                <c16:uniqueId val="{000000EB-2993-41DE-A2CB-63102DE87051}"/>
              </c:ext>
            </c:extLst>
          </c:dPt>
          <c:dPt>
            <c:idx val="117"/>
            <c:invertIfNegative val="1"/>
            <c:bubble3D val="0"/>
            <c:spPr>
              <a:solidFill>
                <a:srgbClr val="AEABAB"/>
              </a:solidFill>
            </c:spPr>
            <c:extLst>
              <c:ext xmlns:c16="http://schemas.microsoft.com/office/drawing/2014/chart" uri="{C3380CC4-5D6E-409C-BE32-E72D297353CC}">
                <c16:uniqueId val="{000000ED-2993-41DE-A2CB-63102DE87051}"/>
              </c:ext>
            </c:extLst>
          </c:dPt>
          <c:dPt>
            <c:idx val="118"/>
            <c:invertIfNegative val="1"/>
            <c:bubble3D val="0"/>
            <c:spPr>
              <a:solidFill>
                <a:srgbClr val="AEABAB"/>
              </a:solidFill>
            </c:spPr>
            <c:extLst>
              <c:ext xmlns:c16="http://schemas.microsoft.com/office/drawing/2014/chart" uri="{C3380CC4-5D6E-409C-BE32-E72D297353CC}">
                <c16:uniqueId val="{000000EF-2993-41DE-A2CB-63102DE87051}"/>
              </c:ext>
            </c:extLst>
          </c:dPt>
          <c:dPt>
            <c:idx val="119"/>
            <c:invertIfNegative val="1"/>
            <c:bubble3D val="0"/>
            <c:spPr>
              <a:solidFill>
                <a:srgbClr val="AEABAB"/>
              </a:solidFill>
            </c:spPr>
            <c:extLst>
              <c:ext xmlns:c16="http://schemas.microsoft.com/office/drawing/2014/chart" uri="{C3380CC4-5D6E-409C-BE32-E72D297353CC}">
                <c16:uniqueId val="{000000F1-2993-41DE-A2CB-63102DE87051}"/>
              </c:ext>
            </c:extLst>
          </c:dPt>
          <c:dPt>
            <c:idx val="120"/>
            <c:invertIfNegative val="1"/>
            <c:bubble3D val="0"/>
            <c:spPr>
              <a:solidFill>
                <a:srgbClr val="AEABAB"/>
              </a:solidFill>
            </c:spPr>
            <c:extLst>
              <c:ext xmlns:c16="http://schemas.microsoft.com/office/drawing/2014/chart" uri="{C3380CC4-5D6E-409C-BE32-E72D297353CC}">
                <c16:uniqueId val="{000000F3-2993-41DE-A2CB-63102DE87051}"/>
              </c:ext>
            </c:extLst>
          </c:dPt>
          <c:dPt>
            <c:idx val="121"/>
            <c:invertIfNegative val="1"/>
            <c:bubble3D val="0"/>
            <c:spPr>
              <a:solidFill>
                <a:srgbClr val="AEABAB"/>
              </a:solidFill>
            </c:spPr>
            <c:extLst>
              <c:ext xmlns:c16="http://schemas.microsoft.com/office/drawing/2014/chart" uri="{C3380CC4-5D6E-409C-BE32-E72D297353CC}">
                <c16:uniqueId val="{000000F5-2993-41DE-A2CB-63102DE87051}"/>
              </c:ext>
            </c:extLst>
          </c:dPt>
          <c:dPt>
            <c:idx val="122"/>
            <c:invertIfNegative val="1"/>
            <c:bubble3D val="0"/>
            <c:spPr>
              <a:solidFill>
                <a:srgbClr val="AEABAB"/>
              </a:solidFill>
            </c:spPr>
            <c:extLst>
              <c:ext xmlns:c16="http://schemas.microsoft.com/office/drawing/2014/chart" uri="{C3380CC4-5D6E-409C-BE32-E72D297353CC}">
                <c16:uniqueId val="{000000F7-2993-41DE-A2CB-63102DE87051}"/>
              </c:ext>
            </c:extLst>
          </c:dPt>
          <c:dPt>
            <c:idx val="123"/>
            <c:invertIfNegative val="1"/>
            <c:bubble3D val="0"/>
            <c:spPr>
              <a:solidFill>
                <a:srgbClr val="AEABAB"/>
              </a:solidFill>
            </c:spPr>
            <c:extLst>
              <c:ext xmlns:c16="http://schemas.microsoft.com/office/drawing/2014/chart" uri="{C3380CC4-5D6E-409C-BE32-E72D297353CC}">
                <c16:uniqueId val="{000000F9-2993-41DE-A2CB-63102DE87051}"/>
              </c:ext>
            </c:extLst>
          </c:dPt>
          <c:dPt>
            <c:idx val="124"/>
            <c:invertIfNegative val="1"/>
            <c:bubble3D val="0"/>
            <c:spPr>
              <a:solidFill>
                <a:srgbClr val="AEABAB"/>
              </a:solidFill>
            </c:spPr>
            <c:extLst>
              <c:ext xmlns:c16="http://schemas.microsoft.com/office/drawing/2014/chart" uri="{C3380CC4-5D6E-409C-BE32-E72D297353CC}">
                <c16:uniqueId val="{000000FB-2993-41DE-A2CB-63102DE87051}"/>
              </c:ext>
            </c:extLst>
          </c:dPt>
          <c:dPt>
            <c:idx val="125"/>
            <c:invertIfNegative val="1"/>
            <c:bubble3D val="0"/>
            <c:spPr>
              <a:solidFill>
                <a:srgbClr val="AEABAB"/>
              </a:solidFill>
            </c:spPr>
            <c:extLst>
              <c:ext xmlns:c16="http://schemas.microsoft.com/office/drawing/2014/chart" uri="{C3380CC4-5D6E-409C-BE32-E72D297353CC}">
                <c16:uniqueId val="{000000FD-2993-41DE-A2CB-63102DE87051}"/>
              </c:ext>
            </c:extLst>
          </c:dPt>
          <c:dPt>
            <c:idx val="126"/>
            <c:invertIfNegative val="1"/>
            <c:bubble3D val="0"/>
            <c:spPr>
              <a:solidFill>
                <a:srgbClr val="AEABAB"/>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128</c:f>
              <c:strCache>
                <c:ptCount val="127"/>
                <c:pt idx="0">
                  <c:v>Ruinart</c:v>
                </c:pt>
                <c:pt idx="1">
                  <c:v>Nicolas</c:v>
                </c:pt>
                <c:pt idx="2">
                  <c:v>Deutz</c:v>
                </c:pt>
                <c:pt idx="3">
                  <c:v>Heidsieck &amp;</c:v>
                </c:pt>
                <c:pt idx="4">
                  <c:v>Ayala</c:v>
                </c:pt>
                <c:pt idx="5">
                  <c:v>Laurent Per</c:v>
                </c:pt>
                <c:pt idx="6">
                  <c:v>De Bligny</c:v>
                </c:pt>
                <c:pt idx="7">
                  <c:v>Canard Duch</c:v>
                </c:pt>
                <c:pt idx="8">
                  <c:v>Ruinart</c:v>
                </c:pt>
                <c:pt idx="9">
                  <c:v>Taittinger</c:v>
                </c:pt>
                <c:pt idx="10">
                  <c:v>Bollinger</c:v>
                </c:pt>
                <c:pt idx="11">
                  <c:v>Besserat De</c:v>
                </c:pt>
                <c:pt idx="12">
                  <c:v>Demoiselle</c:v>
                </c:pt>
                <c:pt idx="13">
                  <c:v>Ruinart</c:v>
                </c:pt>
                <c:pt idx="14">
                  <c:v>Deutz</c:v>
                </c:pt>
                <c:pt idx="15">
                  <c:v>Perrier Jou</c:v>
                </c:pt>
                <c:pt idx="16">
                  <c:v>All Others</c:v>
                </c:pt>
                <c:pt idx="17">
                  <c:v>Campari: Al</c:v>
                </c:pt>
                <c:pt idx="18">
                  <c:v>Laurent Per</c:v>
                </c:pt>
                <c:pt idx="19">
                  <c:v>Savian</c:v>
                </c:pt>
                <c:pt idx="20">
                  <c:v>Pommery</c:v>
                </c:pt>
                <c:pt idx="21">
                  <c:v>Roederer</c:v>
                </c:pt>
                <c:pt idx="22">
                  <c:v>Veuve Clicq</c:v>
                </c:pt>
                <c:pt idx="23">
                  <c:v>Moët &amp; Chan</c:v>
                </c:pt>
                <c:pt idx="24">
                  <c:v>Taittinger</c:v>
                </c:pt>
                <c:pt idx="25">
                  <c:v>All Others</c:v>
                </c:pt>
                <c:pt idx="26">
                  <c:v>Veuve Clicq</c:v>
                </c:pt>
                <c:pt idx="27">
                  <c:v>Henriot</c:v>
                </c:pt>
                <c:pt idx="28">
                  <c:v>Roederer</c:v>
                </c:pt>
                <c:pt idx="29">
                  <c:v>All Others</c:v>
                </c:pt>
                <c:pt idx="30">
                  <c:v>Veuve Clicq</c:v>
                </c:pt>
                <c:pt idx="31">
                  <c:v>De Venoge</c:v>
                </c:pt>
                <c:pt idx="32">
                  <c:v>Nicolas</c:v>
                </c:pt>
                <c:pt idx="33">
                  <c:v>Piper Heids</c:v>
                </c:pt>
                <c:pt idx="34">
                  <c:v>Ruinart</c:v>
                </c:pt>
                <c:pt idx="35">
                  <c:v>Deutz</c:v>
                </c:pt>
                <c:pt idx="36">
                  <c:v>Lanson</c:v>
                </c:pt>
                <c:pt idx="37">
                  <c:v>Campari: Al</c:v>
                </c:pt>
                <c:pt idx="38">
                  <c:v>Nicolas Feu</c:v>
                </c:pt>
                <c:pt idx="39">
                  <c:v>Canard Duch</c:v>
                </c:pt>
                <c:pt idx="40">
                  <c:v>Henriot</c:v>
                </c:pt>
                <c:pt idx="41">
                  <c:v>Bollinger</c:v>
                </c:pt>
                <c:pt idx="42">
                  <c:v>Krug</c:v>
                </c:pt>
                <c:pt idx="43">
                  <c:v>Roederer</c:v>
                </c:pt>
                <c:pt idx="44">
                  <c:v>Canard Duch</c:v>
                </c:pt>
                <c:pt idx="45">
                  <c:v>Vranken</c:v>
                </c:pt>
                <c:pt idx="46">
                  <c:v>Nicolas</c:v>
                </c:pt>
                <c:pt idx="47">
                  <c:v>Nicolas</c:v>
                </c:pt>
                <c:pt idx="48">
                  <c:v>De Venoge</c:v>
                </c:pt>
                <c:pt idx="49">
                  <c:v>Roederer</c:v>
                </c:pt>
                <c:pt idx="50">
                  <c:v>Canard Duch</c:v>
                </c:pt>
                <c:pt idx="51">
                  <c:v>De Venoge</c:v>
                </c:pt>
                <c:pt idx="52">
                  <c:v>Moët &amp; Chan</c:v>
                </c:pt>
                <c:pt idx="53">
                  <c:v>Canard Duch</c:v>
                </c:pt>
                <c:pt idx="54">
                  <c:v>All Others</c:v>
                </c:pt>
                <c:pt idx="55">
                  <c:v>Nicolas</c:v>
                </c:pt>
                <c:pt idx="56">
                  <c:v>Roederer</c:v>
                </c:pt>
                <c:pt idx="57">
                  <c:v>All Others</c:v>
                </c:pt>
                <c:pt idx="58">
                  <c:v>Veuve Clicq</c:v>
                </c:pt>
                <c:pt idx="59">
                  <c:v>All Others</c:v>
                </c:pt>
                <c:pt idx="60">
                  <c:v>Nicolas Feu</c:v>
                </c:pt>
                <c:pt idx="61">
                  <c:v>Demoiselle</c:v>
                </c:pt>
                <c:pt idx="62">
                  <c:v>All Others</c:v>
                </c:pt>
                <c:pt idx="63">
                  <c:v>Roederer</c:v>
                </c:pt>
                <c:pt idx="64">
                  <c:v>Laurent Per</c:v>
                </c:pt>
                <c:pt idx="65">
                  <c:v>Nicolas</c:v>
                </c:pt>
                <c:pt idx="66">
                  <c:v>Laurent Per</c:v>
                </c:pt>
                <c:pt idx="67">
                  <c:v>All Others</c:v>
                </c:pt>
                <c:pt idx="68">
                  <c:v>Roederer</c:v>
                </c:pt>
                <c:pt idx="69">
                  <c:v>Moët &amp; Chan</c:v>
                </c:pt>
                <c:pt idx="70">
                  <c:v>Ruinart</c:v>
                </c:pt>
                <c:pt idx="71">
                  <c:v>Pommery</c:v>
                </c:pt>
                <c:pt idx="72">
                  <c:v>Ruinart</c:v>
                </c:pt>
                <c:pt idx="73">
                  <c:v>Ruinart</c:v>
                </c:pt>
                <c:pt idx="74">
                  <c:v>Lanson-Bcc:</c:v>
                </c:pt>
                <c:pt idx="75">
                  <c:v>Laurent Per</c:v>
                </c:pt>
                <c:pt idx="76">
                  <c:v>Vranken</c:v>
                </c:pt>
                <c:pt idx="77">
                  <c:v>Canard Duch</c:v>
                </c:pt>
                <c:pt idx="78">
                  <c:v>Roederer</c:v>
                </c:pt>
                <c:pt idx="79">
                  <c:v>Deutz</c:v>
                </c:pt>
                <c:pt idx="80">
                  <c:v>All Others</c:v>
                </c:pt>
                <c:pt idx="81">
                  <c:v>Pommery</c:v>
                </c:pt>
                <c:pt idx="82">
                  <c:v>Malard</c:v>
                </c:pt>
                <c:pt idx="83">
                  <c:v>Pommery</c:v>
                </c:pt>
                <c:pt idx="84">
                  <c:v>Deutz</c:v>
                </c:pt>
                <c:pt idx="85">
                  <c:v>Nicolas</c:v>
                </c:pt>
                <c:pt idx="86">
                  <c:v>Bollinger</c:v>
                </c:pt>
                <c:pt idx="87">
                  <c:v>Ruinart</c:v>
                </c:pt>
                <c:pt idx="88">
                  <c:v>Henriot</c:v>
                </c:pt>
                <c:pt idx="89">
                  <c:v>Roederer</c:v>
                </c:pt>
                <c:pt idx="90">
                  <c:v>All Others</c:v>
                </c:pt>
                <c:pt idx="91">
                  <c:v>De Venoge</c:v>
                </c:pt>
                <c:pt idx="92">
                  <c:v>Moët &amp; Chan</c:v>
                </c:pt>
                <c:pt idx="93">
                  <c:v>All Others</c:v>
                </c:pt>
                <c:pt idx="94">
                  <c:v>Piper Heids</c:v>
                </c:pt>
                <c:pt idx="95">
                  <c:v>Moët &amp; Chan</c:v>
                </c:pt>
                <c:pt idx="96">
                  <c:v>All Others</c:v>
                </c:pt>
                <c:pt idx="97">
                  <c:v>Lanson</c:v>
                </c:pt>
                <c:pt idx="98">
                  <c:v>Nicolas Feu</c:v>
                </c:pt>
                <c:pt idx="99">
                  <c:v>All Others</c:v>
                </c:pt>
                <c:pt idx="100">
                  <c:v>Taittinger</c:v>
                </c:pt>
                <c:pt idx="101">
                  <c:v>Bollinger</c:v>
                </c:pt>
                <c:pt idx="102">
                  <c:v>Laurent Per</c:v>
                </c:pt>
                <c:pt idx="103">
                  <c:v>All Others</c:v>
                </c:pt>
                <c:pt idx="104">
                  <c:v>Ruinart</c:v>
                </c:pt>
                <c:pt idx="105">
                  <c:v>Moët &amp; Chan</c:v>
                </c:pt>
                <c:pt idx="106">
                  <c:v>Bollinger</c:v>
                </c:pt>
                <c:pt idx="107">
                  <c:v>Besserat De</c:v>
                </c:pt>
                <c:pt idx="108">
                  <c:v>Martel</c:v>
                </c:pt>
                <c:pt idx="109">
                  <c:v>Roederer</c:v>
                </c:pt>
                <c:pt idx="110">
                  <c:v>Lanson</c:v>
                </c:pt>
                <c:pt idx="111">
                  <c:v>Demoiselle</c:v>
                </c:pt>
                <c:pt idx="112">
                  <c:v>Besserat De</c:v>
                </c:pt>
                <c:pt idx="113">
                  <c:v>All Others</c:v>
                </c:pt>
                <c:pt idx="114">
                  <c:v>Lanson</c:v>
                </c:pt>
                <c:pt idx="115">
                  <c:v>Besserat De</c:v>
                </c:pt>
                <c:pt idx="116">
                  <c:v>Canard Duch</c:v>
                </c:pt>
                <c:pt idx="117">
                  <c:v>All Others</c:v>
                </c:pt>
                <c:pt idx="118">
                  <c:v>Roederer</c:v>
                </c:pt>
                <c:pt idx="119">
                  <c:v>All Others</c:v>
                </c:pt>
                <c:pt idx="120">
                  <c:v>Pommery</c:v>
                </c:pt>
                <c:pt idx="121">
                  <c:v>Laurent Per</c:v>
                </c:pt>
                <c:pt idx="122">
                  <c:v>Nicolas Feu</c:v>
                </c:pt>
                <c:pt idx="123">
                  <c:v>Demoiselle</c:v>
                </c:pt>
                <c:pt idx="124">
                  <c:v>Roederer</c:v>
                </c:pt>
                <c:pt idx="125">
                  <c:v>Nicolas</c:v>
                </c:pt>
                <c:pt idx="126">
                  <c:v>Nicolas</c:v>
                </c:pt>
              </c:strCache>
            </c:strRef>
          </c:cat>
          <c:val>
            <c:numRef>
              <c:f>Sheet1!$C$2:$C$128</c:f>
              <c:numCache>
                <c:formatCode>General</c:formatCode>
                <c:ptCount val="127"/>
                <c:pt idx="0">
                  <c:v>0.1576273053151345</c:v>
                </c:pt>
                <c:pt idx="1">
                  <c:v>0.25837761825911665</c:v>
                </c:pt>
                <c:pt idx="2">
                  <c:v>0.33326665816531775</c:v>
                </c:pt>
                <c:pt idx="3">
                  <c:v>0.38294029434807642</c:v>
                </c:pt>
                <c:pt idx="4">
                  <c:v>0.42865168712025498</c:v>
                </c:pt>
                <c:pt idx="5">
                  <c:v>0.47146901719424322</c:v>
                </c:pt>
                <c:pt idx="6">
                  <c:v>0.51411282222841981</c:v>
                </c:pt>
                <c:pt idx="7">
                  <c:v>0.54635561905773466</c:v>
                </c:pt>
                <c:pt idx="8">
                  <c:v>0.57492280149763664</c:v>
                </c:pt>
                <c:pt idx="9">
                  <c:v>0.60314431188205553</c:v>
                </c:pt>
                <c:pt idx="10">
                  <c:v>0.62966989855728295</c:v>
                </c:pt>
                <c:pt idx="11">
                  <c:v>0.65401799508723801</c:v>
                </c:pt>
                <c:pt idx="12">
                  <c:v>0.67548951922539791</c:v>
                </c:pt>
                <c:pt idx="13">
                  <c:v>0.69333100977262929</c:v>
                </c:pt>
                <c:pt idx="14">
                  <c:v>0.71104031600425588</c:v>
                </c:pt>
                <c:pt idx="15">
                  <c:v>0.72734700566484534</c:v>
                </c:pt>
                <c:pt idx="16">
                  <c:v>0.74202752083811019</c:v>
                </c:pt>
                <c:pt idx="17">
                  <c:v>0.75630067087515251</c:v>
                </c:pt>
                <c:pt idx="18">
                  <c:v>0.76928526233922578</c:v>
                </c:pt>
                <c:pt idx="19">
                  <c:v>0.78169479372939665</c:v>
                </c:pt>
                <c:pt idx="20">
                  <c:v>0.79396302464426582</c:v>
                </c:pt>
                <c:pt idx="21">
                  <c:v>0.80509608167315883</c:v>
                </c:pt>
                <c:pt idx="22">
                  <c:v>0.81572456986301489</c:v>
                </c:pt>
                <c:pt idx="23">
                  <c:v>0.82568991043585105</c:v>
                </c:pt>
                <c:pt idx="24">
                  <c:v>0.83478720180220123</c:v>
                </c:pt>
                <c:pt idx="25">
                  <c:v>0.84333540354959946</c:v>
                </c:pt>
                <c:pt idx="26">
                  <c:v>0.85167223759425825</c:v>
                </c:pt>
                <c:pt idx="27">
                  <c:v>0.85997833110040434</c:v>
                </c:pt>
                <c:pt idx="28">
                  <c:v>0.86804751045628825</c:v>
                </c:pt>
                <c:pt idx="29">
                  <c:v>0.87609379341107307</c:v>
                </c:pt>
                <c:pt idx="30">
                  <c:v>0.88378338011725299</c:v>
                </c:pt>
                <c:pt idx="31">
                  <c:v>0.8906456223300121</c:v>
                </c:pt>
                <c:pt idx="32">
                  <c:v>0.89700530973901615</c:v>
                </c:pt>
                <c:pt idx="33">
                  <c:v>0.90322963277670709</c:v>
                </c:pt>
                <c:pt idx="34">
                  <c:v>0.90938452459810204</c:v>
                </c:pt>
                <c:pt idx="35">
                  <c:v>0.91547846535175614</c:v>
                </c:pt>
                <c:pt idx="36">
                  <c:v>0.92059634100670185</c:v>
                </c:pt>
                <c:pt idx="37">
                  <c:v>0.92569132026054846</c:v>
                </c:pt>
                <c:pt idx="38">
                  <c:v>0.93053740715429867</c:v>
                </c:pt>
                <c:pt idx="39">
                  <c:v>0.93518442256071455</c:v>
                </c:pt>
                <c:pt idx="40">
                  <c:v>0.93922775739185416</c:v>
                </c:pt>
                <c:pt idx="41">
                  <c:v>0.94310869737816083</c:v>
                </c:pt>
                <c:pt idx="42">
                  <c:v>0.94655524175472527</c:v>
                </c:pt>
                <c:pt idx="43">
                  <c:v>0.94966957631163806</c:v>
                </c:pt>
                <c:pt idx="44">
                  <c:v>0.9527517923058979</c:v>
                </c:pt>
                <c:pt idx="45">
                  <c:v>0.95529244481304854</c:v>
                </c:pt>
                <c:pt idx="46">
                  <c:v>0.95772200737412549</c:v>
                </c:pt>
                <c:pt idx="47">
                  <c:v>0.96006009033266271</c:v>
                </c:pt>
                <c:pt idx="48">
                  <c:v>0.96229259544168722</c:v>
                </c:pt>
                <c:pt idx="49">
                  <c:v>0.96430058861771162</c:v>
                </c:pt>
                <c:pt idx="50">
                  <c:v>0.96621763220048107</c:v>
                </c:pt>
                <c:pt idx="51">
                  <c:v>0.96812895168297575</c:v>
                </c:pt>
                <c:pt idx="52">
                  <c:v>0.96975396014987403</c:v>
                </c:pt>
                <c:pt idx="53">
                  <c:v>0.97137027646450325</c:v>
                </c:pt>
                <c:pt idx="54">
                  <c:v>0.97290412333443277</c:v>
                </c:pt>
                <c:pt idx="55">
                  <c:v>0.97431850611159021</c:v>
                </c:pt>
                <c:pt idx="56">
                  <c:v>0.97571179451921652</c:v>
                </c:pt>
                <c:pt idx="57">
                  <c:v>0.97700681920545895</c:v>
                </c:pt>
                <c:pt idx="58">
                  <c:v>0.97823728876082461</c:v>
                </c:pt>
                <c:pt idx="59">
                  <c:v>0.9794583241509226</c:v>
                </c:pt>
                <c:pt idx="60">
                  <c:v>0.98058130782335062</c:v>
                </c:pt>
                <c:pt idx="61">
                  <c:v>0.98167598899997544</c:v>
                </c:pt>
                <c:pt idx="62">
                  <c:v>0.98275042382192468</c:v>
                </c:pt>
                <c:pt idx="63">
                  <c:v>0.98381415245632287</c:v>
                </c:pt>
                <c:pt idx="64">
                  <c:v>0.98481470398398452</c:v>
                </c:pt>
                <c:pt idx="65">
                  <c:v>0.9857713707428728</c:v>
                </c:pt>
                <c:pt idx="66">
                  <c:v>0.98670577711180352</c:v>
                </c:pt>
                <c:pt idx="67">
                  <c:v>0.98760032678252463</c:v>
                </c:pt>
                <c:pt idx="68">
                  <c:v>0.98845183969932793</c:v>
                </c:pt>
                <c:pt idx="69">
                  <c:v>0.98926603996248819</c:v>
                </c:pt>
                <c:pt idx="70">
                  <c:v>0.9900544817744118</c:v>
                </c:pt>
                <c:pt idx="71">
                  <c:v>0.99079490474514142</c:v>
                </c:pt>
                <c:pt idx="72">
                  <c:v>0.99150267914393331</c:v>
                </c:pt>
                <c:pt idx="73">
                  <c:v>0.99220833350558646</c:v>
                </c:pt>
                <c:pt idx="74">
                  <c:v>0.99288886542714461</c:v>
                </c:pt>
                <c:pt idx="75">
                  <c:v>0.99342406880283729</c:v>
                </c:pt>
                <c:pt idx="76">
                  <c:v>0.99393891982199745</c:v>
                </c:pt>
                <c:pt idx="77">
                  <c:v>0.9943735274354536</c:v>
                </c:pt>
                <c:pt idx="78">
                  <c:v>0.99476880835998482</c:v>
                </c:pt>
                <c:pt idx="79">
                  <c:v>0.99516292326408973</c:v>
                </c:pt>
                <c:pt idx="80">
                  <c:v>0.99555152607163366</c:v>
                </c:pt>
                <c:pt idx="81">
                  <c:v>0.99590334623481924</c:v>
                </c:pt>
                <c:pt idx="82">
                  <c:v>0.99625198634229661</c:v>
                </c:pt>
                <c:pt idx="83">
                  <c:v>0.99659871841634906</c:v>
                </c:pt>
                <c:pt idx="84">
                  <c:v>0.99692361410787178</c:v>
                </c:pt>
                <c:pt idx="85">
                  <c:v>0.99722158532773164</c:v>
                </c:pt>
                <c:pt idx="86">
                  <c:v>0.9974690996636878</c:v>
                </c:pt>
                <c:pt idx="87">
                  <c:v>0.99769795767282243</c:v>
                </c:pt>
                <c:pt idx="88">
                  <c:v>0.99788494494846558</c:v>
                </c:pt>
                <c:pt idx="89">
                  <c:v>0.99807193222410873</c:v>
                </c:pt>
                <c:pt idx="90">
                  <c:v>0.99821143066784246</c:v>
                </c:pt>
                <c:pt idx="91">
                  <c:v>0.9983243226454841</c:v>
                </c:pt>
                <c:pt idx="92">
                  <c:v>0.99843223253584956</c:v>
                </c:pt>
                <c:pt idx="93">
                  <c:v>0.99853251029251533</c:v>
                </c:pt>
                <c:pt idx="94">
                  <c:v>0.99862960799347289</c:v>
                </c:pt>
                <c:pt idx="95">
                  <c:v>0.99871949756815848</c:v>
                </c:pt>
                <c:pt idx="96">
                  <c:v>0.99880599508342194</c:v>
                </c:pt>
                <c:pt idx="97">
                  <c:v>0.99889185658754376</c:v>
                </c:pt>
                <c:pt idx="98">
                  <c:v>0.99896626989111603</c:v>
                </c:pt>
                <c:pt idx="99">
                  <c:v>0.99903580710926898</c:v>
                </c:pt>
                <c:pt idx="100">
                  <c:v>0.99910470831628029</c:v>
                </c:pt>
                <c:pt idx="101">
                  <c:v>0.99917212549729451</c:v>
                </c:pt>
                <c:pt idx="102">
                  <c:v>0.99923774064674065</c:v>
                </c:pt>
                <c:pt idx="103">
                  <c:v>0.99930271978504515</c:v>
                </c:pt>
                <c:pt idx="104">
                  <c:v>0.99936208082493183</c:v>
                </c:pt>
                <c:pt idx="105">
                  <c:v>0.99941932182767967</c:v>
                </c:pt>
                <c:pt idx="106">
                  <c:v>0.99947179274686526</c:v>
                </c:pt>
                <c:pt idx="107">
                  <c:v>0.99952373365676617</c:v>
                </c:pt>
                <c:pt idx="108">
                  <c:v>0.999573872535099</c:v>
                </c:pt>
                <c:pt idx="109">
                  <c:v>0.99962379940971802</c:v>
                </c:pt>
                <c:pt idx="110">
                  <c:v>0.99967287826948148</c:v>
                </c:pt>
                <c:pt idx="111">
                  <c:v>0.99971390098811741</c:v>
                </c:pt>
                <c:pt idx="112">
                  <c:v>0.99975174365104513</c:v>
                </c:pt>
                <c:pt idx="113">
                  <c:v>0.99978778428240489</c:v>
                </c:pt>
                <c:pt idx="114">
                  <c:v>0.99981640478377887</c:v>
                </c:pt>
                <c:pt idx="115">
                  <c:v>0.999842905248014</c:v>
                </c:pt>
                <c:pt idx="116">
                  <c:v>0.99986781568439498</c:v>
                </c:pt>
                <c:pt idx="117">
                  <c:v>0.99988922805949698</c:v>
                </c:pt>
                <c:pt idx="118">
                  <c:v>0.9999101104253143</c:v>
                </c:pt>
                <c:pt idx="119">
                  <c:v>0.99992823674285114</c:v>
                </c:pt>
                <c:pt idx="120">
                  <c:v>0.99994615105667406</c:v>
                </c:pt>
                <c:pt idx="121">
                  <c:v>0.99995993129807637</c:v>
                </c:pt>
                <c:pt idx="122">
                  <c:v>0.99997265152090919</c:v>
                </c:pt>
                <c:pt idx="123">
                  <c:v>0.99998113166946445</c:v>
                </c:pt>
                <c:pt idx="124">
                  <c:v>0.99998770378459478</c:v>
                </c:pt>
                <c:pt idx="125">
                  <c:v>0.99999777396100409</c:v>
                </c:pt>
                <c:pt idx="126">
                  <c:v>0.99999999999999989</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126</c:f>
              <c:strCache>
                <c:ptCount val="125"/>
                <c:pt idx="0">
                  <c:v>Ruinart</c:v>
                </c:pt>
                <c:pt idx="1">
                  <c:v>Nicolas</c:v>
                </c:pt>
                <c:pt idx="2">
                  <c:v>Deutz</c:v>
                </c:pt>
                <c:pt idx="3">
                  <c:v>Heidsieck &amp;</c:v>
                </c:pt>
                <c:pt idx="4">
                  <c:v>De Bligny</c:v>
                </c:pt>
                <c:pt idx="5">
                  <c:v>Ayala</c:v>
                </c:pt>
                <c:pt idx="6">
                  <c:v>Laurent Per</c:v>
                </c:pt>
                <c:pt idx="7">
                  <c:v>Besserat De</c:v>
                </c:pt>
                <c:pt idx="8">
                  <c:v>Canard Duch</c:v>
                </c:pt>
                <c:pt idx="9">
                  <c:v>Taittinger</c:v>
                </c:pt>
                <c:pt idx="10">
                  <c:v>Ruinart</c:v>
                </c:pt>
                <c:pt idx="11">
                  <c:v>Bollinger</c:v>
                </c:pt>
                <c:pt idx="12">
                  <c:v>Demoiselle</c:v>
                </c:pt>
                <c:pt idx="13">
                  <c:v>Deutz</c:v>
                </c:pt>
                <c:pt idx="14">
                  <c:v>All Others</c:v>
                </c:pt>
                <c:pt idx="15">
                  <c:v>Perrier Jou</c:v>
                </c:pt>
                <c:pt idx="16">
                  <c:v>Ruinart</c:v>
                </c:pt>
                <c:pt idx="17">
                  <c:v>Laurent Per</c:v>
                </c:pt>
                <c:pt idx="18">
                  <c:v>Savian</c:v>
                </c:pt>
                <c:pt idx="19">
                  <c:v>Pommery</c:v>
                </c:pt>
                <c:pt idx="20">
                  <c:v>Roederer</c:v>
                </c:pt>
                <c:pt idx="21">
                  <c:v>Moët &amp; Chan</c:v>
                </c:pt>
                <c:pt idx="22">
                  <c:v>Taittinger</c:v>
                </c:pt>
                <c:pt idx="23">
                  <c:v>Henriot</c:v>
                </c:pt>
                <c:pt idx="24">
                  <c:v>All Others</c:v>
                </c:pt>
                <c:pt idx="25">
                  <c:v>Veuve Clicq</c:v>
                </c:pt>
                <c:pt idx="26">
                  <c:v>De Venoge</c:v>
                </c:pt>
                <c:pt idx="27">
                  <c:v>All Others</c:v>
                </c:pt>
                <c:pt idx="28">
                  <c:v>Veuve Clicq</c:v>
                </c:pt>
                <c:pt idx="29">
                  <c:v>Roederer</c:v>
                </c:pt>
                <c:pt idx="30">
                  <c:v>Campari: Al</c:v>
                </c:pt>
                <c:pt idx="31">
                  <c:v>Veuve Clicq</c:v>
                </c:pt>
                <c:pt idx="32">
                  <c:v>Deutz</c:v>
                </c:pt>
                <c:pt idx="33">
                  <c:v>Piper Heids</c:v>
                </c:pt>
                <c:pt idx="34">
                  <c:v>Nicolas</c:v>
                </c:pt>
                <c:pt idx="35">
                  <c:v>Ruinart</c:v>
                </c:pt>
                <c:pt idx="36">
                  <c:v>Nicolas Feu</c:v>
                </c:pt>
                <c:pt idx="37">
                  <c:v>Lanson</c:v>
                </c:pt>
                <c:pt idx="38">
                  <c:v>Canard Duch</c:v>
                </c:pt>
                <c:pt idx="39">
                  <c:v>Bollinger</c:v>
                </c:pt>
                <c:pt idx="40">
                  <c:v>Campari: Al</c:v>
                </c:pt>
                <c:pt idx="41">
                  <c:v>Henriot</c:v>
                </c:pt>
                <c:pt idx="42">
                  <c:v>De Venoge</c:v>
                </c:pt>
                <c:pt idx="43">
                  <c:v>Roederer</c:v>
                </c:pt>
                <c:pt idx="44">
                  <c:v>Krug</c:v>
                </c:pt>
                <c:pt idx="45">
                  <c:v>Canard Duch</c:v>
                </c:pt>
                <c:pt idx="46">
                  <c:v>Vranken</c:v>
                </c:pt>
                <c:pt idx="47">
                  <c:v>Roederer</c:v>
                </c:pt>
                <c:pt idx="48">
                  <c:v>Nicolas</c:v>
                </c:pt>
                <c:pt idx="49">
                  <c:v>De Venoge</c:v>
                </c:pt>
                <c:pt idx="50">
                  <c:v>Canard Duch</c:v>
                </c:pt>
                <c:pt idx="51">
                  <c:v>Nicolas</c:v>
                </c:pt>
                <c:pt idx="52">
                  <c:v>Veuve Clicq</c:v>
                </c:pt>
                <c:pt idx="53">
                  <c:v>All Others</c:v>
                </c:pt>
                <c:pt idx="54">
                  <c:v>Nicolas</c:v>
                </c:pt>
                <c:pt idx="55">
                  <c:v>Canard Duch</c:v>
                </c:pt>
                <c:pt idx="56">
                  <c:v>All Others</c:v>
                </c:pt>
                <c:pt idx="57">
                  <c:v>Roederer</c:v>
                </c:pt>
                <c:pt idx="58">
                  <c:v>Moët &amp; Chan</c:v>
                </c:pt>
                <c:pt idx="59">
                  <c:v>All Others</c:v>
                </c:pt>
                <c:pt idx="60">
                  <c:v>Nicolas Feu</c:v>
                </c:pt>
                <c:pt idx="61">
                  <c:v>All Others</c:v>
                </c:pt>
                <c:pt idx="62">
                  <c:v>Roederer</c:v>
                </c:pt>
                <c:pt idx="63">
                  <c:v>Demoiselle</c:v>
                </c:pt>
                <c:pt idx="64">
                  <c:v>Pommery</c:v>
                </c:pt>
                <c:pt idx="65">
                  <c:v>Nicolas</c:v>
                </c:pt>
                <c:pt idx="66">
                  <c:v>Roederer</c:v>
                </c:pt>
                <c:pt idx="67">
                  <c:v>Laurent Per</c:v>
                </c:pt>
                <c:pt idx="68">
                  <c:v>Laurent Per</c:v>
                </c:pt>
                <c:pt idx="69">
                  <c:v>Roederer</c:v>
                </c:pt>
                <c:pt idx="70">
                  <c:v>Laurent Per</c:v>
                </c:pt>
                <c:pt idx="71">
                  <c:v>Ruinart</c:v>
                </c:pt>
                <c:pt idx="72">
                  <c:v>Vranken</c:v>
                </c:pt>
                <c:pt idx="73">
                  <c:v>Nicolas</c:v>
                </c:pt>
                <c:pt idx="74">
                  <c:v>Canard Duch</c:v>
                </c:pt>
                <c:pt idx="75">
                  <c:v>Roederer</c:v>
                </c:pt>
                <c:pt idx="76">
                  <c:v>Ruinart</c:v>
                </c:pt>
                <c:pt idx="77">
                  <c:v>Ruinart</c:v>
                </c:pt>
                <c:pt idx="78">
                  <c:v>Moët &amp; Chan</c:v>
                </c:pt>
                <c:pt idx="79">
                  <c:v>Henriot</c:v>
                </c:pt>
                <c:pt idx="80">
                  <c:v>Pommery</c:v>
                </c:pt>
                <c:pt idx="81">
                  <c:v>Moët &amp; Chan</c:v>
                </c:pt>
                <c:pt idx="82">
                  <c:v>Ruinart</c:v>
                </c:pt>
                <c:pt idx="83">
                  <c:v>Malard</c:v>
                </c:pt>
                <c:pt idx="84">
                  <c:v>Bollinger</c:v>
                </c:pt>
                <c:pt idx="85">
                  <c:v>All Others</c:v>
                </c:pt>
                <c:pt idx="86">
                  <c:v>Moët &amp; Chan</c:v>
                </c:pt>
                <c:pt idx="87">
                  <c:v>All Others</c:v>
                </c:pt>
                <c:pt idx="88">
                  <c:v>Deutz</c:v>
                </c:pt>
                <c:pt idx="89">
                  <c:v>Nicolas Feu</c:v>
                </c:pt>
                <c:pt idx="90">
                  <c:v>All Others</c:v>
                </c:pt>
                <c:pt idx="91">
                  <c:v>All Others</c:v>
                </c:pt>
                <c:pt idx="92">
                  <c:v>Canard Duch</c:v>
                </c:pt>
                <c:pt idx="93">
                  <c:v>All Others</c:v>
                </c:pt>
                <c:pt idx="94">
                  <c:v>Piper Heids</c:v>
                </c:pt>
                <c:pt idx="95">
                  <c:v>De Venoge</c:v>
                </c:pt>
                <c:pt idx="96">
                  <c:v>Laurent Per</c:v>
                </c:pt>
                <c:pt idx="97">
                  <c:v>All Others</c:v>
                </c:pt>
                <c:pt idx="98">
                  <c:v>Martel</c:v>
                </c:pt>
                <c:pt idx="99">
                  <c:v>Bollinger</c:v>
                </c:pt>
                <c:pt idx="100">
                  <c:v>Besserat De</c:v>
                </c:pt>
                <c:pt idx="101">
                  <c:v>Moët &amp; Chan</c:v>
                </c:pt>
                <c:pt idx="102">
                  <c:v>Pommery</c:v>
                </c:pt>
                <c:pt idx="103">
                  <c:v>Besserat De</c:v>
                </c:pt>
                <c:pt idx="104">
                  <c:v>Roederer</c:v>
                </c:pt>
                <c:pt idx="105">
                  <c:v>Malard</c:v>
                </c:pt>
                <c:pt idx="106">
                  <c:v>Demoiselle</c:v>
                </c:pt>
                <c:pt idx="107">
                  <c:v>All Others</c:v>
                </c:pt>
                <c:pt idx="108">
                  <c:v>Ruinart</c:v>
                </c:pt>
                <c:pt idx="109">
                  <c:v>Ruinart</c:v>
                </c:pt>
                <c:pt idx="110">
                  <c:v>Nicolas</c:v>
                </c:pt>
                <c:pt idx="111">
                  <c:v>Roederer</c:v>
                </c:pt>
                <c:pt idx="112">
                  <c:v>Roederer</c:v>
                </c:pt>
                <c:pt idx="113">
                  <c:v>Lanson</c:v>
                </c:pt>
                <c:pt idx="114">
                  <c:v>Roederer</c:v>
                </c:pt>
                <c:pt idx="115">
                  <c:v>Roederer</c:v>
                </c:pt>
                <c:pt idx="116">
                  <c:v>Delamotte</c:v>
                </c:pt>
                <c:pt idx="117">
                  <c:v>All Others</c:v>
                </c:pt>
                <c:pt idx="118">
                  <c:v>Veuve Clicq</c:v>
                </c:pt>
                <c:pt idx="119">
                  <c:v>Besserat De</c:v>
                </c:pt>
                <c:pt idx="120">
                  <c:v>Roederer</c:v>
                </c:pt>
                <c:pt idx="121">
                  <c:v>Roederer</c:v>
                </c:pt>
                <c:pt idx="122">
                  <c:v>All Others</c:v>
                </c:pt>
                <c:pt idx="123">
                  <c:v>Lanson</c:v>
                </c:pt>
                <c:pt idx="124">
                  <c:v>Roederer</c:v>
                </c:pt>
              </c:strCache>
            </c:strRef>
          </c:cat>
          <c:val>
            <c:numRef>
              <c:f>Sheet1!$B$2:$B$126</c:f>
              <c:numCache>
                <c:formatCode>General</c:formatCode>
                <c:ptCount val="125"/>
                <c:pt idx="0">
                  <c:v>1</c:v>
                </c:pt>
                <c:pt idx="1">
                  <c:v>0.99</c:v>
                </c:pt>
                <c:pt idx="2">
                  <c:v>0.98</c:v>
                </c:pt>
                <c:pt idx="3">
                  <c:v>0.92</c:v>
                </c:pt>
                <c:pt idx="4">
                  <c:v>0.93</c:v>
                </c:pt>
                <c:pt idx="5">
                  <c:v>0.89</c:v>
                </c:pt>
                <c:pt idx="6">
                  <c:v>0.98</c:v>
                </c:pt>
                <c:pt idx="7">
                  <c:v>0.86</c:v>
                </c:pt>
                <c:pt idx="8">
                  <c:v>0.93</c:v>
                </c:pt>
                <c:pt idx="9">
                  <c:v>0.88</c:v>
                </c:pt>
                <c:pt idx="10">
                  <c:v>0.61</c:v>
                </c:pt>
                <c:pt idx="11">
                  <c:v>0.8</c:v>
                </c:pt>
                <c:pt idx="12">
                  <c:v>0.88</c:v>
                </c:pt>
                <c:pt idx="13">
                  <c:v>0.59</c:v>
                </c:pt>
                <c:pt idx="14">
                  <c:v>0.71</c:v>
                </c:pt>
                <c:pt idx="15">
                  <c:v>0.69</c:v>
                </c:pt>
                <c:pt idx="16">
                  <c:v>0.43</c:v>
                </c:pt>
                <c:pt idx="17">
                  <c:v>0.61</c:v>
                </c:pt>
                <c:pt idx="18">
                  <c:v>0.71</c:v>
                </c:pt>
                <c:pt idx="19">
                  <c:v>0.59</c:v>
                </c:pt>
                <c:pt idx="20">
                  <c:v>0.59</c:v>
                </c:pt>
                <c:pt idx="21">
                  <c:v>0.56000000000000005</c:v>
                </c:pt>
                <c:pt idx="22">
                  <c:v>0.4</c:v>
                </c:pt>
                <c:pt idx="23">
                  <c:v>0.55000000000000004</c:v>
                </c:pt>
                <c:pt idx="24">
                  <c:v>0.37</c:v>
                </c:pt>
                <c:pt idx="25">
                  <c:v>0.45</c:v>
                </c:pt>
                <c:pt idx="26">
                  <c:v>0.46</c:v>
                </c:pt>
                <c:pt idx="27">
                  <c:v>0.54</c:v>
                </c:pt>
                <c:pt idx="28">
                  <c:v>0.38</c:v>
                </c:pt>
                <c:pt idx="29">
                  <c:v>0.4</c:v>
                </c:pt>
                <c:pt idx="30">
                  <c:v>0.39</c:v>
                </c:pt>
                <c:pt idx="31">
                  <c:v>0.48</c:v>
                </c:pt>
                <c:pt idx="32">
                  <c:v>0.66</c:v>
                </c:pt>
                <c:pt idx="33">
                  <c:v>0.49</c:v>
                </c:pt>
                <c:pt idx="34">
                  <c:v>0.62</c:v>
                </c:pt>
                <c:pt idx="35">
                  <c:v>0.49</c:v>
                </c:pt>
                <c:pt idx="36">
                  <c:v>0.35</c:v>
                </c:pt>
                <c:pt idx="37">
                  <c:v>0.45</c:v>
                </c:pt>
                <c:pt idx="38">
                  <c:v>0.67</c:v>
                </c:pt>
                <c:pt idx="39">
                  <c:v>0.15</c:v>
                </c:pt>
                <c:pt idx="40">
                  <c:v>0.28000000000000003</c:v>
                </c:pt>
                <c:pt idx="41">
                  <c:v>0.46</c:v>
                </c:pt>
                <c:pt idx="42">
                  <c:v>0.17</c:v>
                </c:pt>
                <c:pt idx="43">
                  <c:v>0.13</c:v>
                </c:pt>
                <c:pt idx="44">
                  <c:v>0.08</c:v>
                </c:pt>
                <c:pt idx="45">
                  <c:v>0.25</c:v>
                </c:pt>
                <c:pt idx="46">
                  <c:v>0.21</c:v>
                </c:pt>
                <c:pt idx="47">
                  <c:v>0.13</c:v>
                </c:pt>
                <c:pt idx="48">
                  <c:v>0.25</c:v>
                </c:pt>
                <c:pt idx="49">
                  <c:v>0.36</c:v>
                </c:pt>
                <c:pt idx="50">
                  <c:v>0.19</c:v>
                </c:pt>
                <c:pt idx="51">
                  <c:v>0.15</c:v>
                </c:pt>
                <c:pt idx="52">
                  <c:v>0.15</c:v>
                </c:pt>
                <c:pt idx="53">
                  <c:v>0.17</c:v>
                </c:pt>
                <c:pt idx="54">
                  <c:v>0.18</c:v>
                </c:pt>
                <c:pt idx="55">
                  <c:v>0.15</c:v>
                </c:pt>
                <c:pt idx="56">
                  <c:v>0.02</c:v>
                </c:pt>
                <c:pt idx="57">
                  <c:v>0.25</c:v>
                </c:pt>
                <c:pt idx="58">
                  <c:v>0.14000000000000001</c:v>
                </c:pt>
                <c:pt idx="59">
                  <c:v>0.15</c:v>
                </c:pt>
                <c:pt idx="60">
                  <c:v>0.21</c:v>
                </c:pt>
                <c:pt idx="61">
                  <c:v>0.02</c:v>
                </c:pt>
                <c:pt idx="62">
                  <c:v>0.14000000000000001</c:v>
                </c:pt>
                <c:pt idx="63">
                  <c:v>0.16</c:v>
                </c:pt>
                <c:pt idx="64">
                  <c:v>0.12</c:v>
                </c:pt>
                <c:pt idx="65">
                  <c:v>0.06</c:v>
                </c:pt>
                <c:pt idx="66">
                  <c:v>0.09</c:v>
                </c:pt>
                <c:pt idx="67">
                  <c:v>7.0000000000000007E-2</c:v>
                </c:pt>
                <c:pt idx="68">
                  <c:v>0.04</c:v>
                </c:pt>
                <c:pt idx="69">
                  <c:v>0.09</c:v>
                </c:pt>
                <c:pt idx="70">
                  <c:v>0.06</c:v>
                </c:pt>
                <c:pt idx="71">
                  <c:v>0.05</c:v>
                </c:pt>
                <c:pt idx="72">
                  <c:v>0.06</c:v>
                </c:pt>
                <c:pt idx="73">
                  <c:v>0.15</c:v>
                </c:pt>
                <c:pt idx="74">
                  <c:v>0.08</c:v>
                </c:pt>
                <c:pt idx="75">
                  <c:v>0.04</c:v>
                </c:pt>
                <c:pt idx="76">
                  <c:v>0.02</c:v>
                </c:pt>
                <c:pt idx="77">
                  <c:v>0.03</c:v>
                </c:pt>
                <c:pt idx="78">
                  <c:v>0.06</c:v>
                </c:pt>
                <c:pt idx="79">
                  <c:v>0.04</c:v>
                </c:pt>
                <c:pt idx="80">
                  <c:v>0.09</c:v>
                </c:pt>
                <c:pt idx="81">
                  <c:v>7.0000000000000007E-2</c:v>
                </c:pt>
                <c:pt idx="82">
                  <c:v>0.02</c:v>
                </c:pt>
                <c:pt idx="83">
                  <c:v>0.04</c:v>
                </c:pt>
                <c:pt idx="84">
                  <c:v>0.03</c:v>
                </c:pt>
                <c:pt idx="85">
                  <c:v>0.06</c:v>
                </c:pt>
                <c:pt idx="86">
                  <c:v>0.03</c:v>
                </c:pt>
                <c:pt idx="87">
                  <c:v>0.02</c:v>
                </c:pt>
                <c:pt idx="88">
                  <c:v>0.02</c:v>
                </c:pt>
                <c:pt idx="89">
                  <c:v>0.05</c:v>
                </c:pt>
                <c:pt idx="90">
                  <c:v>0.05</c:v>
                </c:pt>
                <c:pt idx="91">
                  <c:v>0.03</c:v>
                </c:pt>
                <c:pt idx="92">
                  <c:v>0.01</c:v>
                </c:pt>
                <c:pt idx="93">
                  <c:v>0.02</c:v>
                </c:pt>
                <c:pt idx="94">
                  <c:v>0.03</c:v>
                </c:pt>
                <c:pt idx="95">
                  <c:v>0.02</c:v>
                </c:pt>
                <c:pt idx="96">
                  <c:v>0.02</c:v>
                </c:pt>
                <c:pt idx="97">
                  <c:v>0.02</c:v>
                </c:pt>
                <c:pt idx="98">
                  <c:v>0.02</c:v>
                </c:pt>
                <c:pt idx="99">
                  <c:v>0.04</c:v>
                </c:pt>
                <c:pt idx="100">
                  <c:v>0.02</c:v>
                </c:pt>
                <c:pt idx="101">
                  <c:v>0.02</c:v>
                </c:pt>
                <c:pt idx="102">
                  <c:v>0.02</c:v>
                </c:pt>
                <c:pt idx="103">
                  <c:v>0.02</c:v>
                </c:pt>
                <c:pt idx="104">
                  <c:v>0.01</c:v>
                </c:pt>
                <c:pt idx="105">
                  <c:v>0.01</c:v>
                </c:pt>
                <c:pt idx="106">
                  <c:v>0.04</c:v>
                </c:pt>
                <c:pt idx="107">
                  <c:v>0.01</c:v>
                </c:pt>
                <c:pt idx="108">
                  <c:v>0.01</c:v>
                </c:pt>
                <c:pt idx="109">
                  <c:v>0.01</c:v>
                </c:pt>
                <c:pt idx="110">
                  <c:v>0.01</c:v>
                </c:pt>
                <c:pt idx="111">
                  <c:v>0.01</c:v>
                </c:pt>
                <c:pt idx="112">
                  <c:v>0.02</c:v>
                </c:pt>
                <c:pt idx="113">
                  <c:v>0.02</c:v>
                </c:pt>
                <c:pt idx="114">
                  <c:v>0.01</c:v>
                </c:pt>
                <c:pt idx="115">
                  <c:v>0.02</c:v>
                </c:pt>
                <c:pt idx="116">
                  <c:v>0.01</c:v>
                </c:pt>
                <c:pt idx="117">
                  <c:v>0.04</c:v>
                </c:pt>
                <c:pt idx="118">
                  <c:v>0.02</c:v>
                </c:pt>
                <c:pt idx="119">
                  <c:v>0.02</c:v>
                </c:pt>
                <c:pt idx="120">
                  <c:v>0.01</c:v>
                </c:pt>
                <c:pt idx="121">
                  <c:v>0.01</c:v>
                </c:pt>
                <c:pt idx="122">
                  <c:v>0.01</c:v>
                </c:pt>
                <c:pt idx="123">
                  <c:v>0.02</c:v>
                </c:pt>
                <c:pt idx="124">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7ECAC4"/>
              </a:solidFill>
            </c:spPr>
            <c:extLst>
              <c:ext xmlns:c16="http://schemas.microsoft.com/office/drawing/2014/chart" uri="{C3380CC4-5D6E-409C-BE32-E72D297353CC}">
                <c16:uniqueId val="{00000065-2993-41DE-A2CB-63102DE87051}"/>
              </c:ext>
            </c:extLst>
          </c:dPt>
          <c:dPt>
            <c:idx val="23"/>
            <c:invertIfNegative val="1"/>
            <c:bubble3D val="0"/>
            <c:spPr>
              <a:solidFill>
                <a:srgbClr val="7ECAC4"/>
              </a:solidFill>
            </c:spPr>
            <c:extLst>
              <c:ext xmlns:c16="http://schemas.microsoft.com/office/drawing/2014/chart" uri="{C3380CC4-5D6E-409C-BE32-E72D297353CC}">
                <c16:uniqueId val="{00000067-2993-41DE-A2CB-63102DE87051}"/>
              </c:ext>
            </c:extLst>
          </c:dPt>
          <c:dPt>
            <c:idx val="24"/>
            <c:invertIfNegative val="1"/>
            <c:bubble3D val="0"/>
            <c:spPr>
              <a:solidFill>
                <a:srgbClr val="7ECAC4"/>
              </a:solidFill>
            </c:spPr>
            <c:extLst>
              <c:ext xmlns:c16="http://schemas.microsoft.com/office/drawing/2014/chart" uri="{C3380CC4-5D6E-409C-BE32-E72D297353CC}">
                <c16:uniqueId val="{00000069-2993-41DE-A2CB-63102DE87051}"/>
              </c:ext>
            </c:extLst>
          </c:dPt>
          <c:dPt>
            <c:idx val="25"/>
            <c:invertIfNegative val="1"/>
            <c:bubble3D val="0"/>
            <c:spPr>
              <a:solidFill>
                <a:srgbClr val="7ECAC4"/>
              </a:solidFill>
            </c:spPr>
            <c:extLst>
              <c:ext xmlns:c16="http://schemas.microsoft.com/office/drawing/2014/chart" uri="{C3380CC4-5D6E-409C-BE32-E72D297353CC}">
                <c16:uniqueId val="{0000006B-2993-41DE-A2CB-63102DE87051}"/>
              </c:ext>
            </c:extLst>
          </c:dPt>
          <c:dPt>
            <c:idx val="26"/>
            <c:invertIfNegative val="1"/>
            <c:bubble3D val="0"/>
            <c:spPr>
              <a:solidFill>
                <a:srgbClr val="7ECAC4"/>
              </a:solidFill>
            </c:spPr>
            <c:extLst>
              <c:ext xmlns:c16="http://schemas.microsoft.com/office/drawing/2014/chart" uri="{C3380CC4-5D6E-409C-BE32-E72D297353CC}">
                <c16:uniqueId val="{0000006D-2993-41DE-A2CB-63102DE87051}"/>
              </c:ext>
            </c:extLst>
          </c:dPt>
          <c:dPt>
            <c:idx val="27"/>
            <c:invertIfNegative val="1"/>
            <c:bubble3D val="0"/>
            <c:spPr>
              <a:solidFill>
                <a:srgbClr val="7ECAC4"/>
              </a:solidFill>
            </c:spPr>
            <c:extLst>
              <c:ext xmlns:c16="http://schemas.microsoft.com/office/drawing/2014/chart" uri="{C3380CC4-5D6E-409C-BE32-E72D297353CC}">
                <c16:uniqueId val="{0000006F-2993-41DE-A2CB-63102DE87051}"/>
              </c:ext>
            </c:extLst>
          </c:dPt>
          <c:dPt>
            <c:idx val="28"/>
            <c:invertIfNegative val="1"/>
            <c:bubble3D val="0"/>
            <c:spPr>
              <a:solidFill>
                <a:srgbClr val="7ECAC4"/>
              </a:solidFill>
            </c:spPr>
            <c:extLst>
              <c:ext xmlns:c16="http://schemas.microsoft.com/office/drawing/2014/chart" uri="{C3380CC4-5D6E-409C-BE32-E72D297353CC}">
                <c16:uniqueId val="{00000071-2993-41DE-A2CB-63102DE87051}"/>
              </c:ext>
            </c:extLst>
          </c:dPt>
          <c:dPt>
            <c:idx val="29"/>
            <c:invertIfNegative val="1"/>
            <c:bubble3D val="0"/>
            <c:spPr>
              <a:solidFill>
                <a:srgbClr val="7ECAC4"/>
              </a:solidFill>
            </c:spPr>
            <c:extLst>
              <c:ext xmlns:c16="http://schemas.microsoft.com/office/drawing/2014/chart" uri="{C3380CC4-5D6E-409C-BE32-E72D297353CC}">
                <c16:uniqueId val="{00000073-2993-41DE-A2CB-63102DE87051}"/>
              </c:ext>
            </c:extLst>
          </c:dPt>
          <c:dPt>
            <c:idx val="30"/>
            <c:invertIfNegative val="1"/>
            <c:bubble3D val="0"/>
            <c:spPr>
              <a:solidFill>
                <a:srgbClr val="7ECAC4"/>
              </a:solidFill>
            </c:spPr>
            <c:extLst>
              <c:ext xmlns:c16="http://schemas.microsoft.com/office/drawing/2014/chart" uri="{C3380CC4-5D6E-409C-BE32-E72D297353CC}">
                <c16:uniqueId val="{00000075-2993-41DE-A2CB-63102DE87051}"/>
              </c:ext>
            </c:extLst>
          </c:dPt>
          <c:dPt>
            <c:idx val="31"/>
            <c:invertIfNegative val="1"/>
            <c:bubble3D val="0"/>
            <c:spPr>
              <a:solidFill>
                <a:srgbClr val="7ECAC4"/>
              </a:solidFill>
            </c:spPr>
            <c:extLst>
              <c:ext xmlns:c16="http://schemas.microsoft.com/office/drawing/2014/chart" uri="{C3380CC4-5D6E-409C-BE32-E72D297353CC}">
                <c16:uniqueId val="{00000077-2993-41DE-A2CB-63102DE87051}"/>
              </c:ext>
            </c:extLst>
          </c:dPt>
          <c:dPt>
            <c:idx val="32"/>
            <c:invertIfNegative val="1"/>
            <c:bubble3D val="0"/>
            <c:spPr>
              <a:solidFill>
                <a:srgbClr val="7ECAC4"/>
              </a:solidFill>
            </c:spPr>
            <c:extLst>
              <c:ext xmlns:c16="http://schemas.microsoft.com/office/drawing/2014/chart" uri="{C3380CC4-5D6E-409C-BE32-E72D297353CC}">
                <c16:uniqueId val="{00000079-2993-41DE-A2CB-63102DE87051}"/>
              </c:ext>
            </c:extLst>
          </c:dPt>
          <c:dPt>
            <c:idx val="33"/>
            <c:invertIfNegative val="1"/>
            <c:bubble3D val="0"/>
            <c:spPr>
              <a:solidFill>
                <a:srgbClr val="7ECAC4"/>
              </a:solidFill>
            </c:spPr>
            <c:extLst>
              <c:ext xmlns:c16="http://schemas.microsoft.com/office/drawing/2014/chart" uri="{C3380CC4-5D6E-409C-BE32-E72D297353CC}">
                <c16:uniqueId val="{0000007B-2993-41DE-A2CB-63102DE87051}"/>
              </c:ext>
            </c:extLst>
          </c:dPt>
          <c:dPt>
            <c:idx val="34"/>
            <c:invertIfNegative val="1"/>
            <c:bubble3D val="0"/>
            <c:spPr>
              <a:solidFill>
                <a:srgbClr val="7ECAC4"/>
              </a:solidFill>
            </c:spPr>
            <c:extLst>
              <c:ext xmlns:c16="http://schemas.microsoft.com/office/drawing/2014/chart" uri="{C3380CC4-5D6E-409C-BE32-E72D297353CC}">
                <c16:uniqueId val="{0000007D-2993-41DE-A2CB-63102DE87051}"/>
              </c:ext>
            </c:extLst>
          </c:dPt>
          <c:dPt>
            <c:idx val="35"/>
            <c:invertIfNegative val="1"/>
            <c:bubble3D val="0"/>
            <c:spPr>
              <a:solidFill>
                <a:srgbClr val="7ECAC4"/>
              </a:solidFill>
            </c:spPr>
            <c:extLst>
              <c:ext xmlns:c16="http://schemas.microsoft.com/office/drawing/2014/chart" uri="{C3380CC4-5D6E-409C-BE32-E72D297353CC}">
                <c16:uniqueId val="{0000007F-2993-41DE-A2CB-63102DE87051}"/>
              </c:ext>
            </c:extLst>
          </c:dPt>
          <c:dPt>
            <c:idx val="36"/>
            <c:invertIfNegative val="1"/>
            <c:bubble3D val="0"/>
            <c:spPr>
              <a:solidFill>
                <a:srgbClr val="7ECAC4"/>
              </a:solidFill>
            </c:spPr>
            <c:extLst>
              <c:ext xmlns:c16="http://schemas.microsoft.com/office/drawing/2014/chart" uri="{C3380CC4-5D6E-409C-BE32-E72D297353CC}">
                <c16:uniqueId val="{00000081-2993-41DE-A2CB-63102DE87051}"/>
              </c:ext>
            </c:extLst>
          </c:dPt>
          <c:dPt>
            <c:idx val="37"/>
            <c:invertIfNegative val="1"/>
            <c:bubble3D val="0"/>
            <c:spPr>
              <a:solidFill>
                <a:srgbClr val="7ECAC4"/>
              </a:solidFill>
            </c:spPr>
            <c:extLst>
              <c:ext xmlns:c16="http://schemas.microsoft.com/office/drawing/2014/chart" uri="{C3380CC4-5D6E-409C-BE32-E72D297353CC}">
                <c16:uniqueId val="{00000083-2993-41DE-A2CB-63102DE87051}"/>
              </c:ext>
            </c:extLst>
          </c:dPt>
          <c:dPt>
            <c:idx val="38"/>
            <c:invertIfNegative val="1"/>
            <c:bubble3D val="0"/>
            <c:spPr>
              <a:solidFill>
                <a:srgbClr val="7ECAC4"/>
              </a:solidFill>
            </c:spPr>
            <c:extLst>
              <c:ext xmlns:c16="http://schemas.microsoft.com/office/drawing/2014/chart" uri="{C3380CC4-5D6E-409C-BE32-E72D297353CC}">
                <c16:uniqueId val="{00000085-2993-41DE-A2CB-63102DE87051}"/>
              </c:ext>
            </c:extLst>
          </c:dPt>
          <c:dPt>
            <c:idx val="39"/>
            <c:invertIfNegative val="1"/>
            <c:bubble3D val="0"/>
            <c:spPr>
              <a:solidFill>
                <a:srgbClr val="7ECAC4"/>
              </a:solidFill>
            </c:spPr>
            <c:extLst>
              <c:ext xmlns:c16="http://schemas.microsoft.com/office/drawing/2014/chart" uri="{C3380CC4-5D6E-409C-BE32-E72D297353CC}">
                <c16:uniqueId val="{00000087-2993-41DE-A2CB-63102DE87051}"/>
              </c:ext>
            </c:extLst>
          </c:dPt>
          <c:dPt>
            <c:idx val="40"/>
            <c:invertIfNegative val="1"/>
            <c:bubble3D val="0"/>
            <c:spPr>
              <a:solidFill>
                <a:srgbClr val="7ECAC4"/>
              </a:solidFill>
            </c:spPr>
            <c:extLst>
              <c:ext xmlns:c16="http://schemas.microsoft.com/office/drawing/2014/chart" uri="{C3380CC4-5D6E-409C-BE32-E72D297353CC}">
                <c16:uniqueId val="{00000089-2993-41DE-A2CB-63102DE87051}"/>
              </c:ext>
            </c:extLst>
          </c:dPt>
          <c:dPt>
            <c:idx val="41"/>
            <c:invertIfNegative val="1"/>
            <c:bubble3D val="0"/>
            <c:spPr>
              <a:solidFill>
                <a:srgbClr val="7ECAC4"/>
              </a:solidFill>
            </c:spPr>
            <c:extLst>
              <c:ext xmlns:c16="http://schemas.microsoft.com/office/drawing/2014/chart" uri="{C3380CC4-5D6E-409C-BE32-E72D297353CC}">
                <c16:uniqueId val="{0000008B-2993-41DE-A2CB-63102DE87051}"/>
              </c:ext>
            </c:extLst>
          </c:dPt>
          <c:dPt>
            <c:idx val="42"/>
            <c:invertIfNegative val="1"/>
            <c:bubble3D val="0"/>
            <c:spPr>
              <a:solidFill>
                <a:srgbClr val="7ECAC4"/>
              </a:solidFill>
            </c:spPr>
            <c:extLst>
              <c:ext xmlns:c16="http://schemas.microsoft.com/office/drawing/2014/chart" uri="{C3380CC4-5D6E-409C-BE32-E72D297353CC}">
                <c16:uniqueId val="{0000008D-2993-41DE-A2CB-63102DE87051}"/>
              </c:ext>
            </c:extLst>
          </c:dPt>
          <c:dPt>
            <c:idx val="43"/>
            <c:invertIfNegative val="1"/>
            <c:bubble3D val="0"/>
            <c:spPr>
              <a:solidFill>
                <a:srgbClr val="7ECAC4"/>
              </a:solidFill>
            </c:spPr>
            <c:extLst>
              <c:ext xmlns:c16="http://schemas.microsoft.com/office/drawing/2014/chart" uri="{C3380CC4-5D6E-409C-BE32-E72D297353CC}">
                <c16:uniqueId val="{0000008F-2993-41DE-A2CB-63102DE87051}"/>
              </c:ext>
            </c:extLst>
          </c:dPt>
          <c:dPt>
            <c:idx val="44"/>
            <c:invertIfNegative val="1"/>
            <c:bubble3D val="0"/>
            <c:spPr>
              <a:solidFill>
                <a:srgbClr val="7ECAC4"/>
              </a:solidFill>
            </c:spPr>
            <c:extLst>
              <c:ext xmlns:c16="http://schemas.microsoft.com/office/drawing/2014/chart" uri="{C3380CC4-5D6E-409C-BE32-E72D297353CC}">
                <c16:uniqueId val="{00000091-2993-41DE-A2CB-63102DE87051}"/>
              </c:ext>
            </c:extLst>
          </c:dPt>
          <c:dPt>
            <c:idx val="45"/>
            <c:invertIfNegative val="1"/>
            <c:bubble3D val="0"/>
            <c:spPr>
              <a:solidFill>
                <a:srgbClr val="AEABAB"/>
              </a:solidFill>
            </c:spPr>
            <c:extLst>
              <c:ext xmlns:c16="http://schemas.microsoft.com/office/drawing/2014/chart" uri="{C3380CC4-5D6E-409C-BE32-E72D297353CC}">
                <c16:uniqueId val="{00000093-2993-41DE-A2CB-63102DE87051}"/>
              </c:ext>
            </c:extLst>
          </c:dPt>
          <c:dPt>
            <c:idx val="46"/>
            <c:invertIfNegative val="1"/>
            <c:bubble3D val="0"/>
            <c:spPr>
              <a:solidFill>
                <a:srgbClr val="AEABAB"/>
              </a:solidFill>
            </c:spPr>
            <c:extLst>
              <c:ext xmlns:c16="http://schemas.microsoft.com/office/drawing/2014/chart" uri="{C3380CC4-5D6E-409C-BE32-E72D297353CC}">
                <c16:uniqueId val="{00000095-2993-41DE-A2CB-63102DE87051}"/>
              </c:ext>
            </c:extLst>
          </c:dPt>
          <c:dPt>
            <c:idx val="47"/>
            <c:invertIfNegative val="1"/>
            <c:bubble3D val="0"/>
            <c:spPr>
              <a:solidFill>
                <a:srgbClr val="AEABAB"/>
              </a:solidFill>
            </c:spPr>
            <c:extLst>
              <c:ext xmlns:c16="http://schemas.microsoft.com/office/drawing/2014/chart" uri="{C3380CC4-5D6E-409C-BE32-E72D297353CC}">
                <c16:uniqueId val="{00000097-2993-41DE-A2CB-63102DE87051}"/>
              </c:ext>
            </c:extLst>
          </c:dPt>
          <c:dPt>
            <c:idx val="48"/>
            <c:invertIfNegative val="1"/>
            <c:bubble3D val="0"/>
            <c:spPr>
              <a:solidFill>
                <a:srgbClr val="AEABAB"/>
              </a:solidFill>
            </c:spPr>
            <c:extLst>
              <c:ext xmlns:c16="http://schemas.microsoft.com/office/drawing/2014/chart" uri="{C3380CC4-5D6E-409C-BE32-E72D297353CC}">
                <c16:uniqueId val="{00000099-2993-41DE-A2CB-63102DE87051}"/>
              </c:ext>
            </c:extLst>
          </c:dPt>
          <c:dPt>
            <c:idx val="49"/>
            <c:invertIfNegative val="1"/>
            <c:bubble3D val="0"/>
            <c:spPr>
              <a:solidFill>
                <a:srgbClr val="AEABAB"/>
              </a:solidFill>
            </c:spPr>
            <c:extLst>
              <c:ext xmlns:c16="http://schemas.microsoft.com/office/drawing/2014/chart" uri="{C3380CC4-5D6E-409C-BE32-E72D297353CC}">
                <c16:uniqueId val="{0000009B-2993-41DE-A2CB-63102DE87051}"/>
              </c:ext>
            </c:extLst>
          </c:dPt>
          <c:dPt>
            <c:idx val="50"/>
            <c:invertIfNegative val="1"/>
            <c:bubble3D val="0"/>
            <c:spPr>
              <a:solidFill>
                <a:srgbClr val="AEABAB"/>
              </a:solidFill>
            </c:spPr>
            <c:extLst>
              <c:ext xmlns:c16="http://schemas.microsoft.com/office/drawing/2014/chart" uri="{C3380CC4-5D6E-409C-BE32-E72D297353CC}">
                <c16:uniqueId val="{0000009D-2993-41DE-A2CB-63102DE87051}"/>
              </c:ext>
            </c:extLst>
          </c:dPt>
          <c:dPt>
            <c:idx val="51"/>
            <c:invertIfNegative val="1"/>
            <c:bubble3D val="0"/>
            <c:spPr>
              <a:solidFill>
                <a:srgbClr val="AEABAB"/>
              </a:solidFill>
            </c:spPr>
            <c:extLst>
              <c:ext xmlns:c16="http://schemas.microsoft.com/office/drawing/2014/chart" uri="{C3380CC4-5D6E-409C-BE32-E72D297353CC}">
                <c16:uniqueId val="{0000009F-2993-41DE-A2CB-63102DE87051}"/>
              </c:ext>
            </c:extLst>
          </c:dPt>
          <c:dPt>
            <c:idx val="52"/>
            <c:invertIfNegative val="1"/>
            <c:bubble3D val="0"/>
            <c:spPr>
              <a:solidFill>
                <a:srgbClr val="AEABAB"/>
              </a:solidFill>
            </c:spPr>
            <c:extLst>
              <c:ext xmlns:c16="http://schemas.microsoft.com/office/drawing/2014/chart" uri="{C3380CC4-5D6E-409C-BE32-E72D297353CC}">
                <c16:uniqueId val="{000000A1-2993-41DE-A2CB-63102DE87051}"/>
              </c:ext>
            </c:extLst>
          </c:dPt>
          <c:dPt>
            <c:idx val="53"/>
            <c:invertIfNegative val="1"/>
            <c:bubble3D val="0"/>
            <c:spPr>
              <a:solidFill>
                <a:srgbClr val="AEABAB"/>
              </a:solidFill>
            </c:spPr>
            <c:extLst>
              <c:ext xmlns:c16="http://schemas.microsoft.com/office/drawing/2014/chart" uri="{C3380CC4-5D6E-409C-BE32-E72D297353CC}">
                <c16:uniqueId val="{000000A3-2993-41DE-A2CB-63102DE87051}"/>
              </c:ext>
            </c:extLst>
          </c:dPt>
          <c:dPt>
            <c:idx val="54"/>
            <c:invertIfNegative val="0"/>
            <c:bubble3D val="0"/>
            <c:spPr>
              <a:solidFill>
                <a:srgbClr val="AEABAB"/>
              </a:solidFill>
            </c:spPr>
            <c:extLst>
              <c:ext xmlns:c16="http://schemas.microsoft.com/office/drawing/2014/chart" uri="{C3380CC4-5D6E-409C-BE32-E72D297353CC}">
                <c16:uniqueId val="{00000072-C76F-4230-900D-40618C09729F}"/>
              </c:ext>
            </c:extLst>
          </c:dPt>
          <c:dPt>
            <c:idx val="55"/>
            <c:invertIfNegative val="0"/>
            <c:bubble3D val="0"/>
            <c:spPr>
              <a:solidFill>
                <a:srgbClr val="AEABAB"/>
              </a:solidFill>
            </c:spPr>
            <c:extLst>
              <c:ext xmlns:c16="http://schemas.microsoft.com/office/drawing/2014/chart" uri="{C3380CC4-5D6E-409C-BE32-E72D297353CC}">
                <c16:uniqueId val="{00000074-C76F-4230-900D-40618C09729F}"/>
              </c:ext>
            </c:extLst>
          </c:dPt>
          <c:dPt>
            <c:idx val="56"/>
            <c:invertIfNegative val="0"/>
            <c:bubble3D val="0"/>
            <c:spPr>
              <a:solidFill>
                <a:srgbClr val="AEABAB"/>
              </a:solidFill>
            </c:spPr>
            <c:extLst>
              <c:ext xmlns:c16="http://schemas.microsoft.com/office/drawing/2014/chart" uri="{C3380CC4-5D6E-409C-BE32-E72D297353CC}">
                <c16:uniqueId val="{00000076-C76F-4230-900D-40618C09729F}"/>
              </c:ext>
            </c:extLst>
          </c:dPt>
          <c:dPt>
            <c:idx val="57"/>
            <c:invertIfNegative val="0"/>
            <c:bubble3D val="0"/>
            <c:spPr>
              <a:solidFill>
                <a:srgbClr val="AEABAB"/>
              </a:solidFill>
            </c:spPr>
            <c:extLst>
              <c:ext xmlns:c16="http://schemas.microsoft.com/office/drawing/2014/chart" uri="{C3380CC4-5D6E-409C-BE32-E72D297353CC}">
                <c16:uniqueId val="{00000078-C76F-4230-900D-40618C09729F}"/>
              </c:ext>
            </c:extLst>
          </c:dPt>
          <c:dPt>
            <c:idx val="58"/>
            <c:invertIfNegative val="0"/>
            <c:bubble3D val="0"/>
            <c:spPr>
              <a:solidFill>
                <a:srgbClr val="AEABAB"/>
              </a:solidFill>
            </c:spPr>
            <c:extLst>
              <c:ext xmlns:c16="http://schemas.microsoft.com/office/drawing/2014/chart" uri="{C3380CC4-5D6E-409C-BE32-E72D297353CC}">
                <c16:uniqueId val="{0000007A-C76F-4230-900D-40618C09729F}"/>
              </c:ext>
            </c:extLst>
          </c:dPt>
          <c:dPt>
            <c:idx val="59"/>
            <c:invertIfNegative val="0"/>
            <c:bubble3D val="0"/>
            <c:spPr>
              <a:solidFill>
                <a:srgbClr val="AEABAB"/>
              </a:solidFill>
            </c:spPr>
            <c:extLst>
              <c:ext xmlns:c16="http://schemas.microsoft.com/office/drawing/2014/chart" uri="{C3380CC4-5D6E-409C-BE32-E72D297353CC}">
                <c16:uniqueId val="{0000007C-C76F-4230-900D-40618C09729F}"/>
              </c:ext>
            </c:extLst>
          </c:dPt>
          <c:dPt>
            <c:idx val="60"/>
            <c:invertIfNegative val="0"/>
            <c:bubble3D val="0"/>
            <c:spPr>
              <a:solidFill>
                <a:srgbClr val="AEABAB"/>
              </a:solidFill>
            </c:spPr>
            <c:extLst>
              <c:ext xmlns:c16="http://schemas.microsoft.com/office/drawing/2014/chart" uri="{C3380CC4-5D6E-409C-BE32-E72D297353CC}">
                <c16:uniqueId val="{0000007E-C76F-4230-900D-40618C09729F}"/>
              </c:ext>
            </c:extLst>
          </c:dPt>
          <c:dPt>
            <c:idx val="61"/>
            <c:invertIfNegative val="0"/>
            <c:bubble3D val="0"/>
            <c:spPr>
              <a:solidFill>
                <a:srgbClr val="AEABAB"/>
              </a:solidFill>
            </c:spPr>
            <c:extLst>
              <c:ext xmlns:c16="http://schemas.microsoft.com/office/drawing/2014/chart" uri="{C3380CC4-5D6E-409C-BE32-E72D297353CC}">
                <c16:uniqueId val="{00000080-C76F-4230-900D-40618C09729F}"/>
              </c:ext>
            </c:extLst>
          </c:dPt>
          <c:dPt>
            <c:idx val="62"/>
            <c:invertIfNegative val="0"/>
            <c:bubble3D val="0"/>
            <c:spPr>
              <a:solidFill>
                <a:srgbClr val="AEABAB"/>
              </a:solidFill>
            </c:spPr>
            <c:extLst>
              <c:ext xmlns:c16="http://schemas.microsoft.com/office/drawing/2014/chart" uri="{C3380CC4-5D6E-409C-BE32-E72D297353CC}">
                <c16:uniqueId val="{00000082-C76F-4230-900D-40618C09729F}"/>
              </c:ext>
            </c:extLst>
          </c:dPt>
          <c:dPt>
            <c:idx val="63"/>
            <c:invertIfNegative val="0"/>
            <c:bubble3D val="0"/>
            <c:spPr>
              <a:solidFill>
                <a:srgbClr val="AEABAB"/>
              </a:solidFill>
            </c:spPr>
            <c:extLst>
              <c:ext xmlns:c16="http://schemas.microsoft.com/office/drawing/2014/chart" uri="{C3380CC4-5D6E-409C-BE32-E72D297353CC}">
                <c16:uniqueId val="{00000084-C76F-4230-900D-40618C09729F}"/>
              </c:ext>
            </c:extLst>
          </c:dPt>
          <c:dPt>
            <c:idx val="64"/>
            <c:invertIfNegative val="0"/>
            <c:bubble3D val="0"/>
            <c:spPr>
              <a:solidFill>
                <a:srgbClr val="AEABAB"/>
              </a:solidFill>
            </c:spPr>
            <c:extLst>
              <c:ext xmlns:c16="http://schemas.microsoft.com/office/drawing/2014/chart" uri="{C3380CC4-5D6E-409C-BE32-E72D297353CC}">
                <c16:uniqueId val="{00000086-C76F-4230-900D-40618C09729F}"/>
              </c:ext>
            </c:extLst>
          </c:dPt>
          <c:dPt>
            <c:idx val="65"/>
            <c:invertIfNegative val="0"/>
            <c:bubble3D val="0"/>
            <c:spPr>
              <a:solidFill>
                <a:srgbClr val="AEABAB"/>
              </a:solidFill>
            </c:spPr>
            <c:extLst>
              <c:ext xmlns:c16="http://schemas.microsoft.com/office/drawing/2014/chart" uri="{C3380CC4-5D6E-409C-BE32-E72D297353CC}">
                <c16:uniqueId val="{00000088-C76F-4230-900D-40618C09729F}"/>
              </c:ext>
            </c:extLst>
          </c:dPt>
          <c:dPt>
            <c:idx val="66"/>
            <c:invertIfNegative val="0"/>
            <c:bubble3D val="0"/>
            <c:spPr>
              <a:solidFill>
                <a:srgbClr val="AEABAB"/>
              </a:solidFill>
            </c:spPr>
            <c:extLst>
              <c:ext xmlns:c16="http://schemas.microsoft.com/office/drawing/2014/chart" uri="{C3380CC4-5D6E-409C-BE32-E72D297353CC}">
                <c16:uniqueId val="{0000008A-C76F-4230-900D-40618C09729F}"/>
              </c:ext>
            </c:extLst>
          </c:dPt>
          <c:dPt>
            <c:idx val="67"/>
            <c:invertIfNegative val="0"/>
            <c:bubble3D val="0"/>
            <c:spPr>
              <a:solidFill>
                <a:srgbClr val="AEABAB"/>
              </a:solidFill>
            </c:spPr>
            <c:extLst>
              <c:ext xmlns:c16="http://schemas.microsoft.com/office/drawing/2014/chart" uri="{C3380CC4-5D6E-409C-BE32-E72D297353CC}">
                <c16:uniqueId val="{0000008C-C76F-4230-900D-40618C09729F}"/>
              </c:ext>
            </c:extLst>
          </c:dPt>
          <c:dPt>
            <c:idx val="68"/>
            <c:invertIfNegative val="0"/>
            <c:bubble3D val="0"/>
            <c:spPr>
              <a:solidFill>
                <a:srgbClr val="AEABAB"/>
              </a:solidFill>
            </c:spPr>
            <c:extLst>
              <c:ext xmlns:c16="http://schemas.microsoft.com/office/drawing/2014/chart" uri="{C3380CC4-5D6E-409C-BE32-E72D297353CC}">
                <c16:uniqueId val="{0000008E-C76F-4230-900D-40618C09729F}"/>
              </c:ext>
            </c:extLst>
          </c:dPt>
          <c:dPt>
            <c:idx val="69"/>
            <c:invertIfNegative val="0"/>
            <c:bubble3D val="0"/>
            <c:spPr>
              <a:solidFill>
                <a:srgbClr val="AEABAB"/>
              </a:solidFill>
            </c:spPr>
            <c:extLst>
              <c:ext xmlns:c16="http://schemas.microsoft.com/office/drawing/2014/chart" uri="{C3380CC4-5D6E-409C-BE32-E72D297353CC}">
                <c16:uniqueId val="{00000090-C76F-4230-900D-40618C09729F}"/>
              </c:ext>
            </c:extLst>
          </c:dPt>
          <c:dPt>
            <c:idx val="70"/>
            <c:invertIfNegative val="0"/>
            <c:bubble3D val="0"/>
            <c:spPr>
              <a:solidFill>
                <a:srgbClr val="AEABAB"/>
              </a:solidFill>
            </c:spPr>
            <c:extLst>
              <c:ext xmlns:c16="http://schemas.microsoft.com/office/drawing/2014/chart" uri="{C3380CC4-5D6E-409C-BE32-E72D297353CC}">
                <c16:uniqueId val="{00000092-C76F-4230-900D-40618C09729F}"/>
              </c:ext>
            </c:extLst>
          </c:dPt>
          <c:dPt>
            <c:idx val="71"/>
            <c:invertIfNegative val="0"/>
            <c:bubble3D val="0"/>
            <c:spPr>
              <a:solidFill>
                <a:srgbClr val="AEABAB"/>
              </a:solidFill>
            </c:spPr>
            <c:extLst>
              <c:ext xmlns:c16="http://schemas.microsoft.com/office/drawing/2014/chart" uri="{C3380CC4-5D6E-409C-BE32-E72D297353CC}">
                <c16:uniqueId val="{00000094-C76F-4230-900D-40618C09729F}"/>
              </c:ext>
            </c:extLst>
          </c:dPt>
          <c:dPt>
            <c:idx val="72"/>
            <c:invertIfNegative val="0"/>
            <c:bubble3D val="0"/>
            <c:spPr>
              <a:solidFill>
                <a:srgbClr val="AEABAB"/>
              </a:solidFill>
            </c:spPr>
            <c:extLst>
              <c:ext xmlns:c16="http://schemas.microsoft.com/office/drawing/2014/chart" uri="{C3380CC4-5D6E-409C-BE32-E72D297353CC}">
                <c16:uniqueId val="{00000096-C76F-4230-900D-40618C09729F}"/>
              </c:ext>
            </c:extLst>
          </c:dPt>
          <c:dPt>
            <c:idx val="73"/>
            <c:invertIfNegative val="0"/>
            <c:bubble3D val="0"/>
            <c:spPr>
              <a:solidFill>
                <a:srgbClr val="AEABAB"/>
              </a:solidFill>
            </c:spPr>
            <c:extLst>
              <c:ext xmlns:c16="http://schemas.microsoft.com/office/drawing/2014/chart" uri="{C3380CC4-5D6E-409C-BE32-E72D297353CC}">
                <c16:uniqueId val="{00000098-C76F-4230-900D-40618C09729F}"/>
              </c:ext>
            </c:extLst>
          </c:dPt>
          <c:dPt>
            <c:idx val="74"/>
            <c:invertIfNegative val="0"/>
            <c:bubble3D val="0"/>
            <c:spPr>
              <a:solidFill>
                <a:srgbClr val="AEABAB"/>
              </a:solidFill>
            </c:spPr>
            <c:extLst>
              <c:ext xmlns:c16="http://schemas.microsoft.com/office/drawing/2014/chart" uri="{C3380CC4-5D6E-409C-BE32-E72D297353CC}">
                <c16:uniqueId val="{0000009A-C76F-4230-900D-40618C09729F}"/>
              </c:ext>
            </c:extLst>
          </c:dPt>
          <c:dPt>
            <c:idx val="75"/>
            <c:invertIfNegative val="0"/>
            <c:bubble3D val="0"/>
            <c:spPr>
              <a:solidFill>
                <a:srgbClr val="AEABAB"/>
              </a:solidFill>
            </c:spPr>
            <c:extLst>
              <c:ext xmlns:c16="http://schemas.microsoft.com/office/drawing/2014/chart" uri="{C3380CC4-5D6E-409C-BE32-E72D297353CC}">
                <c16:uniqueId val="{0000009C-C76F-4230-900D-40618C09729F}"/>
              </c:ext>
            </c:extLst>
          </c:dPt>
          <c:dPt>
            <c:idx val="76"/>
            <c:invertIfNegative val="0"/>
            <c:bubble3D val="0"/>
            <c:spPr>
              <a:solidFill>
                <a:srgbClr val="AEABAB"/>
              </a:solidFill>
            </c:spPr>
            <c:extLst>
              <c:ext xmlns:c16="http://schemas.microsoft.com/office/drawing/2014/chart" uri="{C3380CC4-5D6E-409C-BE32-E72D297353CC}">
                <c16:uniqueId val="{0000009E-C76F-4230-900D-40618C09729F}"/>
              </c:ext>
            </c:extLst>
          </c:dPt>
          <c:dPt>
            <c:idx val="77"/>
            <c:invertIfNegative val="0"/>
            <c:bubble3D val="0"/>
            <c:spPr>
              <a:solidFill>
                <a:srgbClr val="AEABAB"/>
              </a:solidFill>
            </c:spPr>
            <c:extLst>
              <c:ext xmlns:c16="http://schemas.microsoft.com/office/drawing/2014/chart" uri="{C3380CC4-5D6E-409C-BE32-E72D297353CC}">
                <c16:uniqueId val="{000000A0-C76F-4230-900D-40618C09729F}"/>
              </c:ext>
            </c:extLst>
          </c:dPt>
          <c:dPt>
            <c:idx val="78"/>
            <c:invertIfNegative val="0"/>
            <c:bubble3D val="0"/>
            <c:spPr>
              <a:solidFill>
                <a:srgbClr val="AEABAB"/>
              </a:solidFill>
            </c:spPr>
            <c:extLst>
              <c:ext xmlns:c16="http://schemas.microsoft.com/office/drawing/2014/chart" uri="{C3380CC4-5D6E-409C-BE32-E72D297353CC}">
                <c16:uniqueId val="{000000A2-C76F-4230-900D-40618C09729F}"/>
              </c:ext>
            </c:extLst>
          </c:dPt>
          <c:dPt>
            <c:idx val="79"/>
            <c:invertIfNegative val="0"/>
            <c:bubble3D val="0"/>
            <c:spPr>
              <a:solidFill>
                <a:srgbClr val="AEABAB"/>
              </a:solidFill>
            </c:spPr>
            <c:extLst>
              <c:ext xmlns:c16="http://schemas.microsoft.com/office/drawing/2014/chart" uri="{C3380CC4-5D6E-409C-BE32-E72D297353CC}">
                <c16:uniqueId val="{000000A4-C76F-4230-900D-40618C09729F}"/>
              </c:ext>
            </c:extLst>
          </c:dPt>
          <c:dPt>
            <c:idx val="80"/>
            <c:invertIfNegative val="0"/>
            <c:bubble3D val="0"/>
            <c:spPr>
              <a:solidFill>
                <a:srgbClr val="AEABAB"/>
              </a:solidFill>
            </c:spPr>
            <c:extLst>
              <c:ext xmlns:c16="http://schemas.microsoft.com/office/drawing/2014/chart" uri="{C3380CC4-5D6E-409C-BE32-E72D297353CC}">
                <c16:uniqueId val="{000000A6-C76F-4230-900D-40618C09729F}"/>
              </c:ext>
            </c:extLst>
          </c:dPt>
          <c:dPt>
            <c:idx val="81"/>
            <c:invertIfNegative val="1"/>
            <c:bubble3D val="0"/>
            <c:spPr>
              <a:solidFill>
                <a:srgbClr val="AEABAB"/>
              </a:solidFill>
            </c:spPr>
            <c:extLst>
              <c:ext xmlns:c16="http://schemas.microsoft.com/office/drawing/2014/chart" uri="{C3380CC4-5D6E-409C-BE32-E72D297353CC}">
                <c16:uniqueId val="{000000A5-2993-41DE-A2CB-63102DE87051}"/>
              </c:ext>
            </c:extLst>
          </c:dPt>
          <c:dPt>
            <c:idx val="82"/>
            <c:invertIfNegative val="1"/>
            <c:bubble3D val="0"/>
            <c:spPr>
              <a:solidFill>
                <a:srgbClr val="AEABAB"/>
              </a:solidFill>
            </c:spPr>
            <c:extLst>
              <c:ext xmlns:c16="http://schemas.microsoft.com/office/drawing/2014/chart" uri="{C3380CC4-5D6E-409C-BE32-E72D297353CC}">
                <c16:uniqueId val="{000000A7-2993-41DE-A2CB-63102DE87051}"/>
              </c:ext>
            </c:extLst>
          </c:dPt>
          <c:dPt>
            <c:idx val="83"/>
            <c:invertIfNegative val="1"/>
            <c:bubble3D val="0"/>
            <c:spPr>
              <a:solidFill>
                <a:srgbClr val="AEABAB"/>
              </a:solidFill>
            </c:spPr>
            <c:extLst>
              <c:ext xmlns:c16="http://schemas.microsoft.com/office/drawing/2014/chart" uri="{C3380CC4-5D6E-409C-BE32-E72D297353CC}">
                <c16:uniqueId val="{000000A9-2993-41DE-A2CB-63102DE87051}"/>
              </c:ext>
            </c:extLst>
          </c:dPt>
          <c:dPt>
            <c:idx val="84"/>
            <c:invertIfNegative val="1"/>
            <c:bubble3D val="0"/>
            <c:spPr>
              <a:solidFill>
                <a:srgbClr val="AEABAB"/>
              </a:solidFill>
            </c:spPr>
            <c:extLst>
              <c:ext xmlns:c16="http://schemas.microsoft.com/office/drawing/2014/chart" uri="{C3380CC4-5D6E-409C-BE32-E72D297353CC}">
                <c16:uniqueId val="{000000AB-2993-41DE-A2CB-63102DE87051}"/>
              </c:ext>
            </c:extLst>
          </c:dPt>
          <c:dPt>
            <c:idx val="85"/>
            <c:invertIfNegative val="1"/>
            <c:bubble3D val="0"/>
            <c:spPr>
              <a:solidFill>
                <a:srgbClr val="AEABAB"/>
              </a:solidFill>
            </c:spPr>
            <c:extLst>
              <c:ext xmlns:c16="http://schemas.microsoft.com/office/drawing/2014/chart" uri="{C3380CC4-5D6E-409C-BE32-E72D297353CC}">
                <c16:uniqueId val="{000000AD-2993-41DE-A2CB-63102DE87051}"/>
              </c:ext>
            </c:extLst>
          </c:dPt>
          <c:dPt>
            <c:idx val="86"/>
            <c:invertIfNegative val="1"/>
            <c:bubble3D val="0"/>
            <c:spPr>
              <a:solidFill>
                <a:srgbClr val="AEABAB"/>
              </a:solidFill>
            </c:spPr>
            <c:extLst>
              <c:ext xmlns:c16="http://schemas.microsoft.com/office/drawing/2014/chart" uri="{C3380CC4-5D6E-409C-BE32-E72D297353CC}">
                <c16:uniqueId val="{000000AF-2993-41DE-A2CB-63102DE87051}"/>
              </c:ext>
            </c:extLst>
          </c:dPt>
          <c:dPt>
            <c:idx val="87"/>
            <c:invertIfNegative val="1"/>
            <c:bubble3D val="0"/>
            <c:spPr>
              <a:solidFill>
                <a:srgbClr val="AEABAB"/>
              </a:solidFill>
            </c:spPr>
            <c:extLst>
              <c:ext xmlns:c16="http://schemas.microsoft.com/office/drawing/2014/chart" uri="{C3380CC4-5D6E-409C-BE32-E72D297353CC}">
                <c16:uniqueId val="{000000B1-2993-41DE-A2CB-63102DE87051}"/>
              </c:ext>
            </c:extLst>
          </c:dPt>
          <c:dPt>
            <c:idx val="88"/>
            <c:invertIfNegative val="1"/>
            <c:bubble3D val="0"/>
            <c:spPr>
              <a:solidFill>
                <a:srgbClr val="AEABAB"/>
              </a:solidFill>
            </c:spPr>
            <c:extLst>
              <c:ext xmlns:c16="http://schemas.microsoft.com/office/drawing/2014/chart" uri="{C3380CC4-5D6E-409C-BE32-E72D297353CC}">
                <c16:uniqueId val="{000000B3-2993-41DE-A2CB-63102DE87051}"/>
              </c:ext>
            </c:extLst>
          </c:dPt>
          <c:dPt>
            <c:idx val="89"/>
            <c:invertIfNegative val="1"/>
            <c:bubble3D val="0"/>
            <c:spPr>
              <a:solidFill>
                <a:srgbClr val="AEABAB"/>
              </a:solidFill>
            </c:spPr>
            <c:extLst>
              <c:ext xmlns:c16="http://schemas.microsoft.com/office/drawing/2014/chart" uri="{C3380CC4-5D6E-409C-BE32-E72D297353CC}">
                <c16:uniqueId val="{000000B5-2993-41DE-A2CB-63102DE87051}"/>
              </c:ext>
            </c:extLst>
          </c:dPt>
          <c:dPt>
            <c:idx val="90"/>
            <c:invertIfNegative val="1"/>
            <c:bubble3D val="0"/>
            <c:spPr>
              <a:solidFill>
                <a:srgbClr val="AEABAB"/>
              </a:solidFill>
            </c:spPr>
            <c:extLst>
              <c:ext xmlns:c16="http://schemas.microsoft.com/office/drawing/2014/chart" uri="{C3380CC4-5D6E-409C-BE32-E72D297353CC}">
                <c16:uniqueId val="{000000B7-2993-41DE-A2CB-63102DE87051}"/>
              </c:ext>
            </c:extLst>
          </c:dPt>
          <c:dPt>
            <c:idx val="91"/>
            <c:invertIfNegative val="1"/>
            <c:bubble3D val="0"/>
            <c:spPr>
              <a:solidFill>
                <a:srgbClr val="AEABAB"/>
              </a:solidFill>
            </c:spPr>
            <c:extLst>
              <c:ext xmlns:c16="http://schemas.microsoft.com/office/drawing/2014/chart" uri="{C3380CC4-5D6E-409C-BE32-E72D297353CC}">
                <c16:uniqueId val="{000000B9-2993-41DE-A2CB-63102DE87051}"/>
              </c:ext>
            </c:extLst>
          </c:dPt>
          <c:dPt>
            <c:idx val="92"/>
            <c:invertIfNegative val="1"/>
            <c:bubble3D val="0"/>
            <c:spPr>
              <a:solidFill>
                <a:srgbClr val="AEABAB"/>
              </a:solidFill>
            </c:spPr>
            <c:extLst>
              <c:ext xmlns:c16="http://schemas.microsoft.com/office/drawing/2014/chart" uri="{C3380CC4-5D6E-409C-BE32-E72D297353CC}">
                <c16:uniqueId val="{000000BB-2993-41DE-A2CB-63102DE87051}"/>
              </c:ext>
            </c:extLst>
          </c:dPt>
          <c:dPt>
            <c:idx val="93"/>
            <c:invertIfNegative val="1"/>
            <c:bubble3D val="0"/>
            <c:spPr>
              <a:solidFill>
                <a:srgbClr val="AEABAB"/>
              </a:solidFill>
            </c:spPr>
            <c:extLst>
              <c:ext xmlns:c16="http://schemas.microsoft.com/office/drawing/2014/chart" uri="{C3380CC4-5D6E-409C-BE32-E72D297353CC}">
                <c16:uniqueId val="{000000BD-2993-41DE-A2CB-63102DE87051}"/>
              </c:ext>
            </c:extLst>
          </c:dPt>
          <c:dPt>
            <c:idx val="94"/>
            <c:invertIfNegative val="1"/>
            <c:bubble3D val="0"/>
            <c:spPr>
              <a:solidFill>
                <a:srgbClr val="AEABAB"/>
              </a:solidFill>
            </c:spPr>
            <c:extLst>
              <c:ext xmlns:c16="http://schemas.microsoft.com/office/drawing/2014/chart" uri="{C3380CC4-5D6E-409C-BE32-E72D297353CC}">
                <c16:uniqueId val="{000000BF-2993-41DE-A2CB-63102DE87051}"/>
              </c:ext>
            </c:extLst>
          </c:dPt>
          <c:dPt>
            <c:idx val="95"/>
            <c:invertIfNegative val="1"/>
            <c:bubble3D val="0"/>
            <c:spPr>
              <a:solidFill>
                <a:srgbClr val="AEABAB"/>
              </a:solidFill>
            </c:spPr>
            <c:extLst>
              <c:ext xmlns:c16="http://schemas.microsoft.com/office/drawing/2014/chart" uri="{C3380CC4-5D6E-409C-BE32-E72D297353CC}">
                <c16:uniqueId val="{000000C1-2993-41DE-A2CB-63102DE87051}"/>
              </c:ext>
            </c:extLst>
          </c:dPt>
          <c:dPt>
            <c:idx val="96"/>
            <c:invertIfNegative val="1"/>
            <c:bubble3D val="0"/>
            <c:spPr>
              <a:solidFill>
                <a:srgbClr val="AEABAB"/>
              </a:solidFill>
            </c:spPr>
            <c:extLst>
              <c:ext xmlns:c16="http://schemas.microsoft.com/office/drawing/2014/chart" uri="{C3380CC4-5D6E-409C-BE32-E72D297353CC}">
                <c16:uniqueId val="{000000C3-2993-41DE-A2CB-63102DE87051}"/>
              </c:ext>
            </c:extLst>
          </c:dPt>
          <c:dPt>
            <c:idx val="97"/>
            <c:invertIfNegative val="1"/>
            <c:bubble3D val="0"/>
            <c:spPr>
              <a:solidFill>
                <a:srgbClr val="AEABAB"/>
              </a:solidFill>
            </c:spPr>
            <c:extLst>
              <c:ext xmlns:c16="http://schemas.microsoft.com/office/drawing/2014/chart" uri="{C3380CC4-5D6E-409C-BE32-E72D297353CC}">
                <c16:uniqueId val="{000000C5-2993-41DE-A2CB-63102DE87051}"/>
              </c:ext>
            </c:extLst>
          </c:dPt>
          <c:dPt>
            <c:idx val="98"/>
            <c:invertIfNegative val="1"/>
            <c:bubble3D val="0"/>
            <c:spPr>
              <a:solidFill>
                <a:srgbClr val="AEABAB"/>
              </a:solidFill>
            </c:spPr>
            <c:extLst>
              <c:ext xmlns:c16="http://schemas.microsoft.com/office/drawing/2014/chart" uri="{C3380CC4-5D6E-409C-BE32-E72D297353CC}">
                <c16:uniqueId val="{000000C7-2993-41DE-A2CB-63102DE87051}"/>
              </c:ext>
            </c:extLst>
          </c:dPt>
          <c:dPt>
            <c:idx val="99"/>
            <c:invertIfNegative val="1"/>
            <c:bubble3D val="0"/>
            <c:spPr>
              <a:solidFill>
                <a:srgbClr val="AEABAB"/>
              </a:solidFill>
            </c:spPr>
            <c:extLst>
              <c:ext xmlns:c16="http://schemas.microsoft.com/office/drawing/2014/chart" uri="{C3380CC4-5D6E-409C-BE32-E72D297353CC}">
                <c16:uniqueId val="{000000C9-2993-41DE-A2CB-63102DE87051}"/>
              </c:ext>
            </c:extLst>
          </c:dPt>
          <c:dPt>
            <c:idx val="100"/>
            <c:invertIfNegative val="1"/>
            <c:bubble3D val="0"/>
            <c:spPr>
              <a:solidFill>
                <a:srgbClr val="AEABAB"/>
              </a:solidFill>
            </c:spPr>
            <c:extLst>
              <c:ext xmlns:c16="http://schemas.microsoft.com/office/drawing/2014/chart" uri="{C3380CC4-5D6E-409C-BE32-E72D297353CC}">
                <c16:uniqueId val="{000000CB-2993-41DE-A2CB-63102DE87051}"/>
              </c:ext>
            </c:extLst>
          </c:dPt>
          <c:dPt>
            <c:idx val="101"/>
            <c:invertIfNegative val="1"/>
            <c:bubble3D val="0"/>
            <c:spPr>
              <a:solidFill>
                <a:srgbClr val="AEABAB"/>
              </a:solidFill>
            </c:spPr>
            <c:extLst>
              <c:ext xmlns:c16="http://schemas.microsoft.com/office/drawing/2014/chart" uri="{C3380CC4-5D6E-409C-BE32-E72D297353CC}">
                <c16:uniqueId val="{000000CD-2993-41DE-A2CB-63102DE87051}"/>
              </c:ext>
            </c:extLst>
          </c:dPt>
          <c:dPt>
            <c:idx val="102"/>
            <c:invertIfNegative val="1"/>
            <c:bubble3D val="0"/>
            <c:spPr>
              <a:solidFill>
                <a:srgbClr val="AEABAB"/>
              </a:solidFill>
            </c:spPr>
            <c:extLst>
              <c:ext xmlns:c16="http://schemas.microsoft.com/office/drawing/2014/chart" uri="{C3380CC4-5D6E-409C-BE32-E72D297353CC}">
                <c16:uniqueId val="{000000CF-2993-41DE-A2CB-63102DE87051}"/>
              </c:ext>
            </c:extLst>
          </c:dPt>
          <c:dPt>
            <c:idx val="103"/>
            <c:invertIfNegative val="1"/>
            <c:bubble3D val="0"/>
            <c:spPr>
              <a:solidFill>
                <a:srgbClr val="AEABAB"/>
              </a:solidFill>
            </c:spPr>
            <c:extLst>
              <c:ext xmlns:c16="http://schemas.microsoft.com/office/drawing/2014/chart" uri="{C3380CC4-5D6E-409C-BE32-E72D297353CC}">
                <c16:uniqueId val="{000000D1-2993-41DE-A2CB-63102DE87051}"/>
              </c:ext>
            </c:extLst>
          </c:dPt>
          <c:dPt>
            <c:idx val="104"/>
            <c:invertIfNegative val="1"/>
            <c:bubble3D val="0"/>
            <c:spPr>
              <a:solidFill>
                <a:srgbClr val="AEABAB"/>
              </a:solidFill>
            </c:spPr>
            <c:extLst>
              <c:ext xmlns:c16="http://schemas.microsoft.com/office/drawing/2014/chart" uri="{C3380CC4-5D6E-409C-BE32-E72D297353CC}">
                <c16:uniqueId val="{000000D3-2993-41DE-A2CB-63102DE87051}"/>
              </c:ext>
            </c:extLst>
          </c:dPt>
          <c:dPt>
            <c:idx val="105"/>
            <c:invertIfNegative val="1"/>
            <c:bubble3D val="0"/>
            <c:spPr>
              <a:solidFill>
                <a:srgbClr val="AEABAB"/>
              </a:solidFill>
            </c:spPr>
            <c:extLst>
              <c:ext xmlns:c16="http://schemas.microsoft.com/office/drawing/2014/chart" uri="{C3380CC4-5D6E-409C-BE32-E72D297353CC}">
                <c16:uniqueId val="{000000D5-2993-41DE-A2CB-63102DE87051}"/>
              </c:ext>
            </c:extLst>
          </c:dPt>
          <c:dPt>
            <c:idx val="106"/>
            <c:invertIfNegative val="1"/>
            <c:bubble3D val="0"/>
            <c:spPr>
              <a:solidFill>
                <a:srgbClr val="AEABAB"/>
              </a:solidFill>
            </c:spPr>
            <c:extLst>
              <c:ext xmlns:c16="http://schemas.microsoft.com/office/drawing/2014/chart" uri="{C3380CC4-5D6E-409C-BE32-E72D297353CC}">
                <c16:uniqueId val="{000000D7-2993-41DE-A2CB-63102DE87051}"/>
              </c:ext>
            </c:extLst>
          </c:dPt>
          <c:dPt>
            <c:idx val="107"/>
            <c:invertIfNegative val="1"/>
            <c:bubble3D val="0"/>
            <c:spPr>
              <a:solidFill>
                <a:srgbClr val="AEABAB"/>
              </a:solidFill>
            </c:spPr>
            <c:extLst>
              <c:ext xmlns:c16="http://schemas.microsoft.com/office/drawing/2014/chart" uri="{C3380CC4-5D6E-409C-BE32-E72D297353CC}">
                <c16:uniqueId val="{000000D9-2993-41DE-A2CB-63102DE87051}"/>
              </c:ext>
            </c:extLst>
          </c:dPt>
          <c:dPt>
            <c:idx val="108"/>
            <c:invertIfNegative val="1"/>
            <c:bubble3D val="0"/>
            <c:spPr>
              <a:solidFill>
                <a:srgbClr val="AEABAB"/>
              </a:solidFill>
            </c:spPr>
            <c:extLst>
              <c:ext xmlns:c16="http://schemas.microsoft.com/office/drawing/2014/chart" uri="{C3380CC4-5D6E-409C-BE32-E72D297353CC}">
                <c16:uniqueId val="{000000DB-2993-41DE-A2CB-63102DE87051}"/>
              </c:ext>
            </c:extLst>
          </c:dPt>
          <c:dPt>
            <c:idx val="109"/>
            <c:invertIfNegative val="1"/>
            <c:bubble3D val="0"/>
            <c:spPr>
              <a:solidFill>
                <a:srgbClr val="AEABAB"/>
              </a:solidFill>
            </c:spPr>
            <c:extLst>
              <c:ext xmlns:c16="http://schemas.microsoft.com/office/drawing/2014/chart" uri="{C3380CC4-5D6E-409C-BE32-E72D297353CC}">
                <c16:uniqueId val="{000000DD-2993-41DE-A2CB-63102DE87051}"/>
              </c:ext>
            </c:extLst>
          </c:dPt>
          <c:dPt>
            <c:idx val="110"/>
            <c:invertIfNegative val="1"/>
            <c:bubble3D val="0"/>
            <c:spPr>
              <a:solidFill>
                <a:srgbClr val="AEABAB"/>
              </a:solidFill>
            </c:spPr>
            <c:extLst>
              <c:ext xmlns:c16="http://schemas.microsoft.com/office/drawing/2014/chart" uri="{C3380CC4-5D6E-409C-BE32-E72D297353CC}">
                <c16:uniqueId val="{000000DF-2993-41DE-A2CB-63102DE87051}"/>
              </c:ext>
            </c:extLst>
          </c:dPt>
          <c:dPt>
            <c:idx val="111"/>
            <c:invertIfNegative val="1"/>
            <c:bubble3D val="0"/>
            <c:spPr>
              <a:solidFill>
                <a:srgbClr val="AEABAB"/>
              </a:solidFill>
            </c:spPr>
            <c:extLst>
              <c:ext xmlns:c16="http://schemas.microsoft.com/office/drawing/2014/chart" uri="{C3380CC4-5D6E-409C-BE32-E72D297353CC}">
                <c16:uniqueId val="{000000E1-2993-41DE-A2CB-63102DE87051}"/>
              </c:ext>
            </c:extLst>
          </c:dPt>
          <c:dPt>
            <c:idx val="112"/>
            <c:invertIfNegative val="1"/>
            <c:bubble3D val="0"/>
            <c:spPr>
              <a:solidFill>
                <a:srgbClr val="AEABAB"/>
              </a:solidFill>
            </c:spPr>
            <c:extLst>
              <c:ext xmlns:c16="http://schemas.microsoft.com/office/drawing/2014/chart" uri="{C3380CC4-5D6E-409C-BE32-E72D297353CC}">
                <c16:uniqueId val="{000000E3-2993-41DE-A2CB-63102DE87051}"/>
              </c:ext>
            </c:extLst>
          </c:dPt>
          <c:dPt>
            <c:idx val="113"/>
            <c:invertIfNegative val="1"/>
            <c:bubble3D val="0"/>
            <c:spPr>
              <a:solidFill>
                <a:srgbClr val="AEABAB"/>
              </a:solidFill>
            </c:spPr>
            <c:extLst>
              <c:ext xmlns:c16="http://schemas.microsoft.com/office/drawing/2014/chart" uri="{C3380CC4-5D6E-409C-BE32-E72D297353CC}">
                <c16:uniqueId val="{000000E5-2993-41DE-A2CB-63102DE87051}"/>
              </c:ext>
            </c:extLst>
          </c:dPt>
          <c:dPt>
            <c:idx val="114"/>
            <c:invertIfNegative val="1"/>
            <c:bubble3D val="0"/>
            <c:spPr>
              <a:solidFill>
                <a:srgbClr val="AEABAB"/>
              </a:solidFill>
            </c:spPr>
            <c:extLst>
              <c:ext xmlns:c16="http://schemas.microsoft.com/office/drawing/2014/chart" uri="{C3380CC4-5D6E-409C-BE32-E72D297353CC}">
                <c16:uniqueId val="{000000E7-2993-41DE-A2CB-63102DE87051}"/>
              </c:ext>
            </c:extLst>
          </c:dPt>
          <c:dPt>
            <c:idx val="115"/>
            <c:invertIfNegative val="1"/>
            <c:bubble3D val="0"/>
            <c:spPr>
              <a:solidFill>
                <a:srgbClr val="AEABAB"/>
              </a:solidFill>
            </c:spPr>
            <c:extLst>
              <c:ext xmlns:c16="http://schemas.microsoft.com/office/drawing/2014/chart" uri="{C3380CC4-5D6E-409C-BE32-E72D297353CC}">
                <c16:uniqueId val="{000000E9-2993-41DE-A2CB-63102DE87051}"/>
              </c:ext>
            </c:extLst>
          </c:dPt>
          <c:dPt>
            <c:idx val="116"/>
            <c:invertIfNegative val="1"/>
            <c:bubble3D val="0"/>
            <c:spPr>
              <a:solidFill>
                <a:srgbClr val="AEABAB"/>
              </a:solidFill>
            </c:spPr>
            <c:extLst>
              <c:ext xmlns:c16="http://schemas.microsoft.com/office/drawing/2014/chart" uri="{C3380CC4-5D6E-409C-BE32-E72D297353CC}">
                <c16:uniqueId val="{000000EB-2993-41DE-A2CB-63102DE87051}"/>
              </c:ext>
            </c:extLst>
          </c:dPt>
          <c:dPt>
            <c:idx val="117"/>
            <c:invertIfNegative val="1"/>
            <c:bubble3D val="0"/>
            <c:spPr>
              <a:solidFill>
                <a:srgbClr val="AEABAB"/>
              </a:solidFill>
            </c:spPr>
            <c:extLst>
              <c:ext xmlns:c16="http://schemas.microsoft.com/office/drawing/2014/chart" uri="{C3380CC4-5D6E-409C-BE32-E72D297353CC}">
                <c16:uniqueId val="{000000ED-2993-41DE-A2CB-63102DE87051}"/>
              </c:ext>
            </c:extLst>
          </c:dPt>
          <c:dPt>
            <c:idx val="118"/>
            <c:invertIfNegative val="1"/>
            <c:bubble3D val="0"/>
            <c:spPr>
              <a:solidFill>
                <a:srgbClr val="AEABAB"/>
              </a:solidFill>
            </c:spPr>
            <c:extLst>
              <c:ext xmlns:c16="http://schemas.microsoft.com/office/drawing/2014/chart" uri="{C3380CC4-5D6E-409C-BE32-E72D297353CC}">
                <c16:uniqueId val="{000000EF-2993-41DE-A2CB-63102DE87051}"/>
              </c:ext>
            </c:extLst>
          </c:dPt>
          <c:dPt>
            <c:idx val="119"/>
            <c:invertIfNegative val="1"/>
            <c:bubble3D val="0"/>
            <c:spPr>
              <a:solidFill>
                <a:srgbClr val="AEABAB"/>
              </a:solidFill>
            </c:spPr>
            <c:extLst>
              <c:ext xmlns:c16="http://schemas.microsoft.com/office/drawing/2014/chart" uri="{C3380CC4-5D6E-409C-BE32-E72D297353CC}">
                <c16:uniqueId val="{000000F1-2993-41DE-A2CB-63102DE87051}"/>
              </c:ext>
            </c:extLst>
          </c:dPt>
          <c:dPt>
            <c:idx val="120"/>
            <c:invertIfNegative val="1"/>
            <c:bubble3D val="0"/>
            <c:spPr>
              <a:solidFill>
                <a:srgbClr val="AEABAB"/>
              </a:solidFill>
            </c:spPr>
            <c:extLst>
              <c:ext xmlns:c16="http://schemas.microsoft.com/office/drawing/2014/chart" uri="{C3380CC4-5D6E-409C-BE32-E72D297353CC}">
                <c16:uniqueId val="{000000F3-2993-41DE-A2CB-63102DE87051}"/>
              </c:ext>
            </c:extLst>
          </c:dPt>
          <c:dPt>
            <c:idx val="121"/>
            <c:invertIfNegative val="1"/>
            <c:bubble3D val="0"/>
            <c:spPr>
              <a:solidFill>
                <a:srgbClr val="AEABAB"/>
              </a:solidFill>
            </c:spPr>
            <c:extLst>
              <c:ext xmlns:c16="http://schemas.microsoft.com/office/drawing/2014/chart" uri="{C3380CC4-5D6E-409C-BE32-E72D297353CC}">
                <c16:uniqueId val="{000000F5-2993-41DE-A2CB-63102DE87051}"/>
              </c:ext>
            </c:extLst>
          </c:dPt>
          <c:dPt>
            <c:idx val="122"/>
            <c:invertIfNegative val="1"/>
            <c:bubble3D val="0"/>
            <c:spPr>
              <a:solidFill>
                <a:srgbClr val="AEABAB"/>
              </a:solidFill>
            </c:spPr>
            <c:extLst>
              <c:ext xmlns:c16="http://schemas.microsoft.com/office/drawing/2014/chart" uri="{C3380CC4-5D6E-409C-BE32-E72D297353CC}">
                <c16:uniqueId val="{000000F7-2993-41DE-A2CB-63102DE87051}"/>
              </c:ext>
            </c:extLst>
          </c:dPt>
          <c:dPt>
            <c:idx val="123"/>
            <c:invertIfNegative val="1"/>
            <c:bubble3D val="0"/>
            <c:spPr>
              <a:solidFill>
                <a:srgbClr val="AEABAB"/>
              </a:solidFill>
            </c:spPr>
            <c:extLst>
              <c:ext xmlns:c16="http://schemas.microsoft.com/office/drawing/2014/chart" uri="{C3380CC4-5D6E-409C-BE32-E72D297353CC}">
                <c16:uniqueId val="{000000F9-2993-41DE-A2CB-63102DE87051}"/>
              </c:ext>
            </c:extLst>
          </c:dPt>
          <c:dPt>
            <c:idx val="124"/>
            <c:invertIfNegative val="1"/>
            <c:bubble3D val="0"/>
            <c:spPr>
              <a:solidFill>
                <a:srgbClr val="AEABAB"/>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126</c:f>
              <c:strCache>
                <c:ptCount val="125"/>
                <c:pt idx="0">
                  <c:v>Ruinart</c:v>
                </c:pt>
                <c:pt idx="1">
                  <c:v>Nicolas</c:v>
                </c:pt>
                <c:pt idx="2">
                  <c:v>Deutz</c:v>
                </c:pt>
                <c:pt idx="3">
                  <c:v>Heidsieck &amp;</c:v>
                </c:pt>
                <c:pt idx="4">
                  <c:v>De Bligny</c:v>
                </c:pt>
                <c:pt idx="5">
                  <c:v>Ayala</c:v>
                </c:pt>
                <c:pt idx="6">
                  <c:v>Laurent Per</c:v>
                </c:pt>
                <c:pt idx="7">
                  <c:v>Besserat De</c:v>
                </c:pt>
                <c:pt idx="8">
                  <c:v>Canard Duch</c:v>
                </c:pt>
                <c:pt idx="9">
                  <c:v>Taittinger</c:v>
                </c:pt>
                <c:pt idx="10">
                  <c:v>Ruinart</c:v>
                </c:pt>
                <c:pt idx="11">
                  <c:v>Bollinger</c:v>
                </c:pt>
                <c:pt idx="12">
                  <c:v>Demoiselle</c:v>
                </c:pt>
                <c:pt idx="13">
                  <c:v>Deutz</c:v>
                </c:pt>
                <c:pt idx="14">
                  <c:v>All Others</c:v>
                </c:pt>
                <c:pt idx="15">
                  <c:v>Perrier Jou</c:v>
                </c:pt>
                <c:pt idx="16">
                  <c:v>Ruinart</c:v>
                </c:pt>
                <c:pt idx="17">
                  <c:v>Laurent Per</c:v>
                </c:pt>
                <c:pt idx="18">
                  <c:v>Savian</c:v>
                </c:pt>
                <c:pt idx="19">
                  <c:v>Pommery</c:v>
                </c:pt>
                <c:pt idx="20">
                  <c:v>Roederer</c:v>
                </c:pt>
                <c:pt idx="21">
                  <c:v>Moët &amp; Chan</c:v>
                </c:pt>
                <c:pt idx="22">
                  <c:v>Taittinger</c:v>
                </c:pt>
                <c:pt idx="23">
                  <c:v>Henriot</c:v>
                </c:pt>
                <c:pt idx="24">
                  <c:v>All Others</c:v>
                </c:pt>
                <c:pt idx="25">
                  <c:v>Veuve Clicq</c:v>
                </c:pt>
                <c:pt idx="26">
                  <c:v>De Venoge</c:v>
                </c:pt>
                <c:pt idx="27">
                  <c:v>All Others</c:v>
                </c:pt>
                <c:pt idx="28">
                  <c:v>Veuve Clicq</c:v>
                </c:pt>
                <c:pt idx="29">
                  <c:v>Roederer</c:v>
                </c:pt>
                <c:pt idx="30">
                  <c:v>Campari: Al</c:v>
                </c:pt>
                <c:pt idx="31">
                  <c:v>Veuve Clicq</c:v>
                </c:pt>
                <c:pt idx="32">
                  <c:v>Deutz</c:v>
                </c:pt>
                <c:pt idx="33">
                  <c:v>Piper Heids</c:v>
                </c:pt>
                <c:pt idx="34">
                  <c:v>Nicolas</c:v>
                </c:pt>
                <c:pt idx="35">
                  <c:v>Ruinart</c:v>
                </c:pt>
                <c:pt idx="36">
                  <c:v>Nicolas Feu</c:v>
                </c:pt>
                <c:pt idx="37">
                  <c:v>Lanson</c:v>
                </c:pt>
                <c:pt idx="38">
                  <c:v>Canard Duch</c:v>
                </c:pt>
                <c:pt idx="39">
                  <c:v>Bollinger</c:v>
                </c:pt>
                <c:pt idx="40">
                  <c:v>Campari: Al</c:v>
                </c:pt>
                <c:pt idx="41">
                  <c:v>Henriot</c:v>
                </c:pt>
                <c:pt idx="42">
                  <c:v>De Venoge</c:v>
                </c:pt>
                <c:pt idx="43">
                  <c:v>Roederer</c:v>
                </c:pt>
                <c:pt idx="44">
                  <c:v>Krug</c:v>
                </c:pt>
                <c:pt idx="45">
                  <c:v>Canard Duch</c:v>
                </c:pt>
                <c:pt idx="46">
                  <c:v>Vranken</c:v>
                </c:pt>
                <c:pt idx="47">
                  <c:v>Roederer</c:v>
                </c:pt>
                <c:pt idx="48">
                  <c:v>Nicolas</c:v>
                </c:pt>
                <c:pt idx="49">
                  <c:v>De Venoge</c:v>
                </c:pt>
                <c:pt idx="50">
                  <c:v>Canard Duch</c:v>
                </c:pt>
                <c:pt idx="51">
                  <c:v>Nicolas</c:v>
                </c:pt>
                <c:pt idx="52">
                  <c:v>Veuve Clicq</c:v>
                </c:pt>
                <c:pt idx="53">
                  <c:v>All Others</c:v>
                </c:pt>
                <c:pt idx="54">
                  <c:v>Nicolas</c:v>
                </c:pt>
                <c:pt idx="55">
                  <c:v>Canard Duch</c:v>
                </c:pt>
                <c:pt idx="56">
                  <c:v>All Others</c:v>
                </c:pt>
                <c:pt idx="57">
                  <c:v>Roederer</c:v>
                </c:pt>
                <c:pt idx="58">
                  <c:v>Moët &amp; Chan</c:v>
                </c:pt>
                <c:pt idx="59">
                  <c:v>All Others</c:v>
                </c:pt>
                <c:pt idx="60">
                  <c:v>Nicolas Feu</c:v>
                </c:pt>
                <c:pt idx="61">
                  <c:v>All Others</c:v>
                </c:pt>
                <c:pt idx="62">
                  <c:v>Roederer</c:v>
                </c:pt>
                <c:pt idx="63">
                  <c:v>Demoiselle</c:v>
                </c:pt>
                <c:pt idx="64">
                  <c:v>Pommery</c:v>
                </c:pt>
                <c:pt idx="65">
                  <c:v>Nicolas</c:v>
                </c:pt>
                <c:pt idx="66">
                  <c:v>Roederer</c:v>
                </c:pt>
                <c:pt idx="67">
                  <c:v>Laurent Per</c:v>
                </c:pt>
                <c:pt idx="68">
                  <c:v>Laurent Per</c:v>
                </c:pt>
                <c:pt idx="69">
                  <c:v>Roederer</c:v>
                </c:pt>
                <c:pt idx="70">
                  <c:v>Laurent Per</c:v>
                </c:pt>
                <c:pt idx="71">
                  <c:v>Ruinart</c:v>
                </c:pt>
                <c:pt idx="72">
                  <c:v>Vranken</c:v>
                </c:pt>
                <c:pt idx="73">
                  <c:v>Nicolas</c:v>
                </c:pt>
                <c:pt idx="74">
                  <c:v>Canard Duch</c:v>
                </c:pt>
                <c:pt idx="75">
                  <c:v>Roederer</c:v>
                </c:pt>
                <c:pt idx="76">
                  <c:v>Ruinart</c:v>
                </c:pt>
                <c:pt idx="77">
                  <c:v>Ruinart</c:v>
                </c:pt>
                <c:pt idx="78">
                  <c:v>Moët &amp; Chan</c:v>
                </c:pt>
                <c:pt idx="79">
                  <c:v>Henriot</c:v>
                </c:pt>
                <c:pt idx="80">
                  <c:v>Pommery</c:v>
                </c:pt>
                <c:pt idx="81">
                  <c:v>Moët &amp; Chan</c:v>
                </c:pt>
                <c:pt idx="82">
                  <c:v>Ruinart</c:v>
                </c:pt>
                <c:pt idx="83">
                  <c:v>Malard</c:v>
                </c:pt>
                <c:pt idx="84">
                  <c:v>Bollinger</c:v>
                </c:pt>
                <c:pt idx="85">
                  <c:v>All Others</c:v>
                </c:pt>
                <c:pt idx="86">
                  <c:v>Moët &amp; Chan</c:v>
                </c:pt>
                <c:pt idx="87">
                  <c:v>All Others</c:v>
                </c:pt>
                <c:pt idx="88">
                  <c:v>Deutz</c:v>
                </c:pt>
                <c:pt idx="89">
                  <c:v>Nicolas Feu</c:v>
                </c:pt>
                <c:pt idx="90">
                  <c:v>All Others</c:v>
                </c:pt>
                <c:pt idx="91">
                  <c:v>All Others</c:v>
                </c:pt>
                <c:pt idx="92">
                  <c:v>Canard Duch</c:v>
                </c:pt>
                <c:pt idx="93">
                  <c:v>All Others</c:v>
                </c:pt>
                <c:pt idx="94">
                  <c:v>Piper Heids</c:v>
                </c:pt>
                <c:pt idx="95">
                  <c:v>De Venoge</c:v>
                </c:pt>
                <c:pt idx="96">
                  <c:v>Laurent Per</c:v>
                </c:pt>
                <c:pt idx="97">
                  <c:v>All Others</c:v>
                </c:pt>
                <c:pt idx="98">
                  <c:v>Martel</c:v>
                </c:pt>
                <c:pt idx="99">
                  <c:v>Bollinger</c:v>
                </c:pt>
                <c:pt idx="100">
                  <c:v>Besserat De</c:v>
                </c:pt>
                <c:pt idx="101">
                  <c:v>Moët &amp; Chan</c:v>
                </c:pt>
                <c:pt idx="102">
                  <c:v>Pommery</c:v>
                </c:pt>
                <c:pt idx="103">
                  <c:v>Besserat De</c:v>
                </c:pt>
                <c:pt idx="104">
                  <c:v>Roederer</c:v>
                </c:pt>
                <c:pt idx="105">
                  <c:v>Malard</c:v>
                </c:pt>
                <c:pt idx="106">
                  <c:v>Demoiselle</c:v>
                </c:pt>
                <c:pt idx="107">
                  <c:v>All Others</c:v>
                </c:pt>
                <c:pt idx="108">
                  <c:v>Ruinart</c:v>
                </c:pt>
                <c:pt idx="109">
                  <c:v>Ruinart</c:v>
                </c:pt>
                <c:pt idx="110">
                  <c:v>Nicolas</c:v>
                </c:pt>
                <c:pt idx="111">
                  <c:v>Roederer</c:v>
                </c:pt>
                <c:pt idx="112">
                  <c:v>Roederer</c:v>
                </c:pt>
                <c:pt idx="113">
                  <c:v>Lanson</c:v>
                </c:pt>
                <c:pt idx="114">
                  <c:v>Roederer</c:v>
                </c:pt>
                <c:pt idx="115">
                  <c:v>Roederer</c:v>
                </c:pt>
                <c:pt idx="116">
                  <c:v>Delamotte</c:v>
                </c:pt>
                <c:pt idx="117">
                  <c:v>All Others</c:v>
                </c:pt>
                <c:pt idx="118">
                  <c:v>Veuve Clicq</c:v>
                </c:pt>
                <c:pt idx="119">
                  <c:v>Besserat De</c:v>
                </c:pt>
                <c:pt idx="120">
                  <c:v>Roederer</c:v>
                </c:pt>
                <c:pt idx="121">
                  <c:v>Roederer</c:v>
                </c:pt>
                <c:pt idx="122">
                  <c:v>All Others</c:v>
                </c:pt>
                <c:pt idx="123">
                  <c:v>Lanson</c:v>
                </c:pt>
                <c:pt idx="124">
                  <c:v>Roederer</c:v>
                </c:pt>
              </c:strCache>
            </c:strRef>
          </c:cat>
          <c:val>
            <c:numRef>
              <c:f>Sheet1!$C$2:$C$126</c:f>
              <c:numCache>
                <c:formatCode>General</c:formatCode>
                <c:ptCount val="125"/>
                <c:pt idx="0">
                  <c:v>0.15735007687482611</c:v>
                </c:pt>
                <c:pt idx="1">
                  <c:v>0.2540174396147612</c:v>
                </c:pt>
                <c:pt idx="2">
                  <c:v>0.33464324876683138</c:v>
                </c:pt>
                <c:pt idx="3">
                  <c:v>0.38830798183288495</c:v>
                </c:pt>
                <c:pt idx="4">
                  <c:v>0.43252077262278954</c:v>
                </c:pt>
                <c:pt idx="5">
                  <c:v>0.47304004946048589</c:v>
                </c:pt>
                <c:pt idx="6">
                  <c:v>0.51321610082354252</c:v>
                </c:pt>
                <c:pt idx="7">
                  <c:v>0.54453741164294434</c:v>
                </c:pt>
                <c:pt idx="8">
                  <c:v>0.57406340958226731</c:v>
                </c:pt>
                <c:pt idx="9">
                  <c:v>0.60220723641654061</c:v>
                </c:pt>
                <c:pt idx="10">
                  <c:v>0.6268984162501372</c:v>
                </c:pt>
                <c:pt idx="11">
                  <c:v>0.65072411703194177</c:v>
                </c:pt>
                <c:pt idx="12">
                  <c:v>0.67319174664557346</c:v>
                </c:pt>
                <c:pt idx="13">
                  <c:v>0.69190203719944432</c:v>
                </c:pt>
                <c:pt idx="14">
                  <c:v>0.70879953579813892</c:v>
                </c:pt>
                <c:pt idx="15">
                  <c:v>0.72557693196415673</c:v>
                </c:pt>
                <c:pt idx="16">
                  <c:v>0.74172971602991411</c:v>
                </c:pt>
                <c:pt idx="17">
                  <c:v>0.75525216412798546</c:v>
                </c:pt>
                <c:pt idx="18">
                  <c:v>0.76755266597606664</c:v>
                </c:pt>
                <c:pt idx="19">
                  <c:v>0.7798152964947701</c:v>
                </c:pt>
                <c:pt idx="20">
                  <c:v>0.79149449667348037</c:v>
                </c:pt>
                <c:pt idx="21">
                  <c:v>0.80218771811601519</c:v>
                </c:pt>
                <c:pt idx="22">
                  <c:v>0.81266165661641909</c:v>
                </c:pt>
                <c:pt idx="23">
                  <c:v>0.82150461202610681</c:v>
                </c:pt>
                <c:pt idx="24">
                  <c:v>0.83029142252790589</c:v>
                </c:pt>
                <c:pt idx="25">
                  <c:v>0.83906684514744456</c:v>
                </c:pt>
                <c:pt idx="26">
                  <c:v>0.84776427401522292</c:v>
                </c:pt>
                <c:pt idx="27">
                  <c:v>0.85640185029251625</c:v>
                </c:pt>
                <c:pt idx="28">
                  <c:v>0.86490700933422326</c:v>
                </c:pt>
                <c:pt idx="29">
                  <c:v>0.87314124271192084</c:v>
                </c:pt>
                <c:pt idx="30">
                  <c:v>0.88073987335880422</c:v>
                </c:pt>
                <c:pt idx="31">
                  <c:v>0.88819258021207148</c:v>
                </c:pt>
                <c:pt idx="32">
                  <c:v>0.89448769559184349</c:v>
                </c:pt>
                <c:pt idx="33">
                  <c:v>0.90047758924358912</c:v>
                </c:pt>
                <c:pt idx="34">
                  <c:v>0.90634049476640743</c:v>
                </c:pt>
                <c:pt idx="35">
                  <c:v>0.9121115027277289</c:v>
                </c:pt>
                <c:pt idx="36">
                  <c:v>0.91716891420647584</c:v>
                </c:pt>
                <c:pt idx="37">
                  <c:v>0.92219282412461945</c:v>
                </c:pt>
                <c:pt idx="38">
                  <c:v>0.9267809489204486</c:v>
                </c:pt>
                <c:pt idx="39">
                  <c:v>0.93120898127845397</c:v>
                </c:pt>
                <c:pt idx="40">
                  <c:v>0.93558974068335499</c:v>
                </c:pt>
                <c:pt idx="41">
                  <c:v>0.9399493133305622</c:v>
                </c:pt>
                <c:pt idx="42">
                  <c:v>0.94328688975351449</c:v>
                </c:pt>
                <c:pt idx="43">
                  <c:v>0.94653481970797493</c:v>
                </c:pt>
                <c:pt idx="44">
                  <c:v>0.94974964535353879</c:v>
                </c:pt>
                <c:pt idx="45">
                  <c:v>0.95286092072087414</c:v>
                </c:pt>
                <c:pt idx="46">
                  <c:v>0.95547920672012177</c:v>
                </c:pt>
                <c:pt idx="47">
                  <c:v>0.95808491308198862</c:v>
                </c:pt>
                <c:pt idx="48">
                  <c:v>0.96060176747877712</c:v>
                </c:pt>
                <c:pt idx="49">
                  <c:v>0.96308803349414518</c:v>
                </c:pt>
                <c:pt idx="50">
                  <c:v>0.96544810588399954</c:v>
                </c:pt>
                <c:pt idx="51">
                  <c:v>0.9677364081321661</c:v>
                </c:pt>
                <c:pt idx="52">
                  <c:v>0.96995148364905348</c:v>
                </c:pt>
                <c:pt idx="53">
                  <c:v>0.97182439302918588</c:v>
                </c:pt>
                <c:pt idx="54">
                  <c:v>0.97360222683416731</c:v>
                </c:pt>
                <c:pt idx="55">
                  <c:v>0.97534232172700663</c:v>
                </c:pt>
                <c:pt idx="56">
                  <c:v>0.97700654154385502</c:v>
                </c:pt>
                <c:pt idx="57">
                  <c:v>0.97859832913283773</c:v>
                </c:pt>
                <c:pt idx="58">
                  <c:v>0.98010973945981961</c:v>
                </c:pt>
                <c:pt idx="59">
                  <c:v>0.98133062637192514</c:v>
                </c:pt>
                <c:pt idx="60">
                  <c:v>0.98250543208604668</c:v>
                </c:pt>
                <c:pt idx="61">
                  <c:v>0.98361694236155794</c:v>
                </c:pt>
                <c:pt idx="62">
                  <c:v>0.98470011534865376</c:v>
                </c:pt>
                <c:pt idx="63">
                  <c:v>0.98572502475209156</c:v>
                </c:pt>
                <c:pt idx="64">
                  <c:v>0.98671140073997377</c:v>
                </c:pt>
                <c:pt idx="65">
                  <c:v>0.98762534449999029</c:v>
                </c:pt>
                <c:pt idx="66">
                  <c:v>0.98846486977360737</c:v>
                </c:pt>
                <c:pt idx="67">
                  <c:v>0.9892405699396718</c:v>
                </c:pt>
                <c:pt idx="68">
                  <c:v>0.99000885474054345</c:v>
                </c:pt>
                <c:pt idx="69">
                  <c:v>0.99077647745523711</c:v>
                </c:pt>
                <c:pt idx="70">
                  <c:v>0.99144531691218341</c:v>
                </c:pt>
                <c:pt idx="71">
                  <c:v>0.99205258235458216</c:v>
                </c:pt>
                <c:pt idx="72">
                  <c:v>0.99258476722440347</c:v>
                </c:pt>
                <c:pt idx="73">
                  <c:v>0.99309046864710748</c:v>
                </c:pt>
                <c:pt idx="74">
                  <c:v>0.99357312947081944</c:v>
                </c:pt>
                <c:pt idx="75">
                  <c:v>0.99400732558630689</c:v>
                </c:pt>
                <c:pt idx="76">
                  <c:v>0.9944359601778997</c:v>
                </c:pt>
                <c:pt idx="77">
                  <c:v>0.9948463211909816</c:v>
                </c:pt>
                <c:pt idx="78">
                  <c:v>0.99519682961357847</c:v>
                </c:pt>
                <c:pt idx="79">
                  <c:v>0.99552919687490005</c:v>
                </c:pt>
                <c:pt idx="80">
                  <c:v>0.99585613502956261</c:v>
                </c:pt>
                <c:pt idx="81">
                  <c:v>0.99617618748797465</c:v>
                </c:pt>
                <c:pt idx="82">
                  <c:v>0.99648273338835691</c:v>
                </c:pt>
                <c:pt idx="83">
                  <c:v>0.99677564031347377</c:v>
                </c:pt>
                <c:pt idx="84">
                  <c:v>0.99706801756964825</c:v>
                </c:pt>
                <c:pt idx="85">
                  <c:v>0.99733483829935465</c:v>
                </c:pt>
                <c:pt idx="86">
                  <c:v>0.99756312561350535</c:v>
                </c:pt>
                <c:pt idx="87">
                  <c:v>0.99779114809318492</c:v>
                </c:pt>
                <c:pt idx="88">
                  <c:v>0.99799639480834368</c:v>
                </c:pt>
                <c:pt idx="89">
                  <c:v>0.99817396632126487</c:v>
                </c:pt>
                <c:pt idx="90">
                  <c:v>0.99834981641012344</c:v>
                </c:pt>
                <c:pt idx="91">
                  <c:v>0.99851560278907747</c:v>
                </c:pt>
                <c:pt idx="92">
                  <c:v>0.99867053095471348</c:v>
                </c:pt>
                <c:pt idx="93">
                  <c:v>0.99881724925174309</c:v>
                </c:pt>
                <c:pt idx="94">
                  <c:v>0.9989639675487727</c:v>
                </c:pt>
                <c:pt idx="95">
                  <c:v>0.99910313806337392</c:v>
                </c:pt>
                <c:pt idx="96">
                  <c:v>0.99921476579297319</c:v>
                </c:pt>
                <c:pt idx="97">
                  <c:v>0.99931500564031206</c:v>
                </c:pt>
                <c:pt idx="98">
                  <c:v>0.9993939263127215</c:v>
                </c:pt>
                <c:pt idx="99">
                  <c:v>0.99946980138871244</c:v>
                </c:pt>
                <c:pt idx="100">
                  <c:v>0.99953587758926998</c:v>
                </c:pt>
                <c:pt idx="101">
                  <c:v>0.99959520051081263</c:v>
                </c:pt>
                <c:pt idx="102">
                  <c:v>0.99965002124634539</c:v>
                </c:pt>
                <c:pt idx="103">
                  <c:v>0.99968537664824697</c:v>
                </c:pt>
                <c:pt idx="104">
                  <c:v>0.9997203347984418</c:v>
                </c:pt>
                <c:pt idx="105">
                  <c:v>0.99974946659027075</c:v>
                </c:pt>
                <c:pt idx="106">
                  <c:v>0.99977647970633032</c:v>
                </c:pt>
                <c:pt idx="107">
                  <c:v>0.99979885821914438</c:v>
                </c:pt>
                <c:pt idx="108">
                  <c:v>0.99982057464578056</c:v>
                </c:pt>
                <c:pt idx="109">
                  <c:v>0.99983990756217611</c:v>
                </c:pt>
                <c:pt idx="110">
                  <c:v>0.99985738663727353</c:v>
                </c:pt>
                <c:pt idx="111">
                  <c:v>0.9998746008778997</c:v>
                </c:pt>
                <c:pt idx="112">
                  <c:v>0.99989022611169887</c:v>
                </c:pt>
                <c:pt idx="113">
                  <c:v>0.99990439475590664</c:v>
                </c:pt>
                <c:pt idx="114">
                  <c:v>0.99991737164499406</c:v>
                </c:pt>
                <c:pt idx="115">
                  <c:v>0.99992955403066797</c:v>
                </c:pt>
                <c:pt idx="116">
                  <c:v>0.99994120674739961</c:v>
                </c:pt>
                <c:pt idx="117">
                  <c:v>0.99995153529177538</c:v>
                </c:pt>
                <c:pt idx="118">
                  <c:v>0.99996093691550203</c:v>
                </c:pt>
                <c:pt idx="119">
                  <c:v>0.99996888194963718</c:v>
                </c:pt>
                <c:pt idx="120">
                  <c:v>0.99997669456653682</c:v>
                </c:pt>
                <c:pt idx="121">
                  <c:v>0.99998278575937383</c:v>
                </c:pt>
                <c:pt idx="122">
                  <c:v>0.9999924522175716</c:v>
                </c:pt>
                <c:pt idx="123">
                  <c:v>0.99999629231740361</c:v>
                </c:pt>
                <c:pt idx="124">
                  <c:v>1</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134</c:f>
              <c:strCache>
                <c:ptCount val="133"/>
                <c:pt idx="0">
                  <c:v>Ruinart</c:v>
                </c:pt>
                <c:pt idx="1">
                  <c:v>Nicolas</c:v>
                </c:pt>
                <c:pt idx="2">
                  <c:v>Deutz</c:v>
                </c:pt>
                <c:pt idx="3">
                  <c:v>Heidsieck &amp;</c:v>
                </c:pt>
                <c:pt idx="4">
                  <c:v>Ayala</c:v>
                </c:pt>
                <c:pt idx="5">
                  <c:v>De Bligny</c:v>
                </c:pt>
                <c:pt idx="6">
                  <c:v>Laurent Per</c:v>
                </c:pt>
                <c:pt idx="7">
                  <c:v>Canard Duch</c:v>
                </c:pt>
                <c:pt idx="8">
                  <c:v>Taittinger</c:v>
                </c:pt>
                <c:pt idx="9">
                  <c:v>Bollinger</c:v>
                </c:pt>
                <c:pt idx="10">
                  <c:v>Ruinart</c:v>
                </c:pt>
                <c:pt idx="11">
                  <c:v>Besserat De</c:v>
                </c:pt>
                <c:pt idx="12">
                  <c:v>Demoiselle</c:v>
                </c:pt>
                <c:pt idx="13">
                  <c:v>Deutz</c:v>
                </c:pt>
                <c:pt idx="14">
                  <c:v>Perrier Jou</c:v>
                </c:pt>
                <c:pt idx="15">
                  <c:v>Ruinart</c:v>
                </c:pt>
                <c:pt idx="16">
                  <c:v>All Others</c:v>
                </c:pt>
                <c:pt idx="17">
                  <c:v>Savian</c:v>
                </c:pt>
                <c:pt idx="18">
                  <c:v>Pommery</c:v>
                </c:pt>
                <c:pt idx="19">
                  <c:v>Laurent Per</c:v>
                </c:pt>
                <c:pt idx="20">
                  <c:v>Moët &amp; Chan</c:v>
                </c:pt>
                <c:pt idx="21">
                  <c:v>Taittinger</c:v>
                </c:pt>
                <c:pt idx="22">
                  <c:v>Roederer</c:v>
                </c:pt>
                <c:pt idx="23">
                  <c:v>All Others</c:v>
                </c:pt>
                <c:pt idx="24">
                  <c:v>Roederer</c:v>
                </c:pt>
                <c:pt idx="25">
                  <c:v>Henriot</c:v>
                </c:pt>
                <c:pt idx="26">
                  <c:v>Veuve Clicq</c:v>
                </c:pt>
                <c:pt idx="27">
                  <c:v>Campari: Al</c:v>
                </c:pt>
                <c:pt idx="28">
                  <c:v>De Venoge</c:v>
                </c:pt>
                <c:pt idx="29">
                  <c:v>Veuve Clicq</c:v>
                </c:pt>
                <c:pt idx="30">
                  <c:v>Veuve Clicq</c:v>
                </c:pt>
                <c:pt idx="31">
                  <c:v>Lanson</c:v>
                </c:pt>
                <c:pt idx="32">
                  <c:v>Nicolas Feu</c:v>
                </c:pt>
                <c:pt idx="33">
                  <c:v>Deutz</c:v>
                </c:pt>
                <c:pt idx="34">
                  <c:v>Ruinart</c:v>
                </c:pt>
                <c:pt idx="35">
                  <c:v>Piper Heids</c:v>
                </c:pt>
                <c:pt idx="36">
                  <c:v>All Others</c:v>
                </c:pt>
                <c:pt idx="37">
                  <c:v>Nicolas</c:v>
                </c:pt>
                <c:pt idx="38">
                  <c:v>Canard Duch</c:v>
                </c:pt>
                <c:pt idx="39">
                  <c:v>Campari: Al</c:v>
                </c:pt>
                <c:pt idx="40">
                  <c:v>Bollinger</c:v>
                </c:pt>
                <c:pt idx="41">
                  <c:v>Canard Duch</c:v>
                </c:pt>
                <c:pt idx="42">
                  <c:v>Henriot</c:v>
                </c:pt>
                <c:pt idx="43">
                  <c:v>Canard Duch</c:v>
                </c:pt>
                <c:pt idx="44">
                  <c:v>Veuve Clicq</c:v>
                </c:pt>
                <c:pt idx="45">
                  <c:v>Krug</c:v>
                </c:pt>
                <c:pt idx="46">
                  <c:v>Roederer</c:v>
                </c:pt>
                <c:pt idx="47">
                  <c:v>Nicolas</c:v>
                </c:pt>
                <c:pt idx="48">
                  <c:v>Nicolas</c:v>
                </c:pt>
                <c:pt idx="49">
                  <c:v>De Venoge</c:v>
                </c:pt>
                <c:pt idx="50">
                  <c:v>De Venoge</c:v>
                </c:pt>
                <c:pt idx="51">
                  <c:v>Vranken</c:v>
                </c:pt>
                <c:pt idx="52">
                  <c:v>Roederer</c:v>
                </c:pt>
                <c:pt idx="53">
                  <c:v>All Others</c:v>
                </c:pt>
                <c:pt idx="54">
                  <c:v>Nicolas</c:v>
                </c:pt>
                <c:pt idx="55">
                  <c:v>Roederer</c:v>
                </c:pt>
                <c:pt idx="56">
                  <c:v>Canard Duch</c:v>
                </c:pt>
                <c:pt idx="57">
                  <c:v>Moët &amp; Chan</c:v>
                </c:pt>
                <c:pt idx="58">
                  <c:v>All Others</c:v>
                </c:pt>
                <c:pt idx="59">
                  <c:v>Nicolas</c:v>
                </c:pt>
                <c:pt idx="60">
                  <c:v>Nicolas Feu</c:v>
                </c:pt>
                <c:pt idx="61">
                  <c:v>Laurent Per</c:v>
                </c:pt>
                <c:pt idx="62">
                  <c:v>Roederer</c:v>
                </c:pt>
                <c:pt idx="63">
                  <c:v>Roederer</c:v>
                </c:pt>
                <c:pt idx="64">
                  <c:v>All Others</c:v>
                </c:pt>
                <c:pt idx="65">
                  <c:v>Vranken</c:v>
                </c:pt>
                <c:pt idx="66">
                  <c:v>Pommery</c:v>
                </c:pt>
                <c:pt idx="67">
                  <c:v>Nicolas</c:v>
                </c:pt>
                <c:pt idx="68">
                  <c:v>Laurent Per</c:v>
                </c:pt>
                <c:pt idx="69">
                  <c:v>Demoiselle</c:v>
                </c:pt>
                <c:pt idx="70">
                  <c:v>Roederer</c:v>
                </c:pt>
                <c:pt idx="71">
                  <c:v>Malard</c:v>
                </c:pt>
                <c:pt idx="72">
                  <c:v>Moët &amp; Chan</c:v>
                </c:pt>
                <c:pt idx="73">
                  <c:v>Deutz</c:v>
                </c:pt>
                <c:pt idx="74">
                  <c:v>Ruinart</c:v>
                </c:pt>
                <c:pt idx="75">
                  <c:v>Moët &amp; Chan</c:v>
                </c:pt>
                <c:pt idx="76">
                  <c:v>Canard Duch</c:v>
                </c:pt>
                <c:pt idx="77">
                  <c:v>Bollinger</c:v>
                </c:pt>
                <c:pt idx="78">
                  <c:v>All Others</c:v>
                </c:pt>
                <c:pt idx="79">
                  <c:v>Henriot</c:v>
                </c:pt>
                <c:pt idx="80">
                  <c:v>Roederer</c:v>
                </c:pt>
                <c:pt idx="81">
                  <c:v>Laurent Per</c:v>
                </c:pt>
                <c:pt idx="82">
                  <c:v>Ruinart</c:v>
                </c:pt>
                <c:pt idx="83">
                  <c:v>Pommery</c:v>
                </c:pt>
                <c:pt idx="84">
                  <c:v>Piper Heids</c:v>
                </c:pt>
                <c:pt idx="85">
                  <c:v>All Others</c:v>
                </c:pt>
                <c:pt idx="86">
                  <c:v>De Venoge</c:v>
                </c:pt>
                <c:pt idx="87">
                  <c:v>Roederer</c:v>
                </c:pt>
                <c:pt idx="88">
                  <c:v>Bollinger</c:v>
                </c:pt>
                <c:pt idx="89">
                  <c:v>All Others</c:v>
                </c:pt>
                <c:pt idx="90">
                  <c:v>Nicolas Feu</c:v>
                </c:pt>
                <c:pt idx="91">
                  <c:v>Ruinart</c:v>
                </c:pt>
                <c:pt idx="92">
                  <c:v>Lanson</c:v>
                </c:pt>
                <c:pt idx="93">
                  <c:v>Moët &amp; Chan</c:v>
                </c:pt>
                <c:pt idx="94">
                  <c:v>Lanson</c:v>
                </c:pt>
                <c:pt idx="95">
                  <c:v>Roederer</c:v>
                </c:pt>
                <c:pt idx="96">
                  <c:v>Martel</c:v>
                </c:pt>
                <c:pt idx="97">
                  <c:v>Lanson-Bcc:</c:v>
                </c:pt>
                <c:pt idx="98">
                  <c:v>Roederer</c:v>
                </c:pt>
                <c:pt idx="99">
                  <c:v>Laurent Per</c:v>
                </c:pt>
                <c:pt idx="100">
                  <c:v>Ruinart</c:v>
                </c:pt>
                <c:pt idx="101">
                  <c:v>Roederer</c:v>
                </c:pt>
                <c:pt idx="102">
                  <c:v>Laurent Per</c:v>
                </c:pt>
                <c:pt idx="103">
                  <c:v>Nicolas Feu</c:v>
                </c:pt>
                <c:pt idx="104">
                  <c:v>All Others</c:v>
                </c:pt>
                <c:pt idx="105">
                  <c:v>Roederer</c:v>
                </c:pt>
                <c:pt idx="106">
                  <c:v>Besserat De</c:v>
                </c:pt>
                <c:pt idx="107">
                  <c:v>Ruinart</c:v>
                </c:pt>
                <c:pt idx="108">
                  <c:v>De Bligny</c:v>
                </c:pt>
                <c:pt idx="109">
                  <c:v>All Others</c:v>
                </c:pt>
                <c:pt idx="110">
                  <c:v>Taittinger</c:v>
                </c:pt>
                <c:pt idx="111">
                  <c:v>All Others</c:v>
                </c:pt>
                <c:pt idx="112">
                  <c:v>Roederer</c:v>
                </c:pt>
                <c:pt idx="113">
                  <c:v>Ayala</c:v>
                </c:pt>
                <c:pt idx="114">
                  <c:v>Laurent Per</c:v>
                </c:pt>
                <c:pt idx="115">
                  <c:v>De Venoge</c:v>
                </c:pt>
                <c:pt idx="116">
                  <c:v>All Others</c:v>
                </c:pt>
                <c:pt idx="117">
                  <c:v>All Others</c:v>
                </c:pt>
                <c:pt idx="118">
                  <c:v>Nicolas</c:v>
                </c:pt>
                <c:pt idx="119">
                  <c:v>Vranken</c:v>
                </c:pt>
                <c:pt idx="120">
                  <c:v>Demoiselle</c:v>
                </c:pt>
                <c:pt idx="121">
                  <c:v>Demoiselle</c:v>
                </c:pt>
                <c:pt idx="122">
                  <c:v>Ruinart</c:v>
                </c:pt>
                <c:pt idx="123">
                  <c:v>All Others</c:v>
                </c:pt>
                <c:pt idx="124">
                  <c:v>Roederer</c:v>
                </c:pt>
                <c:pt idx="125">
                  <c:v>All Others</c:v>
                </c:pt>
                <c:pt idx="126">
                  <c:v>All Others</c:v>
                </c:pt>
                <c:pt idx="127">
                  <c:v>Nicolas Feu</c:v>
                </c:pt>
                <c:pt idx="128">
                  <c:v>Delamotte</c:v>
                </c:pt>
                <c:pt idx="129">
                  <c:v>Laurent Per</c:v>
                </c:pt>
                <c:pt idx="130">
                  <c:v>Pommery</c:v>
                </c:pt>
                <c:pt idx="131">
                  <c:v>Lanson</c:v>
                </c:pt>
                <c:pt idx="132">
                  <c:v>All Others</c:v>
                </c:pt>
              </c:strCache>
            </c:strRef>
          </c:cat>
          <c:val>
            <c:numRef>
              <c:f>Sheet1!$B$2:$B$134</c:f>
              <c:numCache>
                <c:formatCode>General</c:formatCode>
                <c:ptCount val="133"/>
                <c:pt idx="0">
                  <c:v>0.99</c:v>
                </c:pt>
                <c:pt idx="1">
                  <c:v>0.97</c:v>
                </c:pt>
                <c:pt idx="2">
                  <c:v>0.97</c:v>
                </c:pt>
                <c:pt idx="3">
                  <c:v>0.85</c:v>
                </c:pt>
                <c:pt idx="4">
                  <c:v>0.85</c:v>
                </c:pt>
                <c:pt idx="5">
                  <c:v>0.88</c:v>
                </c:pt>
                <c:pt idx="6">
                  <c:v>0.86</c:v>
                </c:pt>
                <c:pt idx="7">
                  <c:v>0.9</c:v>
                </c:pt>
                <c:pt idx="8">
                  <c:v>0.79</c:v>
                </c:pt>
                <c:pt idx="9">
                  <c:v>0.74</c:v>
                </c:pt>
                <c:pt idx="10">
                  <c:v>0.52</c:v>
                </c:pt>
                <c:pt idx="11">
                  <c:v>0.68</c:v>
                </c:pt>
                <c:pt idx="12">
                  <c:v>0.77</c:v>
                </c:pt>
                <c:pt idx="13">
                  <c:v>0.47</c:v>
                </c:pt>
                <c:pt idx="14">
                  <c:v>0.59</c:v>
                </c:pt>
                <c:pt idx="15">
                  <c:v>0.33</c:v>
                </c:pt>
                <c:pt idx="16">
                  <c:v>0.61</c:v>
                </c:pt>
                <c:pt idx="17">
                  <c:v>0.47</c:v>
                </c:pt>
                <c:pt idx="18">
                  <c:v>0.51</c:v>
                </c:pt>
                <c:pt idx="19">
                  <c:v>0.46</c:v>
                </c:pt>
                <c:pt idx="20">
                  <c:v>0.39</c:v>
                </c:pt>
                <c:pt idx="21">
                  <c:v>0.36</c:v>
                </c:pt>
                <c:pt idx="22">
                  <c:v>0.34</c:v>
                </c:pt>
                <c:pt idx="23">
                  <c:v>0.39</c:v>
                </c:pt>
                <c:pt idx="24">
                  <c:v>0.32</c:v>
                </c:pt>
                <c:pt idx="25">
                  <c:v>0.39</c:v>
                </c:pt>
                <c:pt idx="26">
                  <c:v>0.31</c:v>
                </c:pt>
                <c:pt idx="27">
                  <c:v>0.36</c:v>
                </c:pt>
                <c:pt idx="28">
                  <c:v>0.35</c:v>
                </c:pt>
                <c:pt idx="29">
                  <c:v>0.26</c:v>
                </c:pt>
                <c:pt idx="30">
                  <c:v>0.33</c:v>
                </c:pt>
                <c:pt idx="31">
                  <c:v>0.37</c:v>
                </c:pt>
                <c:pt idx="32">
                  <c:v>0.32</c:v>
                </c:pt>
                <c:pt idx="33">
                  <c:v>0.54</c:v>
                </c:pt>
                <c:pt idx="34">
                  <c:v>0.31</c:v>
                </c:pt>
                <c:pt idx="35">
                  <c:v>0.42</c:v>
                </c:pt>
                <c:pt idx="36">
                  <c:v>0.23</c:v>
                </c:pt>
                <c:pt idx="37">
                  <c:v>0.55000000000000004</c:v>
                </c:pt>
                <c:pt idx="38">
                  <c:v>0.56999999999999995</c:v>
                </c:pt>
                <c:pt idx="39">
                  <c:v>0.22</c:v>
                </c:pt>
                <c:pt idx="40">
                  <c:v>0.13</c:v>
                </c:pt>
                <c:pt idx="41">
                  <c:v>0.24</c:v>
                </c:pt>
                <c:pt idx="42">
                  <c:v>0.35</c:v>
                </c:pt>
                <c:pt idx="43">
                  <c:v>0.11</c:v>
                </c:pt>
                <c:pt idx="44">
                  <c:v>0.13</c:v>
                </c:pt>
                <c:pt idx="45">
                  <c:v>7.0000000000000007E-2</c:v>
                </c:pt>
                <c:pt idx="46">
                  <c:v>0.13</c:v>
                </c:pt>
                <c:pt idx="47">
                  <c:v>0.15</c:v>
                </c:pt>
                <c:pt idx="48">
                  <c:v>0.22</c:v>
                </c:pt>
                <c:pt idx="49">
                  <c:v>0.11</c:v>
                </c:pt>
                <c:pt idx="50">
                  <c:v>0.21</c:v>
                </c:pt>
                <c:pt idx="51">
                  <c:v>0.13</c:v>
                </c:pt>
                <c:pt idx="52">
                  <c:v>0.11</c:v>
                </c:pt>
                <c:pt idx="53">
                  <c:v>0.12</c:v>
                </c:pt>
                <c:pt idx="54">
                  <c:v>0.1</c:v>
                </c:pt>
                <c:pt idx="55">
                  <c:v>0.1</c:v>
                </c:pt>
                <c:pt idx="56">
                  <c:v>0.13</c:v>
                </c:pt>
                <c:pt idx="57">
                  <c:v>0.09</c:v>
                </c:pt>
                <c:pt idx="58">
                  <c:v>0.12</c:v>
                </c:pt>
                <c:pt idx="59">
                  <c:v>0.06</c:v>
                </c:pt>
                <c:pt idx="60">
                  <c:v>0.11</c:v>
                </c:pt>
                <c:pt idx="61">
                  <c:v>0.05</c:v>
                </c:pt>
                <c:pt idx="62">
                  <c:v>0.1</c:v>
                </c:pt>
                <c:pt idx="63">
                  <c:v>0.1</c:v>
                </c:pt>
                <c:pt idx="64">
                  <c:v>0.06</c:v>
                </c:pt>
                <c:pt idx="65">
                  <c:v>0.04</c:v>
                </c:pt>
                <c:pt idx="66">
                  <c:v>7.0000000000000007E-2</c:v>
                </c:pt>
                <c:pt idx="67">
                  <c:v>0.13</c:v>
                </c:pt>
                <c:pt idx="68">
                  <c:v>0.02</c:v>
                </c:pt>
                <c:pt idx="69">
                  <c:v>0.12</c:v>
                </c:pt>
                <c:pt idx="70">
                  <c:v>0.03</c:v>
                </c:pt>
                <c:pt idx="71">
                  <c:v>0.06</c:v>
                </c:pt>
                <c:pt idx="72">
                  <c:v>0.05</c:v>
                </c:pt>
                <c:pt idx="73">
                  <c:v>0.02</c:v>
                </c:pt>
                <c:pt idx="74">
                  <c:v>0.03</c:v>
                </c:pt>
                <c:pt idx="75">
                  <c:v>0.04</c:v>
                </c:pt>
                <c:pt idx="76">
                  <c:v>0.06</c:v>
                </c:pt>
                <c:pt idx="77">
                  <c:v>0.02</c:v>
                </c:pt>
                <c:pt idx="78">
                  <c:v>0.04</c:v>
                </c:pt>
                <c:pt idx="79">
                  <c:v>0.06</c:v>
                </c:pt>
                <c:pt idx="80">
                  <c:v>0.05</c:v>
                </c:pt>
                <c:pt idx="81">
                  <c:v>0.02</c:v>
                </c:pt>
                <c:pt idx="82">
                  <c:v>0.02</c:v>
                </c:pt>
                <c:pt idx="83">
                  <c:v>7.0000000000000007E-2</c:v>
                </c:pt>
                <c:pt idx="84">
                  <c:v>0.05</c:v>
                </c:pt>
                <c:pt idx="85">
                  <c:v>0.03</c:v>
                </c:pt>
                <c:pt idx="86">
                  <c:v>0.03</c:v>
                </c:pt>
                <c:pt idx="87">
                  <c:v>0.03</c:v>
                </c:pt>
                <c:pt idx="88">
                  <c:v>0.05</c:v>
                </c:pt>
                <c:pt idx="89">
                  <c:v>0.01</c:v>
                </c:pt>
                <c:pt idx="90">
                  <c:v>0.02</c:v>
                </c:pt>
                <c:pt idx="91">
                  <c:v>0.02</c:v>
                </c:pt>
                <c:pt idx="92">
                  <c:v>0.03</c:v>
                </c:pt>
                <c:pt idx="93">
                  <c:v>0.02</c:v>
                </c:pt>
                <c:pt idx="94">
                  <c:v>0.01</c:v>
                </c:pt>
                <c:pt idx="95">
                  <c:v>0.02</c:v>
                </c:pt>
                <c:pt idx="96">
                  <c:v>0.02</c:v>
                </c:pt>
                <c:pt idx="97">
                  <c:v>0.01</c:v>
                </c:pt>
                <c:pt idx="98">
                  <c:v>0.01</c:v>
                </c:pt>
                <c:pt idx="99">
                  <c:v>0.02</c:v>
                </c:pt>
                <c:pt idx="100">
                  <c:v>0.01</c:v>
                </c:pt>
                <c:pt idx="101">
                  <c:v>0.02</c:v>
                </c:pt>
                <c:pt idx="102">
                  <c:v>0.01</c:v>
                </c:pt>
                <c:pt idx="103">
                  <c:v>0.01</c:v>
                </c:pt>
                <c:pt idx="104">
                  <c:v>0.03</c:v>
                </c:pt>
                <c:pt idx="105">
                  <c:v>0.02</c:v>
                </c:pt>
                <c:pt idx="106">
                  <c:v>0.02</c:v>
                </c:pt>
                <c:pt idx="107">
                  <c:v>0.01</c:v>
                </c:pt>
                <c:pt idx="108">
                  <c:v>0.02</c:v>
                </c:pt>
                <c:pt idx="109">
                  <c:v>0.01</c:v>
                </c:pt>
                <c:pt idx="110">
                  <c:v>0.01</c:v>
                </c:pt>
                <c:pt idx="111">
                  <c:v>0.01</c:v>
                </c:pt>
                <c:pt idx="112">
                  <c:v>0.02</c:v>
                </c:pt>
                <c:pt idx="113">
                  <c:v>0.01</c:v>
                </c:pt>
                <c:pt idx="114">
                  <c:v>0.01</c:v>
                </c:pt>
                <c:pt idx="115">
                  <c:v>0.01</c:v>
                </c:pt>
                <c:pt idx="116">
                  <c:v>0.01</c:v>
                </c:pt>
                <c:pt idx="117">
                  <c:v>0.01</c:v>
                </c:pt>
                <c:pt idx="118">
                  <c:v>0.01</c:v>
                </c:pt>
                <c:pt idx="119">
                  <c:v>0.01</c:v>
                </c:pt>
                <c:pt idx="120">
                  <c:v>0.01</c:v>
                </c:pt>
                <c:pt idx="121">
                  <c:v>0.02</c:v>
                </c:pt>
                <c:pt idx="122">
                  <c:v>0.01</c:v>
                </c:pt>
                <c:pt idx="123">
                  <c:v>0.01</c:v>
                </c:pt>
                <c:pt idx="124">
                  <c:v>0.01</c:v>
                </c:pt>
                <c:pt idx="125">
                  <c:v>0.01</c:v>
                </c:pt>
                <c:pt idx="126">
                  <c:v>0.01</c:v>
                </c:pt>
                <c:pt idx="127">
                  <c:v>0.01</c:v>
                </c:pt>
                <c:pt idx="128">
                  <c:v>0.02</c:v>
                </c:pt>
                <c:pt idx="129">
                  <c:v>0.01</c:v>
                </c:pt>
                <c:pt idx="130">
                  <c:v>0.01</c:v>
                </c:pt>
                <c:pt idx="131">
                  <c:v>0.01</c:v>
                </c:pt>
                <c:pt idx="132">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7ECAC4"/>
              </a:solidFill>
            </c:spPr>
            <c:extLst>
              <c:ext xmlns:c16="http://schemas.microsoft.com/office/drawing/2014/chart" uri="{C3380CC4-5D6E-409C-BE32-E72D297353CC}">
                <c16:uniqueId val="{00000063-2993-41DE-A2CB-63102DE87051}"/>
              </c:ext>
            </c:extLst>
          </c:dPt>
          <c:dPt>
            <c:idx val="22"/>
            <c:invertIfNegative val="1"/>
            <c:bubble3D val="0"/>
            <c:spPr>
              <a:solidFill>
                <a:srgbClr val="7ECAC4"/>
              </a:solidFill>
            </c:spPr>
            <c:extLst>
              <c:ext xmlns:c16="http://schemas.microsoft.com/office/drawing/2014/chart" uri="{C3380CC4-5D6E-409C-BE32-E72D297353CC}">
                <c16:uniqueId val="{00000065-2993-41DE-A2CB-63102DE87051}"/>
              </c:ext>
            </c:extLst>
          </c:dPt>
          <c:dPt>
            <c:idx val="23"/>
            <c:invertIfNegative val="1"/>
            <c:bubble3D val="0"/>
            <c:spPr>
              <a:solidFill>
                <a:srgbClr val="7ECAC4"/>
              </a:solidFill>
            </c:spPr>
            <c:extLst>
              <c:ext xmlns:c16="http://schemas.microsoft.com/office/drawing/2014/chart" uri="{C3380CC4-5D6E-409C-BE32-E72D297353CC}">
                <c16:uniqueId val="{00000067-2993-41DE-A2CB-63102DE87051}"/>
              </c:ext>
            </c:extLst>
          </c:dPt>
          <c:dPt>
            <c:idx val="24"/>
            <c:invertIfNegative val="1"/>
            <c:bubble3D val="0"/>
            <c:spPr>
              <a:solidFill>
                <a:srgbClr val="7ECAC4"/>
              </a:solidFill>
            </c:spPr>
            <c:extLst>
              <c:ext xmlns:c16="http://schemas.microsoft.com/office/drawing/2014/chart" uri="{C3380CC4-5D6E-409C-BE32-E72D297353CC}">
                <c16:uniqueId val="{00000069-2993-41DE-A2CB-63102DE87051}"/>
              </c:ext>
            </c:extLst>
          </c:dPt>
          <c:dPt>
            <c:idx val="25"/>
            <c:invertIfNegative val="1"/>
            <c:bubble3D val="0"/>
            <c:spPr>
              <a:solidFill>
                <a:srgbClr val="7ECAC4"/>
              </a:solidFill>
            </c:spPr>
            <c:extLst>
              <c:ext xmlns:c16="http://schemas.microsoft.com/office/drawing/2014/chart" uri="{C3380CC4-5D6E-409C-BE32-E72D297353CC}">
                <c16:uniqueId val="{0000006B-2993-41DE-A2CB-63102DE87051}"/>
              </c:ext>
            </c:extLst>
          </c:dPt>
          <c:dPt>
            <c:idx val="26"/>
            <c:invertIfNegative val="1"/>
            <c:bubble3D val="0"/>
            <c:spPr>
              <a:solidFill>
                <a:srgbClr val="7ECAC4"/>
              </a:solidFill>
            </c:spPr>
            <c:extLst>
              <c:ext xmlns:c16="http://schemas.microsoft.com/office/drawing/2014/chart" uri="{C3380CC4-5D6E-409C-BE32-E72D297353CC}">
                <c16:uniqueId val="{0000006D-2993-41DE-A2CB-63102DE87051}"/>
              </c:ext>
            </c:extLst>
          </c:dPt>
          <c:dPt>
            <c:idx val="27"/>
            <c:invertIfNegative val="1"/>
            <c:bubble3D val="0"/>
            <c:spPr>
              <a:solidFill>
                <a:srgbClr val="7ECAC4"/>
              </a:solidFill>
            </c:spPr>
            <c:extLst>
              <c:ext xmlns:c16="http://schemas.microsoft.com/office/drawing/2014/chart" uri="{C3380CC4-5D6E-409C-BE32-E72D297353CC}">
                <c16:uniqueId val="{0000006F-2993-41DE-A2CB-63102DE87051}"/>
              </c:ext>
            </c:extLst>
          </c:dPt>
          <c:dPt>
            <c:idx val="28"/>
            <c:invertIfNegative val="1"/>
            <c:bubble3D val="0"/>
            <c:spPr>
              <a:solidFill>
                <a:srgbClr val="7ECAC4"/>
              </a:solidFill>
            </c:spPr>
            <c:extLst>
              <c:ext xmlns:c16="http://schemas.microsoft.com/office/drawing/2014/chart" uri="{C3380CC4-5D6E-409C-BE32-E72D297353CC}">
                <c16:uniqueId val="{00000071-2993-41DE-A2CB-63102DE87051}"/>
              </c:ext>
            </c:extLst>
          </c:dPt>
          <c:dPt>
            <c:idx val="29"/>
            <c:invertIfNegative val="1"/>
            <c:bubble3D val="0"/>
            <c:spPr>
              <a:solidFill>
                <a:srgbClr val="7ECAC4"/>
              </a:solidFill>
            </c:spPr>
            <c:extLst>
              <c:ext xmlns:c16="http://schemas.microsoft.com/office/drawing/2014/chart" uri="{C3380CC4-5D6E-409C-BE32-E72D297353CC}">
                <c16:uniqueId val="{00000073-2993-41DE-A2CB-63102DE87051}"/>
              </c:ext>
            </c:extLst>
          </c:dPt>
          <c:dPt>
            <c:idx val="30"/>
            <c:invertIfNegative val="1"/>
            <c:bubble3D val="0"/>
            <c:spPr>
              <a:solidFill>
                <a:srgbClr val="7ECAC4"/>
              </a:solidFill>
            </c:spPr>
            <c:extLst>
              <c:ext xmlns:c16="http://schemas.microsoft.com/office/drawing/2014/chart" uri="{C3380CC4-5D6E-409C-BE32-E72D297353CC}">
                <c16:uniqueId val="{00000075-2993-41DE-A2CB-63102DE87051}"/>
              </c:ext>
            </c:extLst>
          </c:dPt>
          <c:dPt>
            <c:idx val="31"/>
            <c:invertIfNegative val="1"/>
            <c:bubble3D val="0"/>
            <c:spPr>
              <a:solidFill>
                <a:srgbClr val="7ECAC4"/>
              </a:solidFill>
            </c:spPr>
            <c:extLst>
              <c:ext xmlns:c16="http://schemas.microsoft.com/office/drawing/2014/chart" uri="{C3380CC4-5D6E-409C-BE32-E72D297353CC}">
                <c16:uniqueId val="{00000077-2993-41DE-A2CB-63102DE87051}"/>
              </c:ext>
            </c:extLst>
          </c:dPt>
          <c:dPt>
            <c:idx val="32"/>
            <c:invertIfNegative val="1"/>
            <c:bubble3D val="0"/>
            <c:spPr>
              <a:solidFill>
                <a:srgbClr val="7ECAC4"/>
              </a:solidFill>
            </c:spPr>
            <c:extLst>
              <c:ext xmlns:c16="http://schemas.microsoft.com/office/drawing/2014/chart" uri="{C3380CC4-5D6E-409C-BE32-E72D297353CC}">
                <c16:uniqueId val="{00000079-2993-41DE-A2CB-63102DE87051}"/>
              </c:ext>
            </c:extLst>
          </c:dPt>
          <c:dPt>
            <c:idx val="33"/>
            <c:invertIfNegative val="1"/>
            <c:bubble3D val="0"/>
            <c:spPr>
              <a:solidFill>
                <a:srgbClr val="7ECAC4"/>
              </a:solidFill>
            </c:spPr>
            <c:extLst>
              <c:ext xmlns:c16="http://schemas.microsoft.com/office/drawing/2014/chart" uri="{C3380CC4-5D6E-409C-BE32-E72D297353CC}">
                <c16:uniqueId val="{0000007B-2993-41DE-A2CB-63102DE87051}"/>
              </c:ext>
            </c:extLst>
          </c:dPt>
          <c:dPt>
            <c:idx val="34"/>
            <c:invertIfNegative val="1"/>
            <c:bubble3D val="0"/>
            <c:spPr>
              <a:solidFill>
                <a:srgbClr val="7ECAC4"/>
              </a:solidFill>
            </c:spPr>
            <c:extLst>
              <c:ext xmlns:c16="http://schemas.microsoft.com/office/drawing/2014/chart" uri="{C3380CC4-5D6E-409C-BE32-E72D297353CC}">
                <c16:uniqueId val="{0000007D-2993-41DE-A2CB-63102DE87051}"/>
              </c:ext>
            </c:extLst>
          </c:dPt>
          <c:dPt>
            <c:idx val="35"/>
            <c:invertIfNegative val="1"/>
            <c:bubble3D val="0"/>
            <c:spPr>
              <a:solidFill>
                <a:srgbClr val="7ECAC4"/>
              </a:solidFill>
            </c:spPr>
            <c:extLst>
              <c:ext xmlns:c16="http://schemas.microsoft.com/office/drawing/2014/chart" uri="{C3380CC4-5D6E-409C-BE32-E72D297353CC}">
                <c16:uniqueId val="{0000007F-2993-41DE-A2CB-63102DE87051}"/>
              </c:ext>
            </c:extLst>
          </c:dPt>
          <c:dPt>
            <c:idx val="36"/>
            <c:invertIfNegative val="1"/>
            <c:bubble3D val="0"/>
            <c:spPr>
              <a:solidFill>
                <a:srgbClr val="7ECAC4"/>
              </a:solidFill>
            </c:spPr>
            <c:extLst>
              <c:ext xmlns:c16="http://schemas.microsoft.com/office/drawing/2014/chart" uri="{C3380CC4-5D6E-409C-BE32-E72D297353CC}">
                <c16:uniqueId val="{00000081-2993-41DE-A2CB-63102DE87051}"/>
              </c:ext>
            </c:extLst>
          </c:dPt>
          <c:dPt>
            <c:idx val="37"/>
            <c:invertIfNegative val="1"/>
            <c:bubble3D val="0"/>
            <c:spPr>
              <a:solidFill>
                <a:srgbClr val="7ECAC4"/>
              </a:solidFill>
            </c:spPr>
            <c:extLst>
              <c:ext xmlns:c16="http://schemas.microsoft.com/office/drawing/2014/chart" uri="{C3380CC4-5D6E-409C-BE32-E72D297353CC}">
                <c16:uniqueId val="{00000083-2993-41DE-A2CB-63102DE87051}"/>
              </c:ext>
            </c:extLst>
          </c:dPt>
          <c:dPt>
            <c:idx val="38"/>
            <c:invertIfNegative val="1"/>
            <c:bubble3D val="0"/>
            <c:spPr>
              <a:solidFill>
                <a:srgbClr val="7ECAC4"/>
              </a:solidFill>
            </c:spPr>
            <c:extLst>
              <c:ext xmlns:c16="http://schemas.microsoft.com/office/drawing/2014/chart" uri="{C3380CC4-5D6E-409C-BE32-E72D297353CC}">
                <c16:uniqueId val="{00000085-2993-41DE-A2CB-63102DE87051}"/>
              </c:ext>
            </c:extLst>
          </c:dPt>
          <c:dPt>
            <c:idx val="39"/>
            <c:invertIfNegative val="1"/>
            <c:bubble3D val="0"/>
            <c:spPr>
              <a:solidFill>
                <a:srgbClr val="7ECAC4"/>
              </a:solidFill>
            </c:spPr>
            <c:extLst>
              <c:ext xmlns:c16="http://schemas.microsoft.com/office/drawing/2014/chart" uri="{C3380CC4-5D6E-409C-BE32-E72D297353CC}">
                <c16:uniqueId val="{00000087-2993-41DE-A2CB-63102DE87051}"/>
              </c:ext>
            </c:extLst>
          </c:dPt>
          <c:dPt>
            <c:idx val="40"/>
            <c:invertIfNegative val="1"/>
            <c:bubble3D val="0"/>
            <c:spPr>
              <a:solidFill>
                <a:srgbClr val="7ECAC4"/>
              </a:solidFill>
            </c:spPr>
            <c:extLst>
              <c:ext xmlns:c16="http://schemas.microsoft.com/office/drawing/2014/chart" uri="{C3380CC4-5D6E-409C-BE32-E72D297353CC}">
                <c16:uniqueId val="{00000089-2993-41DE-A2CB-63102DE87051}"/>
              </c:ext>
            </c:extLst>
          </c:dPt>
          <c:dPt>
            <c:idx val="41"/>
            <c:invertIfNegative val="1"/>
            <c:bubble3D val="0"/>
            <c:spPr>
              <a:solidFill>
                <a:srgbClr val="7ECAC4"/>
              </a:solidFill>
            </c:spPr>
            <c:extLst>
              <c:ext xmlns:c16="http://schemas.microsoft.com/office/drawing/2014/chart" uri="{C3380CC4-5D6E-409C-BE32-E72D297353CC}">
                <c16:uniqueId val="{0000008B-2993-41DE-A2CB-63102DE87051}"/>
              </c:ext>
            </c:extLst>
          </c:dPt>
          <c:dPt>
            <c:idx val="42"/>
            <c:invertIfNegative val="1"/>
            <c:bubble3D val="0"/>
            <c:spPr>
              <a:solidFill>
                <a:srgbClr val="7ECAC4"/>
              </a:solidFill>
            </c:spPr>
            <c:extLst>
              <c:ext xmlns:c16="http://schemas.microsoft.com/office/drawing/2014/chart" uri="{C3380CC4-5D6E-409C-BE32-E72D297353CC}">
                <c16:uniqueId val="{0000008D-2993-41DE-A2CB-63102DE87051}"/>
              </c:ext>
            </c:extLst>
          </c:dPt>
          <c:dPt>
            <c:idx val="43"/>
            <c:invertIfNegative val="1"/>
            <c:bubble3D val="0"/>
            <c:spPr>
              <a:solidFill>
                <a:srgbClr val="7ECAC4"/>
              </a:solidFill>
            </c:spPr>
            <c:extLst>
              <c:ext xmlns:c16="http://schemas.microsoft.com/office/drawing/2014/chart" uri="{C3380CC4-5D6E-409C-BE32-E72D297353CC}">
                <c16:uniqueId val="{0000008F-2993-41DE-A2CB-63102DE87051}"/>
              </c:ext>
            </c:extLst>
          </c:dPt>
          <c:dPt>
            <c:idx val="44"/>
            <c:invertIfNegative val="1"/>
            <c:bubble3D val="0"/>
            <c:spPr>
              <a:solidFill>
                <a:srgbClr val="AEABAB"/>
              </a:solidFill>
            </c:spPr>
            <c:extLst>
              <c:ext xmlns:c16="http://schemas.microsoft.com/office/drawing/2014/chart" uri="{C3380CC4-5D6E-409C-BE32-E72D297353CC}">
                <c16:uniqueId val="{00000091-2993-41DE-A2CB-63102DE87051}"/>
              </c:ext>
            </c:extLst>
          </c:dPt>
          <c:dPt>
            <c:idx val="45"/>
            <c:invertIfNegative val="1"/>
            <c:bubble3D val="0"/>
            <c:spPr>
              <a:solidFill>
                <a:srgbClr val="AEABAB"/>
              </a:solidFill>
            </c:spPr>
            <c:extLst>
              <c:ext xmlns:c16="http://schemas.microsoft.com/office/drawing/2014/chart" uri="{C3380CC4-5D6E-409C-BE32-E72D297353CC}">
                <c16:uniqueId val="{00000093-2993-41DE-A2CB-63102DE87051}"/>
              </c:ext>
            </c:extLst>
          </c:dPt>
          <c:dPt>
            <c:idx val="46"/>
            <c:invertIfNegative val="1"/>
            <c:bubble3D val="0"/>
            <c:spPr>
              <a:solidFill>
                <a:srgbClr val="AEABAB"/>
              </a:solidFill>
            </c:spPr>
            <c:extLst>
              <c:ext xmlns:c16="http://schemas.microsoft.com/office/drawing/2014/chart" uri="{C3380CC4-5D6E-409C-BE32-E72D297353CC}">
                <c16:uniqueId val="{00000095-2993-41DE-A2CB-63102DE87051}"/>
              </c:ext>
            </c:extLst>
          </c:dPt>
          <c:dPt>
            <c:idx val="47"/>
            <c:invertIfNegative val="1"/>
            <c:bubble3D val="0"/>
            <c:spPr>
              <a:solidFill>
                <a:srgbClr val="AEABAB"/>
              </a:solidFill>
            </c:spPr>
            <c:extLst>
              <c:ext xmlns:c16="http://schemas.microsoft.com/office/drawing/2014/chart" uri="{C3380CC4-5D6E-409C-BE32-E72D297353CC}">
                <c16:uniqueId val="{00000097-2993-41DE-A2CB-63102DE87051}"/>
              </c:ext>
            </c:extLst>
          </c:dPt>
          <c:dPt>
            <c:idx val="48"/>
            <c:invertIfNegative val="1"/>
            <c:bubble3D val="0"/>
            <c:spPr>
              <a:solidFill>
                <a:srgbClr val="AEABAB"/>
              </a:solidFill>
            </c:spPr>
            <c:extLst>
              <c:ext xmlns:c16="http://schemas.microsoft.com/office/drawing/2014/chart" uri="{C3380CC4-5D6E-409C-BE32-E72D297353CC}">
                <c16:uniqueId val="{00000099-2993-41DE-A2CB-63102DE87051}"/>
              </c:ext>
            </c:extLst>
          </c:dPt>
          <c:dPt>
            <c:idx val="49"/>
            <c:invertIfNegative val="1"/>
            <c:bubble3D val="0"/>
            <c:spPr>
              <a:solidFill>
                <a:srgbClr val="AEABAB"/>
              </a:solidFill>
            </c:spPr>
            <c:extLst>
              <c:ext xmlns:c16="http://schemas.microsoft.com/office/drawing/2014/chart" uri="{C3380CC4-5D6E-409C-BE32-E72D297353CC}">
                <c16:uniqueId val="{0000009B-2993-41DE-A2CB-63102DE87051}"/>
              </c:ext>
            </c:extLst>
          </c:dPt>
          <c:dPt>
            <c:idx val="50"/>
            <c:invertIfNegative val="1"/>
            <c:bubble3D val="0"/>
            <c:spPr>
              <a:solidFill>
                <a:srgbClr val="AEABAB"/>
              </a:solidFill>
            </c:spPr>
            <c:extLst>
              <c:ext xmlns:c16="http://schemas.microsoft.com/office/drawing/2014/chart" uri="{C3380CC4-5D6E-409C-BE32-E72D297353CC}">
                <c16:uniqueId val="{0000009D-2993-41DE-A2CB-63102DE87051}"/>
              </c:ext>
            </c:extLst>
          </c:dPt>
          <c:dPt>
            <c:idx val="51"/>
            <c:invertIfNegative val="1"/>
            <c:bubble3D val="0"/>
            <c:spPr>
              <a:solidFill>
                <a:srgbClr val="AEABAB"/>
              </a:solidFill>
            </c:spPr>
            <c:extLst>
              <c:ext xmlns:c16="http://schemas.microsoft.com/office/drawing/2014/chart" uri="{C3380CC4-5D6E-409C-BE32-E72D297353CC}">
                <c16:uniqueId val="{0000009F-2993-41DE-A2CB-63102DE87051}"/>
              </c:ext>
            </c:extLst>
          </c:dPt>
          <c:dPt>
            <c:idx val="52"/>
            <c:invertIfNegative val="1"/>
            <c:bubble3D val="0"/>
            <c:spPr>
              <a:solidFill>
                <a:srgbClr val="AEABAB"/>
              </a:solidFill>
            </c:spPr>
            <c:extLst>
              <c:ext xmlns:c16="http://schemas.microsoft.com/office/drawing/2014/chart" uri="{C3380CC4-5D6E-409C-BE32-E72D297353CC}">
                <c16:uniqueId val="{000000A1-2993-41DE-A2CB-63102DE87051}"/>
              </c:ext>
            </c:extLst>
          </c:dPt>
          <c:dPt>
            <c:idx val="53"/>
            <c:invertIfNegative val="1"/>
            <c:bubble3D val="0"/>
            <c:spPr>
              <a:solidFill>
                <a:srgbClr val="AEABAB"/>
              </a:solidFill>
            </c:spPr>
            <c:extLst>
              <c:ext xmlns:c16="http://schemas.microsoft.com/office/drawing/2014/chart" uri="{C3380CC4-5D6E-409C-BE32-E72D297353CC}">
                <c16:uniqueId val="{000000A3-2993-41DE-A2CB-63102DE87051}"/>
              </c:ext>
            </c:extLst>
          </c:dPt>
          <c:dPt>
            <c:idx val="54"/>
            <c:invertIfNegative val="0"/>
            <c:bubble3D val="0"/>
            <c:spPr>
              <a:solidFill>
                <a:srgbClr val="AEABAB"/>
              </a:solidFill>
            </c:spPr>
            <c:extLst>
              <c:ext xmlns:c16="http://schemas.microsoft.com/office/drawing/2014/chart" uri="{C3380CC4-5D6E-409C-BE32-E72D297353CC}">
                <c16:uniqueId val="{00000072-C76F-4230-900D-40618C09729F}"/>
              </c:ext>
            </c:extLst>
          </c:dPt>
          <c:dPt>
            <c:idx val="55"/>
            <c:invertIfNegative val="0"/>
            <c:bubble3D val="0"/>
            <c:spPr>
              <a:solidFill>
                <a:srgbClr val="AEABAB"/>
              </a:solidFill>
            </c:spPr>
            <c:extLst>
              <c:ext xmlns:c16="http://schemas.microsoft.com/office/drawing/2014/chart" uri="{C3380CC4-5D6E-409C-BE32-E72D297353CC}">
                <c16:uniqueId val="{00000074-C76F-4230-900D-40618C09729F}"/>
              </c:ext>
            </c:extLst>
          </c:dPt>
          <c:dPt>
            <c:idx val="56"/>
            <c:invertIfNegative val="0"/>
            <c:bubble3D val="0"/>
            <c:spPr>
              <a:solidFill>
                <a:srgbClr val="AEABAB"/>
              </a:solidFill>
            </c:spPr>
            <c:extLst>
              <c:ext xmlns:c16="http://schemas.microsoft.com/office/drawing/2014/chart" uri="{C3380CC4-5D6E-409C-BE32-E72D297353CC}">
                <c16:uniqueId val="{00000076-C76F-4230-900D-40618C09729F}"/>
              </c:ext>
            </c:extLst>
          </c:dPt>
          <c:dPt>
            <c:idx val="57"/>
            <c:invertIfNegative val="0"/>
            <c:bubble3D val="0"/>
            <c:spPr>
              <a:solidFill>
                <a:srgbClr val="AEABAB"/>
              </a:solidFill>
            </c:spPr>
            <c:extLst>
              <c:ext xmlns:c16="http://schemas.microsoft.com/office/drawing/2014/chart" uri="{C3380CC4-5D6E-409C-BE32-E72D297353CC}">
                <c16:uniqueId val="{00000078-C76F-4230-900D-40618C09729F}"/>
              </c:ext>
            </c:extLst>
          </c:dPt>
          <c:dPt>
            <c:idx val="58"/>
            <c:invertIfNegative val="0"/>
            <c:bubble3D val="0"/>
            <c:spPr>
              <a:solidFill>
                <a:srgbClr val="AEABAB"/>
              </a:solidFill>
            </c:spPr>
            <c:extLst>
              <c:ext xmlns:c16="http://schemas.microsoft.com/office/drawing/2014/chart" uri="{C3380CC4-5D6E-409C-BE32-E72D297353CC}">
                <c16:uniqueId val="{0000007A-C76F-4230-900D-40618C09729F}"/>
              </c:ext>
            </c:extLst>
          </c:dPt>
          <c:dPt>
            <c:idx val="59"/>
            <c:invertIfNegative val="0"/>
            <c:bubble3D val="0"/>
            <c:spPr>
              <a:solidFill>
                <a:srgbClr val="AEABAB"/>
              </a:solidFill>
            </c:spPr>
            <c:extLst>
              <c:ext xmlns:c16="http://schemas.microsoft.com/office/drawing/2014/chart" uri="{C3380CC4-5D6E-409C-BE32-E72D297353CC}">
                <c16:uniqueId val="{0000007C-C76F-4230-900D-40618C09729F}"/>
              </c:ext>
            </c:extLst>
          </c:dPt>
          <c:dPt>
            <c:idx val="60"/>
            <c:invertIfNegative val="0"/>
            <c:bubble3D val="0"/>
            <c:spPr>
              <a:solidFill>
                <a:srgbClr val="AEABAB"/>
              </a:solidFill>
            </c:spPr>
            <c:extLst>
              <c:ext xmlns:c16="http://schemas.microsoft.com/office/drawing/2014/chart" uri="{C3380CC4-5D6E-409C-BE32-E72D297353CC}">
                <c16:uniqueId val="{0000007E-C76F-4230-900D-40618C09729F}"/>
              </c:ext>
            </c:extLst>
          </c:dPt>
          <c:dPt>
            <c:idx val="61"/>
            <c:invertIfNegative val="0"/>
            <c:bubble3D val="0"/>
            <c:spPr>
              <a:solidFill>
                <a:srgbClr val="AEABAB"/>
              </a:solidFill>
            </c:spPr>
            <c:extLst>
              <c:ext xmlns:c16="http://schemas.microsoft.com/office/drawing/2014/chart" uri="{C3380CC4-5D6E-409C-BE32-E72D297353CC}">
                <c16:uniqueId val="{00000080-C76F-4230-900D-40618C09729F}"/>
              </c:ext>
            </c:extLst>
          </c:dPt>
          <c:dPt>
            <c:idx val="62"/>
            <c:invertIfNegative val="0"/>
            <c:bubble3D val="0"/>
            <c:spPr>
              <a:solidFill>
                <a:srgbClr val="AEABAB"/>
              </a:solidFill>
            </c:spPr>
            <c:extLst>
              <c:ext xmlns:c16="http://schemas.microsoft.com/office/drawing/2014/chart" uri="{C3380CC4-5D6E-409C-BE32-E72D297353CC}">
                <c16:uniqueId val="{00000082-C76F-4230-900D-40618C09729F}"/>
              </c:ext>
            </c:extLst>
          </c:dPt>
          <c:dPt>
            <c:idx val="63"/>
            <c:invertIfNegative val="0"/>
            <c:bubble3D val="0"/>
            <c:spPr>
              <a:solidFill>
                <a:srgbClr val="AEABAB"/>
              </a:solidFill>
            </c:spPr>
            <c:extLst>
              <c:ext xmlns:c16="http://schemas.microsoft.com/office/drawing/2014/chart" uri="{C3380CC4-5D6E-409C-BE32-E72D297353CC}">
                <c16:uniqueId val="{00000084-C76F-4230-900D-40618C09729F}"/>
              </c:ext>
            </c:extLst>
          </c:dPt>
          <c:dPt>
            <c:idx val="64"/>
            <c:invertIfNegative val="0"/>
            <c:bubble3D val="0"/>
            <c:spPr>
              <a:solidFill>
                <a:srgbClr val="AEABAB"/>
              </a:solidFill>
            </c:spPr>
            <c:extLst>
              <c:ext xmlns:c16="http://schemas.microsoft.com/office/drawing/2014/chart" uri="{C3380CC4-5D6E-409C-BE32-E72D297353CC}">
                <c16:uniqueId val="{00000086-C76F-4230-900D-40618C09729F}"/>
              </c:ext>
            </c:extLst>
          </c:dPt>
          <c:dPt>
            <c:idx val="65"/>
            <c:invertIfNegative val="0"/>
            <c:bubble3D val="0"/>
            <c:spPr>
              <a:solidFill>
                <a:srgbClr val="AEABAB"/>
              </a:solidFill>
            </c:spPr>
            <c:extLst>
              <c:ext xmlns:c16="http://schemas.microsoft.com/office/drawing/2014/chart" uri="{C3380CC4-5D6E-409C-BE32-E72D297353CC}">
                <c16:uniqueId val="{00000088-C76F-4230-900D-40618C09729F}"/>
              </c:ext>
            </c:extLst>
          </c:dPt>
          <c:dPt>
            <c:idx val="66"/>
            <c:invertIfNegative val="0"/>
            <c:bubble3D val="0"/>
            <c:spPr>
              <a:solidFill>
                <a:srgbClr val="AEABAB"/>
              </a:solidFill>
            </c:spPr>
            <c:extLst>
              <c:ext xmlns:c16="http://schemas.microsoft.com/office/drawing/2014/chart" uri="{C3380CC4-5D6E-409C-BE32-E72D297353CC}">
                <c16:uniqueId val="{0000008A-C76F-4230-900D-40618C09729F}"/>
              </c:ext>
            </c:extLst>
          </c:dPt>
          <c:dPt>
            <c:idx val="67"/>
            <c:invertIfNegative val="0"/>
            <c:bubble3D val="0"/>
            <c:spPr>
              <a:solidFill>
                <a:srgbClr val="AEABAB"/>
              </a:solidFill>
            </c:spPr>
            <c:extLst>
              <c:ext xmlns:c16="http://schemas.microsoft.com/office/drawing/2014/chart" uri="{C3380CC4-5D6E-409C-BE32-E72D297353CC}">
                <c16:uniqueId val="{0000008C-C76F-4230-900D-40618C09729F}"/>
              </c:ext>
            </c:extLst>
          </c:dPt>
          <c:dPt>
            <c:idx val="68"/>
            <c:invertIfNegative val="0"/>
            <c:bubble3D val="0"/>
            <c:spPr>
              <a:solidFill>
                <a:srgbClr val="AEABAB"/>
              </a:solidFill>
            </c:spPr>
            <c:extLst>
              <c:ext xmlns:c16="http://schemas.microsoft.com/office/drawing/2014/chart" uri="{C3380CC4-5D6E-409C-BE32-E72D297353CC}">
                <c16:uniqueId val="{0000008E-C76F-4230-900D-40618C09729F}"/>
              </c:ext>
            </c:extLst>
          </c:dPt>
          <c:dPt>
            <c:idx val="69"/>
            <c:invertIfNegative val="0"/>
            <c:bubble3D val="0"/>
            <c:spPr>
              <a:solidFill>
                <a:srgbClr val="AEABAB"/>
              </a:solidFill>
            </c:spPr>
            <c:extLst>
              <c:ext xmlns:c16="http://schemas.microsoft.com/office/drawing/2014/chart" uri="{C3380CC4-5D6E-409C-BE32-E72D297353CC}">
                <c16:uniqueId val="{00000090-C76F-4230-900D-40618C09729F}"/>
              </c:ext>
            </c:extLst>
          </c:dPt>
          <c:dPt>
            <c:idx val="70"/>
            <c:invertIfNegative val="0"/>
            <c:bubble3D val="0"/>
            <c:spPr>
              <a:solidFill>
                <a:srgbClr val="AEABAB"/>
              </a:solidFill>
            </c:spPr>
            <c:extLst>
              <c:ext xmlns:c16="http://schemas.microsoft.com/office/drawing/2014/chart" uri="{C3380CC4-5D6E-409C-BE32-E72D297353CC}">
                <c16:uniqueId val="{00000092-C76F-4230-900D-40618C09729F}"/>
              </c:ext>
            </c:extLst>
          </c:dPt>
          <c:dPt>
            <c:idx val="71"/>
            <c:invertIfNegative val="0"/>
            <c:bubble3D val="0"/>
            <c:spPr>
              <a:solidFill>
                <a:srgbClr val="AEABAB"/>
              </a:solidFill>
            </c:spPr>
            <c:extLst>
              <c:ext xmlns:c16="http://schemas.microsoft.com/office/drawing/2014/chart" uri="{C3380CC4-5D6E-409C-BE32-E72D297353CC}">
                <c16:uniqueId val="{00000094-C76F-4230-900D-40618C09729F}"/>
              </c:ext>
            </c:extLst>
          </c:dPt>
          <c:dPt>
            <c:idx val="72"/>
            <c:invertIfNegative val="0"/>
            <c:bubble3D val="0"/>
            <c:spPr>
              <a:solidFill>
                <a:srgbClr val="AEABAB"/>
              </a:solidFill>
            </c:spPr>
            <c:extLst>
              <c:ext xmlns:c16="http://schemas.microsoft.com/office/drawing/2014/chart" uri="{C3380CC4-5D6E-409C-BE32-E72D297353CC}">
                <c16:uniqueId val="{00000096-C76F-4230-900D-40618C09729F}"/>
              </c:ext>
            </c:extLst>
          </c:dPt>
          <c:dPt>
            <c:idx val="73"/>
            <c:invertIfNegative val="0"/>
            <c:bubble3D val="0"/>
            <c:spPr>
              <a:solidFill>
                <a:srgbClr val="AEABAB"/>
              </a:solidFill>
            </c:spPr>
            <c:extLst>
              <c:ext xmlns:c16="http://schemas.microsoft.com/office/drawing/2014/chart" uri="{C3380CC4-5D6E-409C-BE32-E72D297353CC}">
                <c16:uniqueId val="{00000098-C76F-4230-900D-40618C09729F}"/>
              </c:ext>
            </c:extLst>
          </c:dPt>
          <c:dPt>
            <c:idx val="74"/>
            <c:invertIfNegative val="0"/>
            <c:bubble3D val="0"/>
            <c:spPr>
              <a:solidFill>
                <a:srgbClr val="AEABAB"/>
              </a:solidFill>
            </c:spPr>
            <c:extLst>
              <c:ext xmlns:c16="http://schemas.microsoft.com/office/drawing/2014/chart" uri="{C3380CC4-5D6E-409C-BE32-E72D297353CC}">
                <c16:uniqueId val="{0000009A-C76F-4230-900D-40618C09729F}"/>
              </c:ext>
            </c:extLst>
          </c:dPt>
          <c:dPt>
            <c:idx val="75"/>
            <c:invertIfNegative val="0"/>
            <c:bubble3D val="0"/>
            <c:spPr>
              <a:solidFill>
                <a:srgbClr val="AEABAB"/>
              </a:solidFill>
            </c:spPr>
            <c:extLst>
              <c:ext xmlns:c16="http://schemas.microsoft.com/office/drawing/2014/chart" uri="{C3380CC4-5D6E-409C-BE32-E72D297353CC}">
                <c16:uniqueId val="{0000009C-C76F-4230-900D-40618C09729F}"/>
              </c:ext>
            </c:extLst>
          </c:dPt>
          <c:dPt>
            <c:idx val="76"/>
            <c:invertIfNegative val="0"/>
            <c:bubble3D val="0"/>
            <c:spPr>
              <a:solidFill>
                <a:srgbClr val="AEABAB"/>
              </a:solidFill>
            </c:spPr>
            <c:extLst>
              <c:ext xmlns:c16="http://schemas.microsoft.com/office/drawing/2014/chart" uri="{C3380CC4-5D6E-409C-BE32-E72D297353CC}">
                <c16:uniqueId val="{0000009E-C76F-4230-900D-40618C09729F}"/>
              </c:ext>
            </c:extLst>
          </c:dPt>
          <c:dPt>
            <c:idx val="77"/>
            <c:invertIfNegative val="0"/>
            <c:bubble3D val="0"/>
            <c:spPr>
              <a:solidFill>
                <a:srgbClr val="AEABAB"/>
              </a:solidFill>
            </c:spPr>
            <c:extLst>
              <c:ext xmlns:c16="http://schemas.microsoft.com/office/drawing/2014/chart" uri="{C3380CC4-5D6E-409C-BE32-E72D297353CC}">
                <c16:uniqueId val="{000000A0-C76F-4230-900D-40618C09729F}"/>
              </c:ext>
            </c:extLst>
          </c:dPt>
          <c:dPt>
            <c:idx val="78"/>
            <c:invertIfNegative val="0"/>
            <c:bubble3D val="0"/>
            <c:spPr>
              <a:solidFill>
                <a:srgbClr val="AEABAB"/>
              </a:solidFill>
            </c:spPr>
            <c:extLst>
              <c:ext xmlns:c16="http://schemas.microsoft.com/office/drawing/2014/chart" uri="{C3380CC4-5D6E-409C-BE32-E72D297353CC}">
                <c16:uniqueId val="{000000A2-C76F-4230-900D-40618C09729F}"/>
              </c:ext>
            </c:extLst>
          </c:dPt>
          <c:dPt>
            <c:idx val="79"/>
            <c:invertIfNegative val="0"/>
            <c:bubble3D val="0"/>
            <c:spPr>
              <a:solidFill>
                <a:srgbClr val="AEABAB"/>
              </a:solidFill>
            </c:spPr>
            <c:extLst>
              <c:ext xmlns:c16="http://schemas.microsoft.com/office/drawing/2014/chart" uri="{C3380CC4-5D6E-409C-BE32-E72D297353CC}">
                <c16:uniqueId val="{000000A4-C76F-4230-900D-40618C09729F}"/>
              </c:ext>
            </c:extLst>
          </c:dPt>
          <c:dPt>
            <c:idx val="80"/>
            <c:invertIfNegative val="0"/>
            <c:bubble3D val="0"/>
            <c:spPr>
              <a:solidFill>
                <a:srgbClr val="AEABAB"/>
              </a:solidFill>
            </c:spPr>
            <c:extLst>
              <c:ext xmlns:c16="http://schemas.microsoft.com/office/drawing/2014/chart" uri="{C3380CC4-5D6E-409C-BE32-E72D297353CC}">
                <c16:uniqueId val="{000000A6-C76F-4230-900D-40618C09729F}"/>
              </c:ext>
            </c:extLst>
          </c:dPt>
          <c:dPt>
            <c:idx val="81"/>
            <c:invertIfNegative val="1"/>
            <c:bubble3D val="0"/>
            <c:spPr>
              <a:solidFill>
                <a:srgbClr val="AEABAB"/>
              </a:solidFill>
            </c:spPr>
            <c:extLst>
              <c:ext xmlns:c16="http://schemas.microsoft.com/office/drawing/2014/chart" uri="{C3380CC4-5D6E-409C-BE32-E72D297353CC}">
                <c16:uniqueId val="{000000A5-2993-41DE-A2CB-63102DE87051}"/>
              </c:ext>
            </c:extLst>
          </c:dPt>
          <c:dPt>
            <c:idx val="82"/>
            <c:invertIfNegative val="1"/>
            <c:bubble3D val="0"/>
            <c:spPr>
              <a:solidFill>
                <a:srgbClr val="AEABAB"/>
              </a:solidFill>
            </c:spPr>
            <c:extLst>
              <c:ext xmlns:c16="http://schemas.microsoft.com/office/drawing/2014/chart" uri="{C3380CC4-5D6E-409C-BE32-E72D297353CC}">
                <c16:uniqueId val="{000000A7-2993-41DE-A2CB-63102DE87051}"/>
              </c:ext>
            </c:extLst>
          </c:dPt>
          <c:dPt>
            <c:idx val="83"/>
            <c:invertIfNegative val="1"/>
            <c:bubble3D val="0"/>
            <c:spPr>
              <a:solidFill>
                <a:srgbClr val="AEABAB"/>
              </a:solidFill>
            </c:spPr>
            <c:extLst>
              <c:ext xmlns:c16="http://schemas.microsoft.com/office/drawing/2014/chart" uri="{C3380CC4-5D6E-409C-BE32-E72D297353CC}">
                <c16:uniqueId val="{000000A9-2993-41DE-A2CB-63102DE87051}"/>
              </c:ext>
            </c:extLst>
          </c:dPt>
          <c:dPt>
            <c:idx val="84"/>
            <c:invertIfNegative val="1"/>
            <c:bubble3D val="0"/>
            <c:spPr>
              <a:solidFill>
                <a:srgbClr val="AEABAB"/>
              </a:solidFill>
            </c:spPr>
            <c:extLst>
              <c:ext xmlns:c16="http://schemas.microsoft.com/office/drawing/2014/chart" uri="{C3380CC4-5D6E-409C-BE32-E72D297353CC}">
                <c16:uniqueId val="{000000AB-2993-41DE-A2CB-63102DE87051}"/>
              </c:ext>
            </c:extLst>
          </c:dPt>
          <c:dPt>
            <c:idx val="85"/>
            <c:invertIfNegative val="1"/>
            <c:bubble3D val="0"/>
            <c:spPr>
              <a:solidFill>
                <a:srgbClr val="AEABAB"/>
              </a:solidFill>
            </c:spPr>
            <c:extLst>
              <c:ext xmlns:c16="http://schemas.microsoft.com/office/drawing/2014/chart" uri="{C3380CC4-5D6E-409C-BE32-E72D297353CC}">
                <c16:uniqueId val="{000000AD-2993-41DE-A2CB-63102DE87051}"/>
              </c:ext>
            </c:extLst>
          </c:dPt>
          <c:dPt>
            <c:idx val="86"/>
            <c:invertIfNegative val="1"/>
            <c:bubble3D val="0"/>
            <c:spPr>
              <a:solidFill>
                <a:srgbClr val="AEABAB"/>
              </a:solidFill>
            </c:spPr>
            <c:extLst>
              <c:ext xmlns:c16="http://schemas.microsoft.com/office/drawing/2014/chart" uri="{C3380CC4-5D6E-409C-BE32-E72D297353CC}">
                <c16:uniqueId val="{000000AF-2993-41DE-A2CB-63102DE87051}"/>
              </c:ext>
            </c:extLst>
          </c:dPt>
          <c:dPt>
            <c:idx val="87"/>
            <c:invertIfNegative val="1"/>
            <c:bubble3D val="0"/>
            <c:spPr>
              <a:solidFill>
                <a:srgbClr val="AEABAB"/>
              </a:solidFill>
            </c:spPr>
            <c:extLst>
              <c:ext xmlns:c16="http://schemas.microsoft.com/office/drawing/2014/chart" uri="{C3380CC4-5D6E-409C-BE32-E72D297353CC}">
                <c16:uniqueId val="{000000B1-2993-41DE-A2CB-63102DE87051}"/>
              </c:ext>
            </c:extLst>
          </c:dPt>
          <c:dPt>
            <c:idx val="88"/>
            <c:invertIfNegative val="1"/>
            <c:bubble3D val="0"/>
            <c:spPr>
              <a:solidFill>
                <a:srgbClr val="AEABAB"/>
              </a:solidFill>
            </c:spPr>
            <c:extLst>
              <c:ext xmlns:c16="http://schemas.microsoft.com/office/drawing/2014/chart" uri="{C3380CC4-5D6E-409C-BE32-E72D297353CC}">
                <c16:uniqueId val="{000000B3-2993-41DE-A2CB-63102DE87051}"/>
              </c:ext>
            </c:extLst>
          </c:dPt>
          <c:dPt>
            <c:idx val="89"/>
            <c:invertIfNegative val="1"/>
            <c:bubble3D val="0"/>
            <c:spPr>
              <a:solidFill>
                <a:srgbClr val="AEABAB"/>
              </a:solidFill>
            </c:spPr>
            <c:extLst>
              <c:ext xmlns:c16="http://schemas.microsoft.com/office/drawing/2014/chart" uri="{C3380CC4-5D6E-409C-BE32-E72D297353CC}">
                <c16:uniqueId val="{000000B5-2993-41DE-A2CB-63102DE87051}"/>
              </c:ext>
            </c:extLst>
          </c:dPt>
          <c:dPt>
            <c:idx val="90"/>
            <c:invertIfNegative val="1"/>
            <c:bubble3D val="0"/>
            <c:spPr>
              <a:solidFill>
                <a:srgbClr val="AEABAB"/>
              </a:solidFill>
            </c:spPr>
            <c:extLst>
              <c:ext xmlns:c16="http://schemas.microsoft.com/office/drawing/2014/chart" uri="{C3380CC4-5D6E-409C-BE32-E72D297353CC}">
                <c16:uniqueId val="{000000B7-2993-41DE-A2CB-63102DE87051}"/>
              </c:ext>
            </c:extLst>
          </c:dPt>
          <c:dPt>
            <c:idx val="91"/>
            <c:invertIfNegative val="1"/>
            <c:bubble3D val="0"/>
            <c:spPr>
              <a:solidFill>
                <a:srgbClr val="AEABAB"/>
              </a:solidFill>
            </c:spPr>
            <c:extLst>
              <c:ext xmlns:c16="http://schemas.microsoft.com/office/drawing/2014/chart" uri="{C3380CC4-5D6E-409C-BE32-E72D297353CC}">
                <c16:uniqueId val="{000000B9-2993-41DE-A2CB-63102DE87051}"/>
              </c:ext>
            </c:extLst>
          </c:dPt>
          <c:dPt>
            <c:idx val="92"/>
            <c:invertIfNegative val="1"/>
            <c:bubble3D val="0"/>
            <c:spPr>
              <a:solidFill>
                <a:srgbClr val="AEABAB"/>
              </a:solidFill>
            </c:spPr>
            <c:extLst>
              <c:ext xmlns:c16="http://schemas.microsoft.com/office/drawing/2014/chart" uri="{C3380CC4-5D6E-409C-BE32-E72D297353CC}">
                <c16:uniqueId val="{000000BB-2993-41DE-A2CB-63102DE87051}"/>
              </c:ext>
            </c:extLst>
          </c:dPt>
          <c:dPt>
            <c:idx val="93"/>
            <c:invertIfNegative val="1"/>
            <c:bubble3D val="0"/>
            <c:spPr>
              <a:solidFill>
                <a:srgbClr val="AEABAB"/>
              </a:solidFill>
            </c:spPr>
            <c:extLst>
              <c:ext xmlns:c16="http://schemas.microsoft.com/office/drawing/2014/chart" uri="{C3380CC4-5D6E-409C-BE32-E72D297353CC}">
                <c16:uniqueId val="{000000BD-2993-41DE-A2CB-63102DE87051}"/>
              </c:ext>
            </c:extLst>
          </c:dPt>
          <c:dPt>
            <c:idx val="94"/>
            <c:invertIfNegative val="1"/>
            <c:bubble3D val="0"/>
            <c:spPr>
              <a:solidFill>
                <a:srgbClr val="AEABAB"/>
              </a:solidFill>
            </c:spPr>
            <c:extLst>
              <c:ext xmlns:c16="http://schemas.microsoft.com/office/drawing/2014/chart" uri="{C3380CC4-5D6E-409C-BE32-E72D297353CC}">
                <c16:uniqueId val="{000000BF-2993-41DE-A2CB-63102DE87051}"/>
              </c:ext>
            </c:extLst>
          </c:dPt>
          <c:dPt>
            <c:idx val="95"/>
            <c:invertIfNegative val="1"/>
            <c:bubble3D val="0"/>
            <c:spPr>
              <a:solidFill>
                <a:srgbClr val="AEABAB"/>
              </a:solidFill>
            </c:spPr>
            <c:extLst>
              <c:ext xmlns:c16="http://schemas.microsoft.com/office/drawing/2014/chart" uri="{C3380CC4-5D6E-409C-BE32-E72D297353CC}">
                <c16:uniqueId val="{000000C1-2993-41DE-A2CB-63102DE87051}"/>
              </c:ext>
            </c:extLst>
          </c:dPt>
          <c:dPt>
            <c:idx val="96"/>
            <c:invertIfNegative val="1"/>
            <c:bubble3D val="0"/>
            <c:spPr>
              <a:solidFill>
                <a:srgbClr val="AEABAB"/>
              </a:solidFill>
            </c:spPr>
            <c:extLst>
              <c:ext xmlns:c16="http://schemas.microsoft.com/office/drawing/2014/chart" uri="{C3380CC4-5D6E-409C-BE32-E72D297353CC}">
                <c16:uniqueId val="{000000C3-2993-41DE-A2CB-63102DE87051}"/>
              </c:ext>
            </c:extLst>
          </c:dPt>
          <c:dPt>
            <c:idx val="97"/>
            <c:invertIfNegative val="1"/>
            <c:bubble3D val="0"/>
            <c:spPr>
              <a:solidFill>
                <a:srgbClr val="AEABAB"/>
              </a:solidFill>
            </c:spPr>
            <c:extLst>
              <c:ext xmlns:c16="http://schemas.microsoft.com/office/drawing/2014/chart" uri="{C3380CC4-5D6E-409C-BE32-E72D297353CC}">
                <c16:uniqueId val="{000000C5-2993-41DE-A2CB-63102DE87051}"/>
              </c:ext>
            </c:extLst>
          </c:dPt>
          <c:dPt>
            <c:idx val="98"/>
            <c:invertIfNegative val="1"/>
            <c:bubble3D val="0"/>
            <c:spPr>
              <a:solidFill>
                <a:srgbClr val="AEABAB"/>
              </a:solidFill>
            </c:spPr>
            <c:extLst>
              <c:ext xmlns:c16="http://schemas.microsoft.com/office/drawing/2014/chart" uri="{C3380CC4-5D6E-409C-BE32-E72D297353CC}">
                <c16:uniqueId val="{000000C7-2993-41DE-A2CB-63102DE87051}"/>
              </c:ext>
            </c:extLst>
          </c:dPt>
          <c:dPt>
            <c:idx val="99"/>
            <c:invertIfNegative val="1"/>
            <c:bubble3D val="0"/>
            <c:spPr>
              <a:solidFill>
                <a:srgbClr val="AEABAB"/>
              </a:solidFill>
            </c:spPr>
            <c:extLst>
              <c:ext xmlns:c16="http://schemas.microsoft.com/office/drawing/2014/chart" uri="{C3380CC4-5D6E-409C-BE32-E72D297353CC}">
                <c16:uniqueId val="{000000C9-2993-41DE-A2CB-63102DE87051}"/>
              </c:ext>
            </c:extLst>
          </c:dPt>
          <c:dPt>
            <c:idx val="100"/>
            <c:invertIfNegative val="1"/>
            <c:bubble3D val="0"/>
            <c:spPr>
              <a:solidFill>
                <a:srgbClr val="AEABAB"/>
              </a:solidFill>
            </c:spPr>
            <c:extLst>
              <c:ext xmlns:c16="http://schemas.microsoft.com/office/drawing/2014/chart" uri="{C3380CC4-5D6E-409C-BE32-E72D297353CC}">
                <c16:uniqueId val="{000000CB-2993-41DE-A2CB-63102DE87051}"/>
              </c:ext>
            </c:extLst>
          </c:dPt>
          <c:dPt>
            <c:idx val="101"/>
            <c:invertIfNegative val="1"/>
            <c:bubble3D val="0"/>
            <c:spPr>
              <a:solidFill>
                <a:srgbClr val="AEABAB"/>
              </a:solidFill>
            </c:spPr>
            <c:extLst>
              <c:ext xmlns:c16="http://schemas.microsoft.com/office/drawing/2014/chart" uri="{C3380CC4-5D6E-409C-BE32-E72D297353CC}">
                <c16:uniqueId val="{000000CD-2993-41DE-A2CB-63102DE87051}"/>
              </c:ext>
            </c:extLst>
          </c:dPt>
          <c:dPt>
            <c:idx val="102"/>
            <c:invertIfNegative val="1"/>
            <c:bubble3D val="0"/>
            <c:spPr>
              <a:solidFill>
                <a:srgbClr val="AEABAB"/>
              </a:solidFill>
            </c:spPr>
            <c:extLst>
              <c:ext xmlns:c16="http://schemas.microsoft.com/office/drawing/2014/chart" uri="{C3380CC4-5D6E-409C-BE32-E72D297353CC}">
                <c16:uniqueId val="{000000CF-2993-41DE-A2CB-63102DE87051}"/>
              </c:ext>
            </c:extLst>
          </c:dPt>
          <c:dPt>
            <c:idx val="103"/>
            <c:invertIfNegative val="1"/>
            <c:bubble3D val="0"/>
            <c:spPr>
              <a:solidFill>
                <a:srgbClr val="AEABAB"/>
              </a:solidFill>
            </c:spPr>
            <c:extLst>
              <c:ext xmlns:c16="http://schemas.microsoft.com/office/drawing/2014/chart" uri="{C3380CC4-5D6E-409C-BE32-E72D297353CC}">
                <c16:uniqueId val="{000000D1-2993-41DE-A2CB-63102DE87051}"/>
              </c:ext>
            </c:extLst>
          </c:dPt>
          <c:dPt>
            <c:idx val="104"/>
            <c:invertIfNegative val="1"/>
            <c:bubble3D val="0"/>
            <c:spPr>
              <a:solidFill>
                <a:srgbClr val="AEABAB"/>
              </a:solidFill>
            </c:spPr>
            <c:extLst>
              <c:ext xmlns:c16="http://schemas.microsoft.com/office/drawing/2014/chart" uri="{C3380CC4-5D6E-409C-BE32-E72D297353CC}">
                <c16:uniqueId val="{000000D3-2993-41DE-A2CB-63102DE87051}"/>
              </c:ext>
            </c:extLst>
          </c:dPt>
          <c:dPt>
            <c:idx val="105"/>
            <c:invertIfNegative val="1"/>
            <c:bubble3D val="0"/>
            <c:spPr>
              <a:solidFill>
                <a:srgbClr val="AEABAB"/>
              </a:solidFill>
            </c:spPr>
            <c:extLst>
              <c:ext xmlns:c16="http://schemas.microsoft.com/office/drawing/2014/chart" uri="{C3380CC4-5D6E-409C-BE32-E72D297353CC}">
                <c16:uniqueId val="{000000D5-2993-41DE-A2CB-63102DE87051}"/>
              </c:ext>
            </c:extLst>
          </c:dPt>
          <c:dPt>
            <c:idx val="106"/>
            <c:invertIfNegative val="1"/>
            <c:bubble3D val="0"/>
            <c:spPr>
              <a:solidFill>
                <a:srgbClr val="AEABAB"/>
              </a:solidFill>
            </c:spPr>
            <c:extLst>
              <c:ext xmlns:c16="http://schemas.microsoft.com/office/drawing/2014/chart" uri="{C3380CC4-5D6E-409C-BE32-E72D297353CC}">
                <c16:uniqueId val="{000000D7-2993-41DE-A2CB-63102DE87051}"/>
              </c:ext>
            </c:extLst>
          </c:dPt>
          <c:dPt>
            <c:idx val="107"/>
            <c:invertIfNegative val="1"/>
            <c:bubble3D val="0"/>
            <c:spPr>
              <a:solidFill>
                <a:srgbClr val="AEABAB"/>
              </a:solidFill>
            </c:spPr>
            <c:extLst>
              <c:ext xmlns:c16="http://schemas.microsoft.com/office/drawing/2014/chart" uri="{C3380CC4-5D6E-409C-BE32-E72D297353CC}">
                <c16:uniqueId val="{000000D9-2993-41DE-A2CB-63102DE87051}"/>
              </c:ext>
            </c:extLst>
          </c:dPt>
          <c:dPt>
            <c:idx val="108"/>
            <c:invertIfNegative val="1"/>
            <c:bubble3D val="0"/>
            <c:spPr>
              <a:solidFill>
                <a:srgbClr val="AEABAB"/>
              </a:solidFill>
            </c:spPr>
            <c:extLst>
              <c:ext xmlns:c16="http://schemas.microsoft.com/office/drawing/2014/chart" uri="{C3380CC4-5D6E-409C-BE32-E72D297353CC}">
                <c16:uniqueId val="{000000DB-2993-41DE-A2CB-63102DE87051}"/>
              </c:ext>
            </c:extLst>
          </c:dPt>
          <c:dPt>
            <c:idx val="109"/>
            <c:invertIfNegative val="1"/>
            <c:bubble3D val="0"/>
            <c:spPr>
              <a:solidFill>
                <a:srgbClr val="AEABAB"/>
              </a:solidFill>
            </c:spPr>
            <c:extLst>
              <c:ext xmlns:c16="http://schemas.microsoft.com/office/drawing/2014/chart" uri="{C3380CC4-5D6E-409C-BE32-E72D297353CC}">
                <c16:uniqueId val="{000000DD-2993-41DE-A2CB-63102DE87051}"/>
              </c:ext>
            </c:extLst>
          </c:dPt>
          <c:dPt>
            <c:idx val="110"/>
            <c:invertIfNegative val="1"/>
            <c:bubble3D val="0"/>
            <c:spPr>
              <a:solidFill>
                <a:srgbClr val="AEABAB"/>
              </a:solidFill>
            </c:spPr>
            <c:extLst>
              <c:ext xmlns:c16="http://schemas.microsoft.com/office/drawing/2014/chart" uri="{C3380CC4-5D6E-409C-BE32-E72D297353CC}">
                <c16:uniqueId val="{000000DF-2993-41DE-A2CB-63102DE87051}"/>
              </c:ext>
            </c:extLst>
          </c:dPt>
          <c:dPt>
            <c:idx val="111"/>
            <c:invertIfNegative val="1"/>
            <c:bubble3D val="0"/>
            <c:spPr>
              <a:solidFill>
                <a:srgbClr val="AEABAB"/>
              </a:solidFill>
            </c:spPr>
            <c:extLst>
              <c:ext xmlns:c16="http://schemas.microsoft.com/office/drawing/2014/chart" uri="{C3380CC4-5D6E-409C-BE32-E72D297353CC}">
                <c16:uniqueId val="{000000E1-2993-41DE-A2CB-63102DE87051}"/>
              </c:ext>
            </c:extLst>
          </c:dPt>
          <c:dPt>
            <c:idx val="112"/>
            <c:invertIfNegative val="1"/>
            <c:bubble3D val="0"/>
            <c:spPr>
              <a:solidFill>
                <a:srgbClr val="AEABAB"/>
              </a:solidFill>
            </c:spPr>
            <c:extLst>
              <c:ext xmlns:c16="http://schemas.microsoft.com/office/drawing/2014/chart" uri="{C3380CC4-5D6E-409C-BE32-E72D297353CC}">
                <c16:uniqueId val="{000000E3-2993-41DE-A2CB-63102DE87051}"/>
              </c:ext>
            </c:extLst>
          </c:dPt>
          <c:dPt>
            <c:idx val="113"/>
            <c:invertIfNegative val="1"/>
            <c:bubble3D val="0"/>
            <c:spPr>
              <a:solidFill>
                <a:srgbClr val="AEABAB"/>
              </a:solidFill>
            </c:spPr>
            <c:extLst>
              <c:ext xmlns:c16="http://schemas.microsoft.com/office/drawing/2014/chart" uri="{C3380CC4-5D6E-409C-BE32-E72D297353CC}">
                <c16:uniqueId val="{000000E5-2993-41DE-A2CB-63102DE87051}"/>
              </c:ext>
            </c:extLst>
          </c:dPt>
          <c:dPt>
            <c:idx val="114"/>
            <c:invertIfNegative val="1"/>
            <c:bubble3D val="0"/>
            <c:spPr>
              <a:solidFill>
                <a:srgbClr val="AEABAB"/>
              </a:solidFill>
            </c:spPr>
            <c:extLst>
              <c:ext xmlns:c16="http://schemas.microsoft.com/office/drawing/2014/chart" uri="{C3380CC4-5D6E-409C-BE32-E72D297353CC}">
                <c16:uniqueId val="{000000E7-2993-41DE-A2CB-63102DE87051}"/>
              </c:ext>
            </c:extLst>
          </c:dPt>
          <c:dPt>
            <c:idx val="115"/>
            <c:invertIfNegative val="1"/>
            <c:bubble3D val="0"/>
            <c:spPr>
              <a:solidFill>
                <a:srgbClr val="AEABAB"/>
              </a:solidFill>
            </c:spPr>
            <c:extLst>
              <c:ext xmlns:c16="http://schemas.microsoft.com/office/drawing/2014/chart" uri="{C3380CC4-5D6E-409C-BE32-E72D297353CC}">
                <c16:uniqueId val="{000000E9-2993-41DE-A2CB-63102DE87051}"/>
              </c:ext>
            </c:extLst>
          </c:dPt>
          <c:dPt>
            <c:idx val="116"/>
            <c:invertIfNegative val="1"/>
            <c:bubble3D val="0"/>
            <c:spPr>
              <a:solidFill>
                <a:srgbClr val="AEABAB"/>
              </a:solidFill>
            </c:spPr>
            <c:extLst>
              <c:ext xmlns:c16="http://schemas.microsoft.com/office/drawing/2014/chart" uri="{C3380CC4-5D6E-409C-BE32-E72D297353CC}">
                <c16:uniqueId val="{000000EB-2993-41DE-A2CB-63102DE87051}"/>
              </c:ext>
            </c:extLst>
          </c:dPt>
          <c:dPt>
            <c:idx val="117"/>
            <c:invertIfNegative val="1"/>
            <c:bubble3D val="0"/>
            <c:spPr>
              <a:solidFill>
                <a:srgbClr val="AEABAB"/>
              </a:solidFill>
            </c:spPr>
            <c:extLst>
              <c:ext xmlns:c16="http://schemas.microsoft.com/office/drawing/2014/chart" uri="{C3380CC4-5D6E-409C-BE32-E72D297353CC}">
                <c16:uniqueId val="{000000ED-2993-41DE-A2CB-63102DE87051}"/>
              </c:ext>
            </c:extLst>
          </c:dPt>
          <c:dPt>
            <c:idx val="118"/>
            <c:invertIfNegative val="1"/>
            <c:bubble3D val="0"/>
            <c:spPr>
              <a:solidFill>
                <a:srgbClr val="AEABAB"/>
              </a:solidFill>
            </c:spPr>
            <c:extLst>
              <c:ext xmlns:c16="http://schemas.microsoft.com/office/drawing/2014/chart" uri="{C3380CC4-5D6E-409C-BE32-E72D297353CC}">
                <c16:uniqueId val="{000000EF-2993-41DE-A2CB-63102DE87051}"/>
              </c:ext>
            </c:extLst>
          </c:dPt>
          <c:dPt>
            <c:idx val="119"/>
            <c:invertIfNegative val="1"/>
            <c:bubble3D val="0"/>
            <c:spPr>
              <a:solidFill>
                <a:srgbClr val="AEABAB"/>
              </a:solidFill>
            </c:spPr>
            <c:extLst>
              <c:ext xmlns:c16="http://schemas.microsoft.com/office/drawing/2014/chart" uri="{C3380CC4-5D6E-409C-BE32-E72D297353CC}">
                <c16:uniqueId val="{000000F1-2993-41DE-A2CB-63102DE87051}"/>
              </c:ext>
            </c:extLst>
          </c:dPt>
          <c:dPt>
            <c:idx val="120"/>
            <c:invertIfNegative val="1"/>
            <c:bubble3D val="0"/>
            <c:spPr>
              <a:solidFill>
                <a:srgbClr val="AEABAB"/>
              </a:solidFill>
            </c:spPr>
            <c:extLst>
              <c:ext xmlns:c16="http://schemas.microsoft.com/office/drawing/2014/chart" uri="{C3380CC4-5D6E-409C-BE32-E72D297353CC}">
                <c16:uniqueId val="{000000F3-2993-41DE-A2CB-63102DE87051}"/>
              </c:ext>
            </c:extLst>
          </c:dPt>
          <c:dPt>
            <c:idx val="121"/>
            <c:invertIfNegative val="1"/>
            <c:bubble3D val="0"/>
            <c:spPr>
              <a:solidFill>
                <a:srgbClr val="AEABAB"/>
              </a:solidFill>
            </c:spPr>
            <c:extLst>
              <c:ext xmlns:c16="http://schemas.microsoft.com/office/drawing/2014/chart" uri="{C3380CC4-5D6E-409C-BE32-E72D297353CC}">
                <c16:uniqueId val="{000000F5-2993-41DE-A2CB-63102DE87051}"/>
              </c:ext>
            </c:extLst>
          </c:dPt>
          <c:dPt>
            <c:idx val="122"/>
            <c:invertIfNegative val="1"/>
            <c:bubble3D val="0"/>
            <c:spPr>
              <a:solidFill>
                <a:srgbClr val="AEABAB"/>
              </a:solidFill>
            </c:spPr>
            <c:extLst>
              <c:ext xmlns:c16="http://schemas.microsoft.com/office/drawing/2014/chart" uri="{C3380CC4-5D6E-409C-BE32-E72D297353CC}">
                <c16:uniqueId val="{000000F7-2993-41DE-A2CB-63102DE87051}"/>
              </c:ext>
            </c:extLst>
          </c:dPt>
          <c:dPt>
            <c:idx val="123"/>
            <c:invertIfNegative val="1"/>
            <c:bubble3D val="0"/>
            <c:spPr>
              <a:solidFill>
                <a:srgbClr val="AEABAB"/>
              </a:solidFill>
            </c:spPr>
            <c:extLst>
              <c:ext xmlns:c16="http://schemas.microsoft.com/office/drawing/2014/chart" uri="{C3380CC4-5D6E-409C-BE32-E72D297353CC}">
                <c16:uniqueId val="{000000F9-2993-41DE-A2CB-63102DE87051}"/>
              </c:ext>
            </c:extLst>
          </c:dPt>
          <c:dPt>
            <c:idx val="124"/>
            <c:invertIfNegative val="1"/>
            <c:bubble3D val="0"/>
            <c:spPr>
              <a:solidFill>
                <a:srgbClr val="AEABAB"/>
              </a:solidFill>
            </c:spPr>
            <c:extLst>
              <c:ext xmlns:c16="http://schemas.microsoft.com/office/drawing/2014/chart" uri="{C3380CC4-5D6E-409C-BE32-E72D297353CC}">
                <c16:uniqueId val="{000000FB-2993-41DE-A2CB-63102DE87051}"/>
              </c:ext>
            </c:extLst>
          </c:dPt>
          <c:dPt>
            <c:idx val="125"/>
            <c:invertIfNegative val="1"/>
            <c:bubble3D val="0"/>
            <c:spPr>
              <a:solidFill>
                <a:srgbClr val="AEABAB"/>
              </a:solidFill>
            </c:spPr>
            <c:extLst>
              <c:ext xmlns:c16="http://schemas.microsoft.com/office/drawing/2014/chart" uri="{C3380CC4-5D6E-409C-BE32-E72D297353CC}">
                <c16:uniqueId val="{000000FD-2993-41DE-A2CB-63102DE87051}"/>
              </c:ext>
            </c:extLst>
          </c:dPt>
          <c:dPt>
            <c:idx val="126"/>
            <c:invertIfNegative val="1"/>
            <c:bubble3D val="0"/>
            <c:spPr>
              <a:solidFill>
                <a:srgbClr val="AEABAB"/>
              </a:solidFill>
            </c:spPr>
            <c:extLst>
              <c:ext xmlns:c16="http://schemas.microsoft.com/office/drawing/2014/chart" uri="{C3380CC4-5D6E-409C-BE32-E72D297353CC}">
                <c16:uniqueId val="{000000FF-2993-41DE-A2CB-63102DE87051}"/>
              </c:ext>
            </c:extLst>
          </c:dPt>
          <c:dPt>
            <c:idx val="127"/>
            <c:invertIfNegative val="1"/>
            <c:bubble3D val="0"/>
            <c:spPr>
              <a:solidFill>
                <a:srgbClr val="AEABAB"/>
              </a:solidFill>
            </c:spPr>
            <c:extLst>
              <c:ext xmlns:c16="http://schemas.microsoft.com/office/drawing/2014/chart" uri="{C3380CC4-5D6E-409C-BE32-E72D297353CC}">
                <c16:uniqueId val="{00000101-2993-41DE-A2CB-63102DE87051}"/>
              </c:ext>
            </c:extLst>
          </c:dPt>
          <c:dPt>
            <c:idx val="128"/>
            <c:invertIfNegative val="1"/>
            <c:bubble3D val="0"/>
            <c:spPr>
              <a:solidFill>
                <a:srgbClr val="AEABAB"/>
              </a:solidFill>
            </c:spPr>
            <c:extLst>
              <c:ext xmlns:c16="http://schemas.microsoft.com/office/drawing/2014/chart" uri="{C3380CC4-5D6E-409C-BE32-E72D297353CC}">
                <c16:uniqueId val="{00000103-2993-41DE-A2CB-63102DE87051}"/>
              </c:ext>
            </c:extLst>
          </c:dPt>
          <c:dPt>
            <c:idx val="129"/>
            <c:invertIfNegative val="1"/>
            <c:bubble3D val="0"/>
            <c:spPr>
              <a:solidFill>
                <a:srgbClr val="AEABAB"/>
              </a:solidFill>
            </c:spPr>
            <c:extLst>
              <c:ext xmlns:c16="http://schemas.microsoft.com/office/drawing/2014/chart" uri="{C3380CC4-5D6E-409C-BE32-E72D297353CC}">
                <c16:uniqueId val="{00000105-2993-41DE-A2CB-63102DE87051}"/>
              </c:ext>
            </c:extLst>
          </c:dPt>
          <c:dPt>
            <c:idx val="130"/>
            <c:invertIfNegative val="1"/>
            <c:bubble3D val="0"/>
            <c:spPr>
              <a:solidFill>
                <a:srgbClr val="AEABAB"/>
              </a:solidFill>
            </c:spPr>
            <c:extLst>
              <c:ext xmlns:c16="http://schemas.microsoft.com/office/drawing/2014/chart" uri="{C3380CC4-5D6E-409C-BE32-E72D297353CC}">
                <c16:uniqueId val="{00000107-2993-41DE-A2CB-63102DE87051}"/>
              </c:ext>
            </c:extLst>
          </c:dPt>
          <c:dPt>
            <c:idx val="131"/>
            <c:invertIfNegative val="1"/>
            <c:bubble3D val="0"/>
            <c:spPr>
              <a:solidFill>
                <a:srgbClr val="AEABAB"/>
              </a:solidFill>
            </c:spPr>
            <c:extLst>
              <c:ext xmlns:c16="http://schemas.microsoft.com/office/drawing/2014/chart" uri="{C3380CC4-5D6E-409C-BE32-E72D297353CC}">
                <c16:uniqueId val="{00000109-2993-41DE-A2CB-63102DE87051}"/>
              </c:ext>
            </c:extLst>
          </c:dPt>
          <c:dPt>
            <c:idx val="132"/>
            <c:invertIfNegative val="1"/>
            <c:bubble3D val="0"/>
            <c:spPr>
              <a:solidFill>
                <a:srgbClr val="AEABAB"/>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134</c:f>
              <c:strCache>
                <c:ptCount val="133"/>
                <c:pt idx="0">
                  <c:v>Ruinart</c:v>
                </c:pt>
                <c:pt idx="1">
                  <c:v>Nicolas</c:v>
                </c:pt>
                <c:pt idx="2">
                  <c:v>Deutz</c:v>
                </c:pt>
                <c:pt idx="3">
                  <c:v>Heidsieck &amp;</c:v>
                </c:pt>
                <c:pt idx="4">
                  <c:v>Ayala</c:v>
                </c:pt>
                <c:pt idx="5">
                  <c:v>De Bligny</c:v>
                </c:pt>
                <c:pt idx="6">
                  <c:v>Laurent Per</c:v>
                </c:pt>
                <c:pt idx="7">
                  <c:v>Canard Duch</c:v>
                </c:pt>
                <c:pt idx="8">
                  <c:v>Taittinger</c:v>
                </c:pt>
                <c:pt idx="9">
                  <c:v>Bollinger</c:v>
                </c:pt>
                <c:pt idx="10">
                  <c:v>Ruinart</c:v>
                </c:pt>
                <c:pt idx="11">
                  <c:v>Besserat De</c:v>
                </c:pt>
                <c:pt idx="12">
                  <c:v>Demoiselle</c:v>
                </c:pt>
                <c:pt idx="13">
                  <c:v>Deutz</c:v>
                </c:pt>
                <c:pt idx="14">
                  <c:v>Perrier Jou</c:v>
                </c:pt>
                <c:pt idx="15">
                  <c:v>Ruinart</c:v>
                </c:pt>
                <c:pt idx="16">
                  <c:v>All Others</c:v>
                </c:pt>
                <c:pt idx="17">
                  <c:v>Savian</c:v>
                </c:pt>
                <c:pt idx="18">
                  <c:v>Pommery</c:v>
                </c:pt>
                <c:pt idx="19">
                  <c:v>Laurent Per</c:v>
                </c:pt>
                <c:pt idx="20">
                  <c:v>Moët &amp; Chan</c:v>
                </c:pt>
                <c:pt idx="21">
                  <c:v>Taittinger</c:v>
                </c:pt>
                <c:pt idx="22">
                  <c:v>Roederer</c:v>
                </c:pt>
                <c:pt idx="23">
                  <c:v>All Others</c:v>
                </c:pt>
                <c:pt idx="24">
                  <c:v>Roederer</c:v>
                </c:pt>
                <c:pt idx="25">
                  <c:v>Henriot</c:v>
                </c:pt>
                <c:pt idx="26">
                  <c:v>Veuve Clicq</c:v>
                </c:pt>
                <c:pt idx="27">
                  <c:v>Campari: Al</c:v>
                </c:pt>
                <c:pt idx="28">
                  <c:v>De Venoge</c:v>
                </c:pt>
                <c:pt idx="29">
                  <c:v>Veuve Clicq</c:v>
                </c:pt>
                <c:pt idx="30">
                  <c:v>Veuve Clicq</c:v>
                </c:pt>
                <c:pt idx="31">
                  <c:v>Lanson</c:v>
                </c:pt>
                <c:pt idx="32">
                  <c:v>Nicolas Feu</c:v>
                </c:pt>
                <c:pt idx="33">
                  <c:v>Deutz</c:v>
                </c:pt>
                <c:pt idx="34">
                  <c:v>Ruinart</c:v>
                </c:pt>
                <c:pt idx="35">
                  <c:v>Piper Heids</c:v>
                </c:pt>
                <c:pt idx="36">
                  <c:v>All Others</c:v>
                </c:pt>
                <c:pt idx="37">
                  <c:v>Nicolas</c:v>
                </c:pt>
                <c:pt idx="38">
                  <c:v>Canard Duch</c:v>
                </c:pt>
                <c:pt idx="39">
                  <c:v>Campari: Al</c:v>
                </c:pt>
                <c:pt idx="40">
                  <c:v>Bollinger</c:v>
                </c:pt>
                <c:pt idx="41">
                  <c:v>Canard Duch</c:v>
                </c:pt>
                <c:pt idx="42">
                  <c:v>Henriot</c:v>
                </c:pt>
                <c:pt idx="43">
                  <c:v>Canard Duch</c:v>
                </c:pt>
                <c:pt idx="44">
                  <c:v>Veuve Clicq</c:v>
                </c:pt>
                <c:pt idx="45">
                  <c:v>Krug</c:v>
                </c:pt>
                <c:pt idx="46">
                  <c:v>Roederer</c:v>
                </c:pt>
                <c:pt idx="47">
                  <c:v>Nicolas</c:v>
                </c:pt>
                <c:pt idx="48">
                  <c:v>Nicolas</c:v>
                </c:pt>
                <c:pt idx="49">
                  <c:v>De Venoge</c:v>
                </c:pt>
                <c:pt idx="50">
                  <c:v>De Venoge</c:v>
                </c:pt>
                <c:pt idx="51">
                  <c:v>Vranken</c:v>
                </c:pt>
                <c:pt idx="52">
                  <c:v>Roederer</c:v>
                </c:pt>
                <c:pt idx="53">
                  <c:v>All Others</c:v>
                </c:pt>
                <c:pt idx="54">
                  <c:v>Nicolas</c:v>
                </c:pt>
                <c:pt idx="55">
                  <c:v>Roederer</c:v>
                </c:pt>
                <c:pt idx="56">
                  <c:v>Canard Duch</c:v>
                </c:pt>
                <c:pt idx="57">
                  <c:v>Moët &amp; Chan</c:v>
                </c:pt>
                <c:pt idx="58">
                  <c:v>All Others</c:v>
                </c:pt>
                <c:pt idx="59">
                  <c:v>Nicolas</c:v>
                </c:pt>
                <c:pt idx="60">
                  <c:v>Nicolas Feu</c:v>
                </c:pt>
                <c:pt idx="61">
                  <c:v>Laurent Per</c:v>
                </c:pt>
                <c:pt idx="62">
                  <c:v>Roederer</c:v>
                </c:pt>
                <c:pt idx="63">
                  <c:v>Roederer</c:v>
                </c:pt>
                <c:pt idx="64">
                  <c:v>All Others</c:v>
                </c:pt>
                <c:pt idx="65">
                  <c:v>Vranken</c:v>
                </c:pt>
                <c:pt idx="66">
                  <c:v>Pommery</c:v>
                </c:pt>
                <c:pt idx="67">
                  <c:v>Nicolas</c:v>
                </c:pt>
                <c:pt idx="68">
                  <c:v>Laurent Per</c:v>
                </c:pt>
                <c:pt idx="69">
                  <c:v>Demoiselle</c:v>
                </c:pt>
                <c:pt idx="70">
                  <c:v>Roederer</c:v>
                </c:pt>
                <c:pt idx="71">
                  <c:v>Malard</c:v>
                </c:pt>
                <c:pt idx="72">
                  <c:v>Moët &amp; Chan</c:v>
                </c:pt>
                <c:pt idx="73">
                  <c:v>Deutz</c:v>
                </c:pt>
                <c:pt idx="74">
                  <c:v>Ruinart</c:v>
                </c:pt>
                <c:pt idx="75">
                  <c:v>Moët &amp; Chan</c:v>
                </c:pt>
                <c:pt idx="76">
                  <c:v>Canard Duch</c:v>
                </c:pt>
                <c:pt idx="77">
                  <c:v>Bollinger</c:v>
                </c:pt>
                <c:pt idx="78">
                  <c:v>All Others</c:v>
                </c:pt>
                <c:pt idx="79">
                  <c:v>Henriot</c:v>
                </c:pt>
                <c:pt idx="80">
                  <c:v>Roederer</c:v>
                </c:pt>
                <c:pt idx="81">
                  <c:v>Laurent Per</c:v>
                </c:pt>
                <c:pt idx="82">
                  <c:v>Ruinart</c:v>
                </c:pt>
                <c:pt idx="83">
                  <c:v>Pommery</c:v>
                </c:pt>
                <c:pt idx="84">
                  <c:v>Piper Heids</c:v>
                </c:pt>
                <c:pt idx="85">
                  <c:v>All Others</c:v>
                </c:pt>
                <c:pt idx="86">
                  <c:v>De Venoge</c:v>
                </c:pt>
                <c:pt idx="87">
                  <c:v>Roederer</c:v>
                </c:pt>
                <c:pt idx="88">
                  <c:v>Bollinger</c:v>
                </c:pt>
                <c:pt idx="89">
                  <c:v>All Others</c:v>
                </c:pt>
                <c:pt idx="90">
                  <c:v>Nicolas Feu</c:v>
                </c:pt>
                <c:pt idx="91">
                  <c:v>Ruinart</c:v>
                </c:pt>
                <c:pt idx="92">
                  <c:v>Lanson</c:v>
                </c:pt>
                <c:pt idx="93">
                  <c:v>Moët &amp; Chan</c:v>
                </c:pt>
                <c:pt idx="94">
                  <c:v>Lanson</c:v>
                </c:pt>
                <c:pt idx="95">
                  <c:v>Roederer</c:v>
                </c:pt>
                <c:pt idx="96">
                  <c:v>Martel</c:v>
                </c:pt>
                <c:pt idx="97">
                  <c:v>Lanson-Bcc:</c:v>
                </c:pt>
                <c:pt idx="98">
                  <c:v>Roederer</c:v>
                </c:pt>
                <c:pt idx="99">
                  <c:v>Laurent Per</c:v>
                </c:pt>
                <c:pt idx="100">
                  <c:v>Ruinart</c:v>
                </c:pt>
                <c:pt idx="101">
                  <c:v>Roederer</c:v>
                </c:pt>
                <c:pt idx="102">
                  <c:v>Laurent Per</c:v>
                </c:pt>
                <c:pt idx="103">
                  <c:v>Nicolas Feu</c:v>
                </c:pt>
                <c:pt idx="104">
                  <c:v>All Others</c:v>
                </c:pt>
                <c:pt idx="105">
                  <c:v>Roederer</c:v>
                </c:pt>
                <c:pt idx="106">
                  <c:v>Besserat De</c:v>
                </c:pt>
                <c:pt idx="107">
                  <c:v>Ruinart</c:v>
                </c:pt>
                <c:pt idx="108">
                  <c:v>De Bligny</c:v>
                </c:pt>
                <c:pt idx="109">
                  <c:v>All Others</c:v>
                </c:pt>
                <c:pt idx="110">
                  <c:v>Taittinger</c:v>
                </c:pt>
                <c:pt idx="111">
                  <c:v>All Others</c:v>
                </c:pt>
                <c:pt idx="112">
                  <c:v>Roederer</c:v>
                </c:pt>
                <c:pt idx="113">
                  <c:v>Ayala</c:v>
                </c:pt>
                <c:pt idx="114">
                  <c:v>Laurent Per</c:v>
                </c:pt>
                <c:pt idx="115">
                  <c:v>De Venoge</c:v>
                </c:pt>
                <c:pt idx="116">
                  <c:v>All Others</c:v>
                </c:pt>
                <c:pt idx="117">
                  <c:v>All Others</c:v>
                </c:pt>
                <c:pt idx="118">
                  <c:v>Nicolas</c:v>
                </c:pt>
                <c:pt idx="119">
                  <c:v>Vranken</c:v>
                </c:pt>
                <c:pt idx="120">
                  <c:v>Demoiselle</c:v>
                </c:pt>
                <c:pt idx="121">
                  <c:v>Demoiselle</c:v>
                </c:pt>
                <c:pt idx="122">
                  <c:v>Ruinart</c:v>
                </c:pt>
                <c:pt idx="123">
                  <c:v>All Others</c:v>
                </c:pt>
                <c:pt idx="124">
                  <c:v>Roederer</c:v>
                </c:pt>
                <c:pt idx="125">
                  <c:v>All Others</c:v>
                </c:pt>
                <c:pt idx="126">
                  <c:v>All Others</c:v>
                </c:pt>
                <c:pt idx="127">
                  <c:v>Nicolas Feu</c:v>
                </c:pt>
                <c:pt idx="128">
                  <c:v>Delamotte</c:v>
                </c:pt>
                <c:pt idx="129">
                  <c:v>Laurent Per</c:v>
                </c:pt>
                <c:pt idx="130">
                  <c:v>Pommery</c:v>
                </c:pt>
                <c:pt idx="131">
                  <c:v>Lanson</c:v>
                </c:pt>
                <c:pt idx="132">
                  <c:v>All Others</c:v>
                </c:pt>
              </c:strCache>
            </c:strRef>
          </c:cat>
          <c:val>
            <c:numRef>
              <c:f>Sheet1!$C$2:$C$134</c:f>
              <c:numCache>
                <c:formatCode>General</c:formatCode>
                <c:ptCount val="133"/>
                <c:pt idx="0">
                  <c:v>0.16037388123337593</c:v>
                </c:pt>
                <c:pt idx="1">
                  <c:v>0.26835363655481115</c:v>
                </c:pt>
                <c:pt idx="2">
                  <c:v>0.3435042497533109</c:v>
                </c:pt>
                <c:pt idx="3">
                  <c:v>0.39659280245695355</c:v>
                </c:pt>
                <c:pt idx="4">
                  <c:v>0.44089240775447097</c:v>
                </c:pt>
                <c:pt idx="5">
                  <c:v>0.4845715352031631</c:v>
                </c:pt>
                <c:pt idx="6">
                  <c:v>0.52328091816856193</c:v>
                </c:pt>
                <c:pt idx="7">
                  <c:v>0.55515609004208155</c:v>
                </c:pt>
                <c:pt idx="8">
                  <c:v>0.58558174708999355</c:v>
                </c:pt>
                <c:pt idx="9">
                  <c:v>0.61190829291176274</c:v>
                </c:pt>
                <c:pt idx="10">
                  <c:v>0.63678474618180814</c:v>
                </c:pt>
                <c:pt idx="11">
                  <c:v>0.66119295243465348</c:v>
                </c:pt>
                <c:pt idx="12">
                  <c:v>0.68529510827742879</c:v>
                </c:pt>
                <c:pt idx="13">
                  <c:v>0.70486471387536376</c:v>
                </c:pt>
                <c:pt idx="14">
                  <c:v>0.72075969251105199</c:v>
                </c:pt>
                <c:pt idx="15">
                  <c:v>0.73657321176435253</c:v>
                </c:pt>
                <c:pt idx="16">
                  <c:v>0.75149602177796371</c:v>
                </c:pt>
                <c:pt idx="17">
                  <c:v>0.76448417145986769</c:v>
                </c:pt>
                <c:pt idx="18">
                  <c:v>0.77736905259849653</c:v>
                </c:pt>
                <c:pt idx="19">
                  <c:v>0.78948960208536023</c:v>
                </c:pt>
                <c:pt idx="20">
                  <c:v>0.80098534077752692</c:v>
                </c:pt>
                <c:pt idx="21">
                  <c:v>0.8113023737610664</c:v>
                </c:pt>
                <c:pt idx="22">
                  <c:v>0.82128533661789893</c:v>
                </c:pt>
                <c:pt idx="23">
                  <c:v>0.83004640873891633</c:v>
                </c:pt>
                <c:pt idx="24">
                  <c:v>0.83847528834310459</c:v>
                </c:pt>
                <c:pt idx="25">
                  <c:v>0.84660952762801833</c:v>
                </c:pt>
                <c:pt idx="26">
                  <c:v>0.8544163406365618</c:v>
                </c:pt>
                <c:pt idx="27">
                  <c:v>0.86193039093570833</c:v>
                </c:pt>
                <c:pt idx="28">
                  <c:v>0.86942609843066476</c:v>
                </c:pt>
                <c:pt idx="29">
                  <c:v>0.87623878922471465</c:v>
                </c:pt>
                <c:pt idx="30">
                  <c:v>0.88300064012053681</c:v>
                </c:pt>
                <c:pt idx="31">
                  <c:v>0.88881545348033775</c:v>
                </c:pt>
                <c:pt idx="32">
                  <c:v>0.89460239155503085</c:v>
                </c:pt>
                <c:pt idx="33">
                  <c:v>0.90037387545611491</c:v>
                </c:pt>
                <c:pt idx="34">
                  <c:v>0.90614218186355977</c:v>
                </c:pt>
                <c:pt idx="35">
                  <c:v>0.91188506832189065</c:v>
                </c:pt>
                <c:pt idx="36">
                  <c:v>0.9171287994158035</c:v>
                </c:pt>
                <c:pt idx="37">
                  <c:v>0.92235678747304928</c:v>
                </c:pt>
                <c:pt idx="38">
                  <c:v>0.92743297799325697</c:v>
                </c:pt>
                <c:pt idx="39">
                  <c:v>0.93176317966588962</c:v>
                </c:pt>
                <c:pt idx="40">
                  <c:v>0.93595920444802905</c:v>
                </c:pt>
                <c:pt idx="41">
                  <c:v>0.93992876059260844</c:v>
                </c:pt>
                <c:pt idx="42">
                  <c:v>0.94377136142314755</c:v>
                </c:pt>
                <c:pt idx="43">
                  <c:v>0.9470450464607344</c:v>
                </c:pt>
                <c:pt idx="44">
                  <c:v>0.95001065904684445</c:v>
                </c:pt>
                <c:pt idx="45">
                  <c:v>0.95294637430643991</c:v>
                </c:pt>
                <c:pt idx="46">
                  <c:v>0.95573303622804939</c:v>
                </c:pt>
                <c:pt idx="47">
                  <c:v>0.95829814018408677</c:v>
                </c:pt>
                <c:pt idx="48">
                  <c:v>0.96084071282159134</c:v>
                </c:pt>
                <c:pt idx="49">
                  <c:v>0.96308185685795578</c:v>
                </c:pt>
                <c:pt idx="50">
                  <c:v>0.96530451365860093</c:v>
                </c:pt>
                <c:pt idx="51">
                  <c:v>0.96751893786208998</c:v>
                </c:pt>
                <c:pt idx="52">
                  <c:v>0.96961695025315975</c:v>
                </c:pt>
                <c:pt idx="53">
                  <c:v>0.97166773353422808</c:v>
                </c:pt>
                <c:pt idx="54">
                  <c:v>0.97340466710265738</c:v>
                </c:pt>
                <c:pt idx="55">
                  <c:v>0.97503703224405003</c:v>
                </c:pt>
                <c:pt idx="56">
                  <c:v>0.97662693451590021</c:v>
                </c:pt>
                <c:pt idx="57">
                  <c:v>0.97791613034425551</c:v>
                </c:pt>
                <c:pt idx="58">
                  <c:v>0.97917788418209006</c:v>
                </c:pt>
                <c:pt idx="59">
                  <c:v>0.98020724768967327</c:v>
                </c:pt>
                <c:pt idx="60">
                  <c:v>0.98123487801890785</c:v>
                </c:pt>
                <c:pt idx="61">
                  <c:v>0.98220834652474631</c:v>
                </c:pt>
                <c:pt idx="62">
                  <c:v>0.98311710970556765</c:v>
                </c:pt>
                <c:pt idx="63">
                  <c:v>0.98399756430669394</c:v>
                </c:pt>
                <c:pt idx="64">
                  <c:v>0.98483786694274267</c:v>
                </c:pt>
                <c:pt idx="65">
                  <c:v>0.98564379487487608</c:v>
                </c:pt>
                <c:pt idx="66">
                  <c:v>0.98640668221135075</c:v>
                </c:pt>
                <c:pt idx="67">
                  <c:v>0.98712624008910854</c:v>
                </c:pt>
                <c:pt idx="68">
                  <c:v>0.98780477941261435</c:v>
                </c:pt>
                <c:pt idx="69">
                  <c:v>0.98845356584113464</c:v>
                </c:pt>
                <c:pt idx="70">
                  <c:v>0.98909036445274323</c:v>
                </c:pt>
                <c:pt idx="71">
                  <c:v>0.98968845541456474</c:v>
                </c:pt>
                <c:pt idx="72">
                  <c:v>0.9902632929002082</c:v>
                </c:pt>
                <c:pt idx="73">
                  <c:v>0.990800289325239</c:v>
                </c:pt>
                <c:pt idx="74">
                  <c:v>0.99129251197626234</c:v>
                </c:pt>
                <c:pt idx="75">
                  <c:v>0.99178300144893705</c:v>
                </c:pt>
                <c:pt idx="76">
                  <c:v>0.99225861447411901</c:v>
                </c:pt>
                <c:pt idx="77">
                  <c:v>0.99272498388144137</c:v>
                </c:pt>
                <c:pt idx="78">
                  <c:v>0.99318832022665349</c:v>
                </c:pt>
                <c:pt idx="79">
                  <c:v>0.99363735785048912</c:v>
                </c:pt>
                <c:pt idx="80">
                  <c:v>0.99405100974970595</c:v>
                </c:pt>
                <c:pt idx="81">
                  <c:v>0.99445975097693484</c:v>
                </c:pt>
                <c:pt idx="82">
                  <c:v>0.99484971610538642</c:v>
                </c:pt>
                <c:pt idx="83">
                  <c:v>0.99523765919243123</c:v>
                </c:pt>
                <c:pt idx="84">
                  <c:v>0.99561058140045422</c:v>
                </c:pt>
                <c:pt idx="85">
                  <c:v>0.9959398852867023</c:v>
                </c:pt>
                <c:pt idx="86">
                  <c:v>0.99625806794521299</c:v>
                </c:pt>
                <c:pt idx="87">
                  <c:v>0.99655992984094033</c:v>
                </c:pt>
                <c:pt idx="88">
                  <c:v>0.99683131668403679</c:v>
                </c:pt>
                <c:pt idx="89">
                  <c:v>0.99708407185988512</c:v>
                </c:pt>
                <c:pt idx="90">
                  <c:v>0.99732483921882176</c:v>
                </c:pt>
                <c:pt idx="91">
                  <c:v>0.99752559904420979</c:v>
                </c:pt>
                <c:pt idx="92">
                  <c:v>0.99770671618164619</c:v>
                </c:pt>
                <c:pt idx="93">
                  <c:v>0.99787873413275208</c:v>
                </c:pt>
                <c:pt idx="94">
                  <c:v>0.99804483039116665</c:v>
                </c:pt>
                <c:pt idx="95">
                  <c:v>0.99819821667502429</c:v>
                </c:pt>
                <c:pt idx="96">
                  <c:v>0.99834235934102233</c:v>
                </c:pt>
                <c:pt idx="97">
                  <c:v>0.99847798054680603</c:v>
                </c:pt>
                <c:pt idx="98">
                  <c:v>0.99859222588628949</c:v>
                </c:pt>
                <c:pt idx="99">
                  <c:v>0.99869968294390732</c:v>
                </c:pt>
                <c:pt idx="100">
                  <c:v>0.99880656227540887</c:v>
                </c:pt>
                <c:pt idx="101">
                  <c:v>0.99891084183938739</c:v>
                </c:pt>
                <c:pt idx="102">
                  <c:v>0.99900024495587314</c:v>
                </c:pt>
                <c:pt idx="103">
                  <c:v>0.99908675944177783</c:v>
                </c:pt>
                <c:pt idx="104">
                  <c:v>0.99915984179548023</c:v>
                </c:pt>
                <c:pt idx="105">
                  <c:v>0.99922671359343318</c:v>
                </c:pt>
                <c:pt idx="106">
                  <c:v>0.99929156334997937</c:v>
                </c:pt>
                <c:pt idx="107">
                  <c:v>0.99935467992817695</c:v>
                </c:pt>
                <c:pt idx="108">
                  <c:v>0.99940855288851493</c:v>
                </c:pt>
                <c:pt idx="109">
                  <c:v>0.99945838176603929</c:v>
                </c:pt>
                <c:pt idx="110">
                  <c:v>0.99950532201298259</c:v>
                </c:pt>
                <c:pt idx="111">
                  <c:v>0.99955182896533867</c:v>
                </c:pt>
                <c:pt idx="112">
                  <c:v>0.999596313876288</c:v>
                </c:pt>
                <c:pt idx="113">
                  <c:v>0.99964065435570826</c:v>
                </c:pt>
                <c:pt idx="114">
                  <c:v>0.99968326165677979</c:v>
                </c:pt>
                <c:pt idx="115">
                  <c:v>0.99971908067598569</c:v>
                </c:pt>
                <c:pt idx="116">
                  <c:v>0.9997517222015524</c:v>
                </c:pt>
                <c:pt idx="117">
                  <c:v>0.99978263054877037</c:v>
                </c:pt>
                <c:pt idx="118">
                  <c:v>0.99981108355999448</c:v>
                </c:pt>
                <c:pt idx="119">
                  <c:v>0.99983390374158532</c:v>
                </c:pt>
                <c:pt idx="120">
                  <c:v>0.99985527960788567</c:v>
                </c:pt>
                <c:pt idx="121">
                  <c:v>0.99987420013819206</c:v>
                </c:pt>
                <c:pt idx="122">
                  <c:v>0.99990871927363645</c:v>
                </c:pt>
                <c:pt idx="123">
                  <c:v>0.99992446231030352</c:v>
                </c:pt>
                <c:pt idx="124">
                  <c:v>0.99994006091544163</c:v>
                </c:pt>
                <c:pt idx="125">
                  <c:v>0.99995450406834729</c:v>
                </c:pt>
                <c:pt idx="126">
                  <c:v>0.99996880278972389</c:v>
                </c:pt>
                <c:pt idx="127">
                  <c:v>0.99997790197605441</c:v>
                </c:pt>
                <c:pt idx="128">
                  <c:v>0.99998411253180386</c:v>
                </c:pt>
                <c:pt idx="129">
                  <c:v>0.99998916763532086</c:v>
                </c:pt>
                <c:pt idx="130">
                  <c:v>0.99999350058119252</c:v>
                </c:pt>
                <c:pt idx="131">
                  <c:v>0.9999976890955351</c:v>
                </c:pt>
                <c:pt idx="132">
                  <c:v>1</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10</c:f>
              <c:strCache>
                <c:ptCount val="9"/>
                <c:pt idx="0">
                  <c:v>Malard</c:v>
                </c:pt>
                <c:pt idx="1">
                  <c:v>Vesselle</c:v>
                </c:pt>
                <c:pt idx="2">
                  <c:v>Louis Marti</c:v>
                </c:pt>
                <c:pt idx="3">
                  <c:v>Nicolas</c:v>
                </c:pt>
                <c:pt idx="4">
                  <c:v>Louis Marti</c:v>
                </c:pt>
                <c:pt idx="5">
                  <c:v>Nicolas</c:v>
                </c:pt>
                <c:pt idx="6">
                  <c:v>Nicolas</c:v>
                </c:pt>
                <c:pt idx="7">
                  <c:v>All Others</c:v>
                </c:pt>
                <c:pt idx="8">
                  <c:v>All Others</c:v>
                </c:pt>
              </c:strCache>
            </c:strRef>
          </c:cat>
          <c:val>
            <c:numRef>
              <c:f>Sheet1!$B$2:$B$10</c:f>
              <c:numCache>
                <c:formatCode>General</c:formatCode>
                <c:ptCount val="9"/>
                <c:pt idx="0">
                  <c:v>0.95499999999999996</c:v>
                </c:pt>
                <c:pt idx="1">
                  <c:v>0.72799999999999998</c:v>
                </c:pt>
                <c:pt idx="2">
                  <c:v>0.49399999999999999</c:v>
                </c:pt>
                <c:pt idx="3">
                  <c:v>0.34699999999999998</c:v>
                </c:pt>
                <c:pt idx="4">
                  <c:v>0.19700000000000001</c:v>
                </c:pt>
                <c:pt idx="5">
                  <c:v>0.189</c:v>
                </c:pt>
                <c:pt idx="6">
                  <c:v>5.7000000000000002E-2</c:v>
                </c:pt>
                <c:pt idx="7">
                  <c:v>2.3E-2</c:v>
                </c:pt>
                <c:pt idx="8">
                  <c:v>0.02</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AEABAB"/>
              </a:solidFill>
            </c:spPr>
            <c:extLst>
              <c:ext xmlns:c16="http://schemas.microsoft.com/office/drawing/2014/chart" uri="{C3380CC4-5D6E-409C-BE32-E72D297353CC}">
                <c16:uniqueId val="{0000000A-C76F-4230-900D-40618C09729F}"/>
              </c:ext>
            </c:extLst>
          </c:dPt>
          <c:dPt>
            <c:idx val="3"/>
            <c:invertIfNegative val="0"/>
            <c:bubble3D val="0"/>
            <c:spPr>
              <a:solidFill>
                <a:srgbClr val="AEABAB"/>
              </a:solidFill>
            </c:spPr>
            <c:extLst>
              <c:ext xmlns:c16="http://schemas.microsoft.com/office/drawing/2014/chart" uri="{C3380CC4-5D6E-409C-BE32-E72D297353CC}">
                <c16:uniqueId val="{0000000C-C76F-4230-900D-40618C09729F}"/>
              </c:ext>
            </c:extLst>
          </c:dPt>
          <c:dPt>
            <c:idx val="4"/>
            <c:invertIfNegative val="0"/>
            <c:bubble3D val="0"/>
            <c:spPr>
              <a:solidFill>
                <a:srgbClr val="AEABAB"/>
              </a:solidFill>
            </c:spPr>
            <c:extLst>
              <c:ext xmlns:c16="http://schemas.microsoft.com/office/drawing/2014/chart" uri="{C3380CC4-5D6E-409C-BE32-E72D297353CC}">
                <c16:uniqueId val="{0000000E-C76F-4230-900D-40618C09729F}"/>
              </c:ext>
            </c:extLst>
          </c:dPt>
          <c:dPt>
            <c:idx val="5"/>
            <c:invertIfNegative val="0"/>
            <c:bubble3D val="0"/>
            <c:spPr>
              <a:solidFill>
                <a:srgbClr val="AEABAB"/>
              </a:solidFill>
            </c:spPr>
            <c:extLst>
              <c:ext xmlns:c16="http://schemas.microsoft.com/office/drawing/2014/chart" uri="{C3380CC4-5D6E-409C-BE32-E72D297353CC}">
                <c16:uniqueId val="{00000010-C76F-4230-900D-40618C09729F}"/>
              </c:ext>
            </c:extLst>
          </c:dPt>
          <c:dPt>
            <c:idx val="6"/>
            <c:invertIfNegative val="1"/>
            <c:bubble3D val="0"/>
            <c:spPr>
              <a:solidFill>
                <a:srgbClr val="AEABAB"/>
              </a:solidFill>
            </c:spPr>
            <c:extLst>
              <c:ext xmlns:c16="http://schemas.microsoft.com/office/drawing/2014/chart" uri="{C3380CC4-5D6E-409C-BE32-E72D297353CC}">
                <c16:uniqueId val="{00000045-2993-41DE-A2CB-63102DE87051}"/>
              </c:ext>
            </c:extLst>
          </c:dPt>
          <c:dPt>
            <c:idx val="7"/>
            <c:invertIfNegative val="1"/>
            <c:bubble3D val="0"/>
            <c:spPr>
              <a:solidFill>
                <a:srgbClr val="AEABAB"/>
              </a:solidFill>
            </c:spPr>
            <c:extLst>
              <c:ext xmlns:c16="http://schemas.microsoft.com/office/drawing/2014/chart" uri="{C3380CC4-5D6E-409C-BE32-E72D297353CC}">
                <c16:uniqueId val="{00000047-2993-41DE-A2CB-63102DE87051}"/>
              </c:ext>
            </c:extLst>
          </c:dPt>
          <c:dPt>
            <c:idx val="8"/>
            <c:invertIfNegative val="1"/>
            <c:bubble3D val="0"/>
            <c:spPr>
              <a:solidFill>
                <a:srgbClr val="AEABAB"/>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10</c:f>
              <c:strCache>
                <c:ptCount val="9"/>
                <c:pt idx="0">
                  <c:v>Malard</c:v>
                </c:pt>
                <c:pt idx="1">
                  <c:v>Vesselle</c:v>
                </c:pt>
                <c:pt idx="2">
                  <c:v>Louis Marti</c:v>
                </c:pt>
                <c:pt idx="3">
                  <c:v>Nicolas</c:v>
                </c:pt>
                <c:pt idx="4">
                  <c:v>Louis Marti</c:v>
                </c:pt>
                <c:pt idx="5">
                  <c:v>Nicolas</c:v>
                </c:pt>
                <c:pt idx="6">
                  <c:v>Nicolas</c:v>
                </c:pt>
                <c:pt idx="7">
                  <c:v>All Others</c:v>
                </c:pt>
                <c:pt idx="8">
                  <c:v>All Others</c:v>
                </c:pt>
              </c:strCache>
            </c:strRef>
          </c:cat>
          <c:val>
            <c:numRef>
              <c:f>Sheet1!$C$2:$C$10</c:f>
              <c:numCache>
                <c:formatCode>General</c:formatCode>
                <c:ptCount val="9"/>
                <c:pt idx="0">
                  <c:v>0.69481000237096824</c:v>
                </c:pt>
                <c:pt idx="1">
                  <c:v>0.87832744629410731</c:v>
                </c:pt>
                <c:pt idx="2">
                  <c:v>0.96553477448976588</c:v>
                </c:pt>
                <c:pt idx="3">
                  <c:v>0.97949891229667219</c:v>
                </c:pt>
                <c:pt idx="4">
                  <c:v>0.98886856355666009</c:v>
                </c:pt>
                <c:pt idx="5">
                  <c:v>0.99652696413953756</c:v>
                </c:pt>
                <c:pt idx="6">
                  <c:v>0.99915198945005657</c:v>
                </c:pt>
                <c:pt idx="7">
                  <c:v>0.99957910986582399</c:v>
                </c:pt>
                <c:pt idx="8">
                  <c:v>1</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10</c:f>
              <c:strCache>
                <c:ptCount val="9"/>
                <c:pt idx="0">
                  <c:v>Malard</c:v>
                </c:pt>
                <c:pt idx="1">
                  <c:v>Vesselle</c:v>
                </c:pt>
                <c:pt idx="2">
                  <c:v>Louis Marti</c:v>
                </c:pt>
                <c:pt idx="3">
                  <c:v>Nicolas</c:v>
                </c:pt>
                <c:pt idx="4">
                  <c:v>Louis Marti</c:v>
                </c:pt>
                <c:pt idx="5">
                  <c:v>Nicolas</c:v>
                </c:pt>
                <c:pt idx="6">
                  <c:v>Nicolas</c:v>
                </c:pt>
                <c:pt idx="7">
                  <c:v>All Others</c:v>
                </c:pt>
                <c:pt idx="8">
                  <c:v>All Others</c:v>
                </c:pt>
              </c:strCache>
            </c:strRef>
          </c:cat>
          <c:val>
            <c:numRef>
              <c:f>Sheet1!$B$2:$B$10</c:f>
              <c:numCache>
                <c:formatCode>General</c:formatCode>
                <c:ptCount val="9"/>
                <c:pt idx="0">
                  <c:v>0.97</c:v>
                </c:pt>
                <c:pt idx="1">
                  <c:v>0.73</c:v>
                </c:pt>
                <c:pt idx="2">
                  <c:v>0.55000000000000004</c:v>
                </c:pt>
                <c:pt idx="3">
                  <c:v>0.32</c:v>
                </c:pt>
                <c:pt idx="4">
                  <c:v>0.19</c:v>
                </c:pt>
                <c:pt idx="5">
                  <c:v>0.18</c:v>
                </c:pt>
                <c:pt idx="6">
                  <c:v>0.04</c:v>
                </c:pt>
                <c:pt idx="7">
                  <c:v>0.02</c:v>
                </c:pt>
                <c:pt idx="8">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AEABAB"/>
              </a:solidFill>
            </c:spPr>
            <c:extLst>
              <c:ext xmlns:c16="http://schemas.microsoft.com/office/drawing/2014/chart" uri="{C3380CC4-5D6E-409C-BE32-E72D297353CC}">
                <c16:uniqueId val="{0000000A-C76F-4230-900D-40618C09729F}"/>
              </c:ext>
            </c:extLst>
          </c:dPt>
          <c:dPt>
            <c:idx val="3"/>
            <c:invertIfNegative val="0"/>
            <c:bubble3D val="0"/>
            <c:spPr>
              <a:solidFill>
                <a:srgbClr val="AEABAB"/>
              </a:solidFill>
            </c:spPr>
            <c:extLst>
              <c:ext xmlns:c16="http://schemas.microsoft.com/office/drawing/2014/chart" uri="{C3380CC4-5D6E-409C-BE32-E72D297353CC}">
                <c16:uniqueId val="{0000000C-C76F-4230-900D-40618C09729F}"/>
              </c:ext>
            </c:extLst>
          </c:dPt>
          <c:dPt>
            <c:idx val="4"/>
            <c:invertIfNegative val="0"/>
            <c:bubble3D val="0"/>
            <c:spPr>
              <a:solidFill>
                <a:srgbClr val="AEABAB"/>
              </a:solidFill>
            </c:spPr>
            <c:extLst>
              <c:ext xmlns:c16="http://schemas.microsoft.com/office/drawing/2014/chart" uri="{C3380CC4-5D6E-409C-BE32-E72D297353CC}">
                <c16:uniqueId val="{0000000E-C76F-4230-900D-40618C09729F}"/>
              </c:ext>
            </c:extLst>
          </c:dPt>
          <c:dPt>
            <c:idx val="5"/>
            <c:invertIfNegative val="0"/>
            <c:bubble3D val="0"/>
            <c:spPr>
              <a:solidFill>
                <a:srgbClr val="AEABAB"/>
              </a:solidFill>
            </c:spPr>
            <c:extLst>
              <c:ext xmlns:c16="http://schemas.microsoft.com/office/drawing/2014/chart" uri="{C3380CC4-5D6E-409C-BE32-E72D297353CC}">
                <c16:uniqueId val="{00000010-C76F-4230-900D-40618C09729F}"/>
              </c:ext>
            </c:extLst>
          </c:dPt>
          <c:dPt>
            <c:idx val="6"/>
            <c:invertIfNegative val="1"/>
            <c:bubble3D val="0"/>
            <c:spPr>
              <a:solidFill>
                <a:srgbClr val="AEABAB"/>
              </a:solidFill>
            </c:spPr>
            <c:extLst>
              <c:ext xmlns:c16="http://schemas.microsoft.com/office/drawing/2014/chart" uri="{C3380CC4-5D6E-409C-BE32-E72D297353CC}">
                <c16:uniqueId val="{00000045-2993-41DE-A2CB-63102DE87051}"/>
              </c:ext>
            </c:extLst>
          </c:dPt>
          <c:dPt>
            <c:idx val="7"/>
            <c:invertIfNegative val="1"/>
            <c:bubble3D val="0"/>
            <c:spPr>
              <a:solidFill>
                <a:srgbClr val="AEABAB"/>
              </a:solidFill>
            </c:spPr>
            <c:extLst>
              <c:ext xmlns:c16="http://schemas.microsoft.com/office/drawing/2014/chart" uri="{C3380CC4-5D6E-409C-BE32-E72D297353CC}">
                <c16:uniqueId val="{00000047-2993-41DE-A2CB-63102DE87051}"/>
              </c:ext>
            </c:extLst>
          </c:dPt>
          <c:dPt>
            <c:idx val="8"/>
            <c:invertIfNegative val="1"/>
            <c:bubble3D val="0"/>
            <c:spPr>
              <a:solidFill>
                <a:srgbClr val="AEABAB"/>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10</c:f>
              <c:strCache>
                <c:ptCount val="9"/>
                <c:pt idx="0">
                  <c:v>Malard</c:v>
                </c:pt>
                <c:pt idx="1">
                  <c:v>Vesselle</c:v>
                </c:pt>
                <c:pt idx="2">
                  <c:v>Louis Marti</c:v>
                </c:pt>
                <c:pt idx="3">
                  <c:v>Nicolas</c:v>
                </c:pt>
                <c:pt idx="4">
                  <c:v>Louis Marti</c:v>
                </c:pt>
                <c:pt idx="5">
                  <c:v>Nicolas</c:v>
                </c:pt>
                <c:pt idx="6">
                  <c:v>Nicolas</c:v>
                </c:pt>
                <c:pt idx="7">
                  <c:v>All Others</c:v>
                </c:pt>
                <c:pt idx="8">
                  <c:v>All Others</c:v>
                </c:pt>
              </c:strCache>
            </c:strRef>
          </c:cat>
          <c:val>
            <c:numRef>
              <c:f>Sheet1!$C$2:$C$10</c:f>
              <c:numCache>
                <c:formatCode>General</c:formatCode>
                <c:ptCount val="9"/>
                <c:pt idx="0">
                  <c:v>0.70291227272854795</c:v>
                </c:pt>
                <c:pt idx="1">
                  <c:v>0.8805914878933504</c:v>
                </c:pt>
                <c:pt idx="2">
                  <c:v>0.97140749094561196</c:v>
                </c:pt>
                <c:pt idx="3">
                  <c:v>0.98253155359552491</c:v>
                </c:pt>
                <c:pt idx="4">
                  <c:v>0.98995601152453172</c:v>
                </c:pt>
                <c:pt idx="5">
                  <c:v>0.99622885789870874</c:v>
                </c:pt>
                <c:pt idx="6">
                  <c:v>0.9991029773577178</c:v>
                </c:pt>
                <c:pt idx="7">
                  <c:v>0.99959041342995092</c:v>
                </c:pt>
                <c:pt idx="8">
                  <c:v>1</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9</c:f>
              <c:strCache>
                <c:ptCount val="8"/>
                <c:pt idx="0">
                  <c:v>Malard</c:v>
                </c:pt>
                <c:pt idx="1">
                  <c:v>Vesselle</c:v>
                </c:pt>
                <c:pt idx="2">
                  <c:v>Louis Marti</c:v>
                </c:pt>
                <c:pt idx="3">
                  <c:v>Nicolas</c:v>
                </c:pt>
                <c:pt idx="4">
                  <c:v>Louis Marti</c:v>
                </c:pt>
                <c:pt idx="5">
                  <c:v>Nicolas</c:v>
                </c:pt>
                <c:pt idx="6">
                  <c:v>Nicolas</c:v>
                </c:pt>
                <c:pt idx="7">
                  <c:v>All Others</c:v>
                </c:pt>
              </c:strCache>
            </c:strRef>
          </c:cat>
          <c:val>
            <c:numRef>
              <c:f>Sheet1!$B$2:$B$9</c:f>
              <c:numCache>
                <c:formatCode>General</c:formatCode>
                <c:ptCount val="8"/>
                <c:pt idx="0">
                  <c:v>0.91</c:v>
                </c:pt>
                <c:pt idx="1">
                  <c:v>0.67</c:v>
                </c:pt>
                <c:pt idx="2">
                  <c:v>0.39</c:v>
                </c:pt>
                <c:pt idx="3">
                  <c:v>0.46</c:v>
                </c:pt>
                <c:pt idx="4">
                  <c:v>0.15</c:v>
                </c:pt>
                <c:pt idx="5">
                  <c:v>0.11</c:v>
                </c:pt>
                <c:pt idx="6">
                  <c:v>0.09</c:v>
                </c:pt>
                <c:pt idx="7">
                  <c:v>0.02</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AEABAB"/>
              </a:solidFill>
            </c:spPr>
            <c:extLst>
              <c:ext xmlns:c16="http://schemas.microsoft.com/office/drawing/2014/chart" uri="{C3380CC4-5D6E-409C-BE32-E72D297353CC}">
                <c16:uniqueId val="{0000000A-C76F-4230-900D-40618C09729F}"/>
              </c:ext>
            </c:extLst>
          </c:dPt>
          <c:dPt>
            <c:idx val="3"/>
            <c:invertIfNegative val="0"/>
            <c:bubble3D val="0"/>
            <c:spPr>
              <a:solidFill>
                <a:srgbClr val="AEABAB"/>
              </a:solidFill>
            </c:spPr>
            <c:extLst>
              <c:ext xmlns:c16="http://schemas.microsoft.com/office/drawing/2014/chart" uri="{C3380CC4-5D6E-409C-BE32-E72D297353CC}">
                <c16:uniqueId val="{0000000C-C76F-4230-900D-40618C09729F}"/>
              </c:ext>
            </c:extLst>
          </c:dPt>
          <c:dPt>
            <c:idx val="4"/>
            <c:invertIfNegative val="0"/>
            <c:bubble3D val="0"/>
            <c:spPr>
              <a:solidFill>
                <a:srgbClr val="AEABAB"/>
              </a:solidFill>
            </c:spPr>
            <c:extLst>
              <c:ext xmlns:c16="http://schemas.microsoft.com/office/drawing/2014/chart" uri="{C3380CC4-5D6E-409C-BE32-E72D297353CC}">
                <c16:uniqueId val="{0000000E-C76F-4230-900D-40618C09729F}"/>
              </c:ext>
            </c:extLst>
          </c:dPt>
          <c:dPt>
            <c:idx val="5"/>
            <c:invertIfNegative val="0"/>
            <c:bubble3D val="0"/>
            <c:spPr>
              <a:solidFill>
                <a:srgbClr val="AEABAB"/>
              </a:solidFill>
            </c:spPr>
            <c:extLst>
              <c:ext xmlns:c16="http://schemas.microsoft.com/office/drawing/2014/chart" uri="{C3380CC4-5D6E-409C-BE32-E72D297353CC}">
                <c16:uniqueId val="{00000010-C76F-4230-900D-40618C09729F}"/>
              </c:ext>
            </c:extLst>
          </c:dPt>
          <c:dPt>
            <c:idx val="6"/>
            <c:invertIfNegative val="1"/>
            <c:bubble3D val="0"/>
            <c:spPr>
              <a:solidFill>
                <a:srgbClr val="AEABAB"/>
              </a:solidFill>
            </c:spPr>
            <c:extLst>
              <c:ext xmlns:c16="http://schemas.microsoft.com/office/drawing/2014/chart" uri="{C3380CC4-5D6E-409C-BE32-E72D297353CC}">
                <c16:uniqueId val="{00000045-2993-41DE-A2CB-63102DE87051}"/>
              </c:ext>
            </c:extLst>
          </c:dPt>
          <c:dPt>
            <c:idx val="7"/>
            <c:invertIfNegative val="1"/>
            <c:bubble3D val="0"/>
            <c:spPr>
              <a:solidFill>
                <a:srgbClr val="AEABAB"/>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9</c:f>
              <c:strCache>
                <c:ptCount val="8"/>
                <c:pt idx="0">
                  <c:v>Malard</c:v>
                </c:pt>
                <c:pt idx="1">
                  <c:v>Vesselle</c:v>
                </c:pt>
                <c:pt idx="2">
                  <c:v>Louis Marti</c:v>
                </c:pt>
                <c:pt idx="3">
                  <c:v>Nicolas</c:v>
                </c:pt>
                <c:pt idx="4">
                  <c:v>Louis Marti</c:v>
                </c:pt>
                <c:pt idx="5">
                  <c:v>Nicolas</c:v>
                </c:pt>
                <c:pt idx="6">
                  <c:v>Nicolas</c:v>
                </c:pt>
                <c:pt idx="7">
                  <c:v>All Others</c:v>
                </c:pt>
              </c:strCache>
            </c:strRef>
          </c:cat>
          <c:val>
            <c:numRef>
              <c:f>Sheet1!$C$2:$C$9</c:f>
              <c:numCache>
                <c:formatCode>General</c:formatCode>
                <c:ptCount val="8"/>
                <c:pt idx="0">
                  <c:v>0.69494324045407641</c:v>
                </c:pt>
                <c:pt idx="1">
                  <c:v>0.89076820017018821</c:v>
                </c:pt>
                <c:pt idx="2">
                  <c:v>0.95650607426719547</c:v>
                </c:pt>
                <c:pt idx="3">
                  <c:v>0.9785327612115946</c:v>
                </c:pt>
                <c:pt idx="4">
                  <c:v>0.98958231492042814</c:v>
                </c:pt>
                <c:pt idx="5">
                  <c:v>0.99633733456448148</c:v>
                </c:pt>
                <c:pt idx="6">
                  <c:v>0.99976463346187983</c:v>
                </c:pt>
                <c:pt idx="7">
                  <c:v>1.0000000000000002</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10</c:f>
              <c:strCache>
                <c:ptCount val="9"/>
                <c:pt idx="0">
                  <c:v>Malard</c:v>
                </c:pt>
                <c:pt idx="1">
                  <c:v>Vesselle</c:v>
                </c:pt>
                <c:pt idx="2">
                  <c:v>Louis Marti</c:v>
                </c:pt>
                <c:pt idx="3">
                  <c:v>Nicolas</c:v>
                </c:pt>
                <c:pt idx="4">
                  <c:v>Louis Marti</c:v>
                </c:pt>
                <c:pt idx="5">
                  <c:v>Nicolas</c:v>
                </c:pt>
                <c:pt idx="6">
                  <c:v>All Others</c:v>
                </c:pt>
                <c:pt idx="7">
                  <c:v>All Others</c:v>
                </c:pt>
                <c:pt idx="8">
                  <c:v>Nicolas</c:v>
                </c:pt>
              </c:strCache>
            </c:strRef>
          </c:cat>
          <c:val>
            <c:numRef>
              <c:f>Sheet1!$B$2:$B$10</c:f>
              <c:numCache>
                <c:formatCode>General</c:formatCode>
                <c:ptCount val="9"/>
                <c:pt idx="0">
                  <c:v>0.96</c:v>
                </c:pt>
                <c:pt idx="1">
                  <c:v>0.8</c:v>
                </c:pt>
                <c:pt idx="2">
                  <c:v>0.64</c:v>
                </c:pt>
                <c:pt idx="3">
                  <c:v>0.39</c:v>
                </c:pt>
                <c:pt idx="4">
                  <c:v>0.22</c:v>
                </c:pt>
                <c:pt idx="5">
                  <c:v>0.16</c:v>
                </c:pt>
                <c:pt idx="6">
                  <c:v>0.05</c:v>
                </c:pt>
                <c:pt idx="7">
                  <c:v>0.11</c:v>
                </c:pt>
                <c:pt idx="8">
                  <c:v>0.08</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AEABAB"/>
              </a:solidFill>
            </c:spPr>
            <c:extLst>
              <c:ext xmlns:c16="http://schemas.microsoft.com/office/drawing/2014/chart" uri="{C3380CC4-5D6E-409C-BE32-E72D297353CC}">
                <c16:uniqueId val="{0000000A-C76F-4230-900D-40618C09729F}"/>
              </c:ext>
            </c:extLst>
          </c:dPt>
          <c:dPt>
            <c:idx val="3"/>
            <c:invertIfNegative val="0"/>
            <c:bubble3D val="0"/>
            <c:spPr>
              <a:solidFill>
                <a:srgbClr val="AEABAB"/>
              </a:solidFill>
            </c:spPr>
            <c:extLst>
              <c:ext xmlns:c16="http://schemas.microsoft.com/office/drawing/2014/chart" uri="{C3380CC4-5D6E-409C-BE32-E72D297353CC}">
                <c16:uniqueId val="{0000000C-C76F-4230-900D-40618C09729F}"/>
              </c:ext>
            </c:extLst>
          </c:dPt>
          <c:dPt>
            <c:idx val="4"/>
            <c:invertIfNegative val="0"/>
            <c:bubble3D val="0"/>
            <c:spPr>
              <a:solidFill>
                <a:srgbClr val="AEABAB"/>
              </a:solidFill>
            </c:spPr>
            <c:extLst>
              <c:ext xmlns:c16="http://schemas.microsoft.com/office/drawing/2014/chart" uri="{C3380CC4-5D6E-409C-BE32-E72D297353CC}">
                <c16:uniqueId val="{0000000E-C76F-4230-900D-40618C09729F}"/>
              </c:ext>
            </c:extLst>
          </c:dPt>
          <c:dPt>
            <c:idx val="5"/>
            <c:invertIfNegative val="0"/>
            <c:bubble3D val="0"/>
            <c:spPr>
              <a:solidFill>
                <a:srgbClr val="AEABAB"/>
              </a:solidFill>
            </c:spPr>
            <c:extLst>
              <c:ext xmlns:c16="http://schemas.microsoft.com/office/drawing/2014/chart" uri="{C3380CC4-5D6E-409C-BE32-E72D297353CC}">
                <c16:uniqueId val="{00000010-C76F-4230-900D-40618C09729F}"/>
              </c:ext>
            </c:extLst>
          </c:dPt>
          <c:dPt>
            <c:idx val="6"/>
            <c:invertIfNegative val="1"/>
            <c:bubble3D val="0"/>
            <c:spPr>
              <a:solidFill>
                <a:srgbClr val="AEABAB"/>
              </a:solidFill>
            </c:spPr>
            <c:extLst>
              <c:ext xmlns:c16="http://schemas.microsoft.com/office/drawing/2014/chart" uri="{C3380CC4-5D6E-409C-BE32-E72D297353CC}">
                <c16:uniqueId val="{00000045-2993-41DE-A2CB-63102DE87051}"/>
              </c:ext>
            </c:extLst>
          </c:dPt>
          <c:dPt>
            <c:idx val="7"/>
            <c:invertIfNegative val="1"/>
            <c:bubble3D val="0"/>
            <c:spPr>
              <a:solidFill>
                <a:srgbClr val="AEABAB"/>
              </a:solidFill>
            </c:spPr>
            <c:extLst>
              <c:ext xmlns:c16="http://schemas.microsoft.com/office/drawing/2014/chart" uri="{C3380CC4-5D6E-409C-BE32-E72D297353CC}">
                <c16:uniqueId val="{00000047-2993-41DE-A2CB-63102DE87051}"/>
              </c:ext>
            </c:extLst>
          </c:dPt>
          <c:dPt>
            <c:idx val="8"/>
            <c:invertIfNegative val="1"/>
            <c:bubble3D val="0"/>
            <c:spPr>
              <a:solidFill>
                <a:srgbClr val="AEABAB"/>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10</c:f>
              <c:strCache>
                <c:ptCount val="9"/>
                <c:pt idx="0">
                  <c:v>Malard</c:v>
                </c:pt>
                <c:pt idx="1">
                  <c:v>Vesselle</c:v>
                </c:pt>
                <c:pt idx="2">
                  <c:v>Louis Marti</c:v>
                </c:pt>
                <c:pt idx="3">
                  <c:v>Nicolas</c:v>
                </c:pt>
                <c:pt idx="4">
                  <c:v>Louis Marti</c:v>
                </c:pt>
                <c:pt idx="5">
                  <c:v>Nicolas</c:v>
                </c:pt>
                <c:pt idx="6">
                  <c:v>All Others</c:v>
                </c:pt>
                <c:pt idx="7">
                  <c:v>All Others</c:v>
                </c:pt>
                <c:pt idx="8">
                  <c:v>Nicolas</c:v>
                </c:pt>
              </c:strCache>
            </c:strRef>
          </c:cat>
          <c:val>
            <c:numRef>
              <c:f>Sheet1!$C$2:$C$10</c:f>
              <c:numCache>
                <c:formatCode>General</c:formatCode>
                <c:ptCount val="9"/>
                <c:pt idx="0">
                  <c:v>0.63730808466865385</c:v>
                </c:pt>
                <c:pt idx="1">
                  <c:v>0.8576466342533523</c:v>
                </c:pt>
                <c:pt idx="2">
                  <c:v>0.96858314412937285</c:v>
                </c:pt>
                <c:pt idx="3">
                  <c:v>0.97992401531060236</c:v>
                </c:pt>
                <c:pt idx="4">
                  <c:v>0.98826130321982997</c:v>
                </c:pt>
                <c:pt idx="5">
                  <c:v>0.99656449179200546</c:v>
                </c:pt>
                <c:pt idx="6">
                  <c:v>0.99781195920582644</c:v>
                </c:pt>
                <c:pt idx="7">
                  <c:v>0.99892018766001822</c:v>
                </c:pt>
                <c:pt idx="8">
                  <c:v>1</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8</c:f>
              <c:strCache>
                <c:ptCount val="7"/>
                <c:pt idx="0">
                  <c:v>Malard</c:v>
                </c:pt>
                <c:pt idx="1">
                  <c:v>Vesselle</c:v>
                </c:pt>
                <c:pt idx="2">
                  <c:v>Louis Marti</c:v>
                </c:pt>
                <c:pt idx="3">
                  <c:v>Nicolas</c:v>
                </c:pt>
                <c:pt idx="4">
                  <c:v>Louis Marti</c:v>
                </c:pt>
                <c:pt idx="5">
                  <c:v>Nicolas</c:v>
                </c:pt>
                <c:pt idx="6">
                  <c:v>Nicolas</c:v>
                </c:pt>
              </c:strCache>
            </c:strRef>
          </c:cat>
          <c:val>
            <c:numRef>
              <c:f>Sheet1!$B$2:$B$8</c:f>
              <c:numCache>
                <c:formatCode>General</c:formatCode>
                <c:ptCount val="7"/>
                <c:pt idx="0">
                  <c:v>0.99</c:v>
                </c:pt>
                <c:pt idx="1">
                  <c:v>0.74</c:v>
                </c:pt>
                <c:pt idx="2">
                  <c:v>0.56000000000000005</c:v>
                </c:pt>
                <c:pt idx="3">
                  <c:v>0.4</c:v>
                </c:pt>
                <c:pt idx="4">
                  <c:v>0.35</c:v>
                </c:pt>
                <c:pt idx="5">
                  <c:v>0.2</c:v>
                </c:pt>
                <c:pt idx="6">
                  <c:v>0.08</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AEABAB"/>
              </a:solidFill>
            </c:spPr>
            <c:extLst>
              <c:ext xmlns:c16="http://schemas.microsoft.com/office/drawing/2014/chart" uri="{C3380CC4-5D6E-409C-BE32-E72D297353CC}">
                <c16:uniqueId val="{0000000A-C76F-4230-900D-40618C09729F}"/>
              </c:ext>
            </c:extLst>
          </c:dPt>
          <c:dPt>
            <c:idx val="3"/>
            <c:invertIfNegative val="0"/>
            <c:bubble3D val="0"/>
            <c:spPr>
              <a:solidFill>
                <a:srgbClr val="AEABAB"/>
              </a:solidFill>
            </c:spPr>
            <c:extLst>
              <c:ext xmlns:c16="http://schemas.microsoft.com/office/drawing/2014/chart" uri="{C3380CC4-5D6E-409C-BE32-E72D297353CC}">
                <c16:uniqueId val="{0000000C-C76F-4230-900D-40618C09729F}"/>
              </c:ext>
            </c:extLst>
          </c:dPt>
          <c:dPt>
            <c:idx val="4"/>
            <c:invertIfNegative val="0"/>
            <c:bubble3D val="0"/>
            <c:spPr>
              <a:solidFill>
                <a:srgbClr val="AEABAB"/>
              </a:solidFill>
            </c:spPr>
            <c:extLst>
              <c:ext xmlns:c16="http://schemas.microsoft.com/office/drawing/2014/chart" uri="{C3380CC4-5D6E-409C-BE32-E72D297353CC}">
                <c16:uniqueId val="{0000000E-C76F-4230-900D-40618C09729F}"/>
              </c:ext>
            </c:extLst>
          </c:dPt>
          <c:dPt>
            <c:idx val="5"/>
            <c:invertIfNegative val="0"/>
            <c:bubble3D val="0"/>
            <c:spPr>
              <a:solidFill>
                <a:srgbClr val="AEABAB"/>
              </a:solidFill>
            </c:spPr>
            <c:extLst>
              <c:ext xmlns:c16="http://schemas.microsoft.com/office/drawing/2014/chart" uri="{C3380CC4-5D6E-409C-BE32-E72D297353CC}">
                <c16:uniqueId val="{00000010-C76F-4230-900D-40618C09729F}"/>
              </c:ext>
            </c:extLst>
          </c:dPt>
          <c:dPt>
            <c:idx val="6"/>
            <c:invertIfNegative val="1"/>
            <c:bubble3D val="0"/>
            <c:spPr>
              <a:solidFill>
                <a:srgbClr val="AEABAB"/>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8</c:f>
              <c:strCache>
                <c:ptCount val="7"/>
                <c:pt idx="0">
                  <c:v>Malard</c:v>
                </c:pt>
                <c:pt idx="1">
                  <c:v>Vesselle</c:v>
                </c:pt>
                <c:pt idx="2">
                  <c:v>Louis Marti</c:v>
                </c:pt>
                <c:pt idx="3">
                  <c:v>Nicolas</c:v>
                </c:pt>
                <c:pt idx="4">
                  <c:v>Louis Marti</c:v>
                </c:pt>
                <c:pt idx="5">
                  <c:v>Nicolas</c:v>
                </c:pt>
                <c:pt idx="6">
                  <c:v>Nicolas</c:v>
                </c:pt>
              </c:strCache>
            </c:strRef>
          </c:cat>
          <c:val>
            <c:numRef>
              <c:f>Sheet1!$C$2:$C$8</c:f>
              <c:numCache>
                <c:formatCode>General</c:formatCode>
                <c:ptCount val="7"/>
                <c:pt idx="0">
                  <c:v>0.75559798744419016</c:v>
                </c:pt>
                <c:pt idx="1">
                  <c:v>0.88202864719080754</c:v>
                </c:pt>
                <c:pt idx="2">
                  <c:v>0.96095007139133792</c:v>
                </c:pt>
                <c:pt idx="3">
                  <c:v>0.97496203793939673</c:v>
                </c:pt>
                <c:pt idx="4">
                  <c:v>0.98658862724656082</c:v>
                </c:pt>
                <c:pt idx="5">
                  <c:v>0.99741631348729698</c:v>
                </c:pt>
                <c:pt idx="6">
                  <c:v>1</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8</c:f>
              <c:strCache>
                <c:ptCount val="7"/>
                <c:pt idx="0">
                  <c:v>Malard</c:v>
                </c:pt>
                <c:pt idx="1">
                  <c:v>Vesselle</c:v>
                </c:pt>
                <c:pt idx="2">
                  <c:v>Louis Marti</c:v>
                </c:pt>
                <c:pt idx="3">
                  <c:v>Nicolas</c:v>
                </c:pt>
                <c:pt idx="4">
                  <c:v>Nicolas</c:v>
                </c:pt>
                <c:pt idx="5">
                  <c:v>Louis Marti</c:v>
                </c:pt>
                <c:pt idx="6">
                  <c:v>Nicolas</c:v>
                </c:pt>
              </c:strCache>
            </c:strRef>
          </c:cat>
          <c:val>
            <c:numRef>
              <c:f>Sheet1!$B$2:$B$8</c:f>
              <c:numCache>
                <c:formatCode>General</c:formatCode>
                <c:ptCount val="7"/>
                <c:pt idx="0">
                  <c:v>0.91</c:v>
                </c:pt>
                <c:pt idx="1">
                  <c:v>0.73</c:v>
                </c:pt>
                <c:pt idx="2">
                  <c:v>0.21</c:v>
                </c:pt>
                <c:pt idx="3">
                  <c:v>0.16</c:v>
                </c:pt>
                <c:pt idx="4">
                  <c:v>0.21</c:v>
                </c:pt>
                <c:pt idx="5">
                  <c:v>0.2</c:v>
                </c:pt>
                <c:pt idx="6">
                  <c:v>0.03</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AEABAB"/>
              </a:solidFill>
            </c:spPr>
            <c:extLst>
              <c:ext xmlns:c16="http://schemas.microsoft.com/office/drawing/2014/chart" uri="{C3380CC4-5D6E-409C-BE32-E72D297353CC}">
                <c16:uniqueId val="{0000000A-C76F-4230-900D-40618C09729F}"/>
              </c:ext>
            </c:extLst>
          </c:dPt>
          <c:dPt>
            <c:idx val="3"/>
            <c:invertIfNegative val="0"/>
            <c:bubble3D val="0"/>
            <c:spPr>
              <a:solidFill>
                <a:srgbClr val="AEABAB"/>
              </a:solidFill>
            </c:spPr>
            <c:extLst>
              <c:ext xmlns:c16="http://schemas.microsoft.com/office/drawing/2014/chart" uri="{C3380CC4-5D6E-409C-BE32-E72D297353CC}">
                <c16:uniqueId val="{0000000C-C76F-4230-900D-40618C09729F}"/>
              </c:ext>
            </c:extLst>
          </c:dPt>
          <c:dPt>
            <c:idx val="4"/>
            <c:invertIfNegative val="0"/>
            <c:bubble3D val="0"/>
            <c:spPr>
              <a:solidFill>
                <a:srgbClr val="AEABAB"/>
              </a:solidFill>
            </c:spPr>
            <c:extLst>
              <c:ext xmlns:c16="http://schemas.microsoft.com/office/drawing/2014/chart" uri="{C3380CC4-5D6E-409C-BE32-E72D297353CC}">
                <c16:uniqueId val="{0000000E-C76F-4230-900D-40618C09729F}"/>
              </c:ext>
            </c:extLst>
          </c:dPt>
          <c:dPt>
            <c:idx val="5"/>
            <c:invertIfNegative val="0"/>
            <c:bubble3D val="0"/>
            <c:spPr>
              <a:solidFill>
                <a:srgbClr val="AEABAB"/>
              </a:solidFill>
            </c:spPr>
            <c:extLst>
              <c:ext xmlns:c16="http://schemas.microsoft.com/office/drawing/2014/chart" uri="{C3380CC4-5D6E-409C-BE32-E72D297353CC}">
                <c16:uniqueId val="{00000010-C76F-4230-900D-40618C09729F}"/>
              </c:ext>
            </c:extLst>
          </c:dPt>
          <c:dPt>
            <c:idx val="6"/>
            <c:invertIfNegative val="1"/>
            <c:bubble3D val="0"/>
            <c:spPr>
              <a:solidFill>
                <a:srgbClr val="AEABAB"/>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8</c:f>
              <c:strCache>
                <c:ptCount val="7"/>
                <c:pt idx="0">
                  <c:v>Malard</c:v>
                </c:pt>
                <c:pt idx="1">
                  <c:v>Vesselle</c:v>
                </c:pt>
                <c:pt idx="2">
                  <c:v>Louis Marti</c:v>
                </c:pt>
                <c:pt idx="3">
                  <c:v>Nicolas</c:v>
                </c:pt>
                <c:pt idx="4">
                  <c:v>Nicolas</c:v>
                </c:pt>
                <c:pt idx="5">
                  <c:v>Louis Marti</c:v>
                </c:pt>
                <c:pt idx="6">
                  <c:v>Nicolas</c:v>
                </c:pt>
              </c:strCache>
            </c:strRef>
          </c:cat>
          <c:val>
            <c:numRef>
              <c:f>Sheet1!$C$2:$C$8</c:f>
              <c:numCache>
                <c:formatCode>General</c:formatCode>
                <c:ptCount val="7"/>
                <c:pt idx="0">
                  <c:v>0.71686135830024056</c:v>
                </c:pt>
                <c:pt idx="1">
                  <c:v>0.92129240461076167</c:v>
                </c:pt>
                <c:pt idx="2">
                  <c:v>0.96747731818313576</c:v>
                </c:pt>
                <c:pt idx="3">
                  <c:v>0.97969989468293772</c:v>
                </c:pt>
                <c:pt idx="4">
                  <c:v>0.99096592171753772</c:v>
                </c:pt>
                <c:pt idx="5">
                  <c:v>0.99854102051267191</c:v>
                </c:pt>
                <c:pt idx="6">
                  <c:v>1</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8</c:f>
              <c:strCache>
                <c:ptCount val="7"/>
                <c:pt idx="0">
                  <c:v>Malard</c:v>
                </c:pt>
                <c:pt idx="1">
                  <c:v>Vesselle</c:v>
                </c:pt>
                <c:pt idx="2">
                  <c:v>Louis Marti</c:v>
                </c:pt>
                <c:pt idx="3">
                  <c:v>Nicolas</c:v>
                </c:pt>
                <c:pt idx="4">
                  <c:v>Louis Marti</c:v>
                </c:pt>
                <c:pt idx="5">
                  <c:v>Nicolas</c:v>
                </c:pt>
                <c:pt idx="6">
                  <c:v>Nicolas</c:v>
                </c:pt>
              </c:strCache>
            </c:strRef>
          </c:cat>
          <c:val>
            <c:numRef>
              <c:f>Sheet1!$B$2:$B$8</c:f>
              <c:numCache>
                <c:formatCode>General</c:formatCode>
                <c:ptCount val="7"/>
                <c:pt idx="0">
                  <c:v>0.95</c:v>
                </c:pt>
                <c:pt idx="1">
                  <c:v>0.72</c:v>
                </c:pt>
                <c:pt idx="2">
                  <c:v>0.49</c:v>
                </c:pt>
                <c:pt idx="3">
                  <c:v>0.32</c:v>
                </c:pt>
                <c:pt idx="4">
                  <c:v>0.2</c:v>
                </c:pt>
                <c:pt idx="5">
                  <c:v>0.18</c:v>
                </c:pt>
                <c:pt idx="6">
                  <c:v>0.04</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AEABAB"/>
              </a:solidFill>
            </c:spPr>
            <c:extLst>
              <c:ext xmlns:c16="http://schemas.microsoft.com/office/drawing/2014/chart" uri="{C3380CC4-5D6E-409C-BE32-E72D297353CC}">
                <c16:uniqueId val="{0000000A-C76F-4230-900D-40618C09729F}"/>
              </c:ext>
            </c:extLst>
          </c:dPt>
          <c:dPt>
            <c:idx val="3"/>
            <c:invertIfNegative val="0"/>
            <c:bubble3D val="0"/>
            <c:spPr>
              <a:solidFill>
                <a:srgbClr val="AEABAB"/>
              </a:solidFill>
            </c:spPr>
            <c:extLst>
              <c:ext xmlns:c16="http://schemas.microsoft.com/office/drawing/2014/chart" uri="{C3380CC4-5D6E-409C-BE32-E72D297353CC}">
                <c16:uniqueId val="{0000000C-C76F-4230-900D-40618C09729F}"/>
              </c:ext>
            </c:extLst>
          </c:dPt>
          <c:dPt>
            <c:idx val="4"/>
            <c:invertIfNegative val="0"/>
            <c:bubble3D val="0"/>
            <c:spPr>
              <a:solidFill>
                <a:srgbClr val="AEABAB"/>
              </a:solidFill>
            </c:spPr>
            <c:extLst>
              <c:ext xmlns:c16="http://schemas.microsoft.com/office/drawing/2014/chart" uri="{C3380CC4-5D6E-409C-BE32-E72D297353CC}">
                <c16:uniqueId val="{0000000E-C76F-4230-900D-40618C09729F}"/>
              </c:ext>
            </c:extLst>
          </c:dPt>
          <c:dPt>
            <c:idx val="5"/>
            <c:invertIfNegative val="0"/>
            <c:bubble3D val="0"/>
            <c:spPr>
              <a:solidFill>
                <a:srgbClr val="AEABAB"/>
              </a:solidFill>
            </c:spPr>
            <c:extLst>
              <c:ext xmlns:c16="http://schemas.microsoft.com/office/drawing/2014/chart" uri="{C3380CC4-5D6E-409C-BE32-E72D297353CC}">
                <c16:uniqueId val="{00000010-C76F-4230-900D-40618C09729F}"/>
              </c:ext>
            </c:extLst>
          </c:dPt>
          <c:dPt>
            <c:idx val="6"/>
            <c:invertIfNegative val="1"/>
            <c:bubble3D val="0"/>
            <c:spPr>
              <a:solidFill>
                <a:srgbClr val="AEABAB"/>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8</c:f>
              <c:strCache>
                <c:ptCount val="7"/>
                <c:pt idx="0">
                  <c:v>Malard</c:v>
                </c:pt>
                <c:pt idx="1">
                  <c:v>Vesselle</c:v>
                </c:pt>
                <c:pt idx="2">
                  <c:v>Louis Marti</c:v>
                </c:pt>
                <c:pt idx="3">
                  <c:v>Nicolas</c:v>
                </c:pt>
                <c:pt idx="4">
                  <c:v>Louis Marti</c:v>
                </c:pt>
                <c:pt idx="5">
                  <c:v>Nicolas</c:v>
                </c:pt>
                <c:pt idx="6">
                  <c:v>Nicolas</c:v>
                </c:pt>
              </c:strCache>
            </c:strRef>
          </c:cat>
          <c:val>
            <c:numRef>
              <c:f>Sheet1!$C$2:$C$8</c:f>
              <c:numCache>
                <c:formatCode>General</c:formatCode>
                <c:ptCount val="7"/>
                <c:pt idx="0">
                  <c:v>0.69879119223665564</c:v>
                </c:pt>
                <c:pt idx="1">
                  <c:v>0.88137797568028198</c:v>
                </c:pt>
                <c:pt idx="2">
                  <c:v>0.96920437431908046</c:v>
                </c:pt>
                <c:pt idx="3">
                  <c:v>0.98084948532283434</c:v>
                </c:pt>
                <c:pt idx="4">
                  <c:v>0.99009180932033902</c:v>
                </c:pt>
                <c:pt idx="5">
                  <c:v>0.99766993885832667</c:v>
                </c:pt>
                <c:pt idx="6">
                  <c:v>1</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10</c:f>
              <c:strCache>
                <c:ptCount val="9"/>
                <c:pt idx="0">
                  <c:v>Malard</c:v>
                </c:pt>
                <c:pt idx="1">
                  <c:v>Vesselle</c:v>
                </c:pt>
                <c:pt idx="2">
                  <c:v>Louis Marti</c:v>
                </c:pt>
                <c:pt idx="3">
                  <c:v>Nicolas</c:v>
                </c:pt>
                <c:pt idx="4">
                  <c:v>Nicolas</c:v>
                </c:pt>
                <c:pt idx="5">
                  <c:v>All Others</c:v>
                </c:pt>
                <c:pt idx="6">
                  <c:v>All Others</c:v>
                </c:pt>
                <c:pt idx="7">
                  <c:v>Louis Marti</c:v>
                </c:pt>
                <c:pt idx="8">
                  <c:v>Nicolas</c:v>
                </c:pt>
              </c:strCache>
            </c:strRef>
          </c:cat>
          <c:val>
            <c:numRef>
              <c:f>Sheet1!$B$2:$B$10</c:f>
              <c:numCache>
                <c:formatCode>General</c:formatCode>
                <c:ptCount val="9"/>
                <c:pt idx="0">
                  <c:v>0.98</c:v>
                </c:pt>
                <c:pt idx="1">
                  <c:v>0.59</c:v>
                </c:pt>
                <c:pt idx="2">
                  <c:v>0.37</c:v>
                </c:pt>
                <c:pt idx="3">
                  <c:v>0.25</c:v>
                </c:pt>
                <c:pt idx="4">
                  <c:v>0.16</c:v>
                </c:pt>
                <c:pt idx="5">
                  <c:v>0.11</c:v>
                </c:pt>
                <c:pt idx="6">
                  <c:v>0.08</c:v>
                </c:pt>
                <c:pt idx="7">
                  <c:v>0.13</c:v>
                </c:pt>
                <c:pt idx="8">
                  <c:v>0.04</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7ECAC4"/>
              </a:solidFill>
            </c:spPr>
            <c:extLst>
              <c:ext xmlns:c16="http://schemas.microsoft.com/office/drawing/2014/chart" uri="{C3380CC4-5D6E-409C-BE32-E72D297353CC}">
                <c16:uniqueId val="{0000000A-C76F-4230-900D-40618C09729F}"/>
              </c:ext>
            </c:extLst>
          </c:dPt>
          <c:dPt>
            <c:idx val="3"/>
            <c:invertIfNegative val="0"/>
            <c:bubble3D val="0"/>
            <c:spPr>
              <a:solidFill>
                <a:srgbClr val="AEABAB"/>
              </a:solidFill>
            </c:spPr>
            <c:extLst>
              <c:ext xmlns:c16="http://schemas.microsoft.com/office/drawing/2014/chart" uri="{C3380CC4-5D6E-409C-BE32-E72D297353CC}">
                <c16:uniqueId val="{0000000C-C76F-4230-900D-40618C09729F}"/>
              </c:ext>
            </c:extLst>
          </c:dPt>
          <c:dPt>
            <c:idx val="4"/>
            <c:invertIfNegative val="0"/>
            <c:bubble3D val="0"/>
            <c:spPr>
              <a:solidFill>
                <a:srgbClr val="AEABAB"/>
              </a:solidFill>
            </c:spPr>
            <c:extLst>
              <c:ext xmlns:c16="http://schemas.microsoft.com/office/drawing/2014/chart" uri="{C3380CC4-5D6E-409C-BE32-E72D297353CC}">
                <c16:uniqueId val="{0000000E-C76F-4230-900D-40618C09729F}"/>
              </c:ext>
            </c:extLst>
          </c:dPt>
          <c:dPt>
            <c:idx val="5"/>
            <c:invertIfNegative val="0"/>
            <c:bubble3D val="0"/>
            <c:spPr>
              <a:solidFill>
                <a:srgbClr val="AEABAB"/>
              </a:solidFill>
            </c:spPr>
            <c:extLst>
              <c:ext xmlns:c16="http://schemas.microsoft.com/office/drawing/2014/chart" uri="{C3380CC4-5D6E-409C-BE32-E72D297353CC}">
                <c16:uniqueId val="{00000010-C76F-4230-900D-40618C09729F}"/>
              </c:ext>
            </c:extLst>
          </c:dPt>
          <c:dPt>
            <c:idx val="6"/>
            <c:invertIfNegative val="1"/>
            <c:bubble3D val="0"/>
            <c:spPr>
              <a:solidFill>
                <a:srgbClr val="AEABAB"/>
              </a:solidFill>
            </c:spPr>
            <c:extLst>
              <c:ext xmlns:c16="http://schemas.microsoft.com/office/drawing/2014/chart" uri="{C3380CC4-5D6E-409C-BE32-E72D297353CC}">
                <c16:uniqueId val="{00000045-2993-41DE-A2CB-63102DE87051}"/>
              </c:ext>
            </c:extLst>
          </c:dPt>
          <c:dPt>
            <c:idx val="7"/>
            <c:invertIfNegative val="1"/>
            <c:bubble3D val="0"/>
            <c:spPr>
              <a:solidFill>
                <a:srgbClr val="AEABAB"/>
              </a:solidFill>
            </c:spPr>
            <c:extLst>
              <c:ext xmlns:c16="http://schemas.microsoft.com/office/drawing/2014/chart" uri="{C3380CC4-5D6E-409C-BE32-E72D297353CC}">
                <c16:uniqueId val="{00000047-2993-41DE-A2CB-63102DE87051}"/>
              </c:ext>
            </c:extLst>
          </c:dPt>
          <c:dPt>
            <c:idx val="8"/>
            <c:invertIfNegative val="1"/>
            <c:bubble3D val="0"/>
            <c:spPr>
              <a:solidFill>
                <a:srgbClr val="AEABAB"/>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10</c:f>
              <c:strCache>
                <c:ptCount val="9"/>
                <c:pt idx="0">
                  <c:v>Malard</c:v>
                </c:pt>
                <c:pt idx="1">
                  <c:v>Vesselle</c:v>
                </c:pt>
                <c:pt idx="2">
                  <c:v>Louis Marti</c:v>
                </c:pt>
                <c:pt idx="3">
                  <c:v>Nicolas</c:v>
                </c:pt>
                <c:pt idx="4">
                  <c:v>Nicolas</c:v>
                </c:pt>
                <c:pt idx="5">
                  <c:v>All Others</c:v>
                </c:pt>
                <c:pt idx="6">
                  <c:v>All Others</c:v>
                </c:pt>
                <c:pt idx="7">
                  <c:v>Louis Marti</c:v>
                </c:pt>
                <c:pt idx="8">
                  <c:v>Nicolas</c:v>
                </c:pt>
              </c:strCache>
            </c:strRef>
          </c:cat>
          <c:val>
            <c:numRef>
              <c:f>Sheet1!$C$2:$C$10</c:f>
              <c:numCache>
                <c:formatCode>General</c:formatCode>
                <c:ptCount val="9"/>
                <c:pt idx="0">
                  <c:v>0.71061425194925154</c:v>
                </c:pt>
                <c:pt idx="1">
                  <c:v>0.8699448504441849</c:v>
                </c:pt>
                <c:pt idx="2">
                  <c:v>0.9454861582765085</c:v>
                </c:pt>
                <c:pt idx="3">
                  <c:v>0.96920861745768705</c:v>
                </c:pt>
                <c:pt idx="4">
                  <c:v>0.98125458447662262</c:v>
                </c:pt>
                <c:pt idx="5">
                  <c:v>0.98795946643483934</c:v>
                </c:pt>
                <c:pt idx="6">
                  <c:v>0.99457197967888289</c:v>
                </c:pt>
                <c:pt idx="7">
                  <c:v>0.99835909695998259</c:v>
                </c:pt>
                <c:pt idx="8">
                  <c:v>1</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8</c:f>
              <c:strCache>
                <c:ptCount val="7"/>
                <c:pt idx="0">
                  <c:v>Malard</c:v>
                </c:pt>
                <c:pt idx="1">
                  <c:v>Vesselle</c:v>
                </c:pt>
                <c:pt idx="2">
                  <c:v>Louis Marti</c:v>
                </c:pt>
                <c:pt idx="3">
                  <c:v>Nicolas</c:v>
                </c:pt>
                <c:pt idx="4">
                  <c:v>Nicolas</c:v>
                </c:pt>
                <c:pt idx="5">
                  <c:v>Louis Marti</c:v>
                </c:pt>
                <c:pt idx="6">
                  <c:v>Nicolas</c:v>
                </c:pt>
              </c:strCache>
            </c:strRef>
          </c:cat>
          <c:val>
            <c:numRef>
              <c:f>Sheet1!$B$2:$B$8</c:f>
              <c:numCache>
                <c:formatCode>General</c:formatCode>
                <c:ptCount val="7"/>
                <c:pt idx="0">
                  <c:v>1</c:v>
                </c:pt>
                <c:pt idx="1">
                  <c:v>0.56000000000000005</c:v>
                </c:pt>
                <c:pt idx="2">
                  <c:v>0.27</c:v>
                </c:pt>
                <c:pt idx="3">
                  <c:v>0.33</c:v>
                </c:pt>
                <c:pt idx="4">
                  <c:v>0.22</c:v>
                </c:pt>
                <c:pt idx="5">
                  <c:v>0.23</c:v>
                </c:pt>
                <c:pt idx="6">
                  <c:v>0.06</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AEABAB"/>
              </a:solidFill>
            </c:spPr>
            <c:extLst>
              <c:ext xmlns:c16="http://schemas.microsoft.com/office/drawing/2014/chart" uri="{C3380CC4-5D6E-409C-BE32-E72D297353CC}">
                <c16:uniqueId val="{0000000A-C76F-4230-900D-40618C09729F}"/>
              </c:ext>
            </c:extLst>
          </c:dPt>
          <c:dPt>
            <c:idx val="3"/>
            <c:invertIfNegative val="0"/>
            <c:bubble3D val="0"/>
            <c:spPr>
              <a:solidFill>
                <a:srgbClr val="AEABAB"/>
              </a:solidFill>
            </c:spPr>
            <c:extLst>
              <c:ext xmlns:c16="http://schemas.microsoft.com/office/drawing/2014/chart" uri="{C3380CC4-5D6E-409C-BE32-E72D297353CC}">
                <c16:uniqueId val="{0000000C-C76F-4230-900D-40618C09729F}"/>
              </c:ext>
            </c:extLst>
          </c:dPt>
          <c:dPt>
            <c:idx val="4"/>
            <c:invertIfNegative val="0"/>
            <c:bubble3D val="0"/>
            <c:spPr>
              <a:solidFill>
                <a:srgbClr val="AEABAB"/>
              </a:solidFill>
            </c:spPr>
            <c:extLst>
              <c:ext xmlns:c16="http://schemas.microsoft.com/office/drawing/2014/chart" uri="{C3380CC4-5D6E-409C-BE32-E72D297353CC}">
                <c16:uniqueId val="{0000000E-C76F-4230-900D-40618C09729F}"/>
              </c:ext>
            </c:extLst>
          </c:dPt>
          <c:dPt>
            <c:idx val="5"/>
            <c:invertIfNegative val="0"/>
            <c:bubble3D val="0"/>
            <c:spPr>
              <a:solidFill>
                <a:srgbClr val="AEABAB"/>
              </a:solidFill>
            </c:spPr>
            <c:extLst>
              <c:ext xmlns:c16="http://schemas.microsoft.com/office/drawing/2014/chart" uri="{C3380CC4-5D6E-409C-BE32-E72D297353CC}">
                <c16:uniqueId val="{00000010-C76F-4230-900D-40618C09729F}"/>
              </c:ext>
            </c:extLst>
          </c:dPt>
          <c:dPt>
            <c:idx val="6"/>
            <c:invertIfNegative val="1"/>
            <c:bubble3D val="0"/>
            <c:spPr>
              <a:solidFill>
                <a:srgbClr val="AEABAB"/>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8</c:f>
              <c:strCache>
                <c:ptCount val="7"/>
                <c:pt idx="0">
                  <c:v>Malard</c:v>
                </c:pt>
                <c:pt idx="1">
                  <c:v>Vesselle</c:v>
                </c:pt>
                <c:pt idx="2">
                  <c:v>Louis Marti</c:v>
                </c:pt>
                <c:pt idx="3">
                  <c:v>Nicolas</c:v>
                </c:pt>
                <c:pt idx="4">
                  <c:v>Nicolas</c:v>
                </c:pt>
                <c:pt idx="5">
                  <c:v>Louis Marti</c:v>
                </c:pt>
                <c:pt idx="6">
                  <c:v>Nicolas</c:v>
                </c:pt>
              </c:strCache>
            </c:strRef>
          </c:cat>
          <c:val>
            <c:numRef>
              <c:f>Sheet1!$C$2:$C$8</c:f>
              <c:numCache>
                <c:formatCode>General</c:formatCode>
                <c:ptCount val="7"/>
                <c:pt idx="0">
                  <c:v>0.73838540357930593</c:v>
                </c:pt>
                <c:pt idx="1">
                  <c:v>0.90355138621325071</c:v>
                </c:pt>
                <c:pt idx="2">
                  <c:v>0.95988636680905715</c:v>
                </c:pt>
                <c:pt idx="3">
                  <c:v>0.97878102576988579</c:v>
                </c:pt>
                <c:pt idx="4">
                  <c:v>0.98822486528743336</c:v>
                </c:pt>
                <c:pt idx="5">
                  <c:v>0.99734762822123579</c:v>
                </c:pt>
                <c:pt idx="6">
                  <c:v>1</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8</c:f>
              <c:strCache>
                <c:ptCount val="7"/>
                <c:pt idx="0">
                  <c:v>Malard</c:v>
                </c:pt>
                <c:pt idx="1">
                  <c:v>Louis Marti</c:v>
                </c:pt>
                <c:pt idx="2">
                  <c:v>Vesselle</c:v>
                </c:pt>
                <c:pt idx="3">
                  <c:v>Nicolas</c:v>
                </c:pt>
                <c:pt idx="4">
                  <c:v>Louis Marti</c:v>
                </c:pt>
                <c:pt idx="5">
                  <c:v>Nicolas</c:v>
                </c:pt>
                <c:pt idx="6">
                  <c:v>Nicolas</c:v>
                </c:pt>
              </c:strCache>
            </c:strRef>
          </c:cat>
          <c:val>
            <c:numRef>
              <c:f>Sheet1!$B$2:$B$8</c:f>
              <c:numCache>
                <c:formatCode>General</c:formatCode>
                <c:ptCount val="7"/>
                <c:pt idx="0">
                  <c:v>1</c:v>
                </c:pt>
                <c:pt idx="1">
                  <c:v>0.7</c:v>
                </c:pt>
                <c:pt idx="2">
                  <c:v>0.68</c:v>
                </c:pt>
                <c:pt idx="3">
                  <c:v>0.38</c:v>
                </c:pt>
                <c:pt idx="4">
                  <c:v>0.26</c:v>
                </c:pt>
                <c:pt idx="5">
                  <c:v>0.13</c:v>
                </c:pt>
                <c:pt idx="6">
                  <c:v>0.13</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AEABAB"/>
              </a:solidFill>
            </c:spPr>
            <c:extLst>
              <c:ext xmlns:c16="http://schemas.microsoft.com/office/drawing/2014/chart" uri="{C3380CC4-5D6E-409C-BE32-E72D297353CC}">
                <c16:uniqueId val="{0000000A-C76F-4230-900D-40618C09729F}"/>
              </c:ext>
            </c:extLst>
          </c:dPt>
          <c:dPt>
            <c:idx val="3"/>
            <c:invertIfNegative val="0"/>
            <c:bubble3D val="0"/>
            <c:spPr>
              <a:solidFill>
                <a:srgbClr val="AEABAB"/>
              </a:solidFill>
            </c:spPr>
            <c:extLst>
              <c:ext xmlns:c16="http://schemas.microsoft.com/office/drawing/2014/chart" uri="{C3380CC4-5D6E-409C-BE32-E72D297353CC}">
                <c16:uniqueId val="{0000000C-C76F-4230-900D-40618C09729F}"/>
              </c:ext>
            </c:extLst>
          </c:dPt>
          <c:dPt>
            <c:idx val="4"/>
            <c:invertIfNegative val="0"/>
            <c:bubble3D val="0"/>
            <c:spPr>
              <a:solidFill>
                <a:srgbClr val="AEABAB"/>
              </a:solidFill>
            </c:spPr>
            <c:extLst>
              <c:ext xmlns:c16="http://schemas.microsoft.com/office/drawing/2014/chart" uri="{C3380CC4-5D6E-409C-BE32-E72D297353CC}">
                <c16:uniqueId val="{0000000E-C76F-4230-900D-40618C09729F}"/>
              </c:ext>
            </c:extLst>
          </c:dPt>
          <c:dPt>
            <c:idx val="5"/>
            <c:invertIfNegative val="0"/>
            <c:bubble3D val="0"/>
            <c:spPr>
              <a:solidFill>
                <a:srgbClr val="AEABAB"/>
              </a:solidFill>
            </c:spPr>
            <c:extLst>
              <c:ext xmlns:c16="http://schemas.microsoft.com/office/drawing/2014/chart" uri="{C3380CC4-5D6E-409C-BE32-E72D297353CC}">
                <c16:uniqueId val="{00000010-C76F-4230-900D-40618C09729F}"/>
              </c:ext>
            </c:extLst>
          </c:dPt>
          <c:dPt>
            <c:idx val="6"/>
            <c:invertIfNegative val="1"/>
            <c:bubble3D val="0"/>
            <c:spPr>
              <a:solidFill>
                <a:srgbClr val="AEABAB"/>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8</c:f>
              <c:strCache>
                <c:ptCount val="7"/>
                <c:pt idx="0">
                  <c:v>Malard</c:v>
                </c:pt>
                <c:pt idx="1">
                  <c:v>Louis Marti</c:v>
                </c:pt>
                <c:pt idx="2">
                  <c:v>Vesselle</c:v>
                </c:pt>
                <c:pt idx="3">
                  <c:v>Nicolas</c:v>
                </c:pt>
                <c:pt idx="4">
                  <c:v>Louis Marti</c:v>
                </c:pt>
                <c:pt idx="5">
                  <c:v>Nicolas</c:v>
                </c:pt>
                <c:pt idx="6">
                  <c:v>Nicolas</c:v>
                </c:pt>
              </c:strCache>
            </c:strRef>
          </c:cat>
          <c:val>
            <c:numRef>
              <c:f>Sheet1!$C$2:$C$8</c:f>
              <c:numCache>
                <c:formatCode>General</c:formatCode>
                <c:ptCount val="7"/>
                <c:pt idx="0">
                  <c:v>0.62843969092784813</c:v>
                </c:pt>
                <c:pt idx="1">
                  <c:v>0.81747268248520966</c:v>
                </c:pt>
                <c:pt idx="2">
                  <c:v>0.95560772259300597</c:v>
                </c:pt>
                <c:pt idx="3">
                  <c:v>0.97376676421668751</c:v>
                </c:pt>
                <c:pt idx="4">
                  <c:v>0.98745183906351996</c:v>
                </c:pt>
                <c:pt idx="5">
                  <c:v>0.99459965892582702</c:v>
                </c:pt>
                <c:pt idx="6">
                  <c:v>1.0000000000000002</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8</c:f>
              <c:strCache>
                <c:ptCount val="7"/>
                <c:pt idx="0">
                  <c:v>Malard</c:v>
                </c:pt>
                <c:pt idx="1">
                  <c:v>Vesselle</c:v>
                </c:pt>
                <c:pt idx="2">
                  <c:v>Louis Marti</c:v>
                </c:pt>
                <c:pt idx="3">
                  <c:v>Nicolas</c:v>
                </c:pt>
                <c:pt idx="4">
                  <c:v>Louis Marti</c:v>
                </c:pt>
                <c:pt idx="5">
                  <c:v>Nicolas</c:v>
                </c:pt>
                <c:pt idx="6">
                  <c:v>Nicolas</c:v>
                </c:pt>
              </c:strCache>
            </c:strRef>
          </c:cat>
          <c:val>
            <c:numRef>
              <c:f>Sheet1!$B$2:$B$8</c:f>
              <c:numCache>
                <c:formatCode>General</c:formatCode>
                <c:ptCount val="7"/>
                <c:pt idx="0">
                  <c:v>0.85</c:v>
                </c:pt>
                <c:pt idx="1">
                  <c:v>0.56999999999999995</c:v>
                </c:pt>
                <c:pt idx="2">
                  <c:v>0.56999999999999995</c:v>
                </c:pt>
                <c:pt idx="3">
                  <c:v>0.41</c:v>
                </c:pt>
                <c:pt idx="4">
                  <c:v>0.22</c:v>
                </c:pt>
                <c:pt idx="5">
                  <c:v>0.02</c:v>
                </c:pt>
                <c:pt idx="6">
                  <c:v>0.08</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AEABAB"/>
              </a:solidFill>
            </c:spPr>
            <c:extLst>
              <c:ext xmlns:c16="http://schemas.microsoft.com/office/drawing/2014/chart" uri="{C3380CC4-5D6E-409C-BE32-E72D297353CC}">
                <c16:uniqueId val="{0000000A-C76F-4230-900D-40618C09729F}"/>
              </c:ext>
            </c:extLst>
          </c:dPt>
          <c:dPt>
            <c:idx val="3"/>
            <c:invertIfNegative val="0"/>
            <c:bubble3D val="0"/>
            <c:spPr>
              <a:solidFill>
                <a:srgbClr val="AEABAB"/>
              </a:solidFill>
            </c:spPr>
            <c:extLst>
              <c:ext xmlns:c16="http://schemas.microsoft.com/office/drawing/2014/chart" uri="{C3380CC4-5D6E-409C-BE32-E72D297353CC}">
                <c16:uniqueId val="{0000000C-C76F-4230-900D-40618C09729F}"/>
              </c:ext>
            </c:extLst>
          </c:dPt>
          <c:dPt>
            <c:idx val="4"/>
            <c:invertIfNegative val="0"/>
            <c:bubble3D val="0"/>
            <c:spPr>
              <a:solidFill>
                <a:srgbClr val="AEABAB"/>
              </a:solidFill>
            </c:spPr>
            <c:extLst>
              <c:ext xmlns:c16="http://schemas.microsoft.com/office/drawing/2014/chart" uri="{C3380CC4-5D6E-409C-BE32-E72D297353CC}">
                <c16:uniqueId val="{0000000E-C76F-4230-900D-40618C09729F}"/>
              </c:ext>
            </c:extLst>
          </c:dPt>
          <c:dPt>
            <c:idx val="5"/>
            <c:invertIfNegative val="0"/>
            <c:bubble3D val="0"/>
            <c:spPr>
              <a:solidFill>
                <a:srgbClr val="AEABAB"/>
              </a:solidFill>
            </c:spPr>
            <c:extLst>
              <c:ext xmlns:c16="http://schemas.microsoft.com/office/drawing/2014/chart" uri="{C3380CC4-5D6E-409C-BE32-E72D297353CC}">
                <c16:uniqueId val="{00000010-C76F-4230-900D-40618C09729F}"/>
              </c:ext>
            </c:extLst>
          </c:dPt>
          <c:dPt>
            <c:idx val="6"/>
            <c:invertIfNegative val="1"/>
            <c:bubble3D val="0"/>
            <c:spPr>
              <a:solidFill>
                <a:srgbClr val="AEABAB"/>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8</c:f>
              <c:strCache>
                <c:ptCount val="7"/>
                <c:pt idx="0">
                  <c:v>Malard</c:v>
                </c:pt>
                <c:pt idx="1">
                  <c:v>Vesselle</c:v>
                </c:pt>
                <c:pt idx="2">
                  <c:v>Louis Marti</c:v>
                </c:pt>
                <c:pt idx="3">
                  <c:v>Nicolas</c:v>
                </c:pt>
                <c:pt idx="4">
                  <c:v>Louis Marti</c:v>
                </c:pt>
                <c:pt idx="5">
                  <c:v>Nicolas</c:v>
                </c:pt>
                <c:pt idx="6">
                  <c:v>Nicolas</c:v>
                </c:pt>
              </c:strCache>
            </c:strRef>
          </c:cat>
          <c:val>
            <c:numRef>
              <c:f>Sheet1!$C$2:$C$8</c:f>
              <c:numCache>
                <c:formatCode>General</c:formatCode>
                <c:ptCount val="7"/>
                <c:pt idx="0">
                  <c:v>0.62670289373183108</c:v>
                </c:pt>
                <c:pt idx="1">
                  <c:v>0.84955634511979639</c:v>
                </c:pt>
                <c:pt idx="2">
                  <c:v>0.9563185195037146</c:v>
                </c:pt>
                <c:pt idx="3">
                  <c:v>0.97809275902034931</c:v>
                </c:pt>
                <c:pt idx="4">
                  <c:v>0.99716896885865758</c:v>
                </c:pt>
                <c:pt idx="5">
                  <c:v>0.99861298474283233</c:v>
                </c:pt>
                <c:pt idx="6">
                  <c:v>1.0000000000000002</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10</c:f>
              <c:strCache>
                <c:ptCount val="9"/>
                <c:pt idx="0">
                  <c:v>Malard</c:v>
                </c:pt>
                <c:pt idx="1">
                  <c:v>Vesselle</c:v>
                </c:pt>
                <c:pt idx="2">
                  <c:v>Louis Marti</c:v>
                </c:pt>
                <c:pt idx="3">
                  <c:v>Louis Marti</c:v>
                </c:pt>
                <c:pt idx="4">
                  <c:v>Nicolas</c:v>
                </c:pt>
                <c:pt idx="5">
                  <c:v>Nicolas</c:v>
                </c:pt>
                <c:pt idx="6">
                  <c:v>Nicolas</c:v>
                </c:pt>
                <c:pt idx="7">
                  <c:v>All Others</c:v>
                </c:pt>
                <c:pt idx="8">
                  <c:v>All Others</c:v>
                </c:pt>
              </c:strCache>
            </c:strRef>
          </c:cat>
          <c:val>
            <c:numRef>
              <c:f>Sheet1!$B$2:$B$10</c:f>
              <c:numCache>
                <c:formatCode>General</c:formatCode>
                <c:ptCount val="9"/>
                <c:pt idx="0">
                  <c:v>1</c:v>
                </c:pt>
                <c:pt idx="1">
                  <c:v>0.84</c:v>
                </c:pt>
                <c:pt idx="2">
                  <c:v>0.63</c:v>
                </c:pt>
                <c:pt idx="3">
                  <c:v>0.24</c:v>
                </c:pt>
                <c:pt idx="4">
                  <c:v>0.31</c:v>
                </c:pt>
                <c:pt idx="5">
                  <c:v>0.21</c:v>
                </c:pt>
                <c:pt idx="6">
                  <c:v>7.0000000000000007E-2</c:v>
                </c:pt>
                <c:pt idx="7">
                  <c:v>0.04</c:v>
                </c:pt>
                <c:pt idx="8">
                  <c:v>0.02</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AEABAB"/>
              </a:solidFill>
            </c:spPr>
            <c:extLst>
              <c:ext xmlns:c16="http://schemas.microsoft.com/office/drawing/2014/chart" uri="{C3380CC4-5D6E-409C-BE32-E72D297353CC}">
                <c16:uniqueId val="{0000000A-C76F-4230-900D-40618C09729F}"/>
              </c:ext>
            </c:extLst>
          </c:dPt>
          <c:dPt>
            <c:idx val="3"/>
            <c:invertIfNegative val="0"/>
            <c:bubble3D val="0"/>
            <c:spPr>
              <a:solidFill>
                <a:srgbClr val="AEABAB"/>
              </a:solidFill>
            </c:spPr>
            <c:extLst>
              <c:ext xmlns:c16="http://schemas.microsoft.com/office/drawing/2014/chart" uri="{C3380CC4-5D6E-409C-BE32-E72D297353CC}">
                <c16:uniqueId val="{0000000C-C76F-4230-900D-40618C09729F}"/>
              </c:ext>
            </c:extLst>
          </c:dPt>
          <c:dPt>
            <c:idx val="4"/>
            <c:invertIfNegative val="0"/>
            <c:bubble3D val="0"/>
            <c:spPr>
              <a:solidFill>
                <a:srgbClr val="AEABAB"/>
              </a:solidFill>
            </c:spPr>
            <c:extLst>
              <c:ext xmlns:c16="http://schemas.microsoft.com/office/drawing/2014/chart" uri="{C3380CC4-5D6E-409C-BE32-E72D297353CC}">
                <c16:uniqueId val="{0000000E-C76F-4230-900D-40618C09729F}"/>
              </c:ext>
            </c:extLst>
          </c:dPt>
          <c:dPt>
            <c:idx val="5"/>
            <c:invertIfNegative val="0"/>
            <c:bubble3D val="0"/>
            <c:spPr>
              <a:solidFill>
                <a:srgbClr val="AEABAB"/>
              </a:solidFill>
            </c:spPr>
            <c:extLst>
              <c:ext xmlns:c16="http://schemas.microsoft.com/office/drawing/2014/chart" uri="{C3380CC4-5D6E-409C-BE32-E72D297353CC}">
                <c16:uniqueId val="{00000010-C76F-4230-900D-40618C09729F}"/>
              </c:ext>
            </c:extLst>
          </c:dPt>
          <c:dPt>
            <c:idx val="6"/>
            <c:invertIfNegative val="1"/>
            <c:bubble3D val="0"/>
            <c:spPr>
              <a:solidFill>
                <a:srgbClr val="AEABAB"/>
              </a:solidFill>
            </c:spPr>
            <c:extLst>
              <c:ext xmlns:c16="http://schemas.microsoft.com/office/drawing/2014/chart" uri="{C3380CC4-5D6E-409C-BE32-E72D297353CC}">
                <c16:uniqueId val="{00000045-2993-41DE-A2CB-63102DE87051}"/>
              </c:ext>
            </c:extLst>
          </c:dPt>
          <c:dPt>
            <c:idx val="7"/>
            <c:invertIfNegative val="1"/>
            <c:bubble3D val="0"/>
            <c:spPr>
              <a:solidFill>
                <a:srgbClr val="AEABAB"/>
              </a:solidFill>
            </c:spPr>
            <c:extLst>
              <c:ext xmlns:c16="http://schemas.microsoft.com/office/drawing/2014/chart" uri="{C3380CC4-5D6E-409C-BE32-E72D297353CC}">
                <c16:uniqueId val="{00000047-2993-41DE-A2CB-63102DE87051}"/>
              </c:ext>
            </c:extLst>
          </c:dPt>
          <c:dPt>
            <c:idx val="8"/>
            <c:invertIfNegative val="1"/>
            <c:bubble3D val="0"/>
            <c:spPr>
              <a:solidFill>
                <a:srgbClr val="AEABAB"/>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10</c:f>
              <c:strCache>
                <c:ptCount val="9"/>
                <c:pt idx="0">
                  <c:v>Malard</c:v>
                </c:pt>
                <c:pt idx="1">
                  <c:v>Vesselle</c:v>
                </c:pt>
                <c:pt idx="2">
                  <c:v>Louis Marti</c:v>
                </c:pt>
                <c:pt idx="3">
                  <c:v>Louis Marti</c:v>
                </c:pt>
                <c:pt idx="4">
                  <c:v>Nicolas</c:v>
                </c:pt>
                <c:pt idx="5">
                  <c:v>Nicolas</c:v>
                </c:pt>
                <c:pt idx="6">
                  <c:v>Nicolas</c:v>
                </c:pt>
                <c:pt idx="7">
                  <c:v>All Others</c:v>
                </c:pt>
                <c:pt idx="8">
                  <c:v>All Others</c:v>
                </c:pt>
              </c:strCache>
            </c:strRef>
          </c:cat>
          <c:val>
            <c:numRef>
              <c:f>Sheet1!$C$2:$C$10</c:f>
              <c:numCache>
                <c:formatCode>General</c:formatCode>
                <c:ptCount val="9"/>
                <c:pt idx="0">
                  <c:v>0.67278784732889119</c:v>
                </c:pt>
                <c:pt idx="1">
                  <c:v>0.85496800813567941</c:v>
                </c:pt>
                <c:pt idx="2">
                  <c:v>0.9790662507018083</c:v>
                </c:pt>
                <c:pt idx="3">
                  <c:v>0.98549772773016664</c:v>
                </c:pt>
                <c:pt idx="4">
                  <c:v>0.99159683894956518</c:v>
                </c:pt>
                <c:pt idx="5">
                  <c:v>0.99736623269314295</c:v>
                </c:pt>
                <c:pt idx="6">
                  <c:v>0.99917372006059391</c:v>
                </c:pt>
                <c:pt idx="7">
                  <c:v>0.99969014502272269</c:v>
                </c:pt>
                <c:pt idx="8">
                  <c:v>1</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8</c:f>
              <c:strCache>
                <c:ptCount val="7"/>
                <c:pt idx="0">
                  <c:v>Malard</c:v>
                </c:pt>
                <c:pt idx="1">
                  <c:v>Vesselle</c:v>
                </c:pt>
                <c:pt idx="2">
                  <c:v>Louis Marti</c:v>
                </c:pt>
                <c:pt idx="3">
                  <c:v>Louis Marti</c:v>
                </c:pt>
                <c:pt idx="4">
                  <c:v>Nicolas</c:v>
                </c:pt>
                <c:pt idx="5">
                  <c:v>Nicolas</c:v>
                </c:pt>
                <c:pt idx="6">
                  <c:v>Nicolas</c:v>
                </c:pt>
              </c:strCache>
            </c:strRef>
          </c:cat>
          <c:val>
            <c:numRef>
              <c:f>Sheet1!$B$2:$B$8</c:f>
              <c:numCache>
                <c:formatCode>General</c:formatCode>
                <c:ptCount val="7"/>
                <c:pt idx="0">
                  <c:v>1</c:v>
                </c:pt>
                <c:pt idx="1">
                  <c:v>0.86</c:v>
                </c:pt>
                <c:pt idx="2">
                  <c:v>0.56000000000000005</c:v>
                </c:pt>
                <c:pt idx="3">
                  <c:v>0.2</c:v>
                </c:pt>
                <c:pt idx="4">
                  <c:v>0.23</c:v>
                </c:pt>
                <c:pt idx="5">
                  <c:v>0.44</c:v>
                </c:pt>
                <c:pt idx="6">
                  <c:v>0.04</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AEABAB"/>
              </a:solidFill>
            </c:spPr>
            <c:extLst>
              <c:ext xmlns:c16="http://schemas.microsoft.com/office/drawing/2014/chart" uri="{C3380CC4-5D6E-409C-BE32-E72D297353CC}">
                <c16:uniqueId val="{0000000A-C76F-4230-900D-40618C09729F}"/>
              </c:ext>
            </c:extLst>
          </c:dPt>
          <c:dPt>
            <c:idx val="3"/>
            <c:invertIfNegative val="0"/>
            <c:bubble3D val="0"/>
            <c:spPr>
              <a:solidFill>
                <a:srgbClr val="AEABAB"/>
              </a:solidFill>
            </c:spPr>
            <c:extLst>
              <c:ext xmlns:c16="http://schemas.microsoft.com/office/drawing/2014/chart" uri="{C3380CC4-5D6E-409C-BE32-E72D297353CC}">
                <c16:uniqueId val="{0000000C-C76F-4230-900D-40618C09729F}"/>
              </c:ext>
            </c:extLst>
          </c:dPt>
          <c:dPt>
            <c:idx val="4"/>
            <c:invertIfNegative val="0"/>
            <c:bubble3D val="0"/>
            <c:spPr>
              <a:solidFill>
                <a:srgbClr val="AEABAB"/>
              </a:solidFill>
            </c:spPr>
            <c:extLst>
              <c:ext xmlns:c16="http://schemas.microsoft.com/office/drawing/2014/chart" uri="{C3380CC4-5D6E-409C-BE32-E72D297353CC}">
                <c16:uniqueId val="{0000000E-C76F-4230-900D-40618C09729F}"/>
              </c:ext>
            </c:extLst>
          </c:dPt>
          <c:dPt>
            <c:idx val="5"/>
            <c:invertIfNegative val="0"/>
            <c:bubble3D val="0"/>
            <c:spPr>
              <a:solidFill>
                <a:srgbClr val="AEABAB"/>
              </a:solidFill>
            </c:spPr>
            <c:extLst>
              <c:ext xmlns:c16="http://schemas.microsoft.com/office/drawing/2014/chart" uri="{C3380CC4-5D6E-409C-BE32-E72D297353CC}">
                <c16:uniqueId val="{00000010-C76F-4230-900D-40618C09729F}"/>
              </c:ext>
            </c:extLst>
          </c:dPt>
          <c:dPt>
            <c:idx val="6"/>
            <c:invertIfNegative val="1"/>
            <c:bubble3D val="0"/>
            <c:spPr>
              <a:solidFill>
                <a:srgbClr val="AEABAB"/>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8</c:f>
              <c:strCache>
                <c:ptCount val="7"/>
                <c:pt idx="0">
                  <c:v>Malard</c:v>
                </c:pt>
                <c:pt idx="1">
                  <c:v>Vesselle</c:v>
                </c:pt>
                <c:pt idx="2">
                  <c:v>Louis Marti</c:v>
                </c:pt>
                <c:pt idx="3">
                  <c:v>Louis Marti</c:v>
                </c:pt>
                <c:pt idx="4">
                  <c:v>Nicolas</c:v>
                </c:pt>
                <c:pt idx="5">
                  <c:v>Nicolas</c:v>
                </c:pt>
                <c:pt idx="6">
                  <c:v>Nicolas</c:v>
                </c:pt>
              </c:strCache>
            </c:strRef>
          </c:cat>
          <c:val>
            <c:numRef>
              <c:f>Sheet1!$C$2:$C$8</c:f>
              <c:numCache>
                <c:formatCode>General</c:formatCode>
                <c:ptCount val="7"/>
                <c:pt idx="0">
                  <c:v>0.69275758996186465</c:v>
                </c:pt>
                <c:pt idx="1">
                  <c:v>0.8831867829020047</c:v>
                </c:pt>
                <c:pt idx="2">
                  <c:v>0.96427671296765205</c:v>
                </c:pt>
                <c:pt idx="3">
                  <c:v>0.97571259312999203</c:v>
                </c:pt>
                <c:pt idx="4">
                  <c:v>0.98711785198602708</c:v>
                </c:pt>
                <c:pt idx="5">
                  <c:v>0.99786593049905647</c:v>
                </c:pt>
                <c:pt idx="6">
                  <c:v>0.99999999999999989</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10</c:f>
              <c:strCache>
                <c:ptCount val="9"/>
                <c:pt idx="0">
                  <c:v>Malard</c:v>
                </c:pt>
                <c:pt idx="1">
                  <c:v>Vesselle</c:v>
                </c:pt>
                <c:pt idx="2">
                  <c:v>Louis Marti</c:v>
                </c:pt>
                <c:pt idx="3">
                  <c:v>Nicolas</c:v>
                </c:pt>
                <c:pt idx="4">
                  <c:v>Nicolas</c:v>
                </c:pt>
                <c:pt idx="5">
                  <c:v>Louis Marti</c:v>
                </c:pt>
                <c:pt idx="6">
                  <c:v>Nicolas</c:v>
                </c:pt>
                <c:pt idx="7">
                  <c:v>All Others</c:v>
                </c:pt>
                <c:pt idx="8">
                  <c:v>All Others</c:v>
                </c:pt>
              </c:strCache>
            </c:strRef>
          </c:cat>
          <c:val>
            <c:numRef>
              <c:f>Sheet1!$B$2:$B$10</c:f>
              <c:numCache>
                <c:formatCode>General</c:formatCode>
                <c:ptCount val="9"/>
                <c:pt idx="0">
                  <c:v>0.97</c:v>
                </c:pt>
                <c:pt idx="1">
                  <c:v>0.74</c:v>
                </c:pt>
                <c:pt idx="2">
                  <c:v>0.43</c:v>
                </c:pt>
                <c:pt idx="3">
                  <c:v>0.28000000000000003</c:v>
                </c:pt>
                <c:pt idx="4">
                  <c:v>0.19</c:v>
                </c:pt>
                <c:pt idx="5">
                  <c:v>0.14000000000000001</c:v>
                </c:pt>
                <c:pt idx="6">
                  <c:v>0.05</c:v>
                </c:pt>
                <c:pt idx="7">
                  <c:v>0.01</c:v>
                </c:pt>
                <c:pt idx="8">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AEABAB"/>
              </a:solidFill>
            </c:spPr>
            <c:extLst>
              <c:ext xmlns:c16="http://schemas.microsoft.com/office/drawing/2014/chart" uri="{C3380CC4-5D6E-409C-BE32-E72D297353CC}">
                <c16:uniqueId val="{0000000A-C76F-4230-900D-40618C09729F}"/>
              </c:ext>
            </c:extLst>
          </c:dPt>
          <c:dPt>
            <c:idx val="3"/>
            <c:invertIfNegative val="0"/>
            <c:bubble3D val="0"/>
            <c:spPr>
              <a:solidFill>
                <a:srgbClr val="AEABAB"/>
              </a:solidFill>
            </c:spPr>
            <c:extLst>
              <c:ext xmlns:c16="http://schemas.microsoft.com/office/drawing/2014/chart" uri="{C3380CC4-5D6E-409C-BE32-E72D297353CC}">
                <c16:uniqueId val="{0000000C-C76F-4230-900D-40618C09729F}"/>
              </c:ext>
            </c:extLst>
          </c:dPt>
          <c:dPt>
            <c:idx val="4"/>
            <c:invertIfNegative val="0"/>
            <c:bubble3D val="0"/>
            <c:spPr>
              <a:solidFill>
                <a:srgbClr val="AEABAB"/>
              </a:solidFill>
            </c:spPr>
            <c:extLst>
              <c:ext xmlns:c16="http://schemas.microsoft.com/office/drawing/2014/chart" uri="{C3380CC4-5D6E-409C-BE32-E72D297353CC}">
                <c16:uniqueId val="{0000000E-C76F-4230-900D-40618C09729F}"/>
              </c:ext>
            </c:extLst>
          </c:dPt>
          <c:dPt>
            <c:idx val="5"/>
            <c:invertIfNegative val="0"/>
            <c:bubble3D val="0"/>
            <c:spPr>
              <a:solidFill>
                <a:srgbClr val="AEABAB"/>
              </a:solidFill>
            </c:spPr>
            <c:extLst>
              <c:ext xmlns:c16="http://schemas.microsoft.com/office/drawing/2014/chart" uri="{C3380CC4-5D6E-409C-BE32-E72D297353CC}">
                <c16:uniqueId val="{00000010-C76F-4230-900D-40618C09729F}"/>
              </c:ext>
            </c:extLst>
          </c:dPt>
          <c:dPt>
            <c:idx val="6"/>
            <c:invertIfNegative val="1"/>
            <c:bubble3D val="0"/>
            <c:spPr>
              <a:solidFill>
                <a:srgbClr val="AEABAB"/>
              </a:solidFill>
            </c:spPr>
            <c:extLst>
              <c:ext xmlns:c16="http://schemas.microsoft.com/office/drawing/2014/chart" uri="{C3380CC4-5D6E-409C-BE32-E72D297353CC}">
                <c16:uniqueId val="{00000045-2993-41DE-A2CB-63102DE87051}"/>
              </c:ext>
            </c:extLst>
          </c:dPt>
          <c:dPt>
            <c:idx val="7"/>
            <c:invertIfNegative val="1"/>
            <c:bubble3D val="0"/>
            <c:spPr>
              <a:solidFill>
                <a:srgbClr val="AEABAB"/>
              </a:solidFill>
            </c:spPr>
            <c:extLst>
              <c:ext xmlns:c16="http://schemas.microsoft.com/office/drawing/2014/chart" uri="{C3380CC4-5D6E-409C-BE32-E72D297353CC}">
                <c16:uniqueId val="{00000047-2993-41DE-A2CB-63102DE87051}"/>
              </c:ext>
            </c:extLst>
          </c:dPt>
          <c:dPt>
            <c:idx val="8"/>
            <c:invertIfNegative val="1"/>
            <c:bubble3D val="0"/>
            <c:spPr>
              <a:solidFill>
                <a:srgbClr val="AEABAB"/>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10</c:f>
              <c:strCache>
                <c:ptCount val="9"/>
                <c:pt idx="0">
                  <c:v>Malard</c:v>
                </c:pt>
                <c:pt idx="1">
                  <c:v>Vesselle</c:v>
                </c:pt>
                <c:pt idx="2">
                  <c:v>Louis Marti</c:v>
                </c:pt>
                <c:pt idx="3">
                  <c:v>Nicolas</c:v>
                </c:pt>
                <c:pt idx="4">
                  <c:v>Nicolas</c:v>
                </c:pt>
                <c:pt idx="5">
                  <c:v>Louis Marti</c:v>
                </c:pt>
                <c:pt idx="6">
                  <c:v>Nicolas</c:v>
                </c:pt>
                <c:pt idx="7">
                  <c:v>All Others</c:v>
                </c:pt>
                <c:pt idx="8">
                  <c:v>All Others</c:v>
                </c:pt>
              </c:strCache>
            </c:strRef>
          </c:cat>
          <c:val>
            <c:numRef>
              <c:f>Sheet1!$C$2:$C$10</c:f>
              <c:numCache>
                <c:formatCode>General</c:formatCode>
                <c:ptCount val="9"/>
                <c:pt idx="0">
                  <c:v>0.70801107565233712</c:v>
                </c:pt>
                <c:pt idx="1">
                  <c:v>0.88337244227520173</c:v>
                </c:pt>
                <c:pt idx="2">
                  <c:v>0.96977660972404722</c:v>
                </c:pt>
                <c:pt idx="3">
                  <c:v>0.9814983417808647</c:v>
                </c:pt>
                <c:pt idx="4">
                  <c:v>0.99076090357299285</c:v>
                </c:pt>
                <c:pt idx="5">
                  <c:v>0.99756898817345585</c:v>
                </c:pt>
                <c:pt idx="6">
                  <c:v>0.99910831612539874</c:v>
                </c:pt>
                <c:pt idx="7">
                  <c:v>0.99961516801201411</c:v>
                </c:pt>
                <c:pt idx="8">
                  <c:v>0.99999999999999989</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10</c:f>
              <c:strCache>
                <c:ptCount val="9"/>
                <c:pt idx="0">
                  <c:v>Malard</c:v>
                </c:pt>
                <c:pt idx="1">
                  <c:v>Vesselle</c:v>
                </c:pt>
                <c:pt idx="2">
                  <c:v>Louis Marti</c:v>
                </c:pt>
                <c:pt idx="3">
                  <c:v>Nicolas</c:v>
                </c:pt>
                <c:pt idx="4">
                  <c:v>Nicolas</c:v>
                </c:pt>
                <c:pt idx="5">
                  <c:v>Louis Marti</c:v>
                </c:pt>
                <c:pt idx="6">
                  <c:v>Nicolas</c:v>
                </c:pt>
                <c:pt idx="7">
                  <c:v>All Others</c:v>
                </c:pt>
                <c:pt idx="8">
                  <c:v>All Others</c:v>
                </c:pt>
              </c:strCache>
            </c:strRef>
          </c:cat>
          <c:val>
            <c:numRef>
              <c:f>Sheet1!$B$2:$B$10</c:f>
              <c:numCache>
                <c:formatCode>General</c:formatCode>
                <c:ptCount val="9"/>
                <c:pt idx="0">
                  <c:v>0.94</c:v>
                </c:pt>
                <c:pt idx="1">
                  <c:v>0.6</c:v>
                </c:pt>
                <c:pt idx="2">
                  <c:v>0.38</c:v>
                </c:pt>
                <c:pt idx="3">
                  <c:v>0.28000000000000003</c:v>
                </c:pt>
                <c:pt idx="4">
                  <c:v>0.1</c:v>
                </c:pt>
                <c:pt idx="5">
                  <c:v>0.11</c:v>
                </c:pt>
                <c:pt idx="6">
                  <c:v>0.03</c:v>
                </c:pt>
                <c:pt idx="7">
                  <c:v>0.03</c:v>
                </c:pt>
                <c:pt idx="8">
                  <c:v>0.02</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AEABAB"/>
              </a:solidFill>
            </c:spPr>
            <c:extLst>
              <c:ext xmlns:c16="http://schemas.microsoft.com/office/drawing/2014/chart" uri="{C3380CC4-5D6E-409C-BE32-E72D297353CC}">
                <c16:uniqueId val="{0000000A-C76F-4230-900D-40618C09729F}"/>
              </c:ext>
            </c:extLst>
          </c:dPt>
          <c:dPt>
            <c:idx val="3"/>
            <c:invertIfNegative val="0"/>
            <c:bubble3D val="0"/>
            <c:spPr>
              <a:solidFill>
                <a:srgbClr val="AEABAB"/>
              </a:solidFill>
            </c:spPr>
            <c:extLst>
              <c:ext xmlns:c16="http://schemas.microsoft.com/office/drawing/2014/chart" uri="{C3380CC4-5D6E-409C-BE32-E72D297353CC}">
                <c16:uniqueId val="{0000000C-C76F-4230-900D-40618C09729F}"/>
              </c:ext>
            </c:extLst>
          </c:dPt>
          <c:dPt>
            <c:idx val="4"/>
            <c:invertIfNegative val="0"/>
            <c:bubble3D val="0"/>
            <c:spPr>
              <a:solidFill>
                <a:srgbClr val="AEABAB"/>
              </a:solidFill>
            </c:spPr>
            <c:extLst>
              <c:ext xmlns:c16="http://schemas.microsoft.com/office/drawing/2014/chart" uri="{C3380CC4-5D6E-409C-BE32-E72D297353CC}">
                <c16:uniqueId val="{0000000E-C76F-4230-900D-40618C09729F}"/>
              </c:ext>
            </c:extLst>
          </c:dPt>
          <c:dPt>
            <c:idx val="5"/>
            <c:invertIfNegative val="0"/>
            <c:bubble3D val="0"/>
            <c:spPr>
              <a:solidFill>
                <a:srgbClr val="AEABAB"/>
              </a:solidFill>
            </c:spPr>
            <c:extLst>
              <c:ext xmlns:c16="http://schemas.microsoft.com/office/drawing/2014/chart" uri="{C3380CC4-5D6E-409C-BE32-E72D297353CC}">
                <c16:uniqueId val="{00000010-C76F-4230-900D-40618C09729F}"/>
              </c:ext>
            </c:extLst>
          </c:dPt>
          <c:dPt>
            <c:idx val="6"/>
            <c:invertIfNegative val="1"/>
            <c:bubble3D val="0"/>
            <c:spPr>
              <a:solidFill>
                <a:srgbClr val="AEABAB"/>
              </a:solidFill>
            </c:spPr>
            <c:extLst>
              <c:ext xmlns:c16="http://schemas.microsoft.com/office/drawing/2014/chart" uri="{C3380CC4-5D6E-409C-BE32-E72D297353CC}">
                <c16:uniqueId val="{00000045-2993-41DE-A2CB-63102DE87051}"/>
              </c:ext>
            </c:extLst>
          </c:dPt>
          <c:dPt>
            <c:idx val="7"/>
            <c:invertIfNegative val="1"/>
            <c:bubble3D val="0"/>
            <c:spPr>
              <a:solidFill>
                <a:srgbClr val="AEABAB"/>
              </a:solidFill>
            </c:spPr>
            <c:extLst>
              <c:ext xmlns:c16="http://schemas.microsoft.com/office/drawing/2014/chart" uri="{C3380CC4-5D6E-409C-BE32-E72D297353CC}">
                <c16:uniqueId val="{00000047-2993-41DE-A2CB-63102DE87051}"/>
              </c:ext>
            </c:extLst>
          </c:dPt>
          <c:dPt>
            <c:idx val="8"/>
            <c:invertIfNegative val="1"/>
            <c:bubble3D val="0"/>
            <c:spPr>
              <a:solidFill>
                <a:srgbClr val="AEABAB"/>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10</c:f>
              <c:strCache>
                <c:ptCount val="9"/>
                <c:pt idx="0">
                  <c:v>Malard</c:v>
                </c:pt>
                <c:pt idx="1">
                  <c:v>Vesselle</c:v>
                </c:pt>
                <c:pt idx="2">
                  <c:v>Louis Marti</c:v>
                </c:pt>
                <c:pt idx="3">
                  <c:v>Nicolas</c:v>
                </c:pt>
                <c:pt idx="4">
                  <c:v>Nicolas</c:v>
                </c:pt>
                <c:pt idx="5">
                  <c:v>Louis Marti</c:v>
                </c:pt>
                <c:pt idx="6">
                  <c:v>Nicolas</c:v>
                </c:pt>
                <c:pt idx="7">
                  <c:v>All Others</c:v>
                </c:pt>
                <c:pt idx="8">
                  <c:v>All Others</c:v>
                </c:pt>
              </c:strCache>
            </c:strRef>
          </c:cat>
          <c:val>
            <c:numRef>
              <c:f>Sheet1!$C$2:$C$10</c:f>
              <c:numCache>
                <c:formatCode>General</c:formatCode>
                <c:ptCount val="9"/>
                <c:pt idx="0">
                  <c:v>0.70461625150171703</c:v>
                </c:pt>
                <c:pt idx="1">
                  <c:v>0.8981667534916028</c:v>
                </c:pt>
                <c:pt idx="2">
                  <c:v>0.9634130350808181</c:v>
                </c:pt>
                <c:pt idx="3">
                  <c:v>0.97817327422149936</c:v>
                </c:pt>
                <c:pt idx="4">
                  <c:v>0.98765313969600654</c:v>
                </c:pt>
                <c:pt idx="5">
                  <c:v>0.99507755770314388</c:v>
                </c:pt>
                <c:pt idx="6">
                  <c:v>0.99803492134369576</c:v>
                </c:pt>
                <c:pt idx="7">
                  <c:v>0.99919376845029906</c:v>
                </c:pt>
                <c:pt idx="8">
                  <c:v>1.0000000000000002</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9</c:f>
              <c:strCache>
                <c:ptCount val="8"/>
                <c:pt idx="0">
                  <c:v>Malard</c:v>
                </c:pt>
                <c:pt idx="1">
                  <c:v>Vesselle</c:v>
                </c:pt>
                <c:pt idx="2">
                  <c:v>Louis Marti</c:v>
                </c:pt>
                <c:pt idx="3">
                  <c:v>Nicolas</c:v>
                </c:pt>
                <c:pt idx="4">
                  <c:v>Louis Marti</c:v>
                </c:pt>
                <c:pt idx="5">
                  <c:v>Nicolas</c:v>
                </c:pt>
                <c:pt idx="6">
                  <c:v>Nicolas</c:v>
                </c:pt>
                <c:pt idx="7">
                  <c:v>All Others</c:v>
                </c:pt>
              </c:strCache>
            </c:strRef>
          </c:cat>
          <c:val>
            <c:numRef>
              <c:f>Sheet1!$B$2:$B$9</c:f>
              <c:numCache>
                <c:formatCode>General</c:formatCode>
                <c:ptCount val="8"/>
                <c:pt idx="0">
                  <c:v>0.88</c:v>
                </c:pt>
                <c:pt idx="1">
                  <c:v>0.47</c:v>
                </c:pt>
                <c:pt idx="2">
                  <c:v>0.26</c:v>
                </c:pt>
                <c:pt idx="3">
                  <c:v>0.43</c:v>
                </c:pt>
                <c:pt idx="4">
                  <c:v>0.11</c:v>
                </c:pt>
                <c:pt idx="5">
                  <c:v>0.04</c:v>
                </c:pt>
                <c:pt idx="6">
                  <c:v>0.02</c:v>
                </c:pt>
                <c:pt idx="7">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7ECAC4"/>
              </a:solidFill>
            </c:spPr>
            <c:extLst>
              <c:ext xmlns:c16="http://schemas.microsoft.com/office/drawing/2014/chart" uri="{C3380CC4-5D6E-409C-BE32-E72D297353CC}">
                <c16:uniqueId val="{0000000A-C76F-4230-900D-40618C09729F}"/>
              </c:ext>
            </c:extLst>
          </c:dPt>
          <c:dPt>
            <c:idx val="3"/>
            <c:invertIfNegative val="0"/>
            <c:bubble3D val="0"/>
            <c:spPr>
              <a:solidFill>
                <a:srgbClr val="AEABAB"/>
              </a:solidFill>
            </c:spPr>
            <c:extLst>
              <c:ext xmlns:c16="http://schemas.microsoft.com/office/drawing/2014/chart" uri="{C3380CC4-5D6E-409C-BE32-E72D297353CC}">
                <c16:uniqueId val="{0000000C-C76F-4230-900D-40618C09729F}"/>
              </c:ext>
            </c:extLst>
          </c:dPt>
          <c:dPt>
            <c:idx val="4"/>
            <c:invertIfNegative val="0"/>
            <c:bubble3D val="0"/>
            <c:spPr>
              <a:solidFill>
                <a:srgbClr val="AEABAB"/>
              </a:solidFill>
            </c:spPr>
            <c:extLst>
              <c:ext xmlns:c16="http://schemas.microsoft.com/office/drawing/2014/chart" uri="{C3380CC4-5D6E-409C-BE32-E72D297353CC}">
                <c16:uniqueId val="{0000000E-C76F-4230-900D-40618C09729F}"/>
              </c:ext>
            </c:extLst>
          </c:dPt>
          <c:dPt>
            <c:idx val="5"/>
            <c:invertIfNegative val="0"/>
            <c:bubble3D val="0"/>
            <c:spPr>
              <a:solidFill>
                <a:srgbClr val="AEABAB"/>
              </a:solidFill>
            </c:spPr>
            <c:extLst>
              <c:ext xmlns:c16="http://schemas.microsoft.com/office/drawing/2014/chart" uri="{C3380CC4-5D6E-409C-BE32-E72D297353CC}">
                <c16:uniqueId val="{00000010-C76F-4230-900D-40618C09729F}"/>
              </c:ext>
            </c:extLst>
          </c:dPt>
          <c:dPt>
            <c:idx val="6"/>
            <c:invertIfNegative val="1"/>
            <c:bubble3D val="0"/>
            <c:spPr>
              <a:solidFill>
                <a:srgbClr val="AEABAB"/>
              </a:solidFill>
            </c:spPr>
            <c:extLst>
              <c:ext xmlns:c16="http://schemas.microsoft.com/office/drawing/2014/chart" uri="{C3380CC4-5D6E-409C-BE32-E72D297353CC}">
                <c16:uniqueId val="{00000045-2993-41DE-A2CB-63102DE87051}"/>
              </c:ext>
            </c:extLst>
          </c:dPt>
          <c:dPt>
            <c:idx val="7"/>
            <c:invertIfNegative val="1"/>
            <c:bubble3D val="0"/>
            <c:spPr>
              <a:solidFill>
                <a:srgbClr val="AEABAB"/>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9</c:f>
              <c:strCache>
                <c:ptCount val="8"/>
                <c:pt idx="0">
                  <c:v>Malard</c:v>
                </c:pt>
                <c:pt idx="1">
                  <c:v>Vesselle</c:v>
                </c:pt>
                <c:pt idx="2">
                  <c:v>Louis Marti</c:v>
                </c:pt>
                <c:pt idx="3">
                  <c:v>Nicolas</c:v>
                </c:pt>
                <c:pt idx="4">
                  <c:v>Louis Marti</c:v>
                </c:pt>
                <c:pt idx="5">
                  <c:v>Nicolas</c:v>
                </c:pt>
                <c:pt idx="6">
                  <c:v>Nicolas</c:v>
                </c:pt>
                <c:pt idx="7">
                  <c:v>All Others</c:v>
                </c:pt>
              </c:strCache>
            </c:strRef>
          </c:cat>
          <c:val>
            <c:numRef>
              <c:f>Sheet1!$C$2:$C$9</c:f>
              <c:numCache>
                <c:formatCode>General</c:formatCode>
                <c:ptCount val="8"/>
                <c:pt idx="0">
                  <c:v>0.70171384518067526</c:v>
                </c:pt>
                <c:pt idx="1">
                  <c:v>0.88054676998497672</c:v>
                </c:pt>
                <c:pt idx="2">
                  <c:v>0.94333241084842256</c:v>
                </c:pt>
                <c:pt idx="3">
                  <c:v>0.97370324978255718</c:v>
                </c:pt>
                <c:pt idx="4">
                  <c:v>0.99116984265043095</c:v>
                </c:pt>
                <c:pt idx="5">
                  <c:v>0.9964181228749901</c:v>
                </c:pt>
                <c:pt idx="6">
                  <c:v>0.99970941725310347</c:v>
                </c:pt>
                <c:pt idx="7">
                  <c:v>0.99987151103028382</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8</c:f>
              <c:strCache>
                <c:ptCount val="7"/>
                <c:pt idx="0">
                  <c:v>Nicolas Feu</c:v>
                </c:pt>
                <c:pt idx="1">
                  <c:v>Nicolas Feu</c:v>
                </c:pt>
                <c:pt idx="2">
                  <c:v>Moët &amp; Chan</c:v>
                </c:pt>
                <c:pt idx="3">
                  <c:v>Moët &amp; Chan</c:v>
                </c:pt>
                <c:pt idx="4">
                  <c:v>Canard Duch</c:v>
                </c:pt>
                <c:pt idx="5">
                  <c:v>Piper Heids</c:v>
                </c:pt>
                <c:pt idx="6">
                  <c:v>De Venoge</c:v>
                </c:pt>
              </c:strCache>
            </c:strRef>
          </c:cat>
          <c:val>
            <c:numRef>
              <c:f>Sheet1!$B$2:$B$8</c:f>
              <c:numCache>
                <c:formatCode>General</c:formatCode>
                <c:ptCount val="7"/>
                <c:pt idx="0">
                  <c:v>0.95499999999999996</c:v>
                </c:pt>
                <c:pt idx="1">
                  <c:v>0.56499999999999995</c:v>
                </c:pt>
                <c:pt idx="2">
                  <c:v>0.51900000000000002</c:v>
                </c:pt>
                <c:pt idx="3">
                  <c:v>0.55800000000000005</c:v>
                </c:pt>
                <c:pt idx="4">
                  <c:v>0.11799999999999999</c:v>
                </c:pt>
                <c:pt idx="5">
                  <c:v>7.5999999999999998E-2</c:v>
                </c:pt>
                <c:pt idx="6">
                  <c:v>2.7E-2</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AEABAB"/>
              </a:solidFill>
            </c:spPr>
            <c:extLst>
              <c:ext xmlns:c16="http://schemas.microsoft.com/office/drawing/2014/chart" uri="{C3380CC4-5D6E-409C-BE32-E72D297353CC}">
                <c16:uniqueId val="{0000000C-C76F-4230-900D-40618C09729F}"/>
              </c:ext>
            </c:extLst>
          </c:dPt>
          <c:dPt>
            <c:idx val="4"/>
            <c:invertIfNegative val="0"/>
            <c:bubble3D val="0"/>
            <c:spPr>
              <a:solidFill>
                <a:srgbClr val="AEABAB"/>
              </a:solidFill>
            </c:spPr>
            <c:extLst>
              <c:ext xmlns:c16="http://schemas.microsoft.com/office/drawing/2014/chart" uri="{C3380CC4-5D6E-409C-BE32-E72D297353CC}">
                <c16:uniqueId val="{0000000E-C76F-4230-900D-40618C09729F}"/>
              </c:ext>
            </c:extLst>
          </c:dPt>
          <c:dPt>
            <c:idx val="5"/>
            <c:invertIfNegative val="0"/>
            <c:bubble3D val="0"/>
            <c:spPr>
              <a:solidFill>
                <a:srgbClr val="AEABAB"/>
              </a:solidFill>
            </c:spPr>
            <c:extLst>
              <c:ext xmlns:c16="http://schemas.microsoft.com/office/drawing/2014/chart" uri="{C3380CC4-5D6E-409C-BE32-E72D297353CC}">
                <c16:uniqueId val="{00000010-C76F-4230-900D-40618C09729F}"/>
              </c:ext>
            </c:extLst>
          </c:dPt>
          <c:dPt>
            <c:idx val="6"/>
            <c:invertIfNegative val="1"/>
            <c:bubble3D val="0"/>
            <c:spPr>
              <a:solidFill>
                <a:srgbClr val="AEABAB"/>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8</c:f>
              <c:strCache>
                <c:ptCount val="7"/>
                <c:pt idx="0">
                  <c:v>Nicolas Feu</c:v>
                </c:pt>
                <c:pt idx="1">
                  <c:v>Nicolas Feu</c:v>
                </c:pt>
                <c:pt idx="2">
                  <c:v>Moët &amp; Chan</c:v>
                </c:pt>
                <c:pt idx="3">
                  <c:v>Moët &amp; Chan</c:v>
                </c:pt>
                <c:pt idx="4">
                  <c:v>Canard Duch</c:v>
                </c:pt>
                <c:pt idx="5">
                  <c:v>Piper Heids</c:v>
                </c:pt>
                <c:pt idx="6">
                  <c:v>De Venoge</c:v>
                </c:pt>
              </c:strCache>
            </c:strRef>
          </c:cat>
          <c:val>
            <c:numRef>
              <c:f>Sheet1!$C$2:$C$8</c:f>
              <c:numCache>
                <c:formatCode>General</c:formatCode>
                <c:ptCount val="7"/>
                <c:pt idx="0">
                  <c:v>0.65999702803366078</c:v>
                </c:pt>
                <c:pt idx="1">
                  <c:v>0.77022996134264898</c:v>
                </c:pt>
                <c:pt idx="2">
                  <c:v>0.87789968262711371</c:v>
                </c:pt>
                <c:pt idx="3">
                  <c:v>0.98147837458716036</c:v>
                </c:pt>
                <c:pt idx="4">
                  <c:v>0.99489841496581155</c:v>
                </c:pt>
                <c:pt idx="5">
                  <c:v>0.99948709613178111</c:v>
                </c:pt>
                <c:pt idx="6">
                  <c:v>0.99993768457675858</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8</c:f>
              <c:strCache>
                <c:ptCount val="7"/>
                <c:pt idx="0">
                  <c:v>Nicolas Feu</c:v>
                </c:pt>
                <c:pt idx="1">
                  <c:v>Nicolas Feu</c:v>
                </c:pt>
                <c:pt idx="2">
                  <c:v>Moët &amp; Chan</c:v>
                </c:pt>
                <c:pt idx="3">
                  <c:v>Moët &amp; Chan</c:v>
                </c:pt>
                <c:pt idx="4">
                  <c:v>Canard Duch</c:v>
                </c:pt>
                <c:pt idx="5">
                  <c:v>Piper Heids</c:v>
                </c:pt>
                <c:pt idx="6">
                  <c:v>De Venoge</c:v>
                </c:pt>
              </c:strCache>
            </c:strRef>
          </c:cat>
          <c:val>
            <c:numRef>
              <c:f>Sheet1!$B$2:$B$8</c:f>
              <c:numCache>
                <c:formatCode>General</c:formatCode>
                <c:ptCount val="7"/>
                <c:pt idx="0">
                  <c:v>0.96</c:v>
                </c:pt>
                <c:pt idx="1">
                  <c:v>0.52</c:v>
                </c:pt>
                <c:pt idx="2">
                  <c:v>0.52</c:v>
                </c:pt>
                <c:pt idx="3">
                  <c:v>0.56000000000000005</c:v>
                </c:pt>
                <c:pt idx="4">
                  <c:v>7.0000000000000007E-2</c:v>
                </c:pt>
                <c:pt idx="5">
                  <c:v>0.04</c:v>
                </c:pt>
                <c:pt idx="6">
                  <c:v>0.03</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AEABAB"/>
              </a:solidFill>
            </c:spPr>
            <c:extLst>
              <c:ext xmlns:c16="http://schemas.microsoft.com/office/drawing/2014/chart" uri="{C3380CC4-5D6E-409C-BE32-E72D297353CC}">
                <c16:uniqueId val="{0000000C-C76F-4230-900D-40618C09729F}"/>
              </c:ext>
            </c:extLst>
          </c:dPt>
          <c:dPt>
            <c:idx val="4"/>
            <c:invertIfNegative val="0"/>
            <c:bubble3D val="0"/>
            <c:spPr>
              <a:solidFill>
                <a:srgbClr val="AEABAB"/>
              </a:solidFill>
            </c:spPr>
            <c:extLst>
              <c:ext xmlns:c16="http://schemas.microsoft.com/office/drawing/2014/chart" uri="{C3380CC4-5D6E-409C-BE32-E72D297353CC}">
                <c16:uniqueId val="{0000000E-C76F-4230-900D-40618C09729F}"/>
              </c:ext>
            </c:extLst>
          </c:dPt>
          <c:dPt>
            <c:idx val="5"/>
            <c:invertIfNegative val="0"/>
            <c:bubble3D val="0"/>
            <c:spPr>
              <a:solidFill>
                <a:srgbClr val="AEABAB"/>
              </a:solidFill>
            </c:spPr>
            <c:extLst>
              <c:ext xmlns:c16="http://schemas.microsoft.com/office/drawing/2014/chart" uri="{C3380CC4-5D6E-409C-BE32-E72D297353CC}">
                <c16:uniqueId val="{00000010-C76F-4230-900D-40618C09729F}"/>
              </c:ext>
            </c:extLst>
          </c:dPt>
          <c:dPt>
            <c:idx val="6"/>
            <c:invertIfNegative val="1"/>
            <c:bubble3D val="0"/>
            <c:spPr>
              <a:solidFill>
                <a:srgbClr val="AEABAB"/>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8</c:f>
              <c:strCache>
                <c:ptCount val="7"/>
                <c:pt idx="0">
                  <c:v>Nicolas Feu</c:v>
                </c:pt>
                <c:pt idx="1">
                  <c:v>Nicolas Feu</c:v>
                </c:pt>
                <c:pt idx="2">
                  <c:v>Moët &amp; Chan</c:v>
                </c:pt>
                <c:pt idx="3">
                  <c:v>Moët &amp; Chan</c:v>
                </c:pt>
                <c:pt idx="4">
                  <c:v>Canard Duch</c:v>
                </c:pt>
                <c:pt idx="5">
                  <c:v>Piper Heids</c:v>
                </c:pt>
                <c:pt idx="6">
                  <c:v>De Venoge</c:v>
                </c:pt>
              </c:strCache>
            </c:strRef>
          </c:cat>
          <c:val>
            <c:numRef>
              <c:f>Sheet1!$C$2:$C$8</c:f>
              <c:numCache>
                <c:formatCode>General</c:formatCode>
                <c:ptCount val="7"/>
                <c:pt idx="0">
                  <c:v>0.67019801017291314</c:v>
                </c:pt>
                <c:pt idx="1">
                  <c:v>0.78098211006272389</c:v>
                </c:pt>
                <c:pt idx="2">
                  <c:v>0.88469219242611796</c:v>
                </c:pt>
                <c:pt idx="3">
                  <c:v>0.98021125743210902</c:v>
                </c:pt>
                <c:pt idx="4">
                  <c:v>0.99662917210767388</c:v>
                </c:pt>
                <c:pt idx="5">
                  <c:v>0.99939570592406479</c:v>
                </c:pt>
                <c:pt idx="6">
                  <c:v>0.9999452358493683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8</c:f>
              <c:strCache>
                <c:ptCount val="7"/>
                <c:pt idx="0">
                  <c:v>Nicolas Feu</c:v>
                </c:pt>
                <c:pt idx="1">
                  <c:v>Nicolas Feu</c:v>
                </c:pt>
                <c:pt idx="2">
                  <c:v>Moët &amp; Chan</c:v>
                </c:pt>
                <c:pt idx="3">
                  <c:v>Moët &amp; Chan</c:v>
                </c:pt>
                <c:pt idx="4">
                  <c:v>Canard Duch</c:v>
                </c:pt>
                <c:pt idx="5">
                  <c:v>Piper Heids</c:v>
                </c:pt>
                <c:pt idx="6">
                  <c:v>De Venoge</c:v>
                </c:pt>
              </c:strCache>
            </c:strRef>
          </c:cat>
          <c:val>
            <c:numRef>
              <c:f>Sheet1!$B$2:$B$8</c:f>
              <c:numCache>
                <c:formatCode>General</c:formatCode>
                <c:ptCount val="7"/>
                <c:pt idx="0">
                  <c:v>0.93</c:v>
                </c:pt>
                <c:pt idx="1">
                  <c:v>0.49</c:v>
                </c:pt>
                <c:pt idx="2">
                  <c:v>0.44</c:v>
                </c:pt>
                <c:pt idx="3">
                  <c:v>0.37</c:v>
                </c:pt>
                <c:pt idx="4">
                  <c:v>0.09</c:v>
                </c:pt>
                <c:pt idx="5">
                  <c:v>0.09</c:v>
                </c:pt>
                <c:pt idx="6">
                  <c:v>0.02</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AEABAB"/>
              </a:solidFill>
            </c:spPr>
            <c:extLst>
              <c:ext xmlns:c16="http://schemas.microsoft.com/office/drawing/2014/chart" uri="{C3380CC4-5D6E-409C-BE32-E72D297353CC}">
                <c16:uniqueId val="{0000000C-C76F-4230-900D-40618C09729F}"/>
              </c:ext>
            </c:extLst>
          </c:dPt>
          <c:dPt>
            <c:idx val="4"/>
            <c:invertIfNegative val="0"/>
            <c:bubble3D val="0"/>
            <c:spPr>
              <a:solidFill>
                <a:srgbClr val="AEABAB"/>
              </a:solidFill>
            </c:spPr>
            <c:extLst>
              <c:ext xmlns:c16="http://schemas.microsoft.com/office/drawing/2014/chart" uri="{C3380CC4-5D6E-409C-BE32-E72D297353CC}">
                <c16:uniqueId val="{0000000E-C76F-4230-900D-40618C09729F}"/>
              </c:ext>
            </c:extLst>
          </c:dPt>
          <c:dPt>
            <c:idx val="5"/>
            <c:invertIfNegative val="0"/>
            <c:bubble3D val="0"/>
            <c:spPr>
              <a:solidFill>
                <a:srgbClr val="AEABAB"/>
              </a:solidFill>
            </c:spPr>
            <c:extLst>
              <c:ext xmlns:c16="http://schemas.microsoft.com/office/drawing/2014/chart" uri="{C3380CC4-5D6E-409C-BE32-E72D297353CC}">
                <c16:uniqueId val="{00000010-C76F-4230-900D-40618C09729F}"/>
              </c:ext>
            </c:extLst>
          </c:dPt>
          <c:dPt>
            <c:idx val="6"/>
            <c:invertIfNegative val="1"/>
            <c:bubble3D val="0"/>
            <c:spPr>
              <a:solidFill>
                <a:srgbClr val="AEABAB"/>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8</c:f>
              <c:strCache>
                <c:ptCount val="7"/>
                <c:pt idx="0">
                  <c:v>Nicolas Feu</c:v>
                </c:pt>
                <c:pt idx="1">
                  <c:v>Nicolas Feu</c:v>
                </c:pt>
                <c:pt idx="2">
                  <c:v>Moët &amp; Chan</c:v>
                </c:pt>
                <c:pt idx="3">
                  <c:v>Moët &amp; Chan</c:v>
                </c:pt>
                <c:pt idx="4">
                  <c:v>Canard Duch</c:v>
                </c:pt>
                <c:pt idx="5">
                  <c:v>Piper Heids</c:v>
                </c:pt>
                <c:pt idx="6">
                  <c:v>De Venoge</c:v>
                </c:pt>
              </c:strCache>
            </c:strRef>
          </c:cat>
          <c:val>
            <c:numRef>
              <c:f>Sheet1!$C$2:$C$8</c:f>
              <c:numCache>
                <c:formatCode>General</c:formatCode>
                <c:ptCount val="7"/>
                <c:pt idx="0">
                  <c:v>0.67886373420750723</c:v>
                </c:pt>
                <c:pt idx="1">
                  <c:v>0.79648999598348169</c:v>
                </c:pt>
                <c:pt idx="2">
                  <c:v>0.89647484384883458</c:v>
                </c:pt>
                <c:pt idx="3">
                  <c:v>0.9785296657150484</c:v>
                </c:pt>
                <c:pt idx="4">
                  <c:v>0.9910963170692404</c:v>
                </c:pt>
                <c:pt idx="5">
                  <c:v>0.9993289768941972</c:v>
                </c:pt>
                <c:pt idx="6">
                  <c:v>0.99979556643730016</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8</c:f>
              <c:strCache>
                <c:ptCount val="7"/>
                <c:pt idx="0">
                  <c:v>Nicolas Feu</c:v>
                </c:pt>
                <c:pt idx="1">
                  <c:v>Nicolas Feu</c:v>
                </c:pt>
                <c:pt idx="2">
                  <c:v>Moët &amp; Chan</c:v>
                </c:pt>
                <c:pt idx="3">
                  <c:v>Moët &amp; Chan</c:v>
                </c:pt>
                <c:pt idx="4">
                  <c:v>Canard Duch</c:v>
                </c:pt>
                <c:pt idx="5">
                  <c:v>Piper Heids</c:v>
                </c:pt>
                <c:pt idx="6">
                  <c:v>De Venoge</c:v>
                </c:pt>
              </c:strCache>
            </c:strRef>
          </c:cat>
          <c:val>
            <c:numRef>
              <c:f>Sheet1!$B$2:$B$8</c:f>
              <c:numCache>
                <c:formatCode>General</c:formatCode>
                <c:ptCount val="7"/>
                <c:pt idx="0">
                  <c:v>0.99</c:v>
                </c:pt>
                <c:pt idx="1">
                  <c:v>0.75</c:v>
                </c:pt>
                <c:pt idx="2">
                  <c:v>0.7</c:v>
                </c:pt>
                <c:pt idx="3">
                  <c:v>0.59</c:v>
                </c:pt>
                <c:pt idx="4">
                  <c:v>0.27</c:v>
                </c:pt>
                <c:pt idx="5">
                  <c:v>0.09</c:v>
                </c:pt>
                <c:pt idx="6">
                  <c:v>0.08</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AEABAB"/>
              </a:solidFill>
            </c:spPr>
            <c:extLst>
              <c:ext xmlns:c16="http://schemas.microsoft.com/office/drawing/2014/chart" uri="{C3380CC4-5D6E-409C-BE32-E72D297353CC}">
                <c16:uniqueId val="{0000000C-C76F-4230-900D-40618C09729F}"/>
              </c:ext>
            </c:extLst>
          </c:dPt>
          <c:dPt>
            <c:idx val="4"/>
            <c:invertIfNegative val="0"/>
            <c:bubble3D val="0"/>
            <c:spPr>
              <a:solidFill>
                <a:srgbClr val="AEABAB"/>
              </a:solidFill>
            </c:spPr>
            <c:extLst>
              <c:ext xmlns:c16="http://schemas.microsoft.com/office/drawing/2014/chart" uri="{C3380CC4-5D6E-409C-BE32-E72D297353CC}">
                <c16:uniqueId val="{0000000E-C76F-4230-900D-40618C09729F}"/>
              </c:ext>
            </c:extLst>
          </c:dPt>
          <c:dPt>
            <c:idx val="5"/>
            <c:invertIfNegative val="0"/>
            <c:bubble3D val="0"/>
            <c:spPr>
              <a:solidFill>
                <a:srgbClr val="AEABAB"/>
              </a:solidFill>
            </c:spPr>
            <c:extLst>
              <c:ext xmlns:c16="http://schemas.microsoft.com/office/drawing/2014/chart" uri="{C3380CC4-5D6E-409C-BE32-E72D297353CC}">
                <c16:uniqueId val="{00000010-C76F-4230-900D-40618C09729F}"/>
              </c:ext>
            </c:extLst>
          </c:dPt>
          <c:dPt>
            <c:idx val="6"/>
            <c:invertIfNegative val="1"/>
            <c:bubble3D val="0"/>
            <c:spPr>
              <a:solidFill>
                <a:srgbClr val="AEABAB"/>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8</c:f>
              <c:strCache>
                <c:ptCount val="7"/>
                <c:pt idx="0">
                  <c:v>Nicolas Feu</c:v>
                </c:pt>
                <c:pt idx="1">
                  <c:v>Nicolas Feu</c:v>
                </c:pt>
                <c:pt idx="2">
                  <c:v>Moët &amp; Chan</c:v>
                </c:pt>
                <c:pt idx="3">
                  <c:v>Moët &amp; Chan</c:v>
                </c:pt>
                <c:pt idx="4">
                  <c:v>Canard Duch</c:v>
                </c:pt>
                <c:pt idx="5">
                  <c:v>Piper Heids</c:v>
                </c:pt>
                <c:pt idx="6">
                  <c:v>De Venoge</c:v>
                </c:pt>
              </c:strCache>
            </c:strRef>
          </c:cat>
          <c:val>
            <c:numRef>
              <c:f>Sheet1!$C$2:$C$8</c:f>
              <c:numCache>
                <c:formatCode>General</c:formatCode>
                <c:ptCount val="7"/>
                <c:pt idx="0">
                  <c:v>0.62115311797625949</c:v>
                </c:pt>
                <c:pt idx="1">
                  <c:v>0.76010810698144593</c:v>
                </c:pt>
                <c:pt idx="2">
                  <c:v>0.87312019953936415</c:v>
                </c:pt>
                <c:pt idx="3">
                  <c:v>0.98001827258105412</c:v>
                </c:pt>
                <c:pt idx="4">
                  <c:v>0.99344479839368027</c:v>
                </c:pt>
                <c:pt idx="5">
                  <c:v>0.99910374032091653</c:v>
                </c:pt>
                <c:pt idx="6">
                  <c:v>1</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7</c:f>
              <c:strCache>
                <c:ptCount val="6"/>
                <c:pt idx="0">
                  <c:v>Nicolas Feu</c:v>
                </c:pt>
                <c:pt idx="1">
                  <c:v>Moët &amp; Chan</c:v>
                </c:pt>
                <c:pt idx="2">
                  <c:v>Moët &amp; Chan</c:v>
                </c:pt>
                <c:pt idx="3">
                  <c:v>Nicolas Feu</c:v>
                </c:pt>
                <c:pt idx="4">
                  <c:v>Canard Duch</c:v>
                </c:pt>
                <c:pt idx="5">
                  <c:v>Piper Heids</c:v>
                </c:pt>
              </c:strCache>
            </c:strRef>
          </c:cat>
          <c:val>
            <c:numRef>
              <c:f>Sheet1!$B$2:$B$7</c:f>
              <c:numCache>
                <c:formatCode>General</c:formatCode>
                <c:ptCount val="6"/>
                <c:pt idx="0">
                  <c:v>1</c:v>
                </c:pt>
                <c:pt idx="1">
                  <c:v>0.88</c:v>
                </c:pt>
                <c:pt idx="2">
                  <c:v>0.62</c:v>
                </c:pt>
                <c:pt idx="3">
                  <c:v>0.71</c:v>
                </c:pt>
                <c:pt idx="4">
                  <c:v>0.17</c:v>
                </c:pt>
                <c:pt idx="5">
                  <c:v>0.06</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AEABAB"/>
              </a:solidFill>
            </c:spPr>
            <c:extLst>
              <c:ext xmlns:c16="http://schemas.microsoft.com/office/drawing/2014/chart" uri="{C3380CC4-5D6E-409C-BE32-E72D297353CC}">
                <c16:uniqueId val="{0000000C-C76F-4230-900D-40618C09729F}"/>
              </c:ext>
            </c:extLst>
          </c:dPt>
          <c:dPt>
            <c:idx val="4"/>
            <c:invertIfNegative val="0"/>
            <c:bubble3D val="0"/>
            <c:spPr>
              <a:solidFill>
                <a:srgbClr val="AEABAB"/>
              </a:solidFill>
            </c:spPr>
            <c:extLst>
              <c:ext xmlns:c16="http://schemas.microsoft.com/office/drawing/2014/chart" uri="{C3380CC4-5D6E-409C-BE32-E72D297353CC}">
                <c16:uniqueId val="{0000000E-C76F-4230-900D-40618C09729F}"/>
              </c:ext>
            </c:extLst>
          </c:dPt>
          <c:dPt>
            <c:idx val="5"/>
            <c:invertIfNegative val="0"/>
            <c:bubble3D val="0"/>
            <c:spPr>
              <a:solidFill>
                <a:srgbClr val="AEABAB"/>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7</c:f>
              <c:strCache>
                <c:ptCount val="6"/>
                <c:pt idx="0">
                  <c:v>Nicolas Feu</c:v>
                </c:pt>
                <c:pt idx="1">
                  <c:v>Moët &amp; Chan</c:v>
                </c:pt>
                <c:pt idx="2">
                  <c:v>Moët &amp; Chan</c:v>
                </c:pt>
                <c:pt idx="3">
                  <c:v>Nicolas Feu</c:v>
                </c:pt>
                <c:pt idx="4">
                  <c:v>Canard Duch</c:v>
                </c:pt>
                <c:pt idx="5">
                  <c:v>Piper Heids</c:v>
                </c:pt>
              </c:strCache>
            </c:strRef>
          </c:cat>
          <c:val>
            <c:numRef>
              <c:f>Sheet1!$C$2:$C$7</c:f>
              <c:numCache>
                <c:formatCode>General</c:formatCode>
                <c:ptCount val="6"/>
                <c:pt idx="0">
                  <c:v>0.60170818257723346</c:v>
                </c:pt>
                <c:pt idx="1">
                  <c:v>0.77737527831895348</c:v>
                </c:pt>
                <c:pt idx="2">
                  <c:v>0.88391490397996098</c:v>
                </c:pt>
                <c:pt idx="3">
                  <c:v>0.98491424297244634</c:v>
                </c:pt>
                <c:pt idx="4">
                  <c:v>0.99464670887837459</c:v>
                </c:pt>
                <c:pt idx="5">
                  <c:v>1</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7</c:f>
              <c:strCache>
                <c:ptCount val="6"/>
                <c:pt idx="0">
                  <c:v>Nicolas Feu</c:v>
                </c:pt>
                <c:pt idx="1">
                  <c:v>Moët &amp; Chan</c:v>
                </c:pt>
                <c:pt idx="2">
                  <c:v>Moët &amp; Chan</c:v>
                </c:pt>
                <c:pt idx="3">
                  <c:v>Nicolas Feu</c:v>
                </c:pt>
                <c:pt idx="4">
                  <c:v>Canard Duch</c:v>
                </c:pt>
                <c:pt idx="5">
                  <c:v>Piper Heids</c:v>
                </c:pt>
              </c:strCache>
            </c:strRef>
          </c:cat>
          <c:val>
            <c:numRef>
              <c:f>Sheet1!$B$2:$B$7</c:f>
              <c:numCache>
                <c:formatCode>General</c:formatCode>
                <c:ptCount val="6"/>
                <c:pt idx="0">
                  <c:v>0.95</c:v>
                </c:pt>
                <c:pt idx="1">
                  <c:v>0.55000000000000004</c:v>
                </c:pt>
                <c:pt idx="2">
                  <c:v>0.61</c:v>
                </c:pt>
                <c:pt idx="3">
                  <c:v>0.6</c:v>
                </c:pt>
                <c:pt idx="4">
                  <c:v>0.21</c:v>
                </c:pt>
                <c:pt idx="5">
                  <c:v>0.22</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7ECAC4"/>
              </a:solidFill>
            </c:spPr>
            <c:extLst>
              <c:ext xmlns:c16="http://schemas.microsoft.com/office/drawing/2014/chart" uri="{C3380CC4-5D6E-409C-BE32-E72D297353CC}">
                <c16:uniqueId val="{0000000A-C76F-4230-900D-40618C09729F}"/>
              </c:ext>
            </c:extLst>
          </c:dPt>
          <c:dPt>
            <c:idx val="3"/>
            <c:invertIfNegative val="0"/>
            <c:bubble3D val="0"/>
            <c:spPr>
              <a:solidFill>
                <a:srgbClr val="AEABAB"/>
              </a:solidFill>
            </c:spPr>
            <c:extLst>
              <c:ext xmlns:c16="http://schemas.microsoft.com/office/drawing/2014/chart" uri="{C3380CC4-5D6E-409C-BE32-E72D297353CC}">
                <c16:uniqueId val="{0000000C-C76F-4230-900D-40618C09729F}"/>
              </c:ext>
            </c:extLst>
          </c:dPt>
          <c:dPt>
            <c:idx val="4"/>
            <c:invertIfNegative val="0"/>
            <c:bubble3D val="0"/>
            <c:spPr>
              <a:solidFill>
                <a:srgbClr val="AEABAB"/>
              </a:solidFill>
            </c:spPr>
            <c:extLst>
              <c:ext xmlns:c16="http://schemas.microsoft.com/office/drawing/2014/chart" uri="{C3380CC4-5D6E-409C-BE32-E72D297353CC}">
                <c16:uniqueId val="{0000000E-C76F-4230-900D-40618C09729F}"/>
              </c:ext>
            </c:extLst>
          </c:dPt>
          <c:dPt>
            <c:idx val="5"/>
            <c:invertIfNegative val="0"/>
            <c:bubble3D val="0"/>
            <c:spPr>
              <a:solidFill>
                <a:srgbClr val="AEABAB"/>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7</c:f>
              <c:strCache>
                <c:ptCount val="6"/>
                <c:pt idx="0">
                  <c:v>Nicolas Feu</c:v>
                </c:pt>
                <c:pt idx="1">
                  <c:v>Moët &amp; Chan</c:v>
                </c:pt>
                <c:pt idx="2">
                  <c:v>Moët &amp; Chan</c:v>
                </c:pt>
                <c:pt idx="3">
                  <c:v>Nicolas Feu</c:v>
                </c:pt>
                <c:pt idx="4">
                  <c:v>Canard Duch</c:v>
                </c:pt>
                <c:pt idx="5">
                  <c:v>Piper Heids</c:v>
                </c:pt>
              </c:strCache>
            </c:strRef>
          </c:cat>
          <c:val>
            <c:numRef>
              <c:f>Sheet1!$C$2:$C$7</c:f>
              <c:numCache>
                <c:formatCode>General</c:formatCode>
                <c:ptCount val="6"/>
                <c:pt idx="0">
                  <c:v>0.70296375715571213</c:v>
                </c:pt>
                <c:pt idx="1">
                  <c:v>0.84746606421473836</c:v>
                </c:pt>
                <c:pt idx="2">
                  <c:v>0.92628898546839999</c:v>
                </c:pt>
                <c:pt idx="3">
                  <c:v>0.9830177480806418</c:v>
                </c:pt>
                <c:pt idx="4">
                  <c:v>0.99208324558212557</c:v>
                </c:pt>
                <c:pt idx="5">
                  <c:v>1</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8</c:f>
              <c:strCache>
                <c:ptCount val="7"/>
                <c:pt idx="0">
                  <c:v>Nicolas Feu</c:v>
                </c:pt>
                <c:pt idx="1">
                  <c:v>Nicolas Feu</c:v>
                </c:pt>
                <c:pt idx="2">
                  <c:v>Moët &amp; Chan</c:v>
                </c:pt>
                <c:pt idx="3">
                  <c:v>Moët &amp; Chan</c:v>
                </c:pt>
                <c:pt idx="4">
                  <c:v>Canard Duch</c:v>
                </c:pt>
                <c:pt idx="5">
                  <c:v>Piper Heids</c:v>
                </c:pt>
                <c:pt idx="6">
                  <c:v>De Venoge</c:v>
                </c:pt>
              </c:strCache>
            </c:strRef>
          </c:cat>
          <c:val>
            <c:numRef>
              <c:f>Sheet1!$B$2:$B$8</c:f>
              <c:numCache>
                <c:formatCode>General</c:formatCode>
                <c:ptCount val="7"/>
                <c:pt idx="0">
                  <c:v>0.97</c:v>
                </c:pt>
                <c:pt idx="1">
                  <c:v>0.55000000000000004</c:v>
                </c:pt>
                <c:pt idx="2">
                  <c:v>0.62</c:v>
                </c:pt>
                <c:pt idx="3">
                  <c:v>0.52</c:v>
                </c:pt>
                <c:pt idx="4">
                  <c:v>0.08</c:v>
                </c:pt>
                <c:pt idx="5">
                  <c:v>0.03</c:v>
                </c:pt>
                <c:pt idx="6">
                  <c:v>0.02</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AEABAB"/>
              </a:solidFill>
            </c:spPr>
            <c:extLst>
              <c:ext xmlns:c16="http://schemas.microsoft.com/office/drawing/2014/chart" uri="{C3380CC4-5D6E-409C-BE32-E72D297353CC}">
                <c16:uniqueId val="{0000000C-C76F-4230-900D-40618C09729F}"/>
              </c:ext>
            </c:extLst>
          </c:dPt>
          <c:dPt>
            <c:idx val="4"/>
            <c:invertIfNegative val="0"/>
            <c:bubble3D val="0"/>
            <c:spPr>
              <a:solidFill>
                <a:srgbClr val="AEABAB"/>
              </a:solidFill>
            </c:spPr>
            <c:extLst>
              <c:ext xmlns:c16="http://schemas.microsoft.com/office/drawing/2014/chart" uri="{C3380CC4-5D6E-409C-BE32-E72D297353CC}">
                <c16:uniqueId val="{0000000E-C76F-4230-900D-40618C09729F}"/>
              </c:ext>
            </c:extLst>
          </c:dPt>
          <c:dPt>
            <c:idx val="5"/>
            <c:invertIfNegative val="0"/>
            <c:bubble3D val="0"/>
            <c:spPr>
              <a:solidFill>
                <a:srgbClr val="AEABAB"/>
              </a:solidFill>
            </c:spPr>
            <c:extLst>
              <c:ext xmlns:c16="http://schemas.microsoft.com/office/drawing/2014/chart" uri="{C3380CC4-5D6E-409C-BE32-E72D297353CC}">
                <c16:uniqueId val="{00000010-C76F-4230-900D-40618C09729F}"/>
              </c:ext>
            </c:extLst>
          </c:dPt>
          <c:dPt>
            <c:idx val="6"/>
            <c:invertIfNegative val="1"/>
            <c:bubble3D val="0"/>
            <c:spPr>
              <a:solidFill>
                <a:srgbClr val="AEABAB"/>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8</c:f>
              <c:strCache>
                <c:ptCount val="7"/>
                <c:pt idx="0">
                  <c:v>Nicolas Feu</c:v>
                </c:pt>
                <c:pt idx="1">
                  <c:v>Nicolas Feu</c:v>
                </c:pt>
                <c:pt idx="2">
                  <c:v>Moët &amp; Chan</c:v>
                </c:pt>
                <c:pt idx="3">
                  <c:v>Moët &amp; Chan</c:v>
                </c:pt>
                <c:pt idx="4">
                  <c:v>Canard Duch</c:v>
                </c:pt>
                <c:pt idx="5">
                  <c:v>Piper Heids</c:v>
                </c:pt>
                <c:pt idx="6">
                  <c:v>De Venoge</c:v>
                </c:pt>
              </c:strCache>
            </c:strRef>
          </c:cat>
          <c:val>
            <c:numRef>
              <c:f>Sheet1!$C$2:$C$8</c:f>
              <c:numCache>
                <c:formatCode>General</c:formatCode>
                <c:ptCount val="7"/>
                <c:pt idx="0">
                  <c:v>0.6497375003593916</c:v>
                </c:pt>
                <c:pt idx="1">
                  <c:v>0.76400161007446588</c:v>
                </c:pt>
                <c:pt idx="2">
                  <c:v>0.8760530174520571</c:v>
                </c:pt>
                <c:pt idx="3">
                  <c:v>0.98294011098013279</c:v>
                </c:pt>
                <c:pt idx="4">
                  <c:v>0.9954480894741381</c:v>
                </c:pt>
                <c:pt idx="5">
                  <c:v>0.99937092090509183</c:v>
                </c:pt>
                <c:pt idx="6">
                  <c:v>0.99996664845749117</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7</c:f>
              <c:strCache>
                <c:ptCount val="6"/>
                <c:pt idx="0">
                  <c:v>Nicolas Feu</c:v>
                </c:pt>
                <c:pt idx="1">
                  <c:v>Moët &amp; Chan</c:v>
                </c:pt>
                <c:pt idx="2">
                  <c:v>Nicolas Feu</c:v>
                </c:pt>
                <c:pt idx="3">
                  <c:v>Moët &amp; Chan</c:v>
                </c:pt>
                <c:pt idx="4">
                  <c:v>Canard Duch</c:v>
                </c:pt>
                <c:pt idx="5">
                  <c:v>Piper Heids</c:v>
                </c:pt>
              </c:strCache>
            </c:strRef>
          </c:cat>
          <c:val>
            <c:numRef>
              <c:f>Sheet1!$B$2:$B$7</c:f>
              <c:numCache>
                <c:formatCode>General</c:formatCode>
                <c:ptCount val="6"/>
                <c:pt idx="0">
                  <c:v>1</c:v>
                </c:pt>
                <c:pt idx="1">
                  <c:v>0.73</c:v>
                </c:pt>
                <c:pt idx="2">
                  <c:v>0.56999999999999995</c:v>
                </c:pt>
                <c:pt idx="3">
                  <c:v>0.61</c:v>
                </c:pt>
                <c:pt idx="4">
                  <c:v>0.15</c:v>
                </c:pt>
                <c:pt idx="5">
                  <c:v>0.06</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AEABAB"/>
              </a:solidFill>
            </c:spPr>
            <c:extLst>
              <c:ext xmlns:c16="http://schemas.microsoft.com/office/drawing/2014/chart" uri="{C3380CC4-5D6E-409C-BE32-E72D297353CC}">
                <c16:uniqueId val="{0000000C-C76F-4230-900D-40618C09729F}"/>
              </c:ext>
            </c:extLst>
          </c:dPt>
          <c:dPt>
            <c:idx val="4"/>
            <c:invertIfNegative val="0"/>
            <c:bubble3D val="0"/>
            <c:spPr>
              <a:solidFill>
                <a:srgbClr val="AEABAB"/>
              </a:solidFill>
            </c:spPr>
            <c:extLst>
              <c:ext xmlns:c16="http://schemas.microsoft.com/office/drawing/2014/chart" uri="{C3380CC4-5D6E-409C-BE32-E72D297353CC}">
                <c16:uniqueId val="{0000000E-C76F-4230-900D-40618C09729F}"/>
              </c:ext>
            </c:extLst>
          </c:dPt>
          <c:dPt>
            <c:idx val="5"/>
            <c:invertIfNegative val="0"/>
            <c:bubble3D val="0"/>
            <c:spPr>
              <a:solidFill>
                <a:srgbClr val="AEABAB"/>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7</c:f>
              <c:strCache>
                <c:ptCount val="6"/>
                <c:pt idx="0">
                  <c:v>Nicolas Feu</c:v>
                </c:pt>
                <c:pt idx="1">
                  <c:v>Moët &amp; Chan</c:v>
                </c:pt>
                <c:pt idx="2">
                  <c:v>Nicolas Feu</c:v>
                </c:pt>
                <c:pt idx="3">
                  <c:v>Moët &amp; Chan</c:v>
                </c:pt>
                <c:pt idx="4">
                  <c:v>Canard Duch</c:v>
                </c:pt>
                <c:pt idx="5">
                  <c:v>Piper Heids</c:v>
                </c:pt>
              </c:strCache>
            </c:strRef>
          </c:cat>
          <c:val>
            <c:numRef>
              <c:f>Sheet1!$C$2:$C$7</c:f>
              <c:numCache>
                <c:formatCode>General</c:formatCode>
                <c:ptCount val="6"/>
                <c:pt idx="0">
                  <c:v>0.64839398466972353</c:v>
                </c:pt>
                <c:pt idx="1">
                  <c:v>0.76397785753948488</c:v>
                </c:pt>
                <c:pt idx="2">
                  <c:v>0.87628157790791528</c:v>
                </c:pt>
                <c:pt idx="3">
                  <c:v>0.98814450989484048</c:v>
                </c:pt>
                <c:pt idx="4">
                  <c:v>0.99637637603256113</c:v>
                </c:pt>
                <c:pt idx="5">
                  <c:v>1</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8</c:f>
              <c:strCache>
                <c:ptCount val="7"/>
                <c:pt idx="0">
                  <c:v>Nicolas Feu</c:v>
                </c:pt>
                <c:pt idx="1">
                  <c:v>Moët &amp; Chan</c:v>
                </c:pt>
                <c:pt idx="2">
                  <c:v>Nicolas Feu</c:v>
                </c:pt>
                <c:pt idx="3">
                  <c:v>Moët &amp; Chan</c:v>
                </c:pt>
                <c:pt idx="4">
                  <c:v>Canard Duch</c:v>
                </c:pt>
                <c:pt idx="5">
                  <c:v>Piper Heids</c:v>
                </c:pt>
                <c:pt idx="6">
                  <c:v>All Others</c:v>
                </c:pt>
              </c:strCache>
            </c:strRef>
          </c:cat>
          <c:val>
            <c:numRef>
              <c:f>Sheet1!$B$2:$B$8</c:f>
              <c:numCache>
                <c:formatCode>General</c:formatCode>
                <c:ptCount val="7"/>
                <c:pt idx="0">
                  <c:v>0.95</c:v>
                </c:pt>
                <c:pt idx="1">
                  <c:v>0.56000000000000005</c:v>
                </c:pt>
                <c:pt idx="2">
                  <c:v>0.44</c:v>
                </c:pt>
                <c:pt idx="3">
                  <c:v>0.38</c:v>
                </c:pt>
                <c:pt idx="4">
                  <c:v>0.16</c:v>
                </c:pt>
                <c:pt idx="5">
                  <c:v>0.13</c:v>
                </c:pt>
                <c:pt idx="6">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7ECAC4"/>
              </a:solidFill>
            </c:spPr>
            <c:extLst>
              <c:ext xmlns:c16="http://schemas.microsoft.com/office/drawing/2014/chart" uri="{C3380CC4-5D6E-409C-BE32-E72D297353CC}">
                <c16:uniqueId val="{0000000A-C76F-4230-900D-40618C09729F}"/>
              </c:ext>
            </c:extLst>
          </c:dPt>
          <c:dPt>
            <c:idx val="3"/>
            <c:invertIfNegative val="0"/>
            <c:bubble3D val="0"/>
            <c:spPr>
              <a:solidFill>
                <a:srgbClr val="AEABAB"/>
              </a:solidFill>
            </c:spPr>
            <c:extLst>
              <c:ext xmlns:c16="http://schemas.microsoft.com/office/drawing/2014/chart" uri="{C3380CC4-5D6E-409C-BE32-E72D297353CC}">
                <c16:uniqueId val="{0000000C-C76F-4230-900D-40618C09729F}"/>
              </c:ext>
            </c:extLst>
          </c:dPt>
          <c:dPt>
            <c:idx val="4"/>
            <c:invertIfNegative val="0"/>
            <c:bubble3D val="0"/>
            <c:spPr>
              <a:solidFill>
                <a:srgbClr val="AEABAB"/>
              </a:solidFill>
            </c:spPr>
            <c:extLst>
              <c:ext xmlns:c16="http://schemas.microsoft.com/office/drawing/2014/chart" uri="{C3380CC4-5D6E-409C-BE32-E72D297353CC}">
                <c16:uniqueId val="{0000000E-C76F-4230-900D-40618C09729F}"/>
              </c:ext>
            </c:extLst>
          </c:dPt>
          <c:dPt>
            <c:idx val="5"/>
            <c:invertIfNegative val="0"/>
            <c:bubble3D val="0"/>
            <c:spPr>
              <a:solidFill>
                <a:srgbClr val="AEABAB"/>
              </a:solidFill>
            </c:spPr>
            <c:extLst>
              <c:ext xmlns:c16="http://schemas.microsoft.com/office/drawing/2014/chart" uri="{C3380CC4-5D6E-409C-BE32-E72D297353CC}">
                <c16:uniqueId val="{00000010-C76F-4230-900D-40618C09729F}"/>
              </c:ext>
            </c:extLst>
          </c:dPt>
          <c:dPt>
            <c:idx val="6"/>
            <c:invertIfNegative val="1"/>
            <c:bubble3D val="0"/>
            <c:spPr>
              <a:solidFill>
                <a:srgbClr val="AEABAB"/>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8</c:f>
              <c:strCache>
                <c:ptCount val="7"/>
                <c:pt idx="0">
                  <c:v>Nicolas Feu</c:v>
                </c:pt>
                <c:pt idx="1">
                  <c:v>Moët &amp; Chan</c:v>
                </c:pt>
                <c:pt idx="2">
                  <c:v>Nicolas Feu</c:v>
                </c:pt>
                <c:pt idx="3">
                  <c:v>Moët &amp; Chan</c:v>
                </c:pt>
                <c:pt idx="4">
                  <c:v>Canard Duch</c:v>
                </c:pt>
                <c:pt idx="5">
                  <c:v>Piper Heids</c:v>
                </c:pt>
                <c:pt idx="6">
                  <c:v>All Others</c:v>
                </c:pt>
              </c:strCache>
            </c:strRef>
          </c:cat>
          <c:val>
            <c:numRef>
              <c:f>Sheet1!$C$2:$C$8</c:f>
              <c:numCache>
                <c:formatCode>General</c:formatCode>
                <c:ptCount val="7"/>
                <c:pt idx="0">
                  <c:v>0.71500955386765275</c:v>
                </c:pt>
                <c:pt idx="1">
                  <c:v>0.84897284039812537</c:v>
                </c:pt>
                <c:pt idx="2">
                  <c:v>0.92829370775621955</c:v>
                </c:pt>
                <c:pt idx="3">
                  <c:v>0.97848716169326855</c:v>
                </c:pt>
                <c:pt idx="4">
                  <c:v>0.99398248932913791</c:v>
                </c:pt>
                <c:pt idx="5">
                  <c:v>0.99919196144230138</c:v>
                </c:pt>
                <c:pt idx="6">
                  <c:v>1</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7</c:f>
              <c:strCache>
                <c:ptCount val="6"/>
                <c:pt idx="0">
                  <c:v>Nicolas Feu</c:v>
                </c:pt>
                <c:pt idx="1">
                  <c:v>Nicolas Feu</c:v>
                </c:pt>
                <c:pt idx="2">
                  <c:v>Moët &amp; Chan</c:v>
                </c:pt>
                <c:pt idx="3">
                  <c:v>Moët &amp; Chan</c:v>
                </c:pt>
                <c:pt idx="4">
                  <c:v>Canard Duch</c:v>
                </c:pt>
                <c:pt idx="5">
                  <c:v>Piper Heids</c:v>
                </c:pt>
              </c:strCache>
            </c:strRef>
          </c:cat>
          <c:val>
            <c:numRef>
              <c:f>Sheet1!$B$2:$B$7</c:f>
              <c:numCache>
                <c:formatCode>General</c:formatCode>
                <c:ptCount val="6"/>
                <c:pt idx="0">
                  <c:v>1</c:v>
                </c:pt>
                <c:pt idx="1">
                  <c:v>0.63</c:v>
                </c:pt>
                <c:pt idx="2">
                  <c:v>0.46</c:v>
                </c:pt>
                <c:pt idx="3">
                  <c:v>0.28000000000000003</c:v>
                </c:pt>
                <c:pt idx="4">
                  <c:v>0.14000000000000001</c:v>
                </c:pt>
                <c:pt idx="5">
                  <c:v>0.06</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7ECAC4"/>
              </a:solidFill>
            </c:spPr>
            <c:extLst>
              <c:ext xmlns:c16="http://schemas.microsoft.com/office/drawing/2014/chart" uri="{C3380CC4-5D6E-409C-BE32-E72D297353CC}">
                <c16:uniqueId val="{0000000A-C76F-4230-900D-40618C09729F}"/>
              </c:ext>
            </c:extLst>
          </c:dPt>
          <c:dPt>
            <c:idx val="3"/>
            <c:invertIfNegative val="0"/>
            <c:bubble3D val="0"/>
            <c:spPr>
              <a:solidFill>
                <a:srgbClr val="AEABAB"/>
              </a:solidFill>
            </c:spPr>
            <c:extLst>
              <c:ext xmlns:c16="http://schemas.microsoft.com/office/drawing/2014/chart" uri="{C3380CC4-5D6E-409C-BE32-E72D297353CC}">
                <c16:uniqueId val="{0000000C-C76F-4230-900D-40618C09729F}"/>
              </c:ext>
            </c:extLst>
          </c:dPt>
          <c:dPt>
            <c:idx val="4"/>
            <c:invertIfNegative val="0"/>
            <c:bubble3D val="0"/>
            <c:spPr>
              <a:solidFill>
                <a:srgbClr val="AEABAB"/>
              </a:solidFill>
            </c:spPr>
            <c:extLst>
              <c:ext xmlns:c16="http://schemas.microsoft.com/office/drawing/2014/chart" uri="{C3380CC4-5D6E-409C-BE32-E72D297353CC}">
                <c16:uniqueId val="{0000000E-C76F-4230-900D-40618C09729F}"/>
              </c:ext>
            </c:extLst>
          </c:dPt>
          <c:dPt>
            <c:idx val="5"/>
            <c:invertIfNegative val="0"/>
            <c:bubble3D val="0"/>
            <c:spPr>
              <a:solidFill>
                <a:srgbClr val="AEABAB"/>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7</c:f>
              <c:strCache>
                <c:ptCount val="6"/>
                <c:pt idx="0">
                  <c:v>Nicolas Feu</c:v>
                </c:pt>
                <c:pt idx="1">
                  <c:v>Nicolas Feu</c:v>
                </c:pt>
                <c:pt idx="2">
                  <c:v>Moët &amp; Chan</c:v>
                </c:pt>
                <c:pt idx="3">
                  <c:v>Moët &amp; Chan</c:v>
                </c:pt>
                <c:pt idx="4">
                  <c:v>Canard Duch</c:v>
                </c:pt>
                <c:pt idx="5">
                  <c:v>Piper Heids</c:v>
                </c:pt>
              </c:strCache>
            </c:strRef>
          </c:cat>
          <c:val>
            <c:numRef>
              <c:f>Sheet1!$C$2:$C$7</c:f>
              <c:numCache>
                <c:formatCode>General</c:formatCode>
                <c:ptCount val="6"/>
                <c:pt idx="0">
                  <c:v>0.69001746747660142</c:v>
                </c:pt>
                <c:pt idx="1">
                  <c:v>0.84891936282816693</c:v>
                </c:pt>
                <c:pt idx="2">
                  <c:v>0.91633860833746117</c:v>
                </c:pt>
                <c:pt idx="3">
                  <c:v>0.98156790155643037</c:v>
                </c:pt>
                <c:pt idx="4">
                  <c:v>0.99243945042625858</c:v>
                </c:pt>
                <c:pt idx="5">
                  <c:v>1</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7</c:f>
              <c:strCache>
                <c:ptCount val="6"/>
                <c:pt idx="0">
                  <c:v>Nicolas Feu</c:v>
                </c:pt>
                <c:pt idx="1">
                  <c:v>Moët &amp; Chan</c:v>
                </c:pt>
                <c:pt idx="2">
                  <c:v>Nicolas Feu</c:v>
                </c:pt>
                <c:pt idx="3">
                  <c:v>Moët &amp; Chan</c:v>
                </c:pt>
                <c:pt idx="4">
                  <c:v>Canard Duch</c:v>
                </c:pt>
                <c:pt idx="5">
                  <c:v>Piper Heids</c:v>
                </c:pt>
              </c:strCache>
            </c:strRef>
          </c:cat>
          <c:val>
            <c:numRef>
              <c:f>Sheet1!$B$2:$B$7</c:f>
              <c:numCache>
                <c:formatCode>General</c:formatCode>
                <c:ptCount val="6"/>
                <c:pt idx="0">
                  <c:v>0.92</c:v>
                </c:pt>
                <c:pt idx="1">
                  <c:v>0.49</c:v>
                </c:pt>
                <c:pt idx="2">
                  <c:v>0.33</c:v>
                </c:pt>
                <c:pt idx="3">
                  <c:v>0.52</c:v>
                </c:pt>
                <c:pt idx="4">
                  <c:v>0.27</c:v>
                </c:pt>
                <c:pt idx="5">
                  <c:v>0.3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AEABAB"/>
              </a:solidFill>
            </c:spPr>
            <c:extLst>
              <c:ext xmlns:c16="http://schemas.microsoft.com/office/drawing/2014/chart" uri="{C3380CC4-5D6E-409C-BE32-E72D297353CC}">
                <c16:uniqueId val="{0000000C-C76F-4230-900D-40618C09729F}"/>
              </c:ext>
            </c:extLst>
          </c:dPt>
          <c:dPt>
            <c:idx val="4"/>
            <c:invertIfNegative val="0"/>
            <c:bubble3D val="0"/>
            <c:spPr>
              <a:solidFill>
                <a:srgbClr val="AEABAB"/>
              </a:solidFill>
            </c:spPr>
            <c:extLst>
              <c:ext xmlns:c16="http://schemas.microsoft.com/office/drawing/2014/chart" uri="{C3380CC4-5D6E-409C-BE32-E72D297353CC}">
                <c16:uniqueId val="{0000000E-C76F-4230-900D-40618C09729F}"/>
              </c:ext>
            </c:extLst>
          </c:dPt>
          <c:dPt>
            <c:idx val="5"/>
            <c:invertIfNegative val="0"/>
            <c:bubble3D val="0"/>
            <c:spPr>
              <a:solidFill>
                <a:srgbClr val="AEABAB"/>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7</c:f>
              <c:strCache>
                <c:ptCount val="6"/>
                <c:pt idx="0">
                  <c:v>Nicolas Feu</c:v>
                </c:pt>
                <c:pt idx="1">
                  <c:v>Moët &amp; Chan</c:v>
                </c:pt>
                <c:pt idx="2">
                  <c:v>Nicolas Feu</c:v>
                </c:pt>
                <c:pt idx="3">
                  <c:v>Moët &amp; Chan</c:v>
                </c:pt>
                <c:pt idx="4">
                  <c:v>Canard Duch</c:v>
                </c:pt>
                <c:pt idx="5">
                  <c:v>Piper Heids</c:v>
                </c:pt>
              </c:strCache>
            </c:strRef>
          </c:cat>
          <c:val>
            <c:numRef>
              <c:f>Sheet1!$C$2:$C$7</c:f>
              <c:numCache>
                <c:formatCode>General</c:formatCode>
                <c:ptCount val="6"/>
                <c:pt idx="0">
                  <c:v>0.682982740021575</c:v>
                </c:pt>
                <c:pt idx="1">
                  <c:v>0.79301510248112195</c:v>
                </c:pt>
                <c:pt idx="2">
                  <c:v>0.89075422509888535</c:v>
                </c:pt>
                <c:pt idx="3">
                  <c:v>0.95273732470334416</c:v>
                </c:pt>
                <c:pt idx="4">
                  <c:v>0.9864931679252068</c:v>
                </c:pt>
                <c:pt idx="5">
                  <c:v>1</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8</c:f>
              <c:strCache>
                <c:ptCount val="7"/>
                <c:pt idx="0">
                  <c:v>Nicolas Feu</c:v>
                </c:pt>
                <c:pt idx="1">
                  <c:v>Moët &amp; Chan</c:v>
                </c:pt>
                <c:pt idx="2">
                  <c:v>Nicolas Feu</c:v>
                </c:pt>
                <c:pt idx="3">
                  <c:v>Moët &amp; Chan</c:v>
                </c:pt>
                <c:pt idx="4">
                  <c:v>Canard Duch</c:v>
                </c:pt>
                <c:pt idx="5">
                  <c:v>Piper Heids</c:v>
                </c:pt>
                <c:pt idx="6">
                  <c:v>De Venoge</c:v>
                </c:pt>
              </c:strCache>
            </c:strRef>
          </c:cat>
          <c:val>
            <c:numRef>
              <c:f>Sheet1!$B$2:$B$8</c:f>
              <c:numCache>
                <c:formatCode>General</c:formatCode>
                <c:ptCount val="7"/>
                <c:pt idx="0">
                  <c:v>0.99</c:v>
                </c:pt>
                <c:pt idx="1">
                  <c:v>0.78</c:v>
                </c:pt>
                <c:pt idx="2">
                  <c:v>0.66</c:v>
                </c:pt>
                <c:pt idx="3">
                  <c:v>0.62</c:v>
                </c:pt>
                <c:pt idx="4">
                  <c:v>0.16</c:v>
                </c:pt>
                <c:pt idx="5">
                  <c:v>0.05</c:v>
                </c:pt>
                <c:pt idx="6">
                  <c:v>0.03</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AEABAB"/>
              </a:solidFill>
            </c:spPr>
            <c:extLst>
              <c:ext xmlns:c16="http://schemas.microsoft.com/office/drawing/2014/chart" uri="{C3380CC4-5D6E-409C-BE32-E72D297353CC}">
                <c16:uniqueId val="{0000000C-C76F-4230-900D-40618C09729F}"/>
              </c:ext>
            </c:extLst>
          </c:dPt>
          <c:dPt>
            <c:idx val="4"/>
            <c:invertIfNegative val="0"/>
            <c:bubble3D val="0"/>
            <c:spPr>
              <a:solidFill>
                <a:srgbClr val="AEABAB"/>
              </a:solidFill>
            </c:spPr>
            <c:extLst>
              <c:ext xmlns:c16="http://schemas.microsoft.com/office/drawing/2014/chart" uri="{C3380CC4-5D6E-409C-BE32-E72D297353CC}">
                <c16:uniqueId val="{0000000E-C76F-4230-900D-40618C09729F}"/>
              </c:ext>
            </c:extLst>
          </c:dPt>
          <c:dPt>
            <c:idx val="5"/>
            <c:invertIfNegative val="0"/>
            <c:bubble3D val="0"/>
            <c:spPr>
              <a:solidFill>
                <a:srgbClr val="AEABAB"/>
              </a:solidFill>
            </c:spPr>
            <c:extLst>
              <c:ext xmlns:c16="http://schemas.microsoft.com/office/drawing/2014/chart" uri="{C3380CC4-5D6E-409C-BE32-E72D297353CC}">
                <c16:uniqueId val="{00000010-C76F-4230-900D-40618C09729F}"/>
              </c:ext>
            </c:extLst>
          </c:dPt>
          <c:dPt>
            <c:idx val="6"/>
            <c:invertIfNegative val="1"/>
            <c:bubble3D val="0"/>
            <c:spPr>
              <a:solidFill>
                <a:srgbClr val="AEABAB"/>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8</c:f>
              <c:strCache>
                <c:ptCount val="7"/>
                <c:pt idx="0">
                  <c:v>Nicolas Feu</c:v>
                </c:pt>
                <c:pt idx="1">
                  <c:v>Moët &amp; Chan</c:v>
                </c:pt>
                <c:pt idx="2">
                  <c:v>Nicolas Feu</c:v>
                </c:pt>
                <c:pt idx="3">
                  <c:v>Moët &amp; Chan</c:v>
                </c:pt>
                <c:pt idx="4">
                  <c:v>Canard Duch</c:v>
                </c:pt>
                <c:pt idx="5">
                  <c:v>Piper Heids</c:v>
                </c:pt>
                <c:pt idx="6">
                  <c:v>De Venoge</c:v>
                </c:pt>
              </c:strCache>
            </c:strRef>
          </c:cat>
          <c:val>
            <c:numRef>
              <c:f>Sheet1!$C$2:$C$8</c:f>
              <c:numCache>
                <c:formatCode>General</c:formatCode>
                <c:ptCount val="7"/>
                <c:pt idx="0">
                  <c:v>0.61919315590987056</c:v>
                </c:pt>
                <c:pt idx="1">
                  <c:v>0.75541215206497958</c:v>
                </c:pt>
                <c:pt idx="2">
                  <c:v>0.88014710620552528</c:v>
                </c:pt>
                <c:pt idx="3">
                  <c:v>0.98421385326815747</c:v>
                </c:pt>
                <c:pt idx="4">
                  <c:v>0.99713704443564799</c:v>
                </c:pt>
                <c:pt idx="5">
                  <c:v>0.99950442944947182</c:v>
                </c:pt>
                <c:pt idx="6">
                  <c:v>1</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7</c:f>
              <c:strCache>
                <c:ptCount val="6"/>
                <c:pt idx="0">
                  <c:v>Nicolas Feu</c:v>
                </c:pt>
                <c:pt idx="1">
                  <c:v>Moët &amp; Chan</c:v>
                </c:pt>
                <c:pt idx="2">
                  <c:v>Nicolas Feu</c:v>
                </c:pt>
                <c:pt idx="3">
                  <c:v>Moët &amp; Chan</c:v>
                </c:pt>
                <c:pt idx="4">
                  <c:v>Canard Duch</c:v>
                </c:pt>
                <c:pt idx="5">
                  <c:v>Piper Heids</c:v>
                </c:pt>
              </c:strCache>
            </c:strRef>
          </c:cat>
          <c:val>
            <c:numRef>
              <c:f>Sheet1!$B$2:$B$7</c:f>
              <c:numCache>
                <c:formatCode>General</c:formatCode>
                <c:ptCount val="6"/>
                <c:pt idx="0">
                  <c:v>0.99</c:v>
                </c:pt>
                <c:pt idx="1">
                  <c:v>0.61</c:v>
                </c:pt>
                <c:pt idx="2">
                  <c:v>0.59</c:v>
                </c:pt>
                <c:pt idx="3">
                  <c:v>0.61</c:v>
                </c:pt>
                <c:pt idx="4">
                  <c:v>0.08</c:v>
                </c:pt>
                <c:pt idx="5">
                  <c:v>0.04</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AEABAB"/>
              </a:solidFill>
            </c:spPr>
            <c:extLst>
              <c:ext xmlns:c16="http://schemas.microsoft.com/office/drawing/2014/chart" uri="{C3380CC4-5D6E-409C-BE32-E72D297353CC}">
                <c16:uniqueId val="{0000000C-C76F-4230-900D-40618C09729F}"/>
              </c:ext>
            </c:extLst>
          </c:dPt>
          <c:dPt>
            <c:idx val="4"/>
            <c:invertIfNegative val="0"/>
            <c:bubble3D val="0"/>
            <c:spPr>
              <a:solidFill>
                <a:srgbClr val="AEABAB"/>
              </a:solidFill>
            </c:spPr>
            <c:extLst>
              <c:ext xmlns:c16="http://schemas.microsoft.com/office/drawing/2014/chart" uri="{C3380CC4-5D6E-409C-BE32-E72D297353CC}">
                <c16:uniqueId val="{0000000E-C76F-4230-900D-40618C09729F}"/>
              </c:ext>
            </c:extLst>
          </c:dPt>
          <c:dPt>
            <c:idx val="5"/>
            <c:invertIfNegative val="0"/>
            <c:bubble3D val="0"/>
            <c:spPr>
              <a:solidFill>
                <a:srgbClr val="AEABAB"/>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7</c:f>
              <c:strCache>
                <c:ptCount val="6"/>
                <c:pt idx="0">
                  <c:v>Nicolas Feu</c:v>
                </c:pt>
                <c:pt idx="1">
                  <c:v>Moët &amp; Chan</c:v>
                </c:pt>
                <c:pt idx="2">
                  <c:v>Nicolas Feu</c:v>
                </c:pt>
                <c:pt idx="3">
                  <c:v>Moët &amp; Chan</c:v>
                </c:pt>
                <c:pt idx="4">
                  <c:v>Canard Duch</c:v>
                </c:pt>
                <c:pt idx="5">
                  <c:v>Piper Heids</c:v>
                </c:pt>
              </c:strCache>
            </c:strRef>
          </c:cat>
          <c:val>
            <c:numRef>
              <c:f>Sheet1!$C$2:$C$7</c:f>
              <c:numCache>
                <c:formatCode>General</c:formatCode>
                <c:ptCount val="6"/>
                <c:pt idx="0">
                  <c:v>0.64086939635387852</c:v>
                </c:pt>
                <c:pt idx="1">
                  <c:v>0.77419762966798866</c:v>
                </c:pt>
                <c:pt idx="2">
                  <c:v>0.8827574234702884</c:v>
                </c:pt>
                <c:pt idx="3">
                  <c:v>0.99053456047642019</c:v>
                </c:pt>
                <c:pt idx="4">
                  <c:v>0.99711064295550034</c:v>
                </c:pt>
                <c:pt idx="5">
                  <c:v>1</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7</c:f>
              <c:strCache>
                <c:ptCount val="6"/>
                <c:pt idx="0">
                  <c:v>Nicolas Feu</c:v>
                </c:pt>
                <c:pt idx="1">
                  <c:v>Nicolas Feu</c:v>
                </c:pt>
                <c:pt idx="2">
                  <c:v>Moët &amp; Chan</c:v>
                </c:pt>
                <c:pt idx="3">
                  <c:v>Moët &amp; Chan</c:v>
                </c:pt>
                <c:pt idx="4">
                  <c:v>Canard Duch</c:v>
                </c:pt>
                <c:pt idx="5">
                  <c:v>Piper Heids</c:v>
                </c:pt>
              </c:strCache>
            </c:strRef>
          </c:cat>
          <c:val>
            <c:numRef>
              <c:f>Sheet1!$B$2:$B$7</c:f>
              <c:numCache>
                <c:formatCode>General</c:formatCode>
                <c:ptCount val="6"/>
                <c:pt idx="0">
                  <c:v>0.95</c:v>
                </c:pt>
                <c:pt idx="1">
                  <c:v>0.54</c:v>
                </c:pt>
                <c:pt idx="2">
                  <c:v>0.5</c:v>
                </c:pt>
                <c:pt idx="3">
                  <c:v>0.52</c:v>
                </c:pt>
                <c:pt idx="4">
                  <c:v>0.12</c:v>
                </c:pt>
                <c:pt idx="5">
                  <c:v>0.06</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AEABAB"/>
              </a:solidFill>
            </c:spPr>
            <c:extLst>
              <c:ext xmlns:c16="http://schemas.microsoft.com/office/drawing/2014/chart" uri="{C3380CC4-5D6E-409C-BE32-E72D297353CC}">
                <c16:uniqueId val="{0000000C-C76F-4230-900D-40618C09729F}"/>
              </c:ext>
            </c:extLst>
          </c:dPt>
          <c:dPt>
            <c:idx val="4"/>
            <c:invertIfNegative val="0"/>
            <c:bubble3D val="0"/>
            <c:spPr>
              <a:solidFill>
                <a:srgbClr val="AEABAB"/>
              </a:solidFill>
            </c:spPr>
            <c:extLst>
              <c:ext xmlns:c16="http://schemas.microsoft.com/office/drawing/2014/chart" uri="{C3380CC4-5D6E-409C-BE32-E72D297353CC}">
                <c16:uniqueId val="{0000000E-C76F-4230-900D-40618C09729F}"/>
              </c:ext>
            </c:extLst>
          </c:dPt>
          <c:dPt>
            <c:idx val="5"/>
            <c:invertIfNegative val="0"/>
            <c:bubble3D val="0"/>
            <c:spPr>
              <a:solidFill>
                <a:srgbClr val="AEABAB"/>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7</c:f>
              <c:strCache>
                <c:ptCount val="6"/>
                <c:pt idx="0">
                  <c:v>Nicolas Feu</c:v>
                </c:pt>
                <c:pt idx="1">
                  <c:v>Nicolas Feu</c:v>
                </c:pt>
                <c:pt idx="2">
                  <c:v>Moët &amp; Chan</c:v>
                </c:pt>
                <c:pt idx="3">
                  <c:v>Moët &amp; Chan</c:v>
                </c:pt>
                <c:pt idx="4">
                  <c:v>Canard Duch</c:v>
                </c:pt>
                <c:pt idx="5">
                  <c:v>Piper Heids</c:v>
                </c:pt>
              </c:strCache>
            </c:strRef>
          </c:cat>
          <c:val>
            <c:numRef>
              <c:f>Sheet1!$C$2:$C$7</c:f>
              <c:numCache>
                <c:formatCode>General</c:formatCode>
                <c:ptCount val="6"/>
                <c:pt idx="0">
                  <c:v>0.68873085128875389</c:v>
                </c:pt>
                <c:pt idx="1">
                  <c:v>0.78940357891095003</c:v>
                </c:pt>
                <c:pt idx="2">
                  <c:v>0.88580929132950192</c:v>
                </c:pt>
                <c:pt idx="3">
                  <c:v>0.98088108097718485</c:v>
                </c:pt>
                <c:pt idx="4">
                  <c:v>0.9949449324389259</c:v>
                </c:pt>
                <c:pt idx="5">
                  <c:v>1</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9</c:f>
              <c:strCache>
                <c:ptCount val="8"/>
                <c:pt idx="0">
                  <c:v>Nicolas Feu</c:v>
                </c:pt>
                <c:pt idx="1">
                  <c:v>Moët &amp; Chan</c:v>
                </c:pt>
                <c:pt idx="2">
                  <c:v>Nicolas Feu</c:v>
                </c:pt>
                <c:pt idx="3">
                  <c:v>Moët &amp; Chan</c:v>
                </c:pt>
                <c:pt idx="4">
                  <c:v>Canard Duch</c:v>
                </c:pt>
                <c:pt idx="5">
                  <c:v>Piper Heids</c:v>
                </c:pt>
                <c:pt idx="6">
                  <c:v>De Venoge</c:v>
                </c:pt>
                <c:pt idx="7">
                  <c:v>Malard</c:v>
                </c:pt>
              </c:strCache>
            </c:strRef>
          </c:cat>
          <c:val>
            <c:numRef>
              <c:f>Sheet1!$B$2:$B$9</c:f>
              <c:numCache>
                <c:formatCode>General</c:formatCode>
                <c:ptCount val="8"/>
                <c:pt idx="0">
                  <c:v>0.96</c:v>
                </c:pt>
                <c:pt idx="1">
                  <c:v>0.42</c:v>
                </c:pt>
                <c:pt idx="2">
                  <c:v>0.44</c:v>
                </c:pt>
                <c:pt idx="3">
                  <c:v>0.37</c:v>
                </c:pt>
                <c:pt idx="4">
                  <c:v>7.0000000000000007E-2</c:v>
                </c:pt>
                <c:pt idx="5">
                  <c:v>0.08</c:v>
                </c:pt>
                <c:pt idx="6">
                  <c:v>0.02</c:v>
                </c:pt>
                <c:pt idx="7">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7ECAC4"/>
              </a:solidFill>
            </c:spPr>
            <c:extLst>
              <c:ext xmlns:c16="http://schemas.microsoft.com/office/drawing/2014/chart" uri="{C3380CC4-5D6E-409C-BE32-E72D297353CC}">
                <c16:uniqueId val="{0000000A-C76F-4230-900D-40618C09729F}"/>
              </c:ext>
            </c:extLst>
          </c:dPt>
          <c:dPt>
            <c:idx val="3"/>
            <c:invertIfNegative val="0"/>
            <c:bubble3D val="0"/>
            <c:spPr>
              <a:solidFill>
                <a:srgbClr val="AEABAB"/>
              </a:solidFill>
            </c:spPr>
            <c:extLst>
              <c:ext xmlns:c16="http://schemas.microsoft.com/office/drawing/2014/chart" uri="{C3380CC4-5D6E-409C-BE32-E72D297353CC}">
                <c16:uniqueId val="{0000000C-C76F-4230-900D-40618C09729F}"/>
              </c:ext>
            </c:extLst>
          </c:dPt>
          <c:dPt>
            <c:idx val="4"/>
            <c:invertIfNegative val="0"/>
            <c:bubble3D val="0"/>
            <c:spPr>
              <a:solidFill>
                <a:srgbClr val="AEABAB"/>
              </a:solidFill>
            </c:spPr>
            <c:extLst>
              <c:ext xmlns:c16="http://schemas.microsoft.com/office/drawing/2014/chart" uri="{C3380CC4-5D6E-409C-BE32-E72D297353CC}">
                <c16:uniqueId val="{0000000E-C76F-4230-900D-40618C09729F}"/>
              </c:ext>
            </c:extLst>
          </c:dPt>
          <c:dPt>
            <c:idx val="5"/>
            <c:invertIfNegative val="0"/>
            <c:bubble3D val="0"/>
            <c:spPr>
              <a:solidFill>
                <a:srgbClr val="AEABAB"/>
              </a:solidFill>
            </c:spPr>
            <c:extLst>
              <c:ext xmlns:c16="http://schemas.microsoft.com/office/drawing/2014/chart" uri="{C3380CC4-5D6E-409C-BE32-E72D297353CC}">
                <c16:uniqueId val="{00000010-C76F-4230-900D-40618C09729F}"/>
              </c:ext>
            </c:extLst>
          </c:dPt>
          <c:dPt>
            <c:idx val="6"/>
            <c:invertIfNegative val="1"/>
            <c:bubble3D val="0"/>
            <c:spPr>
              <a:solidFill>
                <a:srgbClr val="AEABAB"/>
              </a:solidFill>
            </c:spPr>
            <c:extLst>
              <c:ext xmlns:c16="http://schemas.microsoft.com/office/drawing/2014/chart" uri="{C3380CC4-5D6E-409C-BE32-E72D297353CC}">
                <c16:uniqueId val="{00000045-2993-41DE-A2CB-63102DE87051}"/>
              </c:ext>
            </c:extLst>
          </c:dPt>
          <c:dPt>
            <c:idx val="7"/>
            <c:invertIfNegative val="1"/>
            <c:bubble3D val="0"/>
            <c:spPr>
              <a:solidFill>
                <a:srgbClr val="AEABAB"/>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9</c:f>
              <c:strCache>
                <c:ptCount val="8"/>
                <c:pt idx="0">
                  <c:v>Nicolas Feu</c:v>
                </c:pt>
                <c:pt idx="1">
                  <c:v>Moët &amp; Chan</c:v>
                </c:pt>
                <c:pt idx="2">
                  <c:v>Nicolas Feu</c:v>
                </c:pt>
                <c:pt idx="3">
                  <c:v>Moët &amp; Chan</c:v>
                </c:pt>
                <c:pt idx="4">
                  <c:v>Canard Duch</c:v>
                </c:pt>
                <c:pt idx="5">
                  <c:v>Piper Heids</c:v>
                </c:pt>
                <c:pt idx="6">
                  <c:v>De Venoge</c:v>
                </c:pt>
                <c:pt idx="7">
                  <c:v>Malard</c:v>
                </c:pt>
              </c:strCache>
            </c:strRef>
          </c:cat>
          <c:val>
            <c:numRef>
              <c:f>Sheet1!$C$2:$C$9</c:f>
              <c:numCache>
                <c:formatCode>General</c:formatCode>
                <c:ptCount val="8"/>
                <c:pt idx="0">
                  <c:v>0.6910387262867681</c:v>
                </c:pt>
                <c:pt idx="1">
                  <c:v>0.80359327356716392</c:v>
                </c:pt>
                <c:pt idx="2">
                  <c:v>0.89550201756468073</c:v>
                </c:pt>
                <c:pt idx="3">
                  <c:v>0.97616124084792488</c:v>
                </c:pt>
                <c:pt idx="4">
                  <c:v>0.99272398619657098</c:v>
                </c:pt>
                <c:pt idx="5">
                  <c:v>0.99868538771933024</c:v>
                </c:pt>
                <c:pt idx="6">
                  <c:v>0.99986762584673805</c:v>
                </c:pt>
                <c:pt idx="7">
                  <c:v>0.99999999999999989</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8</c:f>
              <c:strCache>
                <c:ptCount val="7"/>
                <c:pt idx="0">
                  <c:v>Nicolas Feu</c:v>
                </c:pt>
                <c:pt idx="1">
                  <c:v>Nicolas Feu</c:v>
                </c:pt>
                <c:pt idx="2">
                  <c:v>Moët &amp; Chan</c:v>
                </c:pt>
                <c:pt idx="3">
                  <c:v>Moët &amp; Chan</c:v>
                </c:pt>
                <c:pt idx="4">
                  <c:v>Canard Duch</c:v>
                </c:pt>
                <c:pt idx="5">
                  <c:v>Piper Heids</c:v>
                </c:pt>
                <c:pt idx="6">
                  <c:v>De Venoge</c:v>
                </c:pt>
              </c:strCache>
            </c:strRef>
          </c:cat>
          <c:val>
            <c:numRef>
              <c:f>Sheet1!$B$2:$B$8</c:f>
              <c:numCache>
                <c:formatCode>General</c:formatCode>
                <c:ptCount val="7"/>
                <c:pt idx="0">
                  <c:v>0.85</c:v>
                </c:pt>
                <c:pt idx="1">
                  <c:v>0.4</c:v>
                </c:pt>
                <c:pt idx="2">
                  <c:v>0.24</c:v>
                </c:pt>
                <c:pt idx="3">
                  <c:v>0.34</c:v>
                </c:pt>
                <c:pt idx="4">
                  <c:v>0.05</c:v>
                </c:pt>
                <c:pt idx="5">
                  <c:v>0.06</c:v>
                </c:pt>
                <c:pt idx="6">
                  <c:v>0.02</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AEABAB"/>
              </a:solidFill>
            </c:spPr>
            <c:extLst>
              <c:ext xmlns:c16="http://schemas.microsoft.com/office/drawing/2014/chart" uri="{C3380CC4-5D6E-409C-BE32-E72D297353CC}">
                <c16:uniqueId val="{0000000C-C76F-4230-900D-40618C09729F}"/>
              </c:ext>
            </c:extLst>
          </c:dPt>
          <c:dPt>
            <c:idx val="4"/>
            <c:invertIfNegative val="0"/>
            <c:bubble3D val="0"/>
            <c:spPr>
              <a:solidFill>
                <a:srgbClr val="AEABAB"/>
              </a:solidFill>
            </c:spPr>
            <c:extLst>
              <c:ext xmlns:c16="http://schemas.microsoft.com/office/drawing/2014/chart" uri="{C3380CC4-5D6E-409C-BE32-E72D297353CC}">
                <c16:uniqueId val="{0000000E-C76F-4230-900D-40618C09729F}"/>
              </c:ext>
            </c:extLst>
          </c:dPt>
          <c:dPt>
            <c:idx val="5"/>
            <c:invertIfNegative val="0"/>
            <c:bubble3D val="0"/>
            <c:spPr>
              <a:solidFill>
                <a:srgbClr val="AEABAB"/>
              </a:solidFill>
            </c:spPr>
            <c:extLst>
              <c:ext xmlns:c16="http://schemas.microsoft.com/office/drawing/2014/chart" uri="{C3380CC4-5D6E-409C-BE32-E72D297353CC}">
                <c16:uniqueId val="{00000010-C76F-4230-900D-40618C09729F}"/>
              </c:ext>
            </c:extLst>
          </c:dPt>
          <c:dPt>
            <c:idx val="6"/>
            <c:invertIfNegative val="1"/>
            <c:bubble3D val="0"/>
            <c:spPr>
              <a:solidFill>
                <a:srgbClr val="AEABAB"/>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8</c:f>
              <c:strCache>
                <c:ptCount val="7"/>
                <c:pt idx="0">
                  <c:v>Nicolas Feu</c:v>
                </c:pt>
                <c:pt idx="1">
                  <c:v>Nicolas Feu</c:v>
                </c:pt>
                <c:pt idx="2">
                  <c:v>Moët &amp; Chan</c:v>
                </c:pt>
                <c:pt idx="3">
                  <c:v>Moët &amp; Chan</c:v>
                </c:pt>
                <c:pt idx="4">
                  <c:v>Canard Duch</c:v>
                </c:pt>
                <c:pt idx="5">
                  <c:v>Piper Heids</c:v>
                </c:pt>
                <c:pt idx="6">
                  <c:v>De Venoge</c:v>
                </c:pt>
              </c:strCache>
            </c:strRef>
          </c:cat>
          <c:val>
            <c:numRef>
              <c:f>Sheet1!$C$2:$C$8</c:f>
              <c:numCache>
                <c:formatCode>General</c:formatCode>
                <c:ptCount val="7"/>
                <c:pt idx="0">
                  <c:v>0.67312695599713435</c:v>
                </c:pt>
                <c:pt idx="1">
                  <c:v>0.79532329967833904</c:v>
                </c:pt>
                <c:pt idx="2">
                  <c:v>0.89732374634904699</c:v>
                </c:pt>
                <c:pt idx="3">
                  <c:v>0.97504154907721885</c:v>
                </c:pt>
                <c:pt idx="4">
                  <c:v>0.99116520145138964</c:v>
                </c:pt>
                <c:pt idx="5">
                  <c:v>0.99919367235833423</c:v>
                </c:pt>
                <c:pt idx="6">
                  <c:v>0.99975346097287188</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102</c:f>
              <c:strCache>
                <c:ptCount val="101"/>
                <c:pt idx="0">
                  <c:v>Dom Perigno</c:v>
                </c:pt>
                <c:pt idx="1">
                  <c:v>Dom Perigno</c:v>
                </c:pt>
                <c:pt idx="2">
                  <c:v>Roederer</c:v>
                </c:pt>
                <c:pt idx="3">
                  <c:v>Malard</c:v>
                </c:pt>
                <c:pt idx="4">
                  <c:v>Dom Perigno</c:v>
                </c:pt>
                <c:pt idx="5">
                  <c:v>Roederer</c:v>
                </c:pt>
                <c:pt idx="6">
                  <c:v>Roederer</c:v>
                </c:pt>
                <c:pt idx="7">
                  <c:v>Ruinart</c:v>
                </c:pt>
                <c:pt idx="8">
                  <c:v>Ruinart</c:v>
                </c:pt>
                <c:pt idx="9">
                  <c:v>Roederer</c:v>
                </c:pt>
                <c:pt idx="10">
                  <c:v>Laurent Per</c:v>
                </c:pt>
                <c:pt idx="11">
                  <c:v>Bollinger</c:v>
                </c:pt>
                <c:pt idx="12">
                  <c:v>Roederer</c:v>
                </c:pt>
                <c:pt idx="13">
                  <c:v>Ruinart</c:v>
                </c:pt>
                <c:pt idx="14">
                  <c:v>Dom Perigno</c:v>
                </c:pt>
                <c:pt idx="15">
                  <c:v>Perrier Jou</c:v>
                </c:pt>
                <c:pt idx="16">
                  <c:v>Pommery</c:v>
                </c:pt>
                <c:pt idx="17">
                  <c:v>Roederer</c:v>
                </c:pt>
                <c:pt idx="18">
                  <c:v>Piper Heids</c:v>
                </c:pt>
                <c:pt idx="19">
                  <c:v>Roederer</c:v>
                </c:pt>
                <c:pt idx="20">
                  <c:v>Piper Heids</c:v>
                </c:pt>
                <c:pt idx="21">
                  <c:v>Bollinger</c:v>
                </c:pt>
                <c:pt idx="22">
                  <c:v>Veuve Clicq</c:v>
                </c:pt>
                <c:pt idx="23">
                  <c:v>Veuve Clicq</c:v>
                </c:pt>
                <c:pt idx="24">
                  <c:v>Dom Perigno</c:v>
                </c:pt>
                <c:pt idx="25">
                  <c:v>All Others</c:v>
                </c:pt>
                <c:pt idx="26">
                  <c:v>Roederer</c:v>
                </c:pt>
                <c:pt idx="27">
                  <c:v>De Venoge</c:v>
                </c:pt>
                <c:pt idx="28">
                  <c:v>De Venoge</c:v>
                </c:pt>
                <c:pt idx="29">
                  <c:v>Dom Perigno</c:v>
                </c:pt>
                <c:pt idx="30">
                  <c:v>Laurent Per</c:v>
                </c:pt>
                <c:pt idx="31">
                  <c:v>All Others</c:v>
                </c:pt>
                <c:pt idx="32">
                  <c:v>Roederer</c:v>
                </c:pt>
                <c:pt idx="33">
                  <c:v>Ruinart</c:v>
                </c:pt>
                <c:pt idx="34">
                  <c:v>Lanson</c:v>
                </c:pt>
                <c:pt idx="35">
                  <c:v>Roederer</c:v>
                </c:pt>
                <c:pt idx="36">
                  <c:v>Veuve Clicq</c:v>
                </c:pt>
                <c:pt idx="37">
                  <c:v>Pommery</c:v>
                </c:pt>
                <c:pt idx="38">
                  <c:v>Pommery</c:v>
                </c:pt>
                <c:pt idx="39">
                  <c:v>All Others</c:v>
                </c:pt>
                <c:pt idx="40">
                  <c:v>Roederer</c:v>
                </c:pt>
                <c:pt idx="41">
                  <c:v>Veuve Clicq</c:v>
                </c:pt>
                <c:pt idx="42">
                  <c:v>Roederer</c:v>
                </c:pt>
                <c:pt idx="43">
                  <c:v>Perrier Jou</c:v>
                </c:pt>
                <c:pt idx="44">
                  <c:v>Dom Perigno</c:v>
                </c:pt>
                <c:pt idx="45">
                  <c:v>Deutz</c:v>
                </c:pt>
                <c:pt idx="46">
                  <c:v>Malard</c:v>
                </c:pt>
                <c:pt idx="47">
                  <c:v>Ruinart</c:v>
                </c:pt>
                <c:pt idx="48">
                  <c:v>Bollinger</c:v>
                </c:pt>
                <c:pt idx="49">
                  <c:v>Dom Perigno</c:v>
                </c:pt>
                <c:pt idx="50">
                  <c:v>Bollinger</c:v>
                </c:pt>
                <c:pt idx="51">
                  <c:v>Laurent Per</c:v>
                </c:pt>
                <c:pt idx="52">
                  <c:v>All Others</c:v>
                </c:pt>
                <c:pt idx="53">
                  <c:v>Pommery</c:v>
                </c:pt>
                <c:pt idx="54">
                  <c:v>De Venoge</c:v>
                </c:pt>
                <c:pt idx="55">
                  <c:v>All Others</c:v>
                </c:pt>
                <c:pt idx="56">
                  <c:v>Nicolas Feu</c:v>
                </c:pt>
                <c:pt idx="57">
                  <c:v>Perrier Jou</c:v>
                </c:pt>
                <c:pt idx="58">
                  <c:v>Bollinger</c:v>
                </c:pt>
                <c:pt idx="59">
                  <c:v>All Others</c:v>
                </c:pt>
                <c:pt idx="60">
                  <c:v>Dom Perigno</c:v>
                </c:pt>
                <c:pt idx="61">
                  <c:v>All Others</c:v>
                </c:pt>
                <c:pt idx="62">
                  <c:v>Roederer</c:v>
                </c:pt>
                <c:pt idx="63">
                  <c:v>Vesselle</c:v>
                </c:pt>
                <c:pt idx="64">
                  <c:v>Roederer</c:v>
                </c:pt>
                <c:pt idx="65">
                  <c:v>Krug</c:v>
                </c:pt>
                <c:pt idx="66">
                  <c:v>Bollinger</c:v>
                </c:pt>
                <c:pt idx="67">
                  <c:v>Pommery</c:v>
                </c:pt>
                <c:pt idx="68">
                  <c:v>Krug</c:v>
                </c:pt>
                <c:pt idx="69">
                  <c:v>Moët &amp; Chan</c:v>
                </c:pt>
                <c:pt idx="70">
                  <c:v>All Others</c:v>
                </c:pt>
                <c:pt idx="71">
                  <c:v>Deutz</c:v>
                </c:pt>
                <c:pt idx="72">
                  <c:v>Veuve Clicq</c:v>
                </c:pt>
                <c:pt idx="73">
                  <c:v>All Others</c:v>
                </c:pt>
                <c:pt idx="74">
                  <c:v>Bollinger</c:v>
                </c:pt>
                <c:pt idx="75">
                  <c:v>Roederer</c:v>
                </c:pt>
                <c:pt idx="76">
                  <c:v>Malard</c:v>
                </c:pt>
                <c:pt idx="77">
                  <c:v>Henriot</c:v>
                </c:pt>
                <c:pt idx="78">
                  <c:v>Roederer</c:v>
                </c:pt>
                <c:pt idx="79">
                  <c:v>De Venoge</c:v>
                </c:pt>
                <c:pt idx="80">
                  <c:v>Krug</c:v>
                </c:pt>
                <c:pt idx="81">
                  <c:v>Roederer</c:v>
                </c:pt>
                <c:pt idx="82">
                  <c:v>Vesselle</c:v>
                </c:pt>
                <c:pt idx="83">
                  <c:v>Ruinart</c:v>
                </c:pt>
                <c:pt idx="84">
                  <c:v>Moët &amp; Chan</c:v>
                </c:pt>
                <c:pt idx="85">
                  <c:v>Bollinger</c:v>
                </c:pt>
                <c:pt idx="86">
                  <c:v>Roederer</c:v>
                </c:pt>
                <c:pt idx="87">
                  <c:v>Laurent Per</c:v>
                </c:pt>
                <c:pt idx="88">
                  <c:v>Laurent Per</c:v>
                </c:pt>
                <c:pt idx="89">
                  <c:v>Piper Heids</c:v>
                </c:pt>
                <c:pt idx="90">
                  <c:v>Roederer</c:v>
                </c:pt>
                <c:pt idx="91">
                  <c:v>Roederer</c:v>
                </c:pt>
                <c:pt idx="92">
                  <c:v>All Others</c:v>
                </c:pt>
                <c:pt idx="93">
                  <c:v>Bollinger</c:v>
                </c:pt>
                <c:pt idx="94">
                  <c:v>Mumm</c:v>
                </c:pt>
                <c:pt idx="95">
                  <c:v>Canard Duch</c:v>
                </c:pt>
                <c:pt idx="96">
                  <c:v>All Others</c:v>
                </c:pt>
                <c:pt idx="97">
                  <c:v>Henriot</c:v>
                </c:pt>
                <c:pt idx="98">
                  <c:v>Vranken</c:v>
                </c:pt>
                <c:pt idx="99">
                  <c:v>Vesselle</c:v>
                </c:pt>
                <c:pt idx="100">
                  <c:v>Vesselle</c:v>
                </c:pt>
              </c:strCache>
            </c:strRef>
          </c:cat>
          <c:val>
            <c:numRef>
              <c:f>Sheet1!$B$2:$B$102</c:f>
              <c:numCache>
                <c:formatCode>General</c:formatCode>
                <c:ptCount val="101"/>
                <c:pt idx="0">
                  <c:v>0.33700000000000002</c:v>
                </c:pt>
                <c:pt idx="1">
                  <c:v>0.33300000000000002</c:v>
                </c:pt>
                <c:pt idx="2">
                  <c:v>0.23</c:v>
                </c:pt>
                <c:pt idx="3">
                  <c:v>0.52500000000000002</c:v>
                </c:pt>
                <c:pt idx="4">
                  <c:v>0.159</c:v>
                </c:pt>
                <c:pt idx="5">
                  <c:v>0.26600000000000001</c:v>
                </c:pt>
                <c:pt idx="6">
                  <c:v>0.18</c:v>
                </c:pt>
                <c:pt idx="7">
                  <c:v>0.27400000000000002</c:v>
                </c:pt>
                <c:pt idx="8">
                  <c:v>0.17</c:v>
                </c:pt>
                <c:pt idx="9">
                  <c:v>0.246</c:v>
                </c:pt>
                <c:pt idx="10">
                  <c:v>0.188</c:v>
                </c:pt>
                <c:pt idx="11">
                  <c:v>0.129</c:v>
                </c:pt>
                <c:pt idx="12">
                  <c:v>9.1999999999999998E-2</c:v>
                </c:pt>
                <c:pt idx="13">
                  <c:v>0.123</c:v>
                </c:pt>
                <c:pt idx="14">
                  <c:v>6.4000000000000001E-2</c:v>
                </c:pt>
                <c:pt idx="15">
                  <c:v>0.104</c:v>
                </c:pt>
                <c:pt idx="16">
                  <c:v>7.6999999999999999E-2</c:v>
                </c:pt>
                <c:pt idx="17">
                  <c:v>5.6000000000000001E-2</c:v>
                </c:pt>
                <c:pt idx="18">
                  <c:v>5.5E-2</c:v>
                </c:pt>
                <c:pt idx="19">
                  <c:v>7.5999999999999998E-2</c:v>
                </c:pt>
                <c:pt idx="20">
                  <c:v>0.06</c:v>
                </c:pt>
                <c:pt idx="21">
                  <c:v>3.7999999999999999E-2</c:v>
                </c:pt>
                <c:pt idx="22">
                  <c:v>2.9000000000000001E-2</c:v>
                </c:pt>
                <c:pt idx="23">
                  <c:v>0.13700000000000001</c:v>
                </c:pt>
                <c:pt idx="24">
                  <c:v>5.1999999999999998E-2</c:v>
                </c:pt>
                <c:pt idx="25">
                  <c:v>3.9E-2</c:v>
                </c:pt>
                <c:pt idx="26">
                  <c:v>2.7E-2</c:v>
                </c:pt>
                <c:pt idx="27">
                  <c:v>7.0999999999999994E-2</c:v>
                </c:pt>
                <c:pt idx="28">
                  <c:v>3.9E-2</c:v>
                </c:pt>
                <c:pt idx="29">
                  <c:v>1.0999999999999999E-2</c:v>
                </c:pt>
                <c:pt idx="30">
                  <c:v>5.7000000000000002E-2</c:v>
                </c:pt>
                <c:pt idx="31">
                  <c:v>4.1000000000000002E-2</c:v>
                </c:pt>
                <c:pt idx="32">
                  <c:v>1.6E-2</c:v>
                </c:pt>
                <c:pt idx="33">
                  <c:v>2.1000000000000001E-2</c:v>
                </c:pt>
                <c:pt idx="34">
                  <c:v>3.5000000000000003E-2</c:v>
                </c:pt>
                <c:pt idx="35">
                  <c:v>2.1999999999999999E-2</c:v>
                </c:pt>
                <c:pt idx="36">
                  <c:v>0.158</c:v>
                </c:pt>
                <c:pt idx="37">
                  <c:v>1.2E-2</c:v>
                </c:pt>
                <c:pt idx="38">
                  <c:v>2.9000000000000001E-2</c:v>
                </c:pt>
                <c:pt idx="39">
                  <c:v>4.3999999999999997E-2</c:v>
                </c:pt>
                <c:pt idx="40">
                  <c:v>3.7999999999999999E-2</c:v>
                </c:pt>
                <c:pt idx="41">
                  <c:v>2.3E-2</c:v>
                </c:pt>
                <c:pt idx="42">
                  <c:v>1.6E-2</c:v>
                </c:pt>
                <c:pt idx="43">
                  <c:v>2.7E-2</c:v>
                </c:pt>
                <c:pt idx="44">
                  <c:v>2.5000000000000001E-2</c:v>
                </c:pt>
                <c:pt idx="45">
                  <c:v>3.2000000000000001E-2</c:v>
                </c:pt>
                <c:pt idx="46">
                  <c:v>2.4E-2</c:v>
                </c:pt>
                <c:pt idx="47">
                  <c:v>1.2999999999999999E-2</c:v>
                </c:pt>
                <c:pt idx="48">
                  <c:v>5.0000000000000001E-3</c:v>
                </c:pt>
                <c:pt idx="49">
                  <c:v>1.0999999999999999E-2</c:v>
                </c:pt>
                <c:pt idx="50">
                  <c:v>4.5999999999999999E-2</c:v>
                </c:pt>
                <c:pt idx="51">
                  <c:v>1.4E-2</c:v>
                </c:pt>
                <c:pt idx="52">
                  <c:v>2.8000000000000001E-2</c:v>
                </c:pt>
                <c:pt idx="53">
                  <c:v>1.2E-2</c:v>
                </c:pt>
                <c:pt idx="54">
                  <c:v>0.01</c:v>
                </c:pt>
                <c:pt idx="55">
                  <c:v>0.01</c:v>
                </c:pt>
                <c:pt idx="56">
                  <c:v>1.2E-2</c:v>
                </c:pt>
                <c:pt idx="57">
                  <c:v>1.9E-2</c:v>
                </c:pt>
                <c:pt idx="58">
                  <c:v>0.01</c:v>
                </c:pt>
                <c:pt idx="59">
                  <c:v>1.2E-2</c:v>
                </c:pt>
                <c:pt idx="60">
                  <c:v>0.01</c:v>
                </c:pt>
                <c:pt idx="61">
                  <c:v>2.1999999999999999E-2</c:v>
                </c:pt>
                <c:pt idx="62">
                  <c:v>0.01</c:v>
                </c:pt>
                <c:pt idx="63">
                  <c:v>4.5999999999999999E-2</c:v>
                </c:pt>
                <c:pt idx="64">
                  <c:v>5.0000000000000001E-3</c:v>
                </c:pt>
                <c:pt idx="65">
                  <c:v>1.9E-2</c:v>
                </c:pt>
                <c:pt idx="66">
                  <c:v>1.2E-2</c:v>
                </c:pt>
                <c:pt idx="67">
                  <c:v>1.2999999999999999E-2</c:v>
                </c:pt>
                <c:pt idx="68">
                  <c:v>1.4999999999999999E-2</c:v>
                </c:pt>
                <c:pt idx="69">
                  <c:v>1.9E-2</c:v>
                </c:pt>
                <c:pt idx="70">
                  <c:v>2E-3</c:v>
                </c:pt>
                <c:pt idx="71">
                  <c:v>1.0999999999999999E-2</c:v>
                </c:pt>
                <c:pt idx="72">
                  <c:v>1.2E-2</c:v>
                </c:pt>
                <c:pt idx="73">
                  <c:v>8.9999999999999993E-3</c:v>
                </c:pt>
                <c:pt idx="74">
                  <c:v>3.0000000000000001E-3</c:v>
                </c:pt>
                <c:pt idx="75">
                  <c:v>8.0000000000000002E-3</c:v>
                </c:pt>
                <c:pt idx="76">
                  <c:v>1.4E-2</c:v>
                </c:pt>
                <c:pt idx="77">
                  <c:v>1.9E-2</c:v>
                </c:pt>
                <c:pt idx="78">
                  <c:v>8.9999999999999993E-3</c:v>
                </c:pt>
                <c:pt idx="79">
                  <c:v>4.0000000000000001E-3</c:v>
                </c:pt>
                <c:pt idx="80">
                  <c:v>5.0000000000000001E-3</c:v>
                </c:pt>
                <c:pt idx="81">
                  <c:v>7.0000000000000001E-3</c:v>
                </c:pt>
                <c:pt idx="82">
                  <c:v>1.6E-2</c:v>
                </c:pt>
                <c:pt idx="83">
                  <c:v>5.0000000000000001E-3</c:v>
                </c:pt>
                <c:pt idx="84">
                  <c:v>2.1999999999999999E-2</c:v>
                </c:pt>
                <c:pt idx="85">
                  <c:v>6.0000000000000001E-3</c:v>
                </c:pt>
                <c:pt idx="86">
                  <c:v>7.0000000000000001E-3</c:v>
                </c:pt>
                <c:pt idx="87">
                  <c:v>3.0000000000000001E-3</c:v>
                </c:pt>
                <c:pt idx="88">
                  <c:v>5.0000000000000001E-3</c:v>
                </c:pt>
                <c:pt idx="89">
                  <c:v>8.0000000000000002E-3</c:v>
                </c:pt>
                <c:pt idx="90">
                  <c:v>4.0000000000000001E-3</c:v>
                </c:pt>
                <c:pt idx="91">
                  <c:v>5.0000000000000001E-3</c:v>
                </c:pt>
                <c:pt idx="92">
                  <c:v>2E-3</c:v>
                </c:pt>
                <c:pt idx="93">
                  <c:v>2E-3</c:v>
                </c:pt>
                <c:pt idx="94">
                  <c:v>5.0000000000000001E-3</c:v>
                </c:pt>
                <c:pt idx="95">
                  <c:v>8.0000000000000002E-3</c:v>
                </c:pt>
                <c:pt idx="96">
                  <c:v>2.1000000000000001E-2</c:v>
                </c:pt>
                <c:pt idx="97">
                  <c:v>1E-3</c:v>
                </c:pt>
                <c:pt idx="98">
                  <c:v>3.0000000000000001E-3</c:v>
                </c:pt>
                <c:pt idx="99">
                  <c:v>1E-3</c:v>
                </c:pt>
                <c:pt idx="100">
                  <c:v>1E-3</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7ECAC4"/>
              </a:solidFill>
            </c:spPr>
            <c:extLst>
              <c:ext xmlns:c16="http://schemas.microsoft.com/office/drawing/2014/chart" uri="{C3380CC4-5D6E-409C-BE32-E72D297353CC}">
                <c16:uniqueId val="{00000051-2993-41DE-A2CB-63102DE87051}"/>
              </c:ext>
            </c:extLst>
          </c:dPt>
          <c:dPt>
            <c:idx val="13"/>
            <c:invertIfNegative val="1"/>
            <c:bubble3D val="0"/>
            <c:spPr>
              <a:solidFill>
                <a:srgbClr val="7ECAC4"/>
              </a:solidFill>
            </c:spPr>
            <c:extLst>
              <c:ext xmlns:c16="http://schemas.microsoft.com/office/drawing/2014/chart" uri="{C3380CC4-5D6E-409C-BE32-E72D297353CC}">
                <c16:uniqueId val="{00000053-2993-41DE-A2CB-63102DE87051}"/>
              </c:ext>
            </c:extLst>
          </c:dPt>
          <c:dPt>
            <c:idx val="14"/>
            <c:invertIfNegative val="1"/>
            <c:bubble3D val="0"/>
            <c:spPr>
              <a:solidFill>
                <a:srgbClr val="7ECAC4"/>
              </a:solidFill>
            </c:spPr>
            <c:extLst>
              <c:ext xmlns:c16="http://schemas.microsoft.com/office/drawing/2014/chart" uri="{C3380CC4-5D6E-409C-BE32-E72D297353CC}">
                <c16:uniqueId val="{00000055-2993-41DE-A2CB-63102DE87051}"/>
              </c:ext>
            </c:extLst>
          </c:dPt>
          <c:dPt>
            <c:idx val="15"/>
            <c:invertIfNegative val="1"/>
            <c:bubble3D val="0"/>
            <c:spPr>
              <a:solidFill>
                <a:srgbClr val="7ECAC4"/>
              </a:solidFill>
            </c:spPr>
            <c:extLst>
              <c:ext xmlns:c16="http://schemas.microsoft.com/office/drawing/2014/chart" uri="{C3380CC4-5D6E-409C-BE32-E72D297353CC}">
                <c16:uniqueId val="{00000057-2993-41DE-A2CB-63102DE87051}"/>
              </c:ext>
            </c:extLst>
          </c:dPt>
          <c:dPt>
            <c:idx val="16"/>
            <c:invertIfNegative val="1"/>
            <c:bubble3D val="0"/>
            <c:spPr>
              <a:solidFill>
                <a:srgbClr val="7ECAC4"/>
              </a:solidFill>
            </c:spPr>
            <c:extLst>
              <c:ext xmlns:c16="http://schemas.microsoft.com/office/drawing/2014/chart" uri="{C3380CC4-5D6E-409C-BE32-E72D297353CC}">
                <c16:uniqueId val="{00000059-2993-41DE-A2CB-63102DE87051}"/>
              </c:ext>
            </c:extLst>
          </c:dPt>
          <c:dPt>
            <c:idx val="17"/>
            <c:invertIfNegative val="1"/>
            <c:bubble3D val="0"/>
            <c:spPr>
              <a:solidFill>
                <a:srgbClr val="7ECAC4"/>
              </a:solidFill>
            </c:spPr>
            <c:extLst>
              <c:ext xmlns:c16="http://schemas.microsoft.com/office/drawing/2014/chart" uri="{C3380CC4-5D6E-409C-BE32-E72D297353CC}">
                <c16:uniqueId val="{0000005B-2993-41DE-A2CB-63102DE87051}"/>
              </c:ext>
            </c:extLst>
          </c:dPt>
          <c:dPt>
            <c:idx val="18"/>
            <c:invertIfNegative val="1"/>
            <c:bubble3D val="0"/>
            <c:spPr>
              <a:solidFill>
                <a:srgbClr val="7ECAC4"/>
              </a:solidFill>
            </c:spPr>
            <c:extLst>
              <c:ext xmlns:c16="http://schemas.microsoft.com/office/drawing/2014/chart" uri="{C3380CC4-5D6E-409C-BE32-E72D297353CC}">
                <c16:uniqueId val="{0000005D-2993-41DE-A2CB-63102DE87051}"/>
              </c:ext>
            </c:extLst>
          </c:dPt>
          <c:dPt>
            <c:idx val="19"/>
            <c:invertIfNegative val="1"/>
            <c:bubble3D val="0"/>
            <c:spPr>
              <a:solidFill>
                <a:srgbClr val="7ECAC4"/>
              </a:solidFill>
            </c:spPr>
            <c:extLst>
              <c:ext xmlns:c16="http://schemas.microsoft.com/office/drawing/2014/chart" uri="{C3380CC4-5D6E-409C-BE32-E72D297353CC}">
                <c16:uniqueId val="{0000005F-2993-41DE-A2CB-63102DE87051}"/>
              </c:ext>
            </c:extLst>
          </c:dPt>
          <c:dPt>
            <c:idx val="20"/>
            <c:invertIfNegative val="1"/>
            <c:bubble3D val="0"/>
            <c:spPr>
              <a:solidFill>
                <a:srgbClr val="7ECAC4"/>
              </a:solidFill>
            </c:spPr>
            <c:extLst>
              <c:ext xmlns:c16="http://schemas.microsoft.com/office/drawing/2014/chart" uri="{C3380CC4-5D6E-409C-BE32-E72D297353CC}">
                <c16:uniqueId val="{00000061-2993-41DE-A2CB-63102DE87051}"/>
              </c:ext>
            </c:extLst>
          </c:dPt>
          <c:dPt>
            <c:idx val="21"/>
            <c:invertIfNegative val="1"/>
            <c:bubble3D val="0"/>
            <c:spPr>
              <a:solidFill>
                <a:srgbClr val="7ECAC4"/>
              </a:solidFill>
            </c:spPr>
            <c:extLst>
              <c:ext xmlns:c16="http://schemas.microsoft.com/office/drawing/2014/chart" uri="{C3380CC4-5D6E-409C-BE32-E72D297353CC}">
                <c16:uniqueId val="{00000063-2993-41DE-A2CB-63102DE87051}"/>
              </c:ext>
            </c:extLst>
          </c:dPt>
          <c:dPt>
            <c:idx val="22"/>
            <c:invertIfNegative val="1"/>
            <c:bubble3D val="0"/>
            <c:spPr>
              <a:solidFill>
                <a:srgbClr val="7ECAC4"/>
              </a:solidFill>
            </c:spPr>
            <c:extLst>
              <c:ext xmlns:c16="http://schemas.microsoft.com/office/drawing/2014/chart" uri="{C3380CC4-5D6E-409C-BE32-E72D297353CC}">
                <c16:uniqueId val="{00000065-2993-41DE-A2CB-63102DE87051}"/>
              </c:ext>
            </c:extLst>
          </c:dPt>
          <c:dPt>
            <c:idx val="23"/>
            <c:invertIfNegative val="1"/>
            <c:bubble3D val="0"/>
            <c:spPr>
              <a:solidFill>
                <a:srgbClr val="7ECAC4"/>
              </a:solidFill>
            </c:spPr>
            <c:extLst>
              <c:ext xmlns:c16="http://schemas.microsoft.com/office/drawing/2014/chart" uri="{C3380CC4-5D6E-409C-BE32-E72D297353CC}">
                <c16:uniqueId val="{00000067-2993-41DE-A2CB-63102DE87051}"/>
              </c:ext>
            </c:extLst>
          </c:dPt>
          <c:dPt>
            <c:idx val="24"/>
            <c:invertIfNegative val="1"/>
            <c:bubble3D val="0"/>
            <c:spPr>
              <a:solidFill>
                <a:srgbClr val="7ECAC4"/>
              </a:solidFill>
            </c:spPr>
            <c:extLst>
              <c:ext xmlns:c16="http://schemas.microsoft.com/office/drawing/2014/chart" uri="{C3380CC4-5D6E-409C-BE32-E72D297353CC}">
                <c16:uniqueId val="{00000069-2993-41DE-A2CB-63102DE87051}"/>
              </c:ext>
            </c:extLst>
          </c:dPt>
          <c:dPt>
            <c:idx val="25"/>
            <c:invertIfNegative val="1"/>
            <c:bubble3D val="0"/>
            <c:spPr>
              <a:solidFill>
                <a:srgbClr val="7ECAC4"/>
              </a:solidFill>
            </c:spPr>
            <c:extLst>
              <c:ext xmlns:c16="http://schemas.microsoft.com/office/drawing/2014/chart" uri="{C3380CC4-5D6E-409C-BE32-E72D297353CC}">
                <c16:uniqueId val="{0000006B-2993-41DE-A2CB-63102DE87051}"/>
              </c:ext>
            </c:extLst>
          </c:dPt>
          <c:dPt>
            <c:idx val="26"/>
            <c:invertIfNegative val="1"/>
            <c:bubble3D val="0"/>
            <c:spPr>
              <a:solidFill>
                <a:srgbClr val="AEABAB"/>
              </a:solidFill>
            </c:spPr>
            <c:extLst>
              <c:ext xmlns:c16="http://schemas.microsoft.com/office/drawing/2014/chart" uri="{C3380CC4-5D6E-409C-BE32-E72D297353CC}">
                <c16:uniqueId val="{0000006D-2993-41DE-A2CB-63102DE87051}"/>
              </c:ext>
            </c:extLst>
          </c:dPt>
          <c:dPt>
            <c:idx val="27"/>
            <c:invertIfNegative val="1"/>
            <c:bubble3D val="0"/>
            <c:spPr>
              <a:solidFill>
                <a:srgbClr val="AEABAB"/>
              </a:solidFill>
            </c:spPr>
            <c:extLst>
              <c:ext xmlns:c16="http://schemas.microsoft.com/office/drawing/2014/chart" uri="{C3380CC4-5D6E-409C-BE32-E72D297353CC}">
                <c16:uniqueId val="{0000006F-2993-41DE-A2CB-63102DE87051}"/>
              </c:ext>
            </c:extLst>
          </c:dPt>
          <c:dPt>
            <c:idx val="28"/>
            <c:invertIfNegative val="1"/>
            <c:bubble3D val="0"/>
            <c:spPr>
              <a:solidFill>
                <a:srgbClr val="AEABAB"/>
              </a:solidFill>
            </c:spPr>
            <c:extLst>
              <c:ext xmlns:c16="http://schemas.microsoft.com/office/drawing/2014/chart" uri="{C3380CC4-5D6E-409C-BE32-E72D297353CC}">
                <c16:uniqueId val="{00000071-2993-41DE-A2CB-63102DE87051}"/>
              </c:ext>
            </c:extLst>
          </c:dPt>
          <c:dPt>
            <c:idx val="29"/>
            <c:invertIfNegative val="1"/>
            <c:bubble3D val="0"/>
            <c:spPr>
              <a:solidFill>
                <a:srgbClr val="AEABAB"/>
              </a:solidFill>
            </c:spPr>
            <c:extLst>
              <c:ext xmlns:c16="http://schemas.microsoft.com/office/drawing/2014/chart" uri="{C3380CC4-5D6E-409C-BE32-E72D297353CC}">
                <c16:uniqueId val="{00000073-2993-41DE-A2CB-63102DE87051}"/>
              </c:ext>
            </c:extLst>
          </c:dPt>
          <c:dPt>
            <c:idx val="30"/>
            <c:invertIfNegative val="1"/>
            <c:bubble3D val="0"/>
            <c:spPr>
              <a:solidFill>
                <a:srgbClr val="AEABAB"/>
              </a:solidFill>
            </c:spPr>
            <c:extLst>
              <c:ext xmlns:c16="http://schemas.microsoft.com/office/drawing/2014/chart" uri="{C3380CC4-5D6E-409C-BE32-E72D297353CC}">
                <c16:uniqueId val="{00000075-2993-41DE-A2CB-63102DE87051}"/>
              </c:ext>
            </c:extLst>
          </c:dPt>
          <c:dPt>
            <c:idx val="31"/>
            <c:invertIfNegative val="1"/>
            <c:bubble3D val="0"/>
            <c:spPr>
              <a:solidFill>
                <a:srgbClr val="AEABAB"/>
              </a:solidFill>
            </c:spPr>
            <c:extLst>
              <c:ext xmlns:c16="http://schemas.microsoft.com/office/drawing/2014/chart" uri="{C3380CC4-5D6E-409C-BE32-E72D297353CC}">
                <c16:uniqueId val="{00000077-2993-41DE-A2CB-63102DE87051}"/>
              </c:ext>
            </c:extLst>
          </c:dPt>
          <c:dPt>
            <c:idx val="32"/>
            <c:invertIfNegative val="1"/>
            <c:bubble3D val="0"/>
            <c:spPr>
              <a:solidFill>
                <a:srgbClr val="AEABAB"/>
              </a:solidFill>
            </c:spPr>
            <c:extLst>
              <c:ext xmlns:c16="http://schemas.microsoft.com/office/drawing/2014/chart" uri="{C3380CC4-5D6E-409C-BE32-E72D297353CC}">
                <c16:uniqueId val="{00000079-2993-41DE-A2CB-63102DE87051}"/>
              </c:ext>
            </c:extLst>
          </c:dPt>
          <c:dPt>
            <c:idx val="33"/>
            <c:invertIfNegative val="1"/>
            <c:bubble3D val="0"/>
            <c:spPr>
              <a:solidFill>
                <a:srgbClr val="AEABAB"/>
              </a:solidFill>
            </c:spPr>
            <c:extLst>
              <c:ext xmlns:c16="http://schemas.microsoft.com/office/drawing/2014/chart" uri="{C3380CC4-5D6E-409C-BE32-E72D297353CC}">
                <c16:uniqueId val="{0000007B-2993-41DE-A2CB-63102DE87051}"/>
              </c:ext>
            </c:extLst>
          </c:dPt>
          <c:dPt>
            <c:idx val="34"/>
            <c:invertIfNegative val="1"/>
            <c:bubble3D val="0"/>
            <c:spPr>
              <a:solidFill>
                <a:srgbClr val="AEABAB"/>
              </a:solidFill>
            </c:spPr>
            <c:extLst>
              <c:ext xmlns:c16="http://schemas.microsoft.com/office/drawing/2014/chart" uri="{C3380CC4-5D6E-409C-BE32-E72D297353CC}">
                <c16:uniqueId val="{0000007D-2993-41DE-A2CB-63102DE87051}"/>
              </c:ext>
            </c:extLst>
          </c:dPt>
          <c:dPt>
            <c:idx val="35"/>
            <c:invertIfNegative val="1"/>
            <c:bubble3D val="0"/>
            <c:spPr>
              <a:solidFill>
                <a:srgbClr val="AEABAB"/>
              </a:solidFill>
            </c:spPr>
            <c:extLst>
              <c:ext xmlns:c16="http://schemas.microsoft.com/office/drawing/2014/chart" uri="{C3380CC4-5D6E-409C-BE32-E72D297353CC}">
                <c16:uniqueId val="{0000007F-2993-41DE-A2CB-63102DE87051}"/>
              </c:ext>
            </c:extLst>
          </c:dPt>
          <c:dPt>
            <c:idx val="36"/>
            <c:invertIfNegative val="1"/>
            <c:bubble3D val="0"/>
            <c:spPr>
              <a:solidFill>
                <a:srgbClr val="AEABAB"/>
              </a:solidFill>
            </c:spPr>
            <c:extLst>
              <c:ext xmlns:c16="http://schemas.microsoft.com/office/drawing/2014/chart" uri="{C3380CC4-5D6E-409C-BE32-E72D297353CC}">
                <c16:uniqueId val="{00000081-2993-41DE-A2CB-63102DE87051}"/>
              </c:ext>
            </c:extLst>
          </c:dPt>
          <c:dPt>
            <c:idx val="37"/>
            <c:invertIfNegative val="1"/>
            <c:bubble3D val="0"/>
            <c:spPr>
              <a:solidFill>
                <a:srgbClr val="AEABAB"/>
              </a:solidFill>
            </c:spPr>
            <c:extLst>
              <c:ext xmlns:c16="http://schemas.microsoft.com/office/drawing/2014/chart" uri="{C3380CC4-5D6E-409C-BE32-E72D297353CC}">
                <c16:uniqueId val="{00000083-2993-41DE-A2CB-63102DE87051}"/>
              </c:ext>
            </c:extLst>
          </c:dPt>
          <c:dPt>
            <c:idx val="38"/>
            <c:invertIfNegative val="1"/>
            <c:bubble3D val="0"/>
            <c:spPr>
              <a:solidFill>
                <a:srgbClr val="AEABAB"/>
              </a:solidFill>
            </c:spPr>
            <c:extLst>
              <c:ext xmlns:c16="http://schemas.microsoft.com/office/drawing/2014/chart" uri="{C3380CC4-5D6E-409C-BE32-E72D297353CC}">
                <c16:uniqueId val="{00000085-2993-41DE-A2CB-63102DE87051}"/>
              </c:ext>
            </c:extLst>
          </c:dPt>
          <c:dPt>
            <c:idx val="39"/>
            <c:invertIfNegative val="1"/>
            <c:bubble3D val="0"/>
            <c:spPr>
              <a:solidFill>
                <a:srgbClr val="AEABAB"/>
              </a:solidFill>
            </c:spPr>
            <c:extLst>
              <c:ext xmlns:c16="http://schemas.microsoft.com/office/drawing/2014/chart" uri="{C3380CC4-5D6E-409C-BE32-E72D297353CC}">
                <c16:uniqueId val="{00000087-2993-41DE-A2CB-63102DE87051}"/>
              </c:ext>
            </c:extLst>
          </c:dPt>
          <c:dPt>
            <c:idx val="40"/>
            <c:invertIfNegative val="1"/>
            <c:bubble3D val="0"/>
            <c:spPr>
              <a:solidFill>
                <a:srgbClr val="AEABAB"/>
              </a:solidFill>
            </c:spPr>
            <c:extLst>
              <c:ext xmlns:c16="http://schemas.microsoft.com/office/drawing/2014/chart" uri="{C3380CC4-5D6E-409C-BE32-E72D297353CC}">
                <c16:uniqueId val="{00000089-2993-41DE-A2CB-63102DE87051}"/>
              </c:ext>
            </c:extLst>
          </c:dPt>
          <c:dPt>
            <c:idx val="41"/>
            <c:invertIfNegative val="1"/>
            <c:bubble3D val="0"/>
            <c:spPr>
              <a:solidFill>
                <a:srgbClr val="AEABAB"/>
              </a:solidFill>
            </c:spPr>
            <c:extLst>
              <c:ext xmlns:c16="http://schemas.microsoft.com/office/drawing/2014/chart" uri="{C3380CC4-5D6E-409C-BE32-E72D297353CC}">
                <c16:uniqueId val="{0000008B-2993-41DE-A2CB-63102DE87051}"/>
              </c:ext>
            </c:extLst>
          </c:dPt>
          <c:dPt>
            <c:idx val="42"/>
            <c:invertIfNegative val="1"/>
            <c:bubble3D val="0"/>
            <c:spPr>
              <a:solidFill>
                <a:srgbClr val="AEABAB"/>
              </a:solidFill>
            </c:spPr>
            <c:extLst>
              <c:ext xmlns:c16="http://schemas.microsoft.com/office/drawing/2014/chart" uri="{C3380CC4-5D6E-409C-BE32-E72D297353CC}">
                <c16:uniqueId val="{0000008D-2993-41DE-A2CB-63102DE87051}"/>
              </c:ext>
            </c:extLst>
          </c:dPt>
          <c:dPt>
            <c:idx val="43"/>
            <c:invertIfNegative val="1"/>
            <c:bubble3D val="0"/>
            <c:spPr>
              <a:solidFill>
                <a:srgbClr val="AEABAB"/>
              </a:solidFill>
            </c:spPr>
            <c:extLst>
              <c:ext xmlns:c16="http://schemas.microsoft.com/office/drawing/2014/chart" uri="{C3380CC4-5D6E-409C-BE32-E72D297353CC}">
                <c16:uniqueId val="{0000008F-2993-41DE-A2CB-63102DE87051}"/>
              </c:ext>
            </c:extLst>
          </c:dPt>
          <c:dPt>
            <c:idx val="44"/>
            <c:invertIfNegative val="1"/>
            <c:bubble3D val="0"/>
            <c:spPr>
              <a:solidFill>
                <a:srgbClr val="AEABAB"/>
              </a:solidFill>
            </c:spPr>
            <c:extLst>
              <c:ext xmlns:c16="http://schemas.microsoft.com/office/drawing/2014/chart" uri="{C3380CC4-5D6E-409C-BE32-E72D297353CC}">
                <c16:uniqueId val="{00000091-2993-41DE-A2CB-63102DE87051}"/>
              </c:ext>
            </c:extLst>
          </c:dPt>
          <c:dPt>
            <c:idx val="45"/>
            <c:invertIfNegative val="1"/>
            <c:bubble3D val="0"/>
            <c:spPr>
              <a:solidFill>
                <a:srgbClr val="AEABAB"/>
              </a:solidFill>
            </c:spPr>
            <c:extLst>
              <c:ext xmlns:c16="http://schemas.microsoft.com/office/drawing/2014/chart" uri="{C3380CC4-5D6E-409C-BE32-E72D297353CC}">
                <c16:uniqueId val="{00000093-2993-41DE-A2CB-63102DE87051}"/>
              </c:ext>
            </c:extLst>
          </c:dPt>
          <c:dPt>
            <c:idx val="46"/>
            <c:invertIfNegative val="1"/>
            <c:bubble3D val="0"/>
            <c:spPr>
              <a:solidFill>
                <a:srgbClr val="AEABAB"/>
              </a:solidFill>
            </c:spPr>
            <c:extLst>
              <c:ext xmlns:c16="http://schemas.microsoft.com/office/drawing/2014/chart" uri="{C3380CC4-5D6E-409C-BE32-E72D297353CC}">
                <c16:uniqueId val="{00000095-2993-41DE-A2CB-63102DE87051}"/>
              </c:ext>
            </c:extLst>
          </c:dPt>
          <c:dPt>
            <c:idx val="47"/>
            <c:invertIfNegative val="1"/>
            <c:bubble3D val="0"/>
            <c:spPr>
              <a:solidFill>
                <a:srgbClr val="AEABAB"/>
              </a:solidFill>
            </c:spPr>
            <c:extLst>
              <c:ext xmlns:c16="http://schemas.microsoft.com/office/drawing/2014/chart" uri="{C3380CC4-5D6E-409C-BE32-E72D297353CC}">
                <c16:uniqueId val="{00000097-2993-41DE-A2CB-63102DE87051}"/>
              </c:ext>
            </c:extLst>
          </c:dPt>
          <c:dPt>
            <c:idx val="48"/>
            <c:invertIfNegative val="1"/>
            <c:bubble3D val="0"/>
            <c:spPr>
              <a:solidFill>
                <a:srgbClr val="AEABAB"/>
              </a:solidFill>
            </c:spPr>
            <c:extLst>
              <c:ext xmlns:c16="http://schemas.microsoft.com/office/drawing/2014/chart" uri="{C3380CC4-5D6E-409C-BE32-E72D297353CC}">
                <c16:uniqueId val="{00000099-2993-41DE-A2CB-63102DE87051}"/>
              </c:ext>
            </c:extLst>
          </c:dPt>
          <c:dPt>
            <c:idx val="49"/>
            <c:invertIfNegative val="1"/>
            <c:bubble3D val="0"/>
            <c:spPr>
              <a:solidFill>
                <a:srgbClr val="AEABAB"/>
              </a:solidFill>
            </c:spPr>
            <c:extLst>
              <c:ext xmlns:c16="http://schemas.microsoft.com/office/drawing/2014/chart" uri="{C3380CC4-5D6E-409C-BE32-E72D297353CC}">
                <c16:uniqueId val="{0000009B-2993-41DE-A2CB-63102DE87051}"/>
              </c:ext>
            </c:extLst>
          </c:dPt>
          <c:dPt>
            <c:idx val="50"/>
            <c:invertIfNegative val="1"/>
            <c:bubble3D val="0"/>
            <c:spPr>
              <a:solidFill>
                <a:srgbClr val="AEABAB"/>
              </a:solidFill>
            </c:spPr>
            <c:extLst>
              <c:ext xmlns:c16="http://schemas.microsoft.com/office/drawing/2014/chart" uri="{C3380CC4-5D6E-409C-BE32-E72D297353CC}">
                <c16:uniqueId val="{0000009D-2993-41DE-A2CB-63102DE87051}"/>
              </c:ext>
            </c:extLst>
          </c:dPt>
          <c:dPt>
            <c:idx val="51"/>
            <c:invertIfNegative val="1"/>
            <c:bubble3D val="0"/>
            <c:spPr>
              <a:solidFill>
                <a:srgbClr val="AEABAB"/>
              </a:solidFill>
            </c:spPr>
            <c:extLst>
              <c:ext xmlns:c16="http://schemas.microsoft.com/office/drawing/2014/chart" uri="{C3380CC4-5D6E-409C-BE32-E72D297353CC}">
                <c16:uniqueId val="{0000009F-2993-41DE-A2CB-63102DE87051}"/>
              </c:ext>
            </c:extLst>
          </c:dPt>
          <c:dPt>
            <c:idx val="52"/>
            <c:invertIfNegative val="1"/>
            <c:bubble3D val="0"/>
            <c:spPr>
              <a:solidFill>
                <a:srgbClr val="AEABAB"/>
              </a:solidFill>
            </c:spPr>
            <c:extLst>
              <c:ext xmlns:c16="http://schemas.microsoft.com/office/drawing/2014/chart" uri="{C3380CC4-5D6E-409C-BE32-E72D297353CC}">
                <c16:uniqueId val="{000000A1-2993-41DE-A2CB-63102DE87051}"/>
              </c:ext>
            </c:extLst>
          </c:dPt>
          <c:dPt>
            <c:idx val="53"/>
            <c:invertIfNegative val="1"/>
            <c:bubble3D val="0"/>
            <c:spPr>
              <a:solidFill>
                <a:srgbClr val="AEABAB"/>
              </a:solidFill>
            </c:spPr>
            <c:extLst>
              <c:ext xmlns:c16="http://schemas.microsoft.com/office/drawing/2014/chart" uri="{C3380CC4-5D6E-409C-BE32-E72D297353CC}">
                <c16:uniqueId val="{000000A3-2993-41DE-A2CB-63102DE87051}"/>
              </c:ext>
            </c:extLst>
          </c:dPt>
          <c:dPt>
            <c:idx val="54"/>
            <c:invertIfNegative val="0"/>
            <c:bubble3D val="0"/>
            <c:spPr>
              <a:solidFill>
                <a:srgbClr val="AEABAB"/>
              </a:solidFill>
            </c:spPr>
            <c:extLst>
              <c:ext xmlns:c16="http://schemas.microsoft.com/office/drawing/2014/chart" uri="{C3380CC4-5D6E-409C-BE32-E72D297353CC}">
                <c16:uniqueId val="{00000072-C76F-4230-900D-40618C09729F}"/>
              </c:ext>
            </c:extLst>
          </c:dPt>
          <c:dPt>
            <c:idx val="55"/>
            <c:invertIfNegative val="0"/>
            <c:bubble3D val="0"/>
            <c:spPr>
              <a:solidFill>
                <a:srgbClr val="AEABAB"/>
              </a:solidFill>
            </c:spPr>
            <c:extLst>
              <c:ext xmlns:c16="http://schemas.microsoft.com/office/drawing/2014/chart" uri="{C3380CC4-5D6E-409C-BE32-E72D297353CC}">
                <c16:uniqueId val="{00000074-C76F-4230-900D-40618C09729F}"/>
              </c:ext>
            </c:extLst>
          </c:dPt>
          <c:dPt>
            <c:idx val="56"/>
            <c:invertIfNegative val="0"/>
            <c:bubble3D val="0"/>
            <c:spPr>
              <a:solidFill>
                <a:srgbClr val="AEABAB"/>
              </a:solidFill>
            </c:spPr>
            <c:extLst>
              <c:ext xmlns:c16="http://schemas.microsoft.com/office/drawing/2014/chart" uri="{C3380CC4-5D6E-409C-BE32-E72D297353CC}">
                <c16:uniqueId val="{00000076-C76F-4230-900D-40618C09729F}"/>
              </c:ext>
            </c:extLst>
          </c:dPt>
          <c:dPt>
            <c:idx val="57"/>
            <c:invertIfNegative val="0"/>
            <c:bubble3D val="0"/>
            <c:spPr>
              <a:solidFill>
                <a:srgbClr val="AEABAB"/>
              </a:solidFill>
            </c:spPr>
            <c:extLst>
              <c:ext xmlns:c16="http://schemas.microsoft.com/office/drawing/2014/chart" uri="{C3380CC4-5D6E-409C-BE32-E72D297353CC}">
                <c16:uniqueId val="{00000078-C76F-4230-900D-40618C09729F}"/>
              </c:ext>
            </c:extLst>
          </c:dPt>
          <c:dPt>
            <c:idx val="58"/>
            <c:invertIfNegative val="0"/>
            <c:bubble3D val="0"/>
            <c:spPr>
              <a:solidFill>
                <a:srgbClr val="AEABAB"/>
              </a:solidFill>
            </c:spPr>
            <c:extLst>
              <c:ext xmlns:c16="http://schemas.microsoft.com/office/drawing/2014/chart" uri="{C3380CC4-5D6E-409C-BE32-E72D297353CC}">
                <c16:uniqueId val="{0000007A-C76F-4230-900D-40618C09729F}"/>
              </c:ext>
            </c:extLst>
          </c:dPt>
          <c:dPt>
            <c:idx val="59"/>
            <c:invertIfNegative val="0"/>
            <c:bubble3D val="0"/>
            <c:spPr>
              <a:solidFill>
                <a:srgbClr val="AEABAB"/>
              </a:solidFill>
            </c:spPr>
            <c:extLst>
              <c:ext xmlns:c16="http://schemas.microsoft.com/office/drawing/2014/chart" uri="{C3380CC4-5D6E-409C-BE32-E72D297353CC}">
                <c16:uniqueId val="{0000007C-C76F-4230-900D-40618C09729F}"/>
              </c:ext>
            </c:extLst>
          </c:dPt>
          <c:dPt>
            <c:idx val="60"/>
            <c:invertIfNegative val="0"/>
            <c:bubble3D val="0"/>
            <c:spPr>
              <a:solidFill>
                <a:srgbClr val="AEABAB"/>
              </a:solidFill>
            </c:spPr>
            <c:extLst>
              <c:ext xmlns:c16="http://schemas.microsoft.com/office/drawing/2014/chart" uri="{C3380CC4-5D6E-409C-BE32-E72D297353CC}">
                <c16:uniqueId val="{0000007E-C76F-4230-900D-40618C09729F}"/>
              </c:ext>
            </c:extLst>
          </c:dPt>
          <c:dPt>
            <c:idx val="61"/>
            <c:invertIfNegative val="0"/>
            <c:bubble3D val="0"/>
            <c:spPr>
              <a:solidFill>
                <a:srgbClr val="AEABAB"/>
              </a:solidFill>
            </c:spPr>
            <c:extLst>
              <c:ext xmlns:c16="http://schemas.microsoft.com/office/drawing/2014/chart" uri="{C3380CC4-5D6E-409C-BE32-E72D297353CC}">
                <c16:uniqueId val="{00000080-C76F-4230-900D-40618C09729F}"/>
              </c:ext>
            </c:extLst>
          </c:dPt>
          <c:dPt>
            <c:idx val="62"/>
            <c:invertIfNegative val="0"/>
            <c:bubble3D val="0"/>
            <c:spPr>
              <a:solidFill>
                <a:srgbClr val="AEABAB"/>
              </a:solidFill>
            </c:spPr>
            <c:extLst>
              <c:ext xmlns:c16="http://schemas.microsoft.com/office/drawing/2014/chart" uri="{C3380CC4-5D6E-409C-BE32-E72D297353CC}">
                <c16:uniqueId val="{00000082-C76F-4230-900D-40618C09729F}"/>
              </c:ext>
            </c:extLst>
          </c:dPt>
          <c:dPt>
            <c:idx val="63"/>
            <c:invertIfNegative val="0"/>
            <c:bubble3D val="0"/>
            <c:spPr>
              <a:solidFill>
                <a:srgbClr val="AEABAB"/>
              </a:solidFill>
            </c:spPr>
            <c:extLst>
              <c:ext xmlns:c16="http://schemas.microsoft.com/office/drawing/2014/chart" uri="{C3380CC4-5D6E-409C-BE32-E72D297353CC}">
                <c16:uniqueId val="{00000084-C76F-4230-900D-40618C09729F}"/>
              </c:ext>
            </c:extLst>
          </c:dPt>
          <c:dPt>
            <c:idx val="64"/>
            <c:invertIfNegative val="0"/>
            <c:bubble3D val="0"/>
            <c:spPr>
              <a:solidFill>
                <a:srgbClr val="AEABAB"/>
              </a:solidFill>
            </c:spPr>
            <c:extLst>
              <c:ext xmlns:c16="http://schemas.microsoft.com/office/drawing/2014/chart" uri="{C3380CC4-5D6E-409C-BE32-E72D297353CC}">
                <c16:uniqueId val="{00000086-C76F-4230-900D-40618C09729F}"/>
              </c:ext>
            </c:extLst>
          </c:dPt>
          <c:dPt>
            <c:idx val="65"/>
            <c:invertIfNegative val="0"/>
            <c:bubble3D val="0"/>
            <c:spPr>
              <a:solidFill>
                <a:srgbClr val="AEABAB"/>
              </a:solidFill>
            </c:spPr>
            <c:extLst>
              <c:ext xmlns:c16="http://schemas.microsoft.com/office/drawing/2014/chart" uri="{C3380CC4-5D6E-409C-BE32-E72D297353CC}">
                <c16:uniqueId val="{00000088-C76F-4230-900D-40618C09729F}"/>
              </c:ext>
            </c:extLst>
          </c:dPt>
          <c:dPt>
            <c:idx val="66"/>
            <c:invertIfNegative val="0"/>
            <c:bubble3D val="0"/>
            <c:spPr>
              <a:solidFill>
                <a:srgbClr val="AEABAB"/>
              </a:solidFill>
            </c:spPr>
            <c:extLst>
              <c:ext xmlns:c16="http://schemas.microsoft.com/office/drawing/2014/chart" uri="{C3380CC4-5D6E-409C-BE32-E72D297353CC}">
                <c16:uniqueId val="{0000008A-C76F-4230-900D-40618C09729F}"/>
              </c:ext>
            </c:extLst>
          </c:dPt>
          <c:dPt>
            <c:idx val="67"/>
            <c:invertIfNegative val="0"/>
            <c:bubble3D val="0"/>
            <c:spPr>
              <a:solidFill>
                <a:srgbClr val="AEABAB"/>
              </a:solidFill>
            </c:spPr>
            <c:extLst>
              <c:ext xmlns:c16="http://schemas.microsoft.com/office/drawing/2014/chart" uri="{C3380CC4-5D6E-409C-BE32-E72D297353CC}">
                <c16:uniqueId val="{0000008C-C76F-4230-900D-40618C09729F}"/>
              </c:ext>
            </c:extLst>
          </c:dPt>
          <c:dPt>
            <c:idx val="68"/>
            <c:invertIfNegative val="0"/>
            <c:bubble3D val="0"/>
            <c:spPr>
              <a:solidFill>
                <a:srgbClr val="AEABAB"/>
              </a:solidFill>
            </c:spPr>
            <c:extLst>
              <c:ext xmlns:c16="http://schemas.microsoft.com/office/drawing/2014/chart" uri="{C3380CC4-5D6E-409C-BE32-E72D297353CC}">
                <c16:uniqueId val="{0000008E-C76F-4230-900D-40618C09729F}"/>
              </c:ext>
            </c:extLst>
          </c:dPt>
          <c:dPt>
            <c:idx val="69"/>
            <c:invertIfNegative val="0"/>
            <c:bubble3D val="0"/>
            <c:spPr>
              <a:solidFill>
                <a:srgbClr val="AEABAB"/>
              </a:solidFill>
            </c:spPr>
            <c:extLst>
              <c:ext xmlns:c16="http://schemas.microsoft.com/office/drawing/2014/chart" uri="{C3380CC4-5D6E-409C-BE32-E72D297353CC}">
                <c16:uniqueId val="{00000090-C76F-4230-900D-40618C09729F}"/>
              </c:ext>
            </c:extLst>
          </c:dPt>
          <c:dPt>
            <c:idx val="70"/>
            <c:invertIfNegative val="0"/>
            <c:bubble3D val="0"/>
            <c:spPr>
              <a:solidFill>
                <a:srgbClr val="AEABAB"/>
              </a:solidFill>
            </c:spPr>
            <c:extLst>
              <c:ext xmlns:c16="http://schemas.microsoft.com/office/drawing/2014/chart" uri="{C3380CC4-5D6E-409C-BE32-E72D297353CC}">
                <c16:uniqueId val="{00000092-C76F-4230-900D-40618C09729F}"/>
              </c:ext>
            </c:extLst>
          </c:dPt>
          <c:dPt>
            <c:idx val="71"/>
            <c:invertIfNegative val="0"/>
            <c:bubble3D val="0"/>
            <c:spPr>
              <a:solidFill>
                <a:srgbClr val="AEABAB"/>
              </a:solidFill>
            </c:spPr>
            <c:extLst>
              <c:ext xmlns:c16="http://schemas.microsoft.com/office/drawing/2014/chart" uri="{C3380CC4-5D6E-409C-BE32-E72D297353CC}">
                <c16:uniqueId val="{00000094-C76F-4230-900D-40618C09729F}"/>
              </c:ext>
            </c:extLst>
          </c:dPt>
          <c:dPt>
            <c:idx val="72"/>
            <c:invertIfNegative val="0"/>
            <c:bubble3D val="0"/>
            <c:spPr>
              <a:solidFill>
                <a:srgbClr val="AEABAB"/>
              </a:solidFill>
            </c:spPr>
            <c:extLst>
              <c:ext xmlns:c16="http://schemas.microsoft.com/office/drawing/2014/chart" uri="{C3380CC4-5D6E-409C-BE32-E72D297353CC}">
                <c16:uniqueId val="{00000096-C76F-4230-900D-40618C09729F}"/>
              </c:ext>
            </c:extLst>
          </c:dPt>
          <c:dPt>
            <c:idx val="73"/>
            <c:invertIfNegative val="0"/>
            <c:bubble3D val="0"/>
            <c:spPr>
              <a:solidFill>
                <a:srgbClr val="AEABAB"/>
              </a:solidFill>
            </c:spPr>
            <c:extLst>
              <c:ext xmlns:c16="http://schemas.microsoft.com/office/drawing/2014/chart" uri="{C3380CC4-5D6E-409C-BE32-E72D297353CC}">
                <c16:uniqueId val="{00000098-C76F-4230-900D-40618C09729F}"/>
              </c:ext>
            </c:extLst>
          </c:dPt>
          <c:dPt>
            <c:idx val="74"/>
            <c:invertIfNegative val="0"/>
            <c:bubble3D val="0"/>
            <c:spPr>
              <a:solidFill>
                <a:srgbClr val="AEABAB"/>
              </a:solidFill>
            </c:spPr>
            <c:extLst>
              <c:ext xmlns:c16="http://schemas.microsoft.com/office/drawing/2014/chart" uri="{C3380CC4-5D6E-409C-BE32-E72D297353CC}">
                <c16:uniqueId val="{0000009A-C76F-4230-900D-40618C09729F}"/>
              </c:ext>
            </c:extLst>
          </c:dPt>
          <c:dPt>
            <c:idx val="75"/>
            <c:invertIfNegative val="0"/>
            <c:bubble3D val="0"/>
            <c:spPr>
              <a:solidFill>
                <a:srgbClr val="AEABAB"/>
              </a:solidFill>
            </c:spPr>
            <c:extLst>
              <c:ext xmlns:c16="http://schemas.microsoft.com/office/drawing/2014/chart" uri="{C3380CC4-5D6E-409C-BE32-E72D297353CC}">
                <c16:uniqueId val="{0000009C-C76F-4230-900D-40618C09729F}"/>
              </c:ext>
            </c:extLst>
          </c:dPt>
          <c:dPt>
            <c:idx val="76"/>
            <c:invertIfNegative val="0"/>
            <c:bubble3D val="0"/>
            <c:spPr>
              <a:solidFill>
                <a:srgbClr val="AEABAB"/>
              </a:solidFill>
            </c:spPr>
            <c:extLst>
              <c:ext xmlns:c16="http://schemas.microsoft.com/office/drawing/2014/chart" uri="{C3380CC4-5D6E-409C-BE32-E72D297353CC}">
                <c16:uniqueId val="{0000009E-C76F-4230-900D-40618C09729F}"/>
              </c:ext>
            </c:extLst>
          </c:dPt>
          <c:dPt>
            <c:idx val="77"/>
            <c:invertIfNegative val="0"/>
            <c:bubble3D val="0"/>
            <c:spPr>
              <a:solidFill>
                <a:srgbClr val="AEABAB"/>
              </a:solidFill>
            </c:spPr>
            <c:extLst>
              <c:ext xmlns:c16="http://schemas.microsoft.com/office/drawing/2014/chart" uri="{C3380CC4-5D6E-409C-BE32-E72D297353CC}">
                <c16:uniqueId val="{000000A0-C76F-4230-900D-40618C09729F}"/>
              </c:ext>
            </c:extLst>
          </c:dPt>
          <c:dPt>
            <c:idx val="78"/>
            <c:invertIfNegative val="0"/>
            <c:bubble3D val="0"/>
            <c:spPr>
              <a:solidFill>
                <a:srgbClr val="AEABAB"/>
              </a:solidFill>
            </c:spPr>
            <c:extLst>
              <c:ext xmlns:c16="http://schemas.microsoft.com/office/drawing/2014/chart" uri="{C3380CC4-5D6E-409C-BE32-E72D297353CC}">
                <c16:uniqueId val="{000000A2-C76F-4230-900D-40618C09729F}"/>
              </c:ext>
            </c:extLst>
          </c:dPt>
          <c:dPt>
            <c:idx val="79"/>
            <c:invertIfNegative val="0"/>
            <c:bubble3D val="0"/>
            <c:spPr>
              <a:solidFill>
                <a:srgbClr val="AEABAB"/>
              </a:solidFill>
            </c:spPr>
            <c:extLst>
              <c:ext xmlns:c16="http://schemas.microsoft.com/office/drawing/2014/chart" uri="{C3380CC4-5D6E-409C-BE32-E72D297353CC}">
                <c16:uniqueId val="{000000A4-C76F-4230-900D-40618C09729F}"/>
              </c:ext>
            </c:extLst>
          </c:dPt>
          <c:dPt>
            <c:idx val="80"/>
            <c:invertIfNegative val="0"/>
            <c:bubble3D val="0"/>
            <c:spPr>
              <a:solidFill>
                <a:srgbClr val="AEABAB"/>
              </a:solidFill>
            </c:spPr>
            <c:extLst>
              <c:ext xmlns:c16="http://schemas.microsoft.com/office/drawing/2014/chart" uri="{C3380CC4-5D6E-409C-BE32-E72D297353CC}">
                <c16:uniqueId val="{000000A6-C76F-4230-900D-40618C09729F}"/>
              </c:ext>
            </c:extLst>
          </c:dPt>
          <c:dPt>
            <c:idx val="81"/>
            <c:invertIfNegative val="1"/>
            <c:bubble3D val="0"/>
            <c:spPr>
              <a:solidFill>
                <a:srgbClr val="AEABAB"/>
              </a:solidFill>
            </c:spPr>
            <c:extLst>
              <c:ext xmlns:c16="http://schemas.microsoft.com/office/drawing/2014/chart" uri="{C3380CC4-5D6E-409C-BE32-E72D297353CC}">
                <c16:uniqueId val="{000000A5-2993-41DE-A2CB-63102DE87051}"/>
              </c:ext>
            </c:extLst>
          </c:dPt>
          <c:dPt>
            <c:idx val="82"/>
            <c:invertIfNegative val="1"/>
            <c:bubble3D val="0"/>
            <c:spPr>
              <a:solidFill>
                <a:srgbClr val="AEABAB"/>
              </a:solidFill>
            </c:spPr>
            <c:extLst>
              <c:ext xmlns:c16="http://schemas.microsoft.com/office/drawing/2014/chart" uri="{C3380CC4-5D6E-409C-BE32-E72D297353CC}">
                <c16:uniqueId val="{000000A7-2993-41DE-A2CB-63102DE87051}"/>
              </c:ext>
            </c:extLst>
          </c:dPt>
          <c:dPt>
            <c:idx val="83"/>
            <c:invertIfNegative val="1"/>
            <c:bubble3D val="0"/>
            <c:spPr>
              <a:solidFill>
                <a:srgbClr val="AEABAB"/>
              </a:solidFill>
            </c:spPr>
            <c:extLst>
              <c:ext xmlns:c16="http://schemas.microsoft.com/office/drawing/2014/chart" uri="{C3380CC4-5D6E-409C-BE32-E72D297353CC}">
                <c16:uniqueId val="{000000A9-2993-41DE-A2CB-63102DE87051}"/>
              </c:ext>
            </c:extLst>
          </c:dPt>
          <c:dPt>
            <c:idx val="84"/>
            <c:invertIfNegative val="1"/>
            <c:bubble3D val="0"/>
            <c:spPr>
              <a:solidFill>
                <a:srgbClr val="AEABAB"/>
              </a:solidFill>
            </c:spPr>
            <c:extLst>
              <c:ext xmlns:c16="http://schemas.microsoft.com/office/drawing/2014/chart" uri="{C3380CC4-5D6E-409C-BE32-E72D297353CC}">
                <c16:uniqueId val="{000000AB-2993-41DE-A2CB-63102DE87051}"/>
              </c:ext>
            </c:extLst>
          </c:dPt>
          <c:dPt>
            <c:idx val="85"/>
            <c:invertIfNegative val="1"/>
            <c:bubble3D val="0"/>
            <c:spPr>
              <a:solidFill>
                <a:srgbClr val="AEABAB"/>
              </a:solidFill>
            </c:spPr>
            <c:extLst>
              <c:ext xmlns:c16="http://schemas.microsoft.com/office/drawing/2014/chart" uri="{C3380CC4-5D6E-409C-BE32-E72D297353CC}">
                <c16:uniqueId val="{000000AD-2993-41DE-A2CB-63102DE87051}"/>
              </c:ext>
            </c:extLst>
          </c:dPt>
          <c:dPt>
            <c:idx val="86"/>
            <c:invertIfNegative val="1"/>
            <c:bubble3D val="0"/>
            <c:spPr>
              <a:solidFill>
                <a:srgbClr val="AEABAB"/>
              </a:solidFill>
            </c:spPr>
            <c:extLst>
              <c:ext xmlns:c16="http://schemas.microsoft.com/office/drawing/2014/chart" uri="{C3380CC4-5D6E-409C-BE32-E72D297353CC}">
                <c16:uniqueId val="{000000AF-2993-41DE-A2CB-63102DE87051}"/>
              </c:ext>
            </c:extLst>
          </c:dPt>
          <c:dPt>
            <c:idx val="87"/>
            <c:invertIfNegative val="1"/>
            <c:bubble3D val="0"/>
            <c:spPr>
              <a:solidFill>
                <a:srgbClr val="AEABAB"/>
              </a:solidFill>
            </c:spPr>
            <c:extLst>
              <c:ext xmlns:c16="http://schemas.microsoft.com/office/drawing/2014/chart" uri="{C3380CC4-5D6E-409C-BE32-E72D297353CC}">
                <c16:uniqueId val="{000000B1-2993-41DE-A2CB-63102DE87051}"/>
              </c:ext>
            </c:extLst>
          </c:dPt>
          <c:dPt>
            <c:idx val="88"/>
            <c:invertIfNegative val="1"/>
            <c:bubble3D val="0"/>
            <c:spPr>
              <a:solidFill>
                <a:srgbClr val="AEABAB"/>
              </a:solidFill>
            </c:spPr>
            <c:extLst>
              <c:ext xmlns:c16="http://schemas.microsoft.com/office/drawing/2014/chart" uri="{C3380CC4-5D6E-409C-BE32-E72D297353CC}">
                <c16:uniqueId val="{000000B3-2993-41DE-A2CB-63102DE87051}"/>
              </c:ext>
            </c:extLst>
          </c:dPt>
          <c:dPt>
            <c:idx val="89"/>
            <c:invertIfNegative val="1"/>
            <c:bubble3D val="0"/>
            <c:spPr>
              <a:solidFill>
                <a:srgbClr val="AEABAB"/>
              </a:solidFill>
            </c:spPr>
            <c:extLst>
              <c:ext xmlns:c16="http://schemas.microsoft.com/office/drawing/2014/chart" uri="{C3380CC4-5D6E-409C-BE32-E72D297353CC}">
                <c16:uniqueId val="{000000B5-2993-41DE-A2CB-63102DE87051}"/>
              </c:ext>
            </c:extLst>
          </c:dPt>
          <c:dPt>
            <c:idx val="90"/>
            <c:invertIfNegative val="1"/>
            <c:bubble3D val="0"/>
            <c:spPr>
              <a:solidFill>
                <a:srgbClr val="AEABAB"/>
              </a:solidFill>
            </c:spPr>
            <c:extLst>
              <c:ext xmlns:c16="http://schemas.microsoft.com/office/drawing/2014/chart" uri="{C3380CC4-5D6E-409C-BE32-E72D297353CC}">
                <c16:uniqueId val="{000000B7-2993-41DE-A2CB-63102DE87051}"/>
              </c:ext>
            </c:extLst>
          </c:dPt>
          <c:dPt>
            <c:idx val="91"/>
            <c:invertIfNegative val="1"/>
            <c:bubble3D val="0"/>
            <c:spPr>
              <a:solidFill>
                <a:srgbClr val="AEABAB"/>
              </a:solidFill>
            </c:spPr>
            <c:extLst>
              <c:ext xmlns:c16="http://schemas.microsoft.com/office/drawing/2014/chart" uri="{C3380CC4-5D6E-409C-BE32-E72D297353CC}">
                <c16:uniqueId val="{000000B9-2993-41DE-A2CB-63102DE87051}"/>
              </c:ext>
            </c:extLst>
          </c:dPt>
          <c:dPt>
            <c:idx val="92"/>
            <c:invertIfNegative val="1"/>
            <c:bubble3D val="0"/>
            <c:spPr>
              <a:solidFill>
                <a:srgbClr val="AEABAB"/>
              </a:solidFill>
            </c:spPr>
            <c:extLst>
              <c:ext xmlns:c16="http://schemas.microsoft.com/office/drawing/2014/chart" uri="{C3380CC4-5D6E-409C-BE32-E72D297353CC}">
                <c16:uniqueId val="{000000BB-2993-41DE-A2CB-63102DE87051}"/>
              </c:ext>
            </c:extLst>
          </c:dPt>
          <c:dPt>
            <c:idx val="93"/>
            <c:invertIfNegative val="1"/>
            <c:bubble3D val="0"/>
            <c:spPr>
              <a:solidFill>
                <a:srgbClr val="AEABAB"/>
              </a:solidFill>
            </c:spPr>
            <c:extLst>
              <c:ext xmlns:c16="http://schemas.microsoft.com/office/drawing/2014/chart" uri="{C3380CC4-5D6E-409C-BE32-E72D297353CC}">
                <c16:uniqueId val="{000000BD-2993-41DE-A2CB-63102DE87051}"/>
              </c:ext>
            </c:extLst>
          </c:dPt>
          <c:dPt>
            <c:idx val="94"/>
            <c:invertIfNegative val="1"/>
            <c:bubble3D val="0"/>
            <c:spPr>
              <a:solidFill>
                <a:srgbClr val="AEABAB"/>
              </a:solidFill>
            </c:spPr>
            <c:extLst>
              <c:ext xmlns:c16="http://schemas.microsoft.com/office/drawing/2014/chart" uri="{C3380CC4-5D6E-409C-BE32-E72D297353CC}">
                <c16:uniqueId val="{000000BF-2993-41DE-A2CB-63102DE87051}"/>
              </c:ext>
            </c:extLst>
          </c:dPt>
          <c:dPt>
            <c:idx val="95"/>
            <c:invertIfNegative val="1"/>
            <c:bubble3D val="0"/>
            <c:spPr>
              <a:solidFill>
                <a:srgbClr val="AEABAB"/>
              </a:solidFill>
            </c:spPr>
            <c:extLst>
              <c:ext xmlns:c16="http://schemas.microsoft.com/office/drawing/2014/chart" uri="{C3380CC4-5D6E-409C-BE32-E72D297353CC}">
                <c16:uniqueId val="{000000C1-2993-41DE-A2CB-63102DE87051}"/>
              </c:ext>
            </c:extLst>
          </c:dPt>
          <c:dPt>
            <c:idx val="96"/>
            <c:invertIfNegative val="1"/>
            <c:bubble3D val="0"/>
            <c:spPr>
              <a:solidFill>
                <a:srgbClr val="AEABAB"/>
              </a:solidFill>
            </c:spPr>
            <c:extLst>
              <c:ext xmlns:c16="http://schemas.microsoft.com/office/drawing/2014/chart" uri="{C3380CC4-5D6E-409C-BE32-E72D297353CC}">
                <c16:uniqueId val="{000000C3-2993-41DE-A2CB-63102DE87051}"/>
              </c:ext>
            </c:extLst>
          </c:dPt>
          <c:dPt>
            <c:idx val="97"/>
            <c:invertIfNegative val="1"/>
            <c:bubble3D val="0"/>
            <c:spPr>
              <a:solidFill>
                <a:srgbClr val="AEABAB"/>
              </a:solidFill>
            </c:spPr>
            <c:extLst>
              <c:ext xmlns:c16="http://schemas.microsoft.com/office/drawing/2014/chart" uri="{C3380CC4-5D6E-409C-BE32-E72D297353CC}">
                <c16:uniqueId val="{000000C5-2993-41DE-A2CB-63102DE87051}"/>
              </c:ext>
            </c:extLst>
          </c:dPt>
          <c:dPt>
            <c:idx val="98"/>
            <c:invertIfNegative val="1"/>
            <c:bubble3D val="0"/>
            <c:spPr>
              <a:solidFill>
                <a:srgbClr val="AEABAB"/>
              </a:solidFill>
            </c:spPr>
            <c:extLst>
              <c:ext xmlns:c16="http://schemas.microsoft.com/office/drawing/2014/chart" uri="{C3380CC4-5D6E-409C-BE32-E72D297353CC}">
                <c16:uniqueId val="{000000C7-2993-41DE-A2CB-63102DE87051}"/>
              </c:ext>
            </c:extLst>
          </c:dPt>
          <c:dPt>
            <c:idx val="99"/>
            <c:invertIfNegative val="1"/>
            <c:bubble3D val="0"/>
            <c:spPr>
              <a:solidFill>
                <a:srgbClr val="AEABAB"/>
              </a:solidFill>
            </c:spPr>
            <c:extLst>
              <c:ext xmlns:c16="http://schemas.microsoft.com/office/drawing/2014/chart" uri="{C3380CC4-5D6E-409C-BE32-E72D297353CC}">
                <c16:uniqueId val="{000000C9-2993-41DE-A2CB-63102DE87051}"/>
              </c:ext>
            </c:extLst>
          </c:dPt>
          <c:dPt>
            <c:idx val="100"/>
            <c:invertIfNegative val="1"/>
            <c:bubble3D val="0"/>
            <c:spPr>
              <a:solidFill>
                <a:srgbClr val="AEABAB"/>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102</c:f>
              <c:strCache>
                <c:ptCount val="101"/>
                <c:pt idx="0">
                  <c:v>Dom Perigno</c:v>
                </c:pt>
                <c:pt idx="1">
                  <c:v>Dom Perigno</c:v>
                </c:pt>
                <c:pt idx="2">
                  <c:v>Roederer</c:v>
                </c:pt>
                <c:pt idx="3">
                  <c:v>Malard</c:v>
                </c:pt>
                <c:pt idx="4">
                  <c:v>Dom Perigno</c:v>
                </c:pt>
                <c:pt idx="5">
                  <c:v>Roederer</c:v>
                </c:pt>
                <c:pt idx="6">
                  <c:v>Roederer</c:v>
                </c:pt>
                <c:pt idx="7">
                  <c:v>Ruinart</c:v>
                </c:pt>
                <c:pt idx="8">
                  <c:v>Ruinart</c:v>
                </c:pt>
                <c:pt idx="9">
                  <c:v>Roederer</c:v>
                </c:pt>
                <c:pt idx="10">
                  <c:v>Laurent Per</c:v>
                </c:pt>
                <c:pt idx="11">
                  <c:v>Bollinger</c:v>
                </c:pt>
                <c:pt idx="12">
                  <c:v>Roederer</c:v>
                </c:pt>
                <c:pt idx="13">
                  <c:v>Ruinart</c:v>
                </c:pt>
                <c:pt idx="14">
                  <c:v>Dom Perigno</c:v>
                </c:pt>
                <c:pt idx="15">
                  <c:v>Perrier Jou</c:v>
                </c:pt>
                <c:pt idx="16">
                  <c:v>Pommery</c:v>
                </c:pt>
                <c:pt idx="17">
                  <c:v>Roederer</c:v>
                </c:pt>
                <c:pt idx="18">
                  <c:v>Piper Heids</c:v>
                </c:pt>
                <c:pt idx="19">
                  <c:v>Roederer</c:v>
                </c:pt>
                <c:pt idx="20">
                  <c:v>Piper Heids</c:v>
                </c:pt>
                <c:pt idx="21">
                  <c:v>Bollinger</c:v>
                </c:pt>
                <c:pt idx="22">
                  <c:v>Veuve Clicq</c:v>
                </c:pt>
                <c:pt idx="23">
                  <c:v>Veuve Clicq</c:v>
                </c:pt>
                <c:pt idx="24">
                  <c:v>Dom Perigno</c:v>
                </c:pt>
                <c:pt idx="25">
                  <c:v>All Others</c:v>
                </c:pt>
                <c:pt idx="26">
                  <c:v>Roederer</c:v>
                </c:pt>
                <c:pt idx="27">
                  <c:v>De Venoge</c:v>
                </c:pt>
                <c:pt idx="28">
                  <c:v>De Venoge</c:v>
                </c:pt>
                <c:pt idx="29">
                  <c:v>Dom Perigno</c:v>
                </c:pt>
                <c:pt idx="30">
                  <c:v>Laurent Per</c:v>
                </c:pt>
                <c:pt idx="31">
                  <c:v>All Others</c:v>
                </c:pt>
                <c:pt idx="32">
                  <c:v>Roederer</c:v>
                </c:pt>
                <c:pt idx="33">
                  <c:v>Ruinart</c:v>
                </c:pt>
                <c:pt idx="34">
                  <c:v>Lanson</c:v>
                </c:pt>
                <c:pt idx="35">
                  <c:v>Roederer</c:v>
                </c:pt>
                <c:pt idx="36">
                  <c:v>Veuve Clicq</c:v>
                </c:pt>
                <c:pt idx="37">
                  <c:v>Pommery</c:v>
                </c:pt>
                <c:pt idx="38">
                  <c:v>Pommery</c:v>
                </c:pt>
                <c:pt idx="39">
                  <c:v>All Others</c:v>
                </c:pt>
                <c:pt idx="40">
                  <c:v>Roederer</c:v>
                </c:pt>
                <c:pt idx="41">
                  <c:v>Veuve Clicq</c:v>
                </c:pt>
                <c:pt idx="42">
                  <c:v>Roederer</c:v>
                </c:pt>
                <c:pt idx="43">
                  <c:v>Perrier Jou</c:v>
                </c:pt>
                <c:pt idx="44">
                  <c:v>Dom Perigno</c:v>
                </c:pt>
                <c:pt idx="45">
                  <c:v>Deutz</c:v>
                </c:pt>
                <c:pt idx="46">
                  <c:v>Malard</c:v>
                </c:pt>
                <c:pt idx="47">
                  <c:v>Ruinart</c:v>
                </c:pt>
                <c:pt idx="48">
                  <c:v>Bollinger</c:v>
                </c:pt>
                <c:pt idx="49">
                  <c:v>Dom Perigno</c:v>
                </c:pt>
                <c:pt idx="50">
                  <c:v>Bollinger</c:v>
                </c:pt>
                <c:pt idx="51">
                  <c:v>Laurent Per</c:v>
                </c:pt>
                <c:pt idx="52">
                  <c:v>All Others</c:v>
                </c:pt>
                <c:pt idx="53">
                  <c:v>Pommery</c:v>
                </c:pt>
                <c:pt idx="54">
                  <c:v>De Venoge</c:v>
                </c:pt>
                <c:pt idx="55">
                  <c:v>All Others</c:v>
                </c:pt>
                <c:pt idx="56">
                  <c:v>Nicolas Feu</c:v>
                </c:pt>
                <c:pt idx="57">
                  <c:v>Perrier Jou</c:v>
                </c:pt>
                <c:pt idx="58">
                  <c:v>Bollinger</c:v>
                </c:pt>
                <c:pt idx="59">
                  <c:v>All Others</c:v>
                </c:pt>
                <c:pt idx="60">
                  <c:v>Dom Perigno</c:v>
                </c:pt>
                <c:pt idx="61">
                  <c:v>All Others</c:v>
                </c:pt>
                <c:pt idx="62">
                  <c:v>Roederer</c:v>
                </c:pt>
                <c:pt idx="63">
                  <c:v>Vesselle</c:v>
                </c:pt>
                <c:pt idx="64">
                  <c:v>Roederer</c:v>
                </c:pt>
                <c:pt idx="65">
                  <c:v>Krug</c:v>
                </c:pt>
                <c:pt idx="66">
                  <c:v>Bollinger</c:v>
                </c:pt>
                <c:pt idx="67">
                  <c:v>Pommery</c:v>
                </c:pt>
                <c:pt idx="68">
                  <c:v>Krug</c:v>
                </c:pt>
                <c:pt idx="69">
                  <c:v>Moët &amp; Chan</c:v>
                </c:pt>
                <c:pt idx="70">
                  <c:v>All Others</c:v>
                </c:pt>
                <c:pt idx="71">
                  <c:v>Deutz</c:v>
                </c:pt>
                <c:pt idx="72">
                  <c:v>Veuve Clicq</c:v>
                </c:pt>
                <c:pt idx="73">
                  <c:v>All Others</c:v>
                </c:pt>
                <c:pt idx="74">
                  <c:v>Bollinger</c:v>
                </c:pt>
                <c:pt idx="75">
                  <c:v>Roederer</c:v>
                </c:pt>
                <c:pt idx="76">
                  <c:v>Malard</c:v>
                </c:pt>
                <c:pt idx="77">
                  <c:v>Henriot</c:v>
                </c:pt>
                <c:pt idx="78">
                  <c:v>Roederer</c:v>
                </c:pt>
                <c:pt idx="79">
                  <c:v>De Venoge</c:v>
                </c:pt>
                <c:pt idx="80">
                  <c:v>Krug</c:v>
                </c:pt>
                <c:pt idx="81">
                  <c:v>Roederer</c:v>
                </c:pt>
                <c:pt idx="82">
                  <c:v>Vesselle</c:v>
                </c:pt>
                <c:pt idx="83">
                  <c:v>Ruinart</c:v>
                </c:pt>
                <c:pt idx="84">
                  <c:v>Moët &amp; Chan</c:v>
                </c:pt>
                <c:pt idx="85">
                  <c:v>Bollinger</c:v>
                </c:pt>
                <c:pt idx="86">
                  <c:v>Roederer</c:v>
                </c:pt>
                <c:pt idx="87">
                  <c:v>Laurent Per</c:v>
                </c:pt>
                <c:pt idx="88">
                  <c:v>Laurent Per</c:v>
                </c:pt>
                <c:pt idx="89">
                  <c:v>Piper Heids</c:v>
                </c:pt>
                <c:pt idx="90">
                  <c:v>Roederer</c:v>
                </c:pt>
                <c:pt idx="91">
                  <c:v>Roederer</c:v>
                </c:pt>
                <c:pt idx="92">
                  <c:v>All Others</c:v>
                </c:pt>
                <c:pt idx="93">
                  <c:v>Bollinger</c:v>
                </c:pt>
                <c:pt idx="94">
                  <c:v>Mumm</c:v>
                </c:pt>
                <c:pt idx="95">
                  <c:v>Canard Duch</c:v>
                </c:pt>
                <c:pt idx="96">
                  <c:v>All Others</c:v>
                </c:pt>
                <c:pt idx="97">
                  <c:v>Henriot</c:v>
                </c:pt>
                <c:pt idx="98">
                  <c:v>Vranken</c:v>
                </c:pt>
                <c:pt idx="99">
                  <c:v>Vesselle</c:v>
                </c:pt>
                <c:pt idx="100">
                  <c:v>Vesselle</c:v>
                </c:pt>
              </c:strCache>
            </c:strRef>
          </c:cat>
          <c:val>
            <c:numRef>
              <c:f>Sheet1!$C$2:$C$102</c:f>
              <c:numCache>
                <c:formatCode>General</c:formatCode>
                <c:ptCount val="101"/>
                <c:pt idx="0">
                  <c:v>0.20029988006372451</c:v>
                </c:pt>
                <c:pt idx="1">
                  <c:v>0.37792920530995611</c:v>
                </c:pt>
                <c:pt idx="2">
                  <c:v>0.45594999688937432</c:v>
                </c:pt>
                <c:pt idx="3">
                  <c:v>0.52928004372200932</c:v>
                </c:pt>
                <c:pt idx="4">
                  <c:v>0.57219959034241297</c:v>
                </c:pt>
                <c:pt idx="5">
                  <c:v>0.61505692444959648</c:v>
                </c:pt>
                <c:pt idx="6">
                  <c:v>0.65747286471298383</c:v>
                </c:pt>
                <c:pt idx="7">
                  <c:v>0.69859415470125796</c:v>
                </c:pt>
                <c:pt idx="8">
                  <c:v>0.73780378803330504</c:v>
                </c:pt>
                <c:pt idx="9">
                  <c:v>0.77431308329153026</c:v>
                </c:pt>
                <c:pt idx="10">
                  <c:v>0.79984462621698316</c:v>
                </c:pt>
                <c:pt idx="11">
                  <c:v>0.82257384979694315</c:v>
                </c:pt>
                <c:pt idx="12">
                  <c:v>0.84418206688868924</c:v>
                </c:pt>
                <c:pt idx="13">
                  <c:v>0.85837715115514468</c:v>
                </c:pt>
                <c:pt idx="14">
                  <c:v>0.87195365404015157</c:v>
                </c:pt>
                <c:pt idx="15">
                  <c:v>0.88409966287117847</c:v>
                </c:pt>
                <c:pt idx="16">
                  <c:v>0.89281020222216811</c:v>
                </c:pt>
                <c:pt idx="17">
                  <c:v>0.90086436018367666</c:v>
                </c:pt>
                <c:pt idx="18">
                  <c:v>0.9081955929915636</c:v>
                </c:pt>
                <c:pt idx="19">
                  <c:v>0.91524253823903945</c:v>
                </c:pt>
                <c:pt idx="20">
                  <c:v>0.92217844596291987</c:v>
                </c:pt>
                <c:pt idx="21">
                  <c:v>0.92767716588139781</c:v>
                </c:pt>
                <c:pt idx="22">
                  <c:v>0.93307154202770271</c:v>
                </c:pt>
                <c:pt idx="23">
                  <c:v>0.9383351931462286</c:v>
                </c:pt>
                <c:pt idx="24">
                  <c:v>0.94345000673312651</c:v>
                </c:pt>
                <c:pt idx="25">
                  <c:v>0.94814153898007714</c:v>
                </c:pt>
                <c:pt idx="26">
                  <c:v>0.95138918967020292</c:v>
                </c:pt>
                <c:pt idx="27">
                  <c:v>0.95445059657075193</c:v>
                </c:pt>
                <c:pt idx="28">
                  <c:v>0.95662764078337381</c:v>
                </c:pt>
                <c:pt idx="29">
                  <c:v>0.95879129749315084</c:v>
                </c:pt>
                <c:pt idx="30">
                  <c:v>0.96093369169840959</c:v>
                </c:pt>
                <c:pt idx="31">
                  <c:v>0.9629642608799055</c:v>
                </c:pt>
                <c:pt idx="32">
                  <c:v>0.96472747375458823</c:v>
                </c:pt>
                <c:pt idx="33">
                  <c:v>0.96645485537165687</c:v>
                </c:pt>
                <c:pt idx="34">
                  <c:v>0.96816845573579691</c:v>
                </c:pt>
                <c:pt idx="35">
                  <c:v>0.96981118108487607</c:v>
                </c:pt>
                <c:pt idx="36">
                  <c:v>0.9713916939207351</c:v>
                </c:pt>
                <c:pt idx="37">
                  <c:v>0.97288400673785158</c:v>
                </c:pt>
                <c:pt idx="38">
                  <c:v>0.97435308830003142</c:v>
                </c:pt>
                <c:pt idx="39">
                  <c:v>0.97579815110710721</c:v>
                </c:pt>
                <c:pt idx="40">
                  <c:v>0.97712430138891415</c:v>
                </c:pt>
                <c:pt idx="41">
                  <c:v>0.97829570788783804</c:v>
                </c:pt>
                <c:pt idx="42">
                  <c:v>0.97943364562964985</c:v>
                </c:pt>
                <c:pt idx="43">
                  <c:v>0.98053614586393112</c:v>
                </c:pt>
                <c:pt idx="44">
                  <c:v>0.9816150210931921</c:v>
                </c:pt>
                <c:pt idx="45">
                  <c:v>0.98262538380789421</c:v>
                </c:pt>
                <c:pt idx="46">
                  <c:v>0.98358928401272305</c:v>
                </c:pt>
                <c:pt idx="47">
                  <c:v>0.9845027842068419</c:v>
                </c:pt>
                <c:pt idx="48">
                  <c:v>0.9854084093992872</c:v>
                </c:pt>
                <c:pt idx="49">
                  <c:v>0.98627465958336535</c:v>
                </c:pt>
                <c:pt idx="50">
                  <c:v>0.98707712225388866</c:v>
                </c:pt>
                <c:pt idx="51">
                  <c:v>0.98773665364403906</c:v>
                </c:pt>
                <c:pt idx="52">
                  <c:v>0.98838555378193038</c:v>
                </c:pt>
                <c:pt idx="53">
                  <c:v>0.98897814765785663</c:v>
                </c:pt>
                <c:pt idx="54">
                  <c:v>0.98951561652206876</c:v>
                </c:pt>
                <c:pt idx="55">
                  <c:v>0.99004639163485852</c:v>
                </c:pt>
                <c:pt idx="56">
                  <c:v>0.99056574799522179</c:v>
                </c:pt>
                <c:pt idx="57">
                  <c:v>0.99101422934052408</c:v>
                </c:pt>
                <c:pt idx="58">
                  <c:v>0.99146074193540801</c:v>
                </c:pt>
                <c:pt idx="59">
                  <c:v>0.99190725453029194</c:v>
                </c:pt>
                <c:pt idx="60">
                  <c:v>0.99234037962233101</c:v>
                </c:pt>
                <c:pt idx="61">
                  <c:v>0.99276759846311502</c:v>
                </c:pt>
                <c:pt idx="62">
                  <c:v>0.99318891105264395</c:v>
                </c:pt>
                <c:pt idx="63">
                  <c:v>0.99358541738690154</c:v>
                </c:pt>
                <c:pt idx="64">
                  <c:v>0.9943614988018189</c:v>
                </c:pt>
                <c:pt idx="65">
                  <c:v>0.99471744887745828</c:v>
                </c:pt>
                <c:pt idx="66">
                  <c:v>0.99506749270184258</c:v>
                </c:pt>
                <c:pt idx="67">
                  <c:v>0.99540533027363309</c:v>
                </c:pt>
                <c:pt idx="68">
                  <c:v>0.9956652053288565</c:v>
                </c:pt>
                <c:pt idx="69">
                  <c:v>0.99591996163299223</c:v>
                </c:pt>
                <c:pt idx="70">
                  <c:v>0.99614479293076885</c:v>
                </c:pt>
                <c:pt idx="71">
                  <c:v>0.99636056797662109</c:v>
                </c:pt>
                <c:pt idx="72">
                  <c:v>0.99657043677121826</c:v>
                </c:pt>
                <c:pt idx="73">
                  <c:v>0.99677124931389094</c:v>
                </c:pt>
                <c:pt idx="74">
                  <c:v>0.99696418685489019</c:v>
                </c:pt>
                <c:pt idx="75">
                  <c:v>0.99714609939354659</c:v>
                </c:pt>
                <c:pt idx="76">
                  <c:v>0.99732368068128263</c:v>
                </c:pt>
                <c:pt idx="77">
                  <c:v>0.99749693071809831</c:v>
                </c:pt>
                <c:pt idx="78">
                  <c:v>0.99766781825441186</c:v>
                </c:pt>
                <c:pt idx="79">
                  <c:v>0.99783634329022342</c:v>
                </c:pt>
                <c:pt idx="80">
                  <c:v>0.99799778082452895</c:v>
                </c:pt>
                <c:pt idx="81">
                  <c:v>0.99815567460808141</c:v>
                </c:pt>
                <c:pt idx="82">
                  <c:v>0.99830254338929103</c:v>
                </c:pt>
                <c:pt idx="83">
                  <c:v>0.99844626216983123</c:v>
                </c:pt>
                <c:pt idx="84">
                  <c:v>0.99858958720028779</c:v>
                </c:pt>
                <c:pt idx="85">
                  <c:v>0.99872543097915456</c:v>
                </c:pt>
                <c:pt idx="86">
                  <c:v>0.99885300600626425</c:v>
                </c:pt>
                <c:pt idx="87">
                  <c:v>0.99897664353253723</c:v>
                </c:pt>
                <c:pt idx="88">
                  <c:v>0.99909476855763879</c:v>
                </c:pt>
                <c:pt idx="89">
                  <c:v>0.99921053108223834</c:v>
                </c:pt>
                <c:pt idx="90">
                  <c:v>0.99932235610600118</c:v>
                </c:pt>
                <c:pt idx="91">
                  <c:v>0.9994188248765008</c:v>
                </c:pt>
                <c:pt idx="92">
                  <c:v>0.99951017489591265</c:v>
                </c:pt>
                <c:pt idx="93">
                  <c:v>0.9996007374151572</c:v>
                </c:pt>
                <c:pt idx="94">
                  <c:v>0.99967909368180796</c:v>
                </c:pt>
                <c:pt idx="95">
                  <c:v>0.99974957494678518</c:v>
                </c:pt>
                <c:pt idx="96">
                  <c:v>0.99987596872364393</c:v>
                </c:pt>
                <c:pt idx="97">
                  <c:v>0.99995471874037822</c:v>
                </c:pt>
                <c:pt idx="98">
                  <c:v>0.99998188749615158</c:v>
                </c:pt>
                <c:pt idx="99">
                  <c:v>0.99999094374807607</c:v>
                </c:pt>
                <c:pt idx="100">
                  <c:v>1.000000000000000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69</c:f>
              <c:strCache>
                <c:ptCount val="68"/>
                <c:pt idx="0">
                  <c:v>Dom Perigno</c:v>
                </c:pt>
                <c:pt idx="1">
                  <c:v>Dom Perigno</c:v>
                </c:pt>
                <c:pt idx="2">
                  <c:v>Malard</c:v>
                </c:pt>
                <c:pt idx="3">
                  <c:v>Roederer</c:v>
                </c:pt>
                <c:pt idx="4">
                  <c:v>Roederer</c:v>
                </c:pt>
                <c:pt idx="5">
                  <c:v>Roederer</c:v>
                </c:pt>
                <c:pt idx="6">
                  <c:v>Ruinart</c:v>
                </c:pt>
                <c:pt idx="7">
                  <c:v>Roederer</c:v>
                </c:pt>
                <c:pt idx="8">
                  <c:v>Ruinart</c:v>
                </c:pt>
                <c:pt idx="9">
                  <c:v>Laurent Per</c:v>
                </c:pt>
                <c:pt idx="10">
                  <c:v>Dom Perigno</c:v>
                </c:pt>
                <c:pt idx="11">
                  <c:v>Bollinger</c:v>
                </c:pt>
                <c:pt idx="12">
                  <c:v>Roederer</c:v>
                </c:pt>
                <c:pt idx="13">
                  <c:v>Dom Perigno</c:v>
                </c:pt>
                <c:pt idx="14">
                  <c:v>Piper Heids</c:v>
                </c:pt>
                <c:pt idx="15">
                  <c:v>Pommery</c:v>
                </c:pt>
                <c:pt idx="16">
                  <c:v>Ruinart</c:v>
                </c:pt>
                <c:pt idx="17">
                  <c:v>Roederer</c:v>
                </c:pt>
                <c:pt idx="18">
                  <c:v>Veuve Clicq</c:v>
                </c:pt>
                <c:pt idx="19">
                  <c:v>Perrier Jou</c:v>
                </c:pt>
                <c:pt idx="20">
                  <c:v>Piper Heids</c:v>
                </c:pt>
                <c:pt idx="21">
                  <c:v>All Others</c:v>
                </c:pt>
                <c:pt idx="22">
                  <c:v>Roederer</c:v>
                </c:pt>
                <c:pt idx="23">
                  <c:v>Roederer</c:v>
                </c:pt>
                <c:pt idx="24">
                  <c:v>Bollinger</c:v>
                </c:pt>
                <c:pt idx="25">
                  <c:v>Veuve Clicq</c:v>
                </c:pt>
                <c:pt idx="26">
                  <c:v>Roederer</c:v>
                </c:pt>
                <c:pt idx="27">
                  <c:v>De Venoge</c:v>
                </c:pt>
                <c:pt idx="28">
                  <c:v>All Others</c:v>
                </c:pt>
                <c:pt idx="29">
                  <c:v>Ruinart</c:v>
                </c:pt>
                <c:pt idx="30">
                  <c:v>Roederer</c:v>
                </c:pt>
                <c:pt idx="31">
                  <c:v>Veuve Clicq</c:v>
                </c:pt>
                <c:pt idx="32">
                  <c:v>Ruinart</c:v>
                </c:pt>
                <c:pt idx="33">
                  <c:v>Veuve Clicq</c:v>
                </c:pt>
                <c:pt idx="34">
                  <c:v>Laurent Per</c:v>
                </c:pt>
                <c:pt idx="35">
                  <c:v>Bollinger</c:v>
                </c:pt>
                <c:pt idx="36">
                  <c:v>Deutz</c:v>
                </c:pt>
                <c:pt idx="37">
                  <c:v>De Venoge</c:v>
                </c:pt>
                <c:pt idx="38">
                  <c:v>Malard</c:v>
                </c:pt>
                <c:pt idx="39">
                  <c:v>Dom Perigno</c:v>
                </c:pt>
                <c:pt idx="40">
                  <c:v>Pommery</c:v>
                </c:pt>
                <c:pt idx="41">
                  <c:v>Pommery</c:v>
                </c:pt>
                <c:pt idx="42">
                  <c:v>Roederer</c:v>
                </c:pt>
                <c:pt idx="43">
                  <c:v>All Others</c:v>
                </c:pt>
                <c:pt idx="44">
                  <c:v>Roederer</c:v>
                </c:pt>
                <c:pt idx="45">
                  <c:v>Laurent Per</c:v>
                </c:pt>
                <c:pt idx="46">
                  <c:v>De Venoge</c:v>
                </c:pt>
                <c:pt idx="47">
                  <c:v>Perrier Jou</c:v>
                </c:pt>
                <c:pt idx="48">
                  <c:v>Dom Perigno</c:v>
                </c:pt>
                <c:pt idx="49">
                  <c:v>All Others</c:v>
                </c:pt>
                <c:pt idx="50">
                  <c:v>All Others</c:v>
                </c:pt>
                <c:pt idx="51">
                  <c:v>Krug</c:v>
                </c:pt>
                <c:pt idx="52">
                  <c:v>Bollinger</c:v>
                </c:pt>
                <c:pt idx="53">
                  <c:v>Lanson</c:v>
                </c:pt>
                <c:pt idx="54">
                  <c:v>Bollinger</c:v>
                </c:pt>
                <c:pt idx="55">
                  <c:v>Ruinart</c:v>
                </c:pt>
                <c:pt idx="56">
                  <c:v>Malard</c:v>
                </c:pt>
                <c:pt idx="57">
                  <c:v>Roederer</c:v>
                </c:pt>
                <c:pt idx="58">
                  <c:v>Laurent Per</c:v>
                </c:pt>
                <c:pt idx="59">
                  <c:v>Perrier Jou</c:v>
                </c:pt>
                <c:pt idx="60">
                  <c:v>Roederer</c:v>
                </c:pt>
                <c:pt idx="61">
                  <c:v>Mumm</c:v>
                </c:pt>
                <c:pt idx="62">
                  <c:v>Veuve Clicq</c:v>
                </c:pt>
                <c:pt idx="63">
                  <c:v>Pommery</c:v>
                </c:pt>
                <c:pt idx="64">
                  <c:v>Roederer</c:v>
                </c:pt>
                <c:pt idx="65">
                  <c:v>Piper Heids</c:v>
                </c:pt>
                <c:pt idx="66">
                  <c:v>All Others</c:v>
                </c:pt>
                <c:pt idx="67">
                  <c:v>Roederer</c:v>
                </c:pt>
              </c:strCache>
            </c:strRef>
          </c:cat>
          <c:val>
            <c:numRef>
              <c:f>Sheet1!$B$2:$B$69</c:f>
              <c:numCache>
                <c:formatCode>General</c:formatCode>
                <c:ptCount val="68"/>
                <c:pt idx="0">
                  <c:v>0.26</c:v>
                </c:pt>
                <c:pt idx="1">
                  <c:v>0.3</c:v>
                </c:pt>
                <c:pt idx="2">
                  <c:v>0.56000000000000005</c:v>
                </c:pt>
                <c:pt idx="3">
                  <c:v>0.26</c:v>
                </c:pt>
                <c:pt idx="4">
                  <c:v>0.24</c:v>
                </c:pt>
                <c:pt idx="5">
                  <c:v>0.2</c:v>
                </c:pt>
                <c:pt idx="6">
                  <c:v>0.12</c:v>
                </c:pt>
                <c:pt idx="7">
                  <c:v>0.19</c:v>
                </c:pt>
                <c:pt idx="8">
                  <c:v>0.23</c:v>
                </c:pt>
                <c:pt idx="9">
                  <c:v>0.13</c:v>
                </c:pt>
                <c:pt idx="10">
                  <c:v>0.09</c:v>
                </c:pt>
                <c:pt idx="11">
                  <c:v>0.06</c:v>
                </c:pt>
                <c:pt idx="12">
                  <c:v>0.03</c:v>
                </c:pt>
                <c:pt idx="13">
                  <c:v>0.04</c:v>
                </c:pt>
                <c:pt idx="14">
                  <c:v>0.03</c:v>
                </c:pt>
                <c:pt idx="15">
                  <c:v>0.03</c:v>
                </c:pt>
                <c:pt idx="16">
                  <c:v>7.0000000000000007E-2</c:v>
                </c:pt>
                <c:pt idx="17">
                  <c:v>0.04</c:v>
                </c:pt>
                <c:pt idx="18">
                  <c:v>0.25</c:v>
                </c:pt>
                <c:pt idx="19">
                  <c:v>0.02</c:v>
                </c:pt>
                <c:pt idx="20">
                  <c:v>0.03</c:v>
                </c:pt>
                <c:pt idx="21">
                  <c:v>0.01</c:v>
                </c:pt>
                <c:pt idx="22">
                  <c:v>0.01</c:v>
                </c:pt>
                <c:pt idx="23">
                  <c:v>0.01</c:v>
                </c:pt>
                <c:pt idx="24">
                  <c:v>0.01</c:v>
                </c:pt>
                <c:pt idx="25">
                  <c:v>0.01</c:v>
                </c:pt>
                <c:pt idx="26">
                  <c:v>0.01</c:v>
                </c:pt>
                <c:pt idx="27">
                  <c:v>0.04</c:v>
                </c:pt>
                <c:pt idx="28">
                  <c:v>0.02</c:v>
                </c:pt>
                <c:pt idx="29">
                  <c:v>0.02</c:v>
                </c:pt>
                <c:pt idx="30">
                  <c:v>0.02</c:v>
                </c:pt>
                <c:pt idx="31">
                  <c:v>0.25</c:v>
                </c:pt>
                <c:pt idx="32">
                  <c:v>0.01</c:v>
                </c:pt>
                <c:pt idx="33">
                  <c:v>0.02</c:v>
                </c:pt>
                <c:pt idx="34">
                  <c:v>0.05</c:v>
                </c:pt>
                <c:pt idx="35">
                  <c:v>0.01</c:v>
                </c:pt>
                <c:pt idx="36">
                  <c:v>0.02</c:v>
                </c:pt>
                <c:pt idx="37">
                  <c:v>0.01</c:v>
                </c:pt>
                <c:pt idx="38">
                  <c:v>0.02</c:v>
                </c:pt>
                <c:pt idx="39">
                  <c:v>0.01</c:v>
                </c:pt>
                <c:pt idx="40">
                  <c:v>0.01</c:v>
                </c:pt>
                <c:pt idx="41">
                  <c:v>0.02</c:v>
                </c:pt>
                <c:pt idx="42">
                  <c:v>0.02</c:v>
                </c:pt>
                <c:pt idx="43">
                  <c:v>0.02</c:v>
                </c:pt>
                <c:pt idx="44">
                  <c:v>0.01</c:v>
                </c:pt>
                <c:pt idx="45">
                  <c:v>0.01</c:v>
                </c:pt>
                <c:pt idx="46">
                  <c:v>0.01</c:v>
                </c:pt>
                <c:pt idx="47">
                  <c:v>0.03</c:v>
                </c:pt>
                <c:pt idx="48">
                  <c:v>0.01</c:v>
                </c:pt>
                <c:pt idx="49">
                  <c:v>0.02</c:v>
                </c:pt>
                <c:pt idx="50">
                  <c:v>0.01</c:v>
                </c:pt>
                <c:pt idx="51">
                  <c:v>0.01</c:v>
                </c:pt>
                <c:pt idx="52">
                  <c:v>0.02</c:v>
                </c:pt>
                <c:pt idx="53">
                  <c:v>0.01</c:v>
                </c:pt>
                <c:pt idx="54">
                  <c:v>0.01</c:v>
                </c:pt>
                <c:pt idx="55">
                  <c:v>0.01</c:v>
                </c:pt>
                <c:pt idx="56">
                  <c:v>0.01</c:v>
                </c:pt>
                <c:pt idx="57">
                  <c:v>0.01</c:v>
                </c:pt>
                <c:pt idx="58">
                  <c:v>0.01</c:v>
                </c:pt>
                <c:pt idx="59">
                  <c:v>0.01</c:v>
                </c:pt>
                <c:pt idx="60">
                  <c:v>0.01</c:v>
                </c:pt>
                <c:pt idx="61">
                  <c:v>0.01</c:v>
                </c:pt>
                <c:pt idx="62">
                  <c:v>0.01</c:v>
                </c:pt>
                <c:pt idx="63">
                  <c:v>0.01</c:v>
                </c:pt>
                <c:pt idx="64">
                  <c:v>0.01</c:v>
                </c:pt>
                <c:pt idx="65">
                  <c:v>0.01</c:v>
                </c:pt>
                <c:pt idx="66">
                  <c:v>0.01</c:v>
                </c:pt>
                <c:pt idx="67">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7ECAC4"/>
              </a:solidFill>
            </c:spPr>
            <c:extLst>
              <c:ext xmlns:c16="http://schemas.microsoft.com/office/drawing/2014/chart" uri="{C3380CC4-5D6E-409C-BE32-E72D297353CC}">
                <c16:uniqueId val="{0000004F-2993-41DE-A2CB-63102DE87051}"/>
              </c:ext>
            </c:extLst>
          </c:dPt>
          <c:dPt>
            <c:idx val="12"/>
            <c:invertIfNegative val="1"/>
            <c:bubble3D val="0"/>
            <c:spPr>
              <a:solidFill>
                <a:srgbClr val="7ECAC4"/>
              </a:solidFill>
            </c:spPr>
            <c:extLst>
              <c:ext xmlns:c16="http://schemas.microsoft.com/office/drawing/2014/chart" uri="{C3380CC4-5D6E-409C-BE32-E72D297353CC}">
                <c16:uniqueId val="{00000051-2993-41DE-A2CB-63102DE87051}"/>
              </c:ext>
            </c:extLst>
          </c:dPt>
          <c:dPt>
            <c:idx val="13"/>
            <c:invertIfNegative val="1"/>
            <c:bubble3D val="0"/>
            <c:spPr>
              <a:solidFill>
                <a:srgbClr val="7ECAC4"/>
              </a:solidFill>
            </c:spPr>
            <c:extLst>
              <c:ext xmlns:c16="http://schemas.microsoft.com/office/drawing/2014/chart" uri="{C3380CC4-5D6E-409C-BE32-E72D297353CC}">
                <c16:uniqueId val="{00000053-2993-41DE-A2CB-63102DE87051}"/>
              </c:ext>
            </c:extLst>
          </c:dPt>
          <c:dPt>
            <c:idx val="14"/>
            <c:invertIfNegative val="1"/>
            <c:bubble3D val="0"/>
            <c:spPr>
              <a:solidFill>
                <a:srgbClr val="7ECAC4"/>
              </a:solidFill>
            </c:spPr>
            <c:extLst>
              <c:ext xmlns:c16="http://schemas.microsoft.com/office/drawing/2014/chart" uri="{C3380CC4-5D6E-409C-BE32-E72D297353CC}">
                <c16:uniqueId val="{00000055-2993-41DE-A2CB-63102DE87051}"/>
              </c:ext>
            </c:extLst>
          </c:dPt>
          <c:dPt>
            <c:idx val="15"/>
            <c:invertIfNegative val="1"/>
            <c:bubble3D val="0"/>
            <c:spPr>
              <a:solidFill>
                <a:srgbClr val="7ECAC4"/>
              </a:solidFill>
            </c:spPr>
            <c:extLst>
              <c:ext xmlns:c16="http://schemas.microsoft.com/office/drawing/2014/chart" uri="{C3380CC4-5D6E-409C-BE32-E72D297353CC}">
                <c16:uniqueId val="{00000057-2993-41DE-A2CB-63102DE87051}"/>
              </c:ext>
            </c:extLst>
          </c:dPt>
          <c:dPt>
            <c:idx val="16"/>
            <c:invertIfNegative val="1"/>
            <c:bubble3D val="0"/>
            <c:spPr>
              <a:solidFill>
                <a:srgbClr val="7ECAC4"/>
              </a:solidFill>
            </c:spPr>
            <c:extLst>
              <c:ext xmlns:c16="http://schemas.microsoft.com/office/drawing/2014/chart" uri="{C3380CC4-5D6E-409C-BE32-E72D297353CC}">
                <c16:uniqueId val="{00000059-2993-41DE-A2CB-63102DE87051}"/>
              </c:ext>
            </c:extLst>
          </c:dPt>
          <c:dPt>
            <c:idx val="17"/>
            <c:invertIfNegative val="1"/>
            <c:bubble3D val="0"/>
            <c:spPr>
              <a:solidFill>
                <a:srgbClr val="7ECAC4"/>
              </a:solidFill>
            </c:spPr>
            <c:extLst>
              <c:ext xmlns:c16="http://schemas.microsoft.com/office/drawing/2014/chart" uri="{C3380CC4-5D6E-409C-BE32-E72D297353CC}">
                <c16:uniqueId val="{0000005B-2993-41DE-A2CB-63102DE87051}"/>
              </c:ext>
            </c:extLst>
          </c:dPt>
          <c:dPt>
            <c:idx val="18"/>
            <c:invertIfNegative val="1"/>
            <c:bubble3D val="0"/>
            <c:spPr>
              <a:solidFill>
                <a:srgbClr val="7ECAC4"/>
              </a:solidFill>
            </c:spPr>
            <c:extLst>
              <c:ext xmlns:c16="http://schemas.microsoft.com/office/drawing/2014/chart" uri="{C3380CC4-5D6E-409C-BE32-E72D297353CC}">
                <c16:uniqueId val="{0000005D-2993-41DE-A2CB-63102DE87051}"/>
              </c:ext>
            </c:extLst>
          </c:dPt>
          <c:dPt>
            <c:idx val="19"/>
            <c:invertIfNegative val="1"/>
            <c:bubble3D val="0"/>
            <c:spPr>
              <a:solidFill>
                <a:srgbClr val="7ECAC4"/>
              </a:solidFill>
            </c:spPr>
            <c:extLst>
              <c:ext xmlns:c16="http://schemas.microsoft.com/office/drawing/2014/chart" uri="{C3380CC4-5D6E-409C-BE32-E72D297353CC}">
                <c16:uniqueId val="{0000005F-2993-41DE-A2CB-63102DE87051}"/>
              </c:ext>
            </c:extLst>
          </c:dPt>
          <c:dPt>
            <c:idx val="20"/>
            <c:invertIfNegative val="1"/>
            <c:bubble3D val="0"/>
            <c:spPr>
              <a:solidFill>
                <a:srgbClr val="7ECAC4"/>
              </a:solidFill>
            </c:spPr>
            <c:extLst>
              <c:ext xmlns:c16="http://schemas.microsoft.com/office/drawing/2014/chart" uri="{C3380CC4-5D6E-409C-BE32-E72D297353CC}">
                <c16:uniqueId val="{00000061-2993-41DE-A2CB-63102DE87051}"/>
              </c:ext>
            </c:extLst>
          </c:dPt>
          <c:dPt>
            <c:idx val="21"/>
            <c:invertIfNegative val="1"/>
            <c:bubble3D val="0"/>
            <c:spPr>
              <a:solidFill>
                <a:srgbClr val="7ECAC4"/>
              </a:solidFill>
            </c:spPr>
            <c:extLst>
              <c:ext xmlns:c16="http://schemas.microsoft.com/office/drawing/2014/chart" uri="{C3380CC4-5D6E-409C-BE32-E72D297353CC}">
                <c16:uniqueId val="{00000063-2993-41DE-A2CB-63102DE87051}"/>
              </c:ext>
            </c:extLst>
          </c:dPt>
          <c:dPt>
            <c:idx val="22"/>
            <c:invertIfNegative val="1"/>
            <c:bubble3D val="0"/>
            <c:spPr>
              <a:solidFill>
                <a:srgbClr val="AEABAB"/>
              </a:solidFill>
            </c:spPr>
            <c:extLst>
              <c:ext xmlns:c16="http://schemas.microsoft.com/office/drawing/2014/chart" uri="{C3380CC4-5D6E-409C-BE32-E72D297353CC}">
                <c16:uniqueId val="{00000065-2993-41DE-A2CB-63102DE87051}"/>
              </c:ext>
            </c:extLst>
          </c:dPt>
          <c:dPt>
            <c:idx val="23"/>
            <c:invertIfNegative val="1"/>
            <c:bubble3D val="0"/>
            <c:spPr>
              <a:solidFill>
                <a:srgbClr val="AEABAB"/>
              </a:solidFill>
            </c:spPr>
            <c:extLst>
              <c:ext xmlns:c16="http://schemas.microsoft.com/office/drawing/2014/chart" uri="{C3380CC4-5D6E-409C-BE32-E72D297353CC}">
                <c16:uniqueId val="{00000067-2993-41DE-A2CB-63102DE87051}"/>
              </c:ext>
            </c:extLst>
          </c:dPt>
          <c:dPt>
            <c:idx val="24"/>
            <c:invertIfNegative val="1"/>
            <c:bubble3D val="0"/>
            <c:spPr>
              <a:solidFill>
                <a:srgbClr val="AEABAB"/>
              </a:solidFill>
            </c:spPr>
            <c:extLst>
              <c:ext xmlns:c16="http://schemas.microsoft.com/office/drawing/2014/chart" uri="{C3380CC4-5D6E-409C-BE32-E72D297353CC}">
                <c16:uniqueId val="{00000069-2993-41DE-A2CB-63102DE87051}"/>
              </c:ext>
            </c:extLst>
          </c:dPt>
          <c:dPt>
            <c:idx val="25"/>
            <c:invertIfNegative val="1"/>
            <c:bubble3D val="0"/>
            <c:spPr>
              <a:solidFill>
                <a:srgbClr val="AEABAB"/>
              </a:solidFill>
            </c:spPr>
            <c:extLst>
              <c:ext xmlns:c16="http://schemas.microsoft.com/office/drawing/2014/chart" uri="{C3380CC4-5D6E-409C-BE32-E72D297353CC}">
                <c16:uniqueId val="{0000006B-2993-41DE-A2CB-63102DE87051}"/>
              </c:ext>
            </c:extLst>
          </c:dPt>
          <c:dPt>
            <c:idx val="26"/>
            <c:invertIfNegative val="1"/>
            <c:bubble3D val="0"/>
            <c:spPr>
              <a:solidFill>
                <a:srgbClr val="AEABAB"/>
              </a:solidFill>
            </c:spPr>
            <c:extLst>
              <c:ext xmlns:c16="http://schemas.microsoft.com/office/drawing/2014/chart" uri="{C3380CC4-5D6E-409C-BE32-E72D297353CC}">
                <c16:uniqueId val="{0000006D-2993-41DE-A2CB-63102DE87051}"/>
              </c:ext>
            </c:extLst>
          </c:dPt>
          <c:dPt>
            <c:idx val="27"/>
            <c:invertIfNegative val="1"/>
            <c:bubble3D val="0"/>
            <c:spPr>
              <a:solidFill>
                <a:srgbClr val="AEABAB"/>
              </a:solidFill>
            </c:spPr>
            <c:extLst>
              <c:ext xmlns:c16="http://schemas.microsoft.com/office/drawing/2014/chart" uri="{C3380CC4-5D6E-409C-BE32-E72D297353CC}">
                <c16:uniqueId val="{0000006F-2993-41DE-A2CB-63102DE87051}"/>
              </c:ext>
            </c:extLst>
          </c:dPt>
          <c:dPt>
            <c:idx val="28"/>
            <c:invertIfNegative val="1"/>
            <c:bubble3D val="0"/>
            <c:spPr>
              <a:solidFill>
                <a:srgbClr val="AEABAB"/>
              </a:solidFill>
            </c:spPr>
            <c:extLst>
              <c:ext xmlns:c16="http://schemas.microsoft.com/office/drawing/2014/chart" uri="{C3380CC4-5D6E-409C-BE32-E72D297353CC}">
                <c16:uniqueId val="{00000071-2993-41DE-A2CB-63102DE87051}"/>
              </c:ext>
            </c:extLst>
          </c:dPt>
          <c:dPt>
            <c:idx val="29"/>
            <c:invertIfNegative val="1"/>
            <c:bubble3D val="0"/>
            <c:spPr>
              <a:solidFill>
                <a:srgbClr val="AEABAB"/>
              </a:solidFill>
            </c:spPr>
            <c:extLst>
              <c:ext xmlns:c16="http://schemas.microsoft.com/office/drawing/2014/chart" uri="{C3380CC4-5D6E-409C-BE32-E72D297353CC}">
                <c16:uniqueId val="{00000073-2993-41DE-A2CB-63102DE87051}"/>
              </c:ext>
            </c:extLst>
          </c:dPt>
          <c:dPt>
            <c:idx val="30"/>
            <c:invertIfNegative val="1"/>
            <c:bubble3D val="0"/>
            <c:spPr>
              <a:solidFill>
                <a:srgbClr val="AEABAB"/>
              </a:solidFill>
            </c:spPr>
            <c:extLst>
              <c:ext xmlns:c16="http://schemas.microsoft.com/office/drawing/2014/chart" uri="{C3380CC4-5D6E-409C-BE32-E72D297353CC}">
                <c16:uniqueId val="{00000075-2993-41DE-A2CB-63102DE87051}"/>
              </c:ext>
            </c:extLst>
          </c:dPt>
          <c:dPt>
            <c:idx val="31"/>
            <c:invertIfNegative val="1"/>
            <c:bubble3D val="0"/>
            <c:spPr>
              <a:solidFill>
                <a:srgbClr val="AEABAB"/>
              </a:solidFill>
            </c:spPr>
            <c:extLst>
              <c:ext xmlns:c16="http://schemas.microsoft.com/office/drawing/2014/chart" uri="{C3380CC4-5D6E-409C-BE32-E72D297353CC}">
                <c16:uniqueId val="{00000077-2993-41DE-A2CB-63102DE87051}"/>
              </c:ext>
            </c:extLst>
          </c:dPt>
          <c:dPt>
            <c:idx val="32"/>
            <c:invertIfNegative val="1"/>
            <c:bubble3D val="0"/>
            <c:spPr>
              <a:solidFill>
                <a:srgbClr val="AEABAB"/>
              </a:solidFill>
            </c:spPr>
            <c:extLst>
              <c:ext xmlns:c16="http://schemas.microsoft.com/office/drawing/2014/chart" uri="{C3380CC4-5D6E-409C-BE32-E72D297353CC}">
                <c16:uniqueId val="{00000079-2993-41DE-A2CB-63102DE87051}"/>
              </c:ext>
            </c:extLst>
          </c:dPt>
          <c:dPt>
            <c:idx val="33"/>
            <c:invertIfNegative val="1"/>
            <c:bubble3D val="0"/>
            <c:spPr>
              <a:solidFill>
                <a:srgbClr val="AEABAB"/>
              </a:solidFill>
            </c:spPr>
            <c:extLst>
              <c:ext xmlns:c16="http://schemas.microsoft.com/office/drawing/2014/chart" uri="{C3380CC4-5D6E-409C-BE32-E72D297353CC}">
                <c16:uniqueId val="{0000007B-2993-41DE-A2CB-63102DE87051}"/>
              </c:ext>
            </c:extLst>
          </c:dPt>
          <c:dPt>
            <c:idx val="34"/>
            <c:invertIfNegative val="1"/>
            <c:bubble3D val="0"/>
            <c:spPr>
              <a:solidFill>
                <a:srgbClr val="AEABAB"/>
              </a:solidFill>
            </c:spPr>
            <c:extLst>
              <c:ext xmlns:c16="http://schemas.microsoft.com/office/drawing/2014/chart" uri="{C3380CC4-5D6E-409C-BE32-E72D297353CC}">
                <c16:uniqueId val="{0000007D-2993-41DE-A2CB-63102DE87051}"/>
              </c:ext>
            </c:extLst>
          </c:dPt>
          <c:dPt>
            <c:idx val="35"/>
            <c:invertIfNegative val="1"/>
            <c:bubble3D val="0"/>
            <c:spPr>
              <a:solidFill>
                <a:srgbClr val="AEABAB"/>
              </a:solidFill>
            </c:spPr>
            <c:extLst>
              <c:ext xmlns:c16="http://schemas.microsoft.com/office/drawing/2014/chart" uri="{C3380CC4-5D6E-409C-BE32-E72D297353CC}">
                <c16:uniqueId val="{0000007F-2993-41DE-A2CB-63102DE87051}"/>
              </c:ext>
            </c:extLst>
          </c:dPt>
          <c:dPt>
            <c:idx val="36"/>
            <c:invertIfNegative val="1"/>
            <c:bubble3D val="0"/>
            <c:spPr>
              <a:solidFill>
                <a:srgbClr val="AEABAB"/>
              </a:solidFill>
            </c:spPr>
            <c:extLst>
              <c:ext xmlns:c16="http://schemas.microsoft.com/office/drawing/2014/chart" uri="{C3380CC4-5D6E-409C-BE32-E72D297353CC}">
                <c16:uniqueId val="{00000081-2993-41DE-A2CB-63102DE87051}"/>
              </c:ext>
            </c:extLst>
          </c:dPt>
          <c:dPt>
            <c:idx val="37"/>
            <c:invertIfNegative val="1"/>
            <c:bubble3D val="0"/>
            <c:spPr>
              <a:solidFill>
                <a:srgbClr val="AEABAB"/>
              </a:solidFill>
            </c:spPr>
            <c:extLst>
              <c:ext xmlns:c16="http://schemas.microsoft.com/office/drawing/2014/chart" uri="{C3380CC4-5D6E-409C-BE32-E72D297353CC}">
                <c16:uniqueId val="{00000083-2993-41DE-A2CB-63102DE87051}"/>
              </c:ext>
            </c:extLst>
          </c:dPt>
          <c:dPt>
            <c:idx val="38"/>
            <c:invertIfNegative val="1"/>
            <c:bubble3D val="0"/>
            <c:spPr>
              <a:solidFill>
                <a:srgbClr val="AEABAB"/>
              </a:solidFill>
            </c:spPr>
            <c:extLst>
              <c:ext xmlns:c16="http://schemas.microsoft.com/office/drawing/2014/chart" uri="{C3380CC4-5D6E-409C-BE32-E72D297353CC}">
                <c16:uniqueId val="{00000085-2993-41DE-A2CB-63102DE87051}"/>
              </c:ext>
            </c:extLst>
          </c:dPt>
          <c:dPt>
            <c:idx val="39"/>
            <c:invertIfNegative val="1"/>
            <c:bubble3D val="0"/>
            <c:spPr>
              <a:solidFill>
                <a:srgbClr val="AEABAB"/>
              </a:solidFill>
            </c:spPr>
            <c:extLst>
              <c:ext xmlns:c16="http://schemas.microsoft.com/office/drawing/2014/chart" uri="{C3380CC4-5D6E-409C-BE32-E72D297353CC}">
                <c16:uniqueId val="{00000087-2993-41DE-A2CB-63102DE87051}"/>
              </c:ext>
            </c:extLst>
          </c:dPt>
          <c:dPt>
            <c:idx val="40"/>
            <c:invertIfNegative val="1"/>
            <c:bubble3D val="0"/>
            <c:spPr>
              <a:solidFill>
                <a:srgbClr val="AEABAB"/>
              </a:solidFill>
            </c:spPr>
            <c:extLst>
              <c:ext xmlns:c16="http://schemas.microsoft.com/office/drawing/2014/chart" uri="{C3380CC4-5D6E-409C-BE32-E72D297353CC}">
                <c16:uniqueId val="{00000089-2993-41DE-A2CB-63102DE87051}"/>
              </c:ext>
            </c:extLst>
          </c:dPt>
          <c:dPt>
            <c:idx val="41"/>
            <c:invertIfNegative val="1"/>
            <c:bubble3D val="0"/>
            <c:spPr>
              <a:solidFill>
                <a:srgbClr val="AEABAB"/>
              </a:solidFill>
            </c:spPr>
            <c:extLst>
              <c:ext xmlns:c16="http://schemas.microsoft.com/office/drawing/2014/chart" uri="{C3380CC4-5D6E-409C-BE32-E72D297353CC}">
                <c16:uniqueId val="{0000008B-2993-41DE-A2CB-63102DE87051}"/>
              </c:ext>
            </c:extLst>
          </c:dPt>
          <c:dPt>
            <c:idx val="42"/>
            <c:invertIfNegative val="1"/>
            <c:bubble3D val="0"/>
            <c:spPr>
              <a:solidFill>
                <a:srgbClr val="AEABAB"/>
              </a:solidFill>
            </c:spPr>
            <c:extLst>
              <c:ext xmlns:c16="http://schemas.microsoft.com/office/drawing/2014/chart" uri="{C3380CC4-5D6E-409C-BE32-E72D297353CC}">
                <c16:uniqueId val="{0000008D-2993-41DE-A2CB-63102DE87051}"/>
              </c:ext>
            </c:extLst>
          </c:dPt>
          <c:dPt>
            <c:idx val="43"/>
            <c:invertIfNegative val="1"/>
            <c:bubble3D val="0"/>
            <c:spPr>
              <a:solidFill>
                <a:srgbClr val="AEABAB"/>
              </a:solidFill>
            </c:spPr>
            <c:extLst>
              <c:ext xmlns:c16="http://schemas.microsoft.com/office/drawing/2014/chart" uri="{C3380CC4-5D6E-409C-BE32-E72D297353CC}">
                <c16:uniqueId val="{0000008F-2993-41DE-A2CB-63102DE87051}"/>
              </c:ext>
            </c:extLst>
          </c:dPt>
          <c:dPt>
            <c:idx val="44"/>
            <c:invertIfNegative val="1"/>
            <c:bubble3D val="0"/>
            <c:spPr>
              <a:solidFill>
                <a:srgbClr val="AEABAB"/>
              </a:solidFill>
            </c:spPr>
            <c:extLst>
              <c:ext xmlns:c16="http://schemas.microsoft.com/office/drawing/2014/chart" uri="{C3380CC4-5D6E-409C-BE32-E72D297353CC}">
                <c16:uniqueId val="{00000091-2993-41DE-A2CB-63102DE87051}"/>
              </c:ext>
            </c:extLst>
          </c:dPt>
          <c:dPt>
            <c:idx val="45"/>
            <c:invertIfNegative val="1"/>
            <c:bubble3D val="0"/>
            <c:spPr>
              <a:solidFill>
                <a:srgbClr val="AEABAB"/>
              </a:solidFill>
            </c:spPr>
            <c:extLst>
              <c:ext xmlns:c16="http://schemas.microsoft.com/office/drawing/2014/chart" uri="{C3380CC4-5D6E-409C-BE32-E72D297353CC}">
                <c16:uniqueId val="{00000093-2993-41DE-A2CB-63102DE87051}"/>
              </c:ext>
            </c:extLst>
          </c:dPt>
          <c:dPt>
            <c:idx val="46"/>
            <c:invertIfNegative val="1"/>
            <c:bubble3D val="0"/>
            <c:spPr>
              <a:solidFill>
                <a:srgbClr val="AEABAB"/>
              </a:solidFill>
            </c:spPr>
            <c:extLst>
              <c:ext xmlns:c16="http://schemas.microsoft.com/office/drawing/2014/chart" uri="{C3380CC4-5D6E-409C-BE32-E72D297353CC}">
                <c16:uniqueId val="{00000095-2993-41DE-A2CB-63102DE87051}"/>
              </c:ext>
            </c:extLst>
          </c:dPt>
          <c:dPt>
            <c:idx val="47"/>
            <c:invertIfNegative val="1"/>
            <c:bubble3D val="0"/>
            <c:spPr>
              <a:solidFill>
                <a:srgbClr val="AEABAB"/>
              </a:solidFill>
            </c:spPr>
            <c:extLst>
              <c:ext xmlns:c16="http://schemas.microsoft.com/office/drawing/2014/chart" uri="{C3380CC4-5D6E-409C-BE32-E72D297353CC}">
                <c16:uniqueId val="{00000097-2993-41DE-A2CB-63102DE87051}"/>
              </c:ext>
            </c:extLst>
          </c:dPt>
          <c:dPt>
            <c:idx val="48"/>
            <c:invertIfNegative val="1"/>
            <c:bubble3D val="0"/>
            <c:spPr>
              <a:solidFill>
                <a:srgbClr val="AEABAB"/>
              </a:solidFill>
            </c:spPr>
            <c:extLst>
              <c:ext xmlns:c16="http://schemas.microsoft.com/office/drawing/2014/chart" uri="{C3380CC4-5D6E-409C-BE32-E72D297353CC}">
                <c16:uniqueId val="{00000099-2993-41DE-A2CB-63102DE87051}"/>
              </c:ext>
            </c:extLst>
          </c:dPt>
          <c:dPt>
            <c:idx val="49"/>
            <c:invertIfNegative val="1"/>
            <c:bubble3D val="0"/>
            <c:spPr>
              <a:solidFill>
                <a:srgbClr val="AEABAB"/>
              </a:solidFill>
            </c:spPr>
            <c:extLst>
              <c:ext xmlns:c16="http://schemas.microsoft.com/office/drawing/2014/chart" uri="{C3380CC4-5D6E-409C-BE32-E72D297353CC}">
                <c16:uniqueId val="{0000009B-2993-41DE-A2CB-63102DE87051}"/>
              </c:ext>
            </c:extLst>
          </c:dPt>
          <c:dPt>
            <c:idx val="50"/>
            <c:invertIfNegative val="1"/>
            <c:bubble3D val="0"/>
            <c:spPr>
              <a:solidFill>
                <a:srgbClr val="AEABAB"/>
              </a:solidFill>
            </c:spPr>
            <c:extLst>
              <c:ext xmlns:c16="http://schemas.microsoft.com/office/drawing/2014/chart" uri="{C3380CC4-5D6E-409C-BE32-E72D297353CC}">
                <c16:uniqueId val="{0000009D-2993-41DE-A2CB-63102DE87051}"/>
              </c:ext>
            </c:extLst>
          </c:dPt>
          <c:dPt>
            <c:idx val="51"/>
            <c:invertIfNegative val="1"/>
            <c:bubble3D val="0"/>
            <c:spPr>
              <a:solidFill>
                <a:srgbClr val="AEABAB"/>
              </a:solidFill>
            </c:spPr>
            <c:extLst>
              <c:ext xmlns:c16="http://schemas.microsoft.com/office/drawing/2014/chart" uri="{C3380CC4-5D6E-409C-BE32-E72D297353CC}">
                <c16:uniqueId val="{0000009F-2993-41DE-A2CB-63102DE87051}"/>
              </c:ext>
            </c:extLst>
          </c:dPt>
          <c:dPt>
            <c:idx val="52"/>
            <c:invertIfNegative val="1"/>
            <c:bubble3D val="0"/>
            <c:spPr>
              <a:solidFill>
                <a:srgbClr val="AEABAB"/>
              </a:solidFill>
            </c:spPr>
            <c:extLst>
              <c:ext xmlns:c16="http://schemas.microsoft.com/office/drawing/2014/chart" uri="{C3380CC4-5D6E-409C-BE32-E72D297353CC}">
                <c16:uniqueId val="{000000A1-2993-41DE-A2CB-63102DE87051}"/>
              </c:ext>
            </c:extLst>
          </c:dPt>
          <c:dPt>
            <c:idx val="53"/>
            <c:invertIfNegative val="1"/>
            <c:bubble3D val="0"/>
            <c:spPr>
              <a:solidFill>
                <a:srgbClr val="AEABAB"/>
              </a:solidFill>
            </c:spPr>
            <c:extLst>
              <c:ext xmlns:c16="http://schemas.microsoft.com/office/drawing/2014/chart" uri="{C3380CC4-5D6E-409C-BE32-E72D297353CC}">
                <c16:uniqueId val="{000000A3-2993-41DE-A2CB-63102DE87051}"/>
              </c:ext>
            </c:extLst>
          </c:dPt>
          <c:dPt>
            <c:idx val="54"/>
            <c:invertIfNegative val="0"/>
            <c:bubble3D val="0"/>
            <c:spPr>
              <a:solidFill>
                <a:srgbClr val="AEABAB"/>
              </a:solidFill>
            </c:spPr>
            <c:extLst>
              <c:ext xmlns:c16="http://schemas.microsoft.com/office/drawing/2014/chart" uri="{C3380CC4-5D6E-409C-BE32-E72D297353CC}">
                <c16:uniqueId val="{00000072-C76F-4230-900D-40618C09729F}"/>
              </c:ext>
            </c:extLst>
          </c:dPt>
          <c:dPt>
            <c:idx val="55"/>
            <c:invertIfNegative val="0"/>
            <c:bubble3D val="0"/>
            <c:spPr>
              <a:solidFill>
                <a:srgbClr val="AEABAB"/>
              </a:solidFill>
            </c:spPr>
            <c:extLst>
              <c:ext xmlns:c16="http://schemas.microsoft.com/office/drawing/2014/chart" uri="{C3380CC4-5D6E-409C-BE32-E72D297353CC}">
                <c16:uniqueId val="{00000074-C76F-4230-900D-40618C09729F}"/>
              </c:ext>
            </c:extLst>
          </c:dPt>
          <c:dPt>
            <c:idx val="56"/>
            <c:invertIfNegative val="0"/>
            <c:bubble3D val="0"/>
            <c:spPr>
              <a:solidFill>
                <a:srgbClr val="AEABAB"/>
              </a:solidFill>
            </c:spPr>
            <c:extLst>
              <c:ext xmlns:c16="http://schemas.microsoft.com/office/drawing/2014/chart" uri="{C3380CC4-5D6E-409C-BE32-E72D297353CC}">
                <c16:uniqueId val="{00000076-C76F-4230-900D-40618C09729F}"/>
              </c:ext>
            </c:extLst>
          </c:dPt>
          <c:dPt>
            <c:idx val="57"/>
            <c:invertIfNegative val="0"/>
            <c:bubble3D val="0"/>
            <c:spPr>
              <a:solidFill>
                <a:srgbClr val="AEABAB"/>
              </a:solidFill>
            </c:spPr>
            <c:extLst>
              <c:ext xmlns:c16="http://schemas.microsoft.com/office/drawing/2014/chart" uri="{C3380CC4-5D6E-409C-BE32-E72D297353CC}">
                <c16:uniqueId val="{00000078-C76F-4230-900D-40618C09729F}"/>
              </c:ext>
            </c:extLst>
          </c:dPt>
          <c:dPt>
            <c:idx val="58"/>
            <c:invertIfNegative val="0"/>
            <c:bubble3D val="0"/>
            <c:spPr>
              <a:solidFill>
                <a:srgbClr val="AEABAB"/>
              </a:solidFill>
            </c:spPr>
            <c:extLst>
              <c:ext xmlns:c16="http://schemas.microsoft.com/office/drawing/2014/chart" uri="{C3380CC4-5D6E-409C-BE32-E72D297353CC}">
                <c16:uniqueId val="{0000007A-C76F-4230-900D-40618C09729F}"/>
              </c:ext>
            </c:extLst>
          </c:dPt>
          <c:dPt>
            <c:idx val="59"/>
            <c:invertIfNegative val="0"/>
            <c:bubble3D val="0"/>
            <c:spPr>
              <a:solidFill>
                <a:srgbClr val="AEABAB"/>
              </a:solidFill>
            </c:spPr>
            <c:extLst>
              <c:ext xmlns:c16="http://schemas.microsoft.com/office/drawing/2014/chart" uri="{C3380CC4-5D6E-409C-BE32-E72D297353CC}">
                <c16:uniqueId val="{0000007C-C76F-4230-900D-40618C09729F}"/>
              </c:ext>
            </c:extLst>
          </c:dPt>
          <c:dPt>
            <c:idx val="60"/>
            <c:invertIfNegative val="0"/>
            <c:bubble3D val="0"/>
            <c:spPr>
              <a:solidFill>
                <a:srgbClr val="AEABAB"/>
              </a:solidFill>
            </c:spPr>
            <c:extLst>
              <c:ext xmlns:c16="http://schemas.microsoft.com/office/drawing/2014/chart" uri="{C3380CC4-5D6E-409C-BE32-E72D297353CC}">
                <c16:uniqueId val="{0000007E-C76F-4230-900D-40618C09729F}"/>
              </c:ext>
            </c:extLst>
          </c:dPt>
          <c:dPt>
            <c:idx val="61"/>
            <c:invertIfNegative val="0"/>
            <c:bubble3D val="0"/>
            <c:spPr>
              <a:solidFill>
                <a:srgbClr val="AEABAB"/>
              </a:solidFill>
            </c:spPr>
            <c:extLst>
              <c:ext xmlns:c16="http://schemas.microsoft.com/office/drawing/2014/chart" uri="{C3380CC4-5D6E-409C-BE32-E72D297353CC}">
                <c16:uniqueId val="{00000080-C76F-4230-900D-40618C09729F}"/>
              </c:ext>
            </c:extLst>
          </c:dPt>
          <c:dPt>
            <c:idx val="62"/>
            <c:invertIfNegative val="0"/>
            <c:bubble3D val="0"/>
            <c:spPr>
              <a:solidFill>
                <a:srgbClr val="AEABAB"/>
              </a:solidFill>
            </c:spPr>
            <c:extLst>
              <c:ext xmlns:c16="http://schemas.microsoft.com/office/drawing/2014/chart" uri="{C3380CC4-5D6E-409C-BE32-E72D297353CC}">
                <c16:uniqueId val="{00000082-C76F-4230-900D-40618C09729F}"/>
              </c:ext>
            </c:extLst>
          </c:dPt>
          <c:dPt>
            <c:idx val="63"/>
            <c:invertIfNegative val="0"/>
            <c:bubble3D val="0"/>
            <c:spPr>
              <a:solidFill>
                <a:srgbClr val="AEABAB"/>
              </a:solidFill>
            </c:spPr>
            <c:extLst>
              <c:ext xmlns:c16="http://schemas.microsoft.com/office/drawing/2014/chart" uri="{C3380CC4-5D6E-409C-BE32-E72D297353CC}">
                <c16:uniqueId val="{00000084-C76F-4230-900D-40618C09729F}"/>
              </c:ext>
            </c:extLst>
          </c:dPt>
          <c:dPt>
            <c:idx val="64"/>
            <c:invertIfNegative val="0"/>
            <c:bubble3D val="0"/>
            <c:spPr>
              <a:solidFill>
                <a:srgbClr val="AEABAB"/>
              </a:solidFill>
            </c:spPr>
            <c:extLst>
              <c:ext xmlns:c16="http://schemas.microsoft.com/office/drawing/2014/chart" uri="{C3380CC4-5D6E-409C-BE32-E72D297353CC}">
                <c16:uniqueId val="{00000086-C76F-4230-900D-40618C09729F}"/>
              </c:ext>
            </c:extLst>
          </c:dPt>
          <c:dPt>
            <c:idx val="65"/>
            <c:invertIfNegative val="0"/>
            <c:bubble3D val="0"/>
            <c:spPr>
              <a:solidFill>
                <a:srgbClr val="AEABAB"/>
              </a:solidFill>
            </c:spPr>
            <c:extLst>
              <c:ext xmlns:c16="http://schemas.microsoft.com/office/drawing/2014/chart" uri="{C3380CC4-5D6E-409C-BE32-E72D297353CC}">
                <c16:uniqueId val="{00000088-C76F-4230-900D-40618C09729F}"/>
              </c:ext>
            </c:extLst>
          </c:dPt>
          <c:dPt>
            <c:idx val="66"/>
            <c:invertIfNegative val="0"/>
            <c:bubble3D val="0"/>
            <c:spPr>
              <a:solidFill>
                <a:srgbClr val="AEABAB"/>
              </a:solidFill>
            </c:spPr>
            <c:extLst>
              <c:ext xmlns:c16="http://schemas.microsoft.com/office/drawing/2014/chart" uri="{C3380CC4-5D6E-409C-BE32-E72D297353CC}">
                <c16:uniqueId val="{0000008A-C76F-4230-900D-40618C09729F}"/>
              </c:ext>
            </c:extLst>
          </c:dPt>
          <c:dPt>
            <c:idx val="67"/>
            <c:invertIfNegative val="0"/>
            <c:bubble3D val="0"/>
            <c:spPr>
              <a:solidFill>
                <a:srgbClr val="AEABAB"/>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69</c:f>
              <c:strCache>
                <c:ptCount val="68"/>
                <c:pt idx="0">
                  <c:v>Dom Perigno</c:v>
                </c:pt>
                <c:pt idx="1">
                  <c:v>Dom Perigno</c:v>
                </c:pt>
                <c:pt idx="2">
                  <c:v>Malard</c:v>
                </c:pt>
                <c:pt idx="3">
                  <c:v>Roederer</c:v>
                </c:pt>
                <c:pt idx="4">
                  <c:v>Roederer</c:v>
                </c:pt>
                <c:pt idx="5">
                  <c:v>Roederer</c:v>
                </c:pt>
                <c:pt idx="6">
                  <c:v>Ruinart</c:v>
                </c:pt>
                <c:pt idx="7">
                  <c:v>Roederer</c:v>
                </c:pt>
                <c:pt idx="8">
                  <c:v>Ruinart</c:v>
                </c:pt>
                <c:pt idx="9">
                  <c:v>Laurent Per</c:v>
                </c:pt>
                <c:pt idx="10">
                  <c:v>Dom Perigno</c:v>
                </c:pt>
                <c:pt idx="11">
                  <c:v>Bollinger</c:v>
                </c:pt>
                <c:pt idx="12">
                  <c:v>Roederer</c:v>
                </c:pt>
                <c:pt idx="13">
                  <c:v>Dom Perigno</c:v>
                </c:pt>
                <c:pt idx="14">
                  <c:v>Piper Heids</c:v>
                </c:pt>
                <c:pt idx="15">
                  <c:v>Pommery</c:v>
                </c:pt>
                <c:pt idx="16">
                  <c:v>Ruinart</c:v>
                </c:pt>
                <c:pt idx="17">
                  <c:v>Roederer</c:v>
                </c:pt>
                <c:pt idx="18">
                  <c:v>Veuve Clicq</c:v>
                </c:pt>
                <c:pt idx="19">
                  <c:v>Perrier Jou</c:v>
                </c:pt>
                <c:pt idx="20">
                  <c:v>Piper Heids</c:v>
                </c:pt>
                <c:pt idx="21">
                  <c:v>All Others</c:v>
                </c:pt>
                <c:pt idx="22">
                  <c:v>Roederer</c:v>
                </c:pt>
                <c:pt idx="23">
                  <c:v>Roederer</c:v>
                </c:pt>
                <c:pt idx="24">
                  <c:v>Bollinger</c:v>
                </c:pt>
                <c:pt idx="25">
                  <c:v>Veuve Clicq</c:v>
                </c:pt>
                <c:pt idx="26">
                  <c:v>Roederer</c:v>
                </c:pt>
                <c:pt idx="27">
                  <c:v>De Venoge</c:v>
                </c:pt>
                <c:pt idx="28">
                  <c:v>All Others</c:v>
                </c:pt>
                <c:pt idx="29">
                  <c:v>Ruinart</c:v>
                </c:pt>
                <c:pt idx="30">
                  <c:v>Roederer</c:v>
                </c:pt>
                <c:pt idx="31">
                  <c:v>Veuve Clicq</c:v>
                </c:pt>
                <c:pt idx="32">
                  <c:v>Ruinart</c:v>
                </c:pt>
                <c:pt idx="33">
                  <c:v>Veuve Clicq</c:v>
                </c:pt>
                <c:pt idx="34">
                  <c:v>Laurent Per</c:v>
                </c:pt>
                <c:pt idx="35">
                  <c:v>Bollinger</c:v>
                </c:pt>
                <c:pt idx="36">
                  <c:v>Deutz</c:v>
                </c:pt>
                <c:pt idx="37">
                  <c:v>De Venoge</c:v>
                </c:pt>
                <c:pt idx="38">
                  <c:v>Malard</c:v>
                </c:pt>
                <c:pt idx="39">
                  <c:v>Dom Perigno</c:v>
                </c:pt>
                <c:pt idx="40">
                  <c:v>Pommery</c:v>
                </c:pt>
                <c:pt idx="41">
                  <c:v>Pommery</c:v>
                </c:pt>
                <c:pt idx="42">
                  <c:v>Roederer</c:v>
                </c:pt>
                <c:pt idx="43">
                  <c:v>All Others</c:v>
                </c:pt>
                <c:pt idx="44">
                  <c:v>Roederer</c:v>
                </c:pt>
                <c:pt idx="45">
                  <c:v>Laurent Per</c:v>
                </c:pt>
                <c:pt idx="46">
                  <c:v>De Venoge</c:v>
                </c:pt>
                <c:pt idx="47">
                  <c:v>Perrier Jou</c:v>
                </c:pt>
                <c:pt idx="48">
                  <c:v>Dom Perigno</c:v>
                </c:pt>
                <c:pt idx="49">
                  <c:v>All Others</c:v>
                </c:pt>
                <c:pt idx="50">
                  <c:v>All Others</c:v>
                </c:pt>
                <c:pt idx="51">
                  <c:v>Krug</c:v>
                </c:pt>
                <c:pt idx="52">
                  <c:v>Bollinger</c:v>
                </c:pt>
                <c:pt idx="53">
                  <c:v>Lanson</c:v>
                </c:pt>
                <c:pt idx="54">
                  <c:v>Bollinger</c:v>
                </c:pt>
                <c:pt idx="55">
                  <c:v>Ruinart</c:v>
                </c:pt>
                <c:pt idx="56">
                  <c:v>Malard</c:v>
                </c:pt>
                <c:pt idx="57">
                  <c:v>Roederer</c:v>
                </c:pt>
                <c:pt idx="58">
                  <c:v>Laurent Per</c:v>
                </c:pt>
                <c:pt idx="59">
                  <c:v>Perrier Jou</c:v>
                </c:pt>
                <c:pt idx="60">
                  <c:v>Roederer</c:v>
                </c:pt>
                <c:pt idx="61">
                  <c:v>Mumm</c:v>
                </c:pt>
                <c:pt idx="62">
                  <c:v>Veuve Clicq</c:v>
                </c:pt>
                <c:pt idx="63">
                  <c:v>Pommery</c:v>
                </c:pt>
                <c:pt idx="64">
                  <c:v>Roederer</c:v>
                </c:pt>
                <c:pt idx="65">
                  <c:v>Piper Heids</c:v>
                </c:pt>
                <c:pt idx="66">
                  <c:v>All Others</c:v>
                </c:pt>
                <c:pt idx="67">
                  <c:v>Roederer</c:v>
                </c:pt>
              </c:strCache>
            </c:strRef>
          </c:cat>
          <c:val>
            <c:numRef>
              <c:f>Sheet1!$C$2:$C$69</c:f>
              <c:numCache>
                <c:formatCode>General</c:formatCode>
                <c:ptCount val="68"/>
                <c:pt idx="0">
                  <c:v>0.17653880060330626</c:v>
                </c:pt>
                <c:pt idx="1">
                  <c:v>0.34728727330502163</c:v>
                </c:pt>
                <c:pt idx="2">
                  <c:v>0.44791959741332987</c:v>
                </c:pt>
                <c:pt idx="3">
                  <c:v>0.5475346421151468</c:v>
                </c:pt>
                <c:pt idx="4">
                  <c:v>0.60193150686442931</c:v>
                </c:pt>
                <c:pt idx="5">
                  <c:v>0.64954172776411478</c:v>
                </c:pt>
                <c:pt idx="6">
                  <c:v>0.69282133947673008</c:v>
                </c:pt>
                <c:pt idx="7">
                  <c:v>0.72862913324925893</c:v>
                </c:pt>
                <c:pt idx="8">
                  <c:v>0.76412688850419119</c:v>
                </c:pt>
                <c:pt idx="9">
                  <c:v>0.79706710182393137</c:v>
                </c:pt>
                <c:pt idx="10">
                  <c:v>0.82584000026480175</c:v>
                </c:pt>
                <c:pt idx="11">
                  <c:v>0.848631692997874</c:v>
                </c:pt>
                <c:pt idx="12">
                  <c:v>0.86678825472588084</c:v>
                </c:pt>
                <c:pt idx="13">
                  <c:v>0.88460940111812481</c:v>
                </c:pt>
                <c:pt idx="14">
                  <c:v>0.89461117749539643</c:v>
                </c:pt>
                <c:pt idx="15">
                  <c:v>0.90434704895188234</c:v>
                </c:pt>
                <c:pt idx="16">
                  <c:v>0.91340326301748032</c:v>
                </c:pt>
                <c:pt idx="17">
                  <c:v>0.92206668807146119</c:v>
                </c:pt>
                <c:pt idx="18">
                  <c:v>0.92913799362048866</c:v>
                </c:pt>
                <c:pt idx="19">
                  <c:v>0.93552853843870787</c:v>
                </c:pt>
                <c:pt idx="20">
                  <c:v>0.94104413470015091</c:v>
                </c:pt>
                <c:pt idx="21">
                  <c:v>0.94582490657469231</c:v>
                </c:pt>
                <c:pt idx="22">
                  <c:v>0.95019413265897201</c:v>
                </c:pt>
                <c:pt idx="23">
                  <c:v>0.95427097366437952</c:v>
                </c:pt>
                <c:pt idx="24">
                  <c:v>0.95680865548100658</c:v>
                </c:pt>
                <c:pt idx="25">
                  <c:v>0.95927572354273627</c:v>
                </c:pt>
                <c:pt idx="26">
                  <c:v>0.96157839395634526</c:v>
                </c:pt>
                <c:pt idx="27">
                  <c:v>0.96384244747274472</c:v>
                </c:pt>
                <c:pt idx="28">
                  <c:v>0.96600168369671835</c:v>
                </c:pt>
                <c:pt idx="29">
                  <c:v>0.96808920282587418</c:v>
                </c:pt>
                <c:pt idx="30">
                  <c:v>0.97014141507758134</c:v>
                </c:pt>
                <c:pt idx="31">
                  <c:v>0.97195089254682854</c:v>
                </c:pt>
                <c:pt idx="32">
                  <c:v>0.97368865292125795</c:v>
                </c:pt>
                <c:pt idx="33">
                  <c:v>0.97542641329568736</c:v>
                </c:pt>
                <c:pt idx="34">
                  <c:v>0.97701853280064077</c:v>
                </c:pt>
                <c:pt idx="35">
                  <c:v>0.97844735799739391</c:v>
                </c:pt>
                <c:pt idx="36">
                  <c:v>0.97985190971590097</c:v>
                </c:pt>
                <c:pt idx="37">
                  <c:v>0.98122005121703904</c:v>
                </c:pt>
                <c:pt idx="38">
                  <c:v>0.98249992552455534</c:v>
                </c:pt>
                <c:pt idx="39">
                  <c:v>0.98371911613645657</c:v>
                </c:pt>
                <c:pt idx="40">
                  <c:v>0.98490520655074965</c:v>
                </c:pt>
                <c:pt idx="41">
                  <c:v>0.98602840658958724</c:v>
                </c:pt>
                <c:pt idx="42">
                  <c:v>0.98713505652962075</c:v>
                </c:pt>
                <c:pt idx="43">
                  <c:v>0.98930973951247814</c:v>
                </c:pt>
                <c:pt idx="44">
                  <c:v>0.99035791243673721</c:v>
                </c:pt>
                <c:pt idx="45">
                  <c:v>0.99121520755478909</c:v>
                </c:pt>
                <c:pt idx="46">
                  <c:v>0.99186066140814855</c:v>
                </c:pt>
                <c:pt idx="47">
                  <c:v>0.99248956516270392</c:v>
                </c:pt>
                <c:pt idx="48">
                  <c:v>0.99310743551805658</c:v>
                </c:pt>
                <c:pt idx="49">
                  <c:v>0.99367013887739564</c:v>
                </c:pt>
                <c:pt idx="50">
                  <c:v>0.99417105520119942</c:v>
                </c:pt>
                <c:pt idx="51">
                  <c:v>0.99462342456851116</c:v>
                </c:pt>
                <c:pt idx="52">
                  <c:v>0.99507248391606218</c:v>
                </c:pt>
                <c:pt idx="53">
                  <c:v>0.99550278648496848</c:v>
                </c:pt>
                <c:pt idx="54">
                  <c:v>0.99591984897483155</c:v>
                </c:pt>
                <c:pt idx="55">
                  <c:v>0.99632256804573105</c:v>
                </c:pt>
                <c:pt idx="56">
                  <c:v>0.99723503015979642</c:v>
                </c:pt>
                <c:pt idx="57">
                  <c:v>0.99750534844026317</c:v>
                </c:pt>
                <c:pt idx="58">
                  <c:v>0.99777015002112857</c:v>
                </c:pt>
                <c:pt idx="59">
                  <c:v>0.99800957478382768</c:v>
                </c:pt>
                <c:pt idx="60">
                  <c:v>0.99823024276788219</c:v>
                </c:pt>
                <c:pt idx="61">
                  <c:v>0.9984498074120165</c:v>
                </c:pt>
                <c:pt idx="62">
                  <c:v>0.99864620191782505</c:v>
                </c:pt>
                <c:pt idx="63">
                  <c:v>0.99883487304419172</c:v>
                </c:pt>
                <c:pt idx="64">
                  <c:v>0.99918794181867898</c:v>
                </c:pt>
                <c:pt idx="65">
                  <c:v>0.99935013278695906</c:v>
                </c:pt>
                <c:pt idx="66">
                  <c:v>0.99950129035603641</c:v>
                </c:pt>
                <c:pt idx="67">
                  <c:v>0.99972416501993155</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54</c:f>
              <c:strCache>
                <c:ptCount val="53"/>
                <c:pt idx="0">
                  <c:v>Dom Perigno</c:v>
                </c:pt>
                <c:pt idx="1">
                  <c:v>Dom Perigno</c:v>
                </c:pt>
                <c:pt idx="2">
                  <c:v>Malard</c:v>
                </c:pt>
                <c:pt idx="3">
                  <c:v>Ruinart</c:v>
                </c:pt>
                <c:pt idx="4">
                  <c:v>Roederer</c:v>
                </c:pt>
                <c:pt idx="5">
                  <c:v>Ruinart</c:v>
                </c:pt>
                <c:pt idx="6">
                  <c:v>Roederer</c:v>
                </c:pt>
                <c:pt idx="7">
                  <c:v>Roederer</c:v>
                </c:pt>
                <c:pt idx="8">
                  <c:v>Dom Perigno</c:v>
                </c:pt>
                <c:pt idx="9">
                  <c:v>Roederer</c:v>
                </c:pt>
                <c:pt idx="10">
                  <c:v>Laurent Per</c:v>
                </c:pt>
                <c:pt idx="11">
                  <c:v>Bollinger</c:v>
                </c:pt>
                <c:pt idx="12">
                  <c:v>Bollinger</c:v>
                </c:pt>
                <c:pt idx="13">
                  <c:v>Ruinart</c:v>
                </c:pt>
                <c:pt idx="14">
                  <c:v>Roederer</c:v>
                </c:pt>
                <c:pt idx="15">
                  <c:v>Dom Perigno</c:v>
                </c:pt>
                <c:pt idx="16">
                  <c:v>Piper Heids</c:v>
                </c:pt>
                <c:pt idx="17">
                  <c:v>All Others</c:v>
                </c:pt>
                <c:pt idx="18">
                  <c:v>Perrier Jou</c:v>
                </c:pt>
                <c:pt idx="19">
                  <c:v>Pommery</c:v>
                </c:pt>
                <c:pt idx="20">
                  <c:v>Roederer</c:v>
                </c:pt>
                <c:pt idx="21">
                  <c:v>Dom Perigno</c:v>
                </c:pt>
                <c:pt idx="22">
                  <c:v>Piper Heids</c:v>
                </c:pt>
                <c:pt idx="23">
                  <c:v>Laurent Per</c:v>
                </c:pt>
                <c:pt idx="24">
                  <c:v>De Venoge</c:v>
                </c:pt>
                <c:pt idx="25">
                  <c:v>De Venoge</c:v>
                </c:pt>
                <c:pt idx="26">
                  <c:v>All Others</c:v>
                </c:pt>
                <c:pt idx="27">
                  <c:v>Veuve Clicq</c:v>
                </c:pt>
                <c:pt idx="28">
                  <c:v>Roederer</c:v>
                </c:pt>
                <c:pt idx="29">
                  <c:v>Roederer</c:v>
                </c:pt>
                <c:pt idx="30">
                  <c:v>Pommery</c:v>
                </c:pt>
                <c:pt idx="31">
                  <c:v>Perrier Jou</c:v>
                </c:pt>
                <c:pt idx="32">
                  <c:v>Dom Perigno</c:v>
                </c:pt>
                <c:pt idx="33">
                  <c:v>All Others</c:v>
                </c:pt>
                <c:pt idx="34">
                  <c:v>Roederer</c:v>
                </c:pt>
                <c:pt idx="35">
                  <c:v>Malard</c:v>
                </c:pt>
                <c:pt idx="36">
                  <c:v>All Others</c:v>
                </c:pt>
                <c:pt idx="37">
                  <c:v>Roederer</c:v>
                </c:pt>
                <c:pt idx="38">
                  <c:v>Ruinart</c:v>
                </c:pt>
                <c:pt idx="39">
                  <c:v>De Venoge</c:v>
                </c:pt>
                <c:pt idx="40">
                  <c:v>Perrier Jou</c:v>
                </c:pt>
                <c:pt idx="41">
                  <c:v>Bollinger</c:v>
                </c:pt>
                <c:pt idx="42">
                  <c:v>Laurent Per</c:v>
                </c:pt>
                <c:pt idx="43">
                  <c:v>Veuve Clicq</c:v>
                </c:pt>
                <c:pt idx="44">
                  <c:v>All Others</c:v>
                </c:pt>
                <c:pt idx="45">
                  <c:v>Roederer</c:v>
                </c:pt>
                <c:pt idx="46">
                  <c:v>Veuve Clicq</c:v>
                </c:pt>
                <c:pt idx="47">
                  <c:v>Veuve Clicq</c:v>
                </c:pt>
                <c:pt idx="48">
                  <c:v>Roederer</c:v>
                </c:pt>
                <c:pt idx="49">
                  <c:v>Vesselle</c:v>
                </c:pt>
                <c:pt idx="50">
                  <c:v>Roederer</c:v>
                </c:pt>
                <c:pt idx="51">
                  <c:v>Roederer</c:v>
                </c:pt>
                <c:pt idx="52">
                  <c:v>Malard</c:v>
                </c:pt>
              </c:strCache>
            </c:strRef>
          </c:cat>
          <c:val>
            <c:numRef>
              <c:f>Sheet1!$B$2:$B$54</c:f>
              <c:numCache>
                <c:formatCode>General</c:formatCode>
                <c:ptCount val="53"/>
                <c:pt idx="0">
                  <c:v>0.24</c:v>
                </c:pt>
                <c:pt idx="1">
                  <c:v>0.18</c:v>
                </c:pt>
                <c:pt idx="2">
                  <c:v>0.45</c:v>
                </c:pt>
                <c:pt idx="3">
                  <c:v>0.3</c:v>
                </c:pt>
                <c:pt idx="4">
                  <c:v>0.12</c:v>
                </c:pt>
                <c:pt idx="5">
                  <c:v>0.13</c:v>
                </c:pt>
                <c:pt idx="6">
                  <c:v>7.0000000000000007E-2</c:v>
                </c:pt>
                <c:pt idx="7">
                  <c:v>0.21</c:v>
                </c:pt>
                <c:pt idx="8">
                  <c:v>0.13</c:v>
                </c:pt>
                <c:pt idx="9">
                  <c:v>0.21</c:v>
                </c:pt>
                <c:pt idx="10">
                  <c:v>0.14000000000000001</c:v>
                </c:pt>
                <c:pt idx="11">
                  <c:v>0.05</c:v>
                </c:pt>
                <c:pt idx="12">
                  <c:v>7.0000000000000007E-2</c:v>
                </c:pt>
                <c:pt idx="13">
                  <c:v>0.09</c:v>
                </c:pt>
                <c:pt idx="14">
                  <c:v>0.04</c:v>
                </c:pt>
                <c:pt idx="15">
                  <c:v>0.05</c:v>
                </c:pt>
                <c:pt idx="16">
                  <c:v>0.04</c:v>
                </c:pt>
                <c:pt idx="17">
                  <c:v>0.04</c:v>
                </c:pt>
                <c:pt idx="18">
                  <c:v>0.05</c:v>
                </c:pt>
                <c:pt idx="19">
                  <c:v>0.06</c:v>
                </c:pt>
                <c:pt idx="20">
                  <c:v>7.0000000000000007E-2</c:v>
                </c:pt>
                <c:pt idx="21">
                  <c:v>0.02</c:v>
                </c:pt>
                <c:pt idx="22">
                  <c:v>0.06</c:v>
                </c:pt>
                <c:pt idx="23">
                  <c:v>7.0000000000000007E-2</c:v>
                </c:pt>
                <c:pt idx="24">
                  <c:v>0.03</c:v>
                </c:pt>
                <c:pt idx="25">
                  <c:v>0.04</c:v>
                </c:pt>
                <c:pt idx="26">
                  <c:v>0.05</c:v>
                </c:pt>
                <c:pt idx="27">
                  <c:v>0.02</c:v>
                </c:pt>
                <c:pt idx="28">
                  <c:v>0.03</c:v>
                </c:pt>
                <c:pt idx="29">
                  <c:v>0.03</c:v>
                </c:pt>
                <c:pt idx="30">
                  <c:v>0.02</c:v>
                </c:pt>
                <c:pt idx="31">
                  <c:v>0.02</c:v>
                </c:pt>
                <c:pt idx="32">
                  <c:v>0.01</c:v>
                </c:pt>
                <c:pt idx="33">
                  <c:v>0.02</c:v>
                </c:pt>
                <c:pt idx="34">
                  <c:v>0.02</c:v>
                </c:pt>
                <c:pt idx="35">
                  <c:v>0.02</c:v>
                </c:pt>
                <c:pt idx="36">
                  <c:v>0.03</c:v>
                </c:pt>
                <c:pt idx="37">
                  <c:v>0.03</c:v>
                </c:pt>
                <c:pt idx="38">
                  <c:v>0.02</c:v>
                </c:pt>
                <c:pt idx="39">
                  <c:v>0.02</c:v>
                </c:pt>
                <c:pt idx="40">
                  <c:v>0.02</c:v>
                </c:pt>
                <c:pt idx="41">
                  <c:v>0.01</c:v>
                </c:pt>
                <c:pt idx="42">
                  <c:v>0.01</c:v>
                </c:pt>
                <c:pt idx="43">
                  <c:v>0.01</c:v>
                </c:pt>
                <c:pt idx="44">
                  <c:v>0.01</c:v>
                </c:pt>
                <c:pt idx="45">
                  <c:v>0.01</c:v>
                </c:pt>
                <c:pt idx="46">
                  <c:v>0.01</c:v>
                </c:pt>
                <c:pt idx="47">
                  <c:v>0.03</c:v>
                </c:pt>
                <c:pt idx="48">
                  <c:v>0.01</c:v>
                </c:pt>
                <c:pt idx="49">
                  <c:v>0.01</c:v>
                </c:pt>
                <c:pt idx="50">
                  <c:v>0.01</c:v>
                </c:pt>
                <c:pt idx="51">
                  <c:v>0.01</c:v>
                </c:pt>
                <c:pt idx="52">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7ECAC4"/>
              </a:solidFill>
            </c:spPr>
            <c:extLst>
              <c:ext xmlns:c16="http://schemas.microsoft.com/office/drawing/2014/chart" uri="{C3380CC4-5D6E-409C-BE32-E72D297353CC}">
                <c16:uniqueId val="{00000051-2993-41DE-A2CB-63102DE87051}"/>
              </c:ext>
            </c:extLst>
          </c:dPt>
          <c:dPt>
            <c:idx val="13"/>
            <c:invertIfNegative val="1"/>
            <c:bubble3D val="0"/>
            <c:spPr>
              <a:solidFill>
                <a:srgbClr val="7ECAC4"/>
              </a:solidFill>
            </c:spPr>
            <c:extLst>
              <c:ext xmlns:c16="http://schemas.microsoft.com/office/drawing/2014/chart" uri="{C3380CC4-5D6E-409C-BE32-E72D297353CC}">
                <c16:uniqueId val="{00000053-2993-41DE-A2CB-63102DE87051}"/>
              </c:ext>
            </c:extLst>
          </c:dPt>
          <c:dPt>
            <c:idx val="14"/>
            <c:invertIfNegative val="1"/>
            <c:bubble3D val="0"/>
            <c:spPr>
              <a:solidFill>
                <a:srgbClr val="7ECAC4"/>
              </a:solidFill>
            </c:spPr>
            <c:extLst>
              <c:ext xmlns:c16="http://schemas.microsoft.com/office/drawing/2014/chart" uri="{C3380CC4-5D6E-409C-BE32-E72D297353CC}">
                <c16:uniqueId val="{00000055-2993-41DE-A2CB-63102DE87051}"/>
              </c:ext>
            </c:extLst>
          </c:dPt>
          <c:dPt>
            <c:idx val="15"/>
            <c:invertIfNegative val="1"/>
            <c:bubble3D val="0"/>
            <c:spPr>
              <a:solidFill>
                <a:srgbClr val="7ECAC4"/>
              </a:solidFill>
            </c:spPr>
            <c:extLst>
              <c:ext xmlns:c16="http://schemas.microsoft.com/office/drawing/2014/chart" uri="{C3380CC4-5D6E-409C-BE32-E72D297353CC}">
                <c16:uniqueId val="{00000057-2993-41DE-A2CB-63102DE87051}"/>
              </c:ext>
            </c:extLst>
          </c:dPt>
          <c:dPt>
            <c:idx val="16"/>
            <c:invertIfNegative val="1"/>
            <c:bubble3D val="0"/>
            <c:spPr>
              <a:solidFill>
                <a:srgbClr val="7ECAC4"/>
              </a:solidFill>
            </c:spPr>
            <c:extLst>
              <c:ext xmlns:c16="http://schemas.microsoft.com/office/drawing/2014/chart" uri="{C3380CC4-5D6E-409C-BE32-E72D297353CC}">
                <c16:uniqueId val="{00000059-2993-41DE-A2CB-63102DE87051}"/>
              </c:ext>
            </c:extLst>
          </c:dPt>
          <c:dPt>
            <c:idx val="17"/>
            <c:invertIfNegative val="1"/>
            <c:bubble3D val="0"/>
            <c:spPr>
              <a:solidFill>
                <a:srgbClr val="7ECAC4"/>
              </a:solidFill>
            </c:spPr>
            <c:extLst>
              <c:ext xmlns:c16="http://schemas.microsoft.com/office/drawing/2014/chart" uri="{C3380CC4-5D6E-409C-BE32-E72D297353CC}">
                <c16:uniqueId val="{0000005B-2993-41DE-A2CB-63102DE87051}"/>
              </c:ext>
            </c:extLst>
          </c:dPt>
          <c:dPt>
            <c:idx val="18"/>
            <c:invertIfNegative val="1"/>
            <c:bubble3D val="0"/>
            <c:spPr>
              <a:solidFill>
                <a:srgbClr val="7ECAC4"/>
              </a:solidFill>
            </c:spPr>
            <c:extLst>
              <c:ext xmlns:c16="http://schemas.microsoft.com/office/drawing/2014/chart" uri="{C3380CC4-5D6E-409C-BE32-E72D297353CC}">
                <c16:uniqueId val="{0000005D-2993-41DE-A2CB-63102DE87051}"/>
              </c:ext>
            </c:extLst>
          </c:dPt>
          <c:dPt>
            <c:idx val="19"/>
            <c:invertIfNegative val="1"/>
            <c:bubble3D val="0"/>
            <c:spPr>
              <a:solidFill>
                <a:srgbClr val="7ECAC4"/>
              </a:solidFill>
            </c:spPr>
            <c:extLst>
              <c:ext xmlns:c16="http://schemas.microsoft.com/office/drawing/2014/chart" uri="{C3380CC4-5D6E-409C-BE32-E72D297353CC}">
                <c16:uniqueId val="{0000005F-2993-41DE-A2CB-63102DE87051}"/>
              </c:ext>
            </c:extLst>
          </c:dPt>
          <c:dPt>
            <c:idx val="20"/>
            <c:invertIfNegative val="1"/>
            <c:bubble3D val="0"/>
            <c:spPr>
              <a:solidFill>
                <a:srgbClr val="7ECAC4"/>
              </a:solidFill>
            </c:spPr>
            <c:extLst>
              <c:ext xmlns:c16="http://schemas.microsoft.com/office/drawing/2014/chart" uri="{C3380CC4-5D6E-409C-BE32-E72D297353CC}">
                <c16:uniqueId val="{00000061-2993-41DE-A2CB-63102DE87051}"/>
              </c:ext>
            </c:extLst>
          </c:dPt>
          <c:dPt>
            <c:idx val="21"/>
            <c:invertIfNegative val="1"/>
            <c:bubble3D val="0"/>
            <c:spPr>
              <a:solidFill>
                <a:srgbClr val="AEABAB"/>
              </a:solidFill>
            </c:spPr>
            <c:extLst>
              <c:ext xmlns:c16="http://schemas.microsoft.com/office/drawing/2014/chart" uri="{C3380CC4-5D6E-409C-BE32-E72D297353CC}">
                <c16:uniqueId val="{00000063-2993-41DE-A2CB-63102DE87051}"/>
              </c:ext>
            </c:extLst>
          </c:dPt>
          <c:dPt>
            <c:idx val="22"/>
            <c:invertIfNegative val="1"/>
            <c:bubble3D val="0"/>
            <c:spPr>
              <a:solidFill>
                <a:srgbClr val="AEABAB"/>
              </a:solidFill>
            </c:spPr>
            <c:extLst>
              <c:ext xmlns:c16="http://schemas.microsoft.com/office/drawing/2014/chart" uri="{C3380CC4-5D6E-409C-BE32-E72D297353CC}">
                <c16:uniqueId val="{00000065-2993-41DE-A2CB-63102DE87051}"/>
              </c:ext>
            </c:extLst>
          </c:dPt>
          <c:dPt>
            <c:idx val="23"/>
            <c:invertIfNegative val="1"/>
            <c:bubble3D val="0"/>
            <c:spPr>
              <a:solidFill>
                <a:srgbClr val="AEABAB"/>
              </a:solidFill>
            </c:spPr>
            <c:extLst>
              <c:ext xmlns:c16="http://schemas.microsoft.com/office/drawing/2014/chart" uri="{C3380CC4-5D6E-409C-BE32-E72D297353CC}">
                <c16:uniqueId val="{00000067-2993-41DE-A2CB-63102DE87051}"/>
              </c:ext>
            </c:extLst>
          </c:dPt>
          <c:dPt>
            <c:idx val="24"/>
            <c:invertIfNegative val="1"/>
            <c:bubble3D val="0"/>
            <c:spPr>
              <a:solidFill>
                <a:srgbClr val="AEABAB"/>
              </a:solidFill>
            </c:spPr>
            <c:extLst>
              <c:ext xmlns:c16="http://schemas.microsoft.com/office/drawing/2014/chart" uri="{C3380CC4-5D6E-409C-BE32-E72D297353CC}">
                <c16:uniqueId val="{00000069-2993-41DE-A2CB-63102DE87051}"/>
              </c:ext>
            </c:extLst>
          </c:dPt>
          <c:dPt>
            <c:idx val="25"/>
            <c:invertIfNegative val="1"/>
            <c:bubble3D val="0"/>
            <c:spPr>
              <a:solidFill>
                <a:srgbClr val="AEABAB"/>
              </a:solidFill>
            </c:spPr>
            <c:extLst>
              <c:ext xmlns:c16="http://schemas.microsoft.com/office/drawing/2014/chart" uri="{C3380CC4-5D6E-409C-BE32-E72D297353CC}">
                <c16:uniqueId val="{0000006B-2993-41DE-A2CB-63102DE87051}"/>
              </c:ext>
            </c:extLst>
          </c:dPt>
          <c:dPt>
            <c:idx val="26"/>
            <c:invertIfNegative val="1"/>
            <c:bubble3D val="0"/>
            <c:spPr>
              <a:solidFill>
                <a:srgbClr val="AEABAB"/>
              </a:solidFill>
            </c:spPr>
            <c:extLst>
              <c:ext xmlns:c16="http://schemas.microsoft.com/office/drawing/2014/chart" uri="{C3380CC4-5D6E-409C-BE32-E72D297353CC}">
                <c16:uniqueId val="{0000006D-2993-41DE-A2CB-63102DE87051}"/>
              </c:ext>
            </c:extLst>
          </c:dPt>
          <c:dPt>
            <c:idx val="27"/>
            <c:invertIfNegative val="1"/>
            <c:bubble3D val="0"/>
            <c:spPr>
              <a:solidFill>
                <a:srgbClr val="AEABAB"/>
              </a:solidFill>
            </c:spPr>
            <c:extLst>
              <c:ext xmlns:c16="http://schemas.microsoft.com/office/drawing/2014/chart" uri="{C3380CC4-5D6E-409C-BE32-E72D297353CC}">
                <c16:uniqueId val="{0000006F-2993-41DE-A2CB-63102DE87051}"/>
              </c:ext>
            </c:extLst>
          </c:dPt>
          <c:dPt>
            <c:idx val="28"/>
            <c:invertIfNegative val="1"/>
            <c:bubble3D val="0"/>
            <c:spPr>
              <a:solidFill>
                <a:srgbClr val="AEABAB"/>
              </a:solidFill>
            </c:spPr>
            <c:extLst>
              <c:ext xmlns:c16="http://schemas.microsoft.com/office/drawing/2014/chart" uri="{C3380CC4-5D6E-409C-BE32-E72D297353CC}">
                <c16:uniqueId val="{00000071-2993-41DE-A2CB-63102DE87051}"/>
              </c:ext>
            </c:extLst>
          </c:dPt>
          <c:dPt>
            <c:idx val="29"/>
            <c:invertIfNegative val="1"/>
            <c:bubble3D val="0"/>
            <c:spPr>
              <a:solidFill>
                <a:srgbClr val="AEABAB"/>
              </a:solidFill>
            </c:spPr>
            <c:extLst>
              <c:ext xmlns:c16="http://schemas.microsoft.com/office/drawing/2014/chart" uri="{C3380CC4-5D6E-409C-BE32-E72D297353CC}">
                <c16:uniqueId val="{00000073-2993-41DE-A2CB-63102DE87051}"/>
              </c:ext>
            </c:extLst>
          </c:dPt>
          <c:dPt>
            <c:idx val="30"/>
            <c:invertIfNegative val="1"/>
            <c:bubble3D val="0"/>
            <c:spPr>
              <a:solidFill>
                <a:srgbClr val="AEABAB"/>
              </a:solidFill>
            </c:spPr>
            <c:extLst>
              <c:ext xmlns:c16="http://schemas.microsoft.com/office/drawing/2014/chart" uri="{C3380CC4-5D6E-409C-BE32-E72D297353CC}">
                <c16:uniqueId val="{00000075-2993-41DE-A2CB-63102DE87051}"/>
              </c:ext>
            </c:extLst>
          </c:dPt>
          <c:dPt>
            <c:idx val="31"/>
            <c:invertIfNegative val="1"/>
            <c:bubble3D val="0"/>
            <c:spPr>
              <a:solidFill>
                <a:srgbClr val="AEABAB"/>
              </a:solidFill>
            </c:spPr>
            <c:extLst>
              <c:ext xmlns:c16="http://schemas.microsoft.com/office/drawing/2014/chart" uri="{C3380CC4-5D6E-409C-BE32-E72D297353CC}">
                <c16:uniqueId val="{00000077-2993-41DE-A2CB-63102DE87051}"/>
              </c:ext>
            </c:extLst>
          </c:dPt>
          <c:dPt>
            <c:idx val="32"/>
            <c:invertIfNegative val="1"/>
            <c:bubble3D val="0"/>
            <c:spPr>
              <a:solidFill>
                <a:srgbClr val="AEABAB"/>
              </a:solidFill>
            </c:spPr>
            <c:extLst>
              <c:ext xmlns:c16="http://schemas.microsoft.com/office/drawing/2014/chart" uri="{C3380CC4-5D6E-409C-BE32-E72D297353CC}">
                <c16:uniqueId val="{00000079-2993-41DE-A2CB-63102DE87051}"/>
              </c:ext>
            </c:extLst>
          </c:dPt>
          <c:dPt>
            <c:idx val="33"/>
            <c:invertIfNegative val="1"/>
            <c:bubble3D val="0"/>
            <c:spPr>
              <a:solidFill>
                <a:srgbClr val="AEABAB"/>
              </a:solidFill>
            </c:spPr>
            <c:extLst>
              <c:ext xmlns:c16="http://schemas.microsoft.com/office/drawing/2014/chart" uri="{C3380CC4-5D6E-409C-BE32-E72D297353CC}">
                <c16:uniqueId val="{0000007B-2993-41DE-A2CB-63102DE87051}"/>
              </c:ext>
            </c:extLst>
          </c:dPt>
          <c:dPt>
            <c:idx val="34"/>
            <c:invertIfNegative val="1"/>
            <c:bubble3D val="0"/>
            <c:spPr>
              <a:solidFill>
                <a:srgbClr val="AEABAB"/>
              </a:solidFill>
            </c:spPr>
            <c:extLst>
              <c:ext xmlns:c16="http://schemas.microsoft.com/office/drawing/2014/chart" uri="{C3380CC4-5D6E-409C-BE32-E72D297353CC}">
                <c16:uniqueId val="{0000007D-2993-41DE-A2CB-63102DE87051}"/>
              </c:ext>
            </c:extLst>
          </c:dPt>
          <c:dPt>
            <c:idx val="35"/>
            <c:invertIfNegative val="1"/>
            <c:bubble3D val="0"/>
            <c:spPr>
              <a:solidFill>
                <a:srgbClr val="AEABAB"/>
              </a:solidFill>
            </c:spPr>
            <c:extLst>
              <c:ext xmlns:c16="http://schemas.microsoft.com/office/drawing/2014/chart" uri="{C3380CC4-5D6E-409C-BE32-E72D297353CC}">
                <c16:uniqueId val="{0000007F-2993-41DE-A2CB-63102DE87051}"/>
              </c:ext>
            </c:extLst>
          </c:dPt>
          <c:dPt>
            <c:idx val="36"/>
            <c:invertIfNegative val="1"/>
            <c:bubble3D val="0"/>
            <c:spPr>
              <a:solidFill>
                <a:srgbClr val="AEABAB"/>
              </a:solidFill>
            </c:spPr>
            <c:extLst>
              <c:ext xmlns:c16="http://schemas.microsoft.com/office/drawing/2014/chart" uri="{C3380CC4-5D6E-409C-BE32-E72D297353CC}">
                <c16:uniqueId val="{00000081-2993-41DE-A2CB-63102DE87051}"/>
              </c:ext>
            </c:extLst>
          </c:dPt>
          <c:dPt>
            <c:idx val="37"/>
            <c:invertIfNegative val="1"/>
            <c:bubble3D val="0"/>
            <c:spPr>
              <a:solidFill>
                <a:srgbClr val="AEABAB"/>
              </a:solidFill>
            </c:spPr>
            <c:extLst>
              <c:ext xmlns:c16="http://schemas.microsoft.com/office/drawing/2014/chart" uri="{C3380CC4-5D6E-409C-BE32-E72D297353CC}">
                <c16:uniqueId val="{00000083-2993-41DE-A2CB-63102DE87051}"/>
              </c:ext>
            </c:extLst>
          </c:dPt>
          <c:dPt>
            <c:idx val="38"/>
            <c:invertIfNegative val="1"/>
            <c:bubble3D val="0"/>
            <c:spPr>
              <a:solidFill>
                <a:srgbClr val="AEABAB"/>
              </a:solidFill>
            </c:spPr>
            <c:extLst>
              <c:ext xmlns:c16="http://schemas.microsoft.com/office/drawing/2014/chart" uri="{C3380CC4-5D6E-409C-BE32-E72D297353CC}">
                <c16:uniqueId val="{00000085-2993-41DE-A2CB-63102DE87051}"/>
              </c:ext>
            </c:extLst>
          </c:dPt>
          <c:dPt>
            <c:idx val="39"/>
            <c:invertIfNegative val="1"/>
            <c:bubble3D val="0"/>
            <c:spPr>
              <a:solidFill>
                <a:srgbClr val="AEABAB"/>
              </a:solidFill>
            </c:spPr>
            <c:extLst>
              <c:ext xmlns:c16="http://schemas.microsoft.com/office/drawing/2014/chart" uri="{C3380CC4-5D6E-409C-BE32-E72D297353CC}">
                <c16:uniqueId val="{00000087-2993-41DE-A2CB-63102DE87051}"/>
              </c:ext>
            </c:extLst>
          </c:dPt>
          <c:dPt>
            <c:idx val="40"/>
            <c:invertIfNegative val="1"/>
            <c:bubble3D val="0"/>
            <c:spPr>
              <a:solidFill>
                <a:srgbClr val="AEABAB"/>
              </a:solidFill>
            </c:spPr>
            <c:extLst>
              <c:ext xmlns:c16="http://schemas.microsoft.com/office/drawing/2014/chart" uri="{C3380CC4-5D6E-409C-BE32-E72D297353CC}">
                <c16:uniqueId val="{00000089-2993-41DE-A2CB-63102DE87051}"/>
              </c:ext>
            </c:extLst>
          </c:dPt>
          <c:dPt>
            <c:idx val="41"/>
            <c:invertIfNegative val="1"/>
            <c:bubble3D val="0"/>
            <c:spPr>
              <a:solidFill>
                <a:srgbClr val="AEABAB"/>
              </a:solidFill>
            </c:spPr>
            <c:extLst>
              <c:ext xmlns:c16="http://schemas.microsoft.com/office/drawing/2014/chart" uri="{C3380CC4-5D6E-409C-BE32-E72D297353CC}">
                <c16:uniqueId val="{0000008B-2993-41DE-A2CB-63102DE87051}"/>
              </c:ext>
            </c:extLst>
          </c:dPt>
          <c:dPt>
            <c:idx val="42"/>
            <c:invertIfNegative val="1"/>
            <c:bubble3D val="0"/>
            <c:spPr>
              <a:solidFill>
                <a:srgbClr val="AEABAB"/>
              </a:solidFill>
            </c:spPr>
            <c:extLst>
              <c:ext xmlns:c16="http://schemas.microsoft.com/office/drawing/2014/chart" uri="{C3380CC4-5D6E-409C-BE32-E72D297353CC}">
                <c16:uniqueId val="{0000008D-2993-41DE-A2CB-63102DE87051}"/>
              </c:ext>
            </c:extLst>
          </c:dPt>
          <c:dPt>
            <c:idx val="43"/>
            <c:invertIfNegative val="1"/>
            <c:bubble3D val="0"/>
            <c:spPr>
              <a:solidFill>
                <a:srgbClr val="AEABAB"/>
              </a:solidFill>
            </c:spPr>
            <c:extLst>
              <c:ext xmlns:c16="http://schemas.microsoft.com/office/drawing/2014/chart" uri="{C3380CC4-5D6E-409C-BE32-E72D297353CC}">
                <c16:uniqueId val="{0000008F-2993-41DE-A2CB-63102DE87051}"/>
              </c:ext>
            </c:extLst>
          </c:dPt>
          <c:dPt>
            <c:idx val="44"/>
            <c:invertIfNegative val="1"/>
            <c:bubble3D val="0"/>
            <c:spPr>
              <a:solidFill>
                <a:srgbClr val="AEABAB"/>
              </a:solidFill>
            </c:spPr>
            <c:extLst>
              <c:ext xmlns:c16="http://schemas.microsoft.com/office/drawing/2014/chart" uri="{C3380CC4-5D6E-409C-BE32-E72D297353CC}">
                <c16:uniqueId val="{00000091-2993-41DE-A2CB-63102DE87051}"/>
              </c:ext>
            </c:extLst>
          </c:dPt>
          <c:dPt>
            <c:idx val="45"/>
            <c:invertIfNegative val="1"/>
            <c:bubble3D val="0"/>
            <c:spPr>
              <a:solidFill>
                <a:srgbClr val="AEABAB"/>
              </a:solidFill>
            </c:spPr>
            <c:extLst>
              <c:ext xmlns:c16="http://schemas.microsoft.com/office/drawing/2014/chart" uri="{C3380CC4-5D6E-409C-BE32-E72D297353CC}">
                <c16:uniqueId val="{00000093-2993-41DE-A2CB-63102DE87051}"/>
              </c:ext>
            </c:extLst>
          </c:dPt>
          <c:dPt>
            <c:idx val="46"/>
            <c:invertIfNegative val="1"/>
            <c:bubble3D val="0"/>
            <c:spPr>
              <a:solidFill>
                <a:srgbClr val="AEABAB"/>
              </a:solidFill>
            </c:spPr>
            <c:extLst>
              <c:ext xmlns:c16="http://schemas.microsoft.com/office/drawing/2014/chart" uri="{C3380CC4-5D6E-409C-BE32-E72D297353CC}">
                <c16:uniqueId val="{00000095-2993-41DE-A2CB-63102DE87051}"/>
              </c:ext>
            </c:extLst>
          </c:dPt>
          <c:dPt>
            <c:idx val="47"/>
            <c:invertIfNegative val="1"/>
            <c:bubble3D val="0"/>
            <c:spPr>
              <a:solidFill>
                <a:srgbClr val="AEABAB"/>
              </a:solidFill>
            </c:spPr>
            <c:extLst>
              <c:ext xmlns:c16="http://schemas.microsoft.com/office/drawing/2014/chart" uri="{C3380CC4-5D6E-409C-BE32-E72D297353CC}">
                <c16:uniqueId val="{00000097-2993-41DE-A2CB-63102DE87051}"/>
              </c:ext>
            </c:extLst>
          </c:dPt>
          <c:dPt>
            <c:idx val="48"/>
            <c:invertIfNegative val="1"/>
            <c:bubble3D val="0"/>
            <c:spPr>
              <a:solidFill>
                <a:srgbClr val="AEABAB"/>
              </a:solidFill>
            </c:spPr>
            <c:extLst>
              <c:ext xmlns:c16="http://schemas.microsoft.com/office/drawing/2014/chart" uri="{C3380CC4-5D6E-409C-BE32-E72D297353CC}">
                <c16:uniqueId val="{00000099-2993-41DE-A2CB-63102DE87051}"/>
              </c:ext>
            </c:extLst>
          </c:dPt>
          <c:dPt>
            <c:idx val="49"/>
            <c:invertIfNegative val="1"/>
            <c:bubble3D val="0"/>
            <c:spPr>
              <a:solidFill>
                <a:srgbClr val="AEABAB"/>
              </a:solidFill>
            </c:spPr>
            <c:extLst>
              <c:ext xmlns:c16="http://schemas.microsoft.com/office/drawing/2014/chart" uri="{C3380CC4-5D6E-409C-BE32-E72D297353CC}">
                <c16:uniqueId val="{0000009B-2993-41DE-A2CB-63102DE87051}"/>
              </c:ext>
            </c:extLst>
          </c:dPt>
          <c:dPt>
            <c:idx val="50"/>
            <c:invertIfNegative val="1"/>
            <c:bubble3D val="0"/>
            <c:spPr>
              <a:solidFill>
                <a:srgbClr val="AEABAB"/>
              </a:solidFill>
            </c:spPr>
            <c:extLst>
              <c:ext xmlns:c16="http://schemas.microsoft.com/office/drawing/2014/chart" uri="{C3380CC4-5D6E-409C-BE32-E72D297353CC}">
                <c16:uniqueId val="{0000009D-2993-41DE-A2CB-63102DE87051}"/>
              </c:ext>
            </c:extLst>
          </c:dPt>
          <c:dPt>
            <c:idx val="51"/>
            <c:invertIfNegative val="1"/>
            <c:bubble3D val="0"/>
            <c:spPr>
              <a:solidFill>
                <a:srgbClr val="AEABAB"/>
              </a:solidFill>
            </c:spPr>
            <c:extLst>
              <c:ext xmlns:c16="http://schemas.microsoft.com/office/drawing/2014/chart" uri="{C3380CC4-5D6E-409C-BE32-E72D297353CC}">
                <c16:uniqueId val="{0000009F-2993-41DE-A2CB-63102DE87051}"/>
              </c:ext>
            </c:extLst>
          </c:dPt>
          <c:dPt>
            <c:idx val="52"/>
            <c:invertIfNegative val="1"/>
            <c:bubble3D val="0"/>
            <c:spPr>
              <a:solidFill>
                <a:srgbClr val="AEABAB"/>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54</c:f>
              <c:strCache>
                <c:ptCount val="53"/>
                <c:pt idx="0">
                  <c:v>Dom Perigno</c:v>
                </c:pt>
                <c:pt idx="1">
                  <c:v>Dom Perigno</c:v>
                </c:pt>
                <c:pt idx="2">
                  <c:v>Malard</c:v>
                </c:pt>
                <c:pt idx="3">
                  <c:v>Ruinart</c:v>
                </c:pt>
                <c:pt idx="4">
                  <c:v>Roederer</c:v>
                </c:pt>
                <c:pt idx="5">
                  <c:v>Ruinart</c:v>
                </c:pt>
                <c:pt idx="6">
                  <c:v>Roederer</c:v>
                </c:pt>
                <c:pt idx="7">
                  <c:v>Roederer</c:v>
                </c:pt>
                <c:pt idx="8">
                  <c:v>Dom Perigno</c:v>
                </c:pt>
                <c:pt idx="9">
                  <c:v>Roederer</c:v>
                </c:pt>
                <c:pt idx="10">
                  <c:v>Laurent Per</c:v>
                </c:pt>
                <c:pt idx="11">
                  <c:v>Bollinger</c:v>
                </c:pt>
                <c:pt idx="12">
                  <c:v>Bollinger</c:v>
                </c:pt>
                <c:pt idx="13">
                  <c:v>Ruinart</c:v>
                </c:pt>
                <c:pt idx="14">
                  <c:v>Roederer</c:v>
                </c:pt>
                <c:pt idx="15">
                  <c:v>Dom Perigno</c:v>
                </c:pt>
                <c:pt idx="16">
                  <c:v>Piper Heids</c:v>
                </c:pt>
                <c:pt idx="17">
                  <c:v>All Others</c:v>
                </c:pt>
                <c:pt idx="18">
                  <c:v>Perrier Jou</c:v>
                </c:pt>
                <c:pt idx="19">
                  <c:v>Pommery</c:v>
                </c:pt>
                <c:pt idx="20">
                  <c:v>Roederer</c:v>
                </c:pt>
                <c:pt idx="21">
                  <c:v>Dom Perigno</c:v>
                </c:pt>
                <c:pt idx="22">
                  <c:v>Piper Heids</c:v>
                </c:pt>
                <c:pt idx="23">
                  <c:v>Laurent Per</c:v>
                </c:pt>
                <c:pt idx="24">
                  <c:v>De Venoge</c:v>
                </c:pt>
                <c:pt idx="25">
                  <c:v>De Venoge</c:v>
                </c:pt>
                <c:pt idx="26">
                  <c:v>All Others</c:v>
                </c:pt>
                <c:pt idx="27">
                  <c:v>Veuve Clicq</c:v>
                </c:pt>
                <c:pt idx="28">
                  <c:v>Roederer</c:v>
                </c:pt>
                <c:pt idx="29">
                  <c:v>Roederer</c:v>
                </c:pt>
                <c:pt idx="30">
                  <c:v>Pommery</c:v>
                </c:pt>
                <c:pt idx="31">
                  <c:v>Perrier Jou</c:v>
                </c:pt>
                <c:pt idx="32">
                  <c:v>Dom Perigno</c:v>
                </c:pt>
                <c:pt idx="33">
                  <c:v>All Others</c:v>
                </c:pt>
                <c:pt idx="34">
                  <c:v>Roederer</c:v>
                </c:pt>
                <c:pt idx="35">
                  <c:v>Malard</c:v>
                </c:pt>
                <c:pt idx="36">
                  <c:v>All Others</c:v>
                </c:pt>
                <c:pt idx="37">
                  <c:v>Roederer</c:v>
                </c:pt>
                <c:pt idx="38">
                  <c:v>Ruinart</c:v>
                </c:pt>
                <c:pt idx="39">
                  <c:v>De Venoge</c:v>
                </c:pt>
                <c:pt idx="40">
                  <c:v>Perrier Jou</c:v>
                </c:pt>
                <c:pt idx="41">
                  <c:v>Bollinger</c:v>
                </c:pt>
                <c:pt idx="42">
                  <c:v>Laurent Per</c:v>
                </c:pt>
                <c:pt idx="43">
                  <c:v>Veuve Clicq</c:v>
                </c:pt>
                <c:pt idx="44">
                  <c:v>All Others</c:v>
                </c:pt>
                <c:pt idx="45">
                  <c:v>Roederer</c:v>
                </c:pt>
                <c:pt idx="46">
                  <c:v>Veuve Clicq</c:v>
                </c:pt>
                <c:pt idx="47">
                  <c:v>Veuve Clicq</c:v>
                </c:pt>
                <c:pt idx="48">
                  <c:v>Roederer</c:v>
                </c:pt>
                <c:pt idx="49">
                  <c:v>Vesselle</c:v>
                </c:pt>
                <c:pt idx="50">
                  <c:v>Roederer</c:v>
                </c:pt>
                <c:pt idx="51">
                  <c:v>Roederer</c:v>
                </c:pt>
                <c:pt idx="52">
                  <c:v>Malard</c:v>
                </c:pt>
              </c:strCache>
            </c:strRef>
          </c:cat>
          <c:val>
            <c:numRef>
              <c:f>Sheet1!$C$2:$C$54</c:f>
              <c:numCache>
                <c:formatCode>General</c:formatCode>
                <c:ptCount val="53"/>
                <c:pt idx="0">
                  <c:v>0.19853197635422162</c:v>
                </c:pt>
                <c:pt idx="1">
                  <c:v>0.34081579724013344</c:v>
                </c:pt>
                <c:pt idx="2">
                  <c:v>0.42220771439047733</c:v>
                </c:pt>
                <c:pt idx="3">
                  <c:v>0.49926218732393113</c:v>
                </c:pt>
                <c:pt idx="4">
                  <c:v>0.55506094779863535</c:v>
                </c:pt>
                <c:pt idx="5">
                  <c:v>0.60654909360830656</c:v>
                </c:pt>
                <c:pt idx="6">
                  <c:v>0.65282559896974535</c:v>
                </c:pt>
                <c:pt idx="7">
                  <c:v>0.69224268223973118</c:v>
                </c:pt>
                <c:pt idx="8">
                  <c:v>0.73122825688401605</c:v>
                </c:pt>
                <c:pt idx="9">
                  <c:v>0.76360034699553758</c:v>
                </c:pt>
                <c:pt idx="10">
                  <c:v>0.78717234409794601</c:v>
                </c:pt>
                <c:pt idx="11">
                  <c:v>0.81069515368861644</c:v>
                </c:pt>
                <c:pt idx="12">
                  <c:v>0.83334153125195654</c:v>
                </c:pt>
                <c:pt idx="13">
                  <c:v>0.85393097650625593</c:v>
                </c:pt>
                <c:pt idx="14">
                  <c:v>0.87414480803455663</c:v>
                </c:pt>
                <c:pt idx="15">
                  <c:v>0.89312000858545681</c:v>
                </c:pt>
                <c:pt idx="16">
                  <c:v>0.90518883532915406</c:v>
                </c:pt>
                <c:pt idx="17">
                  <c:v>0.91533711331908407</c:v>
                </c:pt>
                <c:pt idx="18">
                  <c:v>0.92532217820188367</c:v>
                </c:pt>
                <c:pt idx="19">
                  <c:v>0.93501435381024378</c:v>
                </c:pt>
                <c:pt idx="20">
                  <c:v>0.94333598647790617</c:v>
                </c:pt>
                <c:pt idx="21">
                  <c:v>0.95064703935895289</c:v>
                </c:pt>
                <c:pt idx="22">
                  <c:v>0.95612473952976773</c:v>
                </c:pt>
                <c:pt idx="23">
                  <c:v>0.95990770634161204</c:v>
                </c:pt>
                <c:pt idx="24">
                  <c:v>0.96331058783548151</c:v>
                </c:pt>
                <c:pt idx="25">
                  <c:v>0.9666039153259347</c:v>
                </c:pt>
                <c:pt idx="26">
                  <c:v>0.96961776831787694</c:v>
                </c:pt>
                <c:pt idx="27">
                  <c:v>0.97193405296153579</c:v>
                </c:pt>
                <c:pt idx="28">
                  <c:v>0.97405805915021904</c:v>
                </c:pt>
                <c:pt idx="29">
                  <c:v>0.97603673859967666</c:v>
                </c:pt>
                <c:pt idx="30">
                  <c:v>0.97793269359757495</c:v>
                </c:pt>
                <c:pt idx="31">
                  <c:v>0.97982641279948524</c:v>
                </c:pt>
                <c:pt idx="32">
                  <c:v>0.98168212346959804</c:v>
                </c:pt>
                <c:pt idx="33">
                  <c:v>0.9832695386211403</c:v>
                </c:pt>
                <c:pt idx="34">
                  <c:v>0.98481670944489696</c:v>
                </c:pt>
                <c:pt idx="35">
                  <c:v>0.98621184614146362</c:v>
                </c:pt>
                <c:pt idx="36">
                  <c:v>0.98755332373431626</c:v>
                </c:pt>
                <c:pt idx="37">
                  <c:v>0.98851918760117008</c:v>
                </c:pt>
                <c:pt idx="38">
                  <c:v>0.98948057987604776</c:v>
                </c:pt>
                <c:pt idx="39">
                  <c:v>0.9904375005589493</c:v>
                </c:pt>
                <c:pt idx="40">
                  <c:v>0.99128486723843456</c:v>
                </c:pt>
                <c:pt idx="41">
                  <c:v>0.9921299981219317</c:v>
                </c:pt>
                <c:pt idx="42">
                  <c:v>0.99293264888165522</c:v>
                </c:pt>
                <c:pt idx="43">
                  <c:v>0.99371517747748594</c:v>
                </c:pt>
                <c:pt idx="44">
                  <c:v>0.99435237933409093</c:v>
                </c:pt>
                <c:pt idx="45">
                  <c:v>0.99493592208698178</c:v>
                </c:pt>
                <c:pt idx="46">
                  <c:v>0.99547251312412277</c:v>
                </c:pt>
                <c:pt idx="47">
                  <c:v>0.99595320926156161</c:v>
                </c:pt>
                <c:pt idx="48">
                  <c:v>0.99724997093465251</c:v>
                </c:pt>
                <c:pt idx="49">
                  <c:v>0.99912133217668186</c:v>
                </c:pt>
                <c:pt idx="50">
                  <c:v>0.99946564475884736</c:v>
                </c:pt>
                <c:pt idx="51">
                  <c:v>0.99978312778915579</c:v>
                </c:pt>
                <c:pt idx="52">
                  <c:v>1.0000000000000002</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67</c:f>
              <c:strCache>
                <c:ptCount val="66"/>
                <c:pt idx="0">
                  <c:v>Dom Perigno</c:v>
                </c:pt>
                <c:pt idx="1">
                  <c:v>Dom Perigno</c:v>
                </c:pt>
                <c:pt idx="2">
                  <c:v>Roederer</c:v>
                </c:pt>
                <c:pt idx="3">
                  <c:v>Roederer</c:v>
                </c:pt>
                <c:pt idx="4">
                  <c:v>Malard</c:v>
                </c:pt>
                <c:pt idx="5">
                  <c:v>Roederer</c:v>
                </c:pt>
                <c:pt idx="6">
                  <c:v>Roederer</c:v>
                </c:pt>
                <c:pt idx="7">
                  <c:v>Roederer</c:v>
                </c:pt>
                <c:pt idx="8">
                  <c:v>Roederer</c:v>
                </c:pt>
                <c:pt idx="9">
                  <c:v>Ruinart</c:v>
                </c:pt>
                <c:pt idx="10">
                  <c:v>Bollinger</c:v>
                </c:pt>
                <c:pt idx="11">
                  <c:v>Dom Perigno</c:v>
                </c:pt>
                <c:pt idx="12">
                  <c:v>Perrier Jou</c:v>
                </c:pt>
                <c:pt idx="13">
                  <c:v>Ruinart</c:v>
                </c:pt>
                <c:pt idx="14">
                  <c:v>Dom Perigno</c:v>
                </c:pt>
                <c:pt idx="15">
                  <c:v>Laurent Per</c:v>
                </c:pt>
                <c:pt idx="16">
                  <c:v>Ruinart</c:v>
                </c:pt>
                <c:pt idx="17">
                  <c:v>Pommery</c:v>
                </c:pt>
                <c:pt idx="18">
                  <c:v>Piper Heids</c:v>
                </c:pt>
                <c:pt idx="19">
                  <c:v>Pommery</c:v>
                </c:pt>
                <c:pt idx="20">
                  <c:v>Lanson</c:v>
                </c:pt>
                <c:pt idx="21">
                  <c:v>De Venoge</c:v>
                </c:pt>
                <c:pt idx="22">
                  <c:v>Dom Perigno</c:v>
                </c:pt>
                <c:pt idx="23">
                  <c:v>All Others</c:v>
                </c:pt>
                <c:pt idx="24">
                  <c:v>Roederer</c:v>
                </c:pt>
                <c:pt idx="25">
                  <c:v>De Venoge</c:v>
                </c:pt>
                <c:pt idx="26">
                  <c:v>Nicolas Feu</c:v>
                </c:pt>
                <c:pt idx="27">
                  <c:v>Piper Heids</c:v>
                </c:pt>
                <c:pt idx="28">
                  <c:v>Veuve Clicq</c:v>
                </c:pt>
                <c:pt idx="29">
                  <c:v>Dom Perigno</c:v>
                </c:pt>
                <c:pt idx="30">
                  <c:v>All Others</c:v>
                </c:pt>
                <c:pt idx="31">
                  <c:v>Deutz</c:v>
                </c:pt>
                <c:pt idx="32">
                  <c:v>All Others</c:v>
                </c:pt>
                <c:pt idx="33">
                  <c:v>All Others</c:v>
                </c:pt>
                <c:pt idx="34">
                  <c:v>Roederer</c:v>
                </c:pt>
                <c:pt idx="35">
                  <c:v>Veuve Clicq</c:v>
                </c:pt>
                <c:pt idx="36">
                  <c:v>Krug</c:v>
                </c:pt>
                <c:pt idx="37">
                  <c:v>Perrier Jou</c:v>
                </c:pt>
                <c:pt idx="38">
                  <c:v>Moët &amp; Chan</c:v>
                </c:pt>
                <c:pt idx="39">
                  <c:v>All Others</c:v>
                </c:pt>
                <c:pt idx="40">
                  <c:v>Roederer</c:v>
                </c:pt>
                <c:pt idx="41">
                  <c:v>Veuve Clicq</c:v>
                </c:pt>
                <c:pt idx="42">
                  <c:v>Pommery</c:v>
                </c:pt>
                <c:pt idx="43">
                  <c:v>Bollinger</c:v>
                </c:pt>
                <c:pt idx="44">
                  <c:v>Henriot</c:v>
                </c:pt>
                <c:pt idx="45">
                  <c:v>Vesselle</c:v>
                </c:pt>
                <c:pt idx="46">
                  <c:v>Ruinart</c:v>
                </c:pt>
                <c:pt idx="47">
                  <c:v>Bollinger</c:v>
                </c:pt>
                <c:pt idx="48">
                  <c:v>Moët &amp; Chan</c:v>
                </c:pt>
                <c:pt idx="49">
                  <c:v>Veuve Clicq</c:v>
                </c:pt>
                <c:pt idx="50">
                  <c:v>Laurent Per</c:v>
                </c:pt>
                <c:pt idx="51">
                  <c:v>Roederer</c:v>
                </c:pt>
                <c:pt idx="52">
                  <c:v>Ruinart</c:v>
                </c:pt>
                <c:pt idx="53">
                  <c:v>All Others</c:v>
                </c:pt>
                <c:pt idx="54">
                  <c:v>Bollinger</c:v>
                </c:pt>
                <c:pt idx="55">
                  <c:v>De Venoge</c:v>
                </c:pt>
                <c:pt idx="56">
                  <c:v>Canard Duch</c:v>
                </c:pt>
                <c:pt idx="57">
                  <c:v>Pommery</c:v>
                </c:pt>
                <c:pt idx="58">
                  <c:v>Roederer</c:v>
                </c:pt>
                <c:pt idx="59">
                  <c:v>Vesselle</c:v>
                </c:pt>
                <c:pt idx="60">
                  <c:v>Roederer</c:v>
                </c:pt>
                <c:pt idx="61">
                  <c:v>Roederer</c:v>
                </c:pt>
                <c:pt idx="62">
                  <c:v>All Others</c:v>
                </c:pt>
                <c:pt idx="63">
                  <c:v>Laurent Per</c:v>
                </c:pt>
                <c:pt idx="64">
                  <c:v>Malard</c:v>
                </c:pt>
                <c:pt idx="65">
                  <c:v>Vesselle</c:v>
                </c:pt>
              </c:strCache>
            </c:strRef>
          </c:cat>
          <c:val>
            <c:numRef>
              <c:f>Sheet1!$B$2:$B$67</c:f>
              <c:numCache>
                <c:formatCode>General</c:formatCode>
                <c:ptCount val="66"/>
                <c:pt idx="0">
                  <c:v>0.45</c:v>
                </c:pt>
                <c:pt idx="1">
                  <c:v>0.36</c:v>
                </c:pt>
                <c:pt idx="2">
                  <c:v>0.15</c:v>
                </c:pt>
                <c:pt idx="3">
                  <c:v>0.23</c:v>
                </c:pt>
                <c:pt idx="4">
                  <c:v>0.54</c:v>
                </c:pt>
                <c:pt idx="5">
                  <c:v>0.28000000000000003</c:v>
                </c:pt>
                <c:pt idx="6">
                  <c:v>0.15</c:v>
                </c:pt>
                <c:pt idx="7">
                  <c:v>0.28000000000000003</c:v>
                </c:pt>
                <c:pt idx="8">
                  <c:v>0.19</c:v>
                </c:pt>
                <c:pt idx="9">
                  <c:v>0.23</c:v>
                </c:pt>
                <c:pt idx="10">
                  <c:v>0.25</c:v>
                </c:pt>
                <c:pt idx="11">
                  <c:v>0.21</c:v>
                </c:pt>
                <c:pt idx="12">
                  <c:v>0.26</c:v>
                </c:pt>
                <c:pt idx="13">
                  <c:v>0.26</c:v>
                </c:pt>
                <c:pt idx="14">
                  <c:v>0.17</c:v>
                </c:pt>
                <c:pt idx="15">
                  <c:v>0.23</c:v>
                </c:pt>
                <c:pt idx="16">
                  <c:v>0.15</c:v>
                </c:pt>
                <c:pt idx="17">
                  <c:v>0.11</c:v>
                </c:pt>
                <c:pt idx="18">
                  <c:v>0.17</c:v>
                </c:pt>
                <c:pt idx="19">
                  <c:v>0.16</c:v>
                </c:pt>
                <c:pt idx="20">
                  <c:v>0.11</c:v>
                </c:pt>
                <c:pt idx="21">
                  <c:v>0.19</c:v>
                </c:pt>
                <c:pt idx="22">
                  <c:v>0.11</c:v>
                </c:pt>
                <c:pt idx="23">
                  <c:v>0.15</c:v>
                </c:pt>
                <c:pt idx="24">
                  <c:v>0.06</c:v>
                </c:pt>
                <c:pt idx="25">
                  <c:v>0.17</c:v>
                </c:pt>
                <c:pt idx="26">
                  <c:v>0.11</c:v>
                </c:pt>
                <c:pt idx="27">
                  <c:v>0.03</c:v>
                </c:pt>
                <c:pt idx="28">
                  <c:v>0.19</c:v>
                </c:pt>
                <c:pt idx="29">
                  <c:v>0.11</c:v>
                </c:pt>
                <c:pt idx="30">
                  <c:v>0.17</c:v>
                </c:pt>
                <c:pt idx="31">
                  <c:v>0.19</c:v>
                </c:pt>
                <c:pt idx="32">
                  <c:v>0.09</c:v>
                </c:pt>
                <c:pt idx="33">
                  <c:v>0.05</c:v>
                </c:pt>
                <c:pt idx="34">
                  <c:v>0.02</c:v>
                </c:pt>
                <c:pt idx="35">
                  <c:v>0.05</c:v>
                </c:pt>
                <c:pt idx="36">
                  <c:v>0.13</c:v>
                </c:pt>
                <c:pt idx="37">
                  <c:v>0.03</c:v>
                </c:pt>
                <c:pt idx="38">
                  <c:v>0.17</c:v>
                </c:pt>
                <c:pt idx="39">
                  <c:v>0.06</c:v>
                </c:pt>
                <c:pt idx="40">
                  <c:v>0.04</c:v>
                </c:pt>
                <c:pt idx="41">
                  <c:v>0.04</c:v>
                </c:pt>
                <c:pt idx="42">
                  <c:v>7.0000000000000007E-2</c:v>
                </c:pt>
                <c:pt idx="43">
                  <c:v>0.03</c:v>
                </c:pt>
                <c:pt idx="44">
                  <c:v>0.17</c:v>
                </c:pt>
                <c:pt idx="45">
                  <c:v>0.19</c:v>
                </c:pt>
                <c:pt idx="46">
                  <c:v>0.02</c:v>
                </c:pt>
                <c:pt idx="47">
                  <c:v>0.11</c:v>
                </c:pt>
                <c:pt idx="48">
                  <c:v>0.19</c:v>
                </c:pt>
                <c:pt idx="49">
                  <c:v>7.0000000000000007E-2</c:v>
                </c:pt>
                <c:pt idx="50">
                  <c:v>0.03</c:v>
                </c:pt>
                <c:pt idx="51">
                  <c:v>0.03</c:v>
                </c:pt>
                <c:pt idx="52">
                  <c:v>0.02</c:v>
                </c:pt>
                <c:pt idx="53">
                  <c:v>0.01</c:v>
                </c:pt>
                <c:pt idx="54">
                  <c:v>0.03</c:v>
                </c:pt>
                <c:pt idx="55">
                  <c:v>0.01</c:v>
                </c:pt>
                <c:pt idx="56">
                  <c:v>7.0000000000000007E-2</c:v>
                </c:pt>
                <c:pt idx="57">
                  <c:v>0.03</c:v>
                </c:pt>
                <c:pt idx="58">
                  <c:v>0.05</c:v>
                </c:pt>
                <c:pt idx="59">
                  <c:v>0.1</c:v>
                </c:pt>
                <c:pt idx="60">
                  <c:v>0.02</c:v>
                </c:pt>
                <c:pt idx="61">
                  <c:v>0.02</c:v>
                </c:pt>
                <c:pt idx="62">
                  <c:v>0.11</c:v>
                </c:pt>
                <c:pt idx="63">
                  <c:v>0.01</c:v>
                </c:pt>
                <c:pt idx="64">
                  <c:v>0.01</c:v>
                </c:pt>
                <c:pt idx="65">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7ECAC4"/>
              </a:solidFill>
            </c:spPr>
            <c:extLst>
              <c:ext xmlns:c16="http://schemas.microsoft.com/office/drawing/2014/chart" uri="{C3380CC4-5D6E-409C-BE32-E72D297353CC}">
                <c16:uniqueId val="{00000053-2993-41DE-A2CB-63102DE87051}"/>
              </c:ext>
            </c:extLst>
          </c:dPt>
          <c:dPt>
            <c:idx val="14"/>
            <c:invertIfNegative val="1"/>
            <c:bubble3D val="0"/>
            <c:spPr>
              <a:solidFill>
                <a:srgbClr val="7ECAC4"/>
              </a:solidFill>
            </c:spPr>
            <c:extLst>
              <c:ext xmlns:c16="http://schemas.microsoft.com/office/drawing/2014/chart" uri="{C3380CC4-5D6E-409C-BE32-E72D297353CC}">
                <c16:uniqueId val="{00000055-2993-41DE-A2CB-63102DE87051}"/>
              </c:ext>
            </c:extLst>
          </c:dPt>
          <c:dPt>
            <c:idx val="15"/>
            <c:invertIfNegative val="1"/>
            <c:bubble3D val="0"/>
            <c:spPr>
              <a:solidFill>
                <a:srgbClr val="7ECAC4"/>
              </a:solidFill>
            </c:spPr>
            <c:extLst>
              <c:ext xmlns:c16="http://schemas.microsoft.com/office/drawing/2014/chart" uri="{C3380CC4-5D6E-409C-BE32-E72D297353CC}">
                <c16:uniqueId val="{00000057-2993-41DE-A2CB-63102DE87051}"/>
              </c:ext>
            </c:extLst>
          </c:dPt>
          <c:dPt>
            <c:idx val="16"/>
            <c:invertIfNegative val="1"/>
            <c:bubble3D val="0"/>
            <c:spPr>
              <a:solidFill>
                <a:srgbClr val="7ECAC4"/>
              </a:solidFill>
            </c:spPr>
            <c:extLst>
              <c:ext xmlns:c16="http://schemas.microsoft.com/office/drawing/2014/chart" uri="{C3380CC4-5D6E-409C-BE32-E72D297353CC}">
                <c16:uniqueId val="{00000059-2993-41DE-A2CB-63102DE87051}"/>
              </c:ext>
            </c:extLst>
          </c:dPt>
          <c:dPt>
            <c:idx val="17"/>
            <c:invertIfNegative val="1"/>
            <c:bubble3D val="0"/>
            <c:spPr>
              <a:solidFill>
                <a:srgbClr val="7ECAC4"/>
              </a:solidFill>
            </c:spPr>
            <c:extLst>
              <c:ext xmlns:c16="http://schemas.microsoft.com/office/drawing/2014/chart" uri="{C3380CC4-5D6E-409C-BE32-E72D297353CC}">
                <c16:uniqueId val="{0000005B-2993-41DE-A2CB-63102DE87051}"/>
              </c:ext>
            </c:extLst>
          </c:dPt>
          <c:dPt>
            <c:idx val="18"/>
            <c:invertIfNegative val="1"/>
            <c:bubble3D val="0"/>
            <c:spPr>
              <a:solidFill>
                <a:srgbClr val="7ECAC4"/>
              </a:solidFill>
            </c:spPr>
            <c:extLst>
              <c:ext xmlns:c16="http://schemas.microsoft.com/office/drawing/2014/chart" uri="{C3380CC4-5D6E-409C-BE32-E72D297353CC}">
                <c16:uniqueId val="{0000005D-2993-41DE-A2CB-63102DE87051}"/>
              </c:ext>
            </c:extLst>
          </c:dPt>
          <c:dPt>
            <c:idx val="19"/>
            <c:invertIfNegative val="1"/>
            <c:bubble3D val="0"/>
            <c:spPr>
              <a:solidFill>
                <a:srgbClr val="7ECAC4"/>
              </a:solidFill>
            </c:spPr>
            <c:extLst>
              <c:ext xmlns:c16="http://schemas.microsoft.com/office/drawing/2014/chart" uri="{C3380CC4-5D6E-409C-BE32-E72D297353CC}">
                <c16:uniqueId val="{0000005F-2993-41DE-A2CB-63102DE87051}"/>
              </c:ext>
            </c:extLst>
          </c:dPt>
          <c:dPt>
            <c:idx val="20"/>
            <c:invertIfNegative val="1"/>
            <c:bubble3D val="0"/>
            <c:spPr>
              <a:solidFill>
                <a:srgbClr val="7ECAC4"/>
              </a:solidFill>
            </c:spPr>
            <c:extLst>
              <c:ext xmlns:c16="http://schemas.microsoft.com/office/drawing/2014/chart" uri="{C3380CC4-5D6E-409C-BE32-E72D297353CC}">
                <c16:uniqueId val="{00000061-2993-41DE-A2CB-63102DE87051}"/>
              </c:ext>
            </c:extLst>
          </c:dPt>
          <c:dPt>
            <c:idx val="21"/>
            <c:invertIfNegative val="1"/>
            <c:bubble3D val="0"/>
            <c:spPr>
              <a:solidFill>
                <a:srgbClr val="7ECAC4"/>
              </a:solidFill>
            </c:spPr>
            <c:extLst>
              <c:ext xmlns:c16="http://schemas.microsoft.com/office/drawing/2014/chart" uri="{C3380CC4-5D6E-409C-BE32-E72D297353CC}">
                <c16:uniqueId val="{00000063-2993-41DE-A2CB-63102DE87051}"/>
              </c:ext>
            </c:extLst>
          </c:dPt>
          <c:dPt>
            <c:idx val="22"/>
            <c:invertIfNegative val="1"/>
            <c:bubble3D val="0"/>
            <c:spPr>
              <a:solidFill>
                <a:srgbClr val="7ECAC4"/>
              </a:solidFill>
            </c:spPr>
            <c:extLst>
              <c:ext xmlns:c16="http://schemas.microsoft.com/office/drawing/2014/chart" uri="{C3380CC4-5D6E-409C-BE32-E72D297353CC}">
                <c16:uniqueId val="{00000065-2993-41DE-A2CB-63102DE87051}"/>
              </c:ext>
            </c:extLst>
          </c:dPt>
          <c:dPt>
            <c:idx val="23"/>
            <c:invertIfNegative val="1"/>
            <c:bubble3D val="0"/>
            <c:spPr>
              <a:solidFill>
                <a:srgbClr val="7ECAC4"/>
              </a:solidFill>
            </c:spPr>
            <c:extLst>
              <c:ext xmlns:c16="http://schemas.microsoft.com/office/drawing/2014/chart" uri="{C3380CC4-5D6E-409C-BE32-E72D297353CC}">
                <c16:uniqueId val="{00000067-2993-41DE-A2CB-63102DE87051}"/>
              </c:ext>
            </c:extLst>
          </c:dPt>
          <c:dPt>
            <c:idx val="24"/>
            <c:invertIfNegative val="1"/>
            <c:bubble3D val="0"/>
            <c:spPr>
              <a:solidFill>
                <a:srgbClr val="7ECAC4"/>
              </a:solidFill>
            </c:spPr>
            <c:extLst>
              <c:ext xmlns:c16="http://schemas.microsoft.com/office/drawing/2014/chart" uri="{C3380CC4-5D6E-409C-BE32-E72D297353CC}">
                <c16:uniqueId val="{00000069-2993-41DE-A2CB-63102DE87051}"/>
              </c:ext>
            </c:extLst>
          </c:dPt>
          <c:dPt>
            <c:idx val="25"/>
            <c:invertIfNegative val="1"/>
            <c:bubble3D val="0"/>
            <c:spPr>
              <a:solidFill>
                <a:srgbClr val="AEABAB"/>
              </a:solidFill>
            </c:spPr>
            <c:extLst>
              <c:ext xmlns:c16="http://schemas.microsoft.com/office/drawing/2014/chart" uri="{C3380CC4-5D6E-409C-BE32-E72D297353CC}">
                <c16:uniqueId val="{0000006B-2993-41DE-A2CB-63102DE87051}"/>
              </c:ext>
            </c:extLst>
          </c:dPt>
          <c:dPt>
            <c:idx val="26"/>
            <c:invertIfNegative val="1"/>
            <c:bubble3D val="0"/>
            <c:spPr>
              <a:solidFill>
                <a:srgbClr val="AEABAB"/>
              </a:solidFill>
            </c:spPr>
            <c:extLst>
              <c:ext xmlns:c16="http://schemas.microsoft.com/office/drawing/2014/chart" uri="{C3380CC4-5D6E-409C-BE32-E72D297353CC}">
                <c16:uniqueId val="{0000006D-2993-41DE-A2CB-63102DE87051}"/>
              </c:ext>
            </c:extLst>
          </c:dPt>
          <c:dPt>
            <c:idx val="27"/>
            <c:invertIfNegative val="1"/>
            <c:bubble3D val="0"/>
            <c:spPr>
              <a:solidFill>
                <a:srgbClr val="AEABAB"/>
              </a:solidFill>
            </c:spPr>
            <c:extLst>
              <c:ext xmlns:c16="http://schemas.microsoft.com/office/drawing/2014/chart" uri="{C3380CC4-5D6E-409C-BE32-E72D297353CC}">
                <c16:uniqueId val="{0000006F-2993-41DE-A2CB-63102DE87051}"/>
              </c:ext>
            </c:extLst>
          </c:dPt>
          <c:dPt>
            <c:idx val="28"/>
            <c:invertIfNegative val="1"/>
            <c:bubble3D val="0"/>
            <c:spPr>
              <a:solidFill>
                <a:srgbClr val="AEABAB"/>
              </a:solidFill>
            </c:spPr>
            <c:extLst>
              <c:ext xmlns:c16="http://schemas.microsoft.com/office/drawing/2014/chart" uri="{C3380CC4-5D6E-409C-BE32-E72D297353CC}">
                <c16:uniqueId val="{00000071-2993-41DE-A2CB-63102DE87051}"/>
              </c:ext>
            </c:extLst>
          </c:dPt>
          <c:dPt>
            <c:idx val="29"/>
            <c:invertIfNegative val="1"/>
            <c:bubble3D val="0"/>
            <c:spPr>
              <a:solidFill>
                <a:srgbClr val="AEABAB"/>
              </a:solidFill>
            </c:spPr>
            <c:extLst>
              <c:ext xmlns:c16="http://schemas.microsoft.com/office/drawing/2014/chart" uri="{C3380CC4-5D6E-409C-BE32-E72D297353CC}">
                <c16:uniqueId val="{00000073-2993-41DE-A2CB-63102DE87051}"/>
              </c:ext>
            </c:extLst>
          </c:dPt>
          <c:dPt>
            <c:idx val="30"/>
            <c:invertIfNegative val="1"/>
            <c:bubble3D val="0"/>
            <c:spPr>
              <a:solidFill>
                <a:srgbClr val="AEABAB"/>
              </a:solidFill>
            </c:spPr>
            <c:extLst>
              <c:ext xmlns:c16="http://schemas.microsoft.com/office/drawing/2014/chart" uri="{C3380CC4-5D6E-409C-BE32-E72D297353CC}">
                <c16:uniqueId val="{00000075-2993-41DE-A2CB-63102DE87051}"/>
              </c:ext>
            </c:extLst>
          </c:dPt>
          <c:dPt>
            <c:idx val="31"/>
            <c:invertIfNegative val="1"/>
            <c:bubble3D val="0"/>
            <c:spPr>
              <a:solidFill>
                <a:srgbClr val="AEABAB"/>
              </a:solidFill>
            </c:spPr>
            <c:extLst>
              <c:ext xmlns:c16="http://schemas.microsoft.com/office/drawing/2014/chart" uri="{C3380CC4-5D6E-409C-BE32-E72D297353CC}">
                <c16:uniqueId val="{00000077-2993-41DE-A2CB-63102DE87051}"/>
              </c:ext>
            </c:extLst>
          </c:dPt>
          <c:dPt>
            <c:idx val="32"/>
            <c:invertIfNegative val="1"/>
            <c:bubble3D val="0"/>
            <c:spPr>
              <a:solidFill>
                <a:srgbClr val="AEABAB"/>
              </a:solidFill>
            </c:spPr>
            <c:extLst>
              <c:ext xmlns:c16="http://schemas.microsoft.com/office/drawing/2014/chart" uri="{C3380CC4-5D6E-409C-BE32-E72D297353CC}">
                <c16:uniqueId val="{00000079-2993-41DE-A2CB-63102DE87051}"/>
              </c:ext>
            </c:extLst>
          </c:dPt>
          <c:dPt>
            <c:idx val="33"/>
            <c:invertIfNegative val="1"/>
            <c:bubble3D val="0"/>
            <c:spPr>
              <a:solidFill>
                <a:srgbClr val="AEABAB"/>
              </a:solidFill>
            </c:spPr>
            <c:extLst>
              <c:ext xmlns:c16="http://schemas.microsoft.com/office/drawing/2014/chart" uri="{C3380CC4-5D6E-409C-BE32-E72D297353CC}">
                <c16:uniqueId val="{0000007B-2993-41DE-A2CB-63102DE87051}"/>
              </c:ext>
            </c:extLst>
          </c:dPt>
          <c:dPt>
            <c:idx val="34"/>
            <c:invertIfNegative val="1"/>
            <c:bubble3D val="0"/>
            <c:spPr>
              <a:solidFill>
                <a:srgbClr val="AEABAB"/>
              </a:solidFill>
            </c:spPr>
            <c:extLst>
              <c:ext xmlns:c16="http://schemas.microsoft.com/office/drawing/2014/chart" uri="{C3380CC4-5D6E-409C-BE32-E72D297353CC}">
                <c16:uniqueId val="{0000007D-2993-41DE-A2CB-63102DE87051}"/>
              </c:ext>
            </c:extLst>
          </c:dPt>
          <c:dPt>
            <c:idx val="35"/>
            <c:invertIfNegative val="1"/>
            <c:bubble3D val="0"/>
            <c:spPr>
              <a:solidFill>
                <a:srgbClr val="AEABAB"/>
              </a:solidFill>
            </c:spPr>
            <c:extLst>
              <c:ext xmlns:c16="http://schemas.microsoft.com/office/drawing/2014/chart" uri="{C3380CC4-5D6E-409C-BE32-E72D297353CC}">
                <c16:uniqueId val="{0000007F-2993-41DE-A2CB-63102DE87051}"/>
              </c:ext>
            </c:extLst>
          </c:dPt>
          <c:dPt>
            <c:idx val="36"/>
            <c:invertIfNegative val="1"/>
            <c:bubble3D val="0"/>
            <c:spPr>
              <a:solidFill>
                <a:srgbClr val="AEABAB"/>
              </a:solidFill>
            </c:spPr>
            <c:extLst>
              <c:ext xmlns:c16="http://schemas.microsoft.com/office/drawing/2014/chart" uri="{C3380CC4-5D6E-409C-BE32-E72D297353CC}">
                <c16:uniqueId val="{00000081-2993-41DE-A2CB-63102DE87051}"/>
              </c:ext>
            </c:extLst>
          </c:dPt>
          <c:dPt>
            <c:idx val="37"/>
            <c:invertIfNegative val="1"/>
            <c:bubble3D val="0"/>
            <c:spPr>
              <a:solidFill>
                <a:srgbClr val="AEABAB"/>
              </a:solidFill>
            </c:spPr>
            <c:extLst>
              <c:ext xmlns:c16="http://schemas.microsoft.com/office/drawing/2014/chart" uri="{C3380CC4-5D6E-409C-BE32-E72D297353CC}">
                <c16:uniqueId val="{00000083-2993-41DE-A2CB-63102DE87051}"/>
              </c:ext>
            </c:extLst>
          </c:dPt>
          <c:dPt>
            <c:idx val="38"/>
            <c:invertIfNegative val="1"/>
            <c:bubble3D val="0"/>
            <c:spPr>
              <a:solidFill>
                <a:srgbClr val="AEABAB"/>
              </a:solidFill>
            </c:spPr>
            <c:extLst>
              <c:ext xmlns:c16="http://schemas.microsoft.com/office/drawing/2014/chart" uri="{C3380CC4-5D6E-409C-BE32-E72D297353CC}">
                <c16:uniqueId val="{00000085-2993-41DE-A2CB-63102DE87051}"/>
              </c:ext>
            </c:extLst>
          </c:dPt>
          <c:dPt>
            <c:idx val="39"/>
            <c:invertIfNegative val="1"/>
            <c:bubble3D val="0"/>
            <c:spPr>
              <a:solidFill>
                <a:srgbClr val="AEABAB"/>
              </a:solidFill>
            </c:spPr>
            <c:extLst>
              <c:ext xmlns:c16="http://schemas.microsoft.com/office/drawing/2014/chart" uri="{C3380CC4-5D6E-409C-BE32-E72D297353CC}">
                <c16:uniqueId val="{00000087-2993-41DE-A2CB-63102DE87051}"/>
              </c:ext>
            </c:extLst>
          </c:dPt>
          <c:dPt>
            <c:idx val="40"/>
            <c:invertIfNegative val="1"/>
            <c:bubble3D val="0"/>
            <c:spPr>
              <a:solidFill>
                <a:srgbClr val="AEABAB"/>
              </a:solidFill>
            </c:spPr>
            <c:extLst>
              <c:ext xmlns:c16="http://schemas.microsoft.com/office/drawing/2014/chart" uri="{C3380CC4-5D6E-409C-BE32-E72D297353CC}">
                <c16:uniqueId val="{00000089-2993-41DE-A2CB-63102DE87051}"/>
              </c:ext>
            </c:extLst>
          </c:dPt>
          <c:dPt>
            <c:idx val="41"/>
            <c:invertIfNegative val="1"/>
            <c:bubble3D val="0"/>
            <c:spPr>
              <a:solidFill>
                <a:srgbClr val="AEABAB"/>
              </a:solidFill>
            </c:spPr>
            <c:extLst>
              <c:ext xmlns:c16="http://schemas.microsoft.com/office/drawing/2014/chart" uri="{C3380CC4-5D6E-409C-BE32-E72D297353CC}">
                <c16:uniqueId val="{0000008B-2993-41DE-A2CB-63102DE87051}"/>
              </c:ext>
            </c:extLst>
          </c:dPt>
          <c:dPt>
            <c:idx val="42"/>
            <c:invertIfNegative val="1"/>
            <c:bubble3D val="0"/>
            <c:spPr>
              <a:solidFill>
                <a:srgbClr val="AEABAB"/>
              </a:solidFill>
            </c:spPr>
            <c:extLst>
              <c:ext xmlns:c16="http://schemas.microsoft.com/office/drawing/2014/chart" uri="{C3380CC4-5D6E-409C-BE32-E72D297353CC}">
                <c16:uniqueId val="{0000008D-2993-41DE-A2CB-63102DE87051}"/>
              </c:ext>
            </c:extLst>
          </c:dPt>
          <c:dPt>
            <c:idx val="43"/>
            <c:invertIfNegative val="1"/>
            <c:bubble3D val="0"/>
            <c:spPr>
              <a:solidFill>
                <a:srgbClr val="AEABAB"/>
              </a:solidFill>
            </c:spPr>
            <c:extLst>
              <c:ext xmlns:c16="http://schemas.microsoft.com/office/drawing/2014/chart" uri="{C3380CC4-5D6E-409C-BE32-E72D297353CC}">
                <c16:uniqueId val="{0000008F-2993-41DE-A2CB-63102DE87051}"/>
              </c:ext>
            </c:extLst>
          </c:dPt>
          <c:dPt>
            <c:idx val="44"/>
            <c:invertIfNegative val="1"/>
            <c:bubble3D val="0"/>
            <c:spPr>
              <a:solidFill>
                <a:srgbClr val="AEABAB"/>
              </a:solidFill>
            </c:spPr>
            <c:extLst>
              <c:ext xmlns:c16="http://schemas.microsoft.com/office/drawing/2014/chart" uri="{C3380CC4-5D6E-409C-BE32-E72D297353CC}">
                <c16:uniqueId val="{00000091-2993-41DE-A2CB-63102DE87051}"/>
              </c:ext>
            </c:extLst>
          </c:dPt>
          <c:dPt>
            <c:idx val="45"/>
            <c:invertIfNegative val="1"/>
            <c:bubble3D val="0"/>
            <c:spPr>
              <a:solidFill>
                <a:srgbClr val="AEABAB"/>
              </a:solidFill>
            </c:spPr>
            <c:extLst>
              <c:ext xmlns:c16="http://schemas.microsoft.com/office/drawing/2014/chart" uri="{C3380CC4-5D6E-409C-BE32-E72D297353CC}">
                <c16:uniqueId val="{00000093-2993-41DE-A2CB-63102DE87051}"/>
              </c:ext>
            </c:extLst>
          </c:dPt>
          <c:dPt>
            <c:idx val="46"/>
            <c:invertIfNegative val="1"/>
            <c:bubble3D val="0"/>
            <c:spPr>
              <a:solidFill>
                <a:srgbClr val="AEABAB"/>
              </a:solidFill>
            </c:spPr>
            <c:extLst>
              <c:ext xmlns:c16="http://schemas.microsoft.com/office/drawing/2014/chart" uri="{C3380CC4-5D6E-409C-BE32-E72D297353CC}">
                <c16:uniqueId val="{00000095-2993-41DE-A2CB-63102DE87051}"/>
              </c:ext>
            </c:extLst>
          </c:dPt>
          <c:dPt>
            <c:idx val="47"/>
            <c:invertIfNegative val="1"/>
            <c:bubble3D val="0"/>
            <c:spPr>
              <a:solidFill>
                <a:srgbClr val="AEABAB"/>
              </a:solidFill>
            </c:spPr>
            <c:extLst>
              <c:ext xmlns:c16="http://schemas.microsoft.com/office/drawing/2014/chart" uri="{C3380CC4-5D6E-409C-BE32-E72D297353CC}">
                <c16:uniqueId val="{00000097-2993-41DE-A2CB-63102DE87051}"/>
              </c:ext>
            </c:extLst>
          </c:dPt>
          <c:dPt>
            <c:idx val="48"/>
            <c:invertIfNegative val="1"/>
            <c:bubble3D val="0"/>
            <c:spPr>
              <a:solidFill>
                <a:srgbClr val="AEABAB"/>
              </a:solidFill>
            </c:spPr>
            <c:extLst>
              <c:ext xmlns:c16="http://schemas.microsoft.com/office/drawing/2014/chart" uri="{C3380CC4-5D6E-409C-BE32-E72D297353CC}">
                <c16:uniqueId val="{00000099-2993-41DE-A2CB-63102DE87051}"/>
              </c:ext>
            </c:extLst>
          </c:dPt>
          <c:dPt>
            <c:idx val="49"/>
            <c:invertIfNegative val="1"/>
            <c:bubble3D val="0"/>
            <c:spPr>
              <a:solidFill>
                <a:srgbClr val="AEABAB"/>
              </a:solidFill>
            </c:spPr>
            <c:extLst>
              <c:ext xmlns:c16="http://schemas.microsoft.com/office/drawing/2014/chart" uri="{C3380CC4-5D6E-409C-BE32-E72D297353CC}">
                <c16:uniqueId val="{0000009B-2993-41DE-A2CB-63102DE87051}"/>
              </c:ext>
            </c:extLst>
          </c:dPt>
          <c:dPt>
            <c:idx val="50"/>
            <c:invertIfNegative val="1"/>
            <c:bubble3D val="0"/>
            <c:spPr>
              <a:solidFill>
                <a:srgbClr val="AEABAB"/>
              </a:solidFill>
            </c:spPr>
            <c:extLst>
              <c:ext xmlns:c16="http://schemas.microsoft.com/office/drawing/2014/chart" uri="{C3380CC4-5D6E-409C-BE32-E72D297353CC}">
                <c16:uniqueId val="{0000009D-2993-41DE-A2CB-63102DE87051}"/>
              </c:ext>
            </c:extLst>
          </c:dPt>
          <c:dPt>
            <c:idx val="51"/>
            <c:invertIfNegative val="1"/>
            <c:bubble3D val="0"/>
            <c:spPr>
              <a:solidFill>
                <a:srgbClr val="AEABAB"/>
              </a:solidFill>
            </c:spPr>
            <c:extLst>
              <c:ext xmlns:c16="http://schemas.microsoft.com/office/drawing/2014/chart" uri="{C3380CC4-5D6E-409C-BE32-E72D297353CC}">
                <c16:uniqueId val="{0000009F-2993-41DE-A2CB-63102DE87051}"/>
              </c:ext>
            </c:extLst>
          </c:dPt>
          <c:dPt>
            <c:idx val="52"/>
            <c:invertIfNegative val="1"/>
            <c:bubble3D val="0"/>
            <c:spPr>
              <a:solidFill>
                <a:srgbClr val="AEABAB"/>
              </a:solidFill>
            </c:spPr>
            <c:extLst>
              <c:ext xmlns:c16="http://schemas.microsoft.com/office/drawing/2014/chart" uri="{C3380CC4-5D6E-409C-BE32-E72D297353CC}">
                <c16:uniqueId val="{000000A1-2993-41DE-A2CB-63102DE87051}"/>
              </c:ext>
            </c:extLst>
          </c:dPt>
          <c:dPt>
            <c:idx val="53"/>
            <c:invertIfNegative val="1"/>
            <c:bubble3D val="0"/>
            <c:spPr>
              <a:solidFill>
                <a:srgbClr val="AEABAB"/>
              </a:solidFill>
            </c:spPr>
            <c:extLst>
              <c:ext xmlns:c16="http://schemas.microsoft.com/office/drawing/2014/chart" uri="{C3380CC4-5D6E-409C-BE32-E72D297353CC}">
                <c16:uniqueId val="{000000A3-2993-41DE-A2CB-63102DE87051}"/>
              </c:ext>
            </c:extLst>
          </c:dPt>
          <c:dPt>
            <c:idx val="54"/>
            <c:invertIfNegative val="0"/>
            <c:bubble3D val="0"/>
            <c:spPr>
              <a:solidFill>
                <a:srgbClr val="AEABAB"/>
              </a:solidFill>
            </c:spPr>
            <c:extLst>
              <c:ext xmlns:c16="http://schemas.microsoft.com/office/drawing/2014/chart" uri="{C3380CC4-5D6E-409C-BE32-E72D297353CC}">
                <c16:uniqueId val="{00000072-C76F-4230-900D-40618C09729F}"/>
              </c:ext>
            </c:extLst>
          </c:dPt>
          <c:dPt>
            <c:idx val="55"/>
            <c:invertIfNegative val="0"/>
            <c:bubble3D val="0"/>
            <c:spPr>
              <a:solidFill>
                <a:srgbClr val="AEABAB"/>
              </a:solidFill>
            </c:spPr>
            <c:extLst>
              <c:ext xmlns:c16="http://schemas.microsoft.com/office/drawing/2014/chart" uri="{C3380CC4-5D6E-409C-BE32-E72D297353CC}">
                <c16:uniqueId val="{00000074-C76F-4230-900D-40618C09729F}"/>
              </c:ext>
            </c:extLst>
          </c:dPt>
          <c:dPt>
            <c:idx val="56"/>
            <c:invertIfNegative val="0"/>
            <c:bubble3D val="0"/>
            <c:spPr>
              <a:solidFill>
                <a:srgbClr val="AEABAB"/>
              </a:solidFill>
            </c:spPr>
            <c:extLst>
              <c:ext xmlns:c16="http://schemas.microsoft.com/office/drawing/2014/chart" uri="{C3380CC4-5D6E-409C-BE32-E72D297353CC}">
                <c16:uniqueId val="{00000076-C76F-4230-900D-40618C09729F}"/>
              </c:ext>
            </c:extLst>
          </c:dPt>
          <c:dPt>
            <c:idx val="57"/>
            <c:invertIfNegative val="0"/>
            <c:bubble3D val="0"/>
            <c:spPr>
              <a:solidFill>
                <a:srgbClr val="AEABAB"/>
              </a:solidFill>
            </c:spPr>
            <c:extLst>
              <c:ext xmlns:c16="http://schemas.microsoft.com/office/drawing/2014/chart" uri="{C3380CC4-5D6E-409C-BE32-E72D297353CC}">
                <c16:uniqueId val="{00000078-C76F-4230-900D-40618C09729F}"/>
              </c:ext>
            </c:extLst>
          </c:dPt>
          <c:dPt>
            <c:idx val="58"/>
            <c:invertIfNegative val="0"/>
            <c:bubble3D val="0"/>
            <c:spPr>
              <a:solidFill>
                <a:srgbClr val="AEABAB"/>
              </a:solidFill>
            </c:spPr>
            <c:extLst>
              <c:ext xmlns:c16="http://schemas.microsoft.com/office/drawing/2014/chart" uri="{C3380CC4-5D6E-409C-BE32-E72D297353CC}">
                <c16:uniqueId val="{0000007A-C76F-4230-900D-40618C09729F}"/>
              </c:ext>
            </c:extLst>
          </c:dPt>
          <c:dPt>
            <c:idx val="59"/>
            <c:invertIfNegative val="0"/>
            <c:bubble3D val="0"/>
            <c:spPr>
              <a:solidFill>
                <a:srgbClr val="AEABAB"/>
              </a:solidFill>
            </c:spPr>
            <c:extLst>
              <c:ext xmlns:c16="http://schemas.microsoft.com/office/drawing/2014/chart" uri="{C3380CC4-5D6E-409C-BE32-E72D297353CC}">
                <c16:uniqueId val="{0000007C-C76F-4230-900D-40618C09729F}"/>
              </c:ext>
            </c:extLst>
          </c:dPt>
          <c:dPt>
            <c:idx val="60"/>
            <c:invertIfNegative val="0"/>
            <c:bubble3D val="0"/>
            <c:spPr>
              <a:solidFill>
                <a:srgbClr val="AEABAB"/>
              </a:solidFill>
            </c:spPr>
            <c:extLst>
              <c:ext xmlns:c16="http://schemas.microsoft.com/office/drawing/2014/chart" uri="{C3380CC4-5D6E-409C-BE32-E72D297353CC}">
                <c16:uniqueId val="{0000007E-C76F-4230-900D-40618C09729F}"/>
              </c:ext>
            </c:extLst>
          </c:dPt>
          <c:dPt>
            <c:idx val="61"/>
            <c:invertIfNegative val="0"/>
            <c:bubble3D val="0"/>
            <c:spPr>
              <a:solidFill>
                <a:srgbClr val="AEABAB"/>
              </a:solidFill>
            </c:spPr>
            <c:extLst>
              <c:ext xmlns:c16="http://schemas.microsoft.com/office/drawing/2014/chart" uri="{C3380CC4-5D6E-409C-BE32-E72D297353CC}">
                <c16:uniqueId val="{00000080-C76F-4230-900D-40618C09729F}"/>
              </c:ext>
            </c:extLst>
          </c:dPt>
          <c:dPt>
            <c:idx val="62"/>
            <c:invertIfNegative val="0"/>
            <c:bubble3D val="0"/>
            <c:spPr>
              <a:solidFill>
                <a:srgbClr val="AEABAB"/>
              </a:solidFill>
            </c:spPr>
            <c:extLst>
              <c:ext xmlns:c16="http://schemas.microsoft.com/office/drawing/2014/chart" uri="{C3380CC4-5D6E-409C-BE32-E72D297353CC}">
                <c16:uniqueId val="{00000082-C76F-4230-900D-40618C09729F}"/>
              </c:ext>
            </c:extLst>
          </c:dPt>
          <c:dPt>
            <c:idx val="63"/>
            <c:invertIfNegative val="0"/>
            <c:bubble3D val="0"/>
            <c:spPr>
              <a:solidFill>
                <a:srgbClr val="AEABAB"/>
              </a:solidFill>
            </c:spPr>
            <c:extLst>
              <c:ext xmlns:c16="http://schemas.microsoft.com/office/drawing/2014/chart" uri="{C3380CC4-5D6E-409C-BE32-E72D297353CC}">
                <c16:uniqueId val="{00000084-C76F-4230-900D-40618C09729F}"/>
              </c:ext>
            </c:extLst>
          </c:dPt>
          <c:dPt>
            <c:idx val="64"/>
            <c:invertIfNegative val="0"/>
            <c:bubble3D val="0"/>
            <c:spPr>
              <a:solidFill>
                <a:srgbClr val="AEABAB"/>
              </a:solidFill>
            </c:spPr>
            <c:extLst>
              <c:ext xmlns:c16="http://schemas.microsoft.com/office/drawing/2014/chart" uri="{C3380CC4-5D6E-409C-BE32-E72D297353CC}">
                <c16:uniqueId val="{00000086-C76F-4230-900D-40618C09729F}"/>
              </c:ext>
            </c:extLst>
          </c:dPt>
          <c:dPt>
            <c:idx val="65"/>
            <c:invertIfNegative val="0"/>
            <c:bubble3D val="0"/>
            <c:spPr>
              <a:solidFill>
                <a:srgbClr val="AEABAB"/>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67</c:f>
              <c:strCache>
                <c:ptCount val="66"/>
                <c:pt idx="0">
                  <c:v>Dom Perigno</c:v>
                </c:pt>
                <c:pt idx="1">
                  <c:v>Dom Perigno</c:v>
                </c:pt>
                <c:pt idx="2">
                  <c:v>Roederer</c:v>
                </c:pt>
                <c:pt idx="3">
                  <c:v>Roederer</c:v>
                </c:pt>
                <c:pt idx="4">
                  <c:v>Malard</c:v>
                </c:pt>
                <c:pt idx="5">
                  <c:v>Roederer</c:v>
                </c:pt>
                <c:pt idx="6">
                  <c:v>Roederer</c:v>
                </c:pt>
                <c:pt idx="7">
                  <c:v>Roederer</c:v>
                </c:pt>
                <c:pt idx="8">
                  <c:v>Roederer</c:v>
                </c:pt>
                <c:pt idx="9">
                  <c:v>Ruinart</c:v>
                </c:pt>
                <c:pt idx="10">
                  <c:v>Bollinger</c:v>
                </c:pt>
                <c:pt idx="11">
                  <c:v>Dom Perigno</c:v>
                </c:pt>
                <c:pt idx="12">
                  <c:v>Perrier Jou</c:v>
                </c:pt>
                <c:pt idx="13">
                  <c:v>Ruinart</c:v>
                </c:pt>
                <c:pt idx="14">
                  <c:v>Dom Perigno</c:v>
                </c:pt>
                <c:pt idx="15">
                  <c:v>Laurent Per</c:v>
                </c:pt>
                <c:pt idx="16">
                  <c:v>Ruinart</c:v>
                </c:pt>
                <c:pt idx="17">
                  <c:v>Pommery</c:v>
                </c:pt>
                <c:pt idx="18">
                  <c:v>Piper Heids</c:v>
                </c:pt>
                <c:pt idx="19">
                  <c:v>Pommery</c:v>
                </c:pt>
                <c:pt idx="20">
                  <c:v>Lanson</c:v>
                </c:pt>
                <c:pt idx="21">
                  <c:v>De Venoge</c:v>
                </c:pt>
                <c:pt idx="22">
                  <c:v>Dom Perigno</c:v>
                </c:pt>
                <c:pt idx="23">
                  <c:v>All Others</c:v>
                </c:pt>
                <c:pt idx="24">
                  <c:v>Roederer</c:v>
                </c:pt>
                <c:pt idx="25">
                  <c:v>De Venoge</c:v>
                </c:pt>
                <c:pt idx="26">
                  <c:v>Nicolas Feu</c:v>
                </c:pt>
                <c:pt idx="27">
                  <c:v>Piper Heids</c:v>
                </c:pt>
                <c:pt idx="28">
                  <c:v>Veuve Clicq</c:v>
                </c:pt>
                <c:pt idx="29">
                  <c:v>Dom Perigno</c:v>
                </c:pt>
                <c:pt idx="30">
                  <c:v>All Others</c:v>
                </c:pt>
                <c:pt idx="31">
                  <c:v>Deutz</c:v>
                </c:pt>
                <c:pt idx="32">
                  <c:v>All Others</c:v>
                </c:pt>
                <c:pt idx="33">
                  <c:v>All Others</c:v>
                </c:pt>
                <c:pt idx="34">
                  <c:v>Roederer</c:v>
                </c:pt>
                <c:pt idx="35">
                  <c:v>Veuve Clicq</c:v>
                </c:pt>
                <c:pt idx="36">
                  <c:v>Krug</c:v>
                </c:pt>
                <c:pt idx="37">
                  <c:v>Perrier Jou</c:v>
                </c:pt>
                <c:pt idx="38">
                  <c:v>Moët &amp; Chan</c:v>
                </c:pt>
                <c:pt idx="39">
                  <c:v>All Others</c:v>
                </c:pt>
                <c:pt idx="40">
                  <c:v>Roederer</c:v>
                </c:pt>
                <c:pt idx="41">
                  <c:v>Veuve Clicq</c:v>
                </c:pt>
                <c:pt idx="42">
                  <c:v>Pommery</c:v>
                </c:pt>
                <c:pt idx="43">
                  <c:v>Bollinger</c:v>
                </c:pt>
                <c:pt idx="44">
                  <c:v>Henriot</c:v>
                </c:pt>
                <c:pt idx="45">
                  <c:v>Vesselle</c:v>
                </c:pt>
                <c:pt idx="46">
                  <c:v>Ruinart</c:v>
                </c:pt>
                <c:pt idx="47">
                  <c:v>Bollinger</c:v>
                </c:pt>
                <c:pt idx="48">
                  <c:v>Moët &amp; Chan</c:v>
                </c:pt>
                <c:pt idx="49">
                  <c:v>Veuve Clicq</c:v>
                </c:pt>
                <c:pt idx="50">
                  <c:v>Laurent Per</c:v>
                </c:pt>
                <c:pt idx="51">
                  <c:v>Roederer</c:v>
                </c:pt>
                <c:pt idx="52">
                  <c:v>Ruinart</c:v>
                </c:pt>
                <c:pt idx="53">
                  <c:v>All Others</c:v>
                </c:pt>
                <c:pt idx="54">
                  <c:v>Bollinger</c:v>
                </c:pt>
                <c:pt idx="55">
                  <c:v>De Venoge</c:v>
                </c:pt>
                <c:pt idx="56">
                  <c:v>Canard Duch</c:v>
                </c:pt>
                <c:pt idx="57">
                  <c:v>Pommery</c:v>
                </c:pt>
                <c:pt idx="58">
                  <c:v>Roederer</c:v>
                </c:pt>
                <c:pt idx="59">
                  <c:v>Vesselle</c:v>
                </c:pt>
                <c:pt idx="60">
                  <c:v>Roederer</c:v>
                </c:pt>
                <c:pt idx="61">
                  <c:v>Roederer</c:v>
                </c:pt>
                <c:pt idx="62">
                  <c:v>All Others</c:v>
                </c:pt>
                <c:pt idx="63">
                  <c:v>Laurent Per</c:v>
                </c:pt>
                <c:pt idx="64">
                  <c:v>Malard</c:v>
                </c:pt>
                <c:pt idx="65">
                  <c:v>Vesselle</c:v>
                </c:pt>
              </c:strCache>
            </c:strRef>
          </c:cat>
          <c:val>
            <c:numRef>
              <c:f>Sheet1!$C$2:$C$67</c:f>
              <c:numCache>
                <c:formatCode>General</c:formatCode>
                <c:ptCount val="66"/>
                <c:pt idx="0">
                  <c:v>0.20722907798941112</c:v>
                </c:pt>
                <c:pt idx="1">
                  <c:v>0.38210520012574911</c:v>
                </c:pt>
                <c:pt idx="2">
                  <c:v>0.45414897279926547</c:v>
                </c:pt>
                <c:pt idx="3">
                  <c:v>0.51719070454443383</c:v>
                </c:pt>
                <c:pt idx="4">
                  <c:v>0.57522492627208721</c:v>
                </c:pt>
                <c:pt idx="5">
                  <c:v>0.61991327302032451</c:v>
                </c:pt>
                <c:pt idx="6">
                  <c:v>0.65192441080045316</c:v>
                </c:pt>
                <c:pt idx="7">
                  <c:v>0.683531354946881</c:v>
                </c:pt>
                <c:pt idx="8">
                  <c:v>0.71429498151188386</c:v>
                </c:pt>
                <c:pt idx="9">
                  <c:v>0.74495880717967666</c:v>
                </c:pt>
                <c:pt idx="10">
                  <c:v>0.77182021866376593</c:v>
                </c:pt>
                <c:pt idx="11">
                  <c:v>0.79626644843537153</c:v>
                </c:pt>
                <c:pt idx="12">
                  <c:v>0.81949011721615383</c:v>
                </c:pt>
                <c:pt idx="13">
                  <c:v>0.84252915433709752</c:v>
                </c:pt>
                <c:pt idx="14">
                  <c:v>0.86523385845238754</c:v>
                </c:pt>
                <c:pt idx="15">
                  <c:v>0.88303085344737253</c:v>
                </c:pt>
                <c:pt idx="16">
                  <c:v>0.89901396713556458</c:v>
                </c:pt>
                <c:pt idx="17">
                  <c:v>0.90847010214621837</c:v>
                </c:pt>
                <c:pt idx="18">
                  <c:v>0.91588031876406573</c:v>
                </c:pt>
                <c:pt idx="19">
                  <c:v>0.92269921506594343</c:v>
                </c:pt>
                <c:pt idx="20">
                  <c:v>0.92872469423500115</c:v>
                </c:pt>
                <c:pt idx="21">
                  <c:v>0.93451065125075472</c:v>
                </c:pt>
                <c:pt idx="22">
                  <c:v>0.93999720557487809</c:v>
                </c:pt>
                <c:pt idx="23">
                  <c:v>0.94443335545586549</c:v>
                </c:pt>
                <c:pt idx="24">
                  <c:v>0.94847279677044294</c:v>
                </c:pt>
                <c:pt idx="25">
                  <c:v>0.95197580826251627</c:v>
                </c:pt>
                <c:pt idx="26">
                  <c:v>0.95526674284801816</c:v>
                </c:pt>
                <c:pt idx="27">
                  <c:v>0.95832065030264613</c:v>
                </c:pt>
                <c:pt idx="28">
                  <c:v>0.96131218219651782</c:v>
                </c:pt>
                <c:pt idx="29">
                  <c:v>0.96395690597258454</c:v>
                </c:pt>
                <c:pt idx="30">
                  <c:v>0.96654424423275553</c:v>
                </c:pt>
                <c:pt idx="31">
                  <c:v>0.96886212007045935</c:v>
                </c:pt>
                <c:pt idx="32">
                  <c:v>0.97090304841840525</c:v>
                </c:pt>
                <c:pt idx="33">
                  <c:v>0.97276932519623349</c:v>
                </c:pt>
                <c:pt idx="34">
                  <c:v>0.9745657413460147</c:v>
                </c:pt>
                <c:pt idx="35">
                  <c:v>0.97635966247336559</c:v>
                </c:pt>
                <c:pt idx="36">
                  <c:v>0.97800637727733164</c:v>
                </c:pt>
                <c:pt idx="37">
                  <c:v>0.97963063687942542</c:v>
                </c:pt>
                <c:pt idx="38">
                  <c:v>0.98124491639179823</c:v>
                </c:pt>
                <c:pt idx="39">
                  <c:v>0.98274192984994924</c:v>
                </c:pt>
                <c:pt idx="40">
                  <c:v>0.98414413245575061</c:v>
                </c:pt>
                <c:pt idx="41">
                  <c:v>0.98545401923163267</c:v>
                </c:pt>
                <c:pt idx="42">
                  <c:v>0.98672398564863073</c:v>
                </c:pt>
                <c:pt idx="43">
                  <c:v>0.98794654663945403</c:v>
                </c:pt>
                <c:pt idx="44">
                  <c:v>0.98904435650876477</c:v>
                </c:pt>
                <c:pt idx="45">
                  <c:v>0.99011721615377302</c:v>
                </c:pt>
                <c:pt idx="46">
                  <c:v>0.99118508575392072</c:v>
                </c:pt>
                <c:pt idx="47">
                  <c:v>0.99220305490546334</c:v>
                </c:pt>
                <c:pt idx="48">
                  <c:v>0.99311124307007492</c:v>
                </c:pt>
                <c:pt idx="49">
                  <c:v>0.99399697603281423</c:v>
                </c:pt>
                <c:pt idx="50">
                  <c:v>0.99474548276188968</c:v>
                </c:pt>
                <c:pt idx="51">
                  <c:v>0.99538171348160387</c:v>
                </c:pt>
                <c:pt idx="52">
                  <c:v>0.99600047904430633</c:v>
                </c:pt>
                <c:pt idx="53">
                  <c:v>0.99656684913597349</c:v>
                </c:pt>
                <c:pt idx="54">
                  <c:v>0.99709080384632631</c:v>
                </c:pt>
                <c:pt idx="55">
                  <c:v>0.99757733322022535</c:v>
                </c:pt>
                <c:pt idx="56">
                  <c:v>0.99802394223524038</c:v>
                </c:pt>
                <c:pt idx="57">
                  <c:v>0.99845059107081346</c:v>
                </c:pt>
                <c:pt idx="58">
                  <c:v>0.99885478470451428</c:v>
                </c:pt>
                <c:pt idx="59">
                  <c:v>0.99916416748586545</c:v>
                </c:pt>
                <c:pt idx="60">
                  <c:v>0.99938372945972764</c:v>
                </c:pt>
                <c:pt idx="61">
                  <c:v>0.99959830138872929</c:v>
                </c:pt>
                <c:pt idx="62">
                  <c:v>0.99972804255510239</c:v>
                </c:pt>
                <c:pt idx="63">
                  <c:v>0.99985778372147549</c:v>
                </c:pt>
                <c:pt idx="64">
                  <c:v>0.99994261448410404</c:v>
                </c:pt>
                <c:pt idx="65">
                  <c:v>0.99999999999999978</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52</c:f>
              <c:strCache>
                <c:ptCount val="51"/>
                <c:pt idx="0">
                  <c:v>Dom Perigno</c:v>
                </c:pt>
                <c:pt idx="1">
                  <c:v>Dom Perigno</c:v>
                </c:pt>
                <c:pt idx="2">
                  <c:v>Dom Perigno</c:v>
                </c:pt>
                <c:pt idx="3">
                  <c:v>Roederer</c:v>
                </c:pt>
                <c:pt idx="4">
                  <c:v>Roederer</c:v>
                </c:pt>
                <c:pt idx="5">
                  <c:v>Malard</c:v>
                </c:pt>
                <c:pt idx="6">
                  <c:v>Ruinart</c:v>
                </c:pt>
                <c:pt idx="7">
                  <c:v>Veuve Clicq</c:v>
                </c:pt>
                <c:pt idx="8">
                  <c:v>Roederer</c:v>
                </c:pt>
                <c:pt idx="9">
                  <c:v>Roederer</c:v>
                </c:pt>
                <c:pt idx="10">
                  <c:v>Laurent Per</c:v>
                </c:pt>
                <c:pt idx="11">
                  <c:v>Roederer</c:v>
                </c:pt>
                <c:pt idx="12">
                  <c:v>Bollinger</c:v>
                </c:pt>
                <c:pt idx="13">
                  <c:v>Ruinart</c:v>
                </c:pt>
                <c:pt idx="14">
                  <c:v>Veuve Clicq</c:v>
                </c:pt>
                <c:pt idx="15">
                  <c:v>Roederer</c:v>
                </c:pt>
                <c:pt idx="16">
                  <c:v>Ruinart</c:v>
                </c:pt>
                <c:pt idx="17">
                  <c:v>Perrier Jou</c:v>
                </c:pt>
                <c:pt idx="18">
                  <c:v>Pommery</c:v>
                </c:pt>
                <c:pt idx="19">
                  <c:v>Roederer</c:v>
                </c:pt>
                <c:pt idx="20">
                  <c:v>Dom Perigno</c:v>
                </c:pt>
                <c:pt idx="21">
                  <c:v>Dom Perigno</c:v>
                </c:pt>
                <c:pt idx="22">
                  <c:v>Dom Perigno</c:v>
                </c:pt>
                <c:pt idx="23">
                  <c:v>Dom Perigno</c:v>
                </c:pt>
                <c:pt idx="24">
                  <c:v>De Venoge</c:v>
                </c:pt>
                <c:pt idx="25">
                  <c:v>Piper Heids</c:v>
                </c:pt>
                <c:pt idx="26">
                  <c:v>Laurent Per</c:v>
                </c:pt>
                <c:pt idx="27">
                  <c:v>Bollinger</c:v>
                </c:pt>
                <c:pt idx="28">
                  <c:v>Dom Perigno</c:v>
                </c:pt>
                <c:pt idx="29">
                  <c:v>All Others</c:v>
                </c:pt>
                <c:pt idx="30">
                  <c:v>Dom Perigno</c:v>
                </c:pt>
                <c:pt idx="31">
                  <c:v>Pommery</c:v>
                </c:pt>
                <c:pt idx="32">
                  <c:v>Piper Heids</c:v>
                </c:pt>
                <c:pt idx="33">
                  <c:v>Roederer</c:v>
                </c:pt>
                <c:pt idx="34">
                  <c:v>Roederer</c:v>
                </c:pt>
                <c:pt idx="35">
                  <c:v>Bollinger</c:v>
                </c:pt>
                <c:pt idx="36">
                  <c:v>Deutz</c:v>
                </c:pt>
                <c:pt idx="37">
                  <c:v>Bollinger</c:v>
                </c:pt>
                <c:pt idx="38">
                  <c:v>Roederer</c:v>
                </c:pt>
                <c:pt idx="39">
                  <c:v>Roederer</c:v>
                </c:pt>
                <c:pt idx="40">
                  <c:v>All Others</c:v>
                </c:pt>
                <c:pt idx="41">
                  <c:v>Veuve Clicq</c:v>
                </c:pt>
                <c:pt idx="42">
                  <c:v>All Others</c:v>
                </c:pt>
                <c:pt idx="43">
                  <c:v>Perrier Jou</c:v>
                </c:pt>
                <c:pt idx="44">
                  <c:v>Roederer</c:v>
                </c:pt>
                <c:pt idx="45">
                  <c:v>Lanson</c:v>
                </c:pt>
                <c:pt idx="46">
                  <c:v>Roederer</c:v>
                </c:pt>
                <c:pt idx="47">
                  <c:v>Ruinart</c:v>
                </c:pt>
                <c:pt idx="48">
                  <c:v>Malard</c:v>
                </c:pt>
                <c:pt idx="49">
                  <c:v>Laurent Per</c:v>
                </c:pt>
                <c:pt idx="50">
                  <c:v>Malard</c:v>
                </c:pt>
              </c:strCache>
            </c:strRef>
          </c:cat>
          <c:val>
            <c:numRef>
              <c:f>Sheet1!$B$2:$B$52</c:f>
              <c:numCache>
                <c:formatCode>General</c:formatCode>
                <c:ptCount val="51"/>
                <c:pt idx="0">
                  <c:v>0.43</c:v>
                </c:pt>
                <c:pt idx="1">
                  <c:v>0.56000000000000005</c:v>
                </c:pt>
                <c:pt idx="2">
                  <c:v>0.32</c:v>
                </c:pt>
                <c:pt idx="3">
                  <c:v>0.23</c:v>
                </c:pt>
                <c:pt idx="4">
                  <c:v>0.24</c:v>
                </c:pt>
                <c:pt idx="5">
                  <c:v>0.63</c:v>
                </c:pt>
                <c:pt idx="6">
                  <c:v>0.41</c:v>
                </c:pt>
                <c:pt idx="7">
                  <c:v>0.23</c:v>
                </c:pt>
                <c:pt idx="8">
                  <c:v>0.3</c:v>
                </c:pt>
                <c:pt idx="9">
                  <c:v>0.42</c:v>
                </c:pt>
                <c:pt idx="10">
                  <c:v>0.36</c:v>
                </c:pt>
                <c:pt idx="11">
                  <c:v>0.23</c:v>
                </c:pt>
                <c:pt idx="12">
                  <c:v>0.27</c:v>
                </c:pt>
                <c:pt idx="13">
                  <c:v>0.28000000000000003</c:v>
                </c:pt>
                <c:pt idx="14">
                  <c:v>0.23</c:v>
                </c:pt>
                <c:pt idx="15">
                  <c:v>0.2</c:v>
                </c:pt>
                <c:pt idx="16">
                  <c:v>0.27</c:v>
                </c:pt>
                <c:pt idx="17">
                  <c:v>0.23</c:v>
                </c:pt>
                <c:pt idx="18">
                  <c:v>0.12</c:v>
                </c:pt>
                <c:pt idx="19">
                  <c:v>0.25</c:v>
                </c:pt>
                <c:pt idx="20">
                  <c:v>0.19</c:v>
                </c:pt>
                <c:pt idx="21">
                  <c:v>0.04</c:v>
                </c:pt>
                <c:pt idx="22">
                  <c:v>0.12</c:v>
                </c:pt>
                <c:pt idx="23">
                  <c:v>0.04</c:v>
                </c:pt>
                <c:pt idx="24">
                  <c:v>0.14000000000000001</c:v>
                </c:pt>
                <c:pt idx="25">
                  <c:v>0.06</c:v>
                </c:pt>
                <c:pt idx="26">
                  <c:v>0.06</c:v>
                </c:pt>
                <c:pt idx="27">
                  <c:v>0.17</c:v>
                </c:pt>
                <c:pt idx="28">
                  <c:v>0.04</c:v>
                </c:pt>
                <c:pt idx="29">
                  <c:v>0.16</c:v>
                </c:pt>
                <c:pt idx="30">
                  <c:v>0.08</c:v>
                </c:pt>
                <c:pt idx="31">
                  <c:v>0.03</c:v>
                </c:pt>
                <c:pt idx="32">
                  <c:v>0.03</c:v>
                </c:pt>
                <c:pt idx="33">
                  <c:v>0.05</c:v>
                </c:pt>
                <c:pt idx="34">
                  <c:v>0.03</c:v>
                </c:pt>
                <c:pt idx="35">
                  <c:v>0.08</c:v>
                </c:pt>
                <c:pt idx="36">
                  <c:v>0.13</c:v>
                </c:pt>
                <c:pt idx="37">
                  <c:v>0.08</c:v>
                </c:pt>
                <c:pt idx="38">
                  <c:v>0.04</c:v>
                </c:pt>
                <c:pt idx="39">
                  <c:v>7.0000000000000007E-2</c:v>
                </c:pt>
                <c:pt idx="40">
                  <c:v>0.02</c:v>
                </c:pt>
                <c:pt idx="41">
                  <c:v>0.09</c:v>
                </c:pt>
                <c:pt idx="42">
                  <c:v>7.0000000000000007E-2</c:v>
                </c:pt>
                <c:pt idx="43">
                  <c:v>0.06</c:v>
                </c:pt>
                <c:pt idx="44">
                  <c:v>0.03</c:v>
                </c:pt>
                <c:pt idx="45">
                  <c:v>0.08</c:v>
                </c:pt>
                <c:pt idx="46">
                  <c:v>0.02</c:v>
                </c:pt>
                <c:pt idx="47">
                  <c:v>0.02</c:v>
                </c:pt>
                <c:pt idx="48">
                  <c:v>0.03</c:v>
                </c:pt>
                <c:pt idx="49">
                  <c:v>0.02</c:v>
                </c:pt>
                <c:pt idx="50">
                  <c:v>0.04</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7ECAC4"/>
              </a:solidFill>
            </c:spPr>
            <c:extLst>
              <c:ext xmlns:c16="http://schemas.microsoft.com/office/drawing/2014/chart" uri="{C3380CC4-5D6E-409C-BE32-E72D297353CC}">
                <c16:uniqueId val="{0000004F-2993-41DE-A2CB-63102DE87051}"/>
              </c:ext>
            </c:extLst>
          </c:dPt>
          <c:dPt>
            <c:idx val="12"/>
            <c:invertIfNegative val="1"/>
            <c:bubble3D val="0"/>
            <c:spPr>
              <a:solidFill>
                <a:srgbClr val="7ECAC4"/>
              </a:solidFill>
            </c:spPr>
            <c:extLst>
              <c:ext xmlns:c16="http://schemas.microsoft.com/office/drawing/2014/chart" uri="{C3380CC4-5D6E-409C-BE32-E72D297353CC}">
                <c16:uniqueId val="{00000051-2993-41DE-A2CB-63102DE87051}"/>
              </c:ext>
            </c:extLst>
          </c:dPt>
          <c:dPt>
            <c:idx val="13"/>
            <c:invertIfNegative val="1"/>
            <c:bubble3D val="0"/>
            <c:spPr>
              <a:solidFill>
                <a:srgbClr val="7ECAC4"/>
              </a:solidFill>
            </c:spPr>
            <c:extLst>
              <c:ext xmlns:c16="http://schemas.microsoft.com/office/drawing/2014/chart" uri="{C3380CC4-5D6E-409C-BE32-E72D297353CC}">
                <c16:uniqueId val="{00000053-2993-41DE-A2CB-63102DE87051}"/>
              </c:ext>
            </c:extLst>
          </c:dPt>
          <c:dPt>
            <c:idx val="14"/>
            <c:invertIfNegative val="1"/>
            <c:bubble3D val="0"/>
            <c:spPr>
              <a:solidFill>
                <a:srgbClr val="7ECAC4"/>
              </a:solidFill>
            </c:spPr>
            <c:extLst>
              <c:ext xmlns:c16="http://schemas.microsoft.com/office/drawing/2014/chart" uri="{C3380CC4-5D6E-409C-BE32-E72D297353CC}">
                <c16:uniqueId val="{00000055-2993-41DE-A2CB-63102DE87051}"/>
              </c:ext>
            </c:extLst>
          </c:dPt>
          <c:dPt>
            <c:idx val="15"/>
            <c:invertIfNegative val="1"/>
            <c:bubble3D val="0"/>
            <c:spPr>
              <a:solidFill>
                <a:srgbClr val="7ECAC4"/>
              </a:solidFill>
            </c:spPr>
            <c:extLst>
              <c:ext xmlns:c16="http://schemas.microsoft.com/office/drawing/2014/chart" uri="{C3380CC4-5D6E-409C-BE32-E72D297353CC}">
                <c16:uniqueId val="{00000057-2993-41DE-A2CB-63102DE87051}"/>
              </c:ext>
            </c:extLst>
          </c:dPt>
          <c:dPt>
            <c:idx val="16"/>
            <c:invertIfNegative val="1"/>
            <c:bubble3D val="0"/>
            <c:spPr>
              <a:solidFill>
                <a:srgbClr val="7ECAC4"/>
              </a:solidFill>
            </c:spPr>
            <c:extLst>
              <c:ext xmlns:c16="http://schemas.microsoft.com/office/drawing/2014/chart" uri="{C3380CC4-5D6E-409C-BE32-E72D297353CC}">
                <c16:uniqueId val="{00000059-2993-41DE-A2CB-63102DE87051}"/>
              </c:ext>
            </c:extLst>
          </c:dPt>
          <c:dPt>
            <c:idx val="17"/>
            <c:invertIfNegative val="1"/>
            <c:bubble3D val="0"/>
            <c:spPr>
              <a:solidFill>
                <a:srgbClr val="7ECAC4"/>
              </a:solidFill>
            </c:spPr>
            <c:extLst>
              <c:ext xmlns:c16="http://schemas.microsoft.com/office/drawing/2014/chart" uri="{C3380CC4-5D6E-409C-BE32-E72D297353CC}">
                <c16:uniqueId val="{0000005B-2993-41DE-A2CB-63102DE87051}"/>
              </c:ext>
            </c:extLst>
          </c:dPt>
          <c:dPt>
            <c:idx val="18"/>
            <c:invertIfNegative val="1"/>
            <c:bubble3D val="0"/>
            <c:spPr>
              <a:solidFill>
                <a:srgbClr val="7ECAC4"/>
              </a:solidFill>
            </c:spPr>
            <c:extLst>
              <c:ext xmlns:c16="http://schemas.microsoft.com/office/drawing/2014/chart" uri="{C3380CC4-5D6E-409C-BE32-E72D297353CC}">
                <c16:uniqueId val="{0000005D-2993-41DE-A2CB-63102DE87051}"/>
              </c:ext>
            </c:extLst>
          </c:dPt>
          <c:dPt>
            <c:idx val="19"/>
            <c:invertIfNegative val="1"/>
            <c:bubble3D val="0"/>
            <c:spPr>
              <a:solidFill>
                <a:srgbClr val="7ECAC4"/>
              </a:solidFill>
            </c:spPr>
            <c:extLst>
              <c:ext xmlns:c16="http://schemas.microsoft.com/office/drawing/2014/chart" uri="{C3380CC4-5D6E-409C-BE32-E72D297353CC}">
                <c16:uniqueId val="{0000005F-2993-41DE-A2CB-63102DE87051}"/>
              </c:ext>
            </c:extLst>
          </c:dPt>
          <c:dPt>
            <c:idx val="20"/>
            <c:invertIfNegative val="1"/>
            <c:bubble3D val="0"/>
            <c:spPr>
              <a:solidFill>
                <a:srgbClr val="AEABAB"/>
              </a:solidFill>
            </c:spPr>
            <c:extLst>
              <c:ext xmlns:c16="http://schemas.microsoft.com/office/drawing/2014/chart" uri="{C3380CC4-5D6E-409C-BE32-E72D297353CC}">
                <c16:uniqueId val="{00000061-2993-41DE-A2CB-63102DE87051}"/>
              </c:ext>
            </c:extLst>
          </c:dPt>
          <c:dPt>
            <c:idx val="21"/>
            <c:invertIfNegative val="1"/>
            <c:bubble3D val="0"/>
            <c:spPr>
              <a:solidFill>
                <a:srgbClr val="AEABAB"/>
              </a:solidFill>
            </c:spPr>
            <c:extLst>
              <c:ext xmlns:c16="http://schemas.microsoft.com/office/drawing/2014/chart" uri="{C3380CC4-5D6E-409C-BE32-E72D297353CC}">
                <c16:uniqueId val="{00000063-2993-41DE-A2CB-63102DE87051}"/>
              </c:ext>
            </c:extLst>
          </c:dPt>
          <c:dPt>
            <c:idx val="22"/>
            <c:invertIfNegative val="1"/>
            <c:bubble3D val="0"/>
            <c:spPr>
              <a:solidFill>
                <a:srgbClr val="AEABAB"/>
              </a:solidFill>
            </c:spPr>
            <c:extLst>
              <c:ext xmlns:c16="http://schemas.microsoft.com/office/drawing/2014/chart" uri="{C3380CC4-5D6E-409C-BE32-E72D297353CC}">
                <c16:uniqueId val="{00000065-2993-41DE-A2CB-63102DE87051}"/>
              </c:ext>
            </c:extLst>
          </c:dPt>
          <c:dPt>
            <c:idx val="23"/>
            <c:invertIfNegative val="1"/>
            <c:bubble3D val="0"/>
            <c:spPr>
              <a:solidFill>
                <a:srgbClr val="AEABAB"/>
              </a:solidFill>
            </c:spPr>
            <c:extLst>
              <c:ext xmlns:c16="http://schemas.microsoft.com/office/drawing/2014/chart" uri="{C3380CC4-5D6E-409C-BE32-E72D297353CC}">
                <c16:uniqueId val="{00000067-2993-41DE-A2CB-63102DE87051}"/>
              </c:ext>
            </c:extLst>
          </c:dPt>
          <c:dPt>
            <c:idx val="24"/>
            <c:invertIfNegative val="1"/>
            <c:bubble3D val="0"/>
            <c:spPr>
              <a:solidFill>
                <a:srgbClr val="AEABAB"/>
              </a:solidFill>
            </c:spPr>
            <c:extLst>
              <c:ext xmlns:c16="http://schemas.microsoft.com/office/drawing/2014/chart" uri="{C3380CC4-5D6E-409C-BE32-E72D297353CC}">
                <c16:uniqueId val="{00000069-2993-41DE-A2CB-63102DE87051}"/>
              </c:ext>
            </c:extLst>
          </c:dPt>
          <c:dPt>
            <c:idx val="25"/>
            <c:invertIfNegative val="1"/>
            <c:bubble3D val="0"/>
            <c:spPr>
              <a:solidFill>
                <a:srgbClr val="AEABAB"/>
              </a:solidFill>
            </c:spPr>
            <c:extLst>
              <c:ext xmlns:c16="http://schemas.microsoft.com/office/drawing/2014/chart" uri="{C3380CC4-5D6E-409C-BE32-E72D297353CC}">
                <c16:uniqueId val="{0000006B-2993-41DE-A2CB-63102DE87051}"/>
              </c:ext>
            </c:extLst>
          </c:dPt>
          <c:dPt>
            <c:idx val="26"/>
            <c:invertIfNegative val="1"/>
            <c:bubble3D val="0"/>
            <c:spPr>
              <a:solidFill>
                <a:srgbClr val="AEABAB"/>
              </a:solidFill>
            </c:spPr>
            <c:extLst>
              <c:ext xmlns:c16="http://schemas.microsoft.com/office/drawing/2014/chart" uri="{C3380CC4-5D6E-409C-BE32-E72D297353CC}">
                <c16:uniqueId val="{0000006D-2993-41DE-A2CB-63102DE87051}"/>
              </c:ext>
            </c:extLst>
          </c:dPt>
          <c:dPt>
            <c:idx val="27"/>
            <c:invertIfNegative val="1"/>
            <c:bubble3D val="0"/>
            <c:spPr>
              <a:solidFill>
                <a:srgbClr val="AEABAB"/>
              </a:solidFill>
            </c:spPr>
            <c:extLst>
              <c:ext xmlns:c16="http://schemas.microsoft.com/office/drawing/2014/chart" uri="{C3380CC4-5D6E-409C-BE32-E72D297353CC}">
                <c16:uniqueId val="{0000006F-2993-41DE-A2CB-63102DE87051}"/>
              </c:ext>
            </c:extLst>
          </c:dPt>
          <c:dPt>
            <c:idx val="28"/>
            <c:invertIfNegative val="1"/>
            <c:bubble3D val="0"/>
            <c:spPr>
              <a:solidFill>
                <a:srgbClr val="AEABAB"/>
              </a:solidFill>
            </c:spPr>
            <c:extLst>
              <c:ext xmlns:c16="http://schemas.microsoft.com/office/drawing/2014/chart" uri="{C3380CC4-5D6E-409C-BE32-E72D297353CC}">
                <c16:uniqueId val="{00000071-2993-41DE-A2CB-63102DE87051}"/>
              </c:ext>
            </c:extLst>
          </c:dPt>
          <c:dPt>
            <c:idx val="29"/>
            <c:invertIfNegative val="1"/>
            <c:bubble3D val="0"/>
            <c:spPr>
              <a:solidFill>
                <a:srgbClr val="AEABAB"/>
              </a:solidFill>
            </c:spPr>
            <c:extLst>
              <c:ext xmlns:c16="http://schemas.microsoft.com/office/drawing/2014/chart" uri="{C3380CC4-5D6E-409C-BE32-E72D297353CC}">
                <c16:uniqueId val="{00000073-2993-41DE-A2CB-63102DE87051}"/>
              </c:ext>
            </c:extLst>
          </c:dPt>
          <c:dPt>
            <c:idx val="30"/>
            <c:invertIfNegative val="1"/>
            <c:bubble3D val="0"/>
            <c:spPr>
              <a:solidFill>
                <a:srgbClr val="AEABAB"/>
              </a:solidFill>
            </c:spPr>
            <c:extLst>
              <c:ext xmlns:c16="http://schemas.microsoft.com/office/drawing/2014/chart" uri="{C3380CC4-5D6E-409C-BE32-E72D297353CC}">
                <c16:uniqueId val="{00000075-2993-41DE-A2CB-63102DE87051}"/>
              </c:ext>
            </c:extLst>
          </c:dPt>
          <c:dPt>
            <c:idx val="31"/>
            <c:invertIfNegative val="1"/>
            <c:bubble3D val="0"/>
            <c:spPr>
              <a:solidFill>
                <a:srgbClr val="AEABAB"/>
              </a:solidFill>
            </c:spPr>
            <c:extLst>
              <c:ext xmlns:c16="http://schemas.microsoft.com/office/drawing/2014/chart" uri="{C3380CC4-5D6E-409C-BE32-E72D297353CC}">
                <c16:uniqueId val="{00000077-2993-41DE-A2CB-63102DE87051}"/>
              </c:ext>
            </c:extLst>
          </c:dPt>
          <c:dPt>
            <c:idx val="32"/>
            <c:invertIfNegative val="1"/>
            <c:bubble3D val="0"/>
            <c:spPr>
              <a:solidFill>
                <a:srgbClr val="AEABAB"/>
              </a:solidFill>
            </c:spPr>
            <c:extLst>
              <c:ext xmlns:c16="http://schemas.microsoft.com/office/drawing/2014/chart" uri="{C3380CC4-5D6E-409C-BE32-E72D297353CC}">
                <c16:uniqueId val="{00000079-2993-41DE-A2CB-63102DE87051}"/>
              </c:ext>
            </c:extLst>
          </c:dPt>
          <c:dPt>
            <c:idx val="33"/>
            <c:invertIfNegative val="1"/>
            <c:bubble3D val="0"/>
            <c:spPr>
              <a:solidFill>
                <a:srgbClr val="AEABAB"/>
              </a:solidFill>
            </c:spPr>
            <c:extLst>
              <c:ext xmlns:c16="http://schemas.microsoft.com/office/drawing/2014/chart" uri="{C3380CC4-5D6E-409C-BE32-E72D297353CC}">
                <c16:uniqueId val="{0000007B-2993-41DE-A2CB-63102DE87051}"/>
              </c:ext>
            </c:extLst>
          </c:dPt>
          <c:dPt>
            <c:idx val="34"/>
            <c:invertIfNegative val="1"/>
            <c:bubble3D val="0"/>
            <c:spPr>
              <a:solidFill>
                <a:srgbClr val="AEABAB"/>
              </a:solidFill>
            </c:spPr>
            <c:extLst>
              <c:ext xmlns:c16="http://schemas.microsoft.com/office/drawing/2014/chart" uri="{C3380CC4-5D6E-409C-BE32-E72D297353CC}">
                <c16:uniqueId val="{0000007D-2993-41DE-A2CB-63102DE87051}"/>
              </c:ext>
            </c:extLst>
          </c:dPt>
          <c:dPt>
            <c:idx val="35"/>
            <c:invertIfNegative val="1"/>
            <c:bubble3D val="0"/>
            <c:spPr>
              <a:solidFill>
                <a:srgbClr val="AEABAB"/>
              </a:solidFill>
            </c:spPr>
            <c:extLst>
              <c:ext xmlns:c16="http://schemas.microsoft.com/office/drawing/2014/chart" uri="{C3380CC4-5D6E-409C-BE32-E72D297353CC}">
                <c16:uniqueId val="{0000007F-2993-41DE-A2CB-63102DE87051}"/>
              </c:ext>
            </c:extLst>
          </c:dPt>
          <c:dPt>
            <c:idx val="36"/>
            <c:invertIfNegative val="1"/>
            <c:bubble3D val="0"/>
            <c:spPr>
              <a:solidFill>
                <a:srgbClr val="AEABAB"/>
              </a:solidFill>
            </c:spPr>
            <c:extLst>
              <c:ext xmlns:c16="http://schemas.microsoft.com/office/drawing/2014/chart" uri="{C3380CC4-5D6E-409C-BE32-E72D297353CC}">
                <c16:uniqueId val="{00000081-2993-41DE-A2CB-63102DE87051}"/>
              </c:ext>
            </c:extLst>
          </c:dPt>
          <c:dPt>
            <c:idx val="37"/>
            <c:invertIfNegative val="1"/>
            <c:bubble3D val="0"/>
            <c:spPr>
              <a:solidFill>
                <a:srgbClr val="AEABAB"/>
              </a:solidFill>
            </c:spPr>
            <c:extLst>
              <c:ext xmlns:c16="http://schemas.microsoft.com/office/drawing/2014/chart" uri="{C3380CC4-5D6E-409C-BE32-E72D297353CC}">
                <c16:uniqueId val="{00000083-2993-41DE-A2CB-63102DE87051}"/>
              </c:ext>
            </c:extLst>
          </c:dPt>
          <c:dPt>
            <c:idx val="38"/>
            <c:invertIfNegative val="1"/>
            <c:bubble3D val="0"/>
            <c:spPr>
              <a:solidFill>
                <a:srgbClr val="AEABAB"/>
              </a:solidFill>
            </c:spPr>
            <c:extLst>
              <c:ext xmlns:c16="http://schemas.microsoft.com/office/drawing/2014/chart" uri="{C3380CC4-5D6E-409C-BE32-E72D297353CC}">
                <c16:uniqueId val="{00000085-2993-41DE-A2CB-63102DE87051}"/>
              </c:ext>
            </c:extLst>
          </c:dPt>
          <c:dPt>
            <c:idx val="39"/>
            <c:invertIfNegative val="1"/>
            <c:bubble3D val="0"/>
            <c:spPr>
              <a:solidFill>
                <a:srgbClr val="AEABAB"/>
              </a:solidFill>
            </c:spPr>
            <c:extLst>
              <c:ext xmlns:c16="http://schemas.microsoft.com/office/drawing/2014/chart" uri="{C3380CC4-5D6E-409C-BE32-E72D297353CC}">
                <c16:uniqueId val="{00000087-2993-41DE-A2CB-63102DE87051}"/>
              </c:ext>
            </c:extLst>
          </c:dPt>
          <c:dPt>
            <c:idx val="40"/>
            <c:invertIfNegative val="1"/>
            <c:bubble3D val="0"/>
            <c:spPr>
              <a:solidFill>
                <a:srgbClr val="AEABAB"/>
              </a:solidFill>
            </c:spPr>
            <c:extLst>
              <c:ext xmlns:c16="http://schemas.microsoft.com/office/drawing/2014/chart" uri="{C3380CC4-5D6E-409C-BE32-E72D297353CC}">
                <c16:uniqueId val="{00000089-2993-41DE-A2CB-63102DE87051}"/>
              </c:ext>
            </c:extLst>
          </c:dPt>
          <c:dPt>
            <c:idx val="41"/>
            <c:invertIfNegative val="1"/>
            <c:bubble3D val="0"/>
            <c:spPr>
              <a:solidFill>
                <a:srgbClr val="AEABAB"/>
              </a:solidFill>
            </c:spPr>
            <c:extLst>
              <c:ext xmlns:c16="http://schemas.microsoft.com/office/drawing/2014/chart" uri="{C3380CC4-5D6E-409C-BE32-E72D297353CC}">
                <c16:uniqueId val="{0000008B-2993-41DE-A2CB-63102DE87051}"/>
              </c:ext>
            </c:extLst>
          </c:dPt>
          <c:dPt>
            <c:idx val="42"/>
            <c:invertIfNegative val="1"/>
            <c:bubble3D val="0"/>
            <c:spPr>
              <a:solidFill>
                <a:srgbClr val="AEABAB"/>
              </a:solidFill>
            </c:spPr>
            <c:extLst>
              <c:ext xmlns:c16="http://schemas.microsoft.com/office/drawing/2014/chart" uri="{C3380CC4-5D6E-409C-BE32-E72D297353CC}">
                <c16:uniqueId val="{0000008D-2993-41DE-A2CB-63102DE87051}"/>
              </c:ext>
            </c:extLst>
          </c:dPt>
          <c:dPt>
            <c:idx val="43"/>
            <c:invertIfNegative val="1"/>
            <c:bubble3D val="0"/>
            <c:spPr>
              <a:solidFill>
                <a:srgbClr val="AEABAB"/>
              </a:solidFill>
            </c:spPr>
            <c:extLst>
              <c:ext xmlns:c16="http://schemas.microsoft.com/office/drawing/2014/chart" uri="{C3380CC4-5D6E-409C-BE32-E72D297353CC}">
                <c16:uniqueId val="{0000008F-2993-41DE-A2CB-63102DE87051}"/>
              </c:ext>
            </c:extLst>
          </c:dPt>
          <c:dPt>
            <c:idx val="44"/>
            <c:invertIfNegative val="1"/>
            <c:bubble3D val="0"/>
            <c:spPr>
              <a:solidFill>
                <a:srgbClr val="AEABAB"/>
              </a:solidFill>
            </c:spPr>
            <c:extLst>
              <c:ext xmlns:c16="http://schemas.microsoft.com/office/drawing/2014/chart" uri="{C3380CC4-5D6E-409C-BE32-E72D297353CC}">
                <c16:uniqueId val="{00000091-2993-41DE-A2CB-63102DE87051}"/>
              </c:ext>
            </c:extLst>
          </c:dPt>
          <c:dPt>
            <c:idx val="45"/>
            <c:invertIfNegative val="1"/>
            <c:bubble3D val="0"/>
            <c:spPr>
              <a:solidFill>
                <a:srgbClr val="AEABAB"/>
              </a:solidFill>
            </c:spPr>
            <c:extLst>
              <c:ext xmlns:c16="http://schemas.microsoft.com/office/drawing/2014/chart" uri="{C3380CC4-5D6E-409C-BE32-E72D297353CC}">
                <c16:uniqueId val="{00000093-2993-41DE-A2CB-63102DE87051}"/>
              </c:ext>
            </c:extLst>
          </c:dPt>
          <c:dPt>
            <c:idx val="46"/>
            <c:invertIfNegative val="1"/>
            <c:bubble3D val="0"/>
            <c:spPr>
              <a:solidFill>
                <a:srgbClr val="AEABAB"/>
              </a:solidFill>
            </c:spPr>
            <c:extLst>
              <c:ext xmlns:c16="http://schemas.microsoft.com/office/drawing/2014/chart" uri="{C3380CC4-5D6E-409C-BE32-E72D297353CC}">
                <c16:uniqueId val="{00000095-2993-41DE-A2CB-63102DE87051}"/>
              </c:ext>
            </c:extLst>
          </c:dPt>
          <c:dPt>
            <c:idx val="47"/>
            <c:invertIfNegative val="1"/>
            <c:bubble3D val="0"/>
            <c:spPr>
              <a:solidFill>
                <a:srgbClr val="AEABAB"/>
              </a:solidFill>
            </c:spPr>
            <c:extLst>
              <c:ext xmlns:c16="http://schemas.microsoft.com/office/drawing/2014/chart" uri="{C3380CC4-5D6E-409C-BE32-E72D297353CC}">
                <c16:uniqueId val="{00000097-2993-41DE-A2CB-63102DE87051}"/>
              </c:ext>
            </c:extLst>
          </c:dPt>
          <c:dPt>
            <c:idx val="48"/>
            <c:invertIfNegative val="1"/>
            <c:bubble3D val="0"/>
            <c:spPr>
              <a:solidFill>
                <a:srgbClr val="AEABAB"/>
              </a:solidFill>
            </c:spPr>
            <c:extLst>
              <c:ext xmlns:c16="http://schemas.microsoft.com/office/drawing/2014/chart" uri="{C3380CC4-5D6E-409C-BE32-E72D297353CC}">
                <c16:uniqueId val="{00000099-2993-41DE-A2CB-63102DE87051}"/>
              </c:ext>
            </c:extLst>
          </c:dPt>
          <c:dPt>
            <c:idx val="49"/>
            <c:invertIfNegative val="1"/>
            <c:bubble3D val="0"/>
            <c:spPr>
              <a:solidFill>
                <a:srgbClr val="AEABAB"/>
              </a:solidFill>
            </c:spPr>
            <c:extLst>
              <c:ext xmlns:c16="http://schemas.microsoft.com/office/drawing/2014/chart" uri="{C3380CC4-5D6E-409C-BE32-E72D297353CC}">
                <c16:uniqueId val="{0000009B-2993-41DE-A2CB-63102DE87051}"/>
              </c:ext>
            </c:extLst>
          </c:dPt>
          <c:dPt>
            <c:idx val="50"/>
            <c:invertIfNegative val="1"/>
            <c:bubble3D val="0"/>
            <c:spPr>
              <a:solidFill>
                <a:srgbClr val="AEABAB"/>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52</c:f>
              <c:strCache>
                <c:ptCount val="51"/>
                <c:pt idx="0">
                  <c:v>Dom Perigno</c:v>
                </c:pt>
                <c:pt idx="1">
                  <c:v>Dom Perigno</c:v>
                </c:pt>
                <c:pt idx="2">
                  <c:v>Dom Perigno</c:v>
                </c:pt>
                <c:pt idx="3">
                  <c:v>Roederer</c:v>
                </c:pt>
                <c:pt idx="4">
                  <c:v>Roederer</c:v>
                </c:pt>
                <c:pt idx="5">
                  <c:v>Malard</c:v>
                </c:pt>
                <c:pt idx="6">
                  <c:v>Ruinart</c:v>
                </c:pt>
                <c:pt idx="7">
                  <c:v>Veuve Clicq</c:v>
                </c:pt>
                <c:pt idx="8">
                  <c:v>Roederer</c:v>
                </c:pt>
                <c:pt idx="9">
                  <c:v>Roederer</c:v>
                </c:pt>
                <c:pt idx="10">
                  <c:v>Laurent Per</c:v>
                </c:pt>
                <c:pt idx="11">
                  <c:v>Roederer</c:v>
                </c:pt>
                <c:pt idx="12">
                  <c:v>Bollinger</c:v>
                </c:pt>
                <c:pt idx="13">
                  <c:v>Ruinart</c:v>
                </c:pt>
                <c:pt idx="14">
                  <c:v>Veuve Clicq</c:v>
                </c:pt>
                <c:pt idx="15">
                  <c:v>Roederer</c:v>
                </c:pt>
                <c:pt idx="16">
                  <c:v>Ruinart</c:v>
                </c:pt>
                <c:pt idx="17">
                  <c:v>Perrier Jou</c:v>
                </c:pt>
                <c:pt idx="18">
                  <c:v>Pommery</c:v>
                </c:pt>
                <c:pt idx="19">
                  <c:v>Roederer</c:v>
                </c:pt>
                <c:pt idx="20">
                  <c:v>Dom Perigno</c:v>
                </c:pt>
                <c:pt idx="21">
                  <c:v>Dom Perigno</c:v>
                </c:pt>
                <c:pt idx="22">
                  <c:v>Dom Perigno</c:v>
                </c:pt>
                <c:pt idx="23">
                  <c:v>Dom Perigno</c:v>
                </c:pt>
                <c:pt idx="24">
                  <c:v>De Venoge</c:v>
                </c:pt>
                <c:pt idx="25">
                  <c:v>Piper Heids</c:v>
                </c:pt>
                <c:pt idx="26">
                  <c:v>Laurent Per</c:v>
                </c:pt>
                <c:pt idx="27">
                  <c:v>Bollinger</c:v>
                </c:pt>
                <c:pt idx="28">
                  <c:v>Dom Perigno</c:v>
                </c:pt>
                <c:pt idx="29">
                  <c:v>All Others</c:v>
                </c:pt>
                <c:pt idx="30">
                  <c:v>Dom Perigno</c:v>
                </c:pt>
                <c:pt idx="31">
                  <c:v>Pommery</c:v>
                </c:pt>
                <c:pt idx="32">
                  <c:v>Piper Heids</c:v>
                </c:pt>
                <c:pt idx="33">
                  <c:v>Roederer</c:v>
                </c:pt>
                <c:pt idx="34">
                  <c:v>Roederer</c:v>
                </c:pt>
                <c:pt idx="35">
                  <c:v>Bollinger</c:v>
                </c:pt>
                <c:pt idx="36">
                  <c:v>Deutz</c:v>
                </c:pt>
                <c:pt idx="37">
                  <c:v>Bollinger</c:v>
                </c:pt>
                <c:pt idx="38">
                  <c:v>Roederer</c:v>
                </c:pt>
                <c:pt idx="39">
                  <c:v>Roederer</c:v>
                </c:pt>
                <c:pt idx="40">
                  <c:v>All Others</c:v>
                </c:pt>
                <c:pt idx="41">
                  <c:v>Veuve Clicq</c:v>
                </c:pt>
                <c:pt idx="42">
                  <c:v>All Others</c:v>
                </c:pt>
                <c:pt idx="43">
                  <c:v>Perrier Jou</c:v>
                </c:pt>
                <c:pt idx="44">
                  <c:v>Roederer</c:v>
                </c:pt>
                <c:pt idx="45">
                  <c:v>Lanson</c:v>
                </c:pt>
                <c:pt idx="46">
                  <c:v>Roederer</c:v>
                </c:pt>
                <c:pt idx="47">
                  <c:v>Ruinart</c:v>
                </c:pt>
                <c:pt idx="48">
                  <c:v>Malard</c:v>
                </c:pt>
                <c:pt idx="49">
                  <c:v>Laurent Per</c:v>
                </c:pt>
                <c:pt idx="50">
                  <c:v>Malard</c:v>
                </c:pt>
              </c:strCache>
            </c:strRef>
          </c:cat>
          <c:val>
            <c:numRef>
              <c:f>Sheet1!$C$2:$C$52</c:f>
              <c:numCache>
                <c:formatCode>General</c:formatCode>
                <c:ptCount val="51"/>
                <c:pt idx="0">
                  <c:v>0.21557491230720172</c:v>
                </c:pt>
                <c:pt idx="1">
                  <c:v>0.39921118439823439</c:v>
                </c:pt>
                <c:pt idx="2">
                  <c:v>0.51901381266468627</c:v>
                </c:pt>
                <c:pt idx="3">
                  <c:v>0.57034389003574848</c:v>
                </c:pt>
                <c:pt idx="4">
                  <c:v>0.6181091922192572</c:v>
                </c:pt>
                <c:pt idx="5">
                  <c:v>0.65715724283772214</c:v>
                </c:pt>
                <c:pt idx="6">
                  <c:v>0.69595354379604923</c:v>
                </c:pt>
                <c:pt idx="7">
                  <c:v>0.72576741688065394</c:v>
                </c:pt>
                <c:pt idx="8">
                  <c:v>0.75206686470973272</c:v>
                </c:pt>
                <c:pt idx="9">
                  <c:v>0.7771981941157714</c:v>
                </c:pt>
                <c:pt idx="10">
                  <c:v>0.80141651142104309</c:v>
                </c:pt>
                <c:pt idx="11">
                  <c:v>0.82531258916133809</c:v>
                </c:pt>
                <c:pt idx="12">
                  <c:v>0.84852726448819304</c:v>
                </c:pt>
                <c:pt idx="13">
                  <c:v>0.87165130993739837</c:v>
                </c:pt>
                <c:pt idx="14">
                  <c:v>0.89179128274843511</c:v>
                </c:pt>
                <c:pt idx="15">
                  <c:v>0.90781934444388512</c:v>
                </c:pt>
                <c:pt idx="16">
                  <c:v>0.92019200107413202</c:v>
                </c:pt>
                <c:pt idx="17">
                  <c:v>0.92991960794186279</c:v>
                </c:pt>
                <c:pt idx="18">
                  <c:v>0.93832804659047064</c:v>
                </c:pt>
                <c:pt idx="19">
                  <c:v>0.94584025644898728</c:v>
                </c:pt>
                <c:pt idx="20">
                  <c:v>0.95097594951580167</c:v>
                </c:pt>
                <c:pt idx="21">
                  <c:v>0.95540338687209458</c:v>
                </c:pt>
                <c:pt idx="22">
                  <c:v>0.95916284846348809</c:v>
                </c:pt>
                <c:pt idx="23">
                  <c:v>0.9629223100548816</c:v>
                </c:pt>
                <c:pt idx="24">
                  <c:v>0.96638302871624471</c:v>
                </c:pt>
                <c:pt idx="25">
                  <c:v>0.96973969085141754</c:v>
                </c:pt>
                <c:pt idx="26">
                  <c:v>0.97307621301377933</c:v>
                </c:pt>
                <c:pt idx="27">
                  <c:v>0.97606028565194791</c:v>
                </c:pt>
                <c:pt idx="28">
                  <c:v>0.97840994914656887</c:v>
                </c:pt>
                <c:pt idx="29">
                  <c:v>0.9804239464276725</c:v>
                </c:pt>
                <c:pt idx="30">
                  <c:v>0.98227011060201752</c:v>
                </c:pt>
                <c:pt idx="31">
                  <c:v>0.98397865162882048</c:v>
                </c:pt>
                <c:pt idx="32">
                  <c:v>0.9856234160750551</c:v>
                </c:pt>
                <c:pt idx="33">
                  <c:v>0.98706006746890906</c:v>
                </c:pt>
                <c:pt idx="34">
                  <c:v>0.98845308225500572</c:v>
                </c:pt>
                <c:pt idx="35">
                  <c:v>0.98981924374402108</c:v>
                </c:pt>
                <c:pt idx="36">
                  <c:v>0.99104442542335913</c:v>
                </c:pt>
                <c:pt idx="37">
                  <c:v>0.99220247385999372</c:v>
                </c:pt>
                <c:pt idx="38">
                  <c:v>0.99319268918986969</c:v>
                </c:pt>
                <c:pt idx="39">
                  <c:v>0.99414598123625875</c:v>
                </c:pt>
                <c:pt idx="40">
                  <c:v>0.99500193008072779</c:v>
                </c:pt>
                <c:pt idx="41">
                  <c:v>0.99580752899316927</c:v>
                </c:pt>
                <c:pt idx="42">
                  <c:v>0.99656949129785344</c:v>
                </c:pt>
                <c:pt idx="43">
                  <c:v>0.99729788698118593</c:v>
                </c:pt>
                <c:pt idx="44">
                  <c:v>0.99797257607035561</c:v>
                </c:pt>
                <c:pt idx="45">
                  <c:v>0.99862376852457913</c:v>
                </c:pt>
                <c:pt idx="46">
                  <c:v>0.99914069449339571</c:v>
                </c:pt>
                <c:pt idx="47">
                  <c:v>0.99941594078847984</c:v>
                </c:pt>
                <c:pt idx="48">
                  <c:v>0.99967104711075294</c:v>
                </c:pt>
                <c:pt idx="49">
                  <c:v>0.99987244683886334</c:v>
                </c:pt>
                <c:pt idx="50">
                  <c:v>0.99999999999999989</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53</c:f>
              <c:strCache>
                <c:ptCount val="52"/>
                <c:pt idx="0">
                  <c:v>Dom Perigno</c:v>
                </c:pt>
                <c:pt idx="1">
                  <c:v>Dom Perigno</c:v>
                </c:pt>
                <c:pt idx="2">
                  <c:v>Ruinart</c:v>
                </c:pt>
                <c:pt idx="3">
                  <c:v>Roederer</c:v>
                </c:pt>
                <c:pt idx="4">
                  <c:v>Malard</c:v>
                </c:pt>
                <c:pt idx="5">
                  <c:v>Dom Perigno</c:v>
                </c:pt>
                <c:pt idx="6">
                  <c:v>Roederer</c:v>
                </c:pt>
                <c:pt idx="7">
                  <c:v>Ruinart</c:v>
                </c:pt>
                <c:pt idx="8">
                  <c:v>Roederer</c:v>
                </c:pt>
                <c:pt idx="9">
                  <c:v>Bollinger</c:v>
                </c:pt>
                <c:pt idx="10">
                  <c:v>Laurent Per</c:v>
                </c:pt>
                <c:pt idx="11">
                  <c:v>Ruinart</c:v>
                </c:pt>
                <c:pt idx="12">
                  <c:v>Roederer</c:v>
                </c:pt>
                <c:pt idx="13">
                  <c:v>Roederer</c:v>
                </c:pt>
                <c:pt idx="14">
                  <c:v>Pommery</c:v>
                </c:pt>
                <c:pt idx="15">
                  <c:v>Piper Heids</c:v>
                </c:pt>
                <c:pt idx="16">
                  <c:v>Perrier Jou</c:v>
                </c:pt>
                <c:pt idx="17">
                  <c:v>Piper Heids</c:v>
                </c:pt>
                <c:pt idx="18">
                  <c:v>Dom Perigno</c:v>
                </c:pt>
                <c:pt idx="19">
                  <c:v>Roederer</c:v>
                </c:pt>
                <c:pt idx="20">
                  <c:v>All Others</c:v>
                </c:pt>
                <c:pt idx="21">
                  <c:v>De Venoge</c:v>
                </c:pt>
                <c:pt idx="22">
                  <c:v>Lanson</c:v>
                </c:pt>
                <c:pt idx="23">
                  <c:v>Laurent Per</c:v>
                </c:pt>
                <c:pt idx="24">
                  <c:v>Bollinger</c:v>
                </c:pt>
                <c:pt idx="25">
                  <c:v>Veuve Clicq</c:v>
                </c:pt>
                <c:pt idx="26">
                  <c:v>Pommery</c:v>
                </c:pt>
                <c:pt idx="27">
                  <c:v>All Others</c:v>
                </c:pt>
                <c:pt idx="28">
                  <c:v>De Venoge</c:v>
                </c:pt>
                <c:pt idx="29">
                  <c:v>Vesselle</c:v>
                </c:pt>
                <c:pt idx="30">
                  <c:v>Krug</c:v>
                </c:pt>
                <c:pt idx="31">
                  <c:v>Perrier Jou</c:v>
                </c:pt>
                <c:pt idx="32">
                  <c:v>Pommery</c:v>
                </c:pt>
                <c:pt idx="33">
                  <c:v>Bollinger</c:v>
                </c:pt>
                <c:pt idx="34">
                  <c:v>Roederer</c:v>
                </c:pt>
                <c:pt idx="35">
                  <c:v>Veuve Clicq</c:v>
                </c:pt>
                <c:pt idx="36">
                  <c:v>Veuve Clicq</c:v>
                </c:pt>
                <c:pt idx="37">
                  <c:v>All Others</c:v>
                </c:pt>
                <c:pt idx="38">
                  <c:v>Malard</c:v>
                </c:pt>
                <c:pt idx="39">
                  <c:v>Roederer</c:v>
                </c:pt>
                <c:pt idx="40">
                  <c:v>Laurent Per</c:v>
                </c:pt>
                <c:pt idx="41">
                  <c:v>All Others</c:v>
                </c:pt>
                <c:pt idx="42">
                  <c:v>Pommery</c:v>
                </c:pt>
                <c:pt idx="43">
                  <c:v>Roederer</c:v>
                </c:pt>
                <c:pt idx="44">
                  <c:v>Roederer</c:v>
                </c:pt>
                <c:pt idx="45">
                  <c:v>All Others</c:v>
                </c:pt>
                <c:pt idx="46">
                  <c:v>Roederer</c:v>
                </c:pt>
                <c:pt idx="47">
                  <c:v>Roederer</c:v>
                </c:pt>
                <c:pt idx="48">
                  <c:v>Roederer</c:v>
                </c:pt>
                <c:pt idx="49">
                  <c:v>Deutz</c:v>
                </c:pt>
                <c:pt idx="50">
                  <c:v>Henriot</c:v>
                </c:pt>
                <c:pt idx="51">
                  <c:v>Vesselle</c:v>
                </c:pt>
              </c:strCache>
            </c:strRef>
          </c:cat>
          <c:val>
            <c:numRef>
              <c:f>Sheet1!$B$2:$B$53</c:f>
              <c:numCache>
                <c:formatCode>General</c:formatCode>
                <c:ptCount val="52"/>
                <c:pt idx="0">
                  <c:v>0.56000000000000005</c:v>
                </c:pt>
                <c:pt idx="1">
                  <c:v>0.51</c:v>
                </c:pt>
                <c:pt idx="2">
                  <c:v>0.43</c:v>
                </c:pt>
                <c:pt idx="3">
                  <c:v>0.24</c:v>
                </c:pt>
                <c:pt idx="4">
                  <c:v>0.55000000000000004</c:v>
                </c:pt>
                <c:pt idx="5">
                  <c:v>0.41</c:v>
                </c:pt>
                <c:pt idx="6">
                  <c:v>0.37</c:v>
                </c:pt>
                <c:pt idx="7">
                  <c:v>0.35</c:v>
                </c:pt>
                <c:pt idx="8">
                  <c:v>0.42</c:v>
                </c:pt>
                <c:pt idx="9">
                  <c:v>0.25</c:v>
                </c:pt>
                <c:pt idx="10">
                  <c:v>0.34</c:v>
                </c:pt>
                <c:pt idx="11">
                  <c:v>0.24</c:v>
                </c:pt>
                <c:pt idx="12">
                  <c:v>0.19</c:v>
                </c:pt>
                <c:pt idx="13">
                  <c:v>0.17</c:v>
                </c:pt>
                <c:pt idx="14">
                  <c:v>0.21</c:v>
                </c:pt>
                <c:pt idx="15">
                  <c:v>0.17</c:v>
                </c:pt>
                <c:pt idx="16">
                  <c:v>0.24</c:v>
                </c:pt>
                <c:pt idx="17">
                  <c:v>0.21</c:v>
                </c:pt>
                <c:pt idx="18">
                  <c:v>0.11</c:v>
                </c:pt>
                <c:pt idx="19">
                  <c:v>0.2</c:v>
                </c:pt>
                <c:pt idx="20">
                  <c:v>0.26</c:v>
                </c:pt>
                <c:pt idx="21">
                  <c:v>0.15</c:v>
                </c:pt>
                <c:pt idx="22">
                  <c:v>0.19</c:v>
                </c:pt>
                <c:pt idx="23">
                  <c:v>0.19</c:v>
                </c:pt>
                <c:pt idx="24">
                  <c:v>0.16</c:v>
                </c:pt>
                <c:pt idx="25">
                  <c:v>0.24</c:v>
                </c:pt>
                <c:pt idx="26">
                  <c:v>0.1</c:v>
                </c:pt>
                <c:pt idx="27">
                  <c:v>0.17</c:v>
                </c:pt>
                <c:pt idx="28">
                  <c:v>0.12</c:v>
                </c:pt>
                <c:pt idx="29">
                  <c:v>0.18</c:v>
                </c:pt>
                <c:pt idx="30">
                  <c:v>0.14000000000000001</c:v>
                </c:pt>
                <c:pt idx="31">
                  <c:v>0.15</c:v>
                </c:pt>
                <c:pt idx="32">
                  <c:v>0.16</c:v>
                </c:pt>
                <c:pt idx="33">
                  <c:v>0.06</c:v>
                </c:pt>
                <c:pt idx="34">
                  <c:v>0.03</c:v>
                </c:pt>
                <c:pt idx="35">
                  <c:v>0.04</c:v>
                </c:pt>
                <c:pt idx="36">
                  <c:v>0.11</c:v>
                </c:pt>
                <c:pt idx="37">
                  <c:v>0.13</c:v>
                </c:pt>
                <c:pt idx="38">
                  <c:v>0.05</c:v>
                </c:pt>
                <c:pt idx="39">
                  <c:v>0.05</c:v>
                </c:pt>
                <c:pt idx="40">
                  <c:v>0.06</c:v>
                </c:pt>
                <c:pt idx="41">
                  <c:v>0.06</c:v>
                </c:pt>
                <c:pt idx="42">
                  <c:v>0.04</c:v>
                </c:pt>
                <c:pt idx="43">
                  <c:v>0.03</c:v>
                </c:pt>
                <c:pt idx="44">
                  <c:v>0.04</c:v>
                </c:pt>
                <c:pt idx="45">
                  <c:v>0.16</c:v>
                </c:pt>
                <c:pt idx="46">
                  <c:v>0.06</c:v>
                </c:pt>
                <c:pt idx="47">
                  <c:v>0.02</c:v>
                </c:pt>
                <c:pt idx="48">
                  <c:v>0.03</c:v>
                </c:pt>
                <c:pt idx="49">
                  <c:v>0.04</c:v>
                </c:pt>
                <c:pt idx="50">
                  <c:v>0.03</c:v>
                </c:pt>
                <c:pt idx="51">
                  <c:v>0.02</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7ECAC4"/>
              </a:solidFill>
            </c:spPr>
            <c:extLst>
              <c:ext xmlns:c16="http://schemas.microsoft.com/office/drawing/2014/chart" uri="{C3380CC4-5D6E-409C-BE32-E72D297353CC}">
                <c16:uniqueId val="{00000051-2993-41DE-A2CB-63102DE87051}"/>
              </c:ext>
            </c:extLst>
          </c:dPt>
          <c:dPt>
            <c:idx val="13"/>
            <c:invertIfNegative val="1"/>
            <c:bubble3D val="0"/>
            <c:spPr>
              <a:solidFill>
                <a:srgbClr val="7ECAC4"/>
              </a:solidFill>
            </c:spPr>
            <c:extLst>
              <c:ext xmlns:c16="http://schemas.microsoft.com/office/drawing/2014/chart" uri="{C3380CC4-5D6E-409C-BE32-E72D297353CC}">
                <c16:uniqueId val="{00000053-2993-41DE-A2CB-63102DE87051}"/>
              </c:ext>
            </c:extLst>
          </c:dPt>
          <c:dPt>
            <c:idx val="14"/>
            <c:invertIfNegative val="1"/>
            <c:bubble3D val="0"/>
            <c:spPr>
              <a:solidFill>
                <a:srgbClr val="7ECAC4"/>
              </a:solidFill>
            </c:spPr>
            <c:extLst>
              <c:ext xmlns:c16="http://schemas.microsoft.com/office/drawing/2014/chart" uri="{C3380CC4-5D6E-409C-BE32-E72D297353CC}">
                <c16:uniqueId val="{00000055-2993-41DE-A2CB-63102DE87051}"/>
              </c:ext>
            </c:extLst>
          </c:dPt>
          <c:dPt>
            <c:idx val="15"/>
            <c:invertIfNegative val="1"/>
            <c:bubble3D val="0"/>
            <c:spPr>
              <a:solidFill>
                <a:srgbClr val="7ECAC4"/>
              </a:solidFill>
            </c:spPr>
            <c:extLst>
              <c:ext xmlns:c16="http://schemas.microsoft.com/office/drawing/2014/chart" uri="{C3380CC4-5D6E-409C-BE32-E72D297353CC}">
                <c16:uniqueId val="{00000057-2993-41DE-A2CB-63102DE87051}"/>
              </c:ext>
            </c:extLst>
          </c:dPt>
          <c:dPt>
            <c:idx val="16"/>
            <c:invertIfNegative val="1"/>
            <c:bubble3D val="0"/>
            <c:spPr>
              <a:solidFill>
                <a:srgbClr val="7ECAC4"/>
              </a:solidFill>
            </c:spPr>
            <c:extLst>
              <c:ext xmlns:c16="http://schemas.microsoft.com/office/drawing/2014/chart" uri="{C3380CC4-5D6E-409C-BE32-E72D297353CC}">
                <c16:uniqueId val="{00000059-2993-41DE-A2CB-63102DE87051}"/>
              </c:ext>
            </c:extLst>
          </c:dPt>
          <c:dPt>
            <c:idx val="17"/>
            <c:invertIfNegative val="1"/>
            <c:bubble3D val="0"/>
            <c:spPr>
              <a:solidFill>
                <a:srgbClr val="7ECAC4"/>
              </a:solidFill>
            </c:spPr>
            <c:extLst>
              <c:ext xmlns:c16="http://schemas.microsoft.com/office/drawing/2014/chart" uri="{C3380CC4-5D6E-409C-BE32-E72D297353CC}">
                <c16:uniqueId val="{0000005B-2993-41DE-A2CB-63102DE87051}"/>
              </c:ext>
            </c:extLst>
          </c:dPt>
          <c:dPt>
            <c:idx val="18"/>
            <c:invertIfNegative val="1"/>
            <c:bubble3D val="0"/>
            <c:spPr>
              <a:solidFill>
                <a:srgbClr val="7ECAC4"/>
              </a:solidFill>
            </c:spPr>
            <c:extLst>
              <c:ext xmlns:c16="http://schemas.microsoft.com/office/drawing/2014/chart" uri="{C3380CC4-5D6E-409C-BE32-E72D297353CC}">
                <c16:uniqueId val="{0000005D-2993-41DE-A2CB-63102DE87051}"/>
              </c:ext>
            </c:extLst>
          </c:dPt>
          <c:dPt>
            <c:idx val="19"/>
            <c:invertIfNegative val="1"/>
            <c:bubble3D val="0"/>
            <c:spPr>
              <a:solidFill>
                <a:srgbClr val="7ECAC4"/>
              </a:solidFill>
            </c:spPr>
            <c:extLst>
              <c:ext xmlns:c16="http://schemas.microsoft.com/office/drawing/2014/chart" uri="{C3380CC4-5D6E-409C-BE32-E72D297353CC}">
                <c16:uniqueId val="{0000005F-2993-41DE-A2CB-63102DE87051}"/>
              </c:ext>
            </c:extLst>
          </c:dPt>
          <c:dPt>
            <c:idx val="20"/>
            <c:invertIfNegative val="1"/>
            <c:bubble3D val="0"/>
            <c:spPr>
              <a:solidFill>
                <a:srgbClr val="7ECAC4"/>
              </a:solidFill>
            </c:spPr>
            <c:extLst>
              <c:ext xmlns:c16="http://schemas.microsoft.com/office/drawing/2014/chart" uri="{C3380CC4-5D6E-409C-BE32-E72D297353CC}">
                <c16:uniqueId val="{00000061-2993-41DE-A2CB-63102DE87051}"/>
              </c:ext>
            </c:extLst>
          </c:dPt>
          <c:dPt>
            <c:idx val="21"/>
            <c:invertIfNegative val="1"/>
            <c:bubble3D val="0"/>
            <c:spPr>
              <a:solidFill>
                <a:srgbClr val="7ECAC4"/>
              </a:solidFill>
            </c:spPr>
            <c:extLst>
              <c:ext xmlns:c16="http://schemas.microsoft.com/office/drawing/2014/chart" uri="{C3380CC4-5D6E-409C-BE32-E72D297353CC}">
                <c16:uniqueId val="{00000063-2993-41DE-A2CB-63102DE87051}"/>
              </c:ext>
            </c:extLst>
          </c:dPt>
          <c:dPt>
            <c:idx val="22"/>
            <c:invertIfNegative val="1"/>
            <c:bubble3D val="0"/>
            <c:spPr>
              <a:solidFill>
                <a:srgbClr val="7ECAC4"/>
              </a:solidFill>
            </c:spPr>
            <c:extLst>
              <c:ext xmlns:c16="http://schemas.microsoft.com/office/drawing/2014/chart" uri="{C3380CC4-5D6E-409C-BE32-E72D297353CC}">
                <c16:uniqueId val="{00000065-2993-41DE-A2CB-63102DE87051}"/>
              </c:ext>
            </c:extLst>
          </c:dPt>
          <c:dPt>
            <c:idx val="23"/>
            <c:invertIfNegative val="1"/>
            <c:bubble3D val="0"/>
            <c:spPr>
              <a:solidFill>
                <a:srgbClr val="7ECAC4"/>
              </a:solidFill>
            </c:spPr>
            <c:extLst>
              <c:ext xmlns:c16="http://schemas.microsoft.com/office/drawing/2014/chart" uri="{C3380CC4-5D6E-409C-BE32-E72D297353CC}">
                <c16:uniqueId val="{00000067-2993-41DE-A2CB-63102DE87051}"/>
              </c:ext>
            </c:extLst>
          </c:dPt>
          <c:dPt>
            <c:idx val="24"/>
            <c:invertIfNegative val="1"/>
            <c:bubble3D val="0"/>
            <c:spPr>
              <a:solidFill>
                <a:srgbClr val="7ECAC4"/>
              </a:solidFill>
            </c:spPr>
            <c:extLst>
              <c:ext xmlns:c16="http://schemas.microsoft.com/office/drawing/2014/chart" uri="{C3380CC4-5D6E-409C-BE32-E72D297353CC}">
                <c16:uniqueId val="{00000069-2993-41DE-A2CB-63102DE87051}"/>
              </c:ext>
            </c:extLst>
          </c:dPt>
          <c:dPt>
            <c:idx val="25"/>
            <c:invertIfNegative val="1"/>
            <c:bubble3D val="0"/>
            <c:spPr>
              <a:solidFill>
                <a:srgbClr val="AEABAB"/>
              </a:solidFill>
            </c:spPr>
            <c:extLst>
              <c:ext xmlns:c16="http://schemas.microsoft.com/office/drawing/2014/chart" uri="{C3380CC4-5D6E-409C-BE32-E72D297353CC}">
                <c16:uniqueId val="{0000006B-2993-41DE-A2CB-63102DE87051}"/>
              </c:ext>
            </c:extLst>
          </c:dPt>
          <c:dPt>
            <c:idx val="26"/>
            <c:invertIfNegative val="1"/>
            <c:bubble3D val="0"/>
            <c:spPr>
              <a:solidFill>
                <a:srgbClr val="AEABAB"/>
              </a:solidFill>
            </c:spPr>
            <c:extLst>
              <c:ext xmlns:c16="http://schemas.microsoft.com/office/drawing/2014/chart" uri="{C3380CC4-5D6E-409C-BE32-E72D297353CC}">
                <c16:uniqueId val="{0000006D-2993-41DE-A2CB-63102DE87051}"/>
              </c:ext>
            </c:extLst>
          </c:dPt>
          <c:dPt>
            <c:idx val="27"/>
            <c:invertIfNegative val="1"/>
            <c:bubble3D val="0"/>
            <c:spPr>
              <a:solidFill>
                <a:srgbClr val="AEABAB"/>
              </a:solidFill>
            </c:spPr>
            <c:extLst>
              <c:ext xmlns:c16="http://schemas.microsoft.com/office/drawing/2014/chart" uri="{C3380CC4-5D6E-409C-BE32-E72D297353CC}">
                <c16:uniqueId val="{0000006F-2993-41DE-A2CB-63102DE87051}"/>
              </c:ext>
            </c:extLst>
          </c:dPt>
          <c:dPt>
            <c:idx val="28"/>
            <c:invertIfNegative val="1"/>
            <c:bubble3D val="0"/>
            <c:spPr>
              <a:solidFill>
                <a:srgbClr val="AEABAB"/>
              </a:solidFill>
            </c:spPr>
            <c:extLst>
              <c:ext xmlns:c16="http://schemas.microsoft.com/office/drawing/2014/chart" uri="{C3380CC4-5D6E-409C-BE32-E72D297353CC}">
                <c16:uniqueId val="{00000071-2993-41DE-A2CB-63102DE87051}"/>
              </c:ext>
            </c:extLst>
          </c:dPt>
          <c:dPt>
            <c:idx val="29"/>
            <c:invertIfNegative val="1"/>
            <c:bubble3D val="0"/>
            <c:spPr>
              <a:solidFill>
                <a:srgbClr val="AEABAB"/>
              </a:solidFill>
            </c:spPr>
            <c:extLst>
              <c:ext xmlns:c16="http://schemas.microsoft.com/office/drawing/2014/chart" uri="{C3380CC4-5D6E-409C-BE32-E72D297353CC}">
                <c16:uniqueId val="{00000073-2993-41DE-A2CB-63102DE87051}"/>
              </c:ext>
            </c:extLst>
          </c:dPt>
          <c:dPt>
            <c:idx val="30"/>
            <c:invertIfNegative val="1"/>
            <c:bubble3D val="0"/>
            <c:spPr>
              <a:solidFill>
                <a:srgbClr val="AEABAB"/>
              </a:solidFill>
            </c:spPr>
            <c:extLst>
              <c:ext xmlns:c16="http://schemas.microsoft.com/office/drawing/2014/chart" uri="{C3380CC4-5D6E-409C-BE32-E72D297353CC}">
                <c16:uniqueId val="{00000075-2993-41DE-A2CB-63102DE87051}"/>
              </c:ext>
            </c:extLst>
          </c:dPt>
          <c:dPt>
            <c:idx val="31"/>
            <c:invertIfNegative val="1"/>
            <c:bubble3D val="0"/>
            <c:spPr>
              <a:solidFill>
                <a:srgbClr val="AEABAB"/>
              </a:solidFill>
            </c:spPr>
            <c:extLst>
              <c:ext xmlns:c16="http://schemas.microsoft.com/office/drawing/2014/chart" uri="{C3380CC4-5D6E-409C-BE32-E72D297353CC}">
                <c16:uniqueId val="{00000077-2993-41DE-A2CB-63102DE87051}"/>
              </c:ext>
            </c:extLst>
          </c:dPt>
          <c:dPt>
            <c:idx val="32"/>
            <c:invertIfNegative val="1"/>
            <c:bubble3D val="0"/>
            <c:spPr>
              <a:solidFill>
                <a:srgbClr val="AEABAB"/>
              </a:solidFill>
            </c:spPr>
            <c:extLst>
              <c:ext xmlns:c16="http://schemas.microsoft.com/office/drawing/2014/chart" uri="{C3380CC4-5D6E-409C-BE32-E72D297353CC}">
                <c16:uniqueId val="{00000079-2993-41DE-A2CB-63102DE87051}"/>
              </c:ext>
            </c:extLst>
          </c:dPt>
          <c:dPt>
            <c:idx val="33"/>
            <c:invertIfNegative val="1"/>
            <c:bubble3D val="0"/>
            <c:spPr>
              <a:solidFill>
                <a:srgbClr val="AEABAB"/>
              </a:solidFill>
            </c:spPr>
            <c:extLst>
              <c:ext xmlns:c16="http://schemas.microsoft.com/office/drawing/2014/chart" uri="{C3380CC4-5D6E-409C-BE32-E72D297353CC}">
                <c16:uniqueId val="{0000007B-2993-41DE-A2CB-63102DE87051}"/>
              </c:ext>
            </c:extLst>
          </c:dPt>
          <c:dPt>
            <c:idx val="34"/>
            <c:invertIfNegative val="1"/>
            <c:bubble3D val="0"/>
            <c:spPr>
              <a:solidFill>
                <a:srgbClr val="AEABAB"/>
              </a:solidFill>
            </c:spPr>
            <c:extLst>
              <c:ext xmlns:c16="http://schemas.microsoft.com/office/drawing/2014/chart" uri="{C3380CC4-5D6E-409C-BE32-E72D297353CC}">
                <c16:uniqueId val="{0000007D-2993-41DE-A2CB-63102DE87051}"/>
              </c:ext>
            </c:extLst>
          </c:dPt>
          <c:dPt>
            <c:idx val="35"/>
            <c:invertIfNegative val="1"/>
            <c:bubble3D val="0"/>
            <c:spPr>
              <a:solidFill>
                <a:srgbClr val="AEABAB"/>
              </a:solidFill>
            </c:spPr>
            <c:extLst>
              <c:ext xmlns:c16="http://schemas.microsoft.com/office/drawing/2014/chart" uri="{C3380CC4-5D6E-409C-BE32-E72D297353CC}">
                <c16:uniqueId val="{0000007F-2993-41DE-A2CB-63102DE87051}"/>
              </c:ext>
            </c:extLst>
          </c:dPt>
          <c:dPt>
            <c:idx val="36"/>
            <c:invertIfNegative val="1"/>
            <c:bubble3D val="0"/>
            <c:spPr>
              <a:solidFill>
                <a:srgbClr val="AEABAB"/>
              </a:solidFill>
            </c:spPr>
            <c:extLst>
              <c:ext xmlns:c16="http://schemas.microsoft.com/office/drawing/2014/chart" uri="{C3380CC4-5D6E-409C-BE32-E72D297353CC}">
                <c16:uniqueId val="{00000081-2993-41DE-A2CB-63102DE87051}"/>
              </c:ext>
            </c:extLst>
          </c:dPt>
          <c:dPt>
            <c:idx val="37"/>
            <c:invertIfNegative val="1"/>
            <c:bubble3D val="0"/>
            <c:spPr>
              <a:solidFill>
                <a:srgbClr val="AEABAB"/>
              </a:solidFill>
            </c:spPr>
            <c:extLst>
              <c:ext xmlns:c16="http://schemas.microsoft.com/office/drawing/2014/chart" uri="{C3380CC4-5D6E-409C-BE32-E72D297353CC}">
                <c16:uniqueId val="{00000083-2993-41DE-A2CB-63102DE87051}"/>
              </c:ext>
            </c:extLst>
          </c:dPt>
          <c:dPt>
            <c:idx val="38"/>
            <c:invertIfNegative val="1"/>
            <c:bubble3D val="0"/>
            <c:spPr>
              <a:solidFill>
                <a:srgbClr val="AEABAB"/>
              </a:solidFill>
            </c:spPr>
            <c:extLst>
              <c:ext xmlns:c16="http://schemas.microsoft.com/office/drawing/2014/chart" uri="{C3380CC4-5D6E-409C-BE32-E72D297353CC}">
                <c16:uniqueId val="{00000085-2993-41DE-A2CB-63102DE87051}"/>
              </c:ext>
            </c:extLst>
          </c:dPt>
          <c:dPt>
            <c:idx val="39"/>
            <c:invertIfNegative val="1"/>
            <c:bubble3D val="0"/>
            <c:spPr>
              <a:solidFill>
                <a:srgbClr val="AEABAB"/>
              </a:solidFill>
            </c:spPr>
            <c:extLst>
              <c:ext xmlns:c16="http://schemas.microsoft.com/office/drawing/2014/chart" uri="{C3380CC4-5D6E-409C-BE32-E72D297353CC}">
                <c16:uniqueId val="{00000087-2993-41DE-A2CB-63102DE87051}"/>
              </c:ext>
            </c:extLst>
          </c:dPt>
          <c:dPt>
            <c:idx val="40"/>
            <c:invertIfNegative val="1"/>
            <c:bubble3D val="0"/>
            <c:spPr>
              <a:solidFill>
                <a:srgbClr val="AEABAB"/>
              </a:solidFill>
            </c:spPr>
            <c:extLst>
              <c:ext xmlns:c16="http://schemas.microsoft.com/office/drawing/2014/chart" uri="{C3380CC4-5D6E-409C-BE32-E72D297353CC}">
                <c16:uniqueId val="{00000089-2993-41DE-A2CB-63102DE87051}"/>
              </c:ext>
            </c:extLst>
          </c:dPt>
          <c:dPt>
            <c:idx val="41"/>
            <c:invertIfNegative val="1"/>
            <c:bubble3D val="0"/>
            <c:spPr>
              <a:solidFill>
                <a:srgbClr val="AEABAB"/>
              </a:solidFill>
            </c:spPr>
            <c:extLst>
              <c:ext xmlns:c16="http://schemas.microsoft.com/office/drawing/2014/chart" uri="{C3380CC4-5D6E-409C-BE32-E72D297353CC}">
                <c16:uniqueId val="{0000008B-2993-41DE-A2CB-63102DE87051}"/>
              </c:ext>
            </c:extLst>
          </c:dPt>
          <c:dPt>
            <c:idx val="42"/>
            <c:invertIfNegative val="1"/>
            <c:bubble3D val="0"/>
            <c:spPr>
              <a:solidFill>
                <a:srgbClr val="AEABAB"/>
              </a:solidFill>
            </c:spPr>
            <c:extLst>
              <c:ext xmlns:c16="http://schemas.microsoft.com/office/drawing/2014/chart" uri="{C3380CC4-5D6E-409C-BE32-E72D297353CC}">
                <c16:uniqueId val="{0000008D-2993-41DE-A2CB-63102DE87051}"/>
              </c:ext>
            </c:extLst>
          </c:dPt>
          <c:dPt>
            <c:idx val="43"/>
            <c:invertIfNegative val="1"/>
            <c:bubble3D val="0"/>
            <c:spPr>
              <a:solidFill>
                <a:srgbClr val="AEABAB"/>
              </a:solidFill>
            </c:spPr>
            <c:extLst>
              <c:ext xmlns:c16="http://schemas.microsoft.com/office/drawing/2014/chart" uri="{C3380CC4-5D6E-409C-BE32-E72D297353CC}">
                <c16:uniqueId val="{0000008F-2993-41DE-A2CB-63102DE87051}"/>
              </c:ext>
            </c:extLst>
          </c:dPt>
          <c:dPt>
            <c:idx val="44"/>
            <c:invertIfNegative val="1"/>
            <c:bubble3D val="0"/>
            <c:spPr>
              <a:solidFill>
                <a:srgbClr val="AEABAB"/>
              </a:solidFill>
            </c:spPr>
            <c:extLst>
              <c:ext xmlns:c16="http://schemas.microsoft.com/office/drawing/2014/chart" uri="{C3380CC4-5D6E-409C-BE32-E72D297353CC}">
                <c16:uniqueId val="{00000091-2993-41DE-A2CB-63102DE87051}"/>
              </c:ext>
            </c:extLst>
          </c:dPt>
          <c:dPt>
            <c:idx val="45"/>
            <c:invertIfNegative val="1"/>
            <c:bubble3D val="0"/>
            <c:spPr>
              <a:solidFill>
                <a:srgbClr val="AEABAB"/>
              </a:solidFill>
            </c:spPr>
            <c:extLst>
              <c:ext xmlns:c16="http://schemas.microsoft.com/office/drawing/2014/chart" uri="{C3380CC4-5D6E-409C-BE32-E72D297353CC}">
                <c16:uniqueId val="{00000093-2993-41DE-A2CB-63102DE87051}"/>
              </c:ext>
            </c:extLst>
          </c:dPt>
          <c:dPt>
            <c:idx val="46"/>
            <c:invertIfNegative val="1"/>
            <c:bubble3D val="0"/>
            <c:spPr>
              <a:solidFill>
                <a:srgbClr val="AEABAB"/>
              </a:solidFill>
            </c:spPr>
            <c:extLst>
              <c:ext xmlns:c16="http://schemas.microsoft.com/office/drawing/2014/chart" uri="{C3380CC4-5D6E-409C-BE32-E72D297353CC}">
                <c16:uniqueId val="{00000095-2993-41DE-A2CB-63102DE87051}"/>
              </c:ext>
            </c:extLst>
          </c:dPt>
          <c:dPt>
            <c:idx val="47"/>
            <c:invertIfNegative val="1"/>
            <c:bubble3D val="0"/>
            <c:spPr>
              <a:solidFill>
                <a:srgbClr val="AEABAB"/>
              </a:solidFill>
            </c:spPr>
            <c:extLst>
              <c:ext xmlns:c16="http://schemas.microsoft.com/office/drawing/2014/chart" uri="{C3380CC4-5D6E-409C-BE32-E72D297353CC}">
                <c16:uniqueId val="{00000097-2993-41DE-A2CB-63102DE87051}"/>
              </c:ext>
            </c:extLst>
          </c:dPt>
          <c:dPt>
            <c:idx val="48"/>
            <c:invertIfNegative val="1"/>
            <c:bubble3D val="0"/>
            <c:spPr>
              <a:solidFill>
                <a:srgbClr val="AEABAB"/>
              </a:solidFill>
            </c:spPr>
            <c:extLst>
              <c:ext xmlns:c16="http://schemas.microsoft.com/office/drawing/2014/chart" uri="{C3380CC4-5D6E-409C-BE32-E72D297353CC}">
                <c16:uniqueId val="{00000099-2993-41DE-A2CB-63102DE87051}"/>
              </c:ext>
            </c:extLst>
          </c:dPt>
          <c:dPt>
            <c:idx val="49"/>
            <c:invertIfNegative val="1"/>
            <c:bubble3D val="0"/>
            <c:spPr>
              <a:solidFill>
                <a:srgbClr val="AEABAB"/>
              </a:solidFill>
            </c:spPr>
            <c:extLst>
              <c:ext xmlns:c16="http://schemas.microsoft.com/office/drawing/2014/chart" uri="{C3380CC4-5D6E-409C-BE32-E72D297353CC}">
                <c16:uniqueId val="{0000009B-2993-41DE-A2CB-63102DE87051}"/>
              </c:ext>
            </c:extLst>
          </c:dPt>
          <c:dPt>
            <c:idx val="50"/>
            <c:invertIfNegative val="1"/>
            <c:bubble3D val="0"/>
            <c:spPr>
              <a:solidFill>
                <a:srgbClr val="AEABAB"/>
              </a:solidFill>
            </c:spPr>
            <c:extLst>
              <c:ext xmlns:c16="http://schemas.microsoft.com/office/drawing/2014/chart" uri="{C3380CC4-5D6E-409C-BE32-E72D297353CC}">
                <c16:uniqueId val="{0000009D-2993-41DE-A2CB-63102DE87051}"/>
              </c:ext>
            </c:extLst>
          </c:dPt>
          <c:dPt>
            <c:idx val="51"/>
            <c:invertIfNegative val="1"/>
            <c:bubble3D val="0"/>
            <c:spPr>
              <a:solidFill>
                <a:srgbClr val="AEABAB"/>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53</c:f>
              <c:strCache>
                <c:ptCount val="52"/>
                <c:pt idx="0">
                  <c:v>Dom Perigno</c:v>
                </c:pt>
                <c:pt idx="1">
                  <c:v>Dom Perigno</c:v>
                </c:pt>
                <c:pt idx="2">
                  <c:v>Ruinart</c:v>
                </c:pt>
                <c:pt idx="3">
                  <c:v>Roederer</c:v>
                </c:pt>
                <c:pt idx="4">
                  <c:v>Malard</c:v>
                </c:pt>
                <c:pt idx="5">
                  <c:v>Dom Perigno</c:v>
                </c:pt>
                <c:pt idx="6">
                  <c:v>Roederer</c:v>
                </c:pt>
                <c:pt idx="7">
                  <c:v>Ruinart</c:v>
                </c:pt>
                <c:pt idx="8">
                  <c:v>Roederer</c:v>
                </c:pt>
                <c:pt idx="9">
                  <c:v>Bollinger</c:v>
                </c:pt>
                <c:pt idx="10">
                  <c:v>Laurent Per</c:v>
                </c:pt>
                <c:pt idx="11">
                  <c:v>Ruinart</c:v>
                </c:pt>
                <c:pt idx="12">
                  <c:v>Roederer</c:v>
                </c:pt>
                <c:pt idx="13">
                  <c:v>Roederer</c:v>
                </c:pt>
                <c:pt idx="14">
                  <c:v>Pommery</c:v>
                </c:pt>
                <c:pt idx="15">
                  <c:v>Piper Heids</c:v>
                </c:pt>
                <c:pt idx="16">
                  <c:v>Perrier Jou</c:v>
                </c:pt>
                <c:pt idx="17">
                  <c:v>Piper Heids</c:v>
                </c:pt>
                <c:pt idx="18">
                  <c:v>Dom Perigno</c:v>
                </c:pt>
                <c:pt idx="19">
                  <c:v>Roederer</c:v>
                </c:pt>
                <c:pt idx="20">
                  <c:v>All Others</c:v>
                </c:pt>
                <c:pt idx="21">
                  <c:v>De Venoge</c:v>
                </c:pt>
                <c:pt idx="22">
                  <c:v>Lanson</c:v>
                </c:pt>
                <c:pt idx="23">
                  <c:v>Laurent Per</c:v>
                </c:pt>
                <c:pt idx="24">
                  <c:v>Bollinger</c:v>
                </c:pt>
                <c:pt idx="25">
                  <c:v>Veuve Clicq</c:v>
                </c:pt>
                <c:pt idx="26">
                  <c:v>Pommery</c:v>
                </c:pt>
                <c:pt idx="27">
                  <c:v>All Others</c:v>
                </c:pt>
                <c:pt idx="28">
                  <c:v>De Venoge</c:v>
                </c:pt>
                <c:pt idx="29">
                  <c:v>Vesselle</c:v>
                </c:pt>
                <c:pt idx="30">
                  <c:v>Krug</c:v>
                </c:pt>
                <c:pt idx="31">
                  <c:v>Perrier Jou</c:v>
                </c:pt>
                <c:pt idx="32">
                  <c:v>Pommery</c:v>
                </c:pt>
                <c:pt idx="33">
                  <c:v>Bollinger</c:v>
                </c:pt>
                <c:pt idx="34">
                  <c:v>Roederer</c:v>
                </c:pt>
                <c:pt idx="35">
                  <c:v>Veuve Clicq</c:v>
                </c:pt>
                <c:pt idx="36">
                  <c:v>Veuve Clicq</c:v>
                </c:pt>
                <c:pt idx="37">
                  <c:v>All Others</c:v>
                </c:pt>
                <c:pt idx="38">
                  <c:v>Malard</c:v>
                </c:pt>
                <c:pt idx="39">
                  <c:v>Roederer</c:v>
                </c:pt>
                <c:pt idx="40">
                  <c:v>Laurent Per</c:v>
                </c:pt>
                <c:pt idx="41">
                  <c:v>All Others</c:v>
                </c:pt>
                <c:pt idx="42">
                  <c:v>Pommery</c:v>
                </c:pt>
                <c:pt idx="43">
                  <c:v>Roederer</c:v>
                </c:pt>
                <c:pt idx="44">
                  <c:v>Roederer</c:v>
                </c:pt>
                <c:pt idx="45">
                  <c:v>All Others</c:v>
                </c:pt>
                <c:pt idx="46">
                  <c:v>Roederer</c:v>
                </c:pt>
                <c:pt idx="47">
                  <c:v>Roederer</c:v>
                </c:pt>
                <c:pt idx="48">
                  <c:v>Roederer</c:v>
                </c:pt>
                <c:pt idx="49">
                  <c:v>Deutz</c:v>
                </c:pt>
                <c:pt idx="50">
                  <c:v>Henriot</c:v>
                </c:pt>
                <c:pt idx="51">
                  <c:v>Vesselle</c:v>
                </c:pt>
              </c:strCache>
            </c:strRef>
          </c:cat>
          <c:val>
            <c:numRef>
              <c:f>Sheet1!$C$2:$C$53</c:f>
              <c:numCache>
                <c:formatCode>General</c:formatCode>
                <c:ptCount val="52"/>
                <c:pt idx="0">
                  <c:v>0.26172251800814283</c:v>
                </c:pt>
                <c:pt idx="1">
                  <c:v>0.43546507986219862</c:v>
                </c:pt>
                <c:pt idx="2">
                  <c:v>0.50172251800814283</c:v>
                </c:pt>
                <c:pt idx="3">
                  <c:v>0.55357970560601322</c:v>
                </c:pt>
                <c:pt idx="4">
                  <c:v>0.59914813654870036</c:v>
                </c:pt>
                <c:pt idx="5">
                  <c:v>0.63860319448794245</c:v>
                </c:pt>
                <c:pt idx="6">
                  <c:v>0.67641089884121519</c:v>
                </c:pt>
                <c:pt idx="7">
                  <c:v>0.71042906357657376</c:v>
                </c:pt>
                <c:pt idx="8">
                  <c:v>0.74016285624804257</c:v>
                </c:pt>
                <c:pt idx="9">
                  <c:v>0.76853742561854055</c:v>
                </c:pt>
                <c:pt idx="10">
                  <c:v>0.79084873160037583</c:v>
                </c:pt>
                <c:pt idx="11">
                  <c:v>0.81257751331036643</c:v>
                </c:pt>
                <c:pt idx="12">
                  <c:v>0.83225806451612905</c:v>
                </c:pt>
                <c:pt idx="13">
                  <c:v>0.84833698715941119</c:v>
                </c:pt>
                <c:pt idx="14">
                  <c:v>0.86252427184466018</c:v>
                </c:pt>
                <c:pt idx="15">
                  <c:v>0.87660507359849671</c:v>
                </c:pt>
                <c:pt idx="16">
                  <c:v>0.88889445662386468</c:v>
                </c:pt>
                <c:pt idx="17">
                  <c:v>0.90117131224553704</c:v>
                </c:pt>
                <c:pt idx="18">
                  <c:v>0.91150642029439388</c:v>
                </c:pt>
                <c:pt idx="19">
                  <c:v>0.91983088005010949</c:v>
                </c:pt>
                <c:pt idx="20">
                  <c:v>0.92621985593485734</c:v>
                </c:pt>
                <c:pt idx="21">
                  <c:v>0.93231443783275902</c:v>
                </c:pt>
                <c:pt idx="22">
                  <c:v>0.93838396492326948</c:v>
                </c:pt>
                <c:pt idx="23">
                  <c:v>0.9443845912934542</c:v>
                </c:pt>
                <c:pt idx="24">
                  <c:v>0.94973379267146862</c:v>
                </c:pt>
                <c:pt idx="25">
                  <c:v>0.95424365800187894</c:v>
                </c:pt>
                <c:pt idx="26">
                  <c:v>0.95849044785468196</c:v>
                </c:pt>
                <c:pt idx="27">
                  <c:v>0.96231756968368287</c:v>
                </c:pt>
                <c:pt idx="28">
                  <c:v>0.96553711243344797</c:v>
                </c:pt>
                <c:pt idx="29">
                  <c:v>0.96853116191669253</c:v>
                </c:pt>
                <c:pt idx="30">
                  <c:v>0.97136235515189451</c:v>
                </c:pt>
                <c:pt idx="31">
                  <c:v>0.97408080175383627</c:v>
                </c:pt>
                <c:pt idx="32">
                  <c:v>0.97677419354838679</c:v>
                </c:pt>
                <c:pt idx="33">
                  <c:v>0.97932978390228598</c:v>
                </c:pt>
                <c:pt idx="34">
                  <c:v>0.98157845286564327</c:v>
                </c:pt>
                <c:pt idx="35">
                  <c:v>0.98380833072345719</c:v>
                </c:pt>
                <c:pt idx="36">
                  <c:v>0.98600062637018437</c:v>
                </c:pt>
                <c:pt idx="37">
                  <c:v>0.98787347322267416</c:v>
                </c:pt>
                <c:pt idx="38">
                  <c:v>0.98971500156592507</c:v>
                </c:pt>
                <c:pt idx="39">
                  <c:v>0.99145631067961126</c:v>
                </c:pt>
                <c:pt idx="40">
                  <c:v>0.99257751331036603</c:v>
                </c:pt>
                <c:pt idx="41">
                  <c:v>0.99369245223927305</c:v>
                </c:pt>
                <c:pt idx="42">
                  <c:v>0.99476980895709333</c:v>
                </c:pt>
                <c:pt idx="43">
                  <c:v>0.99578452865643563</c:v>
                </c:pt>
                <c:pt idx="44">
                  <c:v>0.9966739743188221</c:v>
                </c:pt>
                <c:pt idx="45">
                  <c:v>0.99748825555903509</c:v>
                </c:pt>
                <c:pt idx="46">
                  <c:v>0.99808330723457528</c:v>
                </c:pt>
                <c:pt idx="47">
                  <c:v>0.99865330410272435</c:v>
                </c:pt>
                <c:pt idx="48">
                  <c:v>0.99907297212652646</c:v>
                </c:pt>
                <c:pt idx="49">
                  <c:v>0.99945505793924172</c:v>
                </c:pt>
                <c:pt idx="50">
                  <c:v>0.9998058252427181</c:v>
                </c:pt>
                <c:pt idx="51">
                  <c:v>0.99999999999999967</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82</c:f>
              <c:strCache>
                <c:ptCount val="81"/>
                <c:pt idx="0">
                  <c:v>Dom Perigno</c:v>
                </c:pt>
                <c:pt idx="1">
                  <c:v>Dom Perigno</c:v>
                </c:pt>
                <c:pt idx="2">
                  <c:v>Roederer</c:v>
                </c:pt>
                <c:pt idx="3">
                  <c:v>Malard</c:v>
                </c:pt>
                <c:pt idx="4">
                  <c:v>Roederer</c:v>
                </c:pt>
                <c:pt idx="5">
                  <c:v>Roederer</c:v>
                </c:pt>
                <c:pt idx="6">
                  <c:v>Ruinart</c:v>
                </c:pt>
                <c:pt idx="7">
                  <c:v>Roederer</c:v>
                </c:pt>
                <c:pt idx="8">
                  <c:v>Ruinart</c:v>
                </c:pt>
                <c:pt idx="9">
                  <c:v>Dom Perigno</c:v>
                </c:pt>
                <c:pt idx="10">
                  <c:v>Laurent Per</c:v>
                </c:pt>
                <c:pt idx="11">
                  <c:v>Bollinger</c:v>
                </c:pt>
                <c:pt idx="12">
                  <c:v>Roederer</c:v>
                </c:pt>
                <c:pt idx="13">
                  <c:v>Ruinart</c:v>
                </c:pt>
                <c:pt idx="14">
                  <c:v>Roederer</c:v>
                </c:pt>
                <c:pt idx="15">
                  <c:v>Dom Perigno</c:v>
                </c:pt>
                <c:pt idx="16">
                  <c:v>Perrier Jou</c:v>
                </c:pt>
                <c:pt idx="17">
                  <c:v>Pommery</c:v>
                </c:pt>
                <c:pt idx="18">
                  <c:v>Veuve Clicq</c:v>
                </c:pt>
                <c:pt idx="19">
                  <c:v>Veuve Clicq</c:v>
                </c:pt>
                <c:pt idx="20">
                  <c:v>Roederer</c:v>
                </c:pt>
                <c:pt idx="21">
                  <c:v>Dom Perigno</c:v>
                </c:pt>
                <c:pt idx="22">
                  <c:v>Bollinger</c:v>
                </c:pt>
                <c:pt idx="23">
                  <c:v>Piper Heids</c:v>
                </c:pt>
                <c:pt idx="24">
                  <c:v>Piper Heids</c:v>
                </c:pt>
                <c:pt idx="25">
                  <c:v>All Others</c:v>
                </c:pt>
                <c:pt idx="26">
                  <c:v>Roederer</c:v>
                </c:pt>
                <c:pt idx="27">
                  <c:v>Dom Perigno</c:v>
                </c:pt>
                <c:pt idx="28">
                  <c:v>De Venoge</c:v>
                </c:pt>
                <c:pt idx="29">
                  <c:v>Laurent Per</c:v>
                </c:pt>
                <c:pt idx="30">
                  <c:v>Lanson</c:v>
                </c:pt>
                <c:pt idx="31">
                  <c:v>Roederer</c:v>
                </c:pt>
                <c:pt idx="32">
                  <c:v>Pommery</c:v>
                </c:pt>
                <c:pt idx="33">
                  <c:v>De Venoge</c:v>
                </c:pt>
                <c:pt idx="34">
                  <c:v>All Others</c:v>
                </c:pt>
                <c:pt idx="35">
                  <c:v>All Others</c:v>
                </c:pt>
                <c:pt idx="36">
                  <c:v>Dom Perigno</c:v>
                </c:pt>
                <c:pt idx="37">
                  <c:v>Roederer</c:v>
                </c:pt>
                <c:pt idx="38">
                  <c:v>Roederer</c:v>
                </c:pt>
                <c:pt idx="39">
                  <c:v>Veuve Clicq</c:v>
                </c:pt>
                <c:pt idx="40">
                  <c:v>Bollinger</c:v>
                </c:pt>
                <c:pt idx="41">
                  <c:v>Pommery</c:v>
                </c:pt>
                <c:pt idx="42">
                  <c:v>Veuve Clicq</c:v>
                </c:pt>
                <c:pt idx="43">
                  <c:v>Deutz</c:v>
                </c:pt>
                <c:pt idx="44">
                  <c:v>Ruinart</c:v>
                </c:pt>
                <c:pt idx="45">
                  <c:v>Perrier Jou</c:v>
                </c:pt>
                <c:pt idx="46">
                  <c:v>All Others</c:v>
                </c:pt>
                <c:pt idx="47">
                  <c:v>Bollinger</c:v>
                </c:pt>
                <c:pt idx="48">
                  <c:v>Malard</c:v>
                </c:pt>
                <c:pt idx="49">
                  <c:v>Pommery</c:v>
                </c:pt>
                <c:pt idx="50">
                  <c:v>Ruinart</c:v>
                </c:pt>
                <c:pt idx="51">
                  <c:v>All Others</c:v>
                </c:pt>
                <c:pt idx="52">
                  <c:v>Roederer</c:v>
                </c:pt>
                <c:pt idx="53">
                  <c:v>Laurent Per</c:v>
                </c:pt>
                <c:pt idx="54">
                  <c:v>Perrier Jou</c:v>
                </c:pt>
                <c:pt idx="55">
                  <c:v>Vesselle</c:v>
                </c:pt>
                <c:pt idx="56">
                  <c:v>Bollinger</c:v>
                </c:pt>
                <c:pt idx="57">
                  <c:v>Dom Perigno</c:v>
                </c:pt>
                <c:pt idx="58">
                  <c:v>Krug</c:v>
                </c:pt>
                <c:pt idx="59">
                  <c:v>Moët &amp; Chan</c:v>
                </c:pt>
                <c:pt idx="60">
                  <c:v>Nicolas Feu</c:v>
                </c:pt>
                <c:pt idx="61">
                  <c:v>Dom Perigno</c:v>
                </c:pt>
                <c:pt idx="62">
                  <c:v>Veuve Clicq</c:v>
                </c:pt>
                <c:pt idx="63">
                  <c:v>All Others</c:v>
                </c:pt>
                <c:pt idx="64">
                  <c:v>Roederer</c:v>
                </c:pt>
                <c:pt idx="65">
                  <c:v>All Others</c:v>
                </c:pt>
                <c:pt idx="66">
                  <c:v>Krug</c:v>
                </c:pt>
                <c:pt idx="67">
                  <c:v>Henriot</c:v>
                </c:pt>
                <c:pt idx="68">
                  <c:v>De Venoge</c:v>
                </c:pt>
                <c:pt idx="69">
                  <c:v>Deutz</c:v>
                </c:pt>
                <c:pt idx="70">
                  <c:v>Krug</c:v>
                </c:pt>
                <c:pt idx="71">
                  <c:v>Moët &amp; Chan</c:v>
                </c:pt>
                <c:pt idx="72">
                  <c:v>Bollinger</c:v>
                </c:pt>
                <c:pt idx="73">
                  <c:v>Roederer</c:v>
                </c:pt>
                <c:pt idx="74">
                  <c:v>Laurent Per</c:v>
                </c:pt>
                <c:pt idx="75">
                  <c:v>Mumm</c:v>
                </c:pt>
                <c:pt idx="76">
                  <c:v>Malard</c:v>
                </c:pt>
                <c:pt idx="77">
                  <c:v>Canard Duch</c:v>
                </c:pt>
                <c:pt idx="78">
                  <c:v>Vesselle</c:v>
                </c:pt>
                <c:pt idx="79">
                  <c:v>Piper Heids</c:v>
                </c:pt>
                <c:pt idx="80">
                  <c:v>All Others</c:v>
                </c:pt>
              </c:strCache>
            </c:strRef>
          </c:cat>
          <c:val>
            <c:numRef>
              <c:f>Sheet1!$B$2:$B$82</c:f>
              <c:numCache>
                <c:formatCode>General</c:formatCode>
                <c:ptCount val="81"/>
                <c:pt idx="0">
                  <c:v>0.28000000000000003</c:v>
                </c:pt>
                <c:pt idx="1">
                  <c:v>0.3</c:v>
                </c:pt>
                <c:pt idx="2">
                  <c:v>0.19</c:v>
                </c:pt>
                <c:pt idx="3">
                  <c:v>0.59</c:v>
                </c:pt>
                <c:pt idx="4">
                  <c:v>0.12</c:v>
                </c:pt>
                <c:pt idx="5">
                  <c:v>0.26</c:v>
                </c:pt>
                <c:pt idx="6">
                  <c:v>0.28000000000000003</c:v>
                </c:pt>
                <c:pt idx="7">
                  <c:v>0.18</c:v>
                </c:pt>
                <c:pt idx="8">
                  <c:v>0.12</c:v>
                </c:pt>
                <c:pt idx="9">
                  <c:v>0.12</c:v>
                </c:pt>
                <c:pt idx="10">
                  <c:v>0.15</c:v>
                </c:pt>
                <c:pt idx="11">
                  <c:v>7.0000000000000007E-2</c:v>
                </c:pt>
                <c:pt idx="12">
                  <c:v>0.05</c:v>
                </c:pt>
                <c:pt idx="13">
                  <c:v>0.08</c:v>
                </c:pt>
                <c:pt idx="14">
                  <c:v>0.03</c:v>
                </c:pt>
                <c:pt idx="15">
                  <c:v>0.03</c:v>
                </c:pt>
                <c:pt idx="16">
                  <c:v>0.04</c:v>
                </c:pt>
                <c:pt idx="17">
                  <c:v>0.04</c:v>
                </c:pt>
                <c:pt idx="18">
                  <c:v>0.18</c:v>
                </c:pt>
                <c:pt idx="19">
                  <c:v>0.04</c:v>
                </c:pt>
                <c:pt idx="20">
                  <c:v>0.05</c:v>
                </c:pt>
                <c:pt idx="21">
                  <c:v>0.03</c:v>
                </c:pt>
                <c:pt idx="22">
                  <c:v>0.02</c:v>
                </c:pt>
                <c:pt idx="23">
                  <c:v>0.02</c:v>
                </c:pt>
                <c:pt idx="24">
                  <c:v>0.03</c:v>
                </c:pt>
                <c:pt idx="25">
                  <c:v>0.02</c:v>
                </c:pt>
                <c:pt idx="26">
                  <c:v>0.01</c:v>
                </c:pt>
                <c:pt idx="27">
                  <c:v>0.01</c:v>
                </c:pt>
                <c:pt idx="28">
                  <c:v>0.04</c:v>
                </c:pt>
                <c:pt idx="29">
                  <c:v>0.05</c:v>
                </c:pt>
                <c:pt idx="30">
                  <c:v>0.02</c:v>
                </c:pt>
                <c:pt idx="31">
                  <c:v>0.01</c:v>
                </c:pt>
                <c:pt idx="32">
                  <c:v>0.02</c:v>
                </c:pt>
                <c:pt idx="33">
                  <c:v>0.02</c:v>
                </c:pt>
                <c:pt idx="34">
                  <c:v>0.03</c:v>
                </c:pt>
                <c:pt idx="35">
                  <c:v>0.02</c:v>
                </c:pt>
                <c:pt idx="36">
                  <c:v>0.02</c:v>
                </c:pt>
                <c:pt idx="37">
                  <c:v>0.01</c:v>
                </c:pt>
                <c:pt idx="38">
                  <c:v>0.01</c:v>
                </c:pt>
                <c:pt idx="39">
                  <c:v>0.18</c:v>
                </c:pt>
                <c:pt idx="40">
                  <c:v>0.01</c:v>
                </c:pt>
                <c:pt idx="41">
                  <c:v>0.02</c:v>
                </c:pt>
                <c:pt idx="42">
                  <c:v>0.01</c:v>
                </c:pt>
                <c:pt idx="43">
                  <c:v>0.04</c:v>
                </c:pt>
                <c:pt idx="44">
                  <c:v>0.01</c:v>
                </c:pt>
                <c:pt idx="45">
                  <c:v>0.01</c:v>
                </c:pt>
                <c:pt idx="46">
                  <c:v>0.03</c:v>
                </c:pt>
                <c:pt idx="47">
                  <c:v>0.02</c:v>
                </c:pt>
                <c:pt idx="48">
                  <c:v>0.01</c:v>
                </c:pt>
                <c:pt idx="49">
                  <c:v>0.01</c:v>
                </c:pt>
                <c:pt idx="50">
                  <c:v>0.01</c:v>
                </c:pt>
                <c:pt idx="51">
                  <c:v>0.02</c:v>
                </c:pt>
                <c:pt idx="52">
                  <c:v>0.01</c:v>
                </c:pt>
                <c:pt idx="53">
                  <c:v>0.01</c:v>
                </c:pt>
                <c:pt idx="54">
                  <c:v>0.02</c:v>
                </c:pt>
                <c:pt idx="55">
                  <c:v>0.04</c:v>
                </c:pt>
                <c:pt idx="56">
                  <c:v>0.02</c:v>
                </c:pt>
                <c:pt idx="57">
                  <c:v>0.01</c:v>
                </c:pt>
                <c:pt idx="58">
                  <c:v>0.02</c:v>
                </c:pt>
                <c:pt idx="59">
                  <c:v>0.03</c:v>
                </c:pt>
                <c:pt idx="60">
                  <c:v>0.02</c:v>
                </c:pt>
                <c:pt idx="61">
                  <c:v>0.01</c:v>
                </c:pt>
                <c:pt idx="62">
                  <c:v>0.02</c:v>
                </c:pt>
                <c:pt idx="63">
                  <c:v>0.01</c:v>
                </c:pt>
                <c:pt idx="64">
                  <c:v>0.01</c:v>
                </c:pt>
                <c:pt idx="65">
                  <c:v>0.01</c:v>
                </c:pt>
                <c:pt idx="66">
                  <c:v>0.01</c:v>
                </c:pt>
                <c:pt idx="67">
                  <c:v>0.03</c:v>
                </c:pt>
                <c:pt idx="68">
                  <c:v>0.01</c:v>
                </c:pt>
                <c:pt idx="69">
                  <c:v>0.01</c:v>
                </c:pt>
                <c:pt idx="70">
                  <c:v>0.01</c:v>
                </c:pt>
                <c:pt idx="71">
                  <c:v>0.04</c:v>
                </c:pt>
                <c:pt idx="72">
                  <c:v>0.01</c:v>
                </c:pt>
                <c:pt idx="73">
                  <c:v>0.01</c:v>
                </c:pt>
                <c:pt idx="74">
                  <c:v>0.01</c:v>
                </c:pt>
                <c:pt idx="75">
                  <c:v>0.01</c:v>
                </c:pt>
                <c:pt idx="76">
                  <c:v>0.01</c:v>
                </c:pt>
                <c:pt idx="77">
                  <c:v>0.01</c:v>
                </c:pt>
                <c:pt idx="78">
                  <c:v>0.02</c:v>
                </c:pt>
                <c:pt idx="79">
                  <c:v>0.01</c:v>
                </c:pt>
                <c:pt idx="80">
                  <c:v>0.02</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7ECAC4"/>
              </a:solidFill>
            </c:spPr>
            <c:extLst>
              <c:ext xmlns:c16="http://schemas.microsoft.com/office/drawing/2014/chart" uri="{C3380CC4-5D6E-409C-BE32-E72D297353CC}">
                <c16:uniqueId val="{00000051-2993-41DE-A2CB-63102DE87051}"/>
              </c:ext>
            </c:extLst>
          </c:dPt>
          <c:dPt>
            <c:idx val="13"/>
            <c:invertIfNegative val="1"/>
            <c:bubble3D val="0"/>
            <c:spPr>
              <a:solidFill>
                <a:srgbClr val="7ECAC4"/>
              </a:solidFill>
            </c:spPr>
            <c:extLst>
              <c:ext xmlns:c16="http://schemas.microsoft.com/office/drawing/2014/chart" uri="{C3380CC4-5D6E-409C-BE32-E72D297353CC}">
                <c16:uniqueId val="{00000053-2993-41DE-A2CB-63102DE87051}"/>
              </c:ext>
            </c:extLst>
          </c:dPt>
          <c:dPt>
            <c:idx val="14"/>
            <c:invertIfNegative val="1"/>
            <c:bubble3D val="0"/>
            <c:spPr>
              <a:solidFill>
                <a:srgbClr val="7ECAC4"/>
              </a:solidFill>
            </c:spPr>
            <c:extLst>
              <c:ext xmlns:c16="http://schemas.microsoft.com/office/drawing/2014/chart" uri="{C3380CC4-5D6E-409C-BE32-E72D297353CC}">
                <c16:uniqueId val="{00000055-2993-41DE-A2CB-63102DE87051}"/>
              </c:ext>
            </c:extLst>
          </c:dPt>
          <c:dPt>
            <c:idx val="15"/>
            <c:invertIfNegative val="1"/>
            <c:bubble3D val="0"/>
            <c:spPr>
              <a:solidFill>
                <a:srgbClr val="7ECAC4"/>
              </a:solidFill>
            </c:spPr>
            <c:extLst>
              <c:ext xmlns:c16="http://schemas.microsoft.com/office/drawing/2014/chart" uri="{C3380CC4-5D6E-409C-BE32-E72D297353CC}">
                <c16:uniqueId val="{00000057-2993-41DE-A2CB-63102DE87051}"/>
              </c:ext>
            </c:extLst>
          </c:dPt>
          <c:dPt>
            <c:idx val="16"/>
            <c:invertIfNegative val="1"/>
            <c:bubble3D val="0"/>
            <c:spPr>
              <a:solidFill>
                <a:srgbClr val="7ECAC4"/>
              </a:solidFill>
            </c:spPr>
            <c:extLst>
              <c:ext xmlns:c16="http://schemas.microsoft.com/office/drawing/2014/chart" uri="{C3380CC4-5D6E-409C-BE32-E72D297353CC}">
                <c16:uniqueId val="{00000059-2993-41DE-A2CB-63102DE87051}"/>
              </c:ext>
            </c:extLst>
          </c:dPt>
          <c:dPt>
            <c:idx val="17"/>
            <c:invertIfNegative val="1"/>
            <c:bubble3D val="0"/>
            <c:spPr>
              <a:solidFill>
                <a:srgbClr val="7ECAC4"/>
              </a:solidFill>
            </c:spPr>
            <c:extLst>
              <c:ext xmlns:c16="http://schemas.microsoft.com/office/drawing/2014/chart" uri="{C3380CC4-5D6E-409C-BE32-E72D297353CC}">
                <c16:uniqueId val="{0000005B-2993-41DE-A2CB-63102DE87051}"/>
              </c:ext>
            </c:extLst>
          </c:dPt>
          <c:dPt>
            <c:idx val="18"/>
            <c:invertIfNegative val="1"/>
            <c:bubble3D val="0"/>
            <c:spPr>
              <a:solidFill>
                <a:srgbClr val="7ECAC4"/>
              </a:solidFill>
            </c:spPr>
            <c:extLst>
              <c:ext xmlns:c16="http://schemas.microsoft.com/office/drawing/2014/chart" uri="{C3380CC4-5D6E-409C-BE32-E72D297353CC}">
                <c16:uniqueId val="{0000005D-2993-41DE-A2CB-63102DE87051}"/>
              </c:ext>
            </c:extLst>
          </c:dPt>
          <c:dPt>
            <c:idx val="19"/>
            <c:invertIfNegative val="1"/>
            <c:bubble3D val="0"/>
            <c:spPr>
              <a:solidFill>
                <a:srgbClr val="7ECAC4"/>
              </a:solidFill>
            </c:spPr>
            <c:extLst>
              <c:ext xmlns:c16="http://schemas.microsoft.com/office/drawing/2014/chart" uri="{C3380CC4-5D6E-409C-BE32-E72D297353CC}">
                <c16:uniqueId val="{0000005F-2993-41DE-A2CB-63102DE87051}"/>
              </c:ext>
            </c:extLst>
          </c:dPt>
          <c:dPt>
            <c:idx val="20"/>
            <c:invertIfNegative val="1"/>
            <c:bubble3D val="0"/>
            <c:spPr>
              <a:solidFill>
                <a:srgbClr val="7ECAC4"/>
              </a:solidFill>
            </c:spPr>
            <c:extLst>
              <c:ext xmlns:c16="http://schemas.microsoft.com/office/drawing/2014/chart" uri="{C3380CC4-5D6E-409C-BE32-E72D297353CC}">
                <c16:uniqueId val="{00000061-2993-41DE-A2CB-63102DE87051}"/>
              </c:ext>
            </c:extLst>
          </c:dPt>
          <c:dPt>
            <c:idx val="21"/>
            <c:invertIfNegative val="1"/>
            <c:bubble3D val="0"/>
            <c:spPr>
              <a:solidFill>
                <a:srgbClr val="7ECAC4"/>
              </a:solidFill>
            </c:spPr>
            <c:extLst>
              <c:ext xmlns:c16="http://schemas.microsoft.com/office/drawing/2014/chart" uri="{C3380CC4-5D6E-409C-BE32-E72D297353CC}">
                <c16:uniqueId val="{00000063-2993-41DE-A2CB-63102DE87051}"/>
              </c:ext>
            </c:extLst>
          </c:dPt>
          <c:dPt>
            <c:idx val="22"/>
            <c:invertIfNegative val="1"/>
            <c:bubble3D val="0"/>
            <c:spPr>
              <a:solidFill>
                <a:srgbClr val="7ECAC4"/>
              </a:solidFill>
            </c:spPr>
            <c:extLst>
              <c:ext xmlns:c16="http://schemas.microsoft.com/office/drawing/2014/chart" uri="{C3380CC4-5D6E-409C-BE32-E72D297353CC}">
                <c16:uniqueId val="{00000065-2993-41DE-A2CB-63102DE87051}"/>
              </c:ext>
            </c:extLst>
          </c:dPt>
          <c:dPt>
            <c:idx val="23"/>
            <c:invertIfNegative val="1"/>
            <c:bubble3D val="0"/>
            <c:spPr>
              <a:solidFill>
                <a:srgbClr val="7ECAC4"/>
              </a:solidFill>
            </c:spPr>
            <c:extLst>
              <c:ext xmlns:c16="http://schemas.microsoft.com/office/drawing/2014/chart" uri="{C3380CC4-5D6E-409C-BE32-E72D297353CC}">
                <c16:uniqueId val="{00000067-2993-41DE-A2CB-63102DE87051}"/>
              </c:ext>
            </c:extLst>
          </c:dPt>
          <c:dPt>
            <c:idx val="24"/>
            <c:invertIfNegative val="1"/>
            <c:bubble3D val="0"/>
            <c:spPr>
              <a:solidFill>
                <a:srgbClr val="7ECAC4"/>
              </a:solidFill>
            </c:spPr>
            <c:extLst>
              <c:ext xmlns:c16="http://schemas.microsoft.com/office/drawing/2014/chart" uri="{C3380CC4-5D6E-409C-BE32-E72D297353CC}">
                <c16:uniqueId val="{00000069-2993-41DE-A2CB-63102DE87051}"/>
              </c:ext>
            </c:extLst>
          </c:dPt>
          <c:dPt>
            <c:idx val="25"/>
            <c:invertIfNegative val="1"/>
            <c:bubble3D val="0"/>
            <c:spPr>
              <a:solidFill>
                <a:srgbClr val="7ECAC4"/>
              </a:solidFill>
            </c:spPr>
            <c:extLst>
              <c:ext xmlns:c16="http://schemas.microsoft.com/office/drawing/2014/chart" uri="{C3380CC4-5D6E-409C-BE32-E72D297353CC}">
                <c16:uniqueId val="{0000006B-2993-41DE-A2CB-63102DE87051}"/>
              </c:ext>
            </c:extLst>
          </c:dPt>
          <c:dPt>
            <c:idx val="26"/>
            <c:invertIfNegative val="1"/>
            <c:bubble3D val="0"/>
            <c:spPr>
              <a:solidFill>
                <a:srgbClr val="7ECAC4"/>
              </a:solidFill>
            </c:spPr>
            <c:extLst>
              <c:ext xmlns:c16="http://schemas.microsoft.com/office/drawing/2014/chart" uri="{C3380CC4-5D6E-409C-BE32-E72D297353CC}">
                <c16:uniqueId val="{0000006D-2993-41DE-A2CB-63102DE87051}"/>
              </c:ext>
            </c:extLst>
          </c:dPt>
          <c:dPt>
            <c:idx val="27"/>
            <c:invertIfNegative val="1"/>
            <c:bubble3D val="0"/>
            <c:spPr>
              <a:solidFill>
                <a:srgbClr val="AEABAB"/>
              </a:solidFill>
            </c:spPr>
            <c:extLst>
              <c:ext xmlns:c16="http://schemas.microsoft.com/office/drawing/2014/chart" uri="{C3380CC4-5D6E-409C-BE32-E72D297353CC}">
                <c16:uniqueId val="{0000006F-2993-41DE-A2CB-63102DE87051}"/>
              </c:ext>
            </c:extLst>
          </c:dPt>
          <c:dPt>
            <c:idx val="28"/>
            <c:invertIfNegative val="1"/>
            <c:bubble3D val="0"/>
            <c:spPr>
              <a:solidFill>
                <a:srgbClr val="AEABAB"/>
              </a:solidFill>
            </c:spPr>
            <c:extLst>
              <c:ext xmlns:c16="http://schemas.microsoft.com/office/drawing/2014/chart" uri="{C3380CC4-5D6E-409C-BE32-E72D297353CC}">
                <c16:uniqueId val="{00000071-2993-41DE-A2CB-63102DE87051}"/>
              </c:ext>
            </c:extLst>
          </c:dPt>
          <c:dPt>
            <c:idx val="29"/>
            <c:invertIfNegative val="1"/>
            <c:bubble3D val="0"/>
            <c:spPr>
              <a:solidFill>
                <a:srgbClr val="AEABAB"/>
              </a:solidFill>
            </c:spPr>
            <c:extLst>
              <c:ext xmlns:c16="http://schemas.microsoft.com/office/drawing/2014/chart" uri="{C3380CC4-5D6E-409C-BE32-E72D297353CC}">
                <c16:uniqueId val="{00000073-2993-41DE-A2CB-63102DE87051}"/>
              </c:ext>
            </c:extLst>
          </c:dPt>
          <c:dPt>
            <c:idx val="30"/>
            <c:invertIfNegative val="1"/>
            <c:bubble3D val="0"/>
            <c:spPr>
              <a:solidFill>
                <a:srgbClr val="AEABAB"/>
              </a:solidFill>
            </c:spPr>
            <c:extLst>
              <c:ext xmlns:c16="http://schemas.microsoft.com/office/drawing/2014/chart" uri="{C3380CC4-5D6E-409C-BE32-E72D297353CC}">
                <c16:uniqueId val="{00000075-2993-41DE-A2CB-63102DE87051}"/>
              </c:ext>
            </c:extLst>
          </c:dPt>
          <c:dPt>
            <c:idx val="31"/>
            <c:invertIfNegative val="1"/>
            <c:bubble3D val="0"/>
            <c:spPr>
              <a:solidFill>
                <a:srgbClr val="AEABAB"/>
              </a:solidFill>
            </c:spPr>
            <c:extLst>
              <c:ext xmlns:c16="http://schemas.microsoft.com/office/drawing/2014/chart" uri="{C3380CC4-5D6E-409C-BE32-E72D297353CC}">
                <c16:uniqueId val="{00000077-2993-41DE-A2CB-63102DE87051}"/>
              </c:ext>
            </c:extLst>
          </c:dPt>
          <c:dPt>
            <c:idx val="32"/>
            <c:invertIfNegative val="1"/>
            <c:bubble3D val="0"/>
            <c:spPr>
              <a:solidFill>
                <a:srgbClr val="AEABAB"/>
              </a:solidFill>
            </c:spPr>
            <c:extLst>
              <c:ext xmlns:c16="http://schemas.microsoft.com/office/drawing/2014/chart" uri="{C3380CC4-5D6E-409C-BE32-E72D297353CC}">
                <c16:uniqueId val="{00000079-2993-41DE-A2CB-63102DE87051}"/>
              </c:ext>
            </c:extLst>
          </c:dPt>
          <c:dPt>
            <c:idx val="33"/>
            <c:invertIfNegative val="1"/>
            <c:bubble3D val="0"/>
            <c:spPr>
              <a:solidFill>
                <a:srgbClr val="AEABAB"/>
              </a:solidFill>
            </c:spPr>
            <c:extLst>
              <c:ext xmlns:c16="http://schemas.microsoft.com/office/drawing/2014/chart" uri="{C3380CC4-5D6E-409C-BE32-E72D297353CC}">
                <c16:uniqueId val="{0000007B-2993-41DE-A2CB-63102DE87051}"/>
              </c:ext>
            </c:extLst>
          </c:dPt>
          <c:dPt>
            <c:idx val="34"/>
            <c:invertIfNegative val="1"/>
            <c:bubble3D val="0"/>
            <c:spPr>
              <a:solidFill>
                <a:srgbClr val="AEABAB"/>
              </a:solidFill>
            </c:spPr>
            <c:extLst>
              <c:ext xmlns:c16="http://schemas.microsoft.com/office/drawing/2014/chart" uri="{C3380CC4-5D6E-409C-BE32-E72D297353CC}">
                <c16:uniqueId val="{0000007D-2993-41DE-A2CB-63102DE87051}"/>
              </c:ext>
            </c:extLst>
          </c:dPt>
          <c:dPt>
            <c:idx val="35"/>
            <c:invertIfNegative val="1"/>
            <c:bubble3D val="0"/>
            <c:spPr>
              <a:solidFill>
                <a:srgbClr val="AEABAB"/>
              </a:solidFill>
            </c:spPr>
            <c:extLst>
              <c:ext xmlns:c16="http://schemas.microsoft.com/office/drawing/2014/chart" uri="{C3380CC4-5D6E-409C-BE32-E72D297353CC}">
                <c16:uniqueId val="{0000007F-2993-41DE-A2CB-63102DE87051}"/>
              </c:ext>
            </c:extLst>
          </c:dPt>
          <c:dPt>
            <c:idx val="36"/>
            <c:invertIfNegative val="1"/>
            <c:bubble3D val="0"/>
            <c:spPr>
              <a:solidFill>
                <a:srgbClr val="AEABAB"/>
              </a:solidFill>
            </c:spPr>
            <c:extLst>
              <c:ext xmlns:c16="http://schemas.microsoft.com/office/drawing/2014/chart" uri="{C3380CC4-5D6E-409C-BE32-E72D297353CC}">
                <c16:uniqueId val="{00000081-2993-41DE-A2CB-63102DE87051}"/>
              </c:ext>
            </c:extLst>
          </c:dPt>
          <c:dPt>
            <c:idx val="37"/>
            <c:invertIfNegative val="1"/>
            <c:bubble3D val="0"/>
            <c:spPr>
              <a:solidFill>
                <a:srgbClr val="AEABAB"/>
              </a:solidFill>
            </c:spPr>
            <c:extLst>
              <c:ext xmlns:c16="http://schemas.microsoft.com/office/drawing/2014/chart" uri="{C3380CC4-5D6E-409C-BE32-E72D297353CC}">
                <c16:uniqueId val="{00000083-2993-41DE-A2CB-63102DE87051}"/>
              </c:ext>
            </c:extLst>
          </c:dPt>
          <c:dPt>
            <c:idx val="38"/>
            <c:invertIfNegative val="1"/>
            <c:bubble3D val="0"/>
            <c:spPr>
              <a:solidFill>
                <a:srgbClr val="AEABAB"/>
              </a:solidFill>
            </c:spPr>
            <c:extLst>
              <c:ext xmlns:c16="http://schemas.microsoft.com/office/drawing/2014/chart" uri="{C3380CC4-5D6E-409C-BE32-E72D297353CC}">
                <c16:uniqueId val="{00000085-2993-41DE-A2CB-63102DE87051}"/>
              </c:ext>
            </c:extLst>
          </c:dPt>
          <c:dPt>
            <c:idx val="39"/>
            <c:invertIfNegative val="1"/>
            <c:bubble3D val="0"/>
            <c:spPr>
              <a:solidFill>
                <a:srgbClr val="AEABAB"/>
              </a:solidFill>
            </c:spPr>
            <c:extLst>
              <c:ext xmlns:c16="http://schemas.microsoft.com/office/drawing/2014/chart" uri="{C3380CC4-5D6E-409C-BE32-E72D297353CC}">
                <c16:uniqueId val="{00000087-2993-41DE-A2CB-63102DE87051}"/>
              </c:ext>
            </c:extLst>
          </c:dPt>
          <c:dPt>
            <c:idx val="40"/>
            <c:invertIfNegative val="1"/>
            <c:bubble3D val="0"/>
            <c:spPr>
              <a:solidFill>
                <a:srgbClr val="AEABAB"/>
              </a:solidFill>
            </c:spPr>
            <c:extLst>
              <c:ext xmlns:c16="http://schemas.microsoft.com/office/drawing/2014/chart" uri="{C3380CC4-5D6E-409C-BE32-E72D297353CC}">
                <c16:uniqueId val="{00000089-2993-41DE-A2CB-63102DE87051}"/>
              </c:ext>
            </c:extLst>
          </c:dPt>
          <c:dPt>
            <c:idx val="41"/>
            <c:invertIfNegative val="1"/>
            <c:bubble3D val="0"/>
            <c:spPr>
              <a:solidFill>
                <a:srgbClr val="AEABAB"/>
              </a:solidFill>
            </c:spPr>
            <c:extLst>
              <c:ext xmlns:c16="http://schemas.microsoft.com/office/drawing/2014/chart" uri="{C3380CC4-5D6E-409C-BE32-E72D297353CC}">
                <c16:uniqueId val="{0000008B-2993-41DE-A2CB-63102DE87051}"/>
              </c:ext>
            </c:extLst>
          </c:dPt>
          <c:dPt>
            <c:idx val="42"/>
            <c:invertIfNegative val="1"/>
            <c:bubble3D val="0"/>
            <c:spPr>
              <a:solidFill>
                <a:srgbClr val="AEABAB"/>
              </a:solidFill>
            </c:spPr>
            <c:extLst>
              <c:ext xmlns:c16="http://schemas.microsoft.com/office/drawing/2014/chart" uri="{C3380CC4-5D6E-409C-BE32-E72D297353CC}">
                <c16:uniqueId val="{0000008D-2993-41DE-A2CB-63102DE87051}"/>
              </c:ext>
            </c:extLst>
          </c:dPt>
          <c:dPt>
            <c:idx val="43"/>
            <c:invertIfNegative val="1"/>
            <c:bubble3D val="0"/>
            <c:spPr>
              <a:solidFill>
                <a:srgbClr val="AEABAB"/>
              </a:solidFill>
            </c:spPr>
            <c:extLst>
              <c:ext xmlns:c16="http://schemas.microsoft.com/office/drawing/2014/chart" uri="{C3380CC4-5D6E-409C-BE32-E72D297353CC}">
                <c16:uniqueId val="{0000008F-2993-41DE-A2CB-63102DE87051}"/>
              </c:ext>
            </c:extLst>
          </c:dPt>
          <c:dPt>
            <c:idx val="44"/>
            <c:invertIfNegative val="1"/>
            <c:bubble3D val="0"/>
            <c:spPr>
              <a:solidFill>
                <a:srgbClr val="AEABAB"/>
              </a:solidFill>
            </c:spPr>
            <c:extLst>
              <c:ext xmlns:c16="http://schemas.microsoft.com/office/drawing/2014/chart" uri="{C3380CC4-5D6E-409C-BE32-E72D297353CC}">
                <c16:uniqueId val="{00000091-2993-41DE-A2CB-63102DE87051}"/>
              </c:ext>
            </c:extLst>
          </c:dPt>
          <c:dPt>
            <c:idx val="45"/>
            <c:invertIfNegative val="1"/>
            <c:bubble3D val="0"/>
            <c:spPr>
              <a:solidFill>
                <a:srgbClr val="AEABAB"/>
              </a:solidFill>
            </c:spPr>
            <c:extLst>
              <c:ext xmlns:c16="http://schemas.microsoft.com/office/drawing/2014/chart" uri="{C3380CC4-5D6E-409C-BE32-E72D297353CC}">
                <c16:uniqueId val="{00000093-2993-41DE-A2CB-63102DE87051}"/>
              </c:ext>
            </c:extLst>
          </c:dPt>
          <c:dPt>
            <c:idx val="46"/>
            <c:invertIfNegative val="1"/>
            <c:bubble3D val="0"/>
            <c:spPr>
              <a:solidFill>
                <a:srgbClr val="AEABAB"/>
              </a:solidFill>
            </c:spPr>
            <c:extLst>
              <c:ext xmlns:c16="http://schemas.microsoft.com/office/drawing/2014/chart" uri="{C3380CC4-5D6E-409C-BE32-E72D297353CC}">
                <c16:uniqueId val="{00000095-2993-41DE-A2CB-63102DE87051}"/>
              </c:ext>
            </c:extLst>
          </c:dPt>
          <c:dPt>
            <c:idx val="47"/>
            <c:invertIfNegative val="1"/>
            <c:bubble3D val="0"/>
            <c:spPr>
              <a:solidFill>
                <a:srgbClr val="AEABAB"/>
              </a:solidFill>
            </c:spPr>
            <c:extLst>
              <c:ext xmlns:c16="http://schemas.microsoft.com/office/drawing/2014/chart" uri="{C3380CC4-5D6E-409C-BE32-E72D297353CC}">
                <c16:uniqueId val="{00000097-2993-41DE-A2CB-63102DE87051}"/>
              </c:ext>
            </c:extLst>
          </c:dPt>
          <c:dPt>
            <c:idx val="48"/>
            <c:invertIfNegative val="1"/>
            <c:bubble3D val="0"/>
            <c:spPr>
              <a:solidFill>
                <a:srgbClr val="AEABAB"/>
              </a:solidFill>
            </c:spPr>
            <c:extLst>
              <c:ext xmlns:c16="http://schemas.microsoft.com/office/drawing/2014/chart" uri="{C3380CC4-5D6E-409C-BE32-E72D297353CC}">
                <c16:uniqueId val="{00000099-2993-41DE-A2CB-63102DE87051}"/>
              </c:ext>
            </c:extLst>
          </c:dPt>
          <c:dPt>
            <c:idx val="49"/>
            <c:invertIfNegative val="1"/>
            <c:bubble3D val="0"/>
            <c:spPr>
              <a:solidFill>
                <a:srgbClr val="AEABAB"/>
              </a:solidFill>
            </c:spPr>
            <c:extLst>
              <c:ext xmlns:c16="http://schemas.microsoft.com/office/drawing/2014/chart" uri="{C3380CC4-5D6E-409C-BE32-E72D297353CC}">
                <c16:uniqueId val="{0000009B-2993-41DE-A2CB-63102DE87051}"/>
              </c:ext>
            </c:extLst>
          </c:dPt>
          <c:dPt>
            <c:idx val="50"/>
            <c:invertIfNegative val="1"/>
            <c:bubble3D val="0"/>
            <c:spPr>
              <a:solidFill>
                <a:srgbClr val="AEABAB"/>
              </a:solidFill>
            </c:spPr>
            <c:extLst>
              <c:ext xmlns:c16="http://schemas.microsoft.com/office/drawing/2014/chart" uri="{C3380CC4-5D6E-409C-BE32-E72D297353CC}">
                <c16:uniqueId val="{0000009D-2993-41DE-A2CB-63102DE87051}"/>
              </c:ext>
            </c:extLst>
          </c:dPt>
          <c:dPt>
            <c:idx val="51"/>
            <c:invertIfNegative val="1"/>
            <c:bubble3D val="0"/>
            <c:spPr>
              <a:solidFill>
                <a:srgbClr val="AEABAB"/>
              </a:solidFill>
            </c:spPr>
            <c:extLst>
              <c:ext xmlns:c16="http://schemas.microsoft.com/office/drawing/2014/chart" uri="{C3380CC4-5D6E-409C-BE32-E72D297353CC}">
                <c16:uniqueId val="{0000009F-2993-41DE-A2CB-63102DE87051}"/>
              </c:ext>
            </c:extLst>
          </c:dPt>
          <c:dPt>
            <c:idx val="52"/>
            <c:invertIfNegative val="1"/>
            <c:bubble3D val="0"/>
            <c:spPr>
              <a:solidFill>
                <a:srgbClr val="AEABAB"/>
              </a:solidFill>
            </c:spPr>
            <c:extLst>
              <c:ext xmlns:c16="http://schemas.microsoft.com/office/drawing/2014/chart" uri="{C3380CC4-5D6E-409C-BE32-E72D297353CC}">
                <c16:uniqueId val="{000000A1-2993-41DE-A2CB-63102DE87051}"/>
              </c:ext>
            </c:extLst>
          </c:dPt>
          <c:dPt>
            <c:idx val="53"/>
            <c:invertIfNegative val="1"/>
            <c:bubble3D val="0"/>
            <c:spPr>
              <a:solidFill>
                <a:srgbClr val="AEABAB"/>
              </a:solidFill>
            </c:spPr>
            <c:extLst>
              <c:ext xmlns:c16="http://schemas.microsoft.com/office/drawing/2014/chart" uri="{C3380CC4-5D6E-409C-BE32-E72D297353CC}">
                <c16:uniqueId val="{000000A3-2993-41DE-A2CB-63102DE87051}"/>
              </c:ext>
            </c:extLst>
          </c:dPt>
          <c:dPt>
            <c:idx val="54"/>
            <c:invertIfNegative val="0"/>
            <c:bubble3D val="0"/>
            <c:spPr>
              <a:solidFill>
                <a:srgbClr val="AEABAB"/>
              </a:solidFill>
            </c:spPr>
            <c:extLst>
              <c:ext xmlns:c16="http://schemas.microsoft.com/office/drawing/2014/chart" uri="{C3380CC4-5D6E-409C-BE32-E72D297353CC}">
                <c16:uniqueId val="{00000072-C76F-4230-900D-40618C09729F}"/>
              </c:ext>
            </c:extLst>
          </c:dPt>
          <c:dPt>
            <c:idx val="55"/>
            <c:invertIfNegative val="0"/>
            <c:bubble3D val="0"/>
            <c:spPr>
              <a:solidFill>
                <a:srgbClr val="AEABAB"/>
              </a:solidFill>
            </c:spPr>
            <c:extLst>
              <c:ext xmlns:c16="http://schemas.microsoft.com/office/drawing/2014/chart" uri="{C3380CC4-5D6E-409C-BE32-E72D297353CC}">
                <c16:uniqueId val="{00000074-C76F-4230-900D-40618C09729F}"/>
              </c:ext>
            </c:extLst>
          </c:dPt>
          <c:dPt>
            <c:idx val="56"/>
            <c:invertIfNegative val="0"/>
            <c:bubble3D val="0"/>
            <c:spPr>
              <a:solidFill>
                <a:srgbClr val="AEABAB"/>
              </a:solidFill>
            </c:spPr>
            <c:extLst>
              <c:ext xmlns:c16="http://schemas.microsoft.com/office/drawing/2014/chart" uri="{C3380CC4-5D6E-409C-BE32-E72D297353CC}">
                <c16:uniqueId val="{00000076-C76F-4230-900D-40618C09729F}"/>
              </c:ext>
            </c:extLst>
          </c:dPt>
          <c:dPt>
            <c:idx val="57"/>
            <c:invertIfNegative val="0"/>
            <c:bubble3D val="0"/>
            <c:spPr>
              <a:solidFill>
                <a:srgbClr val="AEABAB"/>
              </a:solidFill>
            </c:spPr>
            <c:extLst>
              <c:ext xmlns:c16="http://schemas.microsoft.com/office/drawing/2014/chart" uri="{C3380CC4-5D6E-409C-BE32-E72D297353CC}">
                <c16:uniqueId val="{00000078-C76F-4230-900D-40618C09729F}"/>
              </c:ext>
            </c:extLst>
          </c:dPt>
          <c:dPt>
            <c:idx val="58"/>
            <c:invertIfNegative val="0"/>
            <c:bubble3D val="0"/>
            <c:spPr>
              <a:solidFill>
                <a:srgbClr val="AEABAB"/>
              </a:solidFill>
            </c:spPr>
            <c:extLst>
              <c:ext xmlns:c16="http://schemas.microsoft.com/office/drawing/2014/chart" uri="{C3380CC4-5D6E-409C-BE32-E72D297353CC}">
                <c16:uniqueId val="{0000007A-C76F-4230-900D-40618C09729F}"/>
              </c:ext>
            </c:extLst>
          </c:dPt>
          <c:dPt>
            <c:idx val="59"/>
            <c:invertIfNegative val="0"/>
            <c:bubble3D val="0"/>
            <c:spPr>
              <a:solidFill>
                <a:srgbClr val="AEABAB"/>
              </a:solidFill>
            </c:spPr>
            <c:extLst>
              <c:ext xmlns:c16="http://schemas.microsoft.com/office/drawing/2014/chart" uri="{C3380CC4-5D6E-409C-BE32-E72D297353CC}">
                <c16:uniqueId val="{0000007C-C76F-4230-900D-40618C09729F}"/>
              </c:ext>
            </c:extLst>
          </c:dPt>
          <c:dPt>
            <c:idx val="60"/>
            <c:invertIfNegative val="0"/>
            <c:bubble3D val="0"/>
            <c:spPr>
              <a:solidFill>
                <a:srgbClr val="AEABAB"/>
              </a:solidFill>
            </c:spPr>
            <c:extLst>
              <c:ext xmlns:c16="http://schemas.microsoft.com/office/drawing/2014/chart" uri="{C3380CC4-5D6E-409C-BE32-E72D297353CC}">
                <c16:uniqueId val="{0000007E-C76F-4230-900D-40618C09729F}"/>
              </c:ext>
            </c:extLst>
          </c:dPt>
          <c:dPt>
            <c:idx val="61"/>
            <c:invertIfNegative val="0"/>
            <c:bubble3D val="0"/>
            <c:spPr>
              <a:solidFill>
                <a:srgbClr val="AEABAB"/>
              </a:solidFill>
            </c:spPr>
            <c:extLst>
              <c:ext xmlns:c16="http://schemas.microsoft.com/office/drawing/2014/chart" uri="{C3380CC4-5D6E-409C-BE32-E72D297353CC}">
                <c16:uniqueId val="{00000080-C76F-4230-900D-40618C09729F}"/>
              </c:ext>
            </c:extLst>
          </c:dPt>
          <c:dPt>
            <c:idx val="62"/>
            <c:invertIfNegative val="0"/>
            <c:bubble3D val="0"/>
            <c:spPr>
              <a:solidFill>
                <a:srgbClr val="AEABAB"/>
              </a:solidFill>
            </c:spPr>
            <c:extLst>
              <c:ext xmlns:c16="http://schemas.microsoft.com/office/drawing/2014/chart" uri="{C3380CC4-5D6E-409C-BE32-E72D297353CC}">
                <c16:uniqueId val="{00000082-C76F-4230-900D-40618C09729F}"/>
              </c:ext>
            </c:extLst>
          </c:dPt>
          <c:dPt>
            <c:idx val="63"/>
            <c:invertIfNegative val="0"/>
            <c:bubble3D val="0"/>
            <c:spPr>
              <a:solidFill>
                <a:srgbClr val="AEABAB"/>
              </a:solidFill>
            </c:spPr>
            <c:extLst>
              <c:ext xmlns:c16="http://schemas.microsoft.com/office/drawing/2014/chart" uri="{C3380CC4-5D6E-409C-BE32-E72D297353CC}">
                <c16:uniqueId val="{00000084-C76F-4230-900D-40618C09729F}"/>
              </c:ext>
            </c:extLst>
          </c:dPt>
          <c:dPt>
            <c:idx val="64"/>
            <c:invertIfNegative val="0"/>
            <c:bubble3D val="0"/>
            <c:spPr>
              <a:solidFill>
                <a:srgbClr val="AEABAB"/>
              </a:solidFill>
            </c:spPr>
            <c:extLst>
              <c:ext xmlns:c16="http://schemas.microsoft.com/office/drawing/2014/chart" uri="{C3380CC4-5D6E-409C-BE32-E72D297353CC}">
                <c16:uniqueId val="{00000086-C76F-4230-900D-40618C09729F}"/>
              </c:ext>
            </c:extLst>
          </c:dPt>
          <c:dPt>
            <c:idx val="65"/>
            <c:invertIfNegative val="0"/>
            <c:bubble3D val="0"/>
            <c:spPr>
              <a:solidFill>
                <a:srgbClr val="AEABAB"/>
              </a:solidFill>
            </c:spPr>
            <c:extLst>
              <c:ext xmlns:c16="http://schemas.microsoft.com/office/drawing/2014/chart" uri="{C3380CC4-5D6E-409C-BE32-E72D297353CC}">
                <c16:uniqueId val="{00000088-C76F-4230-900D-40618C09729F}"/>
              </c:ext>
            </c:extLst>
          </c:dPt>
          <c:dPt>
            <c:idx val="66"/>
            <c:invertIfNegative val="0"/>
            <c:bubble3D val="0"/>
            <c:spPr>
              <a:solidFill>
                <a:srgbClr val="AEABAB"/>
              </a:solidFill>
            </c:spPr>
            <c:extLst>
              <c:ext xmlns:c16="http://schemas.microsoft.com/office/drawing/2014/chart" uri="{C3380CC4-5D6E-409C-BE32-E72D297353CC}">
                <c16:uniqueId val="{0000008A-C76F-4230-900D-40618C09729F}"/>
              </c:ext>
            </c:extLst>
          </c:dPt>
          <c:dPt>
            <c:idx val="67"/>
            <c:invertIfNegative val="0"/>
            <c:bubble3D val="0"/>
            <c:spPr>
              <a:solidFill>
                <a:srgbClr val="AEABAB"/>
              </a:solidFill>
            </c:spPr>
            <c:extLst>
              <c:ext xmlns:c16="http://schemas.microsoft.com/office/drawing/2014/chart" uri="{C3380CC4-5D6E-409C-BE32-E72D297353CC}">
                <c16:uniqueId val="{0000008C-C76F-4230-900D-40618C09729F}"/>
              </c:ext>
            </c:extLst>
          </c:dPt>
          <c:dPt>
            <c:idx val="68"/>
            <c:invertIfNegative val="0"/>
            <c:bubble3D val="0"/>
            <c:spPr>
              <a:solidFill>
                <a:srgbClr val="AEABAB"/>
              </a:solidFill>
            </c:spPr>
            <c:extLst>
              <c:ext xmlns:c16="http://schemas.microsoft.com/office/drawing/2014/chart" uri="{C3380CC4-5D6E-409C-BE32-E72D297353CC}">
                <c16:uniqueId val="{0000008E-C76F-4230-900D-40618C09729F}"/>
              </c:ext>
            </c:extLst>
          </c:dPt>
          <c:dPt>
            <c:idx val="69"/>
            <c:invertIfNegative val="0"/>
            <c:bubble3D val="0"/>
            <c:spPr>
              <a:solidFill>
                <a:srgbClr val="AEABAB"/>
              </a:solidFill>
            </c:spPr>
            <c:extLst>
              <c:ext xmlns:c16="http://schemas.microsoft.com/office/drawing/2014/chart" uri="{C3380CC4-5D6E-409C-BE32-E72D297353CC}">
                <c16:uniqueId val="{00000090-C76F-4230-900D-40618C09729F}"/>
              </c:ext>
            </c:extLst>
          </c:dPt>
          <c:dPt>
            <c:idx val="70"/>
            <c:invertIfNegative val="0"/>
            <c:bubble3D val="0"/>
            <c:spPr>
              <a:solidFill>
                <a:srgbClr val="AEABAB"/>
              </a:solidFill>
            </c:spPr>
            <c:extLst>
              <c:ext xmlns:c16="http://schemas.microsoft.com/office/drawing/2014/chart" uri="{C3380CC4-5D6E-409C-BE32-E72D297353CC}">
                <c16:uniqueId val="{00000092-C76F-4230-900D-40618C09729F}"/>
              </c:ext>
            </c:extLst>
          </c:dPt>
          <c:dPt>
            <c:idx val="71"/>
            <c:invertIfNegative val="0"/>
            <c:bubble3D val="0"/>
            <c:spPr>
              <a:solidFill>
                <a:srgbClr val="AEABAB"/>
              </a:solidFill>
            </c:spPr>
            <c:extLst>
              <c:ext xmlns:c16="http://schemas.microsoft.com/office/drawing/2014/chart" uri="{C3380CC4-5D6E-409C-BE32-E72D297353CC}">
                <c16:uniqueId val="{00000094-C76F-4230-900D-40618C09729F}"/>
              </c:ext>
            </c:extLst>
          </c:dPt>
          <c:dPt>
            <c:idx val="72"/>
            <c:invertIfNegative val="0"/>
            <c:bubble3D val="0"/>
            <c:spPr>
              <a:solidFill>
                <a:srgbClr val="AEABAB"/>
              </a:solidFill>
            </c:spPr>
            <c:extLst>
              <c:ext xmlns:c16="http://schemas.microsoft.com/office/drawing/2014/chart" uri="{C3380CC4-5D6E-409C-BE32-E72D297353CC}">
                <c16:uniqueId val="{00000096-C76F-4230-900D-40618C09729F}"/>
              </c:ext>
            </c:extLst>
          </c:dPt>
          <c:dPt>
            <c:idx val="73"/>
            <c:invertIfNegative val="0"/>
            <c:bubble3D val="0"/>
            <c:spPr>
              <a:solidFill>
                <a:srgbClr val="AEABAB"/>
              </a:solidFill>
            </c:spPr>
            <c:extLst>
              <c:ext xmlns:c16="http://schemas.microsoft.com/office/drawing/2014/chart" uri="{C3380CC4-5D6E-409C-BE32-E72D297353CC}">
                <c16:uniqueId val="{00000098-C76F-4230-900D-40618C09729F}"/>
              </c:ext>
            </c:extLst>
          </c:dPt>
          <c:dPt>
            <c:idx val="74"/>
            <c:invertIfNegative val="0"/>
            <c:bubble3D val="0"/>
            <c:spPr>
              <a:solidFill>
                <a:srgbClr val="AEABAB"/>
              </a:solidFill>
            </c:spPr>
            <c:extLst>
              <c:ext xmlns:c16="http://schemas.microsoft.com/office/drawing/2014/chart" uri="{C3380CC4-5D6E-409C-BE32-E72D297353CC}">
                <c16:uniqueId val="{0000009A-C76F-4230-900D-40618C09729F}"/>
              </c:ext>
            </c:extLst>
          </c:dPt>
          <c:dPt>
            <c:idx val="75"/>
            <c:invertIfNegative val="0"/>
            <c:bubble3D val="0"/>
            <c:spPr>
              <a:solidFill>
                <a:srgbClr val="AEABAB"/>
              </a:solidFill>
            </c:spPr>
            <c:extLst>
              <c:ext xmlns:c16="http://schemas.microsoft.com/office/drawing/2014/chart" uri="{C3380CC4-5D6E-409C-BE32-E72D297353CC}">
                <c16:uniqueId val="{0000009C-C76F-4230-900D-40618C09729F}"/>
              </c:ext>
            </c:extLst>
          </c:dPt>
          <c:dPt>
            <c:idx val="76"/>
            <c:invertIfNegative val="0"/>
            <c:bubble3D val="0"/>
            <c:spPr>
              <a:solidFill>
                <a:srgbClr val="AEABAB"/>
              </a:solidFill>
            </c:spPr>
            <c:extLst>
              <c:ext xmlns:c16="http://schemas.microsoft.com/office/drawing/2014/chart" uri="{C3380CC4-5D6E-409C-BE32-E72D297353CC}">
                <c16:uniqueId val="{0000009E-C76F-4230-900D-40618C09729F}"/>
              </c:ext>
            </c:extLst>
          </c:dPt>
          <c:dPt>
            <c:idx val="77"/>
            <c:invertIfNegative val="0"/>
            <c:bubble3D val="0"/>
            <c:spPr>
              <a:solidFill>
                <a:srgbClr val="AEABAB"/>
              </a:solidFill>
            </c:spPr>
            <c:extLst>
              <c:ext xmlns:c16="http://schemas.microsoft.com/office/drawing/2014/chart" uri="{C3380CC4-5D6E-409C-BE32-E72D297353CC}">
                <c16:uniqueId val="{000000A0-C76F-4230-900D-40618C09729F}"/>
              </c:ext>
            </c:extLst>
          </c:dPt>
          <c:dPt>
            <c:idx val="78"/>
            <c:invertIfNegative val="0"/>
            <c:bubble3D val="0"/>
            <c:spPr>
              <a:solidFill>
                <a:srgbClr val="AEABAB"/>
              </a:solidFill>
            </c:spPr>
            <c:extLst>
              <c:ext xmlns:c16="http://schemas.microsoft.com/office/drawing/2014/chart" uri="{C3380CC4-5D6E-409C-BE32-E72D297353CC}">
                <c16:uniqueId val="{000000A2-C76F-4230-900D-40618C09729F}"/>
              </c:ext>
            </c:extLst>
          </c:dPt>
          <c:dPt>
            <c:idx val="79"/>
            <c:invertIfNegative val="0"/>
            <c:bubble3D val="0"/>
            <c:spPr>
              <a:solidFill>
                <a:srgbClr val="AEABAB"/>
              </a:solidFill>
            </c:spPr>
            <c:extLst>
              <c:ext xmlns:c16="http://schemas.microsoft.com/office/drawing/2014/chart" uri="{C3380CC4-5D6E-409C-BE32-E72D297353CC}">
                <c16:uniqueId val="{000000A4-C76F-4230-900D-40618C09729F}"/>
              </c:ext>
            </c:extLst>
          </c:dPt>
          <c:dPt>
            <c:idx val="80"/>
            <c:invertIfNegative val="0"/>
            <c:bubble3D val="0"/>
            <c:spPr>
              <a:solidFill>
                <a:srgbClr val="AEABAB"/>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82</c:f>
              <c:strCache>
                <c:ptCount val="81"/>
                <c:pt idx="0">
                  <c:v>Dom Perigno</c:v>
                </c:pt>
                <c:pt idx="1">
                  <c:v>Dom Perigno</c:v>
                </c:pt>
                <c:pt idx="2">
                  <c:v>Roederer</c:v>
                </c:pt>
                <c:pt idx="3">
                  <c:v>Malard</c:v>
                </c:pt>
                <c:pt idx="4">
                  <c:v>Roederer</c:v>
                </c:pt>
                <c:pt idx="5">
                  <c:v>Roederer</c:v>
                </c:pt>
                <c:pt idx="6">
                  <c:v>Ruinart</c:v>
                </c:pt>
                <c:pt idx="7">
                  <c:v>Roederer</c:v>
                </c:pt>
                <c:pt idx="8">
                  <c:v>Ruinart</c:v>
                </c:pt>
                <c:pt idx="9">
                  <c:v>Dom Perigno</c:v>
                </c:pt>
                <c:pt idx="10">
                  <c:v>Laurent Per</c:v>
                </c:pt>
                <c:pt idx="11">
                  <c:v>Bollinger</c:v>
                </c:pt>
                <c:pt idx="12">
                  <c:v>Roederer</c:v>
                </c:pt>
                <c:pt idx="13">
                  <c:v>Ruinart</c:v>
                </c:pt>
                <c:pt idx="14">
                  <c:v>Roederer</c:v>
                </c:pt>
                <c:pt idx="15">
                  <c:v>Dom Perigno</c:v>
                </c:pt>
                <c:pt idx="16">
                  <c:v>Perrier Jou</c:v>
                </c:pt>
                <c:pt idx="17">
                  <c:v>Pommery</c:v>
                </c:pt>
                <c:pt idx="18">
                  <c:v>Veuve Clicq</c:v>
                </c:pt>
                <c:pt idx="19">
                  <c:v>Veuve Clicq</c:v>
                </c:pt>
                <c:pt idx="20">
                  <c:v>Roederer</c:v>
                </c:pt>
                <c:pt idx="21">
                  <c:v>Dom Perigno</c:v>
                </c:pt>
                <c:pt idx="22">
                  <c:v>Bollinger</c:v>
                </c:pt>
                <c:pt idx="23">
                  <c:v>Piper Heids</c:v>
                </c:pt>
                <c:pt idx="24">
                  <c:v>Piper Heids</c:v>
                </c:pt>
                <c:pt idx="25">
                  <c:v>All Others</c:v>
                </c:pt>
                <c:pt idx="26">
                  <c:v>Roederer</c:v>
                </c:pt>
                <c:pt idx="27">
                  <c:v>Dom Perigno</c:v>
                </c:pt>
                <c:pt idx="28">
                  <c:v>De Venoge</c:v>
                </c:pt>
                <c:pt idx="29">
                  <c:v>Laurent Per</c:v>
                </c:pt>
                <c:pt idx="30">
                  <c:v>Lanson</c:v>
                </c:pt>
                <c:pt idx="31">
                  <c:v>Roederer</c:v>
                </c:pt>
                <c:pt idx="32">
                  <c:v>Pommery</c:v>
                </c:pt>
                <c:pt idx="33">
                  <c:v>De Venoge</c:v>
                </c:pt>
                <c:pt idx="34">
                  <c:v>All Others</c:v>
                </c:pt>
                <c:pt idx="35">
                  <c:v>All Others</c:v>
                </c:pt>
                <c:pt idx="36">
                  <c:v>Dom Perigno</c:v>
                </c:pt>
                <c:pt idx="37">
                  <c:v>Roederer</c:v>
                </c:pt>
                <c:pt idx="38">
                  <c:v>Roederer</c:v>
                </c:pt>
                <c:pt idx="39">
                  <c:v>Veuve Clicq</c:v>
                </c:pt>
                <c:pt idx="40">
                  <c:v>Bollinger</c:v>
                </c:pt>
                <c:pt idx="41">
                  <c:v>Pommery</c:v>
                </c:pt>
                <c:pt idx="42">
                  <c:v>Veuve Clicq</c:v>
                </c:pt>
                <c:pt idx="43">
                  <c:v>Deutz</c:v>
                </c:pt>
                <c:pt idx="44">
                  <c:v>Ruinart</c:v>
                </c:pt>
                <c:pt idx="45">
                  <c:v>Perrier Jou</c:v>
                </c:pt>
                <c:pt idx="46">
                  <c:v>All Others</c:v>
                </c:pt>
                <c:pt idx="47">
                  <c:v>Bollinger</c:v>
                </c:pt>
                <c:pt idx="48">
                  <c:v>Malard</c:v>
                </c:pt>
                <c:pt idx="49">
                  <c:v>Pommery</c:v>
                </c:pt>
                <c:pt idx="50">
                  <c:v>Ruinart</c:v>
                </c:pt>
                <c:pt idx="51">
                  <c:v>All Others</c:v>
                </c:pt>
                <c:pt idx="52">
                  <c:v>Roederer</c:v>
                </c:pt>
                <c:pt idx="53">
                  <c:v>Laurent Per</c:v>
                </c:pt>
                <c:pt idx="54">
                  <c:v>Perrier Jou</c:v>
                </c:pt>
                <c:pt idx="55">
                  <c:v>Vesselle</c:v>
                </c:pt>
                <c:pt idx="56">
                  <c:v>Bollinger</c:v>
                </c:pt>
                <c:pt idx="57">
                  <c:v>Dom Perigno</c:v>
                </c:pt>
                <c:pt idx="58">
                  <c:v>Krug</c:v>
                </c:pt>
                <c:pt idx="59">
                  <c:v>Moët &amp; Chan</c:v>
                </c:pt>
                <c:pt idx="60">
                  <c:v>Nicolas Feu</c:v>
                </c:pt>
                <c:pt idx="61">
                  <c:v>Dom Perigno</c:v>
                </c:pt>
                <c:pt idx="62">
                  <c:v>Veuve Clicq</c:v>
                </c:pt>
                <c:pt idx="63">
                  <c:v>All Others</c:v>
                </c:pt>
                <c:pt idx="64">
                  <c:v>Roederer</c:v>
                </c:pt>
                <c:pt idx="65">
                  <c:v>All Others</c:v>
                </c:pt>
                <c:pt idx="66">
                  <c:v>Krug</c:v>
                </c:pt>
                <c:pt idx="67">
                  <c:v>Henriot</c:v>
                </c:pt>
                <c:pt idx="68">
                  <c:v>De Venoge</c:v>
                </c:pt>
                <c:pt idx="69">
                  <c:v>Deutz</c:v>
                </c:pt>
                <c:pt idx="70">
                  <c:v>Krug</c:v>
                </c:pt>
                <c:pt idx="71">
                  <c:v>Moët &amp; Chan</c:v>
                </c:pt>
                <c:pt idx="72">
                  <c:v>Bollinger</c:v>
                </c:pt>
                <c:pt idx="73">
                  <c:v>Roederer</c:v>
                </c:pt>
                <c:pt idx="74">
                  <c:v>Laurent Per</c:v>
                </c:pt>
                <c:pt idx="75">
                  <c:v>Mumm</c:v>
                </c:pt>
                <c:pt idx="76">
                  <c:v>Malard</c:v>
                </c:pt>
                <c:pt idx="77">
                  <c:v>Canard Duch</c:v>
                </c:pt>
                <c:pt idx="78">
                  <c:v>Vesselle</c:v>
                </c:pt>
                <c:pt idx="79">
                  <c:v>Piper Heids</c:v>
                </c:pt>
                <c:pt idx="80">
                  <c:v>All Others</c:v>
                </c:pt>
              </c:strCache>
            </c:strRef>
          </c:cat>
          <c:val>
            <c:numRef>
              <c:f>Sheet1!$C$2:$C$82</c:f>
              <c:numCache>
                <c:formatCode>General</c:formatCode>
                <c:ptCount val="81"/>
                <c:pt idx="0">
                  <c:v>0.20339842950923326</c:v>
                </c:pt>
                <c:pt idx="1">
                  <c:v>0.35999827980585053</c:v>
                </c:pt>
                <c:pt idx="2">
                  <c:v>0.44182663697394603</c:v>
                </c:pt>
                <c:pt idx="3">
                  <c:v>0.52129902553326013</c:v>
                </c:pt>
                <c:pt idx="4">
                  <c:v>0.56917040150261278</c:v>
                </c:pt>
                <c:pt idx="5">
                  <c:v>0.61676050248265857</c:v>
                </c:pt>
                <c:pt idx="6">
                  <c:v>0.65627092128019637</c:v>
                </c:pt>
                <c:pt idx="7">
                  <c:v>0.69470040726758786</c:v>
                </c:pt>
                <c:pt idx="8">
                  <c:v>0.7323494132743199</c:v>
                </c:pt>
                <c:pt idx="9">
                  <c:v>0.7695311773566661</c:v>
                </c:pt>
                <c:pt idx="10">
                  <c:v>0.79635923232849215</c:v>
                </c:pt>
                <c:pt idx="11">
                  <c:v>0.82067440909006395</c:v>
                </c:pt>
                <c:pt idx="12">
                  <c:v>0.84006436780540439</c:v>
                </c:pt>
                <c:pt idx="13">
                  <c:v>0.85394273148234268</c:v>
                </c:pt>
                <c:pt idx="14">
                  <c:v>0.86527799732207633</c:v>
                </c:pt>
                <c:pt idx="15">
                  <c:v>0.87659059844159726</c:v>
                </c:pt>
                <c:pt idx="16">
                  <c:v>0.88578491994123465</c:v>
                </c:pt>
                <c:pt idx="17">
                  <c:v>0.89401395681847784</c:v>
                </c:pt>
                <c:pt idx="18">
                  <c:v>0.90178272553140071</c:v>
                </c:pt>
                <c:pt idx="19">
                  <c:v>0.90954684507094663</c:v>
                </c:pt>
                <c:pt idx="20">
                  <c:v>0.91646772078924388</c:v>
                </c:pt>
                <c:pt idx="21">
                  <c:v>0.92312766165175852</c:v>
                </c:pt>
                <c:pt idx="22">
                  <c:v>0.9295307356851954</c:v>
                </c:pt>
                <c:pt idx="23">
                  <c:v>0.93565311587599742</c:v>
                </c:pt>
                <c:pt idx="24">
                  <c:v>0.94173597809309517</c:v>
                </c:pt>
                <c:pt idx="25">
                  <c:v>0.94573601063730883</c:v>
                </c:pt>
                <c:pt idx="26">
                  <c:v>0.948969510720994</c:v>
                </c:pt>
                <c:pt idx="27">
                  <c:v>0.95216291168430278</c:v>
                </c:pt>
                <c:pt idx="28">
                  <c:v>0.9550785245383373</c:v>
                </c:pt>
                <c:pt idx="29">
                  <c:v>0.95766869525598375</c:v>
                </c:pt>
                <c:pt idx="30">
                  <c:v>0.95997468525096263</c:v>
                </c:pt>
                <c:pt idx="31">
                  <c:v>0.96227544492589245</c:v>
                </c:pt>
                <c:pt idx="32">
                  <c:v>0.96447799081323371</c:v>
                </c:pt>
                <c:pt idx="33">
                  <c:v>0.96634753965744924</c:v>
                </c:pt>
                <c:pt idx="34">
                  <c:v>0.96820837130158288</c:v>
                </c:pt>
                <c:pt idx="35">
                  <c:v>0.96999249158499645</c:v>
                </c:pt>
                <c:pt idx="36">
                  <c:v>0.97158483346660995</c:v>
                </c:pt>
                <c:pt idx="37">
                  <c:v>0.97310627545422457</c:v>
                </c:pt>
                <c:pt idx="38">
                  <c:v>0.97462364941513435</c:v>
                </c:pt>
                <c:pt idx="39">
                  <c:v>0.97613404961597861</c:v>
                </c:pt>
                <c:pt idx="40">
                  <c:v>0.97747068696185846</c:v>
                </c:pt>
                <c:pt idx="41">
                  <c:v>0.97875327766723108</c:v>
                </c:pt>
                <c:pt idx="42">
                  <c:v>0.97997368567868659</c:v>
                </c:pt>
                <c:pt idx="43">
                  <c:v>0.98114527736968393</c:v>
                </c:pt>
                <c:pt idx="44">
                  <c:v>0.98229478548714066</c:v>
                </c:pt>
                <c:pt idx="45">
                  <c:v>0.98330365610994397</c:v>
                </c:pt>
                <c:pt idx="46">
                  <c:v>0.98426138582560052</c:v>
                </c:pt>
                <c:pt idx="47">
                  <c:v>0.98520865490115894</c:v>
                </c:pt>
                <c:pt idx="48">
                  <c:v>0.98610362077622637</c:v>
                </c:pt>
                <c:pt idx="49">
                  <c:v>0.98697824651776955</c:v>
                </c:pt>
                <c:pt idx="50">
                  <c:v>0.98774884700500287</c:v>
                </c:pt>
                <c:pt idx="51">
                  <c:v>0.988379972290927</c:v>
                </c:pt>
                <c:pt idx="52">
                  <c:v>0.98900179923009723</c:v>
                </c:pt>
                <c:pt idx="53">
                  <c:v>0.99070281553939743</c:v>
                </c:pt>
                <c:pt idx="54">
                  <c:v>0.99125432373124089</c:v>
                </c:pt>
                <c:pt idx="55">
                  <c:v>0.99178200490952739</c:v>
                </c:pt>
                <c:pt idx="56">
                  <c:v>0.99229864430104353</c:v>
                </c:pt>
                <c:pt idx="57">
                  <c:v>0.99270544697152874</c:v>
                </c:pt>
                <c:pt idx="58">
                  <c:v>0.99348767039220454</c:v>
                </c:pt>
                <c:pt idx="59">
                  <c:v>0.99386367228906725</c:v>
                </c:pt>
                <c:pt idx="60">
                  <c:v>0.99486615029847714</c:v>
                </c:pt>
                <c:pt idx="61">
                  <c:v>0.99518578096814403</c:v>
                </c:pt>
                <c:pt idx="62">
                  <c:v>0.99549553214438491</c:v>
                </c:pt>
                <c:pt idx="63">
                  <c:v>0.99579191694716696</c:v>
                </c:pt>
                <c:pt idx="64">
                  <c:v>0.99634516857902689</c:v>
                </c:pt>
                <c:pt idx="65">
                  <c:v>0.99660900916817019</c:v>
                </c:pt>
                <c:pt idx="66">
                  <c:v>0.99687168746396915</c:v>
                </c:pt>
                <c:pt idx="67">
                  <c:v>0.99712739199970268</c:v>
                </c:pt>
                <c:pt idx="68">
                  <c:v>0.9973761227753708</c:v>
                </c:pt>
                <c:pt idx="69">
                  <c:v>0.99762369125769468</c:v>
                </c:pt>
                <c:pt idx="70">
                  <c:v>0.99786196139326455</c:v>
                </c:pt>
                <c:pt idx="71">
                  <c:v>0.99830653859743768</c:v>
                </c:pt>
                <c:pt idx="72">
                  <c:v>0.99850703419931963</c:v>
                </c:pt>
                <c:pt idx="73">
                  <c:v>0.9986953257210871</c:v>
                </c:pt>
                <c:pt idx="74">
                  <c:v>0.99912886113848987</c:v>
                </c:pt>
                <c:pt idx="75">
                  <c:v>0.9993717804474368</c:v>
                </c:pt>
                <c:pt idx="76">
                  <c:v>0.9994804548751236</c:v>
                </c:pt>
                <c:pt idx="77">
                  <c:v>0.99958448012943335</c:v>
                </c:pt>
                <c:pt idx="78">
                  <c:v>0.99967455786361226</c:v>
                </c:pt>
                <c:pt idx="79">
                  <c:v>0.9997599864244141</c:v>
                </c:pt>
                <c:pt idx="80">
                  <c:v>0.99995641399959123</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49</c:f>
              <c:strCache>
                <c:ptCount val="48"/>
                <c:pt idx="0">
                  <c:v>Dom Perigno</c:v>
                </c:pt>
                <c:pt idx="1">
                  <c:v>Dom Perigno</c:v>
                </c:pt>
                <c:pt idx="2">
                  <c:v>Roederer</c:v>
                </c:pt>
                <c:pt idx="3">
                  <c:v>Roederer</c:v>
                </c:pt>
                <c:pt idx="4">
                  <c:v>Malard</c:v>
                </c:pt>
                <c:pt idx="5">
                  <c:v>Ruinart</c:v>
                </c:pt>
                <c:pt idx="6">
                  <c:v>Roederer</c:v>
                </c:pt>
                <c:pt idx="7">
                  <c:v>Dom Perigno</c:v>
                </c:pt>
                <c:pt idx="8">
                  <c:v>Roederer</c:v>
                </c:pt>
                <c:pt idx="9">
                  <c:v>Perrier Jou</c:v>
                </c:pt>
                <c:pt idx="10">
                  <c:v>Ruinart</c:v>
                </c:pt>
                <c:pt idx="11">
                  <c:v>Roederer</c:v>
                </c:pt>
                <c:pt idx="12">
                  <c:v>Bollinger</c:v>
                </c:pt>
                <c:pt idx="13">
                  <c:v>Ruinart</c:v>
                </c:pt>
                <c:pt idx="14">
                  <c:v>Laurent Per</c:v>
                </c:pt>
                <c:pt idx="15">
                  <c:v>Piper Heids</c:v>
                </c:pt>
                <c:pt idx="16">
                  <c:v>Dom Perigno</c:v>
                </c:pt>
                <c:pt idx="17">
                  <c:v>Roederer</c:v>
                </c:pt>
                <c:pt idx="18">
                  <c:v>Piper Heids</c:v>
                </c:pt>
                <c:pt idx="19">
                  <c:v>Pommery</c:v>
                </c:pt>
                <c:pt idx="20">
                  <c:v>Dom Perigno</c:v>
                </c:pt>
                <c:pt idx="21">
                  <c:v>Roederer</c:v>
                </c:pt>
                <c:pt idx="22">
                  <c:v>Veuve Clicq</c:v>
                </c:pt>
                <c:pt idx="23">
                  <c:v>Roederer</c:v>
                </c:pt>
                <c:pt idx="24">
                  <c:v>Bollinger</c:v>
                </c:pt>
                <c:pt idx="25">
                  <c:v>De Venoge</c:v>
                </c:pt>
                <c:pt idx="26">
                  <c:v>Nicolas Feu</c:v>
                </c:pt>
                <c:pt idx="27">
                  <c:v>All Others</c:v>
                </c:pt>
                <c:pt idx="28">
                  <c:v>Roederer</c:v>
                </c:pt>
                <c:pt idx="29">
                  <c:v>All Others</c:v>
                </c:pt>
                <c:pt idx="30">
                  <c:v>Dom Perigno</c:v>
                </c:pt>
                <c:pt idx="31">
                  <c:v>Ruinart</c:v>
                </c:pt>
                <c:pt idx="32">
                  <c:v>Roederer</c:v>
                </c:pt>
                <c:pt idx="33">
                  <c:v>Krug</c:v>
                </c:pt>
                <c:pt idx="34">
                  <c:v>Ruinart</c:v>
                </c:pt>
                <c:pt idx="35">
                  <c:v>Bollinger</c:v>
                </c:pt>
                <c:pt idx="36">
                  <c:v>De Venoge</c:v>
                </c:pt>
                <c:pt idx="37">
                  <c:v>De Venoge</c:v>
                </c:pt>
                <c:pt idx="38">
                  <c:v>Bollinger</c:v>
                </c:pt>
                <c:pt idx="39">
                  <c:v>Laurent Per</c:v>
                </c:pt>
                <c:pt idx="40">
                  <c:v>All Others</c:v>
                </c:pt>
                <c:pt idx="41">
                  <c:v>Roederer</c:v>
                </c:pt>
                <c:pt idx="42">
                  <c:v>Lanson</c:v>
                </c:pt>
                <c:pt idx="43">
                  <c:v>Malard</c:v>
                </c:pt>
                <c:pt idx="44">
                  <c:v>Vesselle</c:v>
                </c:pt>
                <c:pt idx="45">
                  <c:v>Roederer</c:v>
                </c:pt>
                <c:pt idx="46">
                  <c:v>Roederer</c:v>
                </c:pt>
                <c:pt idx="47">
                  <c:v>Laurent Per</c:v>
                </c:pt>
              </c:strCache>
            </c:strRef>
          </c:cat>
          <c:val>
            <c:numRef>
              <c:f>Sheet1!$B$2:$B$49</c:f>
              <c:numCache>
                <c:formatCode>General</c:formatCode>
                <c:ptCount val="48"/>
                <c:pt idx="0">
                  <c:v>0.48</c:v>
                </c:pt>
                <c:pt idx="1">
                  <c:v>0.5</c:v>
                </c:pt>
                <c:pt idx="2">
                  <c:v>0.28000000000000003</c:v>
                </c:pt>
                <c:pt idx="3">
                  <c:v>0.27</c:v>
                </c:pt>
                <c:pt idx="4">
                  <c:v>0.42</c:v>
                </c:pt>
                <c:pt idx="5">
                  <c:v>0.23</c:v>
                </c:pt>
                <c:pt idx="6">
                  <c:v>0.35</c:v>
                </c:pt>
                <c:pt idx="7">
                  <c:v>0.28000000000000003</c:v>
                </c:pt>
                <c:pt idx="8">
                  <c:v>0.23</c:v>
                </c:pt>
                <c:pt idx="9">
                  <c:v>0.15</c:v>
                </c:pt>
                <c:pt idx="10">
                  <c:v>0.36</c:v>
                </c:pt>
                <c:pt idx="11">
                  <c:v>0.22</c:v>
                </c:pt>
                <c:pt idx="12">
                  <c:v>0.24</c:v>
                </c:pt>
                <c:pt idx="13">
                  <c:v>0.17</c:v>
                </c:pt>
                <c:pt idx="14">
                  <c:v>0.21</c:v>
                </c:pt>
                <c:pt idx="15">
                  <c:v>0.06</c:v>
                </c:pt>
                <c:pt idx="16">
                  <c:v>7.0000000000000007E-2</c:v>
                </c:pt>
                <c:pt idx="17">
                  <c:v>0.17</c:v>
                </c:pt>
                <c:pt idx="18">
                  <c:v>0.08</c:v>
                </c:pt>
                <c:pt idx="19">
                  <c:v>0.2</c:v>
                </c:pt>
                <c:pt idx="20">
                  <c:v>0.17</c:v>
                </c:pt>
                <c:pt idx="21">
                  <c:v>0.05</c:v>
                </c:pt>
                <c:pt idx="22">
                  <c:v>0.13</c:v>
                </c:pt>
                <c:pt idx="23">
                  <c:v>0.14000000000000001</c:v>
                </c:pt>
                <c:pt idx="24">
                  <c:v>0.03</c:v>
                </c:pt>
                <c:pt idx="25">
                  <c:v>0.09</c:v>
                </c:pt>
                <c:pt idx="26">
                  <c:v>0.1</c:v>
                </c:pt>
                <c:pt idx="27">
                  <c:v>0.03</c:v>
                </c:pt>
                <c:pt idx="28">
                  <c:v>0.04</c:v>
                </c:pt>
                <c:pt idx="29">
                  <c:v>0.06</c:v>
                </c:pt>
                <c:pt idx="30">
                  <c:v>7.0000000000000007E-2</c:v>
                </c:pt>
                <c:pt idx="31">
                  <c:v>0.02</c:v>
                </c:pt>
                <c:pt idx="32">
                  <c:v>0.08</c:v>
                </c:pt>
                <c:pt idx="33">
                  <c:v>0.16</c:v>
                </c:pt>
                <c:pt idx="34">
                  <c:v>0.02</c:v>
                </c:pt>
                <c:pt idx="35">
                  <c:v>0.17</c:v>
                </c:pt>
                <c:pt idx="36">
                  <c:v>0.04</c:v>
                </c:pt>
                <c:pt idx="37">
                  <c:v>7.0000000000000007E-2</c:v>
                </c:pt>
                <c:pt idx="38">
                  <c:v>0.04</c:v>
                </c:pt>
                <c:pt idx="39">
                  <c:v>7.0000000000000007E-2</c:v>
                </c:pt>
                <c:pt idx="40">
                  <c:v>0.03</c:v>
                </c:pt>
                <c:pt idx="41">
                  <c:v>0.04</c:v>
                </c:pt>
                <c:pt idx="42">
                  <c:v>0.03</c:v>
                </c:pt>
                <c:pt idx="43">
                  <c:v>0.03</c:v>
                </c:pt>
                <c:pt idx="44">
                  <c:v>0.17</c:v>
                </c:pt>
                <c:pt idx="45">
                  <c:v>0.02</c:v>
                </c:pt>
                <c:pt idx="46">
                  <c:v>0.02</c:v>
                </c:pt>
                <c:pt idx="47">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7ECAC4"/>
              </a:solidFill>
            </c:spPr>
            <c:extLst>
              <c:ext xmlns:c16="http://schemas.microsoft.com/office/drawing/2014/chart" uri="{C3380CC4-5D6E-409C-BE32-E72D297353CC}">
                <c16:uniqueId val="{0000004D-2993-41DE-A2CB-63102DE87051}"/>
              </c:ext>
            </c:extLst>
          </c:dPt>
          <c:dPt>
            <c:idx val="11"/>
            <c:invertIfNegative val="1"/>
            <c:bubble3D val="0"/>
            <c:spPr>
              <a:solidFill>
                <a:srgbClr val="7ECAC4"/>
              </a:solidFill>
            </c:spPr>
            <c:extLst>
              <c:ext xmlns:c16="http://schemas.microsoft.com/office/drawing/2014/chart" uri="{C3380CC4-5D6E-409C-BE32-E72D297353CC}">
                <c16:uniqueId val="{0000004F-2993-41DE-A2CB-63102DE87051}"/>
              </c:ext>
            </c:extLst>
          </c:dPt>
          <c:dPt>
            <c:idx val="12"/>
            <c:invertIfNegative val="1"/>
            <c:bubble3D val="0"/>
            <c:spPr>
              <a:solidFill>
                <a:srgbClr val="7ECAC4"/>
              </a:solidFill>
            </c:spPr>
            <c:extLst>
              <c:ext xmlns:c16="http://schemas.microsoft.com/office/drawing/2014/chart" uri="{C3380CC4-5D6E-409C-BE32-E72D297353CC}">
                <c16:uniqueId val="{00000051-2993-41DE-A2CB-63102DE87051}"/>
              </c:ext>
            </c:extLst>
          </c:dPt>
          <c:dPt>
            <c:idx val="13"/>
            <c:invertIfNegative val="1"/>
            <c:bubble3D val="0"/>
            <c:spPr>
              <a:solidFill>
                <a:srgbClr val="7ECAC4"/>
              </a:solidFill>
            </c:spPr>
            <c:extLst>
              <c:ext xmlns:c16="http://schemas.microsoft.com/office/drawing/2014/chart" uri="{C3380CC4-5D6E-409C-BE32-E72D297353CC}">
                <c16:uniqueId val="{00000053-2993-41DE-A2CB-63102DE87051}"/>
              </c:ext>
            </c:extLst>
          </c:dPt>
          <c:dPt>
            <c:idx val="14"/>
            <c:invertIfNegative val="1"/>
            <c:bubble3D val="0"/>
            <c:spPr>
              <a:solidFill>
                <a:srgbClr val="7ECAC4"/>
              </a:solidFill>
            </c:spPr>
            <c:extLst>
              <c:ext xmlns:c16="http://schemas.microsoft.com/office/drawing/2014/chart" uri="{C3380CC4-5D6E-409C-BE32-E72D297353CC}">
                <c16:uniqueId val="{00000055-2993-41DE-A2CB-63102DE87051}"/>
              </c:ext>
            </c:extLst>
          </c:dPt>
          <c:dPt>
            <c:idx val="15"/>
            <c:invertIfNegative val="1"/>
            <c:bubble3D val="0"/>
            <c:spPr>
              <a:solidFill>
                <a:srgbClr val="7ECAC4"/>
              </a:solidFill>
            </c:spPr>
            <c:extLst>
              <c:ext xmlns:c16="http://schemas.microsoft.com/office/drawing/2014/chart" uri="{C3380CC4-5D6E-409C-BE32-E72D297353CC}">
                <c16:uniqueId val="{00000057-2993-41DE-A2CB-63102DE87051}"/>
              </c:ext>
            </c:extLst>
          </c:dPt>
          <c:dPt>
            <c:idx val="16"/>
            <c:invertIfNegative val="1"/>
            <c:bubble3D val="0"/>
            <c:spPr>
              <a:solidFill>
                <a:srgbClr val="7ECAC4"/>
              </a:solidFill>
            </c:spPr>
            <c:extLst>
              <c:ext xmlns:c16="http://schemas.microsoft.com/office/drawing/2014/chart" uri="{C3380CC4-5D6E-409C-BE32-E72D297353CC}">
                <c16:uniqueId val="{00000059-2993-41DE-A2CB-63102DE87051}"/>
              </c:ext>
            </c:extLst>
          </c:dPt>
          <c:dPt>
            <c:idx val="17"/>
            <c:invertIfNegative val="1"/>
            <c:bubble3D val="0"/>
            <c:spPr>
              <a:solidFill>
                <a:srgbClr val="7ECAC4"/>
              </a:solidFill>
            </c:spPr>
            <c:extLst>
              <c:ext xmlns:c16="http://schemas.microsoft.com/office/drawing/2014/chart" uri="{C3380CC4-5D6E-409C-BE32-E72D297353CC}">
                <c16:uniqueId val="{0000005B-2993-41DE-A2CB-63102DE87051}"/>
              </c:ext>
            </c:extLst>
          </c:dPt>
          <c:dPt>
            <c:idx val="18"/>
            <c:invertIfNegative val="1"/>
            <c:bubble3D val="0"/>
            <c:spPr>
              <a:solidFill>
                <a:srgbClr val="7ECAC4"/>
              </a:solidFill>
            </c:spPr>
            <c:extLst>
              <c:ext xmlns:c16="http://schemas.microsoft.com/office/drawing/2014/chart" uri="{C3380CC4-5D6E-409C-BE32-E72D297353CC}">
                <c16:uniqueId val="{0000005D-2993-41DE-A2CB-63102DE87051}"/>
              </c:ext>
            </c:extLst>
          </c:dPt>
          <c:dPt>
            <c:idx val="19"/>
            <c:invertIfNegative val="1"/>
            <c:bubble3D val="0"/>
            <c:spPr>
              <a:solidFill>
                <a:srgbClr val="AEABAB"/>
              </a:solidFill>
            </c:spPr>
            <c:extLst>
              <c:ext xmlns:c16="http://schemas.microsoft.com/office/drawing/2014/chart" uri="{C3380CC4-5D6E-409C-BE32-E72D297353CC}">
                <c16:uniqueId val="{0000005F-2993-41DE-A2CB-63102DE87051}"/>
              </c:ext>
            </c:extLst>
          </c:dPt>
          <c:dPt>
            <c:idx val="20"/>
            <c:invertIfNegative val="1"/>
            <c:bubble3D val="0"/>
            <c:spPr>
              <a:solidFill>
                <a:srgbClr val="AEABAB"/>
              </a:solidFill>
            </c:spPr>
            <c:extLst>
              <c:ext xmlns:c16="http://schemas.microsoft.com/office/drawing/2014/chart" uri="{C3380CC4-5D6E-409C-BE32-E72D297353CC}">
                <c16:uniqueId val="{00000061-2993-41DE-A2CB-63102DE87051}"/>
              </c:ext>
            </c:extLst>
          </c:dPt>
          <c:dPt>
            <c:idx val="21"/>
            <c:invertIfNegative val="1"/>
            <c:bubble3D val="0"/>
            <c:spPr>
              <a:solidFill>
                <a:srgbClr val="AEABAB"/>
              </a:solidFill>
            </c:spPr>
            <c:extLst>
              <c:ext xmlns:c16="http://schemas.microsoft.com/office/drawing/2014/chart" uri="{C3380CC4-5D6E-409C-BE32-E72D297353CC}">
                <c16:uniqueId val="{00000063-2993-41DE-A2CB-63102DE87051}"/>
              </c:ext>
            </c:extLst>
          </c:dPt>
          <c:dPt>
            <c:idx val="22"/>
            <c:invertIfNegative val="1"/>
            <c:bubble3D val="0"/>
            <c:spPr>
              <a:solidFill>
                <a:srgbClr val="AEABAB"/>
              </a:solidFill>
            </c:spPr>
            <c:extLst>
              <c:ext xmlns:c16="http://schemas.microsoft.com/office/drawing/2014/chart" uri="{C3380CC4-5D6E-409C-BE32-E72D297353CC}">
                <c16:uniqueId val="{00000065-2993-41DE-A2CB-63102DE87051}"/>
              </c:ext>
            </c:extLst>
          </c:dPt>
          <c:dPt>
            <c:idx val="23"/>
            <c:invertIfNegative val="1"/>
            <c:bubble3D val="0"/>
            <c:spPr>
              <a:solidFill>
                <a:srgbClr val="AEABAB"/>
              </a:solidFill>
            </c:spPr>
            <c:extLst>
              <c:ext xmlns:c16="http://schemas.microsoft.com/office/drawing/2014/chart" uri="{C3380CC4-5D6E-409C-BE32-E72D297353CC}">
                <c16:uniqueId val="{00000067-2993-41DE-A2CB-63102DE87051}"/>
              </c:ext>
            </c:extLst>
          </c:dPt>
          <c:dPt>
            <c:idx val="24"/>
            <c:invertIfNegative val="1"/>
            <c:bubble3D val="0"/>
            <c:spPr>
              <a:solidFill>
                <a:srgbClr val="AEABAB"/>
              </a:solidFill>
            </c:spPr>
            <c:extLst>
              <c:ext xmlns:c16="http://schemas.microsoft.com/office/drawing/2014/chart" uri="{C3380CC4-5D6E-409C-BE32-E72D297353CC}">
                <c16:uniqueId val="{00000069-2993-41DE-A2CB-63102DE87051}"/>
              </c:ext>
            </c:extLst>
          </c:dPt>
          <c:dPt>
            <c:idx val="25"/>
            <c:invertIfNegative val="1"/>
            <c:bubble3D val="0"/>
            <c:spPr>
              <a:solidFill>
                <a:srgbClr val="AEABAB"/>
              </a:solidFill>
            </c:spPr>
            <c:extLst>
              <c:ext xmlns:c16="http://schemas.microsoft.com/office/drawing/2014/chart" uri="{C3380CC4-5D6E-409C-BE32-E72D297353CC}">
                <c16:uniqueId val="{0000006B-2993-41DE-A2CB-63102DE87051}"/>
              </c:ext>
            </c:extLst>
          </c:dPt>
          <c:dPt>
            <c:idx val="26"/>
            <c:invertIfNegative val="1"/>
            <c:bubble3D val="0"/>
            <c:spPr>
              <a:solidFill>
                <a:srgbClr val="AEABAB"/>
              </a:solidFill>
            </c:spPr>
            <c:extLst>
              <c:ext xmlns:c16="http://schemas.microsoft.com/office/drawing/2014/chart" uri="{C3380CC4-5D6E-409C-BE32-E72D297353CC}">
                <c16:uniqueId val="{0000006D-2993-41DE-A2CB-63102DE87051}"/>
              </c:ext>
            </c:extLst>
          </c:dPt>
          <c:dPt>
            <c:idx val="27"/>
            <c:invertIfNegative val="1"/>
            <c:bubble3D val="0"/>
            <c:spPr>
              <a:solidFill>
                <a:srgbClr val="AEABAB"/>
              </a:solidFill>
            </c:spPr>
            <c:extLst>
              <c:ext xmlns:c16="http://schemas.microsoft.com/office/drawing/2014/chart" uri="{C3380CC4-5D6E-409C-BE32-E72D297353CC}">
                <c16:uniqueId val="{0000006F-2993-41DE-A2CB-63102DE87051}"/>
              </c:ext>
            </c:extLst>
          </c:dPt>
          <c:dPt>
            <c:idx val="28"/>
            <c:invertIfNegative val="1"/>
            <c:bubble3D val="0"/>
            <c:spPr>
              <a:solidFill>
                <a:srgbClr val="AEABAB"/>
              </a:solidFill>
            </c:spPr>
            <c:extLst>
              <c:ext xmlns:c16="http://schemas.microsoft.com/office/drawing/2014/chart" uri="{C3380CC4-5D6E-409C-BE32-E72D297353CC}">
                <c16:uniqueId val="{00000071-2993-41DE-A2CB-63102DE87051}"/>
              </c:ext>
            </c:extLst>
          </c:dPt>
          <c:dPt>
            <c:idx val="29"/>
            <c:invertIfNegative val="1"/>
            <c:bubble3D val="0"/>
            <c:spPr>
              <a:solidFill>
                <a:srgbClr val="AEABAB"/>
              </a:solidFill>
            </c:spPr>
            <c:extLst>
              <c:ext xmlns:c16="http://schemas.microsoft.com/office/drawing/2014/chart" uri="{C3380CC4-5D6E-409C-BE32-E72D297353CC}">
                <c16:uniqueId val="{00000073-2993-41DE-A2CB-63102DE87051}"/>
              </c:ext>
            </c:extLst>
          </c:dPt>
          <c:dPt>
            <c:idx val="30"/>
            <c:invertIfNegative val="1"/>
            <c:bubble3D val="0"/>
            <c:spPr>
              <a:solidFill>
                <a:srgbClr val="AEABAB"/>
              </a:solidFill>
            </c:spPr>
            <c:extLst>
              <c:ext xmlns:c16="http://schemas.microsoft.com/office/drawing/2014/chart" uri="{C3380CC4-5D6E-409C-BE32-E72D297353CC}">
                <c16:uniqueId val="{00000075-2993-41DE-A2CB-63102DE87051}"/>
              </c:ext>
            </c:extLst>
          </c:dPt>
          <c:dPt>
            <c:idx val="31"/>
            <c:invertIfNegative val="1"/>
            <c:bubble3D val="0"/>
            <c:spPr>
              <a:solidFill>
                <a:srgbClr val="AEABAB"/>
              </a:solidFill>
            </c:spPr>
            <c:extLst>
              <c:ext xmlns:c16="http://schemas.microsoft.com/office/drawing/2014/chart" uri="{C3380CC4-5D6E-409C-BE32-E72D297353CC}">
                <c16:uniqueId val="{00000077-2993-41DE-A2CB-63102DE87051}"/>
              </c:ext>
            </c:extLst>
          </c:dPt>
          <c:dPt>
            <c:idx val="32"/>
            <c:invertIfNegative val="1"/>
            <c:bubble3D val="0"/>
            <c:spPr>
              <a:solidFill>
                <a:srgbClr val="AEABAB"/>
              </a:solidFill>
            </c:spPr>
            <c:extLst>
              <c:ext xmlns:c16="http://schemas.microsoft.com/office/drawing/2014/chart" uri="{C3380CC4-5D6E-409C-BE32-E72D297353CC}">
                <c16:uniqueId val="{00000079-2993-41DE-A2CB-63102DE87051}"/>
              </c:ext>
            </c:extLst>
          </c:dPt>
          <c:dPt>
            <c:idx val="33"/>
            <c:invertIfNegative val="1"/>
            <c:bubble3D val="0"/>
            <c:spPr>
              <a:solidFill>
                <a:srgbClr val="AEABAB"/>
              </a:solidFill>
            </c:spPr>
            <c:extLst>
              <c:ext xmlns:c16="http://schemas.microsoft.com/office/drawing/2014/chart" uri="{C3380CC4-5D6E-409C-BE32-E72D297353CC}">
                <c16:uniqueId val="{0000007B-2993-41DE-A2CB-63102DE87051}"/>
              </c:ext>
            </c:extLst>
          </c:dPt>
          <c:dPt>
            <c:idx val="34"/>
            <c:invertIfNegative val="1"/>
            <c:bubble3D val="0"/>
            <c:spPr>
              <a:solidFill>
                <a:srgbClr val="AEABAB"/>
              </a:solidFill>
            </c:spPr>
            <c:extLst>
              <c:ext xmlns:c16="http://schemas.microsoft.com/office/drawing/2014/chart" uri="{C3380CC4-5D6E-409C-BE32-E72D297353CC}">
                <c16:uniqueId val="{0000007D-2993-41DE-A2CB-63102DE87051}"/>
              </c:ext>
            </c:extLst>
          </c:dPt>
          <c:dPt>
            <c:idx val="35"/>
            <c:invertIfNegative val="1"/>
            <c:bubble3D val="0"/>
            <c:spPr>
              <a:solidFill>
                <a:srgbClr val="AEABAB"/>
              </a:solidFill>
            </c:spPr>
            <c:extLst>
              <c:ext xmlns:c16="http://schemas.microsoft.com/office/drawing/2014/chart" uri="{C3380CC4-5D6E-409C-BE32-E72D297353CC}">
                <c16:uniqueId val="{0000007F-2993-41DE-A2CB-63102DE87051}"/>
              </c:ext>
            </c:extLst>
          </c:dPt>
          <c:dPt>
            <c:idx val="36"/>
            <c:invertIfNegative val="1"/>
            <c:bubble3D val="0"/>
            <c:spPr>
              <a:solidFill>
                <a:srgbClr val="AEABAB"/>
              </a:solidFill>
            </c:spPr>
            <c:extLst>
              <c:ext xmlns:c16="http://schemas.microsoft.com/office/drawing/2014/chart" uri="{C3380CC4-5D6E-409C-BE32-E72D297353CC}">
                <c16:uniqueId val="{00000081-2993-41DE-A2CB-63102DE87051}"/>
              </c:ext>
            </c:extLst>
          </c:dPt>
          <c:dPt>
            <c:idx val="37"/>
            <c:invertIfNegative val="1"/>
            <c:bubble3D val="0"/>
            <c:spPr>
              <a:solidFill>
                <a:srgbClr val="AEABAB"/>
              </a:solidFill>
            </c:spPr>
            <c:extLst>
              <c:ext xmlns:c16="http://schemas.microsoft.com/office/drawing/2014/chart" uri="{C3380CC4-5D6E-409C-BE32-E72D297353CC}">
                <c16:uniqueId val="{00000083-2993-41DE-A2CB-63102DE87051}"/>
              </c:ext>
            </c:extLst>
          </c:dPt>
          <c:dPt>
            <c:idx val="38"/>
            <c:invertIfNegative val="1"/>
            <c:bubble3D val="0"/>
            <c:spPr>
              <a:solidFill>
                <a:srgbClr val="AEABAB"/>
              </a:solidFill>
            </c:spPr>
            <c:extLst>
              <c:ext xmlns:c16="http://schemas.microsoft.com/office/drawing/2014/chart" uri="{C3380CC4-5D6E-409C-BE32-E72D297353CC}">
                <c16:uniqueId val="{00000085-2993-41DE-A2CB-63102DE87051}"/>
              </c:ext>
            </c:extLst>
          </c:dPt>
          <c:dPt>
            <c:idx val="39"/>
            <c:invertIfNegative val="1"/>
            <c:bubble3D val="0"/>
            <c:spPr>
              <a:solidFill>
                <a:srgbClr val="AEABAB"/>
              </a:solidFill>
            </c:spPr>
            <c:extLst>
              <c:ext xmlns:c16="http://schemas.microsoft.com/office/drawing/2014/chart" uri="{C3380CC4-5D6E-409C-BE32-E72D297353CC}">
                <c16:uniqueId val="{00000087-2993-41DE-A2CB-63102DE87051}"/>
              </c:ext>
            </c:extLst>
          </c:dPt>
          <c:dPt>
            <c:idx val="40"/>
            <c:invertIfNegative val="1"/>
            <c:bubble3D val="0"/>
            <c:spPr>
              <a:solidFill>
                <a:srgbClr val="AEABAB"/>
              </a:solidFill>
            </c:spPr>
            <c:extLst>
              <c:ext xmlns:c16="http://schemas.microsoft.com/office/drawing/2014/chart" uri="{C3380CC4-5D6E-409C-BE32-E72D297353CC}">
                <c16:uniqueId val="{00000089-2993-41DE-A2CB-63102DE87051}"/>
              </c:ext>
            </c:extLst>
          </c:dPt>
          <c:dPt>
            <c:idx val="41"/>
            <c:invertIfNegative val="1"/>
            <c:bubble3D val="0"/>
            <c:spPr>
              <a:solidFill>
                <a:srgbClr val="AEABAB"/>
              </a:solidFill>
            </c:spPr>
            <c:extLst>
              <c:ext xmlns:c16="http://schemas.microsoft.com/office/drawing/2014/chart" uri="{C3380CC4-5D6E-409C-BE32-E72D297353CC}">
                <c16:uniqueId val="{0000008B-2993-41DE-A2CB-63102DE87051}"/>
              </c:ext>
            </c:extLst>
          </c:dPt>
          <c:dPt>
            <c:idx val="42"/>
            <c:invertIfNegative val="1"/>
            <c:bubble3D val="0"/>
            <c:spPr>
              <a:solidFill>
                <a:srgbClr val="AEABAB"/>
              </a:solidFill>
            </c:spPr>
            <c:extLst>
              <c:ext xmlns:c16="http://schemas.microsoft.com/office/drawing/2014/chart" uri="{C3380CC4-5D6E-409C-BE32-E72D297353CC}">
                <c16:uniqueId val="{0000008D-2993-41DE-A2CB-63102DE87051}"/>
              </c:ext>
            </c:extLst>
          </c:dPt>
          <c:dPt>
            <c:idx val="43"/>
            <c:invertIfNegative val="1"/>
            <c:bubble3D val="0"/>
            <c:spPr>
              <a:solidFill>
                <a:srgbClr val="AEABAB"/>
              </a:solidFill>
            </c:spPr>
            <c:extLst>
              <c:ext xmlns:c16="http://schemas.microsoft.com/office/drawing/2014/chart" uri="{C3380CC4-5D6E-409C-BE32-E72D297353CC}">
                <c16:uniqueId val="{0000008F-2993-41DE-A2CB-63102DE87051}"/>
              </c:ext>
            </c:extLst>
          </c:dPt>
          <c:dPt>
            <c:idx val="44"/>
            <c:invertIfNegative val="1"/>
            <c:bubble3D val="0"/>
            <c:spPr>
              <a:solidFill>
                <a:srgbClr val="AEABAB"/>
              </a:solidFill>
            </c:spPr>
            <c:extLst>
              <c:ext xmlns:c16="http://schemas.microsoft.com/office/drawing/2014/chart" uri="{C3380CC4-5D6E-409C-BE32-E72D297353CC}">
                <c16:uniqueId val="{00000091-2993-41DE-A2CB-63102DE87051}"/>
              </c:ext>
            </c:extLst>
          </c:dPt>
          <c:dPt>
            <c:idx val="45"/>
            <c:invertIfNegative val="1"/>
            <c:bubble3D val="0"/>
            <c:spPr>
              <a:solidFill>
                <a:srgbClr val="AEABAB"/>
              </a:solidFill>
            </c:spPr>
            <c:extLst>
              <c:ext xmlns:c16="http://schemas.microsoft.com/office/drawing/2014/chart" uri="{C3380CC4-5D6E-409C-BE32-E72D297353CC}">
                <c16:uniqueId val="{00000093-2993-41DE-A2CB-63102DE87051}"/>
              </c:ext>
            </c:extLst>
          </c:dPt>
          <c:dPt>
            <c:idx val="46"/>
            <c:invertIfNegative val="1"/>
            <c:bubble3D val="0"/>
            <c:spPr>
              <a:solidFill>
                <a:srgbClr val="AEABAB"/>
              </a:solidFill>
            </c:spPr>
            <c:extLst>
              <c:ext xmlns:c16="http://schemas.microsoft.com/office/drawing/2014/chart" uri="{C3380CC4-5D6E-409C-BE32-E72D297353CC}">
                <c16:uniqueId val="{00000095-2993-41DE-A2CB-63102DE87051}"/>
              </c:ext>
            </c:extLst>
          </c:dPt>
          <c:dPt>
            <c:idx val="47"/>
            <c:invertIfNegative val="1"/>
            <c:bubble3D val="0"/>
            <c:spPr>
              <a:solidFill>
                <a:srgbClr val="AEABAB"/>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49</c:f>
              <c:strCache>
                <c:ptCount val="48"/>
                <c:pt idx="0">
                  <c:v>Dom Perigno</c:v>
                </c:pt>
                <c:pt idx="1">
                  <c:v>Dom Perigno</c:v>
                </c:pt>
                <c:pt idx="2">
                  <c:v>Roederer</c:v>
                </c:pt>
                <c:pt idx="3">
                  <c:v>Roederer</c:v>
                </c:pt>
                <c:pt idx="4">
                  <c:v>Malard</c:v>
                </c:pt>
                <c:pt idx="5">
                  <c:v>Ruinart</c:v>
                </c:pt>
                <c:pt idx="6">
                  <c:v>Roederer</c:v>
                </c:pt>
                <c:pt idx="7">
                  <c:v>Dom Perigno</c:v>
                </c:pt>
                <c:pt idx="8">
                  <c:v>Roederer</c:v>
                </c:pt>
                <c:pt idx="9">
                  <c:v>Perrier Jou</c:v>
                </c:pt>
                <c:pt idx="10">
                  <c:v>Ruinart</c:v>
                </c:pt>
                <c:pt idx="11">
                  <c:v>Roederer</c:v>
                </c:pt>
                <c:pt idx="12">
                  <c:v>Bollinger</c:v>
                </c:pt>
                <c:pt idx="13">
                  <c:v>Ruinart</c:v>
                </c:pt>
                <c:pt idx="14">
                  <c:v>Laurent Per</c:v>
                </c:pt>
                <c:pt idx="15">
                  <c:v>Piper Heids</c:v>
                </c:pt>
                <c:pt idx="16">
                  <c:v>Dom Perigno</c:v>
                </c:pt>
                <c:pt idx="17">
                  <c:v>Roederer</c:v>
                </c:pt>
                <c:pt idx="18">
                  <c:v>Piper Heids</c:v>
                </c:pt>
                <c:pt idx="19">
                  <c:v>Pommery</c:v>
                </c:pt>
                <c:pt idx="20">
                  <c:v>Dom Perigno</c:v>
                </c:pt>
                <c:pt idx="21">
                  <c:v>Roederer</c:v>
                </c:pt>
                <c:pt idx="22">
                  <c:v>Veuve Clicq</c:v>
                </c:pt>
                <c:pt idx="23">
                  <c:v>Roederer</c:v>
                </c:pt>
                <c:pt idx="24">
                  <c:v>Bollinger</c:v>
                </c:pt>
                <c:pt idx="25">
                  <c:v>De Venoge</c:v>
                </c:pt>
                <c:pt idx="26">
                  <c:v>Nicolas Feu</c:v>
                </c:pt>
                <c:pt idx="27">
                  <c:v>All Others</c:v>
                </c:pt>
                <c:pt idx="28">
                  <c:v>Roederer</c:v>
                </c:pt>
                <c:pt idx="29">
                  <c:v>All Others</c:v>
                </c:pt>
                <c:pt idx="30">
                  <c:v>Dom Perigno</c:v>
                </c:pt>
                <c:pt idx="31">
                  <c:v>Ruinart</c:v>
                </c:pt>
                <c:pt idx="32">
                  <c:v>Roederer</c:v>
                </c:pt>
                <c:pt idx="33">
                  <c:v>Krug</c:v>
                </c:pt>
                <c:pt idx="34">
                  <c:v>Ruinart</c:v>
                </c:pt>
                <c:pt idx="35">
                  <c:v>Bollinger</c:v>
                </c:pt>
                <c:pt idx="36">
                  <c:v>De Venoge</c:v>
                </c:pt>
                <c:pt idx="37">
                  <c:v>De Venoge</c:v>
                </c:pt>
                <c:pt idx="38">
                  <c:v>Bollinger</c:v>
                </c:pt>
                <c:pt idx="39">
                  <c:v>Laurent Per</c:v>
                </c:pt>
                <c:pt idx="40">
                  <c:v>All Others</c:v>
                </c:pt>
                <c:pt idx="41">
                  <c:v>Roederer</c:v>
                </c:pt>
                <c:pt idx="42">
                  <c:v>Lanson</c:v>
                </c:pt>
                <c:pt idx="43">
                  <c:v>Malard</c:v>
                </c:pt>
                <c:pt idx="44">
                  <c:v>Vesselle</c:v>
                </c:pt>
                <c:pt idx="45">
                  <c:v>Roederer</c:v>
                </c:pt>
                <c:pt idx="46">
                  <c:v>Roederer</c:v>
                </c:pt>
                <c:pt idx="47">
                  <c:v>Laurent Per</c:v>
                </c:pt>
              </c:strCache>
            </c:strRef>
          </c:cat>
          <c:val>
            <c:numRef>
              <c:f>Sheet1!$C$2:$C$49</c:f>
              <c:numCache>
                <c:formatCode>General</c:formatCode>
                <c:ptCount val="48"/>
                <c:pt idx="0">
                  <c:v>0.27400422521838208</c:v>
                </c:pt>
                <c:pt idx="1">
                  <c:v>0.48785843144701863</c:v>
                </c:pt>
                <c:pt idx="2">
                  <c:v>0.58876222464868977</c:v>
                </c:pt>
                <c:pt idx="3">
                  <c:v>0.62840331845803277</c:v>
                </c:pt>
                <c:pt idx="4">
                  <c:v>0.66363226357766814</c:v>
                </c:pt>
                <c:pt idx="5">
                  <c:v>0.69741620774781621</c:v>
                </c:pt>
                <c:pt idx="6">
                  <c:v>0.72795112514242311</c:v>
                </c:pt>
                <c:pt idx="7">
                  <c:v>0.75776502563615644</c:v>
                </c:pt>
                <c:pt idx="8">
                  <c:v>0.78722583554880365</c:v>
                </c:pt>
                <c:pt idx="9">
                  <c:v>0.81471942650968476</c:v>
                </c:pt>
                <c:pt idx="10">
                  <c:v>0.83827264527155332</c:v>
                </c:pt>
                <c:pt idx="11">
                  <c:v>0.85971622199012532</c:v>
                </c:pt>
                <c:pt idx="12">
                  <c:v>0.8789344379035321</c:v>
                </c:pt>
                <c:pt idx="13">
                  <c:v>0.89525078332700347</c:v>
                </c:pt>
                <c:pt idx="14">
                  <c:v>0.91014883213064945</c:v>
                </c:pt>
                <c:pt idx="15">
                  <c:v>0.92396090486137483</c:v>
                </c:pt>
                <c:pt idx="16">
                  <c:v>0.93285938093429543</c:v>
                </c:pt>
                <c:pt idx="17">
                  <c:v>0.9414344379035321</c:v>
                </c:pt>
                <c:pt idx="18">
                  <c:v>0.94959409418913787</c:v>
                </c:pt>
                <c:pt idx="19">
                  <c:v>0.95479550417774406</c:v>
                </c:pt>
                <c:pt idx="20">
                  <c:v>0.95933524022028105</c:v>
                </c:pt>
                <c:pt idx="21">
                  <c:v>0.96330528389669579</c:v>
                </c:pt>
                <c:pt idx="22">
                  <c:v>0.9668658611849601</c:v>
                </c:pt>
                <c:pt idx="23">
                  <c:v>0.96968465153816941</c:v>
                </c:pt>
                <c:pt idx="24">
                  <c:v>0.97219782567413593</c:v>
                </c:pt>
                <c:pt idx="25">
                  <c:v>0.9745122009115077</c:v>
                </c:pt>
                <c:pt idx="26">
                  <c:v>0.97673756171667292</c:v>
                </c:pt>
                <c:pt idx="27">
                  <c:v>0.97895698822635768</c:v>
                </c:pt>
                <c:pt idx="28">
                  <c:v>0.98109333459931625</c:v>
                </c:pt>
                <c:pt idx="29">
                  <c:v>0.98320594379035309</c:v>
                </c:pt>
                <c:pt idx="30">
                  <c:v>0.98528294720850729</c:v>
                </c:pt>
                <c:pt idx="31">
                  <c:v>0.9868080611469805</c:v>
                </c:pt>
                <c:pt idx="32">
                  <c:v>0.98819075199392314</c:v>
                </c:pt>
                <c:pt idx="33">
                  <c:v>0.98953190277250269</c:v>
                </c:pt>
                <c:pt idx="34">
                  <c:v>0.99076030193695386</c:v>
                </c:pt>
                <c:pt idx="35">
                  <c:v>0.99197089821496376</c:v>
                </c:pt>
                <c:pt idx="36">
                  <c:v>0.99312808583364964</c:v>
                </c:pt>
                <c:pt idx="37">
                  <c:v>0.99427340486137472</c:v>
                </c:pt>
                <c:pt idx="38">
                  <c:v>0.99539498670717796</c:v>
                </c:pt>
                <c:pt idx="39">
                  <c:v>0.99644535700721593</c:v>
                </c:pt>
                <c:pt idx="40">
                  <c:v>0.99733550132928206</c:v>
                </c:pt>
                <c:pt idx="41">
                  <c:v>0.99811586118495998</c:v>
                </c:pt>
                <c:pt idx="42">
                  <c:v>0.99867665210786161</c:v>
                </c:pt>
                <c:pt idx="43">
                  <c:v>0.99900303835928583</c:v>
                </c:pt>
                <c:pt idx="44">
                  <c:v>0.99929678598556759</c:v>
                </c:pt>
                <c:pt idx="45">
                  <c:v>0.99956679642992763</c:v>
                </c:pt>
                <c:pt idx="46">
                  <c:v>0.99982197113558657</c:v>
                </c:pt>
                <c:pt idx="47">
                  <c:v>0.99999999999999978</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40</c:f>
              <c:strCache>
                <c:ptCount val="39"/>
                <c:pt idx="0">
                  <c:v>Dom Perigno</c:v>
                </c:pt>
                <c:pt idx="1">
                  <c:v>Dom Perigno</c:v>
                </c:pt>
                <c:pt idx="2">
                  <c:v>Dom Perigno</c:v>
                </c:pt>
                <c:pt idx="3">
                  <c:v>Malard</c:v>
                </c:pt>
                <c:pt idx="4">
                  <c:v>Ruinart</c:v>
                </c:pt>
                <c:pt idx="5">
                  <c:v>Ruinart</c:v>
                </c:pt>
                <c:pt idx="6">
                  <c:v>Roederer</c:v>
                </c:pt>
                <c:pt idx="7">
                  <c:v>Roederer</c:v>
                </c:pt>
                <c:pt idx="8">
                  <c:v>Laurent Per</c:v>
                </c:pt>
                <c:pt idx="9">
                  <c:v>Roederer</c:v>
                </c:pt>
                <c:pt idx="10">
                  <c:v>Roederer</c:v>
                </c:pt>
                <c:pt idx="11">
                  <c:v>Dom Perigno</c:v>
                </c:pt>
                <c:pt idx="12">
                  <c:v>Pommery</c:v>
                </c:pt>
                <c:pt idx="13">
                  <c:v>Bollinger</c:v>
                </c:pt>
                <c:pt idx="14">
                  <c:v>Ruinart</c:v>
                </c:pt>
                <c:pt idx="15">
                  <c:v>Roederer</c:v>
                </c:pt>
                <c:pt idx="16">
                  <c:v>Perrier Jou</c:v>
                </c:pt>
                <c:pt idx="17">
                  <c:v>Piper Heids</c:v>
                </c:pt>
                <c:pt idx="18">
                  <c:v>Roederer</c:v>
                </c:pt>
                <c:pt idx="19">
                  <c:v>Ruinart</c:v>
                </c:pt>
                <c:pt idx="20">
                  <c:v>Piper Heids</c:v>
                </c:pt>
                <c:pt idx="21">
                  <c:v>All Others</c:v>
                </c:pt>
                <c:pt idx="22">
                  <c:v>Roederer</c:v>
                </c:pt>
                <c:pt idx="23">
                  <c:v>Dom Perigno</c:v>
                </c:pt>
                <c:pt idx="24">
                  <c:v>Pommery</c:v>
                </c:pt>
                <c:pt idx="25">
                  <c:v>Bollinger</c:v>
                </c:pt>
                <c:pt idx="26">
                  <c:v>Dom Perigno</c:v>
                </c:pt>
                <c:pt idx="27">
                  <c:v>All Others</c:v>
                </c:pt>
                <c:pt idx="28">
                  <c:v>Veuve Clicq</c:v>
                </c:pt>
                <c:pt idx="29">
                  <c:v>Perrier Jou</c:v>
                </c:pt>
                <c:pt idx="30">
                  <c:v>De Venoge</c:v>
                </c:pt>
                <c:pt idx="31">
                  <c:v>Ruinart</c:v>
                </c:pt>
                <c:pt idx="32">
                  <c:v>Laurent Per</c:v>
                </c:pt>
                <c:pt idx="33">
                  <c:v>Malard</c:v>
                </c:pt>
                <c:pt idx="34">
                  <c:v>De Venoge</c:v>
                </c:pt>
                <c:pt idx="35">
                  <c:v>Roederer</c:v>
                </c:pt>
                <c:pt idx="36">
                  <c:v>Malard</c:v>
                </c:pt>
                <c:pt idx="37">
                  <c:v>Ruinart</c:v>
                </c:pt>
                <c:pt idx="38">
                  <c:v>All Others</c:v>
                </c:pt>
              </c:strCache>
            </c:strRef>
          </c:cat>
          <c:val>
            <c:numRef>
              <c:f>Sheet1!$B$2:$B$40</c:f>
              <c:numCache>
                <c:formatCode>General</c:formatCode>
                <c:ptCount val="39"/>
                <c:pt idx="0">
                  <c:v>0.36</c:v>
                </c:pt>
                <c:pt idx="1">
                  <c:v>0.36</c:v>
                </c:pt>
                <c:pt idx="2">
                  <c:v>0.37</c:v>
                </c:pt>
                <c:pt idx="3">
                  <c:v>0.34</c:v>
                </c:pt>
                <c:pt idx="4">
                  <c:v>0.28000000000000003</c:v>
                </c:pt>
                <c:pt idx="5">
                  <c:v>0.21</c:v>
                </c:pt>
                <c:pt idx="6">
                  <c:v>0.18</c:v>
                </c:pt>
                <c:pt idx="7">
                  <c:v>0.28000000000000003</c:v>
                </c:pt>
                <c:pt idx="8">
                  <c:v>0.25</c:v>
                </c:pt>
                <c:pt idx="9">
                  <c:v>0.24</c:v>
                </c:pt>
                <c:pt idx="10">
                  <c:v>0.33</c:v>
                </c:pt>
                <c:pt idx="11">
                  <c:v>0.09</c:v>
                </c:pt>
                <c:pt idx="12">
                  <c:v>0.09</c:v>
                </c:pt>
                <c:pt idx="13">
                  <c:v>0.09</c:v>
                </c:pt>
                <c:pt idx="14">
                  <c:v>0.24</c:v>
                </c:pt>
                <c:pt idx="15">
                  <c:v>7.0000000000000007E-2</c:v>
                </c:pt>
                <c:pt idx="16">
                  <c:v>0.24</c:v>
                </c:pt>
                <c:pt idx="17">
                  <c:v>0.11</c:v>
                </c:pt>
                <c:pt idx="18">
                  <c:v>0.08</c:v>
                </c:pt>
                <c:pt idx="19">
                  <c:v>0.05</c:v>
                </c:pt>
                <c:pt idx="20">
                  <c:v>7.0000000000000007E-2</c:v>
                </c:pt>
                <c:pt idx="21">
                  <c:v>0.15</c:v>
                </c:pt>
                <c:pt idx="22">
                  <c:v>0.11</c:v>
                </c:pt>
                <c:pt idx="23">
                  <c:v>0.04</c:v>
                </c:pt>
                <c:pt idx="24">
                  <c:v>0.1</c:v>
                </c:pt>
                <c:pt idx="25">
                  <c:v>0.04</c:v>
                </c:pt>
                <c:pt idx="26">
                  <c:v>0.08</c:v>
                </c:pt>
                <c:pt idx="27">
                  <c:v>0.08</c:v>
                </c:pt>
                <c:pt idx="28">
                  <c:v>0.11</c:v>
                </c:pt>
                <c:pt idx="29">
                  <c:v>7.0000000000000007E-2</c:v>
                </c:pt>
                <c:pt idx="30">
                  <c:v>0.03</c:v>
                </c:pt>
                <c:pt idx="31">
                  <c:v>7.0000000000000007E-2</c:v>
                </c:pt>
                <c:pt idx="32">
                  <c:v>0.1</c:v>
                </c:pt>
                <c:pt idx="33">
                  <c:v>0.03</c:v>
                </c:pt>
                <c:pt idx="34">
                  <c:v>0.04</c:v>
                </c:pt>
                <c:pt idx="35">
                  <c:v>0.03</c:v>
                </c:pt>
                <c:pt idx="36">
                  <c:v>0.04</c:v>
                </c:pt>
                <c:pt idx="37">
                  <c:v>0.01</c:v>
                </c:pt>
                <c:pt idx="38">
                  <c:v>0.24</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7ECAC4"/>
              </a:solidFill>
            </c:spPr>
            <c:extLst>
              <c:ext xmlns:c16="http://schemas.microsoft.com/office/drawing/2014/chart" uri="{C3380CC4-5D6E-409C-BE32-E72D297353CC}">
                <c16:uniqueId val="{0000004D-2993-41DE-A2CB-63102DE87051}"/>
              </c:ext>
            </c:extLst>
          </c:dPt>
          <c:dPt>
            <c:idx val="11"/>
            <c:invertIfNegative val="1"/>
            <c:bubble3D val="0"/>
            <c:spPr>
              <a:solidFill>
                <a:srgbClr val="7ECAC4"/>
              </a:solidFill>
            </c:spPr>
            <c:extLst>
              <c:ext xmlns:c16="http://schemas.microsoft.com/office/drawing/2014/chart" uri="{C3380CC4-5D6E-409C-BE32-E72D297353CC}">
                <c16:uniqueId val="{0000004F-2993-41DE-A2CB-63102DE87051}"/>
              </c:ext>
            </c:extLst>
          </c:dPt>
          <c:dPt>
            <c:idx val="12"/>
            <c:invertIfNegative val="1"/>
            <c:bubble3D val="0"/>
            <c:spPr>
              <a:solidFill>
                <a:srgbClr val="7ECAC4"/>
              </a:solidFill>
            </c:spPr>
            <c:extLst>
              <c:ext xmlns:c16="http://schemas.microsoft.com/office/drawing/2014/chart" uri="{C3380CC4-5D6E-409C-BE32-E72D297353CC}">
                <c16:uniqueId val="{00000051-2993-41DE-A2CB-63102DE87051}"/>
              </c:ext>
            </c:extLst>
          </c:dPt>
          <c:dPt>
            <c:idx val="13"/>
            <c:invertIfNegative val="1"/>
            <c:bubble3D val="0"/>
            <c:spPr>
              <a:solidFill>
                <a:srgbClr val="7ECAC4"/>
              </a:solidFill>
            </c:spPr>
            <c:extLst>
              <c:ext xmlns:c16="http://schemas.microsoft.com/office/drawing/2014/chart" uri="{C3380CC4-5D6E-409C-BE32-E72D297353CC}">
                <c16:uniqueId val="{00000053-2993-41DE-A2CB-63102DE87051}"/>
              </c:ext>
            </c:extLst>
          </c:dPt>
          <c:dPt>
            <c:idx val="14"/>
            <c:invertIfNegative val="1"/>
            <c:bubble3D val="0"/>
            <c:spPr>
              <a:solidFill>
                <a:srgbClr val="7ECAC4"/>
              </a:solidFill>
            </c:spPr>
            <c:extLst>
              <c:ext xmlns:c16="http://schemas.microsoft.com/office/drawing/2014/chart" uri="{C3380CC4-5D6E-409C-BE32-E72D297353CC}">
                <c16:uniqueId val="{00000055-2993-41DE-A2CB-63102DE87051}"/>
              </c:ext>
            </c:extLst>
          </c:dPt>
          <c:dPt>
            <c:idx val="15"/>
            <c:invertIfNegative val="1"/>
            <c:bubble3D val="0"/>
            <c:spPr>
              <a:solidFill>
                <a:srgbClr val="7ECAC4"/>
              </a:solidFill>
            </c:spPr>
            <c:extLst>
              <c:ext xmlns:c16="http://schemas.microsoft.com/office/drawing/2014/chart" uri="{C3380CC4-5D6E-409C-BE32-E72D297353CC}">
                <c16:uniqueId val="{00000057-2993-41DE-A2CB-63102DE87051}"/>
              </c:ext>
            </c:extLst>
          </c:dPt>
          <c:dPt>
            <c:idx val="16"/>
            <c:invertIfNegative val="1"/>
            <c:bubble3D val="0"/>
            <c:spPr>
              <a:solidFill>
                <a:srgbClr val="7ECAC4"/>
              </a:solidFill>
            </c:spPr>
            <c:extLst>
              <c:ext xmlns:c16="http://schemas.microsoft.com/office/drawing/2014/chart" uri="{C3380CC4-5D6E-409C-BE32-E72D297353CC}">
                <c16:uniqueId val="{00000059-2993-41DE-A2CB-63102DE87051}"/>
              </c:ext>
            </c:extLst>
          </c:dPt>
          <c:dPt>
            <c:idx val="17"/>
            <c:invertIfNegative val="1"/>
            <c:bubble3D val="0"/>
            <c:spPr>
              <a:solidFill>
                <a:srgbClr val="7ECAC4"/>
              </a:solidFill>
            </c:spPr>
            <c:extLst>
              <c:ext xmlns:c16="http://schemas.microsoft.com/office/drawing/2014/chart" uri="{C3380CC4-5D6E-409C-BE32-E72D297353CC}">
                <c16:uniqueId val="{0000005B-2993-41DE-A2CB-63102DE87051}"/>
              </c:ext>
            </c:extLst>
          </c:dPt>
          <c:dPt>
            <c:idx val="18"/>
            <c:invertIfNegative val="1"/>
            <c:bubble3D val="0"/>
            <c:spPr>
              <a:solidFill>
                <a:srgbClr val="7ECAC4"/>
              </a:solidFill>
            </c:spPr>
            <c:extLst>
              <c:ext xmlns:c16="http://schemas.microsoft.com/office/drawing/2014/chart" uri="{C3380CC4-5D6E-409C-BE32-E72D297353CC}">
                <c16:uniqueId val="{0000005D-2993-41DE-A2CB-63102DE87051}"/>
              </c:ext>
            </c:extLst>
          </c:dPt>
          <c:dPt>
            <c:idx val="19"/>
            <c:invertIfNegative val="1"/>
            <c:bubble3D val="0"/>
            <c:spPr>
              <a:solidFill>
                <a:srgbClr val="7ECAC4"/>
              </a:solidFill>
            </c:spPr>
            <c:extLst>
              <c:ext xmlns:c16="http://schemas.microsoft.com/office/drawing/2014/chart" uri="{C3380CC4-5D6E-409C-BE32-E72D297353CC}">
                <c16:uniqueId val="{0000005F-2993-41DE-A2CB-63102DE87051}"/>
              </c:ext>
            </c:extLst>
          </c:dPt>
          <c:dPt>
            <c:idx val="20"/>
            <c:invertIfNegative val="1"/>
            <c:bubble3D val="0"/>
            <c:spPr>
              <a:solidFill>
                <a:srgbClr val="7ECAC4"/>
              </a:solidFill>
            </c:spPr>
            <c:extLst>
              <c:ext xmlns:c16="http://schemas.microsoft.com/office/drawing/2014/chart" uri="{C3380CC4-5D6E-409C-BE32-E72D297353CC}">
                <c16:uniqueId val="{00000061-2993-41DE-A2CB-63102DE87051}"/>
              </c:ext>
            </c:extLst>
          </c:dPt>
          <c:dPt>
            <c:idx val="21"/>
            <c:invertIfNegative val="1"/>
            <c:bubble3D val="0"/>
            <c:spPr>
              <a:solidFill>
                <a:srgbClr val="AEABAB"/>
              </a:solidFill>
            </c:spPr>
            <c:extLst>
              <c:ext xmlns:c16="http://schemas.microsoft.com/office/drawing/2014/chart" uri="{C3380CC4-5D6E-409C-BE32-E72D297353CC}">
                <c16:uniqueId val="{00000063-2993-41DE-A2CB-63102DE87051}"/>
              </c:ext>
            </c:extLst>
          </c:dPt>
          <c:dPt>
            <c:idx val="22"/>
            <c:invertIfNegative val="1"/>
            <c:bubble3D val="0"/>
            <c:spPr>
              <a:solidFill>
                <a:srgbClr val="AEABAB"/>
              </a:solidFill>
            </c:spPr>
            <c:extLst>
              <c:ext xmlns:c16="http://schemas.microsoft.com/office/drawing/2014/chart" uri="{C3380CC4-5D6E-409C-BE32-E72D297353CC}">
                <c16:uniqueId val="{00000065-2993-41DE-A2CB-63102DE87051}"/>
              </c:ext>
            </c:extLst>
          </c:dPt>
          <c:dPt>
            <c:idx val="23"/>
            <c:invertIfNegative val="1"/>
            <c:bubble3D val="0"/>
            <c:spPr>
              <a:solidFill>
                <a:srgbClr val="AEABAB"/>
              </a:solidFill>
            </c:spPr>
            <c:extLst>
              <c:ext xmlns:c16="http://schemas.microsoft.com/office/drawing/2014/chart" uri="{C3380CC4-5D6E-409C-BE32-E72D297353CC}">
                <c16:uniqueId val="{00000067-2993-41DE-A2CB-63102DE87051}"/>
              </c:ext>
            </c:extLst>
          </c:dPt>
          <c:dPt>
            <c:idx val="24"/>
            <c:invertIfNegative val="1"/>
            <c:bubble3D val="0"/>
            <c:spPr>
              <a:solidFill>
                <a:srgbClr val="AEABAB"/>
              </a:solidFill>
            </c:spPr>
            <c:extLst>
              <c:ext xmlns:c16="http://schemas.microsoft.com/office/drawing/2014/chart" uri="{C3380CC4-5D6E-409C-BE32-E72D297353CC}">
                <c16:uniqueId val="{00000069-2993-41DE-A2CB-63102DE87051}"/>
              </c:ext>
            </c:extLst>
          </c:dPt>
          <c:dPt>
            <c:idx val="25"/>
            <c:invertIfNegative val="1"/>
            <c:bubble3D val="0"/>
            <c:spPr>
              <a:solidFill>
                <a:srgbClr val="AEABAB"/>
              </a:solidFill>
            </c:spPr>
            <c:extLst>
              <c:ext xmlns:c16="http://schemas.microsoft.com/office/drawing/2014/chart" uri="{C3380CC4-5D6E-409C-BE32-E72D297353CC}">
                <c16:uniqueId val="{0000006B-2993-41DE-A2CB-63102DE87051}"/>
              </c:ext>
            </c:extLst>
          </c:dPt>
          <c:dPt>
            <c:idx val="26"/>
            <c:invertIfNegative val="1"/>
            <c:bubble3D val="0"/>
            <c:spPr>
              <a:solidFill>
                <a:srgbClr val="AEABAB"/>
              </a:solidFill>
            </c:spPr>
            <c:extLst>
              <c:ext xmlns:c16="http://schemas.microsoft.com/office/drawing/2014/chart" uri="{C3380CC4-5D6E-409C-BE32-E72D297353CC}">
                <c16:uniqueId val="{0000006D-2993-41DE-A2CB-63102DE87051}"/>
              </c:ext>
            </c:extLst>
          </c:dPt>
          <c:dPt>
            <c:idx val="27"/>
            <c:invertIfNegative val="1"/>
            <c:bubble3D val="0"/>
            <c:spPr>
              <a:solidFill>
                <a:srgbClr val="AEABAB"/>
              </a:solidFill>
            </c:spPr>
            <c:extLst>
              <c:ext xmlns:c16="http://schemas.microsoft.com/office/drawing/2014/chart" uri="{C3380CC4-5D6E-409C-BE32-E72D297353CC}">
                <c16:uniqueId val="{0000006F-2993-41DE-A2CB-63102DE87051}"/>
              </c:ext>
            </c:extLst>
          </c:dPt>
          <c:dPt>
            <c:idx val="28"/>
            <c:invertIfNegative val="1"/>
            <c:bubble3D val="0"/>
            <c:spPr>
              <a:solidFill>
                <a:srgbClr val="AEABAB"/>
              </a:solidFill>
            </c:spPr>
            <c:extLst>
              <c:ext xmlns:c16="http://schemas.microsoft.com/office/drawing/2014/chart" uri="{C3380CC4-5D6E-409C-BE32-E72D297353CC}">
                <c16:uniqueId val="{00000071-2993-41DE-A2CB-63102DE87051}"/>
              </c:ext>
            </c:extLst>
          </c:dPt>
          <c:dPt>
            <c:idx val="29"/>
            <c:invertIfNegative val="1"/>
            <c:bubble3D val="0"/>
            <c:spPr>
              <a:solidFill>
                <a:srgbClr val="AEABAB"/>
              </a:solidFill>
            </c:spPr>
            <c:extLst>
              <c:ext xmlns:c16="http://schemas.microsoft.com/office/drawing/2014/chart" uri="{C3380CC4-5D6E-409C-BE32-E72D297353CC}">
                <c16:uniqueId val="{00000073-2993-41DE-A2CB-63102DE87051}"/>
              </c:ext>
            </c:extLst>
          </c:dPt>
          <c:dPt>
            <c:idx val="30"/>
            <c:invertIfNegative val="1"/>
            <c:bubble3D val="0"/>
            <c:spPr>
              <a:solidFill>
                <a:srgbClr val="AEABAB"/>
              </a:solidFill>
            </c:spPr>
            <c:extLst>
              <c:ext xmlns:c16="http://schemas.microsoft.com/office/drawing/2014/chart" uri="{C3380CC4-5D6E-409C-BE32-E72D297353CC}">
                <c16:uniqueId val="{00000075-2993-41DE-A2CB-63102DE87051}"/>
              </c:ext>
            </c:extLst>
          </c:dPt>
          <c:dPt>
            <c:idx val="31"/>
            <c:invertIfNegative val="1"/>
            <c:bubble3D val="0"/>
            <c:spPr>
              <a:solidFill>
                <a:srgbClr val="AEABAB"/>
              </a:solidFill>
            </c:spPr>
            <c:extLst>
              <c:ext xmlns:c16="http://schemas.microsoft.com/office/drawing/2014/chart" uri="{C3380CC4-5D6E-409C-BE32-E72D297353CC}">
                <c16:uniqueId val="{00000077-2993-41DE-A2CB-63102DE87051}"/>
              </c:ext>
            </c:extLst>
          </c:dPt>
          <c:dPt>
            <c:idx val="32"/>
            <c:invertIfNegative val="1"/>
            <c:bubble3D val="0"/>
            <c:spPr>
              <a:solidFill>
                <a:srgbClr val="AEABAB"/>
              </a:solidFill>
            </c:spPr>
            <c:extLst>
              <c:ext xmlns:c16="http://schemas.microsoft.com/office/drawing/2014/chart" uri="{C3380CC4-5D6E-409C-BE32-E72D297353CC}">
                <c16:uniqueId val="{00000079-2993-41DE-A2CB-63102DE87051}"/>
              </c:ext>
            </c:extLst>
          </c:dPt>
          <c:dPt>
            <c:idx val="33"/>
            <c:invertIfNegative val="1"/>
            <c:bubble3D val="0"/>
            <c:spPr>
              <a:solidFill>
                <a:srgbClr val="AEABAB"/>
              </a:solidFill>
            </c:spPr>
            <c:extLst>
              <c:ext xmlns:c16="http://schemas.microsoft.com/office/drawing/2014/chart" uri="{C3380CC4-5D6E-409C-BE32-E72D297353CC}">
                <c16:uniqueId val="{0000007B-2993-41DE-A2CB-63102DE87051}"/>
              </c:ext>
            </c:extLst>
          </c:dPt>
          <c:dPt>
            <c:idx val="34"/>
            <c:invertIfNegative val="1"/>
            <c:bubble3D val="0"/>
            <c:spPr>
              <a:solidFill>
                <a:srgbClr val="AEABAB"/>
              </a:solidFill>
            </c:spPr>
            <c:extLst>
              <c:ext xmlns:c16="http://schemas.microsoft.com/office/drawing/2014/chart" uri="{C3380CC4-5D6E-409C-BE32-E72D297353CC}">
                <c16:uniqueId val="{0000007D-2993-41DE-A2CB-63102DE87051}"/>
              </c:ext>
            </c:extLst>
          </c:dPt>
          <c:dPt>
            <c:idx val="35"/>
            <c:invertIfNegative val="1"/>
            <c:bubble3D val="0"/>
            <c:spPr>
              <a:solidFill>
                <a:srgbClr val="AEABAB"/>
              </a:solidFill>
            </c:spPr>
            <c:extLst>
              <c:ext xmlns:c16="http://schemas.microsoft.com/office/drawing/2014/chart" uri="{C3380CC4-5D6E-409C-BE32-E72D297353CC}">
                <c16:uniqueId val="{0000007F-2993-41DE-A2CB-63102DE87051}"/>
              </c:ext>
            </c:extLst>
          </c:dPt>
          <c:dPt>
            <c:idx val="36"/>
            <c:invertIfNegative val="1"/>
            <c:bubble3D val="0"/>
            <c:spPr>
              <a:solidFill>
                <a:srgbClr val="AEABAB"/>
              </a:solidFill>
            </c:spPr>
            <c:extLst>
              <c:ext xmlns:c16="http://schemas.microsoft.com/office/drawing/2014/chart" uri="{C3380CC4-5D6E-409C-BE32-E72D297353CC}">
                <c16:uniqueId val="{00000081-2993-41DE-A2CB-63102DE87051}"/>
              </c:ext>
            </c:extLst>
          </c:dPt>
          <c:dPt>
            <c:idx val="37"/>
            <c:invertIfNegative val="1"/>
            <c:bubble3D val="0"/>
            <c:spPr>
              <a:solidFill>
                <a:srgbClr val="AEABAB"/>
              </a:solidFill>
            </c:spPr>
            <c:extLst>
              <c:ext xmlns:c16="http://schemas.microsoft.com/office/drawing/2014/chart" uri="{C3380CC4-5D6E-409C-BE32-E72D297353CC}">
                <c16:uniqueId val="{00000083-2993-41DE-A2CB-63102DE87051}"/>
              </c:ext>
            </c:extLst>
          </c:dPt>
          <c:dPt>
            <c:idx val="38"/>
            <c:invertIfNegative val="1"/>
            <c:bubble3D val="0"/>
            <c:spPr>
              <a:solidFill>
                <a:srgbClr val="AEABAB"/>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40</c:f>
              <c:strCache>
                <c:ptCount val="39"/>
                <c:pt idx="0">
                  <c:v>Dom Perigno</c:v>
                </c:pt>
                <c:pt idx="1">
                  <c:v>Dom Perigno</c:v>
                </c:pt>
                <c:pt idx="2">
                  <c:v>Dom Perigno</c:v>
                </c:pt>
                <c:pt idx="3">
                  <c:v>Malard</c:v>
                </c:pt>
                <c:pt idx="4">
                  <c:v>Ruinart</c:v>
                </c:pt>
                <c:pt idx="5">
                  <c:v>Ruinart</c:v>
                </c:pt>
                <c:pt idx="6">
                  <c:v>Roederer</c:v>
                </c:pt>
                <c:pt idx="7">
                  <c:v>Roederer</c:v>
                </c:pt>
                <c:pt idx="8">
                  <c:v>Laurent Per</c:v>
                </c:pt>
                <c:pt idx="9">
                  <c:v>Roederer</c:v>
                </c:pt>
                <c:pt idx="10">
                  <c:v>Roederer</c:v>
                </c:pt>
                <c:pt idx="11">
                  <c:v>Dom Perigno</c:v>
                </c:pt>
                <c:pt idx="12">
                  <c:v>Pommery</c:v>
                </c:pt>
                <c:pt idx="13">
                  <c:v>Bollinger</c:v>
                </c:pt>
                <c:pt idx="14">
                  <c:v>Ruinart</c:v>
                </c:pt>
                <c:pt idx="15">
                  <c:v>Roederer</c:v>
                </c:pt>
                <c:pt idx="16">
                  <c:v>Perrier Jou</c:v>
                </c:pt>
                <c:pt idx="17">
                  <c:v>Piper Heids</c:v>
                </c:pt>
                <c:pt idx="18">
                  <c:v>Roederer</c:v>
                </c:pt>
                <c:pt idx="19">
                  <c:v>Ruinart</c:v>
                </c:pt>
                <c:pt idx="20">
                  <c:v>Piper Heids</c:v>
                </c:pt>
                <c:pt idx="21">
                  <c:v>All Others</c:v>
                </c:pt>
                <c:pt idx="22">
                  <c:v>Roederer</c:v>
                </c:pt>
                <c:pt idx="23">
                  <c:v>Dom Perigno</c:v>
                </c:pt>
                <c:pt idx="24">
                  <c:v>Pommery</c:v>
                </c:pt>
                <c:pt idx="25">
                  <c:v>Bollinger</c:v>
                </c:pt>
                <c:pt idx="26">
                  <c:v>Dom Perigno</c:v>
                </c:pt>
                <c:pt idx="27">
                  <c:v>All Others</c:v>
                </c:pt>
                <c:pt idx="28">
                  <c:v>Veuve Clicq</c:v>
                </c:pt>
                <c:pt idx="29">
                  <c:v>Perrier Jou</c:v>
                </c:pt>
                <c:pt idx="30">
                  <c:v>De Venoge</c:v>
                </c:pt>
                <c:pt idx="31">
                  <c:v>Ruinart</c:v>
                </c:pt>
                <c:pt idx="32">
                  <c:v>Laurent Per</c:v>
                </c:pt>
                <c:pt idx="33">
                  <c:v>Malard</c:v>
                </c:pt>
                <c:pt idx="34">
                  <c:v>De Venoge</c:v>
                </c:pt>
                <c:pt idx="35">
                  <c:v>Roederer</c:v>
                </c:pt>
                <c:pt idx="36">
                  <c:v>Malard</c:v>
                </c:pt>
                <c:pt idx="37">
                  <c:v>Ruinart</c:v>
                </c:pt>
                <c:pt idx="38">
                  <c:v>All Others</c:v>
                </c:pt>
              </c:strCache>
            </c:strRef>
          </c:cat>
          <c:val>
            <c:numRef>
              <c:f>Sheet1!$C$2:$C$40</c:f>
              <c:numCache>
                <c:formatCode>General</c:formatCode>
                <c:ptCount val="39"/>
                <c:pt idx="0">
                  <c:v>0.21206020264288292</c:v>
                </c:pt>
                <c:pt idx="1">
                  <c:v>0.39813752172344818</c:v>
                </c:pt>
                <c:pt idx="2">
                  <c:v>0.50826638685772374</c:v>
                </c:pt>
                <c:pt idx="3">
                  <c:v>0.56376036987244649</c:v>
                </c:pt>
                <c:pt idx="4">
                  <c:v>0.61900514804734896</c:v>
                </c:pt>
                <c:pt idx="5">
                  <c:v>0.65976981342427132</c:v>
                </c:pt>
                <c:pt idx="6">
                  <c:v>0.69989835065744177</c:v>
                </c:pt>
                <c:pt idx="7">
                  <c:v>0.7373643309177953</c:v>
                </c:pt>
                <c:pt idx="8">
                  <c:v>0.77077745352001847</c:v>
                </c:pt>
                <c:pt idx="9">
                  <c:v>0.80409876381283418</c:v>
                </c:pt>
                <c:pt idx="10">
                  <c:v>0.83237039708823835</c:v>
                </c:pt>
                <c:pt idx="11">
                  <c:v>0.85550054103682349</c:v>
                </c:pt>
                <c:pt idx="12">
                  <c:v>0.86920024920484007</c:v>
                </c:pt>
                <c:pt idx="13">
                  <c:v>0.88191625405777641</c:v>
                </c:pt>
                <c:pt idx="14">
                  <c:v>0.89246155359543589</c:v>
                </c:pt>
                <c:pt idx="15">
                  <c:v>0.90298062104469323</c:v>
                </c:pt>
                <c:pt idx="16">
                  <c:v>0.91284388628389712</c:v>
                </c:pt>
                <c:pt idx="17">
                  <c:v>0.92268091943469888</c:v>
                </c:pt>
                <c:pt idx="18">
                  <c:v>0.93140308882840972</c:v>
                </c:pt>
                <c:pt idx="19">
                  <c:v>0.93988261140440077</c:v>
                </c:pt>
                <c:pt idx="20">
                  <c:v>0.94790963045545495</c:v>
                </c:pt>
                <c:pt idx="21">
                  <c:v>0.95459881299800009</c:v>
                </c:pt>
                <c:pt idx="22">
                  <c:v>0.96033052431386723</c:v>
                </c:pt>
                <c:pt idx="23">
                  <c:v>0.96557694199429478</c:v>
                </c:pt>
                <c:pt idx="24">
                  <c:v>0.97002328097845714</c:v>
                </c:pt>
                <c:pt idx="25">
                  <c:v>0.97429255336590503</c:v>
                </c:pt>
                <c:pt idx="26">
                  <c:v>0.977899465521199</c:v>
                </c:pt>
                <c:pt idx="27">
                  <c:v>0.98140144932288442</c:v>
                </c:pt>
                <c:pt idx="28">
                  <c:v>0.98484441092566499</c:v>
                </c:pt>
                <c:pt idx="29">
                  <c:v>0.98769059251729696</c:v>
                </c:pt>
                <c:pt idx="30">
                  <c:v>0.99024822113650546</c:v>
                </c:pt>
                <c:pt idx="31">
                  <c:v>0.99188116863953857</c:v>
                </c:pt>
                <c:pt idx="32">
                  <c:v>0.99342886185526469</c:v>
                </c:pt>
                <c:pt idx="33">
                  <c:v>0.99486506869528168</c:v>
                </c:pt>
                <c:pt idx="34">
                  <c:v>0.99614388300488588</c:v>
                </c:pt>
                <c:pt idx="35">
                  <c:v>0.99727842082827833</c:v>
                </c:pt>
                <c:pt idx="36">
                  <c:v>0.99836705249696711</c:v>
                </c:pt>
                <c:pt idx="37">
                  <c:v>0.99932452372364511</c:v>
                </c:pt>
                <c:pt idx="38">
                  <c:v>1.0000000000000002</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38</c:f>
              <c:strCache>
                <c:ptCount val="37"/>
                <c:pt idx="0">
                  <c:v>Dom Perigno</c:v>
                </c:pt>
                <c:pt idx="1">
                  <c:v>Dom Perigno</c:v>
                </c:pt>
                <c:pt idx="2">
                  <c:v>Roederer</c:v>
                </c:pt>
                <c:pt idx="3">
                  <c:v>Malard</c:v>
                </c:pt>
                <c:pt idx="4">
                  <c:v>Ruinart</c:v>
                </c:pt>
                <c:pt idx="5">
                  <c:v>Roederer</c:v>
                </c:pt>
                <c:pt idx="6">
                  <c:v>Roederer</c:v>
                </c:pt>
                <c:pt idx="7">
                  <c:v>Dom Perigno</c:v>
                </c:pt>
                <c:pt idx="8">
                  <c:v>Laurent Per</c:v>
                </c:pt>
                <c:pt idx="9">
                  <c:v>Roederer</c:v>
                </c:pt>
                <c:pt idx="10">
                  <c:v>Pommery</c:v>
                </c:pt>
                <c:pt idx="11">
                  <c:v>Bollinger</c:v>
                </c:pt>
                <c:pt idx="12">
                  <c:v>Ruinart</c:v>
                </c:pt>
                <c:pt idx="13">
                  <c:v>Dom Perigno</c:v>
                </c:pt>
                <c:pt idx="14">
                  <c:v>Ruinart</c:v>
                </c:pt>
                <c:pt idx="15">
                  <c:v>Roederer</c:v>
                </c:pt>
                <c:pt idx="16">
                  <c:v>Perrier Jou</c:v>
                </c:pt>
                <c:pt idx="17">
                  <c:v>Piper Heids</c:v>
                </c:pt>
                <c:pt idx="18">
                  <c:v>Roederer</c:v>
                </c:pt>
                <c:pt idx="19">
                  <c:v>Ruinart</c:v>
                </c:pt>
                <c:pt idx="20">
                  <c:v>Bollinger</c:v>
                </c:pt>
                <c:pt idx="21">
                  <c:v>Roederer</c:v>
                </c:pt>
                <c:pt idx="22">
                  <c:v>All Others</c:v>
                </c:pt>
                <c:pt idx="23">
                  <c:v>De Venoge</c:v>
                </c:pt>
                <c:pt idx="24">
                  <c:v>All Others</c:v>
                </c:pt>
                <c:pt idx="25">
                  <c:v>Piper Heids</c:v>
                </c:pt>
                <c:pt idx="26">
                  <c:v>Ruinart</c:v>
                </c:pt>
                <c:pt idx="27">
                  <c:v>Laurent Per</c:v>
                </c:pt>
                <c:pt idx="28">
                  <c:v>Lanson</c:v>
                </c:pt>
                <c:pt idx="29">
                  <c:v>Bollinger</c:v>
                </c:pt>
                <c:pt idx="30">
                  <c:v>All Others</c:v>
                </c:pt>
                <c:pt idx="31">
                  <c:v>Veuve Clicq</c:v>
                </c:pt>
                <c:pt idx="32">
                  <c:v>Pommery</c:v>
                </c:pt>
                <c:pt idx="33">
                  <c:v>Malard</c:v>
                </c:pt>
                <c:pt idx="34">
                  <c:v>Roederer</c:v>
                </c:pt>
                <c:pt idx="35">
                  <c:v>Malard</c:v>
                </c:pt>
                <c:pt idx="36">
                  <c:v>Vesselle</c:v>
                </c:pt>
              </c:strCache>
            </c:strRef>
          </c:cat>
          <c:val>
            <c:numRef>
              <c:f>Sheet1!$B$2:$B$38</c:f>
              <c:numCache>
                <c:formatCode>General</c:formatCode>
                <c:ptCount val="37"/>
                <c:pt idx="0">
                  <c:v>0.47</c:v>
                </c:pt>
                <c:pt idx="1">
                  <c:v>0.34</c:v>
                </c:pt>
                <c:pt idx="2">
                  <c:v>0.26</c:v>
                </c:pt>
                <c:pt idx="3">
                  <c:v>0.4</c:v>
                </c:pt>
                <c:pt idx="4">
                  <c:v>0.18</c:v>
                </c:pt>
                <c:pt idx="5">
                  <c:v>0.19</c:v>
                </c:pt>
                <c:pt idx="6">
                  <c:v>0.24</c:v>
                </c:pt>
                <c:pt idx="7">
                  <c:v>0.18</c:v>
                </c:pt>
                <c:pt idx="8">
                  <c:v>0.36</c:v>
                </c:pt>
                <c:pt idx="9">
                  <c:v>0.27</c:v>
                </c:pt>
                <c:pt idx="10">
                  <c:v>0.11</c:v>
                </c:pt>
                <c:pt idx="11">
                  <c:v>0.1</c:v>
                </c:pt>
                <c:pt idx="12">
                  <c:v>0.21</c:v>
                </c:pt>
                <c:pt idx="13">
                  <c:v>0.22</c:v>
                </c:pt>
                <c:pt idx="14">
                  <c:v>0.19</c:v>
                </c:pt>
                <c:pt idx="15">
                  <c:v>0.09</c:v>
                </c:pt>
                <c:pt idx="16">
                  <c:v>0.17</c:v>
                </c:pt>
                <c:pt idx="17">
                  <c:v>0.1</c:v>
                </c:pt>
                <c:pt idx="18">
                  <c:v>0.11</c:v>
                </c:pt>
                <c:pt idx="19">
                  <c:v>7.0000000000000007E-2</c:v>
                </c:pt>
                <c:pt idx="20">
                  <c:v>0.09</c:v>
                </c:pt>
                <c:pt idx="21">
                  <c:v>0.09</c:v>
                </c:pt>
                <c:pt idx="22">
                  <c:v>0.09</c:v>
                </c:pt>
                <c:pt idx="23">
                  <c:v>0.27</c:v>
                </c:pt>
                <c:pt idx="24">
                  <c:v>0.11</c:v>
                </c:pt>
                <c:pt idx="25">
                  <c:v>0.08</c:v>
                </c:pt>
                <c:pt idx="26">
                  <c:v>0.03</c:v>
                </c:pt>
                <c:pt idx="27">
                  <c:v>0.11</c:v>
                </c:pt>
                <c:pt idx="28">
                  <c:v>0.04</c:v>
                </c:pt>
                <c:pt idx="29">
                  <c:v>0.06</c:v>
                </c:pt>
                <c:pt idx="30">
                  <c:v>7.0000000000000007E-2</c:v>
                </c:pt>
                <c:pt idx="31">
                  <c:v>0.05</c:v>
                </c:pt>
                <c:pt idx="32">
                  <c:v>0.08</c:v>
                </c:pt>
                <c:pt idx="33">
                  <c:v>0.02</c:v>
                </c:pt>
                <c:pt idx="34">
                  <c:v>0.08</c:v>
                </c:pt>
                <c:pt idx="35">
                  <c:v>0.05</c:v>
                </c:pt>
                <c:pt idx="36">
                  <c:v>0.03</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7ECAC4"/>
              </a:solidFill>
            </c:spPr>
            <c:extLst>
              <c:ext xmlns:c16="http://schemas.microsoft.com/office/drawing/2014/chart" uri="{C3380CC4-5D6E-409C-BE32-E72D297353CC}">
                <c16:uniqueId val="{0000004D-2993-41DE-A2CB-63102DE87051}"/>
              </c:ext>
            </c:extLst>
          </c:dPt>
          <c:dPt>
            <c:idx val="11"/>
            <c:invertIfNegative val="1"/>
            <c:bubble3D val="0"/>
            <c:spPr>
              <a:solidFill>
                <a:srgbClr val="7ECAC4"/>
              </a:solidFill>
            </c:spPr>
            <c:extLst>
              <c:ext xmlns:c16="http://schemas.microsoft.com/office/drawing/2014/chart" uri="{C3380CC4-5D6E-409C-BE32-E72D297353CC}">
                <c16:uniqueId val="{0000004F-2993-41DE-A2CB-63102DE87051}"/>
              </c:ext>
            </c:extLst>
          </c:dPt>
          <c:dPt>
            <c:idx val="12"/>
            <c:invertIfNegative val="1"/>
            <c:bubble3D val="0"/>
            <c:spPr>
              <a:solidFill>
                <a:srgbClr val="7ECAC4"/>
              </a:solidFill>
            </c:spPr>
            <c:extLst>
              <c:ext xmlns:c16="http://schemas.microsoft.com/office/drawing/2014/chart" uri="{C3380CC4-5D6E-409C-BE32-E72D297353CC}">
                <c16:uniqueId val="{00000051-2993-41DE-A2CB-63102DE87051}"/>
              </c:ext>
            </c:extLst>
          </c:dPt>
          <c:dPt>
            <c:idx val="13"/>
            <c:invertIfNegative val="1"/>
            <c:bubble3D val="0"/>
            <c:spPr>
              <a:solidFill>
                <a:srgbClr val="7ECAC4"/>
              </a:solidFill>
            </c:spPr>
            <c:extLst>
              <c:ext xmlns:c16="http://schemas.microsoft.com/office/drawing/2014/chart" uri="{C3380CC4-5D6E-409C-BE32-E72D297353CC}">
                <c16:uniqueId val="{00000053-2993-41DE-A2CB-63102DE87051}"/>
              </c:ext>
            </c:extLst>
          </c:dPt>
          <c:dPt>
            <c:idx val="14"/>
            <c:invertIfNegative val="1"/>
            <c:bubble3D val="0"/>
            <c:spPr>
              <a:solidFill>
                <a:srgbClr val="7ECAC4"/>
              </a:solidFill>
            </c:spPr>
            <c:extLst>
              <c:ext xmlns:c16="http://schemas.microsoft.com/office/drawing/2014/chart" uri="{C3380CC4-5D6E-409C-BE32-E72D297353CC}">
                <c16:uniqueId val="{00000055-2993-41DE-A2CB-63102DE87051}"/>
              </c:ext>
            </c:extLst>
          </c:dPt>
          <c:dPt>
            <c:idx val="15"/>
            <c:invertIfNegative val="1"/>
            <c:bubble3D val="0"/>
            <c:spPr>
              <a:solidFill>
                <a:srgbClr val="7ECAC4"/>
              </a:solidFill>
            </c:spPr>
            <c:extLst>
              <c:ext xmlns:c16="http://schemas.microsoft.com/office/drawing/2014/chart" uri="{C3380CC4-5D6E-409C-BE32-E72D297353CC}">
                <c16:uniqueId val="{00000057-2993-41DE-A2CB-63102DE87051}"/>
              </c:ext>
            </c:extLst>
          </c:dPt>
          <c:dPt>
            <c:idx val="16"/>
            <c:invertIfNegative val="1"/>
            <c:bubble3D val="0"/>
            <c:spPr>
              <a:solidFill>
                <a:srgbClr val="7ECAC4"/>
              </a:solidFill>
            </c:spPr>
            <c:extLst>
              <c:ext xmlns:c16="http://schemas.microsoft.com/office/drawing/2014/chart" uri="{C3380CC4-5D6E-409C-BE32-E72D297353CC}">
                <c16:uniqueId val="{00000059-2993-41DE-A2CB-63102DE87051}"/>
              </c:ext>
            </c:extLst>
          </c:dPt>
          <c:dPt>
            <c:idx val="17"/>
            <c:invertIfNegative val="1"/>
            <c:bubble3D val="0"/>
            <c:spPr>
              <a:solidFill>
                <a:srgbClr val="7ECAC4"/>
              </a:solidFill>
            </c:spPr>
            <c:extLst>
              <c:ext xmlns:c16="http://schemas.microsoft.com/office/drawing/2014/chart" uri="{C3380CC4-5D6E-409C-BE32-E72D297353CC}">
                <c16:uniqueId val="{0000005B-2993-41DE-A2CB-63102DE87051}"/>
              </c:ext>
            </c:extLst>
          </c:dPt>
          <c:dPt>
            <c:idx val="18"/>
            <c:invertIfNegative val="1"/>
            <c:bubble3D val="0"/>
            <c:spPr>
              <a:solidFill>
                <a:srgbClr val="7ECAC4"/>
              </a:solidFill>
            </c:spPr>
            <c:extLst>
              <c:ext xmlns:c16="http://schemas.microsoft.com/office/drawing/2014/chart" uri="{C3380CC4-5D6E-409C-BE32-E72D297353CC}">
                <c16:uniqueId val="{0000005D-2993-41DE-A2CB-63102DE87051}"/>
              </c:ext>
            </c:extLst>
          </c:dPt>
          <c:dPt>
            <c:idx val="19"/>
            <c:invertIfNegative val="1"/>
            <c:bubble3D val="0"/>
            <c:spPr>
              <a:solidFill>
                <a:srgbClr val="7ECAC4"/>
              </a:solidFill>
            </c:spPr>
            <c:extLst>
              <c:ext xmlns:c16="http://schemas.microsoft.com/office/drawing/2014/chart" uri="{C3380CC4-5D6E-409C-BE32-E72D297353CC}">
                <c16:uniqueId val="{0000005F-2993-41DE-A2CB-63102DE87051}"/>
              </c:ext>
            </c:extLst>
          </c:dPt>
          <c:dPt>
            <c:idx val="20"/>
            <c:invertIfNegative val="1"/>
            <c:bubble3D val="0"/>
            <c:spPr>
              <a:solidFill>
                <a:srgbClr val="7ECAC4"/>
              </a:solidFill>
            </c:spPr>
            <c:extLst>
              <c:ext xmlns:c16="http://schemas.microsoft.com/office/drawing/2014/chart" uri="{C3380CC4-5D6E-409C-BE32-E72D297353CC}">
                <c16:uniqueId val="{00000061-2993-41DE-A2CB-63102DE87051}"/>
              </c:ext>
            </c:extLst>
          </c:dPt>
          <c:dPt>
            <c:idx val="21"/>
            <c:invertIfNegative val="1"/>
            <c:bubble3D val="0"/>
            <c:spPr>
              <a:solidFill>
                <a:srgbClr val="AEABAB"/>
              </a:solidFill>
            </c:spPr>
            <c:extLst>
              <c:ext xmlns:c16="http://schemas.microsoft.com/office/drawing/2014/chart" uri="{C3380CC4-5D6E-409C-BE32-E72D297353CC}">
                <c16:uniqueId val="{00000063-2993-41DE-A2CB-63102DE87051}"/>
              </c:ext>
            </c:extLst>
          </c:dPt>
          <c:dPt>
            <c:idx val="22"/>
            <c:invertIfNegative val="1"/>
            <c:bubble3D val="0"/>
            <c:spPr>
              <a:solidFill>
                <a:srgbClr val="AEABAB"/>
              </a:solidFill>
            </c:spPr>
            <c:extLst>
              <c:ext xmlns:c16="http://schemas.microsoft.com/office/drawing/2014/chart" uri="{C3380CC4-5D6E-409C-BE32-E72D297353CC}">
                <c16:uniqueId val="{00000065-2993-41DE-A2CB-63102DE87051}"/>
              </c:ext>
            </c:extLst>
          </c:dPt>
          <c:dPt>
            <c:idx val="23"/>
            <c:invertIfNegative val="1"/>
            <c:bubble3D val="0"/>
            <c:spPr>
              <a:solidFill>
                <a:srgbClr val="AEABAB"/>
              </a:solidFill>
            </c:spPr>
            <c:extLst>
              <c:ext xmlns:c16="http://schemas.microsoft.com/office/drawing/2014/chart" uri="{C3380CC4-5D6E-409C-BE32-E72D297353CC}">
                <c16:uniqueId val="{00000067-2993-41DE-A2CB-63102DE87051}"/>
              </c:ext>
            </c:extLst>
          </c:dPt>
          <c:dPt>
            <c:idx val="24"/>
            <c:invertIfNegative val="1"/>
            <c:bubble3D val="0"/>
            <c:spPr>
              <a:solidFill>
                <a:srgbClr val="AEABAB"/>
              </a:solidFill>
            </c:spPr>
            <c:extLst>
              <c:ext xmlns:c16="http://schemas.microsoft.com/office/drawing/2014/chart" uri="{C3380CC4-5D6E-409C-BE32-E72D297353CC}">
                <c16:uniqueId val="{00000069-2993-41DE-A2CB-63102DE87051}"/>
              </c:ext>
            </c:extLst>
          </c:dPt>
          <c:dPt>
            <c:idx val="25"/>
            <c:invertIfNegative val="1"/>
            <c:bubble3D val="0"/>
            <c:spPr>
              <a:solidFill>
                <a:srgbClr val="AEABAB"/>
              </a:solidFill>
            </c:spPr>
            <c:extLst>
              <c:ext xmlns:c16="http://schemas.microsoft.com/office/drawing/2014/chart" uri="{C3380CC4-5D6E-409C-BE32-E72D297353CC}">
                <c16:uniqueId val="{0000006B-2993-41DE-A2CB-63102DE87051}"/>
              </c:ext>
            </c:extLst>
          </c:dPt>
          <c:dPt>
            <c:idx val="26"/>
            <c:invertIfNegative val="1"/>
            <c:bubble3D val="0"/>
            <c:spPr>
              <a:solidFill>
                <a:srgbClr val="AEABAB"/>
              </a:solidFill>
            </c:spPr>
            <c:extLst>
              <c:ext xmlns:c16="http://schemas.microsoft.com/office/drawing/2014/chart" uri="{C3380CC4-5D6E-409C-BE32-E72D297353CC}">
                <c16:uniqueId val="{0000006D-2993-41DE-A2CB-63102DE87051}"/>
              </c:ext>
            </c:extLst>
          </c:dPt>
          <c:dPt>
            <c:idx val="27"/>
            <c:invertIfNegative val="1"/>
            <c:bubble3D val="0"/>
            <c:spPr>
              <a:solidFill>
                <a:srgbClr val="AEABAB"/>
              </a:solidFill>
            </c:spPr>
            <c:extLst>
              <c:ext xmlns:c16="http://schemas.microsoft.com/office/drawing/2014/chart" uri="{C3380CC4-5D6E-409C-BE32-E72D297353CC}">
                <c16:uniqueId val="{0000006F-2993-41DE-A2CB-63102DE87051}"/>
              </c:ext>
            </c:extLst>
          </c:dPt>
          <c:dPt>
            <c:idx val="28"/>
            <c:invertIfNegative val="1"/>
            <c:bubble3D val="0"/>
            <c:spPr>
              <a:solidFill>
                <a:srgbClr val="AEABAB"/>
              </a:solidFill>
            </c:spPr>
            <c:extLst>
              <c:ext xmlns:c16="http://schemas.microsoft.com/office/drawing/2014/chart" uri="{C3380CC4-5D6E-409C-BE32-E72D297353CC}">
                <c16:uniqueId val="{00000071-2993-41DE-A2CB-63102DE87051}"/>
              </c:ext>
            </c:extLst>
          </c:dPt>
          <c:dPt>
            <c:idx val="29"/>
            <c:invertIfNegative val="1"/>
            <c:bubble3D val="0"/>
            <c:spPr>
              <a:solidFill>
                <a:srgbClr val="AEABAB"/>
              </a:solidFill>
            </c:spPr>
            <c:extLst>
              <c:ext xmlns:c16="http://schemas.microsoft.com/office/drawing/2014/chart" uri="{C3380CC4-5D6E-409C-BE32-E72D297353CC}">
                <c16:uniqueId val="{00000073-2993-41DE-A2CB-63102DE87051}"/>
              </c:ext>
            </c:extLst>
          </c:dPt>
          <c:dPt>
            <c:idx val="30"/>
            <c:invertIfNegative val="1"/>
            <c:bubble3D val="0"/>
            <c:spPr>
              <a:solidFill>
                <a:srgbClr val="AEABAB"/>
              </a:solidFill>
            </c:spPr>
            <c:extLst>
              <c:ext xmlns:c16="http://schemas.microsoft.com/office/drawing/2014/chart" uri="{C3380CC4-5D6E-409C-BE32-E72D297353CC}">
                <c16:uniqueId val="{00000075-2993-41DE-A2CB-63102DE87051}"/>
              </c:ext>
            </c:extLst>
          </c:dPt>
          <c:dPt>
            <c:idx val="31"/>
            <c:invertIfNegative val="1"/>
            <c:bubble3D val="0"/>
            <c:spPr>
              <a:solidFill>
                <a:srgbClr val="AEABAB"/>
              </a:solidFill>
            </c:spPr>
            <c:extLst>
              <c:ext xmlns:c16="http://schemas.microsoft.com/office/drawing/2014/chart" uri="{C3380CC4-5D6E-409C-BE32-E72D297353CC}">
                <c16:uniqueId val="{00000077-2993-41DE-A2CB-63102DE87051}"/>
              </c:ext>
            </c:extLst>
          </c:dPt>
          <c:dPt>
            <c:idx val="32"/>
            <c:invertIfNegative val="1"/>
            <c:bubble3D val="0"/>
            <c:spPr>
              <a:solidFill>
                <a:srgbClr val="AEABAB"/>
              </a:solidFill>
            </c:spPr>
            <c:extLst>
              <c:ext xmlns:c16="http://schemas.microsoft.com/office/drawing/2014/chart" uri="{C3380CC4-5D6E-409C-BE32-E72D297353CC}">
                <c16:uniqueId val="{00000079-2993-41DE-A2CB-63102DE87051}"/>
              </c:ext>
            </c:extLst>
          </c:dPt>
          <c:dPt>
            <c:idx val="33"/>
            <c:invertIfNegative val="1"/>
            <c:bubble3D val="0"/>
            <c:spPr>
              <a:solidFill>
                <a:srgbClr val="AEABAB"/>
              </a:solidFill>
            </c:spPr>
            <c:extLst>
              <c:ext xmlns:c16="http://schemas.microsoft.com/office/drawing/2014/chart" uri="{C3380CC4-5D6E-409C-BE32-E72D297353CC}">
                <c16:uniqueId val="{0000007B-2993-41DE-A2CB-63102DE87051}"/>
              </c:ext>
            </c:extLst>
          </c:dPt>
          <c:dPt>
            <c:idx val="34"/>
            <c:invertIfNegative val="1"/>
            <c:bubble3D val="0"/>
            <c:spPr>
              <a:solidFill>
                <a:srgbClr val="AEABAB"/>
              </a:solidFill>
            </c:spPr>
            <c:extLst>
              <c:ext xmlns:c16="http://schemas.microsoft.com/office/drawing/2014/chart" uri="{C3380CC4-5D6E-409C-BE32-E72D297353CC}">
                <c16:uniqueId val="{0000007D-2993-41DE-A2CB-63102DE87051}"/>
              </c:ext>
            </c:extLst>
          </c:dPt>
          <c:dPt>
            <c:idx val="35"/>
            <c:invertIfNegative val="1"/>
            <c:bubble3D val="0"/>
            <c:spPr>
              <a:solidFill>
                <a:srgbClr val="AEABAB"/>
              </a:solidFill>
            </c:spPr>
            <c:extLst>
              <c:ext xmlns:c16="http://schemas.microsoft.com/office/drawing/2014/chart" uri="{C3380CC4-5D6E-409C-BE32-E72D297353CC}">
                <c16:uniqueId val="{0000007F-2993-41DE-A2CB-63102DE87051}"/>
              </c:ext>
            </c:extLst>
          </c:dPt>
          <c:dPt>
            <c:idx val="36"/>
            <c:invertIfNegative val="1"/>
            <c:bubble3D val="0"/>
            <c:spPr>
              <a:solidFill>
                <a:srgbClr val="AEABAB"/>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38</c:f>
              <c:strCache>
                <c:ptCount val="37"/>
                <c:pt idx="0">
                  <c:v>Dom Perigno</c:v>
                </c:pt>
                <c:pt idx="1">
                  <c:v>Dom Perigno</c:v>
                </c:pt>
                <c:pt idx="2">
                  <c:v>Roederer</c:v>
                </c:pt>
                <c:pt idx="3">
                  <c:v>Malard</c:v>
                </c:pt>
                <c:pt idx="4">
                  <c:v>Ruinart</c:v>
                </c:pt>
                <c:pt idx="5">
                  <c:v>Roederer</c:v>
                </c:pt>
                <c:pt idx="6">
                  <c:v>Roederer</c:v>
                </c:pt>
                <c:pt idx="7">
                  <c:v>Dom Perigno</c:v>
                </c:pt>
                <c:pt idx="8">
                  <c:v>Laurent Per</c:v>
                </c:pt>
                <c:pt idx="9">
                  <c:v>Roederer</c:v>
                </c:pt>
                <c:pt idx="10">
                  <c:v>Pommery</c:v>
                </c:pt>
                <c:pt idx="11">
                  <c:v>Bollinger</c:v>
                </c:pt>
                <c:pt idx="12">
                  <c:v>Ruinart</c:v>
                </c:pt>
                <c:pt idx="13">
                  <c:v>Dom Perigno</c:v>
                </c:pt>
                <c:pt idx="14">
                  <c:v>Ruinart</c:v>
                </c:pt>
                <c:pt idx="15">
                  <c:v>Roederer</c:v>
                </c:pt>
                <c:pt idx="16">
                  <c:v>Perrier Jou</c:v>
                </c:pt>
                <c:pt idx="17">
                  <c:v>Piper Heids</c:v>
                </c:pt>
                <c:pt idx="18">
                  <c:v>Roederer</c:v>
                </c:pt>
                <c:pt idx="19">
                  <c:v>Ruinart</c:v>
                </c:pt>
                <c:pt idx="20">
                  <c:v>Bollinger</c:v>
                </c:pt>
                <c:pt idx="21">
                  <c:v>Roederer</c:v>
                </c:pt>
                <c:pt idx="22">
                  <c:v>All Others</c:v>
                </c:pt>
                <c:pt idx="23">
                  <c:v>De Venoge</c:v>
                </c:pt>
                <c:pt idx="24">
                  <c:v>All Others</c:v>
                </c:pt>
                <c:pt idx="25">
                  <c:v>Piper Heids</c:v>
                </c:pt>
                <c:pt idx="26">
                  <c:v>Ruinart</c:v>
                </c:pt>
                <c:pt idx="27">
                  <c:v>Laurent Per</c:v>
                </c:pt>
                <c:pt idx="28">
                  <c:v>Lanson</c:v>
                </c:pt>
                <c:pt idx="29">
                  <c:v>Bollinger</c:v>
                </c:pt>
                <c:pt idx="30">
                  <c:v>All Others</c:v>
                </c:pt>
                <c:pt idx="31">
                  <c:v>Veuve Clicq</c:v>
                </c:pt>
                <c:pt idx="32">
                  <c:v>Pommery</c:v>
                </c:pt>
                <c:pt idx="33">
                  <c:v>Malard</c:v>
                </c:pt>
                <c:pt idx="34">
                  <c:v>Roederer</c:v>
                </c:pt>
                <c:pt idx="35">
                  <c:v>Malard</c:v>
                </c:pt>
                <c:pt idx="36">
                  <c:v>Vesselle</c:v>
                </c:pt>
              </c:strCache>
            </c:strRef>
          </c:cat>
          <c:val>
            <c:numRef>
              <c:f>Sheet1!$C$2:$C$38</c:f>
              <c:numCache>
                <c:formatCode>General</c:formatCode>
                <c:ptCount val="37"/>
                <c:pt idx="0">
                  <c:v>0.27059790756532814</c:v>
                </c:pt>
                <c:pt idx="1">
                  <c:v>0.45675688746312448</c:v>
                </c:pt>
                <c:pt idx="2">
                  <c:v>0.53755259297470703</c:v>
                </c:pt>
                <c:pt idx="3">
                  <c:v>0.59253945480631276</c:v>
                </c:pt>
                <c:pt idx="4">
                  <c:v>0.64552738058775172</c:v>
                </c:pt>
                <c:pt idx="5">
                  <c:v>0.69288926861509204</c:v>
                </c:pt>
                <c:pt idx="6">
                  <c:v>0.72445311366530729</c:v>
                </c:pt>
                <c:pt idx="7">
                  <c:v>0.75546886334692842</c:v>
                </c:pt>
                <c:pt idx="8">
                  <c:v>0.78264794544839056</c:v>
                </c:pt>
                <c:pt idx="9">
                  <c:v>0.80850515048441973</c:v>
                </c:pt>
                <c:pt idx="10">
                  <c:v>0.82817210194573876</c:v>
                </c:pt>
                <c:pt idx="11">
                  <c:v>0.84566279238469866</c:v>
                </c:pt>
                <c:pt idx="12">
                  <c:v>0.86258926700304694</c:v>
                </c:pt>
                <c:pt idx="13">
                  <c:v>0.87870971902052153</c:v>
                </c:pt>
                <c:pt idx="14">
                  <c:v>0.89395966662905246</c:v>
                </c:pt>
                <c:pt idx="15">
                  <c:v>0.90585656021794869</c:v>
                </c:pt>
                <c:pt idx="16">
                  <c:v>0.91775345380684492</c:v>
                </c:pt>
                <c:pt idx="17">
                  <c:v>0.92960198603968869</c:v>
                </c:pt>
                <c:pt idx="18">
                  <c:v>0.93674334628342992</c:v>
                </c:pt>
                <c:pt idx="19">
                  <c:v>0.94367514065094393</c:v>
                </c:pt>
                <c:pt idx="20">
                  <c:v>0.94976867151354927</c:v>
                </c:pt>
                <c:pt idx="21">
                  <c:v>0.95534634791159545</c:v>
                </c:pt>
                <c:pt idx="22">
                  <c:v>0.96018248351683777</c:v>
                </c:pt>
                <c:pt idx="23">
                  <c:v>0.96434156013734618</c:v>
                </c:pt>
                <c:pt idx="24">
                  <c:v>0.96845227540180223</c:v>
                </c:pt>
                <c:pt idx="25">
                  <c:v>0.97248238840617085</c:v>
                </c:pt>
                <c:pt idx="26">
                  <c:v>0.97648026050650449</c:v>
                </c:pt>
                <c:pt idx="27">
                  <c:v>0.98033304853868086</c:v>
                </c:pt>
                <c:pt idx="28">
                  <c:v>0.98347653668208845</c:v>
                </c:pt>
                <c:pt idx="29">
                  <c:v>0.98652330211339112</c:v>
                </c:pt>
                <c:pt idx="30">
                  <c:v>0.98939274257250165</c:v>
                </c:pt>
                <c:pt idx="31">
                  <c:v>0.99221382167555972</c:v>
                </c:pt>
                <c:pt idx="32">
                  <c:v>0.99495429851853034</c:v>
                </c:pt>
                <c:pt idx="33">
                  <c:v>0.99677590959650497</c:v>
                </c:pt>
                <c:pt idx="34">
                  <c:v>0.99830735253816505</c:v>
                </c:pt>
                <c:pt idx="35">
                  <c:v>0.99950026598745811</c:v>
                </c:pt>
                <c:pt idx="36">
                  <c:v>0.99999999999999978</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41</c:f>
              <c:strCache>
                <c:ptCount val="40"/>
                <c:pt idx="0">
                  <c:v>Dom Perigno</c:v>
                </c:pt>
                <c:pt idx="1">
                  <c:v>Dom Perigno</c:v>
                </c:pt>
                <c:pt idx="2">
                  <c:v>Malard</c:v>
                </c:pt>
                <c:pt idx="3">
                  <c:v>Roederer</c:v>
                </c:pt>
                <c:pt idx="4">
                  <c:v>Roederer</c:v>
                </c:pt>
                <c:pt idx="5">
                  <c:v>Bollinger</c:v>
                </c:pt>
                <c:pt idx="6">
                  <c:v>Dom Perigno</c:v>
                </c:pt>
                <c:pt idx="7">
                  <c:v>Ruinart</c:v>
                </c:pt>
                <c:pt idx="8">
                  <c:v>Ruinart</c:v>
                </c:pt>
                <c:pt idx="9">
                  <c:v>Laurent Per</c:v>
                </c:pt>
                <c:pt idx="10">
                  <c:v>Roederer</c:v>
                </c:pt>
                <c:pt idx="11">
                  <c:v>Piper Heids</c:v>
                </c:pt>
                <c:pt idx="12">
                  <c:v>Perrier Jou</c:v>
                </c:pt>
                <c:pt idx="13">
                  <c:v>All Others</c:v>
                </c:pt>
                <c:pt idx="14">
                  <c:v>De Venoge</c:v>
                </c:pt>
                <c:pt idx="15">
                  <c:v>Roederer</c:v>
                </c:pt>
                <c:pt idx="16">
                  <c:v>All Others</c:v>
                </c:pt>
                <c:pt idx="17">
                  <c:v>Dom Perigno</c:v>
                </c:pt>
                <c:pt idx="18">
                  <c:v>Pommery</c:v>
                </c:pt>
                <c:pt idx="19">
                  <c:v>Roederer</c:v>
                </c:pt>
                <c:pt idx="20">
                  <c:v>Bollinger</c:v>
                </c:pt>
                <c:pt idx="21">
                  <c:v>Roederer</c:v>
                </c:pt>
                <c:pt idx="22">
                  <c:v>Ruinart</c:v>
                </c:pt>
                <c:pt idx="23">
                  <c:v>De Venoge</c:v>
                </c:pt>
                <c:pt idx="24">
                  <c:v>Roederer</c:v>
                </c:pt>
                <c:pt idx="25">
                  <c:v>Piper Heids</c:v>
                </c:pt>
                <c:pt idx="26">
                  <c:v>Perrier Jou</c:v>
                </c:pt>
                <c:pt idx="27">
                  <c:v>Roederer</c:v>
                </c:pt>
                <c:pt idx="28">
                  <c:v>Laurent Per</c:v>
                </c:pt>
                <c:pt idx="29">
                  <c:v>Laurent Per</c:v>
                </c:pt>
                <c:pt idx="30">
                  <c:v>Veuve Clicq</c:v>
                </c:pt>
                <c:pt idx="31">
                  <c:v>Perrier Jou</c:v>
                </c:pt>
                <c:pt idx="32">
                  <c:v>Deutz</c:v>
                </c:pt>
                <c:pt idx="33">
                  <c:v>All Others</c:v>
                </c:pt>
                <c:pt idx="34">
                  <c:v>Veuve Clicq</c:v>
                </c:pt>
                <c:pt idx="35">
                  <c:v>Malard</c:v>
                </c:pt>
                <c:pt idx="36">
                  <c:v>Roederer</c:v>
                </c:pt>
                <c:pt idx="37">
                  <c:v>Roederer</c:v>
                </c:pt>
                <c:pt idx="38">
                  <c:v>Moët &amp; Chan</c:v>
                </c:pt>
                <c:pt idx="39">
                  <c:v>Malard</c:v>
                </c:pt>
              </c:strCache>
            </c:strRef>
          </c:cat>
          <c:val>
            <c:numRef>
              <c:f>Sheet1!$B$2:$B$41</c:f>
              <c:numCache>
                <c:formatCode>General</c:formatCode>
                <c:ptCount val="40"/>
                <c:pt idx="0">
                  <c:v>0.62</c:v>
                </c:pt>
                <c:pt idx="1">
                  <c:v>0.28000000000000003</c:v>
                </c:pt>
                <c:pt idx="2">
                  <c:v>0.43</c:v>
                </c:pt>
                <c:pt idx="3">
                  <c:v>0.24</c:v>
                </c:pt>
                <c:pt idx="4">
                  <c:v>0.34</c:v>
                </c:pt>
                <c:pt idx="5">
                  <c:v>0.31</c:v>
                </c:pt>
                <c:pt idx="6">
                  <c:v>0.22</c:v>
                </c:pt>
                <c:pt idx="7">
                  <c:v>0.38</c:v>
                </c:pt>
                <c:pt idx="8">
                  <c:v>0.38</c:v>
                </c:pt>
                <c:pt idx="9">
                  <c:v>0.41</c:v>
                </c:pt>
                <c:pt idx="10">
                  <c:v>0.28000000000000003</c:v>
                </c:pt>
                <c:pt idx="11">
                  <c:v>0.24</c:v>
                </c:pt>
                <c:pt idx="12">
                  <c:v>0.28000000000000003</c:v>
                </c:pt>
                <c:pt idx="13">
                  <c:v>0.21</c:v>
                </c:pt>
                <c:pt idx="14">
                  <c:v>0.25</c:v>
                </c:pt>
                <c:pt idx="15">
                  <c:v>0.2</c:v>
                </c:pt>
                <c:pt idx="16">
                  <c:v>0.32</c:v>
                </c:pt>
                <c:pt idx="17">
                  <c:v>0.06</c:v>
                </c:pt>
                <c:pt idx="18">
                  <c:v>0.31</c:v>
                </c:pt>
                <c:pt idx="19">
                  <c:v>0.13</c:v>
                </c:pt>
                <c:pt idx="20">
                  <c:v>0.24</c:v>
                </c:pt>
                <c:pt idx="21">
                  <c:v>0.11</c:v>
                </c:pt>
                <c:pt idx="22">
                  <c:v>0.28000000000000003</c:v>
                </c:pt>
                <c:pt idx="23">
                  <c:v>0.18</c:v>
                </c:pt>
                <c:pt idx="24">
                  <c:v>0.15</c:v>
                </c:pt>
                <c:pt idx="25">
                  <c:v>0.05</c:v>
                </c:pt>
                <c:pt idx="26">
                  <c:v>0.12</c:v>
                </c:pt>
                <c:pt idx="27">
                  <c:v>0.06</c:v>
                </c:pt>
                <c:pt idx="28">
                  <c:v>0.24</c:v>
                </c:pt>
                <c:pt idx="29">
                  <c:v>0.06</c:v>
                </c:pt>
                <c:pt idx="30">
                  <c:v>0.21</c:v>
                </c:pt>
                <c:pt idx="31">
                  <c:v>7.0000000000000007E-2</c:v>
                </c:pt>
                <c:pt idx="32">
                  <c:v>0.19</c:v>
                </c:pt>
                <c:pt idx="33">
                  <c:v>0.11</c:v>
                </c:pt>
                <c:pt idx="34">
                  <c:v>0.03</c:v>
                </c:pt>
                <c:pt idx="35">
                  <c:v>0.04</c:v>
                </c:pt>
                <c:pt idx="36">
                  <c:v>0.04</c:v>
                </c:pt>
                <c:pt idx="37">
                  <c:v>0.22</c:v>
                </c:pt>
                <c:pt idx="38">
                  <c:v>0.02</c:v>
                </c:pt>
                <c:pt idx="3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7ECAC4"/>
              </a:solidFill>
            </c:spPr>
            <c:extLst>
              <c:ext xmlns:c16="http://schemas.microsoft.com/office/drawing/2014/chart" uri="{C3380CC4-5D6E-409C-BE32-E72D297353CC}">
                <c16:uniqueId val="{00000055-2993-41DE-A2CB-63102DE87051}"/>
              </c:ext>
            </c:extLst>
          </c:dPt>
          <c:dPt>
            <c:idx val="15"/>
            <c:invertIfNegative val="1"/>
            <c:bubble3D val="0"/>
            <c:spPr>
              <a:solidFill>
                <a:srgbClr val="7ECAC4"/>
              </a:solidFill>
            </c:spPr>
            <c:extLst>
              <c:ext xmlns:c16="http://schemas.microsoft.com/office/drawing/2014/chart" uri="{C3380CC4-5D6E-409C-BE32-E72D297353CC}">
                <c16:uniqueId val="{00000057-2993-41DE-A2CB-63102DE87051}"/>
              </c:ext>
            </c:extLst>
          </c:dPt>
          <c:dPt>
            <c:idx val="16"/>
            <c:invertIfNegative val="1"/>
            <c:bubble3D val="0"/>
            <c:spPr>
              <a:solidFill>
                <a:srgbClr val="7ECAC4"/>
              </a:solidFill>
            </c:spPr>
            <c:extLst>
              <c:ext xmlns:c16="http://schemas.microsoft.com/office/drawing/2014/chart" uri="{C3380CC4-5D6E-409C-BE32-E72D297353CC}">
                <c16:uniqueId val="{00000059-2993-41DE-A2CB-63102DE87051}"/>
              </c:ext>
            </c:extLst>
          </c:dPt>
          <c:dPt>
            <c:idx val="17"/>
            <c:invertIfNegative val="1"/>
            <c:bubble3D val="0"/>
            <c:spPr>
              <a:solidFill>
                <a:srgbClr val="7ECAC4"/>
              </a:solidFill>
            </c:spPr>
            <c:extLst>
              <c:ext xmlns:c16="http://schemas.microsoft.com/office/drawing/2014/chart" uri="{C3380CC4-5D6E-409C-BE32-E72D297353CC}">
                <c16:uniqueId val="{0000005B-2993-41DE-A2CB-63102DE87051}"/>
              </c:ext>
            </c:extLst>
          </c:dPt>
          <c:dPt>
            <c:idx val="18"/>
            <c:invertIfNegative val="1"/>
            <c:bubble3D val="0"/>
            <c:spPr>
              <a:solidFill>
                <a:srgbClr val="7ECAC4"/>
              </a:solidFill>
            </c:spPr>
            <c:extLst>
              <c:ext xmlns:c16="http://schemas.microsoft.com/office/drawing/2014/chart" uri="{C3380CC4-5D6E-409C-BE32-E72D297353CC}">
                <c16:uniqueId val="{0000005D-2993-41DE-A2CB-63102DE87051}"/>
              </c:ext>
            </c:extLst>
          </c:dPt>
          <c:dPt>
            <c:idx val="19"/>
            <c:invertIfNegative val="1"/>
            <c:bubble3D val="0"/>
            <c:spPr>
              <a:solidFill>
                <a:srgbClr val="7ECAC4"/>
              </a:solidFill>
            </c:spPr>
            <c:extLst>
              <c:ext xmlns:c16="http://schemas.microsoft.com/office/drawing/2014/chart" uri="{C3380CC4-5D6E-409C-BE32-E72D297353CC}">
                <c16:uniqueId val="{0000005F-2993-41DE-A2CB-63102DE87051}"/>
              </c:ext>
            </c:extLst>
          </c:dPt>
          <c:dPt>
            <c:idx val="20"/>
            <c:invertIfNegative val="1"/>
            <c:bubble3D val="0"/>
            <c:spPr>
              <a:solidFill>
                <a:srgbClr val="7ECAC4"/>
              </a:solidFill>
            </c:spPr>
            <c:extLst>
              <c:ext xmlns:c16="http://schemas.microsoft.com/office/drawing/2014/chart" uri="{C3380CC4-5D6E-409C-BE32-E72D297353CC}">
                <c16:uniqueId val="{00000061-2993-41DE-A2CB-63102DE87051}"/>
              </c:ext>
            </c:extLst>
          </c:dPt>
          <c:dPt>
            <c:idx val="21"/>
            <c:invertIfNegative val="1"/>
            <c:bubble3D val="0"/>
            <c:spPr>
              <a:solidFill>
                <a:srgbClr val="7ECAC4"/>
              </a:solidFill>
            </c:spPr>
            <c:extLst>
              <c:ext xmlns:c16="http://schemas.microsoft.com/office/drawing/2014/chart" uri="{C3380CC4-5D6E-409C-BE32-E72D297353CC}">
                <c16:uniqueId val="{00000063-2993-41DE-A2CB-63102DE87051}"/>
              </c:ext>
            </c:extLst>
          </c:dPt>
          <c:dPt>
            <c:idx val="22"/>
            <c:invertIfNegative val="1"/>
            <c:bubble3D val="0"/>
            <c:spPr>
              <a:solidFill>
                <a:srgbClr val="7ECAC4"/>
              </a:solidFill>
            </c:spPr>
            <c:extLst>
              <c:ext xmlns:c16="http://schemas.microsoft.com/office/drawing/2014/chart" uri="{C3380CC4-5D6E-409C-BE32-E72D297353CC}">
                <c16:uniqueId val="{00000065-2993-41DE-A2CB-63102DE87051}"/>
              </c:ext>
            </c:extLst>
          </c:dPt>
          <c:dPt>
            <c:idx val="23"/>
            <c:invertIfNegative val="1"/>
            <c:bubble3D val="0"/>
            <c:spPr>
              <a:solidFill>
                <a:srgbClr val="7ECAC4"/>
              </a:solidFill>
            </c:spPr>
            <c:extLst>
              <c:ext xmlns:c16="http://schemas.microsoft.com/office/drawing/2014/chart" uri="{C3380CC4-5D6E-409C-BE32-E72D297353CC}">
                <c16:uniqueId val="{00000067-2993-41DE-A2CB-63102DE87051}"/>
              </c:ext>
            </c:extLst>
          </c:dPt>
          <c:dPt>
            <c:idx val="24"/>
            <c:invertIfNegative val="1"/>
            <c:bubble3D val="0"/>
            <c:spPr>
              <a:solidFill>
                <a:srgbClr val="AEABAB"/>
              </a:solidFill>
            </c:spPr>
            <c:extLst>
              <c:ext xmlns:c16="http://schemas.microsoft.com/office/drawing/2014/chart" uri="{C3380CC4-5D6E-409C-BE32-E72D297353CC}">
                <c16:uniqueId val="{00000069-2993-41DE-A2CB-63102DE87051}"/>
              </c:ext>
            </c:extLst>
          </c:dPt>
          <c:dPt>
            <c:idx val="25"/>
            <c:invertIfNegative val="1"/>
            <c:bubble3D val="0"/>
            <c:spPr>
              <a:solidFill>
                <a:srgbClr val="AEABAB"/>
              </a:solidFill>
            </c:spPr>
            <c:extLst>
              <c:ext xmlns:c16="http://schemas.microsoft.com/office/drawing/2014/chart" uri="{C3380CC4-5D6E-409C-BE32-E72D297353CC}">
                <c16:uniqueId val="{0000006B-2993-41DE-A2CB-63102DE87051}"/>
              </c:ext>
            </c:extLst>
          </c:dPt>
          <c:dPt>
            <c:idx val="26"/>
            <c:invertIfNegative val="1"/>
            <c:bubble3D val="0"/>
            <c:spPr>
              <a:solidFill>
                <a:srgbClr val="AEABAB"/>
              </a:solidFill>
            </c:spPr>
            <c:extLst>
              <c:ext xmlns:c16="http://schemas.microsoft.com/office/drawing/2014/chart" uri="{C3380CC4-5D6E-409C-BE32-E72D297353CC}">
                <c16:uniqueId val="{0000006D-2993-41DE-A2CB-63102DE87051}"/>
              </c:ext>
            </c:extLst>
          </c:dPt>
          <c:dPt>
            <c:idx val="27"/>
            <c:invertIfNegative val="1"/>
            <c:bubble3D val="0"/>
            <c:spPr>
              <a:solidFill>
                <a:srgbClr val="AEABAB"/>
              </a:solidFill>
            </c:spPr>
            <c:extLst>
              <c:ext xmlns:c16="http://schemas.microsoft.com/office/drawing/2014/chart" uri="{C3380CC4-5D6E-409C-BE32-E72D297353CC}">
                <c16:uniqueId val="{0000006F-2993-41DE-A2CB-63102DE87051}"/>
              </c:ext>
            </c:extLst>
          </c:dPt>
          <c:dPt>
            <c:idx val="28"/>
            <c:invertIfNegative val="1"/>
            <c:bubble3D val="0"/>
            <c:spPr>
              <a:solidFill>
                <a:srgbClr val="AEABAB"/>
              </a:solidFill>
            </c:spPr>
            <c:extLst>
              <c:ext xmlns:c16="http://schemas.microsoft.com/office/drawing/2014/chart" uri="{C3380CC4-5D6E-409C-BE32-E72D297353CC}">
                <c16:uniqueId val="{00000071-2993-41DE-A2CB-63102DE87051}"/>
              </c:ext>
            </c:extLst>
          </c:dPt>
          <c:dPt>
            <c:idx val="29"/>
            <c:invertIfNegative val="1"/>
            <c:bubble3D val="0"/>
            <c:spPr>
              <a:solidFill>
                <a:srgbClr val="AEABAB"/>
              </a:solidFill>
            </c:spPr>
            <c:extLst>
              <c:ext xmlns:c16="http://schemas.microsoft.com/office/drawing/2014/chart" uri="{C3380CC4-5D6E-409C-BE32-E72D297353CC}">
                <c16:uniqueId val="{00000073-2993-41DE-A2CB-63102DE87051}"/>
              </c:ext>
            </c:extLst>
          </c:dPt>
          <c:dPt>
            <c:idx val="30"/>
            <c:invertIfNegative val="1"/>
            <c:bubble3D val="0"/>
            <c:spPr>
              <a:solidFill>
                <a:srgbClr val="AEABAB"/>
              </a:solidFill>
            </c:spPr>
            <c:extLst>
              <c:ext xmlns:c16="http://schemas.microsoft.com/office/drawing/2014/chart" uri="{C3380CC4-5D6E-409C-BE32-E72D297353CC}">
                <c16:uniqueId val="{00000075-2993-41DE-A2CB-63102DE87051}"/>
              </c:ext>
            </c:extLst>
          </c:dPt>
          <c:dPt>
            <c:idx val="31"/>
            <c:invertIfNegative val="1"/>
            <c:bubble3D val="0"/>
            <c:spPr>
              <a:solidFill>
                <a:srgbClr val="AEABAB"/>
              </a:solidFill>
            </c:spPr>
            <c:extLst>
              <c:ext xmlns:c16="http://schemas.microsoft.com/office/drawing/2014/chart" uri="{C3380CC4-5D6E-409C-BE32-E72D297353CC}">
                <c16:uniqueId val="{00000077-2993-41DE-A2CB-63102DE87051}"/>
              </c:ext>
            </c:extLst>
          </c:dPt>
          <c:dPt>
            <c:idx val="32"/>
            <c:invertIfNegative val="1"/>
            <c:bubble3D val="0"/>
            <c:spPr>
              <a:solidFill>
                <a:srgbClr val="AEABAB"/>
              </a:solidFill>
            </c:spPr>
            <c:extLst>
              <c:ext xmlns:c16="http://schemas.microsoft.com/office/drawing/2014/chart" uri="{C3380CC4-5D6E-409C-BE32-E72D297353CC}">
                <c16:uniqueId val="{00000079-2993-41DE-A2CB-63102DE87051}"/>
              </c:ext>
            </c:extLst>
          </c:dPt>
          <c:dPt>
            <c:idx val="33"/>
            <c:invertIfNegative val="1"/>
            <c:bubble3D val="0"/>
            <c:spPr>
              <a:solidFill>
                <a:srgbClr val="AEABAB"/>
              </a:solidFill>
            </c:spPr>
            <c:extLst>
              <c:ext xmlns:c16="http://schemas.microsoft.com/office/drawing/2014/chart" uri="{C3380CC4-5D6E-409C-BE32-E72D297353CC}">
                <c16:uniqueId val="{0000007B-2993-41DE-A2CB-63102DE87051}"/>
              </c:ext>
            </c:extLst>
          </c:dPt>
          <c:dPt>
            <c:idx val="34"/>
            <c:invertIfNegative val="1"/>
            <c:bubble3D val="0"/>
            <c:spPr>
              <a:solidFill>
                <a:srgbClr val="AEABAB"/>
              </a:solidFill>
            </c:spPr>
            <c:extLst>
              <c:ext xmlns:c16="http://schemas.microsoft.com/office/drawing/2014/chart" uri="{C3380CC4-5D6E-409C-BE32-E72D297353CC}">
                <c16:uniqueId val="{0000007D-2993-41DE-A2CB-63102DE87051}"/>
              </c:ext>
            </c:extLst>
          </c:dPt>
          <c:dPt>
            <c:idx val="35"/>
            <c:invertIfNegative val="1"/>
            <c:bubble3D val="0"/>
            <c:spPr>
              <a:solidFill>
                <a:srgbClr val="AEABAB"/>
              </a:solidFill>
            </c:spPr>
            <c:extLst>
              <c:ext xmlns:c16="http://schemas.microsoft.com/office/drawing/2014/chart" uri="{C3380CC4-5D6E-409C-BE32-E72D297353CC}">
                <c16:uniqueId val="{0000007F-2993-41DE-A2CB-63102DE87051}"/>
              </c:ext>
            </c:extLst>
          </c:dPt>
          <c:dPt>
            <c:idx val="36"/>
            <c:invertIfNegative val="1"/>
            <c:bubble3D val="0"/>
            <c:spPr>
              <a:solidFill>
                <a:srgbClr val="AEABAB"/>
              </a:solidFill>
            </c:spPr>
            <c:extLst>
              <c:ext xmlns:c16="http://schemas.microsoft.com/office/drawing/2014/chart" uri="{C3380CC4-5D6E-409C-BE32-E72D297353CC}">
                <c16:uniqueId val="{00000081-2993-41DE-A2CB-63102DE87051}"/>
              </c:ext>
            </c:extLst>
          </c:dPt>
          <c:dPt>
            <c:idx val="37"/>
            <c:invertIfNegative val="1"/>
            <c:bubble3D val="0"/>
            <c:spPr>
              <a:solidFill>
                <a:srgbClr val="AEABAB"/>
              </a:solidFill>
            </c:spPr>
            <c:extLst>
              <c:ext xmlns:c16="http://schemas.microsoft.com/office/drawing/2014/chart" uri="{C3380CC4-5D6E-409C-BE32-E72D297353CC}">
                <c16:uniqueId val="{00000083-2993-41DE-A2CB-63102DE87051}"/>
              </c:ext>
            </c:extLst>
          </c:dPt>
          <c:dPt>
            <c:idx val="38"/>
            <c:invertIfNegative val="1"/>
            <c:bubble3D val="0"/>
            <c:spPr>
              <a:solidFill>
                <a:srgbClr val="AEABAB"/>
              </a:solidFill>
            </c:spPr>
            <c:extLst>
              <c:ext xmlns:c16="http://schemas.microsoft.com/office/drawing/2014/chart" uri="{C3380CC4-5D6E-409C-BE32-E72D297353CC}">
                <c16:uniqueId val="{00000085-2993-41DE-A2CB-63102DE87051}"/>
              </c:ext>
            </c:extLst>
          </c:dPt>
          <c:dPt>
            <c:idx val="39"/>
            <c:invertIfNegative val="1"/>
            <c:bubble3D val="0"/>
            <c:spPr>
              <a:solidFill>
                <a:srgbClr val="AEABAB"/>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41</c:f>
              <c:strCache>
                <c:ptCount val="40"/>
                <c:pt idx="0">
                  <c:v>Dom Perigno</c:v>
                </c:pt>
                <c:pt idx="1">
                  <c:v>Dom Perigno</c:v>
                </c:pt>
                <c:pt idx="2">
                  <c:v>Malard</c:v>
                </c:pt>
                <c:pt idx="3">
                  <c:v>Roederer</c:v>
                </c:pt>
                <c:pt idx="4">
                  <c:v>Roederer</c:v>
                </c:pt>
                <c:pt idx="5">
                  <c:v>Bollinger</c:v>
                </c:pt>
                <c:pt idx="6">
                  <c:v>Dom Perigno</c:v>
                </c:pt>
                <c:pt idx="7">
                  <c:v>Ruinart</c:v>
                </c:pt>
                <c:pt idx="8">
                  <c:v>Ruinart</c:v>
                </c:pt>
                <c:pt idx="9">
                  <c:v>Laurent Per</c:v>
                </c:pt>
                <c:pt idx="10">
                  <c:v>Roederer</c:v>
                </c:pt>
                <c:pt idx="11">
                  <c:v>Piper Heids</c:v>
                </c:pt>
                <c:pt idx="12">
                  <c:v>Perrier Jou</c:v>
                </c:pt>
                <c:pt idx="13">
                  <c:v>All Others</c:v>
                </c:pt>
                <c:pt idx="14">
                  <c:v>De Venoge</c:v>
                </c:pt>
                <c:pt idx="15">
                  <c:v>Roederer</c:v>
                </c:pt>
                <c:pt idx="16">
                  <c:v>All Others</c:v>
                </c:pt>
                <c:pt idx="17">
                  <c:v>Dom Perigno</c:v>
                </c:pt>
                <c:pt idx="18">
                  <c:v>Pommery</c:v>
                </c:pt>
                <c:pt idx="19">
                  <c:v>Roederer</c:v>
                </c:pt>
                <c:pt idx="20">
                  <c:v>Bollinger</c:v>
                </c:pt>
                <c:pt idx="21">
                  <c:v>Roederer</c:v>
                </c:pt>
                <c:pt idx="22">
                  <c:v>Ruinart</c:v>
                </c:pt>
                <c:pt idx="23">
                  <c:v>De Venoge</c:v>
                </c:pt>
                <c:pt idx="24">
                  <c:v>Roederer</c:v>
                </c:pt>
                <c:pt idx="25">
                  <c:v>Piper Heids</c:v>
                </c:pt>
                <c:pt idx="26">
                  <c:v>Perrier Jou</c:v>
                </c:pt>
                <c:pt idx="27">
                  <c:v>Roederer</c:v>
                </c:pt>
                <c:pt idx="28">
                  <c:v>Laurent Per</c:v>
                </c:pt>
                <c:pt idx="29">
                  <c:v>Laurent Per</c:v>
                </c:pt>
                <c:pt idx="30">
                  <c:v>Veuve Clicq</c:v>
                </c:pt>
                <c:pt idx="31">
                  <c:v>Perrier Jou</c:v>
                </c:pt>
                <c:pt idx="32">
                  <c:v>Deutz</c:v>
                </c:pt>
                <c:pt idx="33">
                  <c:v>All Others</c:v>
                </c:pt>
                <c:pt idx="34">
                  <c:v>Veuve Clicq</c:v>
                </c:pt>
                <c:pt idx="35">
                  <c:v>Malard</c:v>
                </c:pt>
                <c:pt idx="36">
                  <c:v>Roederer</c:v>
                </c:pt>
                <c:pt idx="37">
                  <c:v>Roederer</c:v>
                </c:pt>
                <c:pt idx="38">
                  <c:v>Moët &amp; Chan</c:v>
                </c:pt>
                <c:pt idx="39">
                  <c:v>Malard</c:v>
                </c:pt>
              </c:strCache>
            </c:strRef>
          </c:cat>
          <c:val>
            <c:numRef>
              <c:f>Sheet1!$C$2:$C$41</c:f>
              <c:numCache>
                <c:formatCode>General</c:formatCode>
                <c:ptCount val="40"/>
                <c:pt idx="0">
                  <c:v>0.15870725094026064</c:v>
                </c:pt>
                <c:pt idx="1">
                  <c:v>0.25486165777427916</c:v>
                </c:pt>
                <c:pt idx="2">
                  <c:v>0.33770663867751249</c:v>
                </c:pt>
                <c:pt idx="3">
                  <c:v>0.40100294469226511</c:v>
                </c:pt>
                <c:pt idx="4">
                  <c:v>0.46190851045219983</c:v>
                </c:pt>
                <c:pt idx="5">
                  <c:v>0.52037960290387475</c:v>
                </c:pt>
                <c:pt idx="6">
                  <c:v>0.57707221784891694</c:v>
                </c:pt>
                <c:pt idx="7">
                  <c:v>0.62611154844164563</c:v>
                </c:pt>
                <c:pt idx="8">
                  <c:v>0.66525263127204881</c:v>
                </c:pt>
                <c:pt idx="9">
                  <c:v>0.69633225458468184</c:v>
                </c:pt>
                <c:pt idx="10">
                  <c:v>0.72577917723548802</c:v>
                </c:pt>
                <c:pt idx="11">
                  <c:v>0.75344762237966134</c:v>
                </c:pt>
                <c:pt idx="12">
                  <c:v>0.77965829907577489</c:v>
                </c:pt>
                <c:pt idx="13">
                  <c:v>0.80121869442257798</c:v>
                </c:pt>
                <c:pt idx="14">
                  <c:v>0.82272077903145868</c:v>
                </c:pt>
                <c:pt idx="15">
                  <c:v>0.84380011079040207</c:v>
                </c:pt>
                <c:pt idx="16">
                  <c:v>0.86345082947024698</c:v>
                </c:pt>
                <c:pt idx="17">
                  <c:v>0.87948628239890381</c:v>
                </c:pt>
                <c:pt idx="18">
                  <c:v>0.89441383130703522</c:v>
                </c:pt>
                <c:pt idx="19">
                  <c:v>0.90883116125834573</c:v>
                </c:pt>
                <c:pt idx="20">
                  <c:v>0.92107641622204728</c:v>
                </c:pt>
                <c:pt idx="21">
                  <c:v>0.93075599871716375</c:v>
                </c:pt>
                <c:pt idx="22">
                  <c:v>0.93855505991428323</c:v>
                </c:pt>
                <c:pt idx="23">
                  <c:v>0.94625207732003846</c:v>
                </c:pt>
                <c:pt idx="24">
                  <c:v>0.95373042945858477</c:v>
                </c:pt>
                <c:pt idx="25">
                  <c:v>0.96087349485407736</c:v>
                </c:pt>
                <c:pt idx="26">
                  <c:v>0.966894078544564</c:v>
                </c:pt>
                <c:pt idx="27">
                  <c:v>0.97214204495757894</c:v>
                </c:pt>
                <c:pt idx="28">
                  <c:v>0.97704014694305952</c:v>
                </c:pt>
                <c:pt idx="29">
                  <c:v>0.98053879121840282</c:v>
                </c:pt>
                <c:pt idx="30">
                  <c:v>0.9836729933817312</c:v>
                </c:pt>
                <c:pt idx="31">
                  <c:v>0.98644275343304466</c:v>
                </c:pt>
                <c:pt idx="32">
                  <c:v>0.98915420274643573</c:v>
                </c:pt>
                <c:pt idx="33">
                  <c:v>0.99173445289950146</c:v>
                </c:pt>
                <c:pt idx="34">
                  <c:v>0.99421265926120295</c:v>
                </c:pt>
                <c:pt idx="35">
                  <c:v>0.99623895740400592</c:v>
                </c:pt>
                <c:pt idx="36">
                  <c:v>0.99762383742966265</c:v>
                </c:pt>
                <c:pt idx="37">
                  <c:v>0.99879005218811046</c:v>
                </c:pt>
                <c:pt idx="38">
                  <c:v>0.99944604798973735</c:v>
                </c:pt>
                <c:pt idx="39">
                  <c:v>1</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78</c:f>
              <c:strCache>
                <c:ptCount val="77"/>
                <c:pt idx="0">
                  <c:v>Dom Perigno</c:v>
                </c:pt>
                <c:pt idx="1">
                  <c:v>Dom Perigno</c:v>
                </c:pt>
                <c:pt idx="2">
                  <c:v>Roederer</c:v>
                </c:pt>
                <c:pt idx="3">
                  <c:v>Dom Perigno</c:v>
                </c:pt>
                <c:pt idx="4">
                  <c:v>Malard</c:v>
                </c:pt>
                <c:pt idx="5">
                  <c:v>Roederer</c:v>
                </c:pt>
                <c:pt idx="6">
                  <c:v>Roederer</c:v>
                </c:pt>
                <c:pt idx="7">
                  <c:v>Roederer</c:v>
                </c:pt>
                <c:pt idx="8">
                  <c:v>Ruinart</c:v>
                </c:pt>
                <c:pt idx="9">
                  <c:v>Ruinart</c:v>
                </c:pt>
                <c:pt idx="10">
                  <c:v>Laurent Per</c:v>
                </c:pt>
                <c:pt idx="11">
                  <c:v>Bollinger</c:v>
                </c:pt>
                <c:pt idx="12">
                  <c:v>Roederer</c:v>
                </c:pt>
                <c:pt idx="13">
                  <c:v>Roederer</c:v>
                </c:pt>
                <c:pt idx="14">
                  <c:v>Perrier Jou</c:v>
                </c:pt>
                <c:pt idx="15">
                  <c:v>Ruinart</c:v>
                </c:pt>
                <c:pt idx="16">
                  <c:v>Veuve Clicq</c:v>
                </c:pt>
                <c:pt idx="17">
                  <c:v>Dom Perigno</c:v>
                </c:pt>
                <c:pt idx="18">
                  <c:v>Veuve Clicq</c:v>
                </c:pt>
                <c:pt idx="19">
                  <c:v>Piper Heids</c:v>
                </c:pt>
                <c:pt idx="20">
                  <c:v>Dom Perigno</c:v>
                </c:pt>
                <c:pt idx="21">
                  <c:v>Pommery</c:v>
                </c:pt>
                <c:pt idx="22">
                  <c:v>Roederer</c:v>
                </c:pt>
                <c:pt idx="23">
                  <c:v>Lanson</c:v>
                </c:pt>
                <c:pt idx="24">
                  <c:v>Laurent Per</c:v>
                </c:pt>
                <c:pt idx="25">
                  <c:v>De Venoge</c:v>
                </c:pt>
                <c:pt idx="26">
                  <c:v>Pommery</c:v>
                </c:pt>
                <c:pt idx="27">
                  <c:v>Roederer</c:v>
                </c:pt>
                <c:pt idx="28">
                  <c:v>Veuve Clicq</c:v>
                </c:pt>
                <c:pt idx="29">
                  <c:v>Roederer</c:v>
                </c:pt>
                <c:pt idx="30">
                  <c:v>All Others</c:v>
                </c:pt>
                <c:pt idx="31">
                  <c:v>All Others</c:v>
                </c:pt>
                <c:pt idx="32">
                  <c:v>Piper Heids</c:v>
                </c:pt>
                <c:pt idx="33">
                  <c:v>Dom Perigno</c:v>
                </c:pt>
                <c:pt idx="34">
                  <c:v>Dom Perigno</c:v>
                </c:pt>
                <c:pt idx="35">
                  <c:v>De Venoge</c:v>
                </c:pt>
                <c:pt idx="36">
                  <c:v>Deutz</c:v>
                </c:pt>
                <c:pt idx="37">
                  <c:v>All Others</c:v>
                </c:pt>
                <c:pt idx="38">
                  <c:v>Bollinger</c:v>
                </c:pt>
                <c:pt idx="39">
                  <c:v>All Others</c:v>
                </c:pt>
                <c:pt idx="40">
                  <c:v>Bollinger</c:v>
                </c:pt>
                <c:pt idx="41">
                  <c:v>Nicolas Feu</c:v>
                </c:pt>
                <c:pt idx="42">
                  <c:v>Perrier Jou</c:v>
                </c:pt>
                <c:pt idx="43">
                  <c:v>Roederer</c:v>
                </c:pt>
                <c:pt idx="44">
                  <c:v>Pommery</c:v>
                </c:pt>
                <c:pt idx="45">
                  <c:v>All Others</c:v>
                </c:pt>
                <c:pt idx="46">
                  <c:v>Dom Perigno</c:v>
                </c:pt>
                <c:pt idx="47">
                  <c:v>All Others</c:v>
                </c:pt>
                <c:pt idx="48">
                  <c:v>Vesselle</c:v>
                </c:pt>
                <c:pt idx="49">
                  <c:v>Krug</c:v>
                </c:pt>
                <c:pt idx="50">
                  <c:v>Bollinger</c:v>
                </c:pt>
                <c:pt idx="51">
                  <c:v>Roederer</c:v>
                </c:pt>
                <c:pt idx="52">
                  <c:v>Perrier Jou</c:v>
                </c:pt>
                <c:pt idx="53">
                  <c:v>Veuve Clicq</c:v>
                </c:pt>
                <c:pt idx="54">
                  <c:v>Krug</c:v>
                </c:pt>
                <c:pt idx="55">
                  <c:v>Moët &amp; Chan</c:v>
                </c:pt>
                <c:pt idx="56">
                  <c:v>Pommery</c:v>
                </c:pt>
                <c:pt idx="57">
                  <c:v>All Others</c:v>
                </c:pt>
                <c:pt idx="58">
                  <c:v>Henriot</c:v>
                </c:pt>
                <c:pt idx="59">
                  <c:v>Krug</c:v>
                </c:pt>
                <c:pt idx="60">
                  <c:v>Deutz</c:v>
                </c:pt>
                <c:pt idx="61">
                  <c:v>Moët &amp; Chan</c:v>
                </c:pt>
                <c:pt idx="62">
                  <c:v>Veuve Clicq</c:v>
                </c:pt>
                <c:pt idx="63">
                  <c:v>Bollinger</c:v>
                </c:pt>
                <c:pt idx="64">
                  <c:v>Ruinart</c:v>
                </c:pt>
                <c:pt idx="65">
                  <c:v>All Others</c:v>
                </c:pt>
                <c:pt idx="66">
                  <c:v>Canard Duch</c:v>
                </c:pt>
                <c:pt idx="67">
                  <c:v>Pommery</c:v>
                </c:pt>
                <c:pt idx="68">
                  <c:v>All Others</c:v>
                </c:pt>
                <c:pt idx="69">
                  <c:v>Roederer</c:v>
                </c:pt>
                <c:pt idx="70">
                  <c:v>Piper Heids</c:v>
                </c:pt>
                <c:pt idx="71">
                  <c:v>Mumm</c:v>
                </c:pt>
                <c:pt idx="72">
                  <c:v>Roederer</c:v>
                </c:pt>
                <c:pt idx="73">
                  <c:v>Laurent Per</c:v>
                </c:pt>
                <c:pt idx="74">
                  <c:v>Laurent Per</c:v>
                </c:pt>
                <c:pt idx="75">
                  <c:v>Malard</c:v>
                </c:pt>
                <c:pt idx="76">
                  <c:v>Vesselle</c:v>
                </c:pt>
              </c:strCache>
            </c:strRef>
          </c:cat>
          <c:val>
            <c:numRef>
              <c:f>Sheet1!$B$2:$B$78</c:f>
              <c:numCache>
                <c:formatCode>General</c:formatCode>
                <c:ptCount val="77"/>
                <c:pt idx="0">
                  <c:v>0.46</c:v>
                </c:pt>
                <c:pt idx="1">
                  <c:v>0.44</c:v>
                </c:pt>
                <c:pt idx="2">
                  <c:v>0.3</c:v>
                </c:pt>
                <c:pt idx="3">
                  <c:v>0.35</c:v>
                </c:pt>
                <c:pt idx="4">
                  <c:v>0.72</c:v>
                </c:pt>
                <c:pt idx="5">
                  <c:v>0.26</c:v>
                </c:pt>
                <c:pt idx="6">
                  <c:v>0.44</c:v>
                </c:pt>
                <c:pt idx="7">
                  <c:v>0.36</c:v>
                </c:pt>
                <c:pt idx="8">
                  <c:v>0.23</c:v>
                </c:pt>
                <c:pt idx="9">
                  <c:v>0.37</c:v>
                </c:pt>
                <c:pt idx="10">
                  <c:v>0.39</c:v>
                </c:pt>
                <c:pt idx="11">
                  <c:v>0.16</c:v>
                </c:pt>
                <c:pt idx="12">
                  <c:v>0.09</c:v>
                </c:pt>
                <c:pt idx="13">
                  <c:v>7.0000000000000007E-2</c:v>
                </c:pt>
                <c:pt idx="14">
                  <c:v>0.12</c:v>
                </c:pt>
                <c:pt idx="15">
                  <c:v>0.17</c:v>
                </c:pt>
                <c:pt idx="16">
                  <c:v>0.21</c:v>
                </c:pt>
                <c:pt idx="17">
                  <c:v>7.0000000000000007E-2</c:v>
                </c:pt>
                <c:pt idx="18">
                  <c:v>0.09</c:v>
                </c:pt>
                <c:pt idx="19">
                  <c:v>7.0000000000000007E-2</c:v>
                </c:pt>
                <c:pt idx="20">
                  <c:v>0.04</c:v>
                </c:pt>
                <c:pt idx="21">
                  <c:v>0.09</c:v>
                </c:pt>
                <c:pt idx="22">
                  <c:v>0.09</c:v>
                </c:pt>
                <c:pt idx="23">
                  <c:v>0.05</c:v>
                </c:pt>
                <c:pt idx="24">
                  <c:v>0.15</c:v>
                </c:pt>
                <c:pt idx="25">
                  <c:v>0.09</c:v>
                </c:pt>
                <c:pt idx="26">
                  <c:v>0.05</c:v>
                </c:pt>
                <c:pt idx="27">
                  <c:v>0.02</c:v>
                </c:pt>
                <c:pt idx="28">
                  <c:v>0.21</c:v>
                </c:pt>
                <c:pt idx="29">
                  <c:v>0.06</c:v>
                </c:pt>
                <c:pt idx="30">
                  <c:v>0.06</c:v>
                </c:pt>
                <c:pt idx="31">
                  <c:v>0.04</c:v>
                </c:pt>
                <c:pt idx="32">
                  <c:v>0.04</c:v>
                </c:pt>
                <c:pt idx="33">
                  <c:v>0.02</c:v>
                </c:pt>
                <c:pt idx="34">
                  <c:v>0.05</c:v>
                </c:pt>
                <c:pt idx="35">
                  <c:v>7.0000000000000007E-2</c:v>
                </c:pt>
                <c:pt idx="36">
                  <c:v>0.09</c:v>
                </c:pt>
                <c:pt idx="37">
                  <c:v>7.0000000000000007E-2</c:v>
                </c:pt>
                <c:pt idx="38">
                  <c:v>0.06</c:v>
                </c:pt>
                <c:pt idx="39">
                  <c:v>0.06</c:v>
                </c:pt>
                <c:pt idx="40">
                  <c:v>0.03</c:v>
                </c:pt>
                <c:pt idx="41">
                  <c:v>0.05</c:v>
                </c:pt>
                <c:pt idx="42">
                  <c:v>0.03</c:v>
                </c:pt>
                <c:pt idx="43">
                  <c:v>0.03</c:v>
                </c:pt>
                <c:pt idx="44">
                  <c:v>0.03</c:v>
                </c:pt>
                <c:pt idx="45">
                  <c:v>0.03</c:v>
                </c:pt>
                <c:pt idx="46">
                  <c:v>0.03</c:v>
                </c:pt>
                <c:pt idx="47">
                  <c:v>0.05</c:v>
                </c:pt>
                <c:pt idx="48">
                  <c:v>0.09</c:v>
                </c:pt>
                <c:pt idx="49">
                  <c:v>0.08</c:v>
                </c:pt>
                <c:pt idx="50">
                  <c:v>0.04</c:v>
                </c:pt>
                <c:pt idx="51">
                  <c:v>0.03</c:v>
                </c:pt>
                <c:pt idx="52">
                  <c:v>0.04</c:v>
                </c:pt>
                <c:pt idx="53">
                  <c:v>0.02</c:v>
                </c:pt>
                <c:pt idx="54">
                  <c:v>0.05</c:v>
                </c:pt>
                <c:pt idx="55">
                  <c:v>7.0000000000000007E-2</c:v>
                </c:pt>
                <c:pt idx="56">
                  <c:v>0.02</c:v>
                </c:pt>
                <c:pt idx="57">
                  <c:v>0.03</c:v>
                </c:pt>
                <c:pt idx="58">
                  <c:v>7.0000000000000007E-2</c:v>
                </c:pt>
                <c:pt idx="59">
                  <c:v>0.02</c:v>
                </c:pt>
                <c:pt idx="60">
                  <c:v>0.04</c:v>
                </c:pt>
                <c:pt idx="61">
                  <c:v>0.09</c:v>
                </c:pt>
                <c:pt idx="62">
                  <c:v>0.03</c:v>
                </c:pt>
                <c:pt idx="63">
                  <c:v>0.02</c:v>
                </c:pt>
                <c:pt idx="64">
                  <c:v>0.02</c:v>
                </c:pt>
                <c:pt idx="65">
                  <c:v>0.02</c:v>
                </c:pt>
                <c:pt idx="66">
                  <c:v>0.03</c:v>
                </c:pt>
                <c:pt idx="67">
                  <c:v>0.01</c:v>
                </c:pt>
                <c:pt idx="68">
                  <c:v>0.05</c:v>
                </c:pt>
                <c:pt idx="69">
                  <c:v>0.02</c:v>
                </c:pt>
                <c:pt idx="70">
                  <c:v>0.01</c:v>
                </c:pt>
                <c:pt idx="71">
                  <c:v>0.01</c:v>
                </c:pt>
                <c:pt idx="72">
                  <c:v>0.01</c:v>
                </c:pt>
                <c:pt idx="73">
                  <c:v>0.02</c:v>
                </c:pt>
                <c:pt idx="74">
                  <c:v>0.02</c:v>
                </c:pt>
                <c:pt idx="75">
                  <c:v>0.02</c:v>
                </c:pt>
                <c:pt idx="76">
                  <c:v>0.05</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7ECAC4"/>
              </a:solidFill>
            </c:spPr>
            <c:extLst>
              <c:ext xmlns:c16="http://schemas.microsoft.com/office/drawing/2014/chart" uri="{C3380CC4-5D6E-409C-BE32-E72D297353CC}">
                <c16:uniqueId val="{00000051-2993-41DE-A2CB-63102DE87051}"/>
              </c:ext>
            </c:extLst>
          </c:dPt>
          <c:dPt>
            <c:idx val="13"/>
            <c:invertIfNegative val="1"/>
            <c:bubble3D val="0"/>
            <c:spPr>
              <a:solidFill>
                <a:srgbClr val="7ECAC4"/>
              </a:solidFill>
            </c:spPr>
            <c:extLst>
              <c:ext xmlns:c16="http://schemas.microsoft.com/office/drawing/2014/chart" uri="{C3380CC4-5D6E-409C-BE32-E72D297353CC}">
                <c16:uniqueId val="{00000053-2993-41DE-A2CB-63102DE87051}"/>
              </c:ext>
            </c:extLst>
          </c:dPt>
          <c:dPt>
            <c:idx val="14"/>
            <c:invertIfNegative val="1"/>
            <c:bubble3D val="0"/>
            <c:spPr>
              <a:solidFill>
                <a:srgbClr val="7ECAC4"/>
              </a:solidFill>
            </c:spPr>
            <c:extLst>
              <c:ext xmlns:c16="http://schemas.microsoft.com/office/drawing/2014/chart" uri="{C3380CC4-5D6E-409C-BE32-E72D297353CC}">
                <c16:uniqueId val="{00000055-2993-41DE-A2CB-63102DE87051}"/>
              </c:ext>
            </c:extLst>
          </c:dPt>
          <c:dPt>
            <c:idx val="15"/>
            <c:invertIfNegative val="1"/>
            <c:bubble3D val="0"/>
            <c:spPr>
              <a:solidFill>
                <a:srgbClr val="7ECAC4"/>
              </a:solidFill>
            </c:spPr>
            <c:extLst>
              <c:ext xmlns:c16="http://schemas.microsoft.com/office/drawing/2014/chart" uri="{C3380CC4-5D6E-409C-BE32-E72D297353CC}">
                <c16:uniqueId val="{00000057-2993-41DE-A2CB-63102DE87051}"/>
              </c:ext>
            </c:extLst>
          </c:dPt>
          <c:dPt>
            <c:idx val="16"/>
            <c:invertIfNegative val="1"/>
            <c:bubble3D val="0"/>
            <c:spPr>
              <a:solidFill>
                <a:srgbClr val="7ECAC4"/>
              </a:solidFill>
            </c:spPr>
            <c:extLst>
              <c:ext xmlns:c16="http://schemas.microsoft.com/office/drawing/2014/chart" uri="{C3380CC4-5D6E-409C-BE32-E72D297353CC}">
                <c16:uniqueId val="{00000059-2993-41DE-A2CB-63102DE87051}"/>
              </c:ext>
            </c:extLst>
          </c:dPt>
          <c:dPt>
            <c:idx val="17"/>
            <c:invertIfNegative val="1"/>
            <c:bubble3D val="0"/>
            <c:spPr>
              <a:solidFill>
                <a:srgbClr val="7ECAC4"/>
              </a:solidFill>
            </c:spPr>
            <c:extLst>
              <c:ext xmlns:c16="http://schemas.microsoft.com/office/drawing/2014/chart" uri="{C3380CC4-5D6E-409C-BE32-E72D297353CC}">
                <c16:uniqueId val="{0000005B-2993-41DE-A2CB-63102DE87051}"/>
              </c:ext>
            </c:extLst>
          </c:dPt>
          <c:dPt>
            <c:idx val="18"/>
            <c:invertIfNegative val="1"/>
            <c:bubble3D val="0"/>
            <c:spPr>
              <a:solidFill>
                <a:srgbClr val="7ECAC4"/>
              </a:solidFill>
            </c:spPr>
            <c:extLst>
              <c:ext xmlns:c16="http://schemas.microsoft.com/office/drawing/2014/chart" uri="{C3380CC4-5D6E-409C-BE32-E72D297353CC}">
                <c16:uniqueId val="{0000005D-2993-41DE-A2CB-63102DE87051}"/>
              </c:ext>
            </c:extLst>
          </c:dPt>
          <c:dPt>
            <c:idx val="19"/>
            <c:invertIfNegative val="1"/>
            <c:bubble3D val="0"/>
            <c:spPr>
              <a:solidFill>
                <a:srgbClr val="7ECAC4"/>
              </a:solidFill>
            </c:spPr>
            <c:extLst>
              <c:ext xmlns:c16="http://schemas.microsoft.com/office/drawing/2014/chart" uri="{C3380CC4-5D6E-409C-BE32-E72D297353CC}">
                <c16:uniqueId val="{0000005F-2993-41DE-A2CB-63102DE87051}"/>
              </c:ext>
            </c:extLst>
          </c:dPt>
          <c:dPt>
            <c:idx val="20"/>
            <c:invertIfNegative val="1"/>
            <c:bubble3D val="0"/>
            <c:spPr>
              <a:solidFill>
                <a:srgbClr val="7ECAC4"/>
              </a:solidFill>
            </c:spPr>
            <c:extLst>
              <c:ext xmlns:c16="http://schemas.microsoft.com/office/drawing/2014/chart" uri="{C3380CC4-5D6E-409C-BE32-E72D297353CC}">
                <c16:uniqueId val="{00000061-2993-41DE-A2CB-63102DE87051}"/>
              </c:ext>
            </c:extLst>
          </c:dPt>
          <c:dPt>
            <c:idx val="21"/>
            <c:invertIfNegative val="1"/>
            <c:bubble3D val="0"/>
            <c:spPr>
              <a:solidFill>
                <a:srgbClr val="7ECAC4"/>
              </a:solidFill>
            </c:spPr>
            <c:extLst>
              <c:ext xmlns:c16="http://schemas.microsoft.com/office/drawing/2014/chart" uri="{C3380CC4-5D6E-409C-BE32-E72D297353CC}">
                <c16:uniqueId val="{00000063-2993-41DE-A2CB-63102DE87051}"/>
              </c:ext>
            </c:extLst>
          </c:dPt>
          <c:dPt>
            <c:idx val="22"/>
            <c:invertIfNegative val="1"/>
            <c:bubble3D val="0"/>
            <c:spPr>
              <a:solidFill>
                <a:srgbClr val="7ECAC4"/>
              </a:solidFill>
            </c:spPr>
            <c:extLst>
              <c:ext xmlns:c16="http://schemas.microsoft.com/office/drawing/2014/chart" uri="{C3380CC4-5D6E-409C-BE32-E72D297353CC}">
                <c16:uniqueId val="{00000065-2993-41DE-A2CB-63102DE87051}"/>
              </c:ext>
            </c:extLst>
          </c:dPt>
          <c:dPt>
            <c:idx val="23"/>
            <c:invertIfNegative val="1"/>
            <c:bubble3D val="0"/>
            <c:spPr>
              <a:solidFill>
                <a:srgbClr val="7ECAC4"/>
              </a:solidFill>
            </c:spPr>
            <c:extLst>
              <c:ext xmlns:c16="http://schemas.microsoft.com/office/drawing/2014/chart" uri="{C3380CC4-5D6E-409C-BE32-E72D297353CC}">
                <c16:uniqueId val="{00000067-2993-41DE-A2CB-63102DE87051}"/>
              </c:ext>
            </c:extLst>
          </c:dPt>
          <c:dPt>
            <c:idx val="24"/>
            <c:invertIfNegative val="1"/>
            <c:bubble3D val="0"/>
            <c:spPr>
              <a:solidFill>
                <a:srgbClr val="7ECAC4"/>
              </a:solidFill>
            </c:spPr>
            <c:extLst>
              <c:ext xmlns:c16="http://schemas.microsoft.com/office/drawing/2014/chart" uri="{C3380CC4-5D6E-409C-BE32-E72D297353CC}">
                <c16:uniqueId val="{00000069-2993-41DE-A2CB-63102DE87051}"/>
              </c:ext>
            </c:extLst>
          </c:dPt>
          <c:dPt>
            <c:idx val="25"/>
            <c:invertIfNegative val="1"/>
            <c:bubble3D val="0"/>
            <c:spPr>
              <a:solidFill>
                <a:srgbClr val="7ECAC4"/>
              </a:solidFill>
            </c:spPr>
            <c:extLst>
              <c:ext xmlns:c16="http://schemas.microsoft.com/office/drawing/2014/chart" uri="{C3380CC4-5D6E-409C-BE32-E72D297353CC}">
                <c16:uniqueId val="{0000006B-2993-41DE-A2CB-63102DE87051}"/>
              </c:ext>
            </c:extLst>
          </c:dPt>
          <c:dPt>
            <c:idx val="26"/>
            <c:invertIfNegative val="1"/>
            <c:bubble3D val="0"/>
            <c:spPr>
              <a:solidFill>
                <a:srgbClr val="7ECAC4"/>
              </a:solidFill>
            </c:spPr>
            <c:extLst>
              <c:ext xmlns:c16="http://schemas.microsoft.com/office/drawing/2014/chart" uri="{C3380CC4-5D6E-409C-BE32-E72D297353CC}">
                <c16:uniqueId val="{0000006D-2993-41DE-A2CB-63102DE87051}"/>
              </c:ext>
            </c:extLst>
          </c:dPt>
          <c:dPt>
            <c:idx val="27"/>
            <c:invertIfNegative val="1"/>
            <c:bubble3D val="0"/>
            <c:spPr>
              <a:solidFill>
                <a:srgbClr val="AEABAB"/>
              </a:solidFill>
            </c:spPr>
            <c:extLst>
              <c:ext xmlns:c16="http://schemas.microsoft.com/office/drawing/2014/chart" uri="{C3380CC4-5D6E-409C-BE32-E72D297353CC}">
                <c16:uniqueId val="{0000006F-2993-41DE-A2CB-63102DE87051}"/>
              </c:ext>
            </c:extLst>
          </c:dPt>
          <c:dPt>
            <c:idx val="28"/>
            <c:invertIfNegative val="1"/>
            <c:bubble3D val="0"/>
            <c:spPr>
              <a:solidFill>
                <a:srgbClr val="AEABAB"/>
              </a:solidFill>
            </c:spPr>
            <c:extLst>
              <c:ext xmlns:c16="http://schemas.microsoft.com/office/drawing/2014/chart" uri="{C3380CC4-5D6E-409C-BE32-E72D297353CC}">
                <c16:uniqueId val="{00000071-2993-41DE-A2CB-63102DE87051}"/>
              </c:ext>
            </c:extLst>
          </c:dPt>
          <c:dPt>
            <c:idx val="29"/>
            <c:invertIfNegative val="1"/>
            <c:bubble3D val="0"/>
            <c:spPr>
              <a:solidFill>
                <a:srgbClr val="AEABAB"/>
              </a:solidFill>
            </c:spPr>
            <c:extLst>
              <c:ext xmlns:c16="http://schemas.microsoft.com/office/drawing/2014/chart" uri="{C3380CC4-5D6E-409C-BE32-E72D297353CC}">
                <c16:uniqueId val="{00000073-2993-41DE-A2CB-63102DE87051}"/>
              </c:ext>
            </c:extLst>
          </c:dPt>
          <c:dPt>
            <c:idx val="30"/>
            <c:invertIfNegative val="1"/>
            <c:bubble3D val="0"/>
            <c:spPr>
              <a:solidFill>
                <a:srgbClr val="AEABAB"/>
              </a:solidFill>
            </c:spPr>
            <c:extLst>
              <c:ext xmlns:c16="http://schemas.microsoft.com/office/drawing/2014/chart" uri="{C3380CC4-5D6E-409C-BE32-E72D297353CC}">
                <c16:uniqueId val="{00000075-2993-41DE-A2CB-63102DE87051}"/>
              </c:ext>
            </c:extLst>
          </c:dPt>
          <c:dPt>
            <c:idx val="31"/>
            <c:invertIfNegative val="1"/>
            <c:bubble3D val="0"/>
            <c:spPr>
              <a:solidFill>
                <a:srgbClr val="AEABAB"/>
              </a:solidFill>
            </c:spPr>
            <c:extLst>
              <c:ext xmlns:c16="http://schemas.microsoft.com/office/drawing/2014/chart" uri="{C3380CC4-5D6E-409C-BE32-E72D297353CC}">
                <c16:uniqueId val="{00000077-2993-41DE-A2CB-63102DE87051}"/>
              </c:ext>
            </c:extLst>
          </c:dPt>
          <c:dPt>
            <c:idx val="32"/>
            <c:invertIfNegative val="1"/>
            <c:bubble3D val="0"/>
            <c:spPr>
              <a:solidFill>
                <a:srgbClr val="AEABAB"/>
              </a:solidFill>
            </c:spPr>
            <c:extLst>
              <c:ext xmlns:c16="http://schemas.microsoft.com/office/drawing/2014/chart" uri="{C3380CC4-5D6E-409C-BE32-E72D297353CC}">
                <c16:uniqueId val="{00000079-2993-41DE-A2CB-63102DE87051}"/>
              </c:ext>
            </c:extLst>
          </c:dPt>
          <c:dPt>
            <c:idx val="33"/>
            <c:invertIfNegative val="1"/>
            <c:bubble3D val="0"/>
            <c:spPr>
              <a:solidFill>
                <a:srgbClr val="AEABAB"/>
              </a:solidFill>
            </c:spPr>
            <c:extLst>
              <c:ext xmlns:c16="http://schemas.microsoft.com/office/drawing/2014/chart" uri="{C3380CC4-5D6E-409C-BE32-E72D297353CC}">
                <c16:uniqueId val="{0000007B-2993-41DE-A2CB-63102DE87051}"/>
              </c:ext>
            </c:extLst>
          </c:dPt>
          <c:dPt>
            <c:idx val="34"/>
            <c:invertIfNegative val="1"/>
            <c:bubble3D val="0"/>
            <c:spPr>
              <a:solidFill>
                <a:srgbClr val="AEABAB"/>
              </a:solidFill>
            </c:spPr>
            <c:extLst>
              <c:ext xmlns:c16="http://schemas.microsoft.com/office/drawing/2014/chart" uri="{C3380CC4-5D6E-409C-BE32-E72D297353CC}">
                <c16:uniqueId val="{0000007D-2993-41DE-A2CB-63102DE87051}"/>
              </c:ext>
            </c:extLst>
          </c:dPt>
          <c:dPt>
            <c:idx val="35"/>
            <c:invertIfNegative val="1"/>
            <c:bubble3D val="0"/>
            <c:spPr>
              <a:solidFill>
                <a:srgbClr val="AEABAB"/>
              </a:solidFill>
            </c:spPr>
            <c:extLst>
              <c:ext xmlns:c16="http://schemas.microsoft.com/office/drawing/2014/chart" uri="{C3380CC4-5D6E-409C-BE32-E72D297353CC}">
                <c16:uniqueId val="{0000007F-2993-41DE-A2CB-63102DE87051}"/>
              </c:ext>
            </c:extLst>
          </c:dPt>
          <c:dPt>
            <c:idx val="36"/>
            <c:invertIfNegative val="1"/>
            <c:bubble3D val="0"/>
            <c:spPr>
              <a:solidFill>
                <a:srgbClr val="AEABAB"/>
              </a:solidFill>
            </c:spPr>
            <c:extLst>
              <c:ext xmlns:c16="http://schemas.microsoft.com/office/drawing/2014/chart" uri="{C3380CC4-5D6E-409C-BE32-E72D297353CC}">
                <c16:uniqueId val="{00000081-2993-41DE-A2CB-63102DE87051}"/>
              </c:ext>
            </c:extLst>
          </c:dPt>
          <c:dPt>
            <c:idx val="37"/>
            <c:invertIfNegative val="1"/>
            <c:bubble3D val="0"/>
            <c:spPr>
              <a:solidFill>
                <a:srgbClr val="AEABAB"/>
              </a:solidFill>
            </c:spPr>
            <c:extLst>
              <c:ext xmlns:c16="http://schemas.microsoft.com/office/drawing/2014/chart" uri="{C3380CC4-5D6E-409C-BE32-E72D297353CC}">
                <c16:uniqueId val="{00000083-2993-41DE-A2CB-63102DE87051}"/>
              </c:ext>
            </c:extLst>
          </c:dPt>
          <c:dPt>
            <c:idx val="38"/>
            <c:invertIfNegative val="1"/>
            <c:bubble3D val="0"/>
            <c:spPr>
              <a:solidFill>
                <a:srgbClr val="AEABAB"/>
              </a:solidFill>
            </c:spPr>
            <c:extLst>
              <c:ext xmlns:c16="http://schemas.microsoft.com/office/drawing/2014/chart" uri="{C3380CC4-5D6E-409C-BE32-E72D297353CC}">
                <c16:uniqueId val="{00000085-2993-41DE-A2CB-63102DE87051}"/>
              </c:ext>
            </c:extLst>
          </c:dPt>
          <c:dPt>
            <c:idx val="39"/>
            <c:invertIfNegative val="1"/>
            <c:bubble3D val="0"/>
            <c:spPr>
              <a:solidFill>
                <a:srgbClr val="AEABAB"/>
              </a:solidFill>
            </c:spPr>
            <c:extLst>
              <c:ext xmlns:c16="http://schemas.microsoft.com/office/drawing/2014/chart" uri="{C3380CC4-5D6E-409C-BE32-E72D297353CC}">
                <c16:uniqueId val="{00000087-2993-41DE-A2CB-63102DE87051}"/>
              </c:ext>
            </c:extLst>
          </c:dPt>
          <c:dPt>
            <c:idx val="40"/>
            <c:invertIfNegative val="1"/>
            <c:bubble3D val="0"/>
            <c:spPr>
              <a:solidFill>
                <a:srgbClr val="AEABAB"/>
              </a:solidFill>
            </c:spPr>
            <c:extLst>
              <c:ext xmlns:c16="http://schemas.microsoft.com/office/drawing/2014/chart" uri="{C3380CC4-5D6E-409C-BE32-E72D297353CC}">
                <c16:uniqueId val="{00000089-2993-41DE-A2CB-63102DE87051}"/>
              </c:ext>
            </c:extLst>
          </c:dPt>
          <c:dPt>
            <c:idx val="41"/>
            <c:invertIfNegative val="1"/>
            <c:bubble3D val="0"/>
            <c:spPr>
              <a:solidFill>
                <a:srgbClr val="AEABAB"/>
              </a:solidFill>
            </c:spPr>
            <c:extLst>
              <c:ext xmlns:c16="http://schemas.microsoft.com/office/drawing/2014/chart" uri="{C3380CC4-5D6E-409C-BE32-E72D297353CC}">
                <c16:uniqueId val="{0000008B-2993-41DE-A2CB-63102DE87051}"/>
              </c:ext>
            </c:extLst>
          </c:dPt>
          <c:dPt>
            <c:idx val="42"/>
            <c:invertIfNegative val="1"/>
            <c:bubble3D val="0"/>
            <c:spPr>
              <a:solidFill>
                <a:srgbClr val="AEABAB"/>
              </a:solidFill>
            </c:spPr>
            <c:extLst>
              <c:ext xmlns:c16="http://schemas.microsoft.com/office/drawing/2014/chart" uri="{C3380CC4-5D6E-409C-BE32-E72D297353CC}">
                <c16:uniqueId val="{0000008D-2993-41DE-A2CB-63102DE87051}"/>
              </c:ext>
            </c:extLst>
          </c:dPt>
          <c:dPt>
            <c:idx val="43"/>
            <c:invertIfNegative val="1"/>
            <c:bubble3D val="0"/>
            <c:spPr>
              <a:solidFill>
                <a:srgbClr val="AEABAB"/>
              </a:solidFill>
            </c:spPr>
            <c:extLst>
              <c:ext xmlns:c16="http://schemas.microsoft.com/office/drawing/2014/chart" uri="{C3380CC4-5D6E-409C-BE32-E72D297353CC}">
                <c16:uniqueId val="{0000008F-2993-41DE-A2CB-63102DE87051}"/>
              </c:ext>
            </c:extLst>
          </c:dPt>
          <c:dPt>
            <c:idx val="44"/>
            <c:invertIfNegative val="1"/>
            <c:bubble3D val="0"/>
            <c:spPr>
              <a:solidFill>
                <a:srgbClr val="AEABAB"/>
              </a:solidFill>
            </c:spPr>
            <c:extLst>
              <c:ext xmlns:c16="http://schemas.microsoft.com/office/drawing/2014/chart" uri="{C3380CC4-5D6E-409C-BE32-E72D297353CC}">
                <c16:uniqueId val="{00000091-2993-41DE-A2CB-63102DE87051}"/>
              </c:ext>
            </c:extLst>
          </c:dPt>
          <c:dPt>
            <c:idx val="45"/>
            <c:invertIfNegative val="1"/>
            <c:bubble3D val="0"/>
            <c:spPr>
              <a:solidFill>
                <a:srgbClr val="AEABAB"/>
              </a:solidFill>
            </c:spPr>
            <c:extLst>
              <c:ext xmlns:c16="http://schemas.microsoft.com/office/drawing/2014/chart" uri="{C3380CC4-5D6E-409C-BE32-E72D297353CC}">
                <c16:uniqueId val="{00000093-2993-41DE-A2CB-63102DE87051}"/>
              </c:ext>
            </c:extLst>
          </c:dPt>
          <c:dPt>
            <c:idx val="46"/>
            <c:invertIfNegative val="1"/>
            <c:bubble3D val="0"/>
            <c:spPr>
              <a:solidFill>
                <a:srgbClr val="AEABAB"/>
              </a:solidFill>
            </c:spPr>
            <c:extLst>
              <c:ext xmlns:c16="http://schemas.microsoft.com/office/drawing/2014/chart" uri="{C3380CC4-5D6E-409C-BE32-E72D297353CC}">
                <c16:uniqueId val="{00000095-2993-41DE-A2CB-63102DE87051}"/>
              </c:ext>
            </c:extLst>
          </c:dPt>
          <c:dPt>
            <c:idx val="47"/>
            <c:invertIfNegative val="1"/>
            <c:bubble3D val="0"/>
            <c:spPr>
              <a:solidFill>
                <a:srgbClr val="AEABAB"/>
              </a:solidFill>
            </c:spPr>
            <c:extLst>
              <c:ext xmlns:c16="http://schemas.microsoft.com/office/drawing/2014/chart" uri="{C3380CC4-5D6E-409C-BE32-E72D297353CC}">
                <c16:uniqueId val="{00000097-2993-41DE-A2CB-63102DE87051}"/>
              </c:ext>
            </c:extLst>
          </c:dPt>
          <c:dPt>
            <c:idx val="48"/>
            <c:invertIfNegative val="1"/>
            <c:bubble3D val="0"/>
            <c:spPr>
              <a:solidFill>
                <a:srgbClr val="AEABAB"/>
              </a:solidFill>
            </c:spPr>
            <c:extLst>
              <c:ext xmlns:c16="http://schemas.microsoft.com/office/drawing/2014/chart" uri="{C3380CC4-5D6E-409C-BE32-E72D297353CC}">
                <c16:uniqueId val="{00000099-2993-41DE-A2CB-63102DE87051}"/>
              </c:ext>
            </c:extLst>
          </c:dPt>
          <c:dPt>
            <c:idx val="49"/>
            <c:invertIfNegative val="1"/>
            <c:bubble3D val="0"/>
            <c:spPr>
              <a:solidFill>
                <a:srgbClr val="AEABAB"/>
              </a:solidFill>
            </c:spPr>
            <c:extLst>
              <c:ext xmlns:c16="http://schemas.microsoft.com/office/drawing/2014/chart" uri="{C3380CC4-5D6E-409C-BE32-E72D297353CC}">
                <c16:uniqueId val="{0000009B-2993-41DE-A2CB-63102DE87051}"/>
              </c:ext>
            </c:extLst>
          </c:dPt>
          <c:dPt>
            <c:idx val="50"/>
            <c:invertIfNegative val="1"/>
            <c:bubble3D val="0"/>
            <c:spPr>
              <a:solidFill>
                <a:srgbClr val="AEABAB"/>
              </a:solidFill>
            </c:spPr>
            <c:extLst>
              <c:ext xmlns:c16="http://schemas.microsoft.com/office/drawing/2014/chart" uri="{C3380CC4-5D6E-409C-BE32-E72D297353CC}">
                <c16:uniqueId val="{0000009D-2993-41DE-A2CB-63102DE87051}"/>
              </c:ext>
            </c:extLst>
          </c:dPt>
          <c:dPt>
            <c:idx val="51"/>
            <c:invertIfNegative val="1"/>
            <c:bubble3D val="0"/>
            <c:spPr>
              <a:solidFill>
                <a:srgbClr val="AEABAB"/>
              </a:solidFill>
            </c:spPr>
            <c:extLst>
              <c:ext xmlns:c16="http://schemas.microsoft.com/office/drawing/2014/chart" uri="{C3380CC4-5D6E-409C-BE32-E72D297353CC}">
                <c16:uniqueId val="{0000009F-2993-41DE-A2CB-63102DE87051}"/>
              </c:ext>
            </c:extLst>
          </c:dPt>
          <c:dPt>
            <c:idx val="52"/>
            <c:invertIfNegative val="1"/>
            <c:bubble3D val="0"/>
            <c:spPr>
              <a:solidFill>
                <a:srgbClr val="AEABAB"/>
              </a:solidFill>
            </c:spPr>
            <c:extLst>
              <c:ext xmlns:c16="http://schemas.microsoft.com/office/drawing/2014/chart" uri="{C3380CC4-5D6E-409C-BE32-E72D297353CC}">
                <c16:uniqueId val="{000000A1-2993-41DE-A2CB-63102DE87051}"/>
              </c:ext>
            </c:extLst>
          </c:dPt>
          <c:dPt>
            <c:idx val="53"/>
            <c:invertIfNegative val="1"/>
            <c:bubble3D val="0"/>
            <c:spPr>
              <a:solidFill>
                <a:srgbClr val="AEABAB"/>
              </a:solidFill>
            </c:spPr>
            <c:extLst>
              <c:ext xmlns:c16="http://schemas.microsoft.com/office/drawing/2014/chart" uri="{C3380CC4-5D6E-409C-BE32-E72D297353CC}">
                <c16:uniqueId val="{000000A3-2993-41DE-A2CB-63102DE87051}"/>
              </c:ext>
            </c:extLst>
          </c:dPt>
          <c:dPt>
            <c:idx val="54"/>
            <c:invertIfNegative val="0"/>
            <c:bubble3D val="0"/>
            <c:spPr>
              <a:solidFill>
                <a:srgbClr val="AEABAB"/>
              </a:solidFill>
            </c:spPr>
            <c:extLst>
              <c:ext xmlns:c16="http://schemas.microsoft.com/office/drawing/2014/chart" uri="{C3380CC4-5D6E-409C-BE32-E72D297353CC}">
                <c16:uniqueId val="{00000072-C76F-4230-900D-40618C09729F}"/>
              </c:ext>
            </c:extLst>
          </c:dPt>
          <c:dPt>
            <c:idx val="55"/>
            <c:invertIfNegative val="0"/>
            <c:bubble3D val="0"/>
            <c:spPr>
              <a:solidFill>
                <a:srgbClr val="AEABAB"/>
              </a:solidFill>
            </c:spPr>
            <c:extLst>
              <c:ext xmlns:c16="http://schemas.microsoft.com/office/drawing/2014/chart" uri="{C3380CC4-5D6E-409C-BE32-E72D297353CC}">
                <c16:uniqueId val="{00000074-C76F-4230-900D-40618C09729F}"/>
              </c:ext>
            </c:extLst>
          </c:dPt>
          <c:dPt>
            <c:idx val="56"/>
            <c:invertIfNegative val="0"/>
            <c:bubble3D val="0"/>
            <c:spPr>
              <a:solidFill>
                <a:srgbClr val="AEABAB"/>
              </a:solidFill>
            </c:spPr>
            <c:extLst>
              <c:ext xmlns:c16="http://schemas.microsoft.com/office/drawing/2014/chart" uri="{C3380CC4-5D6E-409C-BE32-E72D297353CC}">
                <c16:uniqueId val="{00000076-C76F-4230-900D-40618C09729F}"/>
              </c:ext>
            </c:extLst>
          </c:dPt>
          <c:dPt>
            <c:idx val="57"/>
            <c:invertIfNegative val="0"/>
            <c:bubble3D val="0"/>
            <c:spPr>
              <a:solidFill>
                <a:srgbClr val="AEABAB"/>
              </a:solidFill>
            </c:spPr>
            <c:extLst>
              <c:ext xmlns:c16="http://schemas.microsoft.com/office/drawing/2014/chart" uri="{C3380CC4-5D6E-409C-BE32-E72D297353CC}">
                <c16:uniqueId val="{00000078-C76F-4230-900D-40618C09729F}"/>
              </c:ext>
            </c:extLst>
          </c:dPt>
          <c:dPt>
            <c:idx val="58"/>
            <c:invertIfNegative val="0"/>
            <c:bubble3D val="0"/>
            <c:spPr>
              <a:solidFill>
                <a:srgbClr val="AEABAB"/>
              </a:solidFill>
            </c:spPr>
            <c:extLst>
              <c:ext xmlns:c16="http://schemas.microsoft.com/office/drawing/2014/chart" uri="{C3380CC4-5D6E-409C-BE32-E72D297353CC}">
                <c16:uniqueId val="{0000007A-C76F-4230-900D-40618C09729F}"/>
              </c:ext>
            </c:extLst>
          </c:dPt>
          <c:dPt>
            <c:idx val="59"/>
            <c:invertIfNegative val="0"/>
            <c:bubble3D val="0"/>
            <c:spPr>
              <a:solidFill>
                <a:srgbClr val="AEABAB"/>
              </a:solidFill>
            </c:spPr>
            <c:extLst>
              <c:ext xmlns:c16="http://schemas.microsoft.com/office/drawing/2014/chart" uri="{C3380CC4-5D6E-409C-BE32-E72D297353CC}">
                <c16:uniqueId val="{0000007C-C76F-4230-900D-40618C09729F}"/>
              </c:ext>
            </c:extLst>
          </c:dPt>
          <c:dPt>
            <c:idx val="60"/>
            <c:invertIfNegative val="0"/>
            <c:bubble3D val="0"/>
            <c:spPr>
              <a:solidFill>
                <a:srgbClr val="AEABAB"/>
              </a:solidFill>
            </c:spPr>
            <c:extLst>
              <c:ext xmlns:c16="http://schemas.microsoft.com/office/drawing/2014/chart" uri="{C3380CC4-5D6E-409C-BE32-E72D297353CC}">
                <c16:uniqueId val="{0000007E-C76F-4230-900D-40618C09729F}"/>
              </c:ext>
            </c:extLst>
          </c:dPt>
          <c:dPt>
            <c:idx val="61"/>
            <c:invertIfNegative val="0"/>
            <c:bubble3D val="0"/>
            <c:spPr>
              <a:solidFill>
                <a:srgbClr val="AEABAB"/>
              </a:solidFill>
            </c:spPr>
            <c:extLst>
              <c:ext xmlns:c16="http://schemas.microsoft.com/office/drawing/2014/chart" uri="{C3380CC4-5D6E-409C-BE32-E72D297353CC}">
                <c16:uniqueId val="{00000080-C76F-4230-900D-40618C09729F}"/>
              </c:ext>
            </c:extLst>
          </c:dPt>
          <c:dPt>
            <c:idx val="62"/>
            <c:invertIfNegative val="0"/>
            <c:bubble3D val="0"/>
            <c:spPr>
              <a:solidFill>
                <a:srgbClr val="AEABAB"/>
              </a:solidFill>
            </c:spPr>
            <c:extLst>
              <c:ext xmlns:c16="http://schemas.microsoft.com/office/drawing/2014/chart" uri="{C3380CC4-5D6E-409C-BE32-E72D297353CC}">
                <c16:uniqueId val="{00000082-C76F-4230-900D-40618C09729F}"/>
              </c:ext>
            </c:extLst>
          </c:dPt>
          <c:dPt>
            <c:idx val="63"/>
            <c:invertIfNegative val="0"/>
            <c:bubble3D val="0"/>
            <c:spPr>
              <a:solidFill>
                <a:srgbClr val="AEABAB"/>
              </a:solidFill>
            </c:spPr>
            <c:extLst>
              <c:ext xmlns:c16="http://schemas.microsoft.com/office/drawing/2014/chart" uri="{C3380CC4-5D6E-409C-BE32-E72D297353CC}">
                <c16:uniqueId val="{00000084-C76F-4230-900D-40618C09729F}"/>
              </c:ext>
            </c:extLst>
          </c:dPt>
          <c:dPt>
            <c:idx val="64"/>
            <c:invertIfNegative val="0"/>
            <c:bubble3D val="0"/>
            <c:spPr>
              <a:solidFill>
                <a:srgbClr val="AEABAB"/>
              </a:solidFill>
            </c:spPr>
            <c:extLst>
              <c:ext xmlns:c16="http://schemas.microsoft.com/office/drawing/2014/chart" uri="{C3380CC4-5D6E-409C-BE32-E72D297353CC}">
                <c16:uniqueId val="{00000086-C76F-4230-900D-40618C09729F}"/>
              </c:ext>
            </c:extLst>
          </c:dPt>
          <c:dPt>
            <c:idx val="65"/>
            <c:invertIfNegative val="0"/>
            <c:bubble3D val="0"/>
            <c:spPr>
              <a:solidFill>
                <a:srgbClr val="AEABAB"/>
              </a:solidFill>
            </c:spPr>
            <c:extLst>
              <c:ext xmlns:c16="http://schemas.microsoft.com/office/drawing/2014/chart" uri="{C3380CC4-5D6E-409C-BE32-E72D297353CC}">
                <c16:uniqueId val="{00000088-C76F-4230-900D-40618C09729F}"/>
              </c:ext>
            </c:extLst>
          </c:dPt>
          <c:dPt>
            <c:idx val="66"/>
            <c:invertIfNegative val="0"/>
            <c:bubble3D val="0"/>
            <c:spPr>
              <a:solidFill>
                <a:srgbClr val="AEABAB"/>
              </a:solidFill>
            </c:spPr>
            <c:extLst>
              <c:ext xmlns:c16="http://schemas.microsoft.com/office/drawing/2014/chart" uri="{C3380CC4-5D6E-409C-BE32-E72D297353CC}">
                <c16:uniqueId val="{0000008A-C76F-4230-900D-40618C09729F}"/>
              </c:ext>
            </c:extLst>
          </c:dPt>
          <c:dPt>
            <c:idx val="67"/>
            <c:invertIfNegative val="0"/>
            <c:bubble3D val="0"/>
            <c:spPr>
              <a:solidFill>
                <a:srgbClr val="AEABAB"/>
              </a:solidFill>
            </c:spPr>
            <c:extLst>
              <c:ext xmlns:c16="http://schemas.microsoft.com/office/drawing/2014/chart" uri="{C3380CC4-5D6E-409C-BE32-E72D297353CC}">
                <c16:uniqueId val="{0000008C-C76F-4230-900D-40618C09729F}"/>
              </c:ext>
            </c:extLst>
          </c:dPt>
          <c:dPt>
            <c:idx val="68"/>
            <c:invertIfNegative val="0"/>
            <c:bubble3D val="0"/>
            <c:spPr>
              <a:solidFill>
                <a:srgbClr val="AEABAB"/>
              </a:solidFill>
            </c:spPr>
            <c:extLst>
              <c:ext xmlns:c16="http://schemas.microsoft.com/office/drawing/2014/chart" uri="{C3380CC4-5D6E-409C-BE32-E72D297353CC}">
                <c16:uniqueId val="{0000008E-C76F-4230-900D-40618C09729F}"/>
              </c:ext>
            </c:extLst>
          </c:dPt>
          <c:dPt>
            <c:idx val="69"/>
            <c:invertIfNegative val="0"/>
            <c:bubble3D val="0"/>
            <c:spPr>
              <a:solidFill>
                <a:srgbClr val="AEABAB"/>
              </a:solidFill>
            </c:spPr>
            <c:extLst>
              <c:ext xmlns:c16="http://schemas.microsoft.com/office/drawing/2014/chart" uri="{C3380CC4-5D6E-409C-BE32-E72D297353CC}">
                <c16:uniqueId val="{00000090-C76F-4230-900D-40618C09729F}"/>
              </c:ext>
            </c:extLst>
          </c:dPt>
          <c:dPt>
            <c:idx val="70"/>
            <c:invertIfNegative val="0"/>
            <c:bubble3D val="0"/>
            <c:spPr>
              <a:solidFill>
                <a:srgbClr val="AEABAB"/>
              </a:solidFill>
            </c:spPr>
            <c:extLst>
              <c:ext xmlns:c16="http://schemas.microsoft.com/office/drawing/2014/chart" uri="{C3380CC4-5D6E-409C-BE32-E72D297353CC}">
                <c16:uniqueId val="{00000092-C76F-4230-900D-40618C09729F}"/>
              </c:ext>
            </c:extLst>
          </c:dPt>
          <c:dPt>
            <c:idx val="71"/>
            <c:invertIfNegative val="0"/>
            <c:bubble3D val="0"/>
            <c:spPr>
              <a:solidFill>
                <a:srgbClr val="AEABAB"/>
              </a:solidFill>
            </c:spPr>
            <c:extLst>
              <c:ext xmlns:c16="http://schemas.microsoft.com/office/drawing/2014/chart" uri="{C3380CC4-5D6E-409C-BE32-E72D297353CC}">
                <c16:uniqueId val="{00000094-C76F-4230-900D-40618C09729F}"/>
              </c:ext>
            </c:extLst>
          </c:dPt>
          <c:dPt>
            <c:idx val="72"/>
            <c:invertIfNegative val="0"/>
            <c:bubble3D val="0"/>
            <c:spPr>
              <a:solidFill>
                <a:srgbClr val="AEABAB"/>
              </a:solidFill>
            </c:spPr>
            <c:extLst>
              <c:ext xmlns:c16="http://schemas.microsoft.com/office/drawing/2014/chart" uri="{C3380CC4-5D6E-409C-BE32-E72D297353CC}">
                <c16:uniqueId val="{00000096-C76F-4230-900D-40618C09729F}"/>
              </c:ext>
            </c:extLst>
          </c:dPt>
          <c:dPt>
            <c:idx val="73"/>
            <c:invertIfNegative val="0"/>
            <c:bubble3D val="0"/>
            <c:spPr>
              <a:solidFill>
                <a:srgbClr val="AEABAB"/>
              </a:solidFill>
            </c:spPr>
            <c:extLst>
              <c:ext xmlns:c16="http://schemas.microsoft.com/office/drawing/2014/chart" uri="{C3380CC4-5D6E-409C-BE32-E72D297353CC}">
                <c16:uniqueId val="{00000098-C76F-4230-900D-40618C09729F}"/>
              </c:ext>
            </c:extLst>
          </c:dPt>
          <c:dPt>
            <c:idx val="74"/>
            <c:invertIfNegative val="0"/>
            <c:bubble3D val="0"/>
            <c:spPr>
              <a:solidFill>
                <a:srgbClr val="AEABAB"/>
              </a:solidFill>
            </c:spPr>
            <c:extLst>
              <c:ext xmlns:c16="http://schemas.microsoft.com/office/drawing/2014/chart" uri="{C3380CC4-5D6E-409C-BE32-E72D297353CC}">
                <c16:uniqueId val="{0000009A-C76F-4230-900D-40618C09729F}"/>
              </c:ext>
            </c:extLst>
          </c:dPt>
          <c:dPt>
            <c:idx val="75"/>
            <c:invertIfNegative val="0"/>
            <c:bubble3D val="0"/>
            <c:spPr>
              <a:solidFill>
                <a:srgbClr val="AEABAB"/>
              </a:solidFill>
            </c:spPr>
            <c:extLst>
              <c:ext xmlns:c16="http://schemas.microsoft.com/office/drawing/2014/chart" uri="{C3380CC4-5D6E-409C-BE32-E72D297353CC}">
                <c16:uniqueId val="{0000009C-C76F-4230-900D-40618C09729F}"/>
              </c:ext>
            </c:extLst>
          </c:dPt>
          <c:dPt>
            <c:idx val="76"/>
            <c:invertIfNegative val="0"/>
            <c:bubble3D val="0"/>
            <c:spPr>
              <a:solidFill>
                <a:srgbClr val="AEABAB"/>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78</c:f>
              <c:strCache>
                <c:ptCount val="77"/>
                <c:pt idx="0">
                  <c:v>Dom Perigno</c:v>
                </c:pt>
                <c:pt idx="1">
                  <c:v>Dom Perigno</c:v>
                </c:pt>
                <c:pt idx="2">
                  <c:v>Roederer</c:v>
                </c:pt>
                <c:pt idx="3">
                  <c:v>Dom Perigno</c:v>
                </c:pt>
                <c:pt idx="4">
                  <c:v>Malard</c:v>
                </c:pt>
                <c:pt idx="5">
                  <c:v>Roederer</c:v>
                </c:pt>
                <c:pt idx="6">
                  <c:v>Roederer</c:v>
                </c:pt>
                <c:pt idx="7">
                  <c:v>Roederer</c:v>
                </c:pt>
                <c:pt idx="8">
                  <c:v>Ruinart</c:v>
                </c:pt>
                <c:pt idx="9">
                  <c:v>Ruinart</c:v>
                </c:pt>
                <c:pt idx="10">
                  <c:v>Laurent Per</c:v>
                </c:pt>
                <c:pt idx="11">
                  <c:v>Bollinger</c:v>
                </c:pt>
                <c:pt idx="12">
                  <c:v>Roederer</c:v>
                </c:pt>
                <c:pt idx="13">
                  <c:v>Roederer</c:v>
                </c:pt>
                <c:pt idx="14">
                  <c:v>Perrier Jou</c:v>
                </c:pt>
                <c:pt idx="15">
                  <c:v>Ruinart</c:v>
                </c:pt>
                <c:pt idx="16">
                  <c:v>Veuve Clicq</c:v>
                </c:pt>
                <c:pt idx="17">
                  <c:v>Dom Perigno</c:v>
                </c:pt>
                <c:pt idx="18">
                  <c:v>Veuve Clicq</c:v>
                </c:pt>
                <c:pt idx="19">
                  <c:v>Piper Heids</c:v>
                </c:pt>
                <c:pt idx="20">
                  <c:v>Dom Perigno</c:v>
                </c:pt>
                <c:pt idx="21">
                  <c:v>Pommery</c:v>
                </c:pt>
                <c:pt idx="22">
                  <c:v>Roederer</c:v>
                </c:pt>
                <c:pt idx="23">
                  <c:v>Lanson</c:v>
                </c:pt>
                <c:pt idx="24">
                  <c:v>Laurent Per</c:v>
                </c:pt>
                <c:pt idx="25">
                  <c:v>De Venoge</c:v>
                </c:pt>
                <c:pt idx="26">
                  <c:v>Pommery</c:v>
                </c:pt>
                <c:pt idx="27">
                  <c:v>Roederer</c:v>
                </c:pt>
                <c:pt idx="28">
                  <c:v>Veuve Clicq</c:v>
                </c:pt>
                <c:pt idx="29">
                  <c:v>Roederer</c:v>
                </c:pt>
                <c:pt idx="30">
                  <c:v>All Others</c:v>
                </c:pt>
                <c:pt idx="31">
                  <c:v>All Others</c:v>
                </c:pt>
                <c:pt idx="32">
                  <c:v>Piper Heids</c:v>
                </c:pt>
                <c:pt idx="33">
                  <c:v>Dom Perigno</c:v>
                </c:pt>
                <c:pt idx="34">
                  <c:v>Dom Perigno</c:v>
                </c:pt>
                <c:pt idx="35">
                  <c:v>De Venoge</c:v>
                </c:pt>
                <c:pt idx="36">
                  <c:v>Deutz</c:v>
                </c:pt>
                <c:pt idx="37">
                  <c:v>All Others</c:v>
                </c:pt>
                <c:pt idx="38">
                  <c:v>Bollinger</c:v>
                </c:pt>
                <c:pt idx="39">
                  <c:v>All Others</c:v>
                </c:pt>
                <c:pt idx="40">
                  <c:v>Bollinger</c:v>
                </c:pt>
                <c:pt idx="41">
                  <c:v>Nicolas Feu</c:v>
                </c:pt>
                <c:pt idx="42">
                  <c:v>Perrier Jou</c:v>
                </c:pt>
                <c:pt idx="43">
                  <c:v>Roederer</c:v>
                </c:pt>
                <c:pt idx="44">
                  <c:v>Pommery</c:v>
                </c:pt>
                <c:pt idx="45">
                  <c:v>All Others</c:v>
                </c:pt>
                <c:pt idx="46">
                  <c:v>Dom Perigno</c:v>
                </c:pt>
                <c:pt idx="47">
                  <c:v>All Others</c:v>
                </c:pt>
                <c:pt idx="48">
                  <c:v>Vesselle</c:v>
                </c:pt>
                <c:pt idx="49">
                  <c:v>Krug</c:v>
                </c:pt>
                <c:pt idx="50">
                  <c:v>Bollinger</c:v>
                </c:pt>
                <c:pt idx="51">
                  <c:v>Roederer</c:v>
                </c:pt>
                <c:pt idx="52">
                  <c:v>Perrier Jou</c:v>
                </c:pt>
                <c:pt idx="53">
                  <c:v>Veuve Clicq</c:v>
                </c:pt>
                <c:pt idx="54">
                  <c:v>Krug</c:v>
                </c:pt>
                <c:pt idx="55">
                  <c:v>Moët &amp; Chan</c:v>
                </c:pt>
                <c:pt idx="56">
                  <c:v>Pommery</c:v>
                </c:pt>
                <c:pt idx="57">
                  <c:v>All Others</c:v>
                </c:pt>
                <c:pt idx="58">
                  <c:v>Henriot</c:v>
                </c:pt>
                <c:pt idx="59">
                  <c:v>Krug</c:v>
                </c:pt>
                <c:pt idx="60">
                  <c:v>Deutz</c:v>
                </c:pt>
                <c:pt idx="61">
                  <c:v>Moët &amp; Chan</c:v>
                </c:pt>
                <c:pt idx="62">
                  <c:v>Veuve Clicq</c:v>
                </c:pt>
                <c:pt idx="63">
                  <c:v>Bollinger</c:v>
                </c:pt>
                <c:pt idx="64">
                  <c:v>Ruinart</c:v>
                </c:pt>
                <c:pt idx="65">
                  <c:v>All Others</c:v>
                </c:pt>
                <c:pt idx="66">
                  <c:v>Canard Duch</c:v>
                </c:pt>
                <c:pt idx="67">
                  <c:v>Pommery</c:v>
                </c:pt>
                <c:pt idx="68">
                  <c:v>All Others</c:v>
                </c:pt>
                <c:pt idx="69">
                  <c:v>Roederer</c:v>
                </c:pt>
                <c:pt idx="70">
                  <c:v>Piper Heids</c:v>
                </c:pt>
                <c:pt idx="71">
                  <c:v>Mumm</c:v>
                </c:pt>
                <c:pt idx="72">
                  <c:v>Roederer</c:v>
                </c:pt>
                <c:pt idx="73">
                  <c:v>Laurent Per</c:v>
                </c:pt>
                <c:pt idx="74">
                  <c:v>Laurent Per</c:v>
                </c:pt>
                <c:pt idx="75">
                  <c:v>Malard</c:v>
                </c:pt>
                <c:pt idx="76">
                  <c:v>Vesselle</c:v>
                </c:pt>
              </c:strCache>
            </c:strRef>
          </c:cat>
          <c:val>
            <c:numRef>
              <c:f>Sheet1!$C$2:$C$78</c:f>
              <c:numCache>
                <c:formatCode>General</c:formatCode>
                <c:ptCount val="77"/>
                <c:pt idx="0">
                  <c:v>0.19228780601846418</c:v>
                </c:pt>
                <c:pt idx="1">
                  <c:v>0.38154901582269579</c:v>
                </c:pt>
                <c:pt idx="2">
                  <c:v>0.4794855950511272</c:v>
                </c:pt>
                <c:pt idx="3">
                  <c:v>0.54416938850145657</c:v>
                </c:pt>
                <c:pt idx="4">
                  <c:v>0.58976331435566975</c:v>
                </c:pt>
                <c:pt idx="5">
                  <c:v>0.63207648751868595</c:v>
                </c:pt>
                <c:pt idx="6">
                  <c:v>0.67098473994069052</c:v>
                </c:pt>
                <c:pt idx="7">
                  <c:v>0.70667335363351624</c:v>
                </c:pt>
                <c:pt idx="8">
                  <c:v>0.7348730818218947</c:v>
                </c:pt>
                <c:pt idx="9">
                  <c:v>0.76305534887826798</c:v>
                </c:pt>
                <c:pt idx="10">
                  <c:v>0.78781717418740282</c:v>
                </c:pt>
                <c:pt idx="11">
                  <c:v>0.80906640177482736</c:v>
                </c:pt>
                <c:pt idx="12">
                  <c:v>0.82791957402598437</c:v>
                </c:pt>
                <c:pt idx="13">
                  <c:v>0.84499850125283649</c:v>
                </c:pt>
                <c:pt idx="14">
                  <c:v>0.86203086546100816</c:v>
                </c:pt>
                <c:pt idx="15">
                  <c:v>0.87591731571957843</c:v>
                </c:pt>
                <c:pt idx="16">
                  <c:v>0.8882545755441329</c:v>
                </c:pt>
                <c:pt idx="17">
                  <c:v>0.89924538807850951</c:v>
                </c:pt>
                <c:pt idx="18">
                  <c:v>0.90968520489183347</c:v>
                </c:pt>
                <c:pt idx="19">
                  <c:v>0.91683262825929035</c:v>
                </c:pt>
                <c:pt idx="20">
                  <c:v>0.92350084055949377</c:v>
                </c:pt>
                <c:pt idx="21">
                  <c:v>0.93008271726256042</c:v>
                </c:pt>
                <c:pt idx="22">
                  <c:v>0.93395714844193378</c:v>
                </c:pt>
                <c:pt idx="23">
                  <c:v>0.93780053760885351</c:v>
                </c:pt>
                <c:pt idx="24">
                  <c:v>0.94151684853729101</c:v>
                </c:pt>
                <c:pt idx="25">
                  <c:v>0.94519823720171814</c:v>
                </c:pt>
                <c:pt idx="26">
                  <c:v>0.94887477555169941</c:v>
                </c:pt>
                <c:pt idx="27">
                  <c:v>0.95228066635560027</c:v>
                </c:pt>
                <c:pt idx="28">
                  <c:v>0.95547702357543884</c:v>
                </c:pt>
                <c:pt idx="29">
                  <c:v>0.95828050532516063</c:v>
                </c:pt>
                <c:pt idx="30">
                  <c:v>0.96097728015707296</c:v>
                </c:pt>
                <c:pt idx="31">
                  <c:v>0.96366435436009357</c:v>
                </c:pt>
                <c:pt idx="32">
                  <c:v>0.96627867384642585</c:v>
                </c:pt>
                <c:pt idx="33">
                  <c:v>0.96841281220261544</c:v>
                </c:pt>
                <c:pt idx="34">
                  <c:v>0.97052754930102147</c:v>
                </c:pt>
                <c:pt idx="35">
                  <c:v>0.97259087306630121</c:v>
                </c:pt>
                <c:pt idx="36">
                  <c:v>0.97454651985088225</c:v>
                </c:pt>
                <c:pt idx="37">
                  <c:v>0.9761451834922461</c:v>
                </c:pt>
                <c:pt idx="38">
                  <c:v>0.97772638600160477</c:v>
                </c:pt>
                <c:pt idx="39">
                  <c:v>0.97927945668717731</c:v>
                </c:pt>
                <c:pt idx="40">
                  <c:v>0.9807054491342676</c:v>
                </c:pt>
                <c:pt idx="41">
                  <c:v>0.98198496208509223</c:v>
                </c:pt>
                <c:pt idx="42">
                  <c:v>0.98322761264612812</c:v>
                </c:pt>
                <c:pt idx="43">
                  <c:v>0.98440623905647828</c:v>
                </c:pt>
                <c:pt idx="44">
                  <c:v>0.98555867376882067</c:v>
                </c:pt>
                <c:pt idx="45">
                  <c:v>0.98666939577692847</c:v>
                </c:pt>
                <c:pt idx="46">
                  <c:v>0.98773646495502332</c:v>
                </c:pt>
                <c:pt idx="47">
                  <c:v>0.98878995325266961</c:v>
                </c:pt>
                <c:pt idx="48">
                  <c:v>0.98976680658207095</c:v>
                </c:pt>
                <c:pt idx="49">
                  <c:v>0.99064374343388706</c:v>
                </c:pt>
                <c:pt idx="50">
                  <c:v>0.99150612934236548</c:v>
                </c:pt>
                <c:pt idx="51">
                  <c:v>0.9922841197794855</c:v>
                </c:pt>
                <c:pt idx="52">
                  <c:v>0.99302136757526005</c:v>
                </c:pt>
                <c:pt idx="53">
                  <c:v>0.99370041159768407</c:v>
                </c:pt>
                <c:pt idx="54">
                  <c:v>0.99434065310454101</c:v>
                </c:pt>
                <c:pt idx="55">
                  <c:v>0.99496828379383861</c:v>
                </c:pt>
                <c:pt idx="56">
                  <c:v>0.99559397435735786</c:v>
                </c:pt>
                <c:pt idx="57">
                  <c:v>0.99608870643083813</c:v>
                </c:pt>
                <c:pt idx="58">
                  <c:v>0.99651553410207605</c:v>
                </c:pt>
                <c:pt idx="59">
                  <c:v>0.9969132598866387</c:v>
                </c:pt>
                <c:pt idx="60">
                  <c:v>0.99726733284118829</c:v>
                </c:pt>
                <c:pt idx="61">
                  <c:v>0.99762043573284875</c:v>
                </c:pt>
                <c:pt idx="62">
                  <c:v>0.99796480805850662</c:v>
                </c:pt>
                <c:pt idx="63">
                  <c:v>0.99829947975527278</c:v>
                </c:pt>
                <c:pt idx="64">
                  <c:v>0.99863318138914969</c:v>
                </c:pt>
                <c:pt idx="65">
                  <c:v>0.99885338566499293</c:v>
                </c:pt>
                <c:pt idx="66">
                  <c:v>0.99902702692215561</c:v>
                </c:pt>
                <c:pt idx="67">
                  <c:v>0.99919290767620494</c:v>
                </c:pt>
                <c:pt idx="68">
                  <c:v>0.99934326742402735</c:v>
                </c:pt>
                <c:pt idx="69">
                  <c:v>0.99949265710896062</c:v>
                </c:pt>
                <c:pt idx="70">
                  <c:v>0.99963525635366968</c:v>
                </c:pt>
                <c:pt idx="71">
                  <c:v>0.99973129257969817</c:v>
                </c:pt>
                <c:pt idx="72">
                  <c:v>0.99981956830261332</c:v>
                </c:pt>
                <c:pt idx="73">
                  <c:v>0.99987777207596396</c:v>
                </c:pt>
                <c:pt idx="74">
                  <c:v>0.99993500578642536</c:v>
                </c:pt>
                <c:pt idx="75">
                  <c:v>0.99996992805043572</c:v>
                </c:pt>
                <c:pt idx="76">
                  <c:v>1.0000000000000002</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47</c:f>
              <c:strCache>
                <c:ptCount val="46"/>
                <c:pt idx="0">
                  <c:v>Dom Perigno</c:v>
                </c:pt>
                <c:pt idx="1">
                  <c:v>Dom Perigno</c:v>
                </c:pt>
                <c:pt idx="2">
                  <c:v>Malard</c:v>
                </c:pt>
                <c:pt idx="3">
                  <c:v>Roederer</c:v>
                </c:pt>
                <c:pt idx="4">
                  <c:v>Roederer</c:v>
                </c:pt>
                <c:pt idx="5">
                  <c:v>Laurent Per</c:v>
                </c:pt>
                <c:pt idx="6">
                  <c:v>Roederer</c:v>
                </c:pt>
                <c:pt idx="7">
                  <c:v>Roederer</c:v>
                </c:pt>
                <c:pt idx="8">
                  <c:v>Ruinart</c:v>
                </c:pt>
                <c:pt idx="9">
                  <c:v>Ruinart</c:v>
                </c:pt>
                <c:pt idx="10">
                  <c:v>Dom Perigno</c:v>
                </c:pt>
                <c:pt idx="11">
                  <c:v>Bollinger</c:v>
                </c:pt>
                <c:pt idx="12">
                  <c:v>Ruinart</c:v>
                </c:pt>
                <c:pt idx="13">
                  <c:v>Perrier Jou</c:v>
                </c:pt>
                <c:pt idx="14">
                  <c:v>Piper Heids</c:v>
                </c:pt>
                <c:pt idx="15">
                  <c:v>Roederer</c:v>
                </c:pt>
                <c:pt idx="16">
                  <c:v>Piper Heids</c:v>
                </c:pt>
                <c:pt idx="17">
                  <c:v>Roederer</c:v>
                </c:pt>
                <c:pt idx="18">
                  <c:v>Pommery</c:v>
                </c:pt>
                <c:pt idx="19">
                  <c:v>Bollinger</c:v>
                </c:pt>
                <c:pt idx="20">
                  <c:v>Roederer</c:v>
                </c:pt>
                <c:pt idx="21">
                  <c:v>All Others</c:v>
                </c:pt>
                <c:pt idx="22">
                  <c:v>Roederer</c:v>
                </c:pt>
                <c:pt idx="23">
                  <c:v>De Venoge</c:v>
                </c:pt>
                <c:pt idx="24">
                  <c:v>Dom Perigno</c:v>
                </c:pt>
                <c:pt idx="25">
                  <c:v>Bollinger</c:v>
                </c:pt>
                <c:pt idx="26">
                  <c:v>Dom Perigno</c:v>
                </c:pt>
                <c:pt idx="27">
                  <c:v>De Venoge</c:v>
                </c:pt>
                <c:pt idx="28">
                  <c:v>Roederer</c:v>
                </c:pt>
                <c:pt idx="29">
                  <c:v>All Others</c:v>
                </c:pt>
                <c:pt idx="30">
                  <c:v>Laurent Per</c:v>
                </c:pt>
                <c:pt idx="31">
                  <c:v>All Others</c:v>
                </c:pt>
                <c:pt idx="32">
                  <c:v>De Venoge</c:v>
                </c:pt>
                <c:pt idx="33">
                  <c:v>Veuve Clicq</c:v>
                </c:pt>
                <c:pt idx="34">
                  <c:v>Roederer</c:v>
                </c:pt>
                <c:pt idx="35">
                  <c:v>Pommery</c:v>
                </c:pt>
                <c:pt idx="36">
                  <c:v>Veuve Clicq</c:v>
                </c:pt>
                <c:pt idx="37">
                  <c:v>Veuve Clicq</c:v>
                </c:pt>
                <c:pt idx="38">
                  <c:v>Perrier Jou</c:v>
                </c:pt>
                <c:pt idx="39">
                  <c:v>Deutz</c:v>
                </c:pt>
                <c:pt idx="40">
                  <c:v>Laurent Per</c:v>
                </c:pt>
                <c:pt idx="41">
                  <c:v>Pommery</c:v>
                </c:pt>
                <c:pt idx="42">
                  <c:v>Ruinart</c:v>
                </c:pt>
                <c:pt idx="43">
                  <c:v>Roederer</c:v>
                </c:pt>
                <c:pt idx="44">
                  <c:v>Roederer</c:v>
                </c:pt>
                <c:pt idx="45">
                  <c:v>Malard</c:v>
                </c:pt>
              </c:strCache>
            </c:strRef>
          </c:cat>
          <c:val>
            <c:numRef>
              <c:f>Sheet1!$B$2:$B$47</c:f>
              <c:numCache>
                <c:formatCode>General</c:formatCode>
                <c:ptCount val="46"/>
                <c:pt idx="0">
                  <c:v>0.28000000000000003</c:v>
                </c:pt>
                <c:pt idx="1">
                  <c:v>0.33</c:v>
                </c:pt>
                <c:pt idx="2">
                  <c:v>0.56000000000000005</c:v>
                </c:pt>
                <c:pt idx="3">
                  <c:v>0.15</c:v>
                </c:pt>
                <c:pt idx="4">
                  <c:v>0.3</c:v>
                </c:pt>
                <c:pt idx="5">
                  <c:v>0.17</c:v>
                </c:pt>
                <c:pt idx="6">
                  <c:v>0.06</c:v>
                </c:pt>
                <c:pt idx="7">
                  <c:v>0.25</c:v>
                </c:pt>
                <c:pt idx="8">
                  <c:v>0.22</c:v>
                </c:pt>
                <c:pt idx="9">
                  <c:v>0.18</c:v>
                </c:pt>
                <c:pt idx="10">
                  <c:v>0.13</c:v>
                </c:pt>
                <c:pt idx="11">
                  <c:v>0.11</c:v>
                </c:pt>
                <c:pt idx="12">
                  <c:v>0.09</c:v>
                </c:pt>
                <c:pt idx="13">
                  <c:v>0.05</c:v>
                </c:pt>
                <c:pt idx="14">
                  <c:v>0.06</c:v>
                </c:pt>
                <c:pt idx="15">
                  <c:v>0.05</c:v>
                </c:pt>
                <c:pt idx="16">
                  <c:v>7.0000000000000007E-2</c:v>
                </c:pt>
                <c:pt idx="17">
                  <c:v>0.04</c:v>
                </c:pt>
                <c:pt idx="18">
                  <c:v>0.06</c:v>
                </c:pt>
                <c:pt idx="19">
                  <c:v>0.04</c:v>
                </c:pt>
                <c:pt idx="20">
                  <c:v>0.08</c:v>
                </c:pt>
                <c:pt idx="21">
                  <c:v>0.04</c:v>
                </c:pt>
                <c:pt idx="22">
                  <c:v>0.03</c:v>
                </c:pt>
                <c:pt idx="23">
                  <c:v>0.05</c:v>
                </c:pt>
                <c:pt idx="24">
                  <c:v>0.04</c:v>
                </c:pt>
                <c:pt idx="25">
                  <c:v>0.03</c:v>
                </c:pt>
                <c:pt idx="26">
                  <c:v>0.04</c:v>
                </c:pt>
                <c:pt idx="27">
                  <c:v>0.04</c:v>
                </c:pt>
                <c:pt idx="28">
                  <c:v>0.04</c:v>
                </c:pt>
                <c:pt idx="29">
                  <c:v>0.02</c:v>
                </c:pt>
                <c:pt idx="30">
                  <c:v>7.0000000000000007E-2</c:v>
                </c:pt>
                <c:pt idx="31">
                  <c:v>0.03</c:v>
                </c:pt>
                <c:pt idx="32">
                  <c:v>0.02</c:v>
                </c:pt>
                <c:pt idx="33">
                  <c:v>0.04</c:v>
                </c:pt>
                <c:pt idx="34">
                  <c:v>0.03</c:v>
                </c:pt>
                <c:pt idx="35">
                  <c:v>0.02</c:v>
                </c:pt>
                <c:pt idx="36">
                  <c:v>0.02</c:v>
                </c:pt>
                <c:pt idx="37">
                  <c:v>0.01</c:v>
                </c:pt>
                <c:pt idx="38">
                  <c:v>0.02</c:v>
                </c:pt>
                <c:pt idx="39">
                  <c:v>0.03</c:v>
                </c:pt>
                <c:pt idx="40">
                  <c:v>0.02</c:v>
                </c:pt>
                <c:pt idx="41">
                  <c:v>0.03</c:v>
                </c:pt>
                <c:pt idx="42">
                  <c:v>0.04</c:v>
                </c:pt>
                <c:pt idx="43">
                  <c:v>0.04</c:v>
                </c:pt>
                <c:pt idx="44">
                  <c:v>0.02</c:v>
                </c:pt>
                <c:pt idx="45">
                  <c:v>0.02</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7ECAC4"/>
              </a:solidFill>
            </c:spPr>
            <c:extLst>
              <c:ext xmlns:c16="http://schemas.microsoft.com/office/drawing/2014/chart" uri="{C3380CC4-5D6E-409C-BE32-E72D297353CC}">
                <c16:uniqueId val="{0000004D-2993-41DE-A2CB-63102DE87051}"/>
              </c:ext>
            </c:extLst>
          </c:dPt>
          <c:dPt>
            <c:idx val="11"/>
            <c:invertIfNegative val="1"/>
            <c:bubble3D val="0"/>
            <c:spPr>
              <a:solidFill>
                <a:srgbClr val="7ECAC4"/>
              </a:solidFill>
            </c:spPr>
            <c:extLst>
              <c:ext xmlns:c16="http://schemas.microsoft.com/office/drawing/2014/chart" uri="{C3380CC4-5D6E-409C-BE32-E72D297353CC}">
                <c16:uniqueId val="{0000004F-2993-41DE-A2CB-63102DE87051}"/>
              </c:ext>
            </c:extLst>
          </c:dPt>
          <c:dPt>
            <c:idx val="12"/>
            <c:invertIfNegative val="1"/>
            <c:bubble3D val="0"/>
            <c:spPr>
              <a:solidFill>
                <a:srgbClr val="7ECAC4"/>
              </a:solidFill>
            </c:spPr>
            <c:extLst>
              <c:ext xmlns:c16="http://schemas.microsoft.com/office/drawing/2014/chart" uri="{C3380CC4-5D6E-409C-BE32-E72D297353CC}">
                <c16:uniqueId val="{00000051-2993-41DE-A2CB-63102DE87051}"/>
              </c:ext>
            </c:extLst>
          </c:dPt>
          <c:dPt>
            <c:idx val="13"/>
            <c:invertIfNegative val="1"/>
            <c:bubble3D val="0"/>
            <c:spPr>
              <a:solidFill>
                <a:srgbClr val="7ECAC4"/>
              </a:solidFill>
            </c:spPr>
            <c:extLst>
              <c:ext xmlns:c16="http://schemas.microsoft.com/office/drawing/2014/chart" uri="{C3380CC4-5D6E-409C-BE32-E72D297353CC}">
                <c16:uniqueId val="{00000053-2993-41DE-A2CB-63102DE87051}"/>
              </c:ext>
            </c:extLst>
          </c:dPt>
          <c:dPt>
            <c:idx val="14"/>
            <c:invertIfNegative val="1"/>
            <c:bubble3D val="0"/>
            <c:spPr>
              <a:solidFill>
                <a:srgbClr val="7ECAC4"/>
              </a:solidFill>
            </c:spPr>
            <c:extLst>
              <c:ext xmlns:c16="http://schemas.microsoft.com/office/drawing/2014/chart" uri="{C3380CC4-5D6E-409C-BE32-E72D297353CC}">
                <c16:uniqueId val="{00000055-2993-41DE-A2CB-63102DE87051}"/>
              </c:ext>
            </c:extLst>
          </c:dPt>
          <c:dPt>
            <c:idx val="15"/>
            <c:invertIfNegative val="1"/>
            <c:bubble3D val="0"/>
            <c:spPr>
              <a:solidFill>
                <a:srgbClr val="7ECAC4"/>
              </a:solidFill>
            </c:spPr>
            <c:extLst>
              <c:ext xmlns:c16="http://schemas.microsoft.com/office/drawing/2014/chart" uri="{C3380CC4-5D6E-409C-BE32-E72D297353CC}">
                <c16:uniqueId val="{00000057-2993-41DE-A2CB-63102DE87051}"/>
              </c:ext>
            </c:extLst>
          </c:dPt>
          <c:dPt>
            <c:idx val="16"/>
            <c:invertIfNegative val="1"/>
            <c:bubble3D val="0"/>
            <c:spPr>
              <a:solidFill>
                <a:srgbClr val="7ECAC4"/>
              </a:solidFill>
            </c:spPr>
            <c:extLst>
              <c:ext xmlns:c16="http://schemas.microsoft.com/office/drawing/2014/chart" uri="{C3380CC4-5D6E-409C-BE32-E72D297353CC}">
                <c16:uniqueId val="{00000059-2993-41DE-A2CB-63102DE87051}"/>
              </c:ext>
            </c:extLst>
          </c:dPt>
          <c:dPt>
            <c:idx val="17"/>
            <c:invertIfNegative val="1"/>
            <c:bubble3D val="0"/>
            <c:spPr>
              <a:solidFill>
                <a:srgbClr val="7ECAC4"/>
              </a:solidFill>
            </c:spPr>
            <c:extLst>
              <c:ext xmlns:c16="http://schemas.microsoft.com/office/drawing/2014/chart" uri="{C3380CC4-5D6E-409C-BE32-E72D297353CC}">
                <c16:uniqueId val="{0000005B-2993-41DE-A2CB-63102DE87051}"/>
              </c:ext>
            </c:extLst>
          </c:dPt>
          <c:dPt>
            <c:idx val="18"/>
            <c:invertIfNegative val="1"/>
            <c:bubble3D val="0"/>
            <c:spPr>
              <a:solidFill>
                <a:srgbClr val="7ECAC4"/>
              </a:solidFill>
            </c:spPr>
            <c:extLst>
              <c:ext xmlns:c16="http://schemas.microsoft.com/office/drawing/2014/chart" uri="{C3380CC4-5D6E-409C-BE32-E72D297353CC}">
                <c16:uniqueId val="{0000005D-2993-41DE-A2CB-63102DE87051}"/>
              </c:ext>
            </c:extLst>
          </c:dPt>
          <c:dPt>
            <c:idx val="19"/>
            <c:invertIfNegative val="1"/>
            <c:bubble3D val="0"/>
            <c:spPr>
              <a:solidFill>
                <a:srgbClr val="7ECAC4"/>
              </a:solidFill>
            </c:spPr>
            <c:extLst>
              <c:ext xmlns:c16="http://schemas.microsoft.com/office/drawing/2014/chart" uri="{C3380CC4-5D6E-409C-BE32-E72D297353CC}">
                <c16:uniqueId val="{0000005F-2993-41DE-A2CB-63102DE87051}"/>
              </c:ext>
            </c:extLst>
          </c:dPt>
          <c:dPt>
            <c:idx val="20"/>
            <c:invertIfNegative val="1"/>
            <c:bubble3D val="0"/>
            <c:spPr>
              <a:solidFill>
                <a:srgbClr val="AEABAB"/>
              </a:solidFill>
            </c:spPr>
            <c:extLst>
              <c:ext xmlns:c16="http://schemas.microsoft.com/office/drawing/2014/chart" uri="{C3380CC4-5D6E-409C-BE32-E72D297353CC}">
                <c16:uniqueId val="{00000061-2993-41DE-A2CB-63102DE87051}"/>
              </c:ext>
            </c:extLst>
          </c:dPt>
          <c:dPt>
            <c:idx val="21"/>
            <c:invertIfNegative val="1"/>
            <c:bubble3D val="0"/>
            <c:spPr>
              <a:solidFill>
                <a:srgbClr val="AEABAB"/>
              </a:solidFill>
            </c:spPr>
            <c:extLst>
              <c:ext xmlns:c16="http://schemas.microsoft.com/office/drawing/2014/chart" uri="{C3380CC4-5D6E-409C-BE32-E72D297353CC}">
                <c16:uniqueId val="{00000063-2993-41DE-A2CB-63102DE87051}"/>
              </c:ext>
            </c:extLst>
          </c:dPt>
          <c:dPt>
            <c:idx val="22"/>
            <c:invertIfNegative val="1"/>
            <c:bubble3D val="0"/>
            <c:spPr>
              <a:solidFill>
                <a:srgbClr val="AEABAB"/>
              </a:solidFill>
            </c:spPr>
            <c:extLst>
              <c:ext xmlns:c16="http://schemas.microsoft.com/office/drawing/2014/chart" uri="{C3380CC4-5D6E-409C-BE32-E72D297353CC}">
                <c16:uniqueId val="{00000065-2993-41DE-A2CB-63102DE87051}"/>
              </c:ext>
            </c:extLst>
          </c:dPt>
          <c:dPt>
            <c:idx val="23"/>
            <c:invertIfNegative val="1"/>
            <c:bubble3D val="0"/>
            <c:spPr>
              <a:solidFill>
                <a:srgbClr val="AEABAB"/>
              </a:solidFill>
            </c:spPr>
            <c:extLst>
              <c:ext xmlns:c16="http://schemas.microsoft.com/office/drawing/2014/chart" uri="{C3380CC4-5D6E-409C-BE32-E72D297353CC}">
                <c16:uniqueId val="{00000067-2993-41DE-A2CB-63102DE87051}"/>
              </c:ext>
            </c:extLst>
          </c:dPt>
          <c:dPt>
            <c:idx val="24"/>
            <c:invertIfNegative val="1"/>
            <c:bubble3D val="0"/>
            <c:spPr>
              <a:solidFill>
                <a:srgbClr val="AEABAB"/>
              </a:solidFill>
            </c:spPr>
            <c:extLst>
              <c:ext xmlns:c16="http://schemas.microsoft.com/office/drawing/2014/chart" uri="{C3380CC4-5D6E-409C-BE32-E72D297353CC}">
                <c16:uniqueId val="{00000069-2993-41DE-A2CB-63102DE87051}"/>
              </c:ext>
            </c:extLst>
          </c:dPt>
          <c:dPt>
            <c:idx val="25"/>
            <c:invertIfNegative val="1"/>
            <c:bubble3D val="0"/>
            <c:spPr>
              <a:solidFill>
                <a:srgbClr val="AEABAB"/>
              </a:solidFill>
            </c:spPr>
            <c:extLst>
              <c:ext xmlns:c16="http://schemas.microsoft.com/office/drawing/2014/chart" uri="{C3380CC4-5D6E-409C-BE32-E72D297353CC}">
                <c16:uniqueId val="{0000006B-2993-41DE-A2CB-63102DE87051}"/>
              </c:ext>
            </c:extLst>
          </c:dPt>
          <c:dPt>
            <c:idx val="26"/>
            <c:invertIfNegative val="1"/>
            <c:bubble3D val="0"/>
            <c:spPr>
              <a:solidFill>
                <a:srgbClr val="AEABAB"/>
              </a:solidFill>
            </c:spPr>
            <c:extLst>
              <c:ext xmlns:c16="http://schemas.microsoft.com/office/drawing/2014/chart" uri="{C3380CC4-5D6E-409C-BE32-E72D297353CC}">
                <c16:uniqueId val="{0000006D-2993-41DE-A2CB-63102DE87051}"/>
              </c:ext>
            </c:extLst>
          </c:dPt>
          <c:dPt>
            <c:idx val="27"/>
            <c:invertIfNegative val="1"/>
            <c:bubble3D val="0"/>
            <c:spPr>
              <a:solidFill>
                <a:srgbClr val="AEABAB"/>
              </a:solidFill>
            </c:spPr>
            <c:extLst>
              <c:ext xmlns:c16="http://schemas.microsoft.com/office/drawing/2014/chart" uri="{C3380CC4-5D6E-409C-BE32-E72D297353CC}">
                <c16:uniqueId val="{0000006F-2993-41DE-A2CB-63102DE87051}"/>
              </c:ext>
            </c:extLst>
          </c:dPt>
          <c:dPt>
            <c:idx val="28"/>
            <c:invertIfNegative val="1"/>
            <c:bubble3D val="0"/>
            <c:spPr>
              <a:solidFill>
                <a:srgbClr val="AEABAB"/>
              </a:solidFill>
            </c:spPr>
            <c:extLst>
              <c:ext xmlns:c16="http://schemas.microsoft.com/office/drawing/2014/chart" uri="{C3380CC4-5D6E-409C-BE32-E72D297353CC}">
                <c16:uniqueId val="{00000071-2993-41DE-A2CB-63102DE87051}"/>
              </c:ext>
            </c:extLst>
          </c:dPt>
          <c:dPt>
            <c:idx val="29"/>
            <c:invertIfNegative val="1"/>
            <c:bubble3D val="0"/>
            <c:spPr>
              <a:solidFill>
                <a:srgbClr val="AEABAB"/>
              </a:solidFill>
            </c:spPr>
            <c:extLst>
              <c:ext xmlns:c16="http://schemas.microsoft.com/office/drawing/2014/chart" uri="{C3380CC4-5D6E-409C-BE32-E72D297353CC}">
                <c16:uniqueId val="{00000073-2993-41DE-A2CB-63102DE87051}"/>
              </c:ext>
            </c:extLst>
          </c:dPt>
          <c:dPt>
            <c:idx val="30"/>
            <c:invertIfNegative val="1"/>
            <c:bubble3D val="0"/>
            <c:spPr>
              <a:solidFill>
                <a:srgbClr val="AEABAB"/>
              </a:solidFill>
            </c:spPr>
            <c:extLst>
              <c:ext xmlns:c16="http://schemas.microsoft.com/office/drawing/2014/chart" uri="{C3380CC4-5D6E-409C-BE32-E72D297353CC}">
                <c16:uniqueId val="{00000075-2993-41DE-A2CB-63102DE87051}"/>
              </c:ext>
            </c:extLst>
          </c:dPt>
          <c:dPt>
            <c:idx val="31"/>
            <c:invertIfNegative val="1"/>
            <c:bubble3D val="0"/>
            <c:spPr>
              <a:solidFill>
                <a:srgbClr val="AEABAB"/>
              </a:solidFill>
            </c:spPr>
            <c:extLst>
              <c:ext xmlns:c16="http://schemas.microsoft.com/office/drawing/2014/chart" uri="{C3380CC4-5D6E-409C-BE32-E72D297353CC}">
                <c16:uniqueId val="{00000077-2993-41DE-A2CB-63102DE87051}"/>
              </c:ext>
            </c:extLst>
          </c:dPt>
          <c:dPt>
            <c:idx val="32"/>
            <c:invertIfNegative val="1"/>
            <c:bubble3D val="0"/>
            <c:spPr>
              <a:solidFill>
                <a:srgbClr val="AEABAB"/>
              </a:solidFill>
            </c:spPr>
            <c:extLst>
              <c:ext xmlns:c16="http://schemas.microsoft.com/office/drawing/2014/chart" uri="{C3380CC4-5D6E-409C-BE32-E72D297353CC}">
                <c16:uniqueId val="{00000079-2993-41DE-A2CB-63102DE87051}"/>
              </c:ext>
            </c:extLst>
          </c:dPt>
          <c:dPt>
            <c:idx val="33"/>
            <c:invertIfNegative val="1"/>
            <c:bubble3D val="0"/>
            <c:spPr>
              <a:solidFill>
                <a:srgbClr val="AEABAB"/>
              </a:solidFill>
            </c:spPr>
            <c:extLst>
              <c:ext xmlns:c16="http://schemas.microsoft.com/office/drawing/2014/chart" uri="{C3380CC4-5D6E-409C-BE32-E72D297353CC}">
                <c16:uniqueId val="{0000007B-2993-41DE-A2CB-63102DE87051}"/>
              </c:ext>
            </c:extLst>
          </c:dPt>
          <c:dPt>
            <c:idx val="34"/>
            <c:invertIfNegative val="1"/>
            <c:bubble3D val="0"/>
            <c:spPr>
              <a:solidFill>
                <a:srgbClr val="AEABAB"/>
              </a:solidFill>
            </c:spPr>
            <c:extLst>
              <c:ext xmlns:c16="http://schemas.microsoft.com/office/drawing/2014/chart" uri="{C3380CC4-5D6E-409C-BE32-E72D297353CC}">
                <c16:uniqueId val="{0000007D-2993-41DE-A2CB-63102DE87051}"/>
              </c:ext>
            </c:extLst>
          </c:dPt>
          <c:dPt>
            <c:idx val="35"/>
            <c:invertIfNegative val="1"/>
            <c:bubble3D val="0"/>
            <c:spPr>
              <a:solidFill>
                <a:srgbClr val="AEABAB"/>
              </a:solidFill>
            </c:spPr>
            <c:extLst>
              <c:ext xmlns:c16="http://schemas.microsoft.com/office/drawing/2014/chart" uri="{C3380CC4-5D6E-409C-BE32-E72D297353CC}">
                <c16:uniqueId val="{0000007F-2993-41DE-A2CB-63102DE87051}"/>
              </c:ext>
            </c:extLst>
          </c:dPt>
          <c:dPt>
            <c:idx val="36"/>
            <c:invertIfNegative val="1"/>
            <c:bubble3D val="0"/>
            <c:spPr>
              <a:solidFill>
                <a:srgbClr val="AEABAB"/>
              </a:solidFill>
            </c:spPr>
            <c:extLst>
              <c:ext xmlns:c16="http://schemas.microsoft.com/office/drawing/2014/chart" uri="{C3380CC4-5D6E-409C-BE32-E72D297353CC}">
                <c16:uniqueId val="{00000081-2993-41DE-A2CB-63102DE87051}"/>
              </c:ext>
            </c:extLst>
          </c:dPt>
          <c:dPt>
            <c:idx val="37"/>
            <c:invertIfNegative val="1"/>
            <c:bubble3D val="0"/>
            <c:spPr>
              <a:solidFill>
                <a:srgbClr val="AEABAB"/>
              </a:solidFill>
            </c:spPr>
            <c:extLst>
              <c:ext xmlns:c16="http://schemas.microsoft.com/office/drawing/2014/chart" uri="{C3380CC4-5D6E-409C-BE32-E72D297353CC}">
                <c16:uniqueId val="{00000083-2993-41DE-A2CB-63102DE87051}"/>
              </c:ext>
            </c:extLst>
          </c:dPt>
          <c:dPt>
            <c:idx val="38"/>
            <c:invertIfNegative val="1"/>
            <c:bubble3D val="0"/>
            <c:spPr>
              <a:solidFill>
                <a:srgbClr val="AEABAB"/>
              </a:solidFill>
            </c:spPr>
            <c:extLst>
              <c:ext xmlns:c16="http://schemas.microsoft.com/office/drawing/2014/chart" uri="{C3380CC4-5D6E-409C-BE32-E72D297353CC}">
                <c16:uniqueId val="{00000085-2993-41DE-A2CB-63102DE87051}"/>
              </c:ext>
            </c:extLst>
          </c:dPt>
          <c:dPt>
            <c:idx val="39"/>
            <c:invertIfNegative val="1"/>
            <c:bubble3D val="0"/>
            <c:spPr>
              <a:solidFill>
                <a:srgbClr val="AEABAB"/>
              </a:solidFill>
            </c:spPr>
            <c:extLst>
              <c:ext xmlns:c16="http://schemas.microsoft.com/office/drawing/2014/chart" uri="{C3380CC4-5D6E-409C-BE32-E72D297353CC}">
                <c16:uniqueId val="{00000087-2993-41DE-A2CB-63102DE87051}"/>
              </c:ext>
            </c:extLst>
          </c:dPt>
          <c:dPt>
            <c:idx val="40"/>
            <c:invertIfNegative val="1"/>
            <c:bubble3D val="0"/>
            <c:spPr>
              <a:solidFill>
                <a:srgbClr val="AEABAB"/>
              </a:solidFill>
            </c:spPr>
            <c:extLst>
              <c:ext xmlns:c16="http://schemas.microsoft.com/office/drawing/2014/chart" uri="{C3380CC4-5D6E-409C-BE32-E72D297353CC}">
                <c16:uniqueId val="{00000089-2993-41DE-A2CB-63102DE87051}"/>
              </c:ext>
            </c:extLst>
          </c:dPt>
          <c:dPt>
            <c:idx val="41"/>
            <c:invertIfNegative val="1"/>
            <c:bubble3D val="0"/>
            <c:spPr>
              <a:solidFill>
                <a:srgbClr val="AEABAB"/>
              </a:solidFill>
            </c:spPr>
            <c:extLst>
              <c:ext xmlns:c16="http://schemas.microsoft.com/office/drawing/2014/chart" uri="{C3380CC4-5D6E-409C-BE32-E72D297353CC}">
                <c16:uniqueId val="{0000008B-2993-41DE-A2CB-63102DE87051}"/>
              </c:ext>
            </c:extLst>
          </c:dPt>
          <c:dPt>
            <c:idx val="42"/>
            <c:invertIfNegative val="1"/>
            <c:bubble3D val="0"/>
            <c:spPr>
              <a:solidFill>
                <a:srgbClr val="AEABAB"/>
              </a:solidFill>
            </c:spPr>
            <c:extLst>
              <c:ext xmlns:c16="http://schemas.microsoft.com/office/drawing/2014/chart" uri="{C3380CC4-5D6E-409C-BE32-E72D297353CC}">
                <c16:uniqueId val="{0000008D-2993-41DE-A2CB-63102DE87051}"/>
              </c:ext>
            </c:extLst>
          </c:dPt>
          <c:dPt>
            <c:idx val="43"/>
            <c:invertIfNegative val="1"/>
            <c:bubble3D val="0"/>
            <c:spPr>
              <a:solidFill>
                <a:srgbClr val="AEABAB"/>
              </a:solidFill>
            </c:spPr>
            <c:extLst>
              <c:ext xmlns:c16="http://schemas.microsoft.com/office/drawing/2014/chart" uri="{C3380CC4-5D6E-409C-BE32-E72D297353CC}">
                <c16:uniqueId val="{0000008F-2993-41DE-A2CB-63102DE87051}"/>
              </c:ext>
            </c:extLst>
          </c:dPt>
          <c:dPt>
            <c:idx val="44"/>
            <c:invertIfNegative val="1"/>
            <c:bubble3D val="0"/>
            <c:spPr>
              <a:solidFill>
                <a:srgbClr val="AEABAB"/>
              </a:solidFill>
            </c:spPr>
            <c:extLst>
              <c:ext xmlns:c16="http://schemas.microsoft.com/office/drawing/2014/chart" uri="{C3380CC4-5D6E-409C-BE32-E72D297353CC}">
                <c16:uniqueId val="{00000091-2993-41DE-A2CB-63102DE87051}"/>
              </c:ext>
            </c:extLst>
          </c:dPt>
          <c:dPt>
            <c:idx val="45"/>
            <c:invertIfNegative val="1"/>
            <c:bubble3D val="0"/>
            <c:spPr>
              <a:solidFill>
                <a:srgbClr val="AEABAB"/>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47</c:f>
              <c:strCache>
                <c:ptCount val="46"/>
                <c:pt idx="0">
                  <c:v>Dom Perigno</c:v>
                </c:pt>
                <c:pt idx="1">
                  <c:v>Dom Perigno</c:v>
                </c:pt>
                <c:pt idx="2">
                  <c:v>Malard</c:v>
                </c:pt>
                <c:pt idx="3">
                  <c:v>Roederer</c:v>
                </c:pt>
                <c:pt idx="4">
                  <c:v>Roederer</c:v>
                </c:pt>
                <c:pt idx="5">
                  <c:v>Laurent Per</c:v>
                </c:pt>
                <c:pt idx="6">
                  <c:v>Roederer</c:v>
                </c:pt>
                <c:pt idx="7">
                  <c:v>Roederer</c:v>
                </c:pt>
                <c:pt idx="8">
                  <c:v>Ruinart</c:v>
                </c:pt>
                <c:pt idx="9">
                  <c:v>Ruinart</c:v>
                </c:pt>
                <c:pt idx="10">
                  <c:v>Dom Perigno</c:v>
                </c:pt>
                <c:pt idx="11">
                  <c:v>Bollinger</c:v>
                </c:pt>
                <c:pt idx="12">
                  <c:v>Ruinart</c:v>
                </c:pt>
                <c:pt idx="13">
                  <c:v>Perrier Jou</c:v>
                </c:pt>
                <c:pt idx="14">
                  <c:v>Piper Heids</c:v>
                </c:pt>
                <c:pt idx="15">
                  <c:v>Roederer</c:v>
                </c:pt>
                <c:pt idx="16">
                  <c:v>Piper Heids</c:v>
                </c:pt>
                <c:pt idx="17">
                  <c:v>Roederer</c:v>
                </c:pt>
                <c:pt idx="18">
                  <c:v>Pommery</c:v>
                </c:pt>
                <c:pt idx="19">
                  <c:v>Bollinger</c:v>
                </c:pt>
                <c:pt idx="20">
                  <c:v>Roederer</c:v>
                </c:pt>
                <c:pt idx="21">
                  <c:v>All Others</c:v>
                </c:pt>
                <c:pt idx="22">
                  <c:v>Roederer</c:v>
                </c:pt>
                <c:pt idx="23">
                  <c:v>De Venoge</c:v>
                </c:pt>
                <c:pt idx="24">
                  <c:v>Dom Perigno</c:v>
                </c:pt>
                <c:pt idx="25">
                  <c:v>Bollinger</c:v>
                </c:pt>
                <c:pt idx="26">
                  <c:v>Dom Perigno</c:v>
                </c:pt>
                <c:pt idx="27">
                  <c:v>De Venoge</c:v>
                </c:pt>
                <c:pt idx="28">
                  <c:v>Roederer</c:v>
                </c:pt>
                <c:pt idx="29">
                  <c:v>All Others</c:v>
                </c:pt>
                <c:pt idx="30">
                  <c:v>Laurent Per</c:v>
                </c:pt>
                <c:pt idx="31">
                  <c:v>All Others</c:v>
                </c:pt>
                <c:pt idx="32">
                  <c:v>De Venoge</c:v>
                </c:pt>
                <c:pt idx="33">
                  <c:v>Veuve Clicq</c:v>
                </c:pt>
                <c:pt idx="34">
                  <c:v>Roederer</c:v>
                </c:pt>
                <c:pt idx="35">
                  <c:v>Pommery</c:v>
                </c:pt>
                <c:pt idx="36">
                  <c:v>Veuve Clicq</c:v>
                </c:pt>
                <c:pt idx="37">
                  <c:v>Veuve Clicq</c:v>
                </c:pt>
                <c:pt idx="38">
                  <c:v>Perrier Jou</c:v>
                </c:pt>
                <c:pt idx="39">
                  <c:v>Deutz</c:v>
                </c:pt>
                <c:pt idx="40">
                  <c:v>Laurent Per</c:v>
                </c:pt>
                <c:pt idx="41">
                  <c:v>Pommery</c:v>
                </c:pt>
                <c:pt idx="42">
                  <c:v>Ruinart</c:v>
                </c:pt>
                <c:pt idx="43">
                  <c:v>Roederer</c:v>
                </c:pt>
                <c:pt idx="44">
                  <c:v>Roederer</c:v>
                </c:pt>
                <c:pt idx="45">
                  <c:v>Malard</c:v>
                </c:pt>
              </c:strCache>
            </c:strRef>
          </c:cat>
          <c:val>
            <c:numRef>
              <c:f>Sheet1!$C$2:$C$47</c:f>
              <c:numCache>
                <c:formatCode>General</c:formatCode>
                <c:ptCount val="46"/>
                <c:pt idx="0">
                  <c:v>0.22700792140306286</c:v>
                </c:pt>
                <c:pt idx="1">
                  <c:v>0.40552512517527595</c:v>
                </c:pt>
                <c:pt idx="2">
                  <c:v>0.48380435081459394</c:v>
                </c:pt>
                <c:pt idx="3">
                  <c:v>0.54609413425143805</c:v>
                </c:pt>
                <c:pt idx="4">
                  <c:v>0.60133011141286907</c:v>
                </c:pt>
                <c:pt idx="5">
                  <c:v>0.64884020028044143</c:v>
                </c:pt>
                <c:pt idx="6">
                  <c:v>0.69496946609193466</c:v>
                </c:pt>
                <c:pt idx="7">
                  <c:v>0.73446039451214473</c:v>
                </c:pt>
                <c:pt idx="8">
                  <c:v>0.77274768513568415</c:v>
                </c:pt>
                <c:pt idx="9">
                  <c:v>0.81047898063487311</c:v>
                </c:pt>
                <c:pt idx="10">
                  <c:v>0.84560443085345249</c:v>
                </c:pt>
                <c:pt idx="11">
                  <c:v>0.87460476994937997</c:v>
                </c:pt>
                <c:pt idx="12">
                  <c:v>0.89038953262805454</c:v>
                </c:pt>
                <c:pt idx="13">
                  <c:v>0.89939543167522551</c:v>
                </c:pt>
                <c:pt idx="14">
                  <c:v>0.90779034706926409</c:v>
                </c:pt>
                <c:pt idx="15">
                  <c:v>0.91614554852584917</c:v>
                </c:pt>
                <c:pt idx="16">
                  <c:v>0.92437855325180773</c:v>
                </c:pt>
                <c:pt idx="17">
                  <c:v>0.93167980790673943</c:v>
                </c:pt>
                <c:pt idx="18">
                  <c:v>0.93873361418215251</c:v>
                </c:pt>
                <c:pt idx="19">
                  <c:v>0.94575992619317462</c:v>
                </c:pt>
                <c:pt idx="20">
                  <c:v>0.95238604391139503</c:v>
                </c:pt>
                <c:pt idx="21">
                  <c:v>0.95861502225507944</c:v>
                </c:pt>
                <c:pt idx="22">
                  <c:v>0.96441631204157119</c:v>
                </c:pt>
                <c:pt idx="23">
                  <c:v>0.96989683541016847</c:v>
                </c:pt>
                <c:pt idx="24">
                  <c:v>0.97502909809648031</c:v>
                </c:pt>
                <c:pt idx="25">
                  <c:v>0.97898521725051235</c:v>
                </c:pt>
                <c:pt idx="26">
                  <c:v>0.98233951750620896</c:v>
                </c:pt>
                <c:pt idx="27">
                  <c:v>0.98412358977335546</c:v>
                </c:pt>
                <c:pt idx="28">
                  <c:v>0.98583128908386042</c:v>
                </c:pt>
                <c:pt idx="29">
                  <c:v>0.98746261543772385</c:v>
                </c:pt>
                <c:pt idx="30">
                  <c:v>0.98898701965228908</c:v>
                </c:pt>
                <c:pt idx="31">
                  <c:v>0.99037395254489957</c:v>
                </c:pt>
                <c:pt idx="32">
                  <c:v>0.99168145756260284</c:v>
                </c:pt>
                <c:pt idx="33">
                  <c:v>0.99275067895558444</c:v>
                </c:pt>
                <c:pt idx="34">
                  <c:v>0.99379240608417507</c:v>
                </c:pt>
                <c:pt idx="35">
                  <c:v>0.99482802337623444</c:v>
                </c:pt>
                <c:pt idx="36">
                  <c:v>0.99556120375999324</c:v>
                </c:pt>
                <c:pt idx="37">
                  <c:v>0.99629438414375204</c:v>
                </c:pt>
                <c:pt idx="38">
                  <c:v>0.99695730140740069</c:v>
                </c:pt>
                <c:pt idx="39">
                  <c:v>0.99752551620481378</c:v>
                </c:pt>
                <c:pt idx="40">
                  <c:v>0.99807234657436728</c:v>
                </c:pt>
                <c:pt idx="41">
                  <c:v>0.99859779251606107</c:v>
                </c:pt>
                <c:pt idx="42">
                  <c:v>0.99912018353948928</c:v>
                </c:pt>
                <c:pt idx="43">
                  <c:v>0.99961508029852653</c:v>
                </c:pt>
                <c:pt idx="44">
                  <c:v>0.99988391310590474</c:v>
                </c:pt>
                <c:pt idx="45">
                  <c:v>0.99999999999999989</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56</c:f>
              <c:strCache>
                <c:ptCount val="55"/>
                <c:pt idx="0">
                  <c:v>Dom Perigno</c:v>
                </c:pt>
                <c:pt idx="1">
                  <c:v>Dom Perigno</c:v>
                </c:pt>
                <c:pt idx="2">
                  <c:v>Roederer</c:v>
                </c:pt>
                <c:pt idx="3">
                  <c:v>Malard</c:v>
                </c:pt>
                <c:pt idx="4">
                  <c:v>Ruinart</c:v>
                </c:pt>
                <c:pt idx="5">
                  <c:v>Roederer</c:v>
                </c:pt>
                <c:pt idx="6">
                  <c:v>Roederer</c:v>
                </c:pt>
                <c:pt idx="7">
                  <c:v>Ruinart</c:v>
                </c:pt>
                <c:pt idx="8">
                  <c:v>Roederer</c:v>
                </c:pt>
                <c:pt idx="9">
                  <c:v>Dom Perigno</c:v>
                </c:pt>
                <c:pt idx="10">
                  <c:v>Roederer</c:v>
                </c:pt>
                <c:pt idx="11">
                  <c:v>Bollinger</c:v>
                </c:pt>
                <c:pt idx="12">
                  <c:v>Ruinart</c:v>
                </c:pt>
                <c:pt idx="13">
                  <c:v>Laurent Per</c:v>
                </c:pt>
                <c:pt idx="14">
                  <c:v>Piper Heids</c:v>
                </c:pt>
                <c:pt idx="15">
                  <c:v>Pommery</c:v>
                </c:pt>
                <c:pt idx="16">
                  <c:v>Perrier Jou</c:v>
                </c:pt>
                <c:pt idx="17">
                  <c:v>Piper Heids</c:v>
                </c:pt>
                <c:pt idx="18">
                  <c:v>Dom Perigno</c:v>
                </c:pt>
                <c:pt idx="19">
                  <c:v>Roederer</c:v>
                </c:pt>
                <c:pt idx="20">
                  <c:v>All Others</c:v>
                </c:pt>
                <c:pt idx="21">
                  <c:v>All Others</c:v>
                </c:pt>
                <c:pt idx="22">
                  <c:v>Roederer</c:v>
                </c:pt>
                <c:pt idx="23">
                  <c:v>De Venoge</c:v>
                </c:pt>
                <c:pt idx="24">
                  <c:v>Veuve Clicq</c:v>
                </c:pt>
                <c:pt idx="25">
                  <c:v>De Venoge</c:v>
                </c:pt>
                <c:pt idx="26">
                  <c:v>Bollinger</c:v>
                </c:pt>
                <c:pt idx="27">
                  <c:v>Ruinart</c:v>
                </c:pt>
                <c:pt idx="28">
                  <c:v>Pommery</c:v>
                </c:pt>
                <c:pt idx="29">
                  <c:v>Dom Perigno</c:v>
                </c:pt>
                <c:pt idx="30">
                  <c:v>Roederer</c:v>
                </c:pt>
                <c:pt idx="31">
                  <c:v>All Others</c:v>
                </c:pt>
                <c:pt idx="32">
                  <c:v>All Others</c:v>
                </c:pt>
                <c:pt idx="33">
                  <c:v>Dom Perigno</c:v>
                </c:pt>
                <c:pt idx="34">
                  <c:v>Roederer</c:v>
                </c:pt>
                <c:pt idx="35">
                  <c:v>Dom Perigno</c:v>
                </c:pt>
                <c:pt idx="36">
                  <c:v>Ruinart</c:v>
                </c:pt>
                <c:pt idx="37">
                  <c:v>Perrier Jou</c:v>
                </c:pt>
                <c:pt idx="38">
                  <c:v>Veuve Clicq</c:v>
                </c:pt>
                <c:pt idx="39">
                  <c:v>De Venoge</c:v>
                </c:pt>
                <c:pt idx="40">
                  <c:v>Bollinger</c:v>
                </c:pt>
                <c:pt idx="41">
                  <c:v>Veuve Clicq</c:v>
                </c:pt>
                <c:pt idx="42">
                  <c:v>Lanson</c:v>
                </c:pt>
                <c:pt idx="43">
                  <c:v>Perrier Jou</c:v>
                </c:pt>
                <c:pt idx="44">
                  <c:v>Malard</c:v>
                </c:pt>
                <c:pt idx="45">
                  <c:v>Roederer</c:v>
                </c:pt>
                <c:pt idx="46">
                  <c:v>Veuve Clicq</c:v>
                </c:pt>
                <c:pt idx="47">
                  <c:v>All Others</c:v>
                </c:pt>
                <c:pt idx="48">
                  <c:v>Pommery</c:v>
                </c:pt>
                <c:pt idx="49">
                  <c:v>Roederer</c:v>
                </c:pt>
                <c:pt idx="50">
                  <c:v>Laurent Per</c:v>
                </c:pt>
                <c:pt idx="51">
                  <c:v>Deutz</c:v>
                </c:pt>
                <c:pt idx="52">
                  <c:v>Henriot</c:v>
                </c:pt>
                <c:pt idx="53">
                  <c:v>Malard</c:v>
                </c:pt>
                <c:pt idx="54">
                  <c:v>Vesselle</c:v>
                </c:pt>
              </c:strCache>
            </c:strRef>
          </c:cat>
          <c:val>
            <c:numRef>
              <c:f>Sheet1!$B$2:$B$56</c:f>
              <c:numCache>
                <c:formatCode>General</c:formatCode>
                <c:ptCount val="55"/>
                <c:pt idx="0">
                  <c:v>0.26</c:v>
                </c:pt>
                <c:pt idx="1">
                  <c:v>0.31</c:v>
                </c:pt>
                <c:pt idx="2">
                  <c:v>0.12</c:v>
                </c:pt>
                <c:pt idx="3">
                  <c:v>0.48</c:v>
                </c:pt>
                <c:pt idx="4">
                  <c:v>0.17</c:v>
                </c:pt>
                <c:pt idx="5">
                  <c:v>0.08</c:v>
                </c:pt>
                <c:pt idx="6">
                  <c:v>0.21</c:v>
                </c:pt>
                <c:pt idx="7">
                  <c:v>0.22</c:v>
                </c:pt>
                <c:pt idx="8">
                  <c:v>0.17</c:v>
                </c:pt>
                <c:pt idx="9">
                  <c:v>7.0000000000000007E-2</c:v>
                </c:pt>
                <c:pt idx="10">
                  <c:v>0.04</c:v>
                </c:pt>
                <c:pt idx="11">
                  <c:v>0.05</c:v>
                </c:pt>
                <c:pt idx="12">
                  <c:v>0.12</c:v>
                </c:pt>
                <c:pt idx="13">
                  <c:v>0.08</c:v>
                </c:pt>
                <c:pt idx="14">
                  <c:v>0.02</c:v>
                </c:pt>
                <c:pt idx="15">
                  <c:v>0.06</c:v>
                </c:pt>
                <c:pt idx="16">
                  <c:v>0.02</c:v>
                </c:pt>
                <c:pt idx="17">
                  <c:v>0.03</c:v>
                </c:pt>
                <c:pt idx="18">
                  <c:v>0.03</c:v>
                </c:pt>
                <c:pt idx="19">
                  <c:v>0.05</c:v>
                </c:pt>
                <c:pt idx="20">
                  <c:v>0.03</c:v>
                </c:pt>
                <c:pt idx="21">
                  <c:v>0.02</c:v>
                </c:pt>
                <c:pt idx="22">
                  <c:v>0.02</c:v>
                </c:pt>
                <c:pt idx="23">
                  <c:v>0.02</c:v>
                </c:pt>
                <c:pt idx="24">
                  <c:v>0.01</c:v>
                </c:pt>
                <c:pt idx="25">
                  <c:v>0.02</c:v>
                </c:pt>
                <c:pt idx="26">
                  <c:v>0.01</c:v>
                </c:pt>
                <c:pt idx="27">
                  <c:v>0.01</c:v>
                </c:pt>
                <c:pt idx="28">
                  <c:v>0.01</c:v>
                </c:pt>
                <c:pt idx="29">
                  <c:v>0.01</c:v>
                </c:pt>
                <c:pt idx="30">
                  <c:v>0.02</c:v>
                </c:pt>
                <c:pt idx="31">
                  <c:v>0.01</c:v>
                </c:pt>
                <c:pt idx="32">
                  <c:v>0.01</c:v>
                </c:pt>
                <c:pt idx="33">
                  <c:v>0.01</c:v>
                </c:pt>
                <c:pt idx="34">
                  <c:v>0.02</c:v>
                </c:pt>
                <c:pt idx="35">
                  <c:v>0.02</c:v>
                </c:pt>
                <c:pt idx="36">
                  <c:v>0.02</c:v>
                </c:pt>
                <c:pt idx="37">
                  <c:v>0.01</c:v>
                </c:pt>
                <c:pt idx="38">
                  <c:v>0.01</c:v>
                </c:pt>
                <c:pt idx="39">
                  <c:v>0.01</c:v>
                </c:pt>
                <c:pt idx="40">
                  <c:v>0.01</c:v>
                </c:pt>
                <c:pt idx="41">
                  <c:v>0.02</c:v>
                </c:pt>
                <c:pt idx="42">
                  <c:v>0.01</c:v>
                </c:pt>
                <c:pt idx="43">
                  <c:v>0.01</c:v>
                </c:pt>
                <c:pt idx="44">
                  <c:v>0.01</c:v>
                </c:pt>
                <c:pt idx="45">
                  <c:v>0.01</c:v>
                </c:pt>
                <c:pt idx="46">
                  <c:v>0.01</c:v>
                </c:pt>
                <c:pt idx="47">
                  <c:v>0.01</c:v>
                </c:pt>
                <c:pt idx="48">
                  <c:v>0.01</c:v>
                </c:pt>
                <c:pt idx="49">
                  <c:v>0.01</c:v>
                </c:pt>
                <c:pt idx="50">
                  <c:v>0.01</c:v>
                </c:pt>
                <c:pt idx="51">
                  <c:v>0.01</c:v>
                </c:pt>
                <c:pt idx="52">
                  <c:v>0.01</c:v>
                </c:pt>
                <c:pt idx="53">
                  <c:v>0.01</c:v>
                </c:pt>
                <c:pt idx="54">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7ECAC4"/>
              </a:solidFill>
            </c:spPr>
            <c:extLst>
              <c:ext xmlns:c16="http://schemas.microsoft.com/office/drawing/2014/chart" uri="{C3380CC4-5D6E-409C-BE32-E72D297353CC}">
                <c16:uniqueId val="{0000004D-2993-41DE-A2CB-63102DE87051}"/>
              </c:ext>
            </c:extLst>
          </c:dPt>
          <c:dPt>
            <c:idx val="11"/>
            <c:invertIfNegative val="1"/>
            <c:bubble3D val="0"/>
            <c:spPr>
              <a:solidFill>
                <a:srgbClr val="7ECAC4"/>
              </a:solidFill>
            </c:spPr>
            <c:extLst>
              <c:ext xmlns:c16="http://schemas.microsoft.com/office/drawing/2014/chart" uri="{C3380CC4-5D6E-409C-BE32-E72D297353CC}">
                <c16:uniqueId val="{0000004F-2993-41DE-A2CB-63102DE87051}"/>
              </c:ext>
            </c:extLst>
          </c:dPt>
          <c:dPt>
            <c:idx val="12"/>
            <c:invertIfNegative val="1"/>
            <c:bubble3D val="0"/>
            <c:spPr>
              <a:solidFill>
                <a:srgbClr val="7ECAC4"/>
              </a:solidFill>
            </c:spPr>
            <c:extLst>
              <c:ext xmlns:c16="http://schemas.microsoft.com/office/drawing/2014/chart" uri="{C3380CC4-5D6E-409C-BE32-E72D297353CC}">
                <c16:uniqueId val="{00000051-2993-41DE-A2CB-63102DE87051}"/>
              </c:ext>
            </c:extLst>
          </c:dPt>
          <c:dPt>
            <c:idx val="13"/>
            <c:invertIfNegative val="1"/>
            <c:bubble3D val="0"/>
            <c:spPr>
              <a:solidFill>
                <a:srgbClr val="7ECAC4"/>
              </a:solidFill>
            </c:spPr>
            <c:extLst>
              <c:ext xmlns:c16="http://schemas.microsoft.com/office/drawing/2014/chart" uri="{C3380CC4-5D6E-409C-BE32-E72D297353CC}">
                <c16:uniqueId val="{00000053-2993-41DE-A2CB-63102DE87051}"/>
              </c:ext>
            </c:extLst>
          </c:dPt>
          <c:dPt>
            <c:idx val="14"/>
            <c:invertIfNegative val="1"/>
            <c:bubble3D val="0"/>
            <c:spPr>
              <a:solidFill>
                <a:srgbClr val="7ECAC4"/>
              </a:solidFill>
            </c:spPr>
            <c:extLst>
              <c:ext xmlns:c16="http://schemas.microsoft.com/office/drawing/2014/chart" uri="{C3380CC4-5D6E-409C-BE32-E72D297353CC}">
                <c16:uniqueId val="{00000055-2993-41DE-A2CB-63102DE87051}"/>
              </c:ext>
            </c:extLst>
          </c:dPt>
          <c:dPt>
            <c:idx val="15"/>
            <c:invertIfNegative val="1"/>
            <c:bubble3D val="0"/>
            <c:spPr>
              <a:solidFill>
                <a:srgbClr val="7ECAC4"/>
              </a:solidFill>
            </c:spPr>
            <c:extLst>
              <c:ext xmlns:c16="http://schemas.microsoft.com/office/drawing/2014/chart" uri="{C3380CC4-5D6E-409C-BE32-E72D297353CC}">
                <c16:uniqueId val="{00000057-2993-41DE-A2CB-63102DE87051}"/>
              </c:ext>
            </c:extLst>
          </c:dPt>
          <c:dPt>
            <c:idx val="16"/>
            <c:invertIfNegative val="1"/>
            <c:bubble3D val="0"/>
            <c:spPr>
              <a:solidFill>
                <a:srgbClr val="7ECAC4"/>
              </a:solidFill>
            </c:spPr>
            <c:extLst>
              <c:ext xmlns:c16="http://schemas.microsoft.com/office/drawing/2014/chart" uri="{C3380CC4-5D6E-409C-BE32-E72D297353CC}">
                <c16:uniqueId val="{00000059-2993-41DE-A2CB-63102DE87051}"/>
              </c:ext>
            </c:extLst>
          </c:dPt>
          <c:dPt>
            <c:idx val="17"/>
            <c:invertIfNegative val="1"/>
            <c:bubble3D val="0"/>
            <c:spPr>
              <a:solidFill>
                <a:srgbClr val="7ECAC4"/>
              </a:solidFill>
            </c:spPr>
            <c:extLst>
              <c:ext xmlns:c16="http://schemas.microsoft.com/office/drawing/2014/chart" uri="{C3380CC4-5D6E-409C-BE32-E72D297353CC}">
                <c16:uniqueId val="{0000005B-2993-41DE-A2CB-63102DE87051}"/>
              </c:ext>
            </c:extLst>
          </c:dPt>
          <c:dPt>
            <c:idx val="18"/>
            <c:invertIfNegative val="1"/>
            <c:bubble3D val="0"/>
            <c:spPr>
              <a:solidFill>
                <a:srgbClr val="AEABAB"/>
              </a:solidFill>
            </c:spPr>
            <c:extLst>
              <c:ext xmlns:c16="http://schemas.microsoft.com/office/drawing/2014/chart" uri="{C3380CC4-5D6E-409C-BE32-E72D297353CC}">
                <c16:uniqueId val="{0000005D-2993-41DE-A2CB-63102DE87051}"/>
              </c:ext>
            </c:extLst>
          </c:dPt>
          <c:dPt>
            <c:idx val="19"/>
            <c:invertIfNegative val="1"/>
            <c:bubble3D val="0"/>
            <c:spPr>
              <a:solidFill>
                <a:srgbClr val="AEABAB"/>
              </a:solidFill>
            </c:spPr>
            <c:extLst>
              <c:ext xmlns:c16="http://schemas.microsoft.com/office/drawing/2014/chart" uri="{C3380CC4-5D6E-409C-BE32-E72D297353CC}">
                <c16:uniqueId val="{0000005F-2993-41DE-A2CB-63102DE87051}"/>
              </c:ext>
            </c:extLst>
          </c:dPt>
          <c:dPt>
            <c:idx val="20"/>
            <c:invertIfNegative val="1"/>
            <c:bubble3D val="0"/>
            <c:spPr>
              <a:solidFill>
                <a:srgbClr val="AEABAB"/>
              </a:solidFill>
            </c:spPr>
            <c:extLst>
              <c:ext xmlns:c16="http://schemas.microsoft.com/office/drawing/2014/chart" uri="{C3380CC4-5D6E-409C-BE32-E72D297353CC}">
                <c16:uniqueId val="{00000061-2993-41DE-A2CB-63102DE87051}"/>
              </c:ext>
            </c:extLst>
          </c:dPt>
          <c:dPt>
            <c:idx val="21"/>
            <c:invertIfNegative val="1"/>
            <c:bubble3D val="0"/>
            <c:spPr>
              <a:solidFill>
                <a:srgbClr val="AEABAB"/>
              </a:solidFill>
            </c:spPr>
            <c:extLst>
              <c:ext xmlns:c16="http://schemas.microsoft.com/office/drawing/2014/chart" uri="{C3380CC4-5D6E-409C-BE32-E72D297353CC}">
                <c16:uniqueId val="{00000063-2993-41DE-A2CB-63102DE87051}"/>
              </c:ext>
            </c:extLst>
          </c:dPt>
          <c:dPt>
            <c:idx val="22"/>
            <c:invertIfNegative val="1"/>
            <c:bubble3D val="0"/>
            <c:spPr>
              <a:solidFill>
                <a:srgbClr val="AEABAB"/>
              </a:solidFill>
            </c:spPr>
            <c:extLst>
              <c:ext xmlns:c16="http://schemas.microsoft.com/office/drawing/2014/chart" uri="{C3380CC4-5D6E-409C-BE32-E72D297353CC}">
                <c16:uniqueId val="{00000065-2993-41DE-A2CB-63102DE87051}"/>
              </c:ext>
            </c:extLst>
          </c:dPt>
          <c:dPt>
            <c:idx val="23"/>
            <c:invertIfNegative val="1"/>
            <c:bubble3D val="0"/>
            <c:spPr>
              <a:solidFill>
                <a:srgbClr val="AEABAB"/>
              </a:solidFill>
            </c:spPr>
            <c:extLst>
              <c:ext xmlns:c16="http://schemas.microsoft.com/office/drawing/2014/chart" uri="{C3380CC4-5D6E-409C-BE32-E72D297353CC}">
                <c16:uniqueId val="{00000067-2993-41DE-A2CB-63102DE87051}"/>
              </c:ext>
            </c:extLst>
          </c:dPt>
          <c:dPt>
            <c:idx val="24"/>
            <c:invertIfNegative val="1"/>
            <c:bubble3D val="0"/>
            <c:spPr>
              <a:solidFill>
                <a:srgbClr val="AEABAB"/>
              </a:solidFill>
            </c:spPr>
            <c:extLst>
              <c:ext xmlns:c16="http://schemas.microsoft.com/office/drawing/2014/chart" uri="{C3380CC4-5D6E-409C-BE32-E72D297353CC}">
                <c16:uniqueId val="{00000069-2993-41DE-A2CB-63102DE87051}"/>
              </c:ext>
            </c:extLst>
          </c:dPt>
          <c:dPt>
            <c:idx val="25"/>
            <c:invertIfNegative val="1"/>
            <c:bubble3D val="0"/>
            <c:spPr>
              <a:solidFill>
                <a:srgbClr val="AEABAB"/>
              </a:solidFill>
            </c:spPr>
            <c:extLst>
              <c:ext xmlns:c16="http://schemas.microsoft.com/office/drawing/2014/chart" uri="{C3380CC4-5D6E-409C-BE32-E72D297353CC}">
                <c16:uniqueId val="{0000006B-2993-41DE-A2CB-63102DE87051}"/>
              </c:ext>
            </c:extLst>
          </c:dPt>
          <c:dPt>
            <c:idx val="26"/>
            <c:invertIfNegative val="1"/>
            <c:bubble3D val="0"/>
            <c:spPr>
              <a:solidFill>
                <a:srgbClr val="AEABAB"/>
              </a:solidFill>
            </c:spPr>
            <c:extLst>
              <c:ext xmlns:c16="http://schemas.microsoft.com/office/drawing/2014/chart" uri="{C3380CC4-5D6E-409C-BE32-E72D297353CC}">
                <c16:uniqueId val="{0000006D-2993-41DE-A2CB-63102DE87051}"/>
              </c:ext>
            </c:extLst>
          </c:dPt>
          <c:dPt>
            <c:idx val="27"/>
            <c:invertIfNegative val="1"/>
            <c:bubble3D val="0"/>
            <c:spPr>
              <a:solidFill>
                <a:srgbClr val="AEABAB"/>
              </a:solidFill>
            </c:spPr>
            <c:extLst>
              <c:ext xmlns:c16="http://schemas.microsoft.com/office/drawing/2014/chart" uri="{C3380CC4-5D6E-409C-BE32-E72D297353CC}">
                <c16:uniqueId val="{0000006F-2993-41DE-A2CB-63102DE87051}"/>
              </c:ext>
            </c:extLst>
          </c:dPt>
          <c:dPt>
            <c:idx val="28"/>
            <c:invertIfNegative val="1"/>
            <c:bubble3D val="0"/>
            <c:spPr>
              <a:solidFill>
                <a:srgbClr val="AEABAB"/>
              </a:solidFill>
            </c:spPr>
            <c:extLst>
              <c:ext xmlns:c16="http://schemas.microsoft.com/office/drawing/2014/chart" uri="{C3380CC4-5D6E-409C-BE32-E72D297353CC}">
                <c16:uniqueId val="{00000071-2993-41DE-A2CB-63102DE87051}"/>
              </c:ext>
            </c:extLst>
          </c:dPt>
          <c:dPt>
            <c:idx val="29"/>
            <c:invertIfNegative val="1"/>
            <c:bubble3D val="0"/>
            <c:spPr>
              <a:solidFill>
                <a:srgbClr val="AEABAB"/>
              </a:solidFill>
            </c:spPr>
            <c:extLst>
              <c:ext xmlns:c16="http://schemas.microsoft.com/office/drawing/2014/chart" uri="{C3380CC4-5D6E-409C-BE32-E72D297353CC}">
                <c16:uniqueId val="{00000073-2993-41DE-A2CB-63102DE87051}"/>
              </c:ext>
            </c:extLst>
          </c:dPt>
          <c:dPt>
            <c:idx val="30"/>
            <c:invertIfNegative val="1"/>
            <c:bubble3D val="0"/>
            <c:spPr>
              <a:solidFill>
                <a:srgbClr val="AEABAB"/>
              </a:solidFill>
            </c:spPr>
            <c:extLst>
              <c:ext xmlns:c16="http://schemas.microsoft.com/office/drawing/2014/chart" uri="{C3380CC4-5D6E-409C-BE32-E72D297353CC}">
                <c16:uniqueId val="{00000075-2993-41DE-A2CB-63102DE87051}"/>
              </c:ext>
            </c:extLst>
          </c:dPt>
          <c:dPt>
            <c:idx val="31"/>
            <c:invertIfNegative val="1"/>
            <c:bubble3D val="0"/>
            <c:spPr>
              <a:solidFill>
                <a:srgbClr val="AEABAB"/>
              </a:solidFill>
            </c:spPr>
            <c:extLst>
              <c:ext xmlns:c16="http://schemas.microsoft.com/office/drawing/2014/chart" uri="{C3380CC4-5D6E-409C-BE32-E72D297353CC}">
                <c16:uniqueId val="{00000077-2993-41DE-A2CB-63102DE87051}"/>
              </c:ext>
            </c:extLst>
          </c:dPt>
          <c:dPt>
            <c:idx val="32"/>
            <c:invertIfNegative val="1"/>
            <c:bubble3D val="0"/>
            <c:spPr>
              <a:solidFill>
                <a:srgbClr val="AEABAB"/>
              </a:solidFill>
            </c:spPr>
            <c:extLst>
              <c:ext xmlns:c16="http://schemas.microsoft.com/office/drawing/2014/chart" uri="{C3380CC4-5D6E-409C-BE32-E72D297353CC}">
                <c16:uniqueId val="{00000079-2993-41DE-A2CB-63102DE87051}"/>
              </c:ext>
            </c:extLst>
          </c:dPt>
          <c:dPt>
            <c:idx val="33"/>
            <c:invertIfNegative val="1"/>
            <c:bubble3D val="0"/>
            <c:spPr>
              <a:solidFill>
                <a:srgbClr val="AEABAB"/>
              </a:solidFill>
            </c:spPr>
            <c:extLst>
              <c:ext xmlns:c16="http://schemas.microsoft.com/office/drawing/2014/chart" uri="{C3380CC4-5D6E-409C-BE32-E72D297353CC}">
                <c16:uniqueId val="{0000007B-2993-41DE-A2CB-63102DE87051}"/>
              </c:ext>
            </c:extLst>
          </c:dPt>
          <c:dPt>
            <c:idx val="34"/>
            <c:invertIfNegative val="1"/>
            <c:bubble3D val="0"/>
            <c:spPr>
              <a:solidFill>
                <a:srgbClr val="AEABAB"/>
              </a:solidFill>
            </c:spPr>
            <c:extLst>
              <c:ext xmlns:c16="http://schemas.microsoft.com/office/drawing/2014/chart" uri="{C3380CC4-5D6E-409C-BE32-E72D297353CC}">
                <c16:uniqueId val="{0000007D-2993-41DE-A2CB-63102DE87051}"/>
              </c:ext>
            </c:extLst>
          </c:dPt>
          <c:dPt>
            <c:idx val="35"/>
            <c:invertIfNegative val="1"/>
            <c:bubble3D val="0"/>
            <c:spPr>
              <a:solidFill>
                <a:srgbClr val="AEABAB"/>
              </a:solidFill>
            </c:spPr>
            <c:extLst>
              <c:ext xmlns:c16="http://schemas.microsoft.com/office/drawing/2014/chart" uri="{C3380CC4-5D6E-409C-BE32-E72D297353CC}">
                <c16:uniqueId val="{0000007F-2993-41DE-A2CB-63102DE87051}"/>
              </c:ext>
            </c:extLst>
          </c:dPt>
          <c:dPt>
            <c:idx val="36"/>
            <c:invertIfNegative val="1"/>
            <c:bubble3D val="0"/>
            <c:spPr>
              <a:solidFill>
                <a:srgbClr val="AEABAB"/>
              </a:solidFill>
            </c:spPr>
            <c:extLst>
              <c:ext xmlns:c16="http://schemas.microsoft.com/office/drawing/2014/chart" uri="{C3380CC4-5D6E-409C-BE32-E72D297353CC}">
                <c16:uniqueId val="{00000081-2993-41DE-A2CB-63102DE87051}"/>
              </c:ext>
            </c:extLst>
          </c:dPt>
          <c:dPt>
            <c:idx val="37"/>
            <c:invertIfNegative val="1"/>
            <c:bubble3D val="0"/>
            <c:spPr>
              <a:solidFill>
                <a:srgbClr val="AEABAB"/>
              </a:solidFill>
            </c:spPr>
            <c:extLst>
              <c:ext xmlns:c16="http://schemas.microsoft.com/office/drawing/2014/chart" uri="{C3380CC4-5D6E-409C-BE32-E72D297353CC}">
                <c16:uniqueId val="{00000083-2993-41DE-A2CB-63102DE87051}"/>
              </c:ext>
            </c:extLst>
          </c:dPt>
          <c:dPt>
            <c:idx val="38"/>
            <c:invertIfNegative val="1"/>
            <c:bubble3D val="0"/>
            <c:spPr>
              <a:solidFill>
                <a:srgbClr val="AEABAB"/>
              </a:solidFill>
            </c:spPr>
            <c:extLst>
              <c:ext xmlns:c16="http://schemas.microsoft.com/office/drawing/2014/chart" uri="{C3380CC4-5D6E-409C-BE32-E72D297353CC}">
                <c16:uniqueId val="{00000085-2993-41DE-A2CB-63102DE87051}"/>
              </c:ext>
            </c:extLst>
          </c:dPt>
          <c:dPt>
            <c:idx val="39"/>
            <c:invertIfNegative val="1"/>
            <c:bubble3D val="0"/>
            <c:spPr>
              <a:solidFill>
                <a:srgbClr val="AEABAB"/>
              </a:solidFill>
            </c:spPr>
            <c:extLst>
              <c:ext xmlns:c16="http://schemas.microsoft.com/office/drawing/2014/chart" uri="{C3380CC4-5D6E-409C-BE32-E72D297353CC}">
                <c16:uniqueId val="{00000087-2993-41DE-A2CB-63102DE87051}"/>
              </c:ext>
            </c:extLst>
          </c:dPt>
          <c:dPt>
            <c:idx val="40"/>
            <c:invertIfNegative val="1"/>
            <c:bubble3D val="0"/>
            <c:spPr>
              <a:solidFill>
                <a:srgbClr val="AEABAB"/>
              </a:solidFill>
            </c:spPr>
            <c:extLst>
              <c:ext xmlns:c16="http://schemas.microsoft.com/office/drawing/2014/chart" uri="{C3380CC4-5D6E-409C-BE32-E72D297353CC}">
                <c16:uniqueId val="{00000089-2993-41DE-A2CB-63102DE87051}"/>
              </c:ext>
            </c:extLst>
          </c:dPt>
          <c:dPt>
            <c:idx val="41"/>
            <c:invertIfNegative val="1"/>
            <c:bubble3D val="0"/>
            <c:spPr>
              <a:solidFill>
                <a:srgbClr val="AEABAB"/>
              </a:solidFill>
            </c:spPr>
            <c:extLst>
              <c:ext xmlns:c16="http://schemas.microsoft.com/office/drawing/2014/chart" uri="{C3380CC4-5D6E-409C-BE32-E72D297353CC}">
                <c16:uniqueId val="{0000008B-2993-41DE-A2CB-63102DE87051}"/>
              </c:ext>
            </c:extLst>
          </c:dPt>
          <c:dPt>
            <c:idx val="42"/>
            <c:invertIfNegative val="1"/>
            <c:bubble3D val="0"/>
            <c:spPr>
              <a:solidFill>
                <a:srgbClr val="AEABAB"/>
              </a:solidFill>
            </c:spPr>
            <c:extLst>
              <c:ext xmlns:c16="http://schemas.microsoft.com/office/drawing/2014/chart" uri="{C3380CC4-5D6E-409C-BE32-E72D297353CC}">
                <c16:uniqueId val="{0000008D-2993-41DE-A2CB-63102DE87051}"/>
              </c:ext>
            </c:extLst>
          </c:dPt>
          <c:dPt>
            <c:idx val="43"/>
            <c:invertIfNegative val="1"/>
            <c:bubble3D val="0"/>
            <c:spPr>
              <a:solidFill>
                <a:srgbClr val="AEABAB"/>
              </a:solidFill>
            </c:spPr>
            <c:extLst>
              <c:ext xmlns:c16="http://schemas.microsoft.com/office/drawing/2014/chart" uri="{C3380CC4-5D6E-409C-BE32-E72D297353CC}">
                <c16:uniqueId val="{0000008F-2993-41DE-A2CB-63102DE87051}"/>
              </c:ext>
            </c:extLst>
          </c:dPt>
          <c:dPt>
            <c:idx val="44"/>
            <c:invertIfNegative val="1"/>
            <c:bubble3D val="0"/>
            <c:spPr>
              <a:solidFill>
                <a:srgbClr val="AEABAB"/>
              </a:solidFill>
            </c:spPr>
            <c:extLst>
              <c:ext xmlns:c16="http://schemas.microsoft.com/office/drawing/2014/chart" uri="{C3380CC4-5D6E-409C-BE32-E72D297353CC}">
                <c16:uniqueId val="{00000091-2993-41DE-A2CB-63102DE87051}"/>
              </c:ext>
            </c:extLst>
          </c:dPt>
          <c:dPt>
            <c:idx val="45"/>
            <c:invertIfNegative val="1"/>
            <c:bubble3D val="0"/>
            <c:spPr>
              <a:solidFill>
                <a:srgbClr val="AEABAB"/>
              </a:solidFill>
            </c:spPr>
            <c:extLst>
              <c:ext xmlns:c16="http://schemas.microsoft.com/office/drawing/2014/chart" uri="{C3380CC4-5D6E-409C-BE32-E72D297353CC}">
                <c16:uniqueId val="{00000093-2993-41DE-A2CB-63102DE87051}"/>
              </c:ext>
            </c:extLst>
          </c:dPt>
          <c:dPt>
            <c:idx val="46"/>
            <c:invertIfNegative val="1"/>
            <c:bubble3D val="0"/>
            <c:spPr>
              <a:solidFill>
                <a:srgbClr val="AEABAB"/>
              </a:solidFill>
            </c:spPr>
            <c:extLst>
              <c:ext xmlns:c16="http://schemas.microsoft.com/office/drawing/2014/chart" uri="{C3380CC4-5D6E-409C-BE32-E72D297353CC}">
                <c16:uniqueId val="{00000095-2993-41DE-A2CB-63102DE87051}"/>
              </c:ext>
            </c:extLst>
          </c:dPt>
          <c:dPt>
            <c:idx val="47"/>
            <c:invertIfNegative val="1"/>
            <c:bubble3D val="0"/>
            <c:spPr>
              <a:solidFill>
                <a:srgbClr val="AEABAB"/>
              </a:solidFill>
            </c:spPr>
            <c:extLst>
              <c:ext xmlns:c16="http://schemas.microsoft.com/office/drawing/2014/chart" uri="{C3380CC4-5D6E-409C-BE32-E72D297353CC}">
                <c16:uniqueId val="{00000097-2993-41DE-A2CB-63102DE87051}"/>
              </c:ext>
            </c:extLst>
          </c:dPt>
          <c:dPt>
            <c:idx val="48"/>
            <c:invertIfNegative val="1"/>
            <c:bubble3D val="0"/>
            <c:spPr>
              <a:solidFill>
                <a:srgbClr val="AEABAB"/>
              </a:solidFill>
            </c:spPr>
            <c:extLst>
              <c:ext xmlns:c16="http://schemas.microsoft.com/office/drawing/2014/chart" uri="{C3380CC4-5D6E-409C-BE32-E72D297353CC}">
                <c16:uniqueId val="{00000099-2993-41DE-A2CB-63102DE87051}"/>
              </c:ext>
            </c:extLst>
          </c:dPt>
          <c:dPt>
            <c:idx val="49"/>
            <c:invertIfNegative val="1"/>
            <c:bubble3D val="0"/>
            <c:spPr>
              <a:solidFill>
                <a:srgbClr val="AEABAB"/>
              </a:solidFill>
            </c:spPr>
            <c:extLst>
              <c:ext xmlns:c16="http://schemas.microsoft.com/office/drawing/2014/chart" uri="{C3380CC4-5D6E-409C-BE32-E72D297353CC}">
                <c16:uniqueId val="{0000009B-2993-41DE-A2CB-63102DE87051}"/>
              </c:ext>
            </c:extLst>
          </c:dPt>
          <c:dPt>
            <c:idx val="50"/>
            <c:invertIfNegative val="1"/>
            <c:bubble3D val="0"/>
            <c:spPr>
              <a:solidFill>
                <a:srgbClr val="AEABAB"/>
              </a:solidFill>
            </c:spPr>
            <c:extLst>
              <c:ext xmlns:c16="http://schemas.microsoft.com/office/drawing/2014/chart" uri="{C3380CC4-5D6E-409C-BE32-E72D297353CC}">
                <c16:uniqueId val="{0000009D-2993-41DE-A2CB-63102DE87051}"/>
              </c:ext>
            </c:extLst>
          </c:dPt>
          <c:dPt>
            <c:idx val="51"/>
            <c:invertIfNegative val="1"/>
            <c:bubble3D val="0"/>
            <c:spPr>
              <a:solidFill>
                <a:srgbClr val="AEABAB"/>
              </a:solidFill>
            </c:spPr>
            <c:extLst>
              <c:ext xmlns:c16="http://schemas.microsoft.com/office/drawing/2014/chart" uri="{C3380CC4-5D6E-409C-BE32-E72D297353CC}">
                <c16:uniqueId val="{0000009F-2993-41DE-A2CB-63102DE87051}"/>
              </c:ext>
            </c:extLst>
          </c:dPt>
          <c:dPt>
            <c:idx val="52"/>
            <c:invertIfNegative val="1"/>
            <c:bubble3D val="0"/>
            <c:spPr>
              <a:solidFill>
                <a:srgbClr val="AEABAB"/>
              </a:solidFill>
            </c:spPr>
            <c:extLst>
              <c:ext xmlns:c16="http://schemas.microsoft.com/office/drawing/2014/chart" uri="{C3380CC4-5D6E-409C-BE32-E72D297353CC}">
                <c16:uniqueId val="{000000A1-2993-41DE-A2CB-63102DE87051}"/>
              </c:ext>
            </c:extLst>
          </c:dPt>
          <c:dPt>
            <c:idx val="53"/>
            <c:invertIfNegative val="1"/>
            <c:bubble3D val="0"/>
            <c:spPr>
              <a:solidFill>
                <a:srgbClr val="AEABAB"/>
              </a:solidFill>
            </c:spPr>
            <c:extLst>
              <c:ext xmlns:c16="http://schemas.microsoft.com/office/drawing/2014/chart" uri="{C3380CC4-5D6E-409C-BE32-E72D297353CC}">
                <c16:uniqueId val="{000000A3-2993-41DE-A2CB-63102DE87051}"/>
              </c:ext>
            </c:extLst>
          </c:dPt>
          <c:dPt>
            <c:idx val="54"/>
            <c:invertIfNegative val="0"/>
            <c:bubble3D val="0"/>
            <c:spPr>
              <a:solidFill>
                <a:srgbClr val="AEABAB"/>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56</c:f>
              <c:strCache>
                <c:ptCount val="55"/>
                <c:pt idx="0">
                  <c:v>Dom Perigno</c:v>
                </c:pt>
                <c:pt idx="1">
                  <c:v>Dom Perigno</c:v>
                </c:pt>
                <c:pt idx="2">
                  <c:v>Roederer</c:v>
                </c:pt>
                <c:pt idx="3">
                  <c:v>Malard</c:v>
                </c:pt>
                <c:pt idx="4">
                  <c:v>Ruinart</c:v>
                </c:pt>
                <c:pt idx="5">
                  <c:v>Roederer</c:v>
                </c:pt>
                <c:pt idx="6">
                  <c:v>Roederer</c:v>
                </c:pt>
                <c:pt idx="7">
                  <c:v>Ruinart</c:v>
                </c:pt>
                <c:pt idx="8">
                  <c:v>Roederer</c:v>
                </c:pt>
                <c:pt idx="9">
                  <c:v>Dom Perigno</c:v>
                </c:pt>
                <c:pt idx="10">
                  <c:v>Roederer</c:v>
                </c:pt>
                <c:pt idx="11">
                  <c:v>Bollinger</c:v>
                </c:pt>
                <c:pt idx="12">
                  <c:v>Ruinart</c:v>
                </c:pt>
                <c:pt idx="13">
                  <c:v>Laurent Per</c:v>
                </c:pt>
                <c:pt idx="14">
                  <c:v>Piper Heids</c:v>
                </c:pt>
                <c:pt idx="15">
                  <c:v>Pommery</c:v>
                </c:pt>
                <c:pt idx="16">
                  <c:v>Perrier Jou</c:v>
                </c:pt>
                <c:pt idx="17">
                  <c:v>Piper Heids</c:v>
                </c:pt>
                <c:pt idx="18">
                  <c:v>Dom Perigno</c:v>
                </c:pt>
                <c:pt idx="19">
                  <c:v>Roederer</c:v>
                </c:pt>
                <c:pt idx="20">
                  <c:v>All Others</c:v>
                </c:pt>
                <c:pt idx="21">
                  <c:v>All Others</c:v>
                </c:pt>
                <c:pt idx="22">
                  <c:v>Roederer</c:v>
                </c:pt>
                <c:pt idx="23">
                  <c:v>De Venoge</c:v>
                </c:pt>
                <c:pt idx="24">
                  <c:v>Veuve Clicq</c:v>
                </c:pt>
                <c:pt idx="25">
                  <c:v>De Venoge</c:v>
                </c:pt>
                <c:pt idx="26">
                  <c:v>Bollinger</c:v>
                </c:pt>
                <c:pt idx="27">
                  <c:v>Ruinart</c:v>
                </c:pt>
                <c:pt idx="28">
                  <c:v>Pommery</c:v>
                </c:pt>
                <c:pt idx="29">
                  <c:v>Dom Perigno</c:v>
                </c:pt>
                <c:pt idx="30">
                  <c:v>Roederer</c:v>
                </c:pt>
                <c:pt idx="31">
                  <c:v>All Others</c:v>
                </c:pt>
                <c:pt idx="32">
                  <c:v>All Others</c:v>
                </c:pt>
                <c:pt idx="33">
                  <c:v>Dom Perigno</c:v>
                </c:pt>
                <c:pt idx="34">
                  <c:v>Roederer</c:v>
                </c:pt>
                <c:pt idx="35">
                  <c:v>Dom Perigno</c:v>
                </c:pt>
                <c:pt idx="36">
                  <c:v>Ruinart</c:v>
                </c:pt>
                <c:pt idx="37">
                  <c:v>Perrier Jou</c:v>
                </c:pt>
                <c:pt idx="38">
                  <c:v>Veuve Clicq</c:v>
                </c:pt>
                <c:pt idx="39">
                  <c:v>De Venoge</c:v>
                </c:pt>
                <c:pt idx="40">
                  <c:v>Bollinger</c:v>
                </c:pt>
                <c:pt idx="41">
                  <c:v>Veuve Clicq</c:v>
                </c:pt>
                <c:pt idx="42">
                  <c:v>Lanson</c:v>
                </c:pt>
                <c:pt idx="43">
                  <c:v>Perrier Jou</c:v>
                </c:pt>
                <c:pt idx="44">
                  <c:v>Malard</c:v>
                </c:pt>
                <c:pt idx="45">
                  <c:v>Roederer</c:v>
                </c:pt>
                <c:pt idx="46">
                  <c:v>Veuve Clicq</c:v>
                </c:pt>
                <c:pt idx="47">
                  <c:v>All Others</c:v>
                </c:pt>
                <c:pt idx="48">
                  <c:v>Pommery</c:v>
                </c:pt>
                <c:pt idx="49">
                  <c:v>Roederer</c:v>
                </c:pt>
                <c:pt idx="50">
                  <c:v>Laurent Per</c:v>
                </c:pt>
                <c:pt idx="51">
                  <c:v>Deutz</c:v>
                </c:pt>
                <c:pt idx="52">
                  <c:v>Henriot</c:v>
                </c:pt>
                <c:pt idx="53">
                  <c:v>Malard</c:v>
                </c:pt>
                <c:pt idx="54">
                  <c:v>Vesselle</c:v>
                </c:pt>
              </c:strCache>
            </c:strRef>
          </c:cat>
          <c:val>
            <c:numRef>
              <c:f>Sheet1!$C$2:$C$56</c:f>
              <c:numCache>
                <c:formatCode>General</c:formatCode>
                <c:ptCount val="55"/>
                <c:pt idx="0">
                  <c:v>0.21741700972234387</c:v>
                </c:pt>
                <c:pt idx="1">
                  <c:v>0.39624523238870268</c:v>
                </c:pt>
                <c:pt idx="2">
                  <c:v>0.47296296591207693</c:v>
                </c:pt>
                <c:pt idx="3">
                  <c:v>0.54748301973930424</c:v>
                </c:pt>
                <c:pt idx="4">
                  <c:v>0.60555630757960621</c:v>
                </c:pt>
                <c:pt idx="5">
                  <c:v>0.66196541043260848</c:v>
                </c:pt>
                <c:pt idx="6">
                  <c:v>0.71371041588699469</c:v>
                </c:pt>
                <c:pt idx="7">
                  <c:v>0.75551410575935407</c:v>
                </c:pt>
                <c:pt idx="8">
                  <c:v>0.79333450118244719</c:v>
                </c:pt>
                <c:pt idx="9">
                  <c:v>0.8274124710360149</c:v>
                </c:pt>
                <c:pt idx="10">
                  <c:v>0.84814909186460385</c:v>
                </c:pt>
                <c:pt idx="11">
                  <c:v>0.86619435132617228</c:v>
                </c:pt>
                <c:pt idx="12">
                  <c:v>0.88229076257892936</c:v>
                </c:pt>
                <c:pt idx="13">
                  <c:v>0.8966055403823644</c:v>
                </c:pt>
                <c:pt idx="14">
                  <c:v>0.9092859929769801</c:v>
                </c:pt>
                <c:pt idx="15">
                  <c:v>0.92160016562223801</c:v>
                </c:pt>
                <c:pt idx="16">
                  <c:v>0.93205108809032788</c:v>
                </c:pt>
                <c:pt idx="17">
                  <c:v>0.94150668460907583</c:v>
                </c:pt>
                <c:pt idx="18">
                  <c:v>0.95021379601391864</c:v>
                </c:pt>
                <c:pt idx="19">
                  <c:v>0.95758119869094727</c:v>
                </c:pt>
                <c:pt idx="20">
                  <c:v>0.96214775414652787</c:v>
                </c:pt>
                <c:pt idx="21">
                  <c:v>0.96604146926035339</c:v>
                </c:pt>
                <c:pt idx="22">
                  <c:v>0.96949525030456973</c:v>
                </c:pt>
                <c:pt idx="23">
                  <c:v>0.97231600404500462</c:v>
                </c:pt>
                <c:pt idx="24">
                  <c:v>0.9750869914879724</c:v>
                </c:pt>
                <c:pt idx="25">
                  <c:v>0.97745387659550742</c:v>
                </c:pt>
                <c:pt idx="26">
                  <c:v>0.9795161919625438</c:v>
                </c:pt>
                <c:pt idx="27">
                  <c:v>0.98140332996249602</c:v>
                </c:pt>
                <c:pt idx="28">
                  <c:v>0.98311529059536407</c:v>
                </c:pt>
                <c:pt idx="29">
                  <c:v>0.98476753167127162</c:v>
                </c:pt>
                <c:pt idx="30">
                  <c:v>0.98630829624085292</c:v>
                </c:pt>
                <c:pt idx="31">
                  <c:v>0.98750268738006319</c:v>
                </c:pt>
                <c:pt idx="32">
                  <c:v>0.98863934961421163</c:v>
                </c:pt>
                <c:pt idx="33">
                  <c:v>0.98975411467747454</c:v>
                </c:pt>
                <c:pt idx="34">
                  <c:v>0.99085892648124407</c:v>
                </c:pt>
                <c:pt idx="35">
                  <c:v>0.99194383176602674</c:v>
                </c:pt>
                <c:pt idx="36">
                  <c:v>0.9929331857596726</c:v>
                </c:pt>
                <c:pt idx="37">
                  <c:v>0.9937971286837014</c:v>
                </c:pt>
                <c:pt idx="38">
                  <c:v>0.99461329596216175</c:v>
                </c:pt>
                <c:pt idx="39">
                  <c:v>0.99538965020264847</c:v>
                </c:pt>
                <c:pt idx="40">
                  <c:v>0.9961421166203509</c:v>
                </c:pt>
                <c:pt idx="41">
                  <c:v>0.99661987307603506</c:v>
                </c:pt>
                <c:pt idx="42">
                  <c:v>0.99700805019627836</c:v>
                </c:pt>
                <c:pt idx="43">
                  <c:v>0.99738428340512963</c:v>
                </c:pt>
                <c:pt idx="44">
                  <c:v>0.99774658205069011</c:v>
                </c:pt>
                <c:pt idx="45">
                  <c:v>0.99809693678485845</c:v>
                </c:pt>
                <c:pt idx="46">
                  <c:v>0.99844530086712813</c:v>
                </c:pt>
                <c:pt idx="47">
                  <c:v>0.99878769299370174</c:v>
                </c:pt>
                <c:pt idx="48">
                  <c:v>0.99912809446837669</c:v>
                </c:pt>
                <c:pt idx="49">
                  <c:v>0.99941076703798981</c:v>
                </c:pt>
                <c:pt idx="50">
                  <c:v>0.99964566396203447</c:v>
                </c:pt>
                <c:pt idx="51">
                  <c:v>0.99976709372785422</c:v>
                </c:pt>
                <c:pt idx="52">
                  <c:v>0.99987857023418047</c:v>
                </c:pt>
                <c:pt idx="53">
                  <c:v>0.99995421500633042</c:v>
                </c:pt>
                <c:pt idx="54">
                  <c:v>1.0000000000000002</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60</c:f>
              <c:strCache>
                <c:ptCount val="59"/>
                <c:pt idx="0">
                  <c:v>Dom Perigno</c:v>
                </c:pt>
                <c:pt idx="1">
                  <c:v>Dom Perigno</c:v>
                </c:pt>
                <c:pt idx="2">
                  <c:v>Malard</c:v>
                </c:pt>
                <c:pt idx="3">
                  <c:v>Roederer</c:v>
                </c:pt>
                <c:pt idx="4">
                  <c:v>Ruinart</c:v>
                </c:pt>
                <c:pt idx="5">
                  <c:v>Ruinart</c:v>
                </c:pt>
                <c:pt idx="6">
                  <c:v>Roederer</c:v>
                </c:pt>
                <c:pt idx="7">
                  <c:v>Roederer</c:v>
                </c:pt>
                <c:pt idx="8">
                  <c:v>Roederer</c:v>
                </c:pt>
                <c:pt idx="9">
                  <c:v>Roederer</c:v>
                </c:pt>
                <c:pt idx="10">
                  <c:v>Bollinger</c:v>
                </c:pt>
                <c:pt idx="11">
                  <c:v>Dom Perigno</c:v>
                </c:pt>
                <c:pt idx="12">
                  <c:v>Bollinger</c:v>
                </c:pt>
                <c:pt idx="13">
                  <c:v>Laurent Per</c:v>
                </c:pt>
                <c:pt idx="14">
                  <c:v>Dom Perigno</c:v>
                </c:pt>
                <c:pt idx="15">
                  <c:v>Pommery</c:v>
                </c:pt>
                <c:pt idx="16">
                  <c:v>Ruinart</c:v>
                </c:pt>
                <c:pt idx="17">
                  <c:v>Roederer</c:v>
                </c:pt>
                <c:pt idx="18">
                  <c:v>Piper Heids</c:v>
                </c:pt>
                <c:pt idx="19">
                  <c:v>Perrier Jou</c:v>
                </c:pt>
                <c:pt idx="20">
                  <c:v>Roederer</c:v>
                </c:pt>
                <c:pt idx="21">
                  <c:v>All Others</c:v>
                </c:pt>
                <c:pt idx="22">
                  <c:v>Piper Heids</c:v>
                </c:pt>
                <c:pt idx="23">
                  <c:v>Roederer</c:v>
                </c:pt>
                <c:pt idx="24">
                  <c:v>Veuve Clicq</c:v>
                </c:pt>
                <c:pt idx="25">
                  <c:v>Ruinart</c:v>
                </c:pt>
                <c:pt idx="26">
                  <c:v>Roederer</c:v>
                </c:pt>
                <c:pt idx="27">
                  <c:v>Roederer</c:v>
                </c:pt>
                <c:pt idx="28">
                  <c:v>Perrier Jou</c:v>
                </c:pt>
                <c:pt idx="29">
                  <c:v>Pommery</c:v>
                </c:pt>
                <c:pt idx="30">
                  <c:v>Dom Perigno</c:v>
                </c:pt>
                <c:pt idx="31">
                  <c:v>De Venoge</c:v>
                </c:pt>
                <c:pt idx="32">
                  <c:v>De Venoge</c:v>
                </c:pt>
                <c:pt idx="33">
                  <c:v>Malard</c:v>
                </c:pt>
                <c:pt idx="34">
                  <c:v>All Others</c:v>
                </c:pt>
                <c:pt idx="35">
                  <c:v>Laurent Per</c:v>
                </c:pt>
                <c:pt idx="36">
                  <c:v>Roederer</c:v>
                </c:pt>
                <c:pt idx="37">
                  <c:v>De Venoge</c:v>
                </c:pt>
                <c:pt idx="38">
                  <c:v>Bollinger</c:v>
                </c:pt>
                <c:pt idx="39">
                  <c:v>Bollinger</c:v>
                </c:pt>
                <c:pt idx="40">
                  <c:v>Bollinger</c:v>
                </c:pt>
                <c:pt idx="41">
                  <c:v>Roederer</c:v>
                </c:pt>
                <c:pt idx="42">
                  <c:v>Veuve Clicq</c:v>
                </c:pt>
                <c:pt idx="43">
                  <c:v>All Others</c:v>
                </c:pt>
                <c:pt idx="44">
                  <c:v>Roederer</c:v>
                </c:pt>
                <c:pt idx="45">
                  <c:v>Ruinart</c:v>
                </c:pt>
                <c:pt idx="46">
                  <c:v>Roederer</c:v>
                </c:pt>
                <c:pt idx="47">
                  <c:v>Veuve Clicq</c:v>
                </c:pt>
                <c:pt idx="48">
                  <c:v>Ruinart</c:v>
                </c:pt>
                <c:pt idx="49">
                  <c:v>Perrier Jou</c:v>
                </c:pt>
                <c:pt idx="50">
                  <c:v>Veuve Clicq</c:v>
                </c:pt>
                <c:pt idx="51">
                  <c:v>Pommery</c:v>
                </c:pt>
                <c:pt idx="52">
                  <c:v>Malard</c:v>
                </c:pt>
                <c:pt idx="53">
                  <c:v>Laurent Per</c:v>
                </c:pt>
                <c:pt idx="54">
                  <c:v>Roederer</c:v>
                </c:pt>
                <c:pt idx="55">
                  <c:v>Roederer</c:v>
                </c:pt>
                <c:pt idx="56">
                  <c:v>Laurent Per</c:v>
                </c:pt>
                <c:pt idx="57">
                  <c:v>Laurent Per</c:v>
                </c:pt>
                <c:pt idx="58">
                  <c:v>Malard</c:v>
                </c:pt>
              </c:strCache>
            </c:strRef>
          </c:cat>
          <c:val>
            <c:numRef>
              <c:f>Sheet1!$B$2:$B$60</c:f>
              <c:numCache>
                <c:formatCode>General</c:formatCode>
                <c:ptCount val="59"/>
                <c:pt idx="0">
                  <c:v>0.23</c:v>
                </c:pt>
                <c:pt idx="1">
                  <c:v>0.23</c:v>
                </c:pt>
                <c:pt idx="2">
                  <c:v>0.49</c:v>
                </c:pt>
                <c:pt idx="3">
                  <c:v>0.08</c:v>
                </c:pt>
                <c:pt idx="4">
                  <c:v>0.25</c:v>
                </c:pt>
                <c:pt idx="5">
                  <c:v>0.11</c:v>
                </c:pt>
                <c:pt idx="6">
                  <c:v>0.13</c:v>
                </c:pt>
                <c:pt idx="7">
                  <c:v>0.04</c:v>
                </c:pt>
                <c:pt idx="8">
                  <c:v>0.05</c:v>
                </c:pt>
                <c:pt idx="9">
                  <c:v>0.13</c:v>
                </c:pt>
                <c:pt idx="10">
                  <c:v>0.03</c:v>
                </c:pt>
                <c:pt idx="11">
                  <c:v>0.06</c:v>
                </c:pt>
                <c:pt idx="12">
                  <c:v>0.05</c:v>
                </c:pt>
                <c:pt idx="13">
                  <c:v>0.08</c:v>
                </c:pt>
                <c:pt idx="14">
                  <c:v>0.08</c:v>
                </c:pt>
                <c:pt idx="15">
                  <c:v>0.06</c:v>
                </c:pt>
                <c:pt idx="16">
                  <c:v>0.06</c:v>
                </c:pt>
                <c:pt idx="17">
                  <c:v>0.05</c:v>
                </c:pt>
                <c:pt idx="18">
                  <c:v>0.05</c:v>
                </c:pt>
                <c:pt idx="19">
                  <c:v>0.03</c:v>
                </c:pt>
                <c:pt idx="20">
                  <c:v>0.03</c:v>
                </c:pt>
                <c:pt idx="21">
                  <c:v>0.01</c:v>
                </c:pt>
                <c:pt idx="22">
                  <c:v>0.02</c:v>
                </c:pt>
                <c:pt idx="23">
                  <c:v>0.05</c:v>
                </c:pt>
                <c:pt idx="24">
                  <c:v>0.03</c:v>
                </c:pt>
                <c:pt idx="25">
                  <c:v>0.02</c:v>
                </c:pt>
                <c:pt idx="26">
                  <c:v>0.01</c:v>
                </c:pt>
                <c:pt idx="27">
                  <c:v>0.02</c:v>
                </c:pt>
                <c:pt idx="28">
                  <c:v>0.02</c:v>
                </c:pt>
                <c:pt idx="29">
                  <c:v>0.01</c:v>
                </c:pt>
                <c:pt idx="30">
                  <c:v>0.01</c:v>
                </c:pt>
                <c:pt idx="31">
                  <c:v>0.02</c:v>
                </c:pt>
                <c:pt idx="32">
                  <c:v>0.03</c:v>
                </c:pt>
                <c:pt idx="33">
                  <c:v>0.03</c:v>
                </c:pt>
                <c:pt idx="34">
                  <c:v>0.02</c:v>
                </c:pt>
                <c:pt idx="35">
                  <c:v>0.02</c:v>
                </c:pt>
                <c:pt idx="36">
                  <c:v>0.02</c:v>
                </c:pt>
                <c:pt idx="37">
                  <c:v>0.02</c:v>
                </c:pt>
                <c:pt idx="38">
                  <c:v>0.02</c:v>
                </c:pt>
                <c:pt idx="39">
                  <c:v>0.02</c:v>
                </c:pt>
                <c:pt idx="40">
                  <c:v>0.01</c:v>
                </c:pt>
                <c:pt idx="41">
                  <c:v>0.02</c:v>
                </c:pt>
                <c:pt idx="42">
                  <c:v>0.01</c:v>
                </c:pt>
                <c:pt idx="43">
                  <c:v>0.01</c:v>
                </c:pt>
                <c:pt idx="44">
                  <c:v>0.01</c:v>
                </c:pt>
                <c:pt idx="45">
                  <c:v>0.01</c:v>
                </c:pt>
                <c:pt idx="46">
                  <c:v>0.01</c:v>
                </c:pt>
                <c:pt idx="47">
                  <c:v>0.01</c:v>
                </c:pt>
                <c:pt idx="48">
                  <c:v>0.01</c:v>
                </c:pt>
                <c:pt idx="49">
                  <c:v>0.01</c:v>
                </c:pt>
                <c:pt idx="50">
                  <c:v>0.02</c:v>
                </c:pt>
                <c:pt idx="51">
                  <c:v>0.01</c:v>
                </c:pt>
                <c:pt idx="52">
                  <c:v>0.01</c:v>
                </c:pt>
                <c:pt idx="53">
                  <c:v>0.01</c:v>
                </c:pt>
                <c:pt idx="54">
                  <c:v>0.01</c:v>
                </c:pt>
                <c:pt idx="55">
                  <c:v>0.01</c:v>
                </c:pt>
                <c:pt idx="56">
                  <c:v>0.01</c:v>
                </c:pt>
                <c:pt idx="57">
                  <c:v>0.01</c:v>
                </c:pt>
                <c:pt idx="58">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7ECAC4"/>
              </a:solidFill>
            </c:spPr>
            <c:extLst>
              <c:ext xmlns:c16="http://schemas.microsoft.com/office/drawing/2014/chart" uri="{C3380CC4-5D6E-409C-BE32-E72D297353CC}">
                <c16:uniqueId val="{00000051-2993-41DE-A2CB-63102DE87051}"/>
              </c:ext>
            </c:extLst>
          </c:dPt>
          <c:dPt>
            <c:idx val="13"/>
            <c:invertIfNegative val="1"/>
            <c:bubble3D val="0"/>
            <c:spPr>
              <a:solidFill>
                <a:srgbClr val="7ECAC4"/>
              </a:solidFill>
            </c:spPr>
            <c:extLst>
              <c:ext xmlns:c16="http://schemas.microsoft.com/office/drawing/2014/chart" uri="{C3380CC4-5D6E-409C-BE32-E72D297353CC}">
                <c16:uniqueId val="{00000053-2993-41DE-A2CB-63102DE87051}"/>
              </c:ext>
            </c:extLst>
          </c:dPt>
          <c:dPt>
            <c:idx val="14"/>
            <c:invertIfNegative val="1"/>
            <c:bubble3D val="0"/>
            <c:spPr>
              <a:solidFill>
                <a:srgbClr val="7ECAC4"/>
              </a:solidFill>
            </c:spPr>
            <c:extLst>
              <c:ext xmlns:c16="http://schemas.microsoft.com/office/drawing/2014/chart" uri="{C3380CC4-5D6E-409C-BE32-E72D297353CC}">
                <c16:uniqueId val="{00000055-2993-41DE-A2CB-63102DE87051}"/>
              </c:ext>
            </c:extLst>
          </c:dPt>
          <c:dPt>
            <c:idx val="15"/>
            <c:invertIfNegative val="1"/>
            <c:bubble3D val="0"/>
            <c:spPr>
              <a:solidFill>
                <a:srgbClr val="7ECAC4"/>
              </a:solidFill>
            </c:spPr>
            <c:extLst>
              <c:ext xmlns:c16="http://schemas.microsoft.com/office/drawing/2014/chart" uri="{C3380CC4-5D6E-409C-BE32-E72D297353CC}">
                <c16:uniqueId val="{00000057-2993-41DE-A2CB-63102DE87051}"/>
              </c:ext>
            </c:extLst>
          </c:dPt>
          <c:dPt>
            <c:idx val="16"/>
            <c:invertIfNegative val="1"/>
            <c:bubble3D val="0"/>
            <c:spPr>
              <a:solidFill>
                <a:srgbClr val="7ECAC4"/>
              </a:solidFill>
            </c:spPr>
            <c:extLst>
              <c:ext xmlns:c16="http://schemas.microsoft.com/office/drawing/2014/chart" uri="{C3380CC4-5D6E-409C-BE32-E72D297353CC}">
                <c16:uniqueId val="{00000059-2993-41DE-A2CB-63102DE87051}"/>
              </c:ext>
            </c:extLst>
          </c:dPt>
          <c:dPt>
            <c:idx val="17"/>
            <c:invertIfNegative val="1"/>
            <c:bubble3D val="0"/>
            <c:spPr>
              <a:solidFill>
                <a:srgbClr val="7ECAC4"/>
              </a:solidFill>
            </c:spPr>
            <c:extLst>
              <c:ext xmlns:c16="http://schemas.microsoft.com/office/drawing/2014/chart" uri="{C3380CC4-5D6E-409C-BE32-E72D297353CC}">
                <c16:uniqueId val="{0000005B-2993-41DE-A2CB-63102DE87051}"/>
              </c:ext>
            </c:extLst>
          </c:dPt>
          <c:dPt>
            <c:idx val="18"/>
            <c:invertIfNegative val="1"/>
            <c:bubble3D val="0"/>
            <c:spPr>
              <a:solidFill>
                <a:srgbClr val="7ECAC4"/>
              </a:solidFill>
            </c:spPr>
            <c:extLst>
              <c:ext xmlns:c16="http://schemas.microsoft.com/office/drawing/2014/chart" uri="{C3380CC4-5D6E-409C-BE32-E72D297353CC}">
                <c16:uniqueId val="{0000005D-2993-41DE-A2CB-63102DE87051}"/>
              </c:ext>
            </c:extLst>
          </c:dPt>
          <c:dPt>
            <c:idx val="19"/>
            <c:invertIfNegative val="1"/>
            <c:bubble3D val="0"/>
            <c:spPr>
              <a:solidFill>
                <a:srgbClr val="7ECAC4"/>
              </a:solidFill>
            </c:spPr>
            <c:extLst>
              <c:ext xmlns:c16="http://schemas.microsoft.com/office/drawing/2014/chart" uri="{C3380CC4-5D6E-409C-BE32-E72D297353CC}">
                <c16:uniqueId val="{0000005F-2993-41DE-A2CB-63102DE87051}"/>
              </c:ext>
            </c:extLst>
          </c:dPt>
          <c:dPt>
            <c:idx val="20"/>
            <c:invertIfNegative val="1"/>
            <c:bubble3D val="0"/>
            <c:spPr>
              <a:solidFill>
                <a:srgbClr val="7ECAC4"/>
              </a:solidFill>
            </c:spPr>
            <c:extLst>
              <c:ext xmlns:c16="http://schemas.microsoft.com/office/drawing/2014/chart" uri="{C3380CC4-5D6E-409C-BE32-E72D297353CC}">
                <c16:uniqueId val="{00000061-2993-41DE-A2CB-63102DE87051}"/>
              </c:ext>
            </c:extLst>
          </c:dPt>
          <c:dPt>
            <c:idx val="21"/>
            <c:invertIfNegative val="1"/>
            <c:bubble3D val="0"/>
            <c:spPr>
              <a:solidFill>
                <a:srgbClr val="7ECAC4"/>
              </a:solidFill>
            </c:spPr>
            <c:extLst>
              <c:ext xmlns:c16="http://schemas.microsoft.com/office/drawing/2014/chart" uri="{C3380CC4-5D6E-409C-BE32-E72D297353CC}">
                <c16:uniqueId val="{00000063-2993-41DE-A2CB-63102DE87051}"/>
              </c:ext>
            </c:extLst>
          </c:dPt>
          <c:dPt>
            <c:idx val="22"/>
            <c:invertIfNegative val="1"/>
            <c:bubble3D val="0"/>
            <c:spPr>
              <a:solidFill>
                <a:srgbClr val="AEABAB"/>
              </a:solidFill>
            </c:spPr>
            <c:extLst>
              <c:ext xmlns:c16="http://schemas.microsoft.com/office/drawing/2014/chart" uri="{C3380CC4-5D6E-409C-BE32-E72D297353CC}">
                <c16:uniqueId val="{00000065-2993-41DE-A2CB-63102DE87051}"/>
              </c:ext>
            </c:extLst>
          </c:dPt>
          <c:dPt>
            <c:idx val="23"/>
            <c:invertIfNegative val="1"/>
            <c:bubble3D val="0"/>
            <c:spPr>
              <a:solidFill>
                <a:srgbClr val="AEABAB"/>
              </a:solidFill>
            </c:spPr>
            <c:extLst>
              <c:ext xmlns:c16="http://schemas.microsoft.com/office/drawing/2014/chart" uri="{C3380CC4-5D6E-409C-BE32-E72D297353CC}">
                <c16:uniqueId val="{00000067-2993-41DE-A2CB-63102DE87051}"/>
              </c:ext>
            </c:extLst>
          </c:dPt>
          <c:dPt>
            <c:idx val="24"/>
            <c:invertIfNegative val="1"/>
            <c:bubble3D val="0"/>
            <c:spPr>
              <a:solidFill>
                <a:srgbClr val="AEABAB"/>
              </a:solidFill>
            </c:spPr>
            <c:extLst>
              <c:ext xmlns:c16="http://schemas.microsoft.com/office/drawing/2014/chart" uri="{C3380CC4-5D6E-409C-BE32-E72D297353CC}">
                <c16:uniqueId val="{00000069-2993-41DE-A2CB-63102DE87051}"/>
              </c:ext>
            </c:extLst>
          </c:dPt>
          <c:dPt>
            <c:idx val="25"/>
            <c:invertIfNegative val="1"/>
            <c:bubble3D val="0"/>
            <c:spPr>
              <a:solidFill>
                <a:srgbClr val="AEABAB"/>
              </a:solidFill>
            </c:spPr>
            <c:extLst>
              <c:ext xmlns:c16="http://schemas.microsoft.com/office/drawing/2014/chart" uri="{C3380CC4-5D6E-409C-BE32-E72D297353CC}">
                <c16:uniqueId val="{0000006B-2993-41DE-A2CB-63102DE87051}"/>
              </c:ext>
            </c:extLst>
          </c:dPt>
          <c:dPt>
            <c:idx val="26"/>
            <c:invertIfNegative val="1"/>
            <c:bubble3D val="0"/>
            <c:spPr>
              <a:solidFill>
                <a:srgbClr val="AEABAB"/>
              </a:solidFill>
            </c:spPr>
            <c:extLst>
              <c:ext xmlns:c16="http://schemas.microsoft.com/office/drawing/2014/chart" uri="{C3380CC4-5D6E-409C-BE32-E72D297353CC}">
                <c16:uniqueId val="{0000006D-2993-41DE-A2CB-63102DE87051}"/>
              </c:ext>
            </c:extLst>
          </c:dPt>
          <c:dPt>
            <c:idx val="27"/>
            <c:invertIfNegative val="1"/>
            <c:bubble3D val="0"/>
            <c:spPr>
              <a:solidFill>
                <a:srgbClr val="AEABAB"/>
              </a:solidFill>
            </c:spPr>
            <c:extLst>
              <c:ext xmlns:c16="http://schemas.microsoft.com/office/drawing/2014/chart" uri="{C3380CC4-5D6E-409C-BE32-E72D297353CC}">
                <c16:uniqueId val="{0000006F-2993-41DE-A2CB-63102DE87051}"/>
              </c:ext>
            </c:extLst>
          </c:dPt>
          <c:dPt>
            <c:idx val="28"/>
            <c:invertIfNegative val="1"/>
            <c:bubble3D val="0"/>
            <c:spPr>
              <a:solidFill>
                <a:srgbClr val="AEABAB"/>
              </a:solidFill>
            </c:spPr>
            <c:extLst>
              <c:ext xmlns:c16="http://schemas.microsoft.com/office/drawing/2014/chart" uri="{C3380CC4-5D6E-409C-BE32-E72D297353CC}">
                <c16:uniqueId val="{00000071-2993-41DE-A2CB-63102DE87051}"/>
              </c:ext>
            </c:extLst>
          </c:dPt>
          <c:dPt>
            <c:idx val="29"/>
            <c:invertIfNegative val="1"/>
            <c:bubble3D val="0"/>
            <c:spPr>
              <a:solidFill>
                <a:srgbClr val="AEABAB"/>
              </a:solidFill>
            </c:spPr>
            <c:extLst>
              <c:ext xmlns:c16="http://schemas.microsoft.com/office/drawing/2014/chart" uri="{C3380CC4-5D6E-409C-BE32-E72D297353CC}">
                <c16:uniqueId val="{00000073-2993-41DE-A2CB-63102DE87051}"/>
              </c:ext>
            </c:extLst>
          </c:dPt>
          <c:dPt>
            <c:idx val="30"/>
            <c:invertIfNegative val="1"/>
            <c:bubble3D val="0"/>
            <c:spPr>
              <a:solidFill>
                <a:srgbClr val="AEABAB"/>
              </a:solidFill>
            </c:spPr>
            <c:extLst>
              <c:ext xmlns:c16="http://schemas.microsoft.com/office/drawing/2014/chart" uri="{C3380CC4-5D6E-409C-BE32-E72D297353CC}">
                <c16:uniqueId val="{00000075-2993-41DE-A2CB-63102DE87051}"/>
              </c:ext>
            </c:extLst>
          </c:dPt>
          <c:dPt>
            <c:idx val="31"/>
            <c:invertIfNegative val="1"/>
            <c:bubble3D val="0"/>
            <c:spPr>
              <a:solidFill>
                <a:srgbClr val="AEABAB"/>
              </a:solidFill>
            </c:spPr>
            <c:extLst>
              <c:ext xmlns:c16="http://schemas.microsoft.com/office/drawing/2014/chart" uri="{C3380CC4-5D6E-409C-BE32-E72D297353CC}">
                <c16:uniqueId val="{00000077-2993-41DE-A2CB-63102DE87051}"/>
              </c:ext>
            </c:extLst>
          </c:dPt>
          <c:dPt>
            <c:idx val="32"/>
            <c:invertIfNegative val="1"/>
            <c:bubble3D val="0"/>
            <c:spPr>
              <a:solidFill>
                <a:srgbClr val="AEABAB"/>
              </a:solidFill>
            </c:spPr>
            <c:extLst>
              <c:ext xmlns:c16="http://schemas.microsoft.com/office/drawing/2014/chart" uri="{C3380CC4-5D6E-409C-BE32-E72D297353CC}">
                <c16:uniqueId val="{00000079-2993-41DE-A2CB-63102DE87051}"/>
              </c:ext>
            </c:extLst>
          </c:dPt>
          <c:dPt>
            <c:idx val="33"/>
            <c:invertIfNegative val="1"/>
            <c:bubble3D val="0"/>
            <c:spPr>
              <a:solidFill>
                <a:srgbClr val="AEABAB"/>
              </a:solidFill>
            </c:spPr>
            <c:extLst>
              <c:ext xmlns:c16="http://schemas.microsoft.com/office/drawing/2014/chart" uri="{C3380CC4-5D6E-409C-BE32-E72D297353CC}">
                <c16:uniqueId val="{0000007B-2993-41DE-A2CB-63102DE87051}"/>
              </c:ext>
            </c:extLst>
          </c:dPt>
          <c:dPt>
            <c:idx val="34"/>
            <c:invertIfNegative val="1"/>
            <c:bubble3D val="0"/>
            <c:spPr>
              <a:solidFill>
                <a:srgbClr val="AEABAB"/>
              </a:solidFill>
            </c:spPr>
            <c:extLst>
              <c:ext xmlns:c16="http://schemas.microsoft.com/office/drawing/2014/chart" uri="{C3380CC4-5D6E-409C-BE32-E72D297353CC}">
                <c16:uniqueId val="{0000007D-2993-41DE-A2CB-63102DE87051}"/>
              </c:ext>
            </c:extLst>
          </c:dPt>
          <c:dPt>
            <c:idx val="35"/>
            <c:invertIfNegative val="1"/>
            <c:bubble3D val="0"/>
            <c:spPr>
              <a:solidFill>
                <a:srgbClr val="AEABAB"/>
              </a:solidFill>
            </c:spPr>
            <c:extLst>
              <c:ext xmlns:c16="http://schemas.microsoft.com/office/drawing/2014/chart" uri="{C3380CC4-5D6E-409C-BE32-E72D297353CC}">
                <c16:uniqueId val="{0000007F-2993-41DE-A2CB-63102DE87051}"/>
              </c:ext>
            </c:extLst>
          </c:dPt>
          <c:dPt>
            <c:idx val="36"/>
            <c:invertIfNegative val="1"/>
            <c:bubble3D val="0"/>
            <c:spPr>
              <a:solidFill>
                <a:srgbClr val="AEABAB"/>
              </a:solidFill>
            </c:spPr>
            <c:extLst>
              <c:ext xmlns:c16="http://schemas.microsoft.com/office/drawing/2014/chart" uri="{C3380CC4-5D6E-409C-BE32-E72D297353CC}">
                <c16:uniqueId val="{00000081-2993-41DE-A2CB-63102DE87051}"/>
              </c:ext>
            </c:extLst>
          </c:dPt>
          <c:dPt>
            <c:idx val="37"/>
            <c:invertIfNegative val="1"/>
            <c:bubble3D val="0"/>
            <c:spPr>
              <a:solidFill>
                <a:srgbClr val="AEABAB"/>
              </a:solidFill>
            </c:spPr>
            <c:extLst>
              <c:ext xmlns:c16="http://schemas.microsoft.com/office/drawing/2014/chart" uri="{C3380CC4-5D6E-409C-BE32-E72D297353CC}">
                <c16:uniqueId val="{00000083-2993-41DE-A2CB-63102DE87051}"/>
              </c:ext>
            </c:extLst>
          </c:dPt>
          <c:dPt>
            <c:idx val="38"/>
            <c:invertIfNegative val="1"/>
            <c:bubble3D val="0"/>
            <c:spPr>
              <a:solidFill>
                <a:srgbClr val="AEABAB"/>
              </a:solidFill>
            </c:spPr>
            <c:extLst>
              <c:ext xmlns:c16="http://schemas.microsoft.com/office/drawing/2014/chart" uri="{C3380CC4-5D6E-409C-BE32-E72D297353CC}">
                <c16:uniqueId val="{00000085-2993-41DE-A2CB-63102DE87051}"/>
              </c:ext>
            </c:extLst>
          </c:dPt>
          <c:dPt>
            <c:idx val="39"/>
            <c:invertIfNegative val="1"/>
            <c:bubble3D val="0"/>
            <c:spPr>
              <a:solidFill>
                <a:srgbClr val="AEABAB"/>
              </a:solidFill>
            </c:spPr>
            <c:extLst>
              <c:ext xmlns:c16="http://schemas.microsoft.com/office/drawing/2014/chart" uri="{C3380CC4-5D6E-409C-BE32-E72D297353CC}">
                <c16:uniqueId val="{00000087-2993-41DE-A2CB-63102DE87051}"/>
              </c:ext>
            </c:extLst>
          </c:dPt>
          <c:dPt>
            <c:idx val="40"/>
            <c:invertIfNegative val="1"/>
            <c:bubble3D val="0"/>
            <c:spPr>
              <a:solidFill>
                <a:srgbClr val="AEABAB"/>
              </a:solidFill>
            </c:spPr>
            <c:extLst>
              <c:ext xmlns:c16="http://schemas.microsoft.com/office/drawing/2014/chart" uri="{C3380CC4-5D6E-409C-BE32-E72D297353CC}">
                <c16:uniqueId val="{00000089-2993-41DE-A2CB-63102DE87051}"/>
              </c:ext>
            </c:extLst>
          </c:dPt>
          <c:dPt>
            <c:idx val="41"/>
            <c:invertIfNegative val="1"/>
            <c:bubble3D val="0"/>
            <c:spPr>
              <a:solidFill>
                <a:srgbClr val="AEABAB"/>
              </a:solidFill>
            </c:spPr>
            <c:extLst>
              <c:ext xmlns:c16="http://schemas.microsoft.com/office/drawing/2014/chart" uri="{C3380CC4-5D6E-409C-BE32-E72D297353CC}">
                <c16:uniqueId val="{0000008B-2993-41DE-A2CB-63102DE87051}"/>
              </c:ext>
            </c:extLst>
          </c:dPt>
          <c:dPt>
            <c:idx val="42"/>
            <c:invertIfNegative val="1"/>
            <c:bubble3D val="0"/>
            <c:spPr>
              <a:solidFill>
                <a:srgbClr val="AEABAB"/>
              </a:solidFill>
            </c:spPr>
            <c:extLst>
              <c:ext xmlns:c16="http://schemas.microsoft.com/office/drawing/2014/chart" uri="{C3380CC4-5D6E-409C-BE32-E72D297353CC}">
                <c16:uniqueId val="{0000008D-2993-41DE-A2CB-63102DE87051}"/>
              </c:ext>
            </c:extLst>
          </c:dPt>
          <c:dPt>
            <c:idx val="43"/>
            <c:invertIfNegative val="1"/>
            <c:bubble3D val="0"/>
            <c:spPr>
              <a:solidFill>
                <a:srgbClr val="AEABAB"/>
              </a:solidFill>
            </c:spPr>
            <c:extLst>
              <c:ext xmlns:c16="http://schemas.microsoft.com/office/drawing/2014/chart" uri="{C3380CC4-5D6E-409C-BE32-E72D297353CC}">
                <c16:uniqueId val="{0000008F-2993-41DE-A2CB-63102DE87051}"/>
              </c:ext>
            </c:extLst>
          </c:dPt>
          <c:dPt>
            <c:idx val="44"/>
            <c:invertIfNegative val="1"/>
            <c:bubble3D val="0"/>
            <c:spPr>
              <a:solidFill>
                <a:srgbClr val="AEABAB"/>
              </a:solidFill>
            </c:spPr>
            <c:extLst>
              <c:ext xmlns:c16="http://schemas.microsoft.com/office/drawing/2014/chart" uri="{C3380CC4-5D6E-409C-BE32-E72D297353CC}">
                <c16:uniqueId val="{00000091-2993-41DE-A2CB-63102DE87051}"/>
              </c:ext>
            </c:extLst>
          </c:dPt>
          <c:dPt>
            <c:idx val="45"/>
            <c:invertIfNegative val="1"/>
            <c:bubble3D val="0"/>
            <c:spPr>
              <a:solidFill>
                <a:srgbClr val="AEABAB"/>
              </a:solidFill>
            </c:spPr>
            <c:extLst>
              <c:ext xmlns:c16="http://schemas.microsoft.com/office/drawing/2014/chart" uri="{C3380CC4-5D6E-409C-BE32-E72D297353CC}">
                <c16:uniqueId val="{00000093-2993-41DE-A2CB-63102DE87051}"/>
              </c:ext>
            </c:extLst>
          </c:dPt>
          <c:dPt>
            <c:idx val="46"/>
            <c:invertIfNegative val="1"/>
            <c:bubble3D val="0"/>
            <c:spPr>
              <a:solidFill>
                <a:srgbClr val="AEABAB"/>
              </a:solidFill>
            </c:spPr>
            <c:extLst>
              <c:ext xmlns:c16="http://schemas.microsoft.com/office/drawing/2014/chart" uri="{C3380CC4-5D6E-409C-BE32-E72D297353CC}">
                <c16:uniqueId val="{00000095-2993-41DE-A2CB-63102DE87051}"/>
              </c:ext>
            </c:extLst>
          </c:dPt>
          <c:dPt>
            <c:idx val="47"/>
            <c:invertIfNegative val="1"/>
            <c:bubble3D val="0"/>
            <c:spPr>
              <a:solidFill>
                <a:srgbClr val="AEABAB"/>
              </a:solidFill>
            </c:spPr>
            <c:extLst>
              <c:ext xmlns:c16="http://schemas.microsoft.com/office/drawing/2014/chart" uri="{C3380CC4-5D6E-409C-BE32-E72D297353CC}">
                <c16:uniqueId val="{00000097-2993-41DE-A2CB-63102DE87051}"/>
              </c:ext>
            </c:extLst>
          </c:dPt>
          <c:dPt>
            <c:idx val="48"/>
            <c:invertIfNegative val="1"/>
            <c:bubble3D val="0"/>
            <c:spPr>
              <a:solidFill>
                <a:srgbClr val="AEABAB"/>
              </a:solidFill>
            </c:spPr>
            <c:extLst>
              <c:ext xmlns:c16="http://schemas.microsoft.com/office/drawing/2014/chart" uri="{C3380CC4-5D6E-409C-BE32-E72D297353CC}">
                <c16:uniqueId val="{00000099-2993-41DE-A2CB-63102DE87051}"/>
              </c:ext>
            </c:extLst>
          </c:dPt>
          <c:dPt>
            <c:idx val="49"/>
            <c:invertIfNegative val="1"/>
            <c:bubble3D val="0"/>
            <c:spPr>
              <a:solidFill>
                <a:srgbClr val="AEABAB"/>
              </a:solidFill>
            </c:spPr>
            <c:extLst>
              <c:ext xmlns:c16="http://schemas.microsoft.com/office/drawing/2014/chart" uri="{C3380CC4-5D6E-409C-BE32-E72D297353CC}">
                <c16:uniqueId val="{0000009B-2993-41DE-A2CB-63102DE87051}"/>
              </c:ext>
            </c:extLst>
          </c:dPt>
          <c:dPt>
            <c:idx val="50"/>
            <c:invertIfNegative val="1"/>
            <c:bubble3D val="0"/>
            <c:spPr>
              <a:solidFill>
                <a:srgbClr val="AEABAB"/>
              </a:solidFill>
            </c:spPr>
            <c:extLst>
              <c:ext xmlns:c16="http://schemas.microsoft.com/office/drawing/2014/chart" uri="{C3380CC4-5D6E-409C-BE32-E72D297353CC}">
                <c16:uniqueId val="{0000009D-2993-41DE-A2CB-63102DE87051}"/>
              </c:ext>
            </c:extLst>
          </c:dPt>
          <c:dPt>
            <c:idx val="51"/>
            <c:invertIfNegative val="1"/>
            <c:bubble3D val="0"/>
            <c:spPr>
              <a:solidFill>
                <a:srgbClr val="AEABAB"/>
              </a:solidFill>
            </c:spPr>
            <c:extLst>
              <c:ext xmlns:c16="http://schemas.microsoft.com/office/drawing/2014/chart" uri="{C3380CC4-5D6E-409C-BE32-E72D297353CC}">
                <c16:uniqueId val="{0000009F-2993-41DE-A2CB-63102DE87051}"/>
              </c:ext>
            </c:extLst>
          </c:dPt>
          <c:dPt>
            <c:idx val="52"/>
            <c:invertIfNegative val="1"/>
            <c:bubble3D val="0"/>
            <c:spPr>
              <a:solidFill>
                <a:srgbClr val="AEABAB"/>
              </a:solidFill>
            </c:spPr>
            <c:extLst>
              <c:ext xmlns:c16="http://schemas.microsoft.com/office/drawing/2014/chart" uri="{C3380CC4-5D6E-409C-BE32-E72D297353CC}">
                <c16:uniqueId val="{000000A1-2993-41DE-A2CB-63102DE87051}"/>
              </c:ext>
            </c:extLst>
          </c:dPt>
          <c:dPt>
            <c:idx val="53"/>
            <c:invertIfNegative val="1"/>
            <c:bubble3D val="0"/>
            <c:spPr>
              <a:solidFill>
                <a:srgbClr val="AEABAB"/>
              </a:solidFill>
            </c:spPr>
            <c:extLst>
              <c:ext xmlns:c16="http://schemas.microsoft.com/office/drawing/2014/chart" uri="{C3380CC4-5D6E-409C-BE32-E72D297353CC}">
                <c16:uniqueId val="{000000A3-2993-41DE-A2CB-63102DE87051}"/>
              </c:ext>
            </c:extLst>
          </c:dPt>
          <c:dPt>
            <c:idx val="54"/>
            <c:invertIfNegative val="0"/>
            <c:bubble3D val="0"/>
            <c:spPr>
              <a:solidFill>
                <a:srgbClr val="AEABAB"/>
              </a:solidFill>
            </c:spPr>
            <c:extLst>
              <c:ext xmlns:c16="http://schemas.microsoft.com/office/drawing/2014/chart" uri="{C3380CC4-5D6E-409C-BE32-E72D297353CC}">
                <c16:uniqueId val="{00000072-C76F-4230-900D-40618C09729F}"/>
              </c:ext>
            </c:extLst>
          </c:dPt>
          <c:dPt>
            <c:idx val="55"/>
            <c:invertIfNegative val="0"/>
            <c:bubble3D val="0"/>
            <c:spPr>
              <a:solidFill>
                <a:srgbClr val="AEABAB"/>
              </a:solidFill>
            </c:spPr>
            <c:extLst>
              <c:ext xmlns:c16="http://schemas.microsoft.com/office/drawing/2014/chart" uri="{C3380CC4-5D6E-409C-BE32-E72D297353CC}">
                <c16:uniqueId val="{00000074-C76F-4230-900D-40618C09729F}"/>
              </c:ext>
            </c:extLst>
          </c:dPt>
          <c:dPt>
            <c:idx val="56"/>
            <c:invertIfNegative val="0"/>
            <c:bubble3D val="0"/>
            <c:spPr>
              <a:solidFill>
                <a:srgbClr val="AEABAB"/>
              </a:solidFill>
            </c:spPr>
            <c:extLst>
              <c:ext xmlns:c16="http://schemas.microsoft.com/office/drawing/2014/chart" uri="{C3380CC4-5D6E-409C-BE32-E72D297353CC}">
                <c16:uniqueId val="{00000076-C76F-4230-900D-40618C09729F}"/>
              </c:ext>
            </c:extLst>
          </c:dPt>
          <c:dPt>
            <c:idx val="57"/>
            <c:invertIfNegative val="0"/>
            <c:bubble3D val="0"/>
            <c:spPr>
              <a:solidFill>
                <a:srgbClr val="AEABAB"/>
              </a:solidFill>
            </c:spPr>
            <c:extLst>
              <c:ext xmlns:c16="http://schemas.microsoft.com/office/drawing/2014/chart" uri="{C3380CC4-5D6E-409C-BE32-E72D297353CC}">
                <c16:uniqueId val="{00000078-C76F-4230-900D-40618C09729F}"/>
              </c:ext>
            </c:extLst>
          </c:dPt>
          <c:dPt>
            <c:idx val="58"/>
            <c:invertIfNegative val="0"/>
            <c:bubble3D val="0"/>
            <c:spPr>
              <a:solidFill>
                <a:srgbClr val="AEABAB"/>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60</c:f>
              <c:strCache>
                <c:ptCount val="59"/>
                <c:pt idx="0">
                  <c:v>Dom Perigno</c:v>
                </c:pt>
                <c:pt idx="1">
                  <c:v>Dom Perigno</c:v>
                </c:pt>
                <c:pt idx="2">
                  <c:v>Malard</c:v>
                </c:pt>
                <c:pt idx="3">
                  <c:v>Roederer</c:v>
                </c:pt>
                <c:pt idx="4">
                  <c:v>Ruinart</c:v>
                </c:pt>
                <c:pt idx="5">
                  <c:v>Ruinart</c:v>
                </c:pt>
                <c:pt idx="6">
                  <c:v>Roederer</c:v>
                </c:pt>
                <c:pt idx="7">
                  <c:v>Roederer</c:v>
                </c:pt>
                <c:pt idx="8">
                  <c:v>Roederer</c:v>
                </c:pt>
                <c:pt idx="9">
                  <c:v>Roederer</c:v>
                </c:pt>
                <c:pt idx="10">
                  <c:v>Bollinger</c:v>
                </c:pt>
                <c:pt idx="11">
                  <c:v>Dom Perigno</c:v>
                </c:pt>
                <c:pt idx="12">
                  <c:v>Bollinger</c:v>
                </c:pt>
                <c:pt idx="13">
                  <c:v>Laurent Per</c:v>
                </c:pt>
                <c:pt idx="14">
                  <c:v>Dom Perigno</c:v>
                </c:pt>
                <c:pt idx="15">
                  <c:v>Pommery</c:v>
                </c:pt>
                <c:pt idx="16">
                  <c:v>Ruinart</c:v>
                </c:pt>
                <c:pt idx="17">
                  <c:v>Roederer</c:v>
                </c:pt>
                <c:pt idx="18">
                  <c:v>Piper Heids</c:v>
                </c:pt>
                <c:pt idx="19">
                  <c:v>Perrier Jou</c:v>
                </c:pt>
                <c:pt idx="20">
                  <c:v>Roederer</c:v>
                </c:pt>
                <c:pt idx="21">
                  <c:v>All Others</c:v>
                </c:pt>
                <c:pt idx="22">
                  <c:v>Piper Heids</c:v>
                </c:pt>
                <c:pt idx="23">
                  <c:v>Roederer</c:v>
                </c:pt>
                <c:pt idx="24">
                  <c:v>Veuve Clicq</c:v>
                </c:pt>
                <c:pt idx="25">
                  <c:v>Ruinart</c:v>
                </c:pt>
                <c:pt idx="26">
                  <c:v>Roederer</c:v>
                </c:pt>
                <c:pt idx="27">
                  <c:v>Roederer</c:v>
                </c:pt>
                <c:pt idx="28">
                  <c:v>Perrier Jou</c:v>
                </c:pt>
                <c:pt idx="29">
                  <c:v>Pommery</c:v>
                </c:pt>
                <c:pt idx="30">
                  <c:v>Dom Perigno</c:v>
                </c:pt>
                <c:pt idx="31">
                  <c:v>De Venoge</c:v>
                </c:pt>
                <c:pt idx="32">
                  <c:v>De Venoge</c:v>
                </c:pt>
                <c:pt idx="33">
                  <c:v>Malard</c:v>
                </c:pt>
                <c:pt idx="34">
                  <c:v>All Others</c:v>
                </c:pt>
                <c:pt idx="35">
                  <c:v>Laurent Per</c:v>
                </c:pt>
                <c:pt idx="36">
                  <c:v>Roederer</c:v>
                </c:pt>
                <c:pt idx="37">
                  <c:v>De Venoge</c:v>
                </c:pt>
                <c:pt idx="38">
                  <c:v>Bollinger</c:v>
                </c:pt>
                <c:pt idx="39">
                  <c:v>Bollinger</c:v>
                </c:pt>
                <c:pt idx="40">
                  <c:v>Bollinger</c:v>
                </c:pt>
                <c:pt idx="41">
                  <c:v>Roederer</c:v>
                </c:pt>
                <c:pt idx="42">
                  <c:v>Veuve Clicq</c:v>
                </c:pt>
                <c:pt idx="43">
                  <c:v>All Others</c:v>
                </c:pt>
                <c:pt idx="44">
                  <c:v>Roederer</c:v>
                </c:pt>
                <c:pt idx="45">
                  <c:v>Ruinart</c:v>
                </c:pt>
                <c:pt idx="46">
                  <c:v>Roederer</c:v>
                </c:pt>
                <c:pt idx="47">
                  <c:v>Veuve Clicq</c:v>
                </c:pt>
                <c:pt idx="48">
                  <c:v>Ruinart</c:v>
                </c:pt>
                <c:pt idx="49">
                  <c:v>Perrier Jou</c:v>
                </c:pt>
                <c:pt idx="50">
                  <c:v>Veuve Clicq</c:v>
                </c:pt>
                <c:pt idx="51">
                  <c:v>Pommery</c:v>
                </c:pt>
                <c:pt idx="52">
                  <c:v>Malard</c:v>
                </c:pt>
                <c:pt idx="53">
                  <c:v>Laurent Per</c:v>
                </c:pt>
                <c:pt idx="54">
                  <c:v>Roederer</c:v>
                </c:pt>
                <c:pt idx="55">
                  <c:v>Roederer</c:v>
                </c:pt>
                <c:pt idx="56">
                  <c:v>Laurent Per</c:v>
                </c:pt>
                <c:pt idx="57">
                  <c:v>Laurent Per</c:v>
                </c:pt>
                <c:pt idx="58">
                  <c:v>Malard</c:v>
                </c:pt>
              </c:strCache>
            </c:strRef>
          </c:cat>
          <c:val>
            <c:numRef>
              <c:f>Sheet1!$C$2:$C$60</c:f>
              <c:numCache>
                <c:formatCode>General</c:formatCode>
                <c:ptCount val="59"/>
                <c:pt idx="0">
                  <c:v>0.18417587917827299</c:v>
                </c:pt>
                <c:pt idx="1">
                  <c:v>0.36210883095403901</c:v>
                </c:pt>
                <c:pt idx="2">
                  <c:v>0.45092705431754876</c:v>
                </c:pt>
                <c:pt idx="3">
                  <c:v>0.50658295612813375</c:v>
                </c:pt>
                <c:pt idx="4">
                  <c:v>0.55758998520194991</c:v>
                </c:pt>
                <c:pt idx="5">
                  <c:v>0.60727498259052926</c:v>
                </c:pt>
                <c:pt idx="6">
                  <c:v>0.64920188457520889</c:v>
                </c:pt>
                <c:pt idx="7">
                  <c:v>0.68863161559888575</c:v>
                </c:pt>
                <c:pt idx="8">
                  <c:v>0.72721807538300831</c:v>
                </c:pt>
                <c:pt idx="9">
                  <c:v>0.75998596361420612</c:v>
                </c:pt>
                <c:pt idx="10">
                  <c:v>0.78990033077994426</c:v>
                </c:pt>
                <c:pt idx="11">
                  <c:v>0.81594925139275765</c:v>
                </c:pt>
                <c:pt idx="12">
                  <c:v>0.84188392235376042</c:v>
                </c:pt>
                <c:pt idx="13">
                  <c:v>0.8649759531685236</c:v>
                </c:pt>
                <c:pt idx="14">
                  <c:v>0.88431950731197762</c:v>
                </c:pt>
                <c:pt idx="15">
                  <c:v>0.89664214832869071</c:v>
                </c:pt>
                <c:pt idx="16">
                  <c:v>0.90894574773676873</c:v>
                </c:pt>
                <c:pt idx="17">
                  <c:v>0.92040607590529244</c:v>
                </c:pt>
                <c:pt idx="18">
                  <c:v>0.93106937674094703</c:v>
                </c:pt>
                <c:pt idx="19">
                  <c:v>0.9410063762186629</c:v>
                </c:pt>
                <c:pt idx="20">
                  <c:v>0.94572053447075199</c:v>
                </c:pt>
                <c:pt idx="21">
                  <c:v>0.94918610724233976</c:v>
                </c:pt>
                <c:pt idx="22">
                  <c:v>0.95258095403899712</c:v>
                </c:pt>
                <c:pt idx="23">
                  <c:v>0.95589691417130906</c:v>
                </c:pt>
                <c:pt idx="24">
                  <c:v>0.9591339876392756</c:v>
                </c:pt>
                <c:pt idx="25">
                  <c:v>0.96218064502089118</c:v>
                </c:pt>
                <c:pt idx="26">
                  <c:v>0.96490087482590514</c:v>
                </c:pt>
                <c:pt idx="27">
                  <c:v>0.96748509314066833</c:v>
                </c:pt>
                <c:pt idx="28">
                  <c:v>0.96984625261142043</c:v>
                </c:pt>
                <c:pt idx="29">
                  <c:v>0.97215028725626718</c:v>
                </c:pt>
                <c:pt idx="30">
                  <c:v>0.97440807799442875</c:v>
                </c:pt>
                <c:pt idx="31">
                  <c:v>0.97658154160863486</c:v>
                </c:pt>
                <c:pt idx="32">
                  <c:v>0.97870332085654577</c:v>
                </c:pt>
                <c:pt idx="33">
                  <c:v>0.98080333826601651</c:v>
                </c:pt>
                <c:pt idx="34">
                  <c:v>0.98273742165738143</c:v>
                </c:pt>
                <c:pt idx="35">
                  <c:v>0.98436411908077981</c:v>
                </c:pt>
                <c:pt idx="36">
                  <c:v>0.98589832869080762</c:v>
                </c:pt>
                <c:pt idx="37">
                  <c:v>0.98730196727019481</c:v>
                </c:pt>
                <c:pt idx="38">
                  <c:v>0.9886348798746516</c:v>
                </c:pt>
                <c:pt idx="39">
                  <c:v>0.9897447336350973</c:v>
                </c:pt>
                <c:pt idx="40">
                  <c:v>0.99077298050139251</c:v>
                </c:pt>
                <c:pt idx="41">
                  <c:v>0.99172778116295235</c:v>
                </c:pt>
                <c:pt idx="42">
                  <c:v>0.99267986159470722</c:v>
                </c:pt>
                <c:pt idx="43">
                  <c:v>0.99349593053621144</c:v>
                </c:pt>
                <c:pt idx="44">
                  <c:v>0.99422495212395512</c:v>
                </c:pt>
                <c:pt idx="45">
                  <c:v>0.99490228934540359</c:v>
                </c:pt>
                <c:pt idx="46">
                  <c:v>0.99556874564763198</c:v>
                </c:pt>
                <c:pt idx="47">
                  <c:v>0.99622160080083533</c:v>
                </c:pt>
                <c:pt idx="48">
                  <c:v>0.99681733112813342</c:v>
                </c:pt>
                <c:pt idx="49">
                  <c:v>0.9973341747910861</c:v>
                </c:pt>
                <c:pt idx="50">
                  <c:v>0.99781837569637855</c:v>
                </c:pt>
                <c:pt idx="51">
                  <c:v>0.99828625522284098</c:v>
                </c:pt>
                <c:pt idx="52">
                  <c:v>0.99873781337047329</c:v>
                </c:pt>
                <c:pt idx="53">
                  <c:v>0.99906424094707491</c:v>
                </c:pt>
                <c:pt idx="54">
                  <c:v>0.99930090094011115</c:v>
                </c:pt>
                <c:pt idx="55">
                  <c:v>0.99951035863509718</c:v>
                </c:pt>
                <c:pt idx="56">
                  <c:v>0.99967085219359297</c:v>
                </c:pt>
                <c:pt idx="57">
                  <c:v>0.99981230414345368</c:v>
                </c:pt>
                <c:pt idx="58">
                  <c:v>0.99991567287604421</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61</c:f>
              <c:strCache>
                <c:ptCount val="60"/>
                <c:pt idx="0">
                  <c:v>Dom Perigno</c:v>
                </c:pt>
                <c:pt idx="1">
                  <c:v>Malard</c:v>
                </c:pt>
                <c:pt idx="2">
                  <c:v>Dom Perigno</c:v>
                </c:pt>
                <c:pt idx="3">
                  <c:v>Ruinart</c:v>
                </c:pt>
                <c:pt idx="4">
                  <c:v>Roederer</c:v>
                </c:pt>
                <c:pt idx="5">
                  <c:v>Dom Perigno</c:v>
                </c:pt>
                <c:pt idx="6">
                  <c:v>Roederer</c:v>
                </c:pt>
                <c:pt idx="7">
                  <c:v>Ruinart</c:v>
                </c:pt>
                <c:pt idx="8">
                  <c:v>Roederer</c:v>
                </c:pt>
                <c:pt idx="9">
                  <c:v>Laurent Per</c:v>
                </c:pt>
                <c:pt idx="10">
                  <c:v>Roederer</c:v>
                </c:pt>
                <c:pt idx="11">
                  <c:v>Dom Perigno</c:v>
                </c:pt>
                <c:pt idx="12">
                  <c:v>Roederer</c:v>
                </c:pt>
                <c:pt idx="13">
                  <c:v>Bollinger</c:v>
                </c:pt>
                <c:pt idx="14">
                  <c:v>Ruinart</c:v>
                </c:pt>
                <c:pt idx="15">
                  <c:v>Roederer</c:v>
                </c:pt>
                <c:pt idx="16">
                  <c:v>All Others</c:v>
                </c:pt>
                <c:pt idx="17">
                  <c:v>Dom Perigno</c:v>
                </c:pt>
                <c:pt idx="18">
                  <c:v>Piper Heids</c:v>
                </c:pt>
                <c:pt idx="19">
                  <c:v>Roederer</c:v>
                </c:pt>
                <c:pt idx="20">
                  <c:v>Pommery</c:v>
                </c:pt>
                <c:pt idx="21">
                  <c:v>Ruinart</c:v>
                </c:pt>
                <c:pt idx="22">
                  <c:v>Roederer</c:v>
                </c:pt>
                <c:pt idx="23">
                  <c:v>Ruinart</c:v>
                </c:pt>
                <c:pt idx="24">
                  <c:v>Piper Heids</c:v>
                </c:pt>
                <c:pt idx="25">
                  <c:v>Malard</c:v>
                </c:pt>
                <c:pt idx="26">
                  <c:v>Perrier Jou</c:v>
                </c:pt>
                <c:pt idx="27">
                  <c:v>Veuve Clicq</c:v>
                </c:pt>
                <c:pt idx="28">
                  <c:v>Pommery</c:v>
                </c:pt>
                <c:pt idx="29">
                  <c:v>Roederer</c:v>
                </c:pt>
                <c:pt idx="30">
                  <c:v>Laurent Per</c:v>
                </c:pt>
                <c:pt idx="31">
                  <c:v>Laurent Per</c:v>
                </c:pt>
                <c:pt idx="32">
                  <c:v>De Venoge</c:v>
                </c:pt>
                <c:pt idx="33">
                  <c:v>Bollinger</c:v>
                </c:pt>
                <c:pt idx="34">
                  <c:v>Roederer</c:v>
                </c:pt>
                <c:pt idx="35">
                  <c:v>All Others</c:v>
                </c:pt>
                <c:pt idx="36">
                  <c:v>Bollinger</c:v>
                </c:pt>
                <c:pt idx="37">
                  <c:v>Deutz</c:v>
                </c:pt>
                <c:pt idx="38">
                  <c:v>Veuve Clicq</c:v>
                </c:pt>
                <c:pt idx="39">
                  <c:v>All Others</c:v>
                </c:pt>
                <c:pt idx="40">
                  <c:v>Roederer</c:v>
                </c:pt>
                <c:pt idx="41">
                  <c:v>Roederer</c:v>
                </c:pt>
                <c:pt idx="42">
                  <c:v>Vesselle</c:v>
                </c:pt>
                <c:pt idx="43">
                  <c:v>Malard</c:v>
                </c:pt>
                <c:pt idx="44">
                  <c:v>Roederer</c:v>
                </c:pt>
                <c:pt idx="45">
                  <c:v>Laurent Per</c:v>
                </c:pt>
                <c:pt idx="46">
                  <c:v>De Venoge</c:v>
                </c:pt>
                <c:pt idx="47">
                  <c:v>All Others</c:v>
                </c:pt>
                <c:pt idx="48">
                  <c:v>Roederer</c:v>
                </c:pt>
                <c:pt idx="49">
                  <c:v>Bollinger</c:v>
                </c:pt>
                <c:pt idx="50">
                  <c:v>Lanson</c:v>
                </c:pt>
                <c:pt idx="51">
                  <c:v>Roederer</c:v>
                </c:pt>
                <c:pt idx="52">
                  <c:v>Piper Heids</c:v>
                </c:pt>
                <c:pt idx="53">
                  <c:v>Roederer</c:v>
                </c:pt>
                <c:pt idx="54">
                  <c:v>Roederer</c:v>
                </c:pt>
                <c:pt idx="55">
                  <c:v>Deutz</c:v>
                </c:pt>
                <c:pt idx="56">
                  <c:v>Laurent Per</c:v>
                </c:pt>
                <c:pt idx="57">
                  <c:v>Ruinart</c:v>
                </c:pt>
                <c:pt idx="58">
                  <c:v>Vranken</c:v>
                </c:pt>
                <c:pt idx="59">
                  <c:v>Vesselle</c:v>
                </c:pt>
              </c:strCache>
            </c:strRef>
          </c:cat>
          <c:val>
            <c:numRef>
              <c:f>Sheet1!$B$2:$B$61</c:f>
              <c:numCache>
                <c:formatCode>General</c:formatCode>
                <c:ptCount val="60"/>
                <c:pt idx="0">
                  <c:v>0.1</c:v>
                </c:pt>
                <c:pt idx="1">
                  <c:v>0.33</c:v>
                </c:pt>
                <c:pt idx="2">
                  <c:v>0.11</c:v>
                </c:pt>
                <c:pt idx="3">
                  <c:v>0.16</c:v>
                </c:pt>
                <c:pt idx="4">
                  <c:v>0.04</c:v>
                </c:pt>
                <c:pt idx="5">
                  <c:v>0.06</c:v>
                </c:pt>
                <c:pt idx="6">
                  <c:v>0.1</c:v>
                </c:pt>
                <c:pt idx="7">
                  <c:v>0.05</c:v>
                </c:pt>
                <c:pt idx="8">
                  <c:v>7.0000000000000007E-2</c:v>
                </c:pt>
                <c:pt idx="9">
                  <c:v>0.08</c:v>
                </c:pt>
                <c:pt idx="10">
                  <c:v>0.02</c:v>
                </c:pt>
                <c:pt idx="11">
                  <c:v>0.04</c:v>
                </c:pt>
                <c:pt idx="12">
                  <c:v>0.05</c:v>
                </c:pt>
                <c:pt idx="13">
                  <c:v>0.03</c:v>
                </c:pt>
                <c:pt idx="14">
                  <c:v>0.04</c:v>
                </c:pt>
                <c:pt idx="15">
                  <c:v>0.04</c:v>
                </c:pt>
                <c:pt idx="16">
                  <c:v>0.02</c:v>
                </c:pt>
                <c:pt idx="17">
                  <c:v>0.02</c:v>
                </c:pt>
                <c:pt idx="18">
                  <c:v>0.01</c:v>
                </c:pt>
                <c:pt idx="19">
                  <c:v>0.02</c:v>
                </c:pt>
                <c:pt idx="20">
                  <c:v>0.02</c:v>
                </c:pt>
                <c:pt idx="21">
                  <c:v>0.02</c:v>
                </c:pt>
                <c:pt idx="22">
                  <c:v>0.03</c:v>
                </c:pt>
                <c:pt idx="23">
                  <c:v>0.02</c:v>
                </c:pt>
                <c:pt idx="24">
                  <c:v>0.02</c:v>
                </c:pt>
                <c:pt idx="25">
                  <c:v>0.02</c:v>
                </c:pt>
                <c:pt idx="26">
                  <c:v>0.01</c:v>
                </c:pt>
                <c:pt idx="27">
                  <c:v>0.02</c:v>
                </c:pt>
                <c:pt idx="28">
                  <c:v>0.02</c:v>
                </c:pt>
                <c:pt idx="29">
                  <c:v>0.01</c:v>
                </c:pt>
                <c:pt idx="30">
                  <c:v>0.02</c:v>
                </c:pt>
                <c:pt idx="31">
                  <c:v>0.01</c:v>
                </c:pt>
                <c:pt idx="32">
                  <c:v>0.01</c:v>
                </c:pt>
                <c:pt idx="33">
                  <c:v>0.01</c:v>
                </c:pt>
                <c:pt idx="34">
                  <c:v>0.01</c:v>
                </c:pt>
                <c:pt idx="35">
                  <c:v>0.01</c:v>
                </c:pt>
                <c:pt idx="36">
                  <c:v>0.03</c:v>
                </c:pt>
                <c:pt idx="37">
                  <c:v>0.01</c:v>
                </c:pt>
                <c:pt idx="38">
                  <c:v>0.01</c:v>
                </c:pt>
                <c:pt idx="39">
                  <c:v>0.01</c:v>
                </c:pt>
                <c:pt idx="40">
                  <c:v>0.01</c:v>
                </c:pt>
                <c:pt idx="41">
                  <c:v>0.01</c:v>
                </c:pt>
                <c:pt idx="42">
                  <c:v>0.01</c:v>
                </c:pt>
                <c:pt idx="43">
                  <c:v>0.01</c:v>
                </c:pt>
                <c:pt idx="44">
                  <c:v>0.02</c:v>
                </c:pt>
                <c:pt idx="45">
                  <c:v>0.01</c:v>
                </c:pt>
                <c:pt idx="46">
                  <c:v>0.02</c:v>
                </c:pt>
                <c:pt idx="47">
                  <c:v>0.01</c:v>
                </c:pt>
                <c:pt idx="48">
                  <c:v>0.01</c:v>
                </c:pt>
                <c:pt idx="49">
                  <c:v>0.01</c:v>
                </c:pt>
                <c:pt idx="50">
                  <c:v>0.01</c:v>
                </c:pt>
                <c:pt idx="51">
                  <c:v>0.01</c:v>
                </c:pt>
                <c:pt idx="52">
                  <c:v>0.01</c:v>
                </c:pt>
                <c:pt idx="53">
                  <c:v>0.02</c:v>
                </c:pt>
                <c:pt idx="54">
                  <c:v>0.01</c:v>
                </c:pt>
                <c:pt idx="55">
                  <c:v>0.01</c:v>
                </c:pt>
                <c:pt idx="56">
                  <c:v>0.01</c:v>
                </c:pt>
                <c:pt idx="57">
                  <c:v>0.01</c:v>
                </c:pt>
                <c:pt idx="58">
                  <c:v>0.02</c:v>
                </c:pt>
                <c:pt idx="5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7ECAC4"/>
              </a:solidFill>
            </c:spPr>
            <c:extLst>
              <c:ext xmlns:c16="http://schemas.microsoft.com/office/drawing/2014/chart" uri="{C3380CC4-5D6E-409C-BE32-E72D297353CC}">
                <c16:uniqueId val="{00000051-2993-41DE-A2CB-63102DE87051}"/>
              </c:ext>
            </c:extLst>
          </c:dPt>
          <c:dPt>
            <c:idx val="13"/>
            <c:invertIfNegative val="1"/>
            <c:bubble3D val="0"/>
            <c:spPr>
              <a:solidFill>
                <a:srgbClr val="7ECAC4"/>
              </a:solidFill>
            </c:spPr>
            <c:extLst>
              <c:ext xmlns:c16="http://schemas.microsoft.com/office/drawing/2014/chart" uri="{C3380CC4-5D6E-409C-BE32-E72D297353CC}">
                <c16:uniqueId val="{00000053-2993-41DE-A2CB-63102DE87051}"/>
              </c:ext>
            </c:extLst>
          </c:dPt>
          <c:dPt>
            <c:idx val="14"/>
            <c:invertIfNegative val="1"/>
            <c:bubble3D val="0"/>
            <c:spPr>
              <a:solidFill>
                <a:srgbClr val="7ECAC4"/>
              </a:solidFill>
            </c:spPr>
            <c:extLst>
              <c:ext xmlns:c16="http://schemas.microsoft.com/office/drawing/2014/chart" uri="{C3380CC4-5D6E-409C-BE32-E72D297353CC}">
                <c16:uniqueId val="{00000055-2993-41DE-A2CB-63102DE87051}"/>
              </c:ext>
            </c:extLst>
          </c:dPt>
          <c:dPt>
            <c:idx val="15"/>
            <c:invertIfNegative val="1"/>
            <c:bubble3D val="0"/>
            <c:spPr>
              <a:solidFill>
                <a:srgbClr val="7ECAC4"/>
              </a:solidFill>
            </c:spPr>
            <c:extLst>
              <c:ext xmlns:c16="http://schemas.microsoft.com/office/drawing/2014/chart" uri="{C3380CC4-5D6E-409C-BE32-E72D297353CC}">
                <c16:uniqueId val="{00000057-2993-41DE-A2CB-63102DE87051}"/>
              </c:ext>
            </c:extLst>
          </c:dPt>
          <c:dPt>
            <c:idx val="16"/>
            <c:invertIfNegative val="1"/>
            <c:bubble3D val="0"/>
            <c:spPr>
              <a:solidFill>
                <a:srgbClr val="7ECAC4"/>
              </a:solidFill>
            </c:spPr>
            <c:extLst>
              <c:ext xmlns:c16="http://schemas.microsoft.com/office/drawing/2014/chart" uri="{C3380CC4-5D6E-409C-BE32-E72D297353CC}">
                <c16:uniqueId val="{00000059-2993-41DE-A2CB-63102DE87051}"/>
              </c:ext>
            </c:extLst>
          </c:dPt>
          <c:dPt>
            <c:idx val="17"/>
            <c:invertIfNegative val="1"/>
            <c:bubble3D val="0"/>
            <c:spPr>
              <a:solidFill>
                <a:srgbClr val="7ECAC4"/>
              </a:solidFill>
            </c:spPr>
            <c:extLst>
              <c:ext xmlns:c16="http://schemas.microsoft.com/office/drawing/2014/chart" uri="{C3380CC4-5D6E-409C-BE32-E72D297353CC}">
                <c16:uniqueId val="{0000005B-2993-41DE-A2CB-63102DE87051}"/>
              </c:ext>
            </c:extLst>
          </c:dPt>
          <c:dPt>
            <c:idx val="18"/>
            <c:invertIfNegative val="1"/>
            <c:bubble3D val="0"/>
            <c:spPr>
              <a:solidFill>
                <a:srgbClr val="7ECAC4"/>
              </a:solidFill>
            </c:spPr>
            <c:extLst>
              <c:ext xmlns:c16="http://schemas.microsoft.com/office/drawing/2014/chart" uri="{C3380CC4-5D6E-409C-BE32-E72D297353CC}">
                <c16:uniqueId val="{0000005D-2993-41DE-A2CB-63102DE87051}"/>
              </c:ext>
            </c:extLst>
          </c:dPt>
          <c:dPt>
            <c:idx val="19"/>
            <c:invertIfNegative val="1"/>
            <c:bubble3D val="0"/>
            <c:spPr>
              <a:solidFill>
                <a:srgbClr val="7ECAC4"/>
              </a:solidFill>
            </c:spPr>
            <c:extLst>
              <c:ext xmlns:c16="http://schemas.microsoft.com/office/drawing/2014/chart" uri="{C3380CC4-5D6E-409C-BE32-E72D297353CC}">
                <c16:uniqueId val="{0000005F-2993-41DE-A2CB-63102DE87051}"/>
              </c:ext>
            </c:extLst>
          </c:dPt>
          <c:dPt>
            <c:idx val="20"/>
            <c:invertIfNegative val="1"/>
            <c:bubble3D val="0"/>
            <c:spPr>
              <a:solidFill>
                <a:srgbClr val="7ECAC4"/>
              </a:solidFill>
            </c:spPr>
            <c:extLst>
              <c:ext xmlns:c16="http://schemas.microsoft.com/office/drawing/2014/chart" uri="{C3380CC4-5D6E-409C-BE32-E72D297353CC}">
                <c16:uniqueId val="{00000061-2993-41DE-A2CB-63102DE87051}"/>
              </c:ext>
            </c:extLst>
          </c:dPt>
          <c:dPt>
            <c:idx val="21"/>
            <c:invertIfNegative val="1"/>
            <c:bubble3D val="0"/>
            <c:spPr>
              <a:solidFill>
                <a:srgbClr val="7ECAC4"/>
              </a:solidFill>
            </c:spPr>
            <c:extLst>
              <c:ext xmlns:c16="http://schemas.microsoft.com/office/drawing/2014/chart" uri="{C3380CC4-5D6E-409C-BE32-E72D297353CC}">
                <c16:uniqueId val="{00000063-2993-41DE-A2CB-63102DE87051}"/>
              </c:ext>
            </c:extLst>
          </c:dPt>
          <c:dPt>
            <c:idx val="22"/>
            <c:invertIfNegative val="1"/>
            <c:bubble3D val="0"/>
            <c:spPr>
              <a:solidFill>
                <a:srgbClr val="7ECAC4"/>
              </a:solidFill>
            </c:spPr>
            <c:extLst>
              <c:ext xmlns:c16="http://schemas.microsoft.com/office/drawing/2014/chart" uri="{C3380CC4-5D6E-409C-BE32-E72D297353CC}">
                <c16:uniqueId val="{00000065-2993-41DE-A2CB-63102DE87051}"/>
              </c:ext>
            </c:extLst>
          </c:dPt>
          <c:dPt>
            <c:idx val="23"/>
            <c:invertIfNegative val="1"/>
            <c:bubble3D val="0"/>
            <c:spPr>
              <a:solidFill>
                <a:srgbClr val="7ECAC4"/>
              </a:solidFill>
            </c:spPr>
            <c:extLst>
              <c:ext xmlns:c16="http://schemas.microsoft.com/office/drawing/2014/chart" uri="{C3380CC4-5D6E-409C-BE32-E72D297353CC}">
                <c16:uniqueId val="{00000067-2993-41DE-A2CB-63102DE87051}"/>
              </c:ext>
            </c:extLst>
          </c:dPt>
          <c:dPt>
            <c:idx val="24"/>
            <c:invertIfNegative val="1"/>
            <c:bubble3D val="0"/>
            <c:spPr>
              <a:solidFill>
                <a:srgbClr val="7ECAC4"/>
              </a:solidFill>
            </c:spPr>
            <c:extLst>
              <c:ext xmlns:c16="http://schemas.microsoft.com/office/drawing/2014/chart" uri="{C3380CC4-5D6E-409C-BE32-E72D297353CC}">
                <c16:uniqueId val="{00000069-2993-41DE-A2CB-63102DE87051}"/>
              </c:ext>
            </c:extLst>
          </c:dPt>
          <c:dPt>
            <c:idx val="25"/>
            <c:invertIfNegative val="1"/>
            <c:bubble3D val="0"/>
            <c:spPr>
              <a:solidFill>
                <a:srgbClr val="AEABAB"/>
              </a:solidFill>
            </c:spPr>
            <c:extLst>
              <c:ext xmlns:c16="http://schemas.microsoft.com/office/drawing/2014/chart" uri="{C3380CC4-5D6E-409C-BE32-E72D297353CC}">
                <c16:uniqueId val="{0000006B-2993-41DE-A2CB-63102DE87051}"/>
              </c:ext>
            </c:extLst>
          </c:dPt>
          <c:dPt>
            <c:idx val="26"/>
            <c:invertIfNegative val="1"/>
            <c:bubble3D val="0"/>
            <c:spPr>
              <a:solidFill>
                <a:srgbClr val="AEABAB"/>
              </a:solidFill>
            </c:spPr>
            <c:extLst>
              <c:ext xmlns:c16="http://schemas.microsoft.com/office/drawing/2014/chart" uri="{C3380CC4-5D6E-409C-BE32-E72D297353CC}">
                <c16:uniqueId val="{0000006D-2993-41DE-A2CB-63102DE87051}"/>
              </c:ext>
            </c:extLst>
          </c:dPt>
          <c:dPt>
            <c:idx val="27"/>
            <c:invertIfNegative val="1"/>
            <c:bubble3D val="0"/>
            <c:spPr>
              <a:solidFill>
                <a:srgbClr val="AEABAB"/>
              </a:solidFill>
            </c:spPr>
            <c:extLst>
              <c:ext xmlns:c16="http://schemas.microsoft.com/office/drawing/2014/chart" uri="{C3380CC4-5D6E-409C-BE32-E72D297353CC}">
                <c16:uniqueId val="{0000006F-2993-41DE-A2CB-63102DE87051}"/>
              </c:ext>
            </c:extLst>
          </c:dPt>
          <c:dPt>
            <c:idx val="28"/>
            <c:invertIfNegative val="1"/>
            <c:bubble3D val="0"/>
            <c:spPr>
              <a:solidFill>
                <a:srgbClr val="AEABAB"/>
              </a:solidFill>
            </c:spPr>
            <c:extLst>
              <c:ext xmlns:c16="http://schemas.microsoft.com/office/drawing/2014/chart" uri="{C3380CC4-5D6E-409C-BE32-E72D297353CC}">
                <c16:uniqueId val="{00000071-2993-41DE-A2CB-63102DE87051}"/>
              </c:ext>
            </c:extLst>
          </c:dPt>
          <c:dPt>
            <c:idx val="29"/>
            <c:invertIfNegative val="1"/>
            <c:bubble3D val="0"/>
            <c:spPr>
              <a:solidFill>
                <a:srgbClr val="AEABAB"/>
              </a:solidFill>
            </c:spPr>
            <c:extLst>
              <c:ext xmlns:c16="http://schemas.microsoft.com/office/drawing/2014/chart" uri="{C3380CC4-5D6E-409C-BE32-E72D297353CC}">
                <c16:uniqueId val="{00000073-2993-41DE-A2CB-63102DE87051}"/>
              </c:ext>
            </c:extLst>
          </c:dPt>
          <c:dPt>
            <c:idx val="30"/>
            <c:invertIfNegative val="1"/>
            <c:bubble3D val="0"/>
            <c:spPr>
              <a:solidFill>
                <a:srgbClr val="AEABAB"/>
              </a:solidFill>
            </c:spPr>
            <c:extLst>
              <c:ext xmlns:c16="http://schemas.microsoft.com/office/drawing/2014/chart" uri="{C3380CC4-5D6E-409C-BE32-E72D297353CC}">
                <c16:uniqueId val="{00000075-2993-41DE-A2CB-63102DE87051}"/>
              </c:ext>
            </c:extLst>
          </c:dPt>
          <c:dPt>
            <c:idx val="31"/>
            <c:invertIfNegative val="1"/>
            <c:bubble3D val="0"/>
            <c:spPr>
              <a:solidFill>
                <a:srgbClr val="AEABAB"/>
              </a:solidFill>
            </c:spPr>
            <c:extLst>
              <c:ext xmlns:c16="http://schemas.microsoft.com/office/drawing/2014/chart" uri="{C3380CC4-5D6E-409C-BE32-E72D297353CC}">
                <c16:uniqueId val="{00000077-2993-41DE-A2CB-63102DE87051}"/>
              </c:ext>
            </c:extLst>
          </c:dPt>
          <c:dPt>
            <c:idx val="32"/>
            <c:invertIfNegative val="1"/>
            <c:bubble3D val="0"/>
            <c:spPr>
              <a:solidFill>
                <a:srgbClr val="AEABAB"/>
              </a:solidFill>
            </c:spPr>
            <c:extLst>
              <c:ext xmlns:c16="http://schemas.microsoft.com/office/drawing/2014/chart" uri="{C3380CC4-5D6E-409C-BE32-E72D297353CC}">
                <c16:uniqueId val="{00000079-2993-41DE-A2CB-63102DE87051}"/>
              </c:ext>
            </c:extLst>
          </c:dPt>
          <c:dPt>
            <c:idx val="33"/>
            <c:invertIfNegative val="1"/>
            <c:bubble3D val="0"/>
            <c:spPr>
              <a:solidFill>
                <a:srgbClr val="AEABAB"/>
              </a:solidFill>
            </c:spPr>
            <c:extLst>
              <c:ext xmlns:c16="http://schemas.microsoft.com/office/drawing/2014/chart" uri="{C3380CC4-5D6E-409C-BE32-E72D297353CC}">
                <c16:uniqueId val="{0000007B-2993-41DE-A2CB-63102DE87051}"/>
              </c:ext>
            </c:extLst>
          </c:dPt>
          <c:dPt>
            <c:idx val="34"/>
            <c:invertIfNegative val="1"/>
            <c:bubble3D val="0"/>
            <c:spPr>
              <a:solidFill>
                <a:srgbClr val="AEABAB"/>
              </a:solidFill>
            </c:spPr>
            <c:extLst>
              <c:ext xmlns:c16="http://schemas.microsoft.com/office/drawing/2014/chart" uri="{C3380CC4-5D6E-409C-BE32-E72D297353CC}">
                <c16:uniqueId val="{0000007D-2993-41DE-A2CB-63102DE87051}"/>
              </c:ext>
            </c:extLst>
          </c:dPt>
          <c:dPt>
            <c:idx val="35"/>
            <c:invertIfNegative val="1"/>
            <c:bubble3D val="0"/>
            <c:spPr>
              <a:solidFill>
                <a:srgbClr val="AEABAB"/>
              </a:solidFill>
            </c:spPr>
            <c:extLst>
              <c:ext xmlns:c16="http://schemas.microsoft.com/office/drawing/2014/chart" uri="{C3380CC4-5D6E-409C-BE32-E72D297353CC}">
                <c16:uniqueId val="{0000007F-2993-41DE-A2CB-63102DE87051}"/>
              </c:ext>
            </c:extLst>
          </c:dPt>
          <c:dPt>
            <c:idx val="36"/>
            <c:invertIfNegative val="1"/>
            <c:bubble3D val="0"/>
            <c:spPr>
              <a:solidFill>
                <a:srgbClr val="AEABAB"/>
              </a:solidFill>
            </c:spPr>
            <c:extLst>
              <c:ext xmlns:c16="http://schemas.microsoft.com/office/drawing/2014/chart" uri="{C3380CC4-5D6E-409C-BE32-E72D297353CC}">
                <c16:uniqueId val="{00000081-2993-41DE-A2CB-63102DE87051}"/>
              </c:ext>
            </c:extLst>
          </c:dPt>
          <c:dPt>
            <c:idx val="37"/>
            <c:invertIfNegative val="1"/>
            <c:bubble3D val="0"/>
            <c:spPr>
              <a:solidFill>
                <a:srgbClr val="AEABAB"/>
              </a:solidFill>
            </c:spPr>
            <c:extLst>
              <c:ext xmlns:c16="http://schemas.microsoft.com/office/drawing/2014/chart" uri="{C3380CC4-5D6E-409C-BE32-E72D297353CC}">
                <c16:uniqueId val="{00000083-2993-41DE-A2CB-63102DE87051}"/>
              </c:ext>
            </c:extLst>
          </c:dPt>
          <c:dPt>
            <c:idx val="38"/>
            <c:invertIfNegative val="1"/>
            <c:bubble3D val="0"/>
            <c:spPr>
              <a:solidFill>
                <a:srgbClr val="AEABAB"/>
              </a:solidFill>
            </c:spPr>
            <c:extLst>
              <c:ext xmlns:c16="http://schemas.microsoft.com/office/drawing/2014/chart" uri="{C3380CC4-5D6E-409C-BE32-E72D297353CC}">
                <c16:uniqueId val="{00000085-2993-41DE-A2CB-63102DE87051}"/>
              </c:ext>
            </c:extLst>
          </c:dPt>
          <c:dPt>
            <c:idx val="39"/>
            <c:invertIfNegative val="1"/>
            <c:bubble3D val="0"/>
            <c:spPr>
              <a:solidFill>
                <a:srgbClr val="AEABAB"/>
              </a:solidFill>
            </c:spPr>
            <c:extLst>
              <c:ext xmlns:c16="http://schemas.microsoft.com/office/drawing/2014/chart" uri="{C3380CC4-5D6E-409C-BE32-E72D297353CC}">
                <c16:uniqueId val="{00000087-2993-41DE-A2CB-63102DE87051}"/>
              </c:ext>
            </c:extLst>
          </c:dPt>
          <c:dPt>
            <c:idx val="40"/>
            <c:invertIfNegative val="1"/>
            <c:bubble3D val="0"/>
            <c:spPr>
              <a:solidFill>
                <a:srgbClr val="AEABAB"/>
              </a:solidFill>
            </c:spPr>
            <c:extLst>
              <c:ext xmlns:c16="http://schemas.microsoft.com/office/drawing/2014/chart" uri="{C3380CC4-5D6E-409C-BE32-E72D297353CC}">
                <c16:uniqueId val="{00000089-2993-41DE-A2CB-63102DE87051}"/>
              </c:ext>
            </c:extLst>
          </c:dPt>
          <c:dPt>
            <c:idx val="41"/>
            <c:invertIfNegative val="1"/>
            <c:bubble3D val="0"/>
            <c:spPr>
              <a:solidFill>
                <a:srgbClr val="AEABAB"/>
              </a:solidFill>
            </c:spPr>
            <c:extLst>
              <c:ext xmlns:c16="http://schemas.microsoft.com/office/drawing/2014/chart" uri="{C3380CC4-5D6E-409C-BE32-E72D297353CC}">
                <c16:uniqueId val="{0000008B-2993-41DE-A2CB-63102DE87051}"/>
              </c:ext>
            </c:extLst>
          </c:dPt>
          <c:dPt>
            <c:idx val="42"/>
            <c:invertIfNegative val="1"/>
            <c:bubble3D val="0"/>
            <c:spPr>
              <a:solidFill>
                <a:srgbClr val="AEABAB"/>
              </a:solidFill>
            </c:spPr>
            <c:extLst>
              <c:ext xmlns:c16="http://schemas.microsoft.com/office/drawing/2014/chart" uri="{C3380CC4-5D6E-409C-BE32-E72D297353CC}">
                <c16:uniqueId val="{0000008D-2993-41DE-A2CB-63102DE87051}"/>
              </c:ext>
            </c:extLst>
          </c:dPt>
          <c:dPt>
            <c:idx val="43"/>
            <c:invertIfNegative val="1"/>
            <c:bubble3D val="0"/>
            <c:spPr>
              <a:solidFill>
                <a:srgbClr val="AEABAB"/>
              </a:solidFill>
            </c:spPr>
            <c:extLst>
              <c:ext xmlns:c16="http://schemas.microsoft.com/office/drawing/2014/chart" uri="{C3380CC4-5D6E-409C-BE32-E72D297353CC}">
                <c16:uniqueId val="{0000008F-2993-41DE-A2CB-63102DE87051}"/>
              </c:ext>
            </c:extLst>
          </c:dPt>
          <c:dPt>
            <c:idx val="44"/>
            <c:invertIfNegative val="1"/>
            <c:bubble3D val="0"/>
            <c:spPr>
              <a:solidFill>
                <a:srgbClr val="AEABAB"/>
              </a:solidFill>
            </c:spPr>
            <c:extLst>
              <c:ext xmlns:c16="http://schemas.microsoft.com/office/drawing/2014/chart" uri="{C3380CC4-5D6E-409C-BE32-E72D297353CC}">
                <c16:uniqueId val="{00000091-2993-41DE-A2CB-63102DE87051}"/>
              </c:ext>
            </c:extLst>
          </c:dPt>
          <c:dPt>
            <c:idx val="45"/>
            <c:invertIfNegative val="1"/>
            <c:bubble3D val="0"/>
            <c:spPr>
              <a:solidFill>
                <a:srgbClr val="AEABAB"/>
              </a:solidFill>
            </c:spPr>
            <c:extLst>
              <c:ext xmlns:c16="http://schemas.microsoft.com/office/drawing/2014/chart" uri="{C3380CC4-5D6E-409C-BE32-E72D297353CC}">
                <c16:uniqueId val="{00000093-2993-41DE-A2CB-63102DE87051}"/>
              </c:ext>
            </c:extLst>
          </c:dPt>
          <c:dPt>
            <c:idx val="46"/>
            <c:invertIfNegative val="1"/>
            <c:bubble3D val="0"/>
            <c:spPr>
              <a:solidFill>
                <a:srgbClr val="AEABAB"/>
              </a:solidFill>
            </c:spPr>
            <c:extLst>
              <c:ext xmlns:c16="http://schemas.microsoft.com/office/drawing/2014/chart" uri="{C3380CC4-5D6E-409C-BE32-E72D297353CC}">
                <c16:uniqueId val="{00000095-2993-41DE-A2CB-63102DE87051}"/>
              </c:ext>
            </c:extLst>
          </c:dPt>
          <c:dPt>
            <c:idx val="47"/>
            <c:invertIfNegative val="1"/>
            <c:bubble3D val="0"/>
            <c:spPr>
              <a:solidFill>
                <a:srgbClr val="AEABAB"/>
              </a:solidFill>
            </c:spPr>
            <c:extLst>
              <c:ext xmlns:c16="http://schemas.microsoft.com/office/drawing/2014/chart" uri="{C3380CC4-5D6E-409C-BE32-E72D297353CC}">
                <c16:uniqueId val="{00000097-2993-41DE-A2CB-63102DE87051}"/>
              </c:ext>
            </c:extLst>
          </c:dPt>
          <c:dPt>
            <c:idx val="48"/>
            <c:invertIfNegative val="1"/>
            <c:bubble3D val="0"/>
            <c:spPr>
              <a:solidFill>
                <a:srgbClr val="AEABAB"/>
              </a:solidFill>
            </c:spPr>
            <c:extLst>
              <c:ext xmlns:c16="http://schemas.microsoft.com/office/drawing/2014/chart" uri="{C3380CC4-5D6E-409C-BE32-E72D297353CC}">
                <c16:uniqueId val="{00000099-2993-41DE-A2CB-63102DE87051}"/>
              </c:ext>
            </c:extLst>
          </c:dPt>
          <c:dPt>
            <c:idx val="49"/>
            <c:invertIfNegative val="1"/>
            <c:bubble3D val="0"/>
            <c:spPr>
              <a:solidFill>
                <a:srgbClr val="AEABAB"/>
              </a:solidFill>
            </c:spPr>
            <c:extLst>
              <c:ext xmlns:c16="http://schemas.microsoft.com/office/drawing/2014/chart" uri="{C3380CC4-5D6E-409C-BE32-E72D297353CC}">
                <c16:uniqueId val="{0000009B-2993-41DE-A2CB-63102DE87051}"/>
              </c:ext>
            </c:extLst>
          </c:dPt>
          <c:dPt>
            <c:idx val="50"/>
            <c:invertIfNegative val="1"/>
            <c:bubble3D val="0"/>
            <c:spPr>
              <a:solidFill>
                <a:srgbClr val="AEABAB"/>
              </a:solidFill>
            </c:spPr>
            <c:extLst>
              <c:ext xmlns:c16="http://schemas.microsoft.com/office/drawing/2014/chart" uri="{C3380CC4-5D6E-409C-BE32-E72D297353CC}">
                <c16:uniqueId val="{0000009D-2993-41DE-A2CB-63102DE87051}"/>
              </c:ext>
            </c:extLst>
          </c:dPt>
          <c:dPt>
            <c:idx val="51"/>
            <c:invertIfNegative val="1"/>
            <c:bubble3D val="0"/>
            <c:spPr>
              <a:solidFill>
                <a:srgbClr val="AEABAB"/>
              </a:solidFill>
            </c:spPr>
            <c:extLst>
              <c:ext xmlns:c16="http://schemas.microsoft.com/office/drawing/2014/chart" uri="{C3380CC4-5D6E-409C-BE32-E72D297353CC}">
                <c16:uniqueId val="{0000009F-2993-41DE-A2CB-63102DE87051}"/>
              </c:ext>
            </c:extLst>
          </c:dPt>
          <c:dPt>
            <c:idx val="52"/>
            <c:invertIfNegative val="1"/>
            <c:bubble3D val="0"/>
            <c:spPr>
              <a:solidFill>
                <a:srgbClr val="AEABAB"/>
              </a:solidFill>
            </c:spPr>
            <c:extLst>
              <c:ext xmlns:c16="http://schemas.microsoft.com/office/drawing/2014/chart" uri="{C3380CC4-5D6E-409C-BE32-E72D297353CC}">
                <c16:uniqueId val="{000000A1-2993-41DE-A2CB-63102DE87051}"/>
              </c:ext>
            </c:extLst>
          </c:dPt>
          <c:dPt>
            <c:idx val="53"/>
            <c:invertIfNegative val="1"/>
            <c:bubble3D val="0"/>
            <c:spPr>
              <a:solidFill>
                <a:srgbClr val="AEABAB"/>
              </a:solidFill>
            </c:spPr>
            <c:extLst>
              <c:ext xmlns:c16="http://schemas.microsoft.com/office/drawing/2014/chart" uri="{C3380CC4-5D6E-409C-BE32-E72D297353CC}">
                <c16:uniqueId val="{000000A3-2993-41DE-A2CB-63102DE87051}"/>
              </c:ext>
            </c:extLst>
          </c:dPt>
          <c:dPt>
            <c:idx val="54"/>
            <c:invertIfNegative val="0"/>
            <c:bubble3D val="0"/>
            <c:spPr>
              <a:solidFill>
                <a:srgbClr val="AEABAB"/>
              </a:solidFill>
            </c:spPr>
            <c:extLst>
              <c:ext xmlns:c16="http://schemas.microsoft.com/office/drawing/2014/chart" uri="{C3380CC4-5D6E-409C-BE32-E72D297353CC}">
                <c16:uniqueId val="{00000072-C76F-4230-900D-40618C09729F}"/>
              </c:ext>
            </c:extLst>
          </c:dPt>
          <c:dPt>
            <c:idx val="55"/>
            <c:invertIfNegative val="0"/>
            <c:bubble3D val="0"/>
            <c:spPr>
              <a:solidFill>
                <a:srgbClr val="AEABAB"/>
              </a:solidFill>
            </c:spPr>
            <c:extLst>
              <c:ext xmlns:c16="http://schemas.microsoft.com/office/drawing/2014/chart" uri="{C3380CC4-5D6E-409C-BE32-E72D297353CC}">
                <c16:uniqueId val="{00000074-C76F-4230-900D-40618C09729F}"/>
              </c:ext>
            </c:extLst>
          </c:dPt>
          <c:dPt>
            <c:idx val="56"/>
            <c:invertIfNegative val="0"/>
            <c:bubble3D val="0"/>
            <c:spPr>
              <a:solidFill>
                <a:srgbClr val="AEABAB"/>
              </a:solidFill>
            </c:spPr>
            <c:extLst>
              <c:ext xmlns:c16="http://schemas.microsoft.com/office/drawing/2014/chart" uri="{C3380CC4-5D6E-409C-BE32-E72D297353CC}">
                <c16:uniqueId val="{00000076-C76F-4230-900D-40618C09729F}"/>
              </c:ext>
            </c:extLst>
          </c:dPt>
          <c:dPt>
            <c:idx val="57"/>
            <c:invertIfNegative val="0"/>
            <c:bubble3D val="0"/>
            <c:spPr>
              <a:solidFill>
                <a:srgbClr val="AEABAB"/>
              </a:solidFill>
            </c:spPr>
            <c:extLst>
              <c:ext xmlns:c16="http://schemas.microsoft.com/office/drawing/2014/chart" uri="{C3380CC4-5D6E-409C-BE32-E72D297353CC}">
                <c16:uniqueId val="{00000078-C76F-4230-900D-40618C09729F}"/>
              </c:ext>
            </c:extLst>
          </c:dPt>
          <c:dPt>
            <c:idx val="58"/>
            <c:invertIfNegative val="0"/>
            <c:bubble3D val="0"/>
            <c:spPr>
              <a:solidFill>
                <a:srgbClr val="AEABAB"/>
              </a:solidFill>
            </c:spPr>
            <c:extLst>
              <c:ext xmlns:c16="http://schemas.microsoft.com/office/drawing/2014/chart" uri="{C3380CC4-5D6E-409C-BE32-E72D297353CC}">
                <c16:uniqueId val="{0000007A-C76F-4230-900D-40618C09729F}"/>
              </c:ext>
            </c:extLst>
          </c:dPt>
          <c:dPt>
            <c:idx val="59"/>
            <c:invertIfNegative val="0"/>
            <c:bubble3D val="0"/>
            <c:spPr>
              <a:solidFill>
                <a:srgbClr val="AEABAB"/>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61</c:f>
              <c:strCache>
                <c:ptCount val="60"/>
                <c:pt idx="0">
                  <c:v>Dom Perigno</c:v>
                </c:pt>
                <c:pt idx="1">
                  <c:v>Malard</c:v>
                </c:pt>
                <c:pt idx="2">
                  <c:v>Dom Perigno</c:v>
                </c:pt>
                <c:pt idx="3">
                  <c:v>Ruinart</c:v>
                </c:pt>
                <c:pt idx="4">
                  <c:v>Roederer</c:v>
                </c:pt>
                <c:pt idx="5">
                  <c:v>Dom Perigno</c:v>
                </c:pt>
                <c:pt idx="6">
                  <c:v>Roederer</c:v>
                </c:pt>
                <c:pt idx="7">
                  <c:v>Ruinart</c:v>
                </c:pt>
                <c:pt idx="8">
                  <c:v>Roederer</c:v>
                </c:pt>
                <c:pt idx="9">
                  <c:v>Laurent Per</c:v>
                </c:pt>
                <c:pt idx="10">
                  <c:v>Roederer</c:v>
                </c:pt>
                <c:pt idx="11">
                  <c:v>Dom Perigno</c:v>
                </c:pt>
                <c:pt idx="12">
                  <c:v>Roederer</c:v>
                </c:pt>
                <c:pt idx="13">
                  <c:v>Bollinger</c:v>
                </c:pt>
                <c:pt idx="14">
                  <c:v>Ruinart</c:v>
                </c:pt>
                <c:pt idx="15">
                  <c:v>Roederer</c:v>
                </c:pt>
                <c:pt idx="16">
                  <c:v>All Others</c:v>
                </c:pt>
                <c:pt idx="17">
                  <c:v>Dom Perigno</c:v>
                </c:pt>
                <c:pt idx="18">
                  <c:v>Piper Heids</c:v>
                </c:pt>
                <c:pt idx="19">
                  <c:v>Roederer</c:v>
                </c:pt>
                <c:pt idx="20">
                  <c:v>Pommery</c:v>
                </c:pt>
                <c:pt idx="21">
                  <c:v>Ruinart</c:v>
                </c:pt>
                <c:pt idx="22">
                  <c:v>Roederer</c:v>
                </c:pt>
                <c:pt idx="23">
                  <c:v>Ruinart</c:v>
                </c:pt>
                <c:pt idx="24">
                  <c:v>Piper Heids</c:v>
                </c:pt>
                <c:pt idx="25">
                  <c:v>Malard</c:v>
                </c:pt>
                <c:pt idx="26">
                  <c:v>Perrier Jou</c:v>
                </c:pt>
                <c:pt idx="27">
                  <c:v>Veuve Clicq</c:v>
                </c:pt>
                <c:pt idx="28">
                  <c:v>Pommery</c:v>
                </c:pt>
                <c:pt idx="29">
                  <c:v>Roederer</c:v>
                </c:pt>
                <c:pt idx="30">
                  <c:v>Laurent Per</c:v>
                </c:pt>
                <c:pt idx="31">
                  <c:v>Laurent Per</c:v>
                </c:pt>
                <c:pt idx="32">
                  <c:v>De Venoge</c:v>
                </c:pt>
                <c:pt idx="33">
                  <c:v>Bollinger</c:v>
                </c:pt>
                <c:pt idx="34">
                  <c:v>Roederer</c:v>
                </c:pt>
                <c:pt idx="35">
                  <c:v>All Others</c:v>
                </c:pt>
                <c:pt idx="36">
                  <c:v>Bollinger</c:v>
                </c:pt>
                <c:pt idx="37">
                  <c:v>Deutz</c:v>
                </c:pt>
                <c:pt idx="38">
                  <c:v>Veuve Clicq</c:v>
                </c:pt>
                <c:pt idx="39">
                  <c:v>All Others</c:v>
                </c:pt>
                <c:pt idx="40">
                  <c:v>Roederer</c:v>
                </c:pt>
                <c:pt idx="41">
                  <c:v>Roederer</c:v>
                </c:pt>
                <c:pt idx="42">
                  <c:v>Vesselle</c:v>
                </c:pt>
                <c:pt idx="43">
                  <c:v>Malard</c:v>
                </c:pt>
                <c:pt idx="44">
                  <c:v>Roederer</c:v>
                </c:pt>
                <c:pt idx="45">
                  <c:v>Laurent Per</c:v>
                </c:pt>
                <c:pt idx="46">
                  <c:v>De Venoge</c:v>
                </c:pt>
                <c:pt idx="47">
                  <c:v>All Others</c:v>
                </c:pt>
                <c:pt idx="48">
                  <c:v>Roederer</c:v>
                </c:pt>
                <c:pt idx="49">
                  <c:v>Bollinger</c:v>
                </c:pt>
                <c:pt idx="50">
                  <c:v>Lanson</c:v>
                </c:pt>
                <c:pt idx="51">
                  <c:v>Roederer</c:v>
                </c:pt>
                <c:pt idx="52">
                  <c:v>Piper Heids</c:v>
                </c:pt>
                <c:pt idx="53">
                  <c:v>Roederer</c:v>
                </c:pt>
                <c:pt idx="54">
                  <c:v>Roederer</c:v>
                </c:pt>
                <c:pt idx="55">
                  <c:v>Deutz</c:v>
                </c:pt>
                <c:pt idx="56">
                  <c:v>Laurent Per</c:v>
                </c:pt>
                <c:pt idx="57">
                  <c:v>Ruinart</c:v>
                </c:pt>
                <c:pt idx="58">
                  <c:v>Vranken</c:v>
                </c:pt>
                <c:pt idx="59">
                  <c:v>Vesselle</c:v>
                </c:pt>
              </c:strCache>
            </c:strRef>
          </c:cat>
          <c:val>
            <c:numRef>
              <c:f>Sheet1!$C$2:$C$61</c:f>
              <c:numCache>
                <c:formatCode>General</c:formatCode>
                <c:ptCount val="60"/>
                <c:pt idx="0">
                  <c:v>0.20016622489779415</c:v>
                </c:pt>
                <c:pt idx="1">
                  <c:v>0.33990424419015097</c:v>
                </c:pt>
                <c:pt idx="2">
                  <c:v>0.46580516388234611</c:v>
                </c:pt>
                <c:pt idx="3">
                  <c:v>0.53995173701809218</c:v>
                </c:pt>
                <c:pt idx="4">
                  <c:v>0.59709074339111623</c:v>
                </c:pt>
                <c:pt idx="5">
                  <c:v>0.6373858407193238</c:v>
                </c:pt>
                <c:pt idx="6">
                  <c:v>0.67579406082932747</c:v>
                </c:pt>
                <c:pt idx="7">
                  <c:v>0.71021352518724368</c:v>
                </c:pt>
                <c:pt idx="8">
                  <c:v>0.7399061695750675</c:v>
                </c:pt>
                <c:pt idx="9">
                  <c:v>0.76587319414939703</c:v>
                </c:pt>
                <c:pt idx="10">
                  <c:v>0.79089036216490283</c:v>
                </c:pt>
                <c:pt idx="11">
                  <c:v>0.81206317829706121</c:v>
                </c:pt>
                <c:pt idx="12">
                  <c:v>0.83286696232021717</c:v>
                </c:pt>
                <c:pt idx="13">
                  <c:v>0.85297118982369891</c:v>
                </c:pt>
                <c:pt idx="14">
                  <c:v>0.86570119309685323</c:v>
                </c:pt>
                <c:pt idx="15">
                  <c:v>0.87795947706545663</c:v>
                </c:pt>
                <c:pt idx="16">
                  <c:v>0.88927753139981902</c:v>
                </c:pt>
                <c:pt idx="17">
                  <c:v>0.89977087919493237</c:v>
                </c:pt>
                <c:pt idx="18">
                  <c:v>0.90920205631109086</c:v>
                </c:pt>
                <c:pt idx="19">
                  <c:v>0.91687150622862024</c:v>
                </c:pt>
                <c:pt idx="20">
                  <c:v>0.92428102918241739</c:v>
                </c:pt>
                <c:pt idx="21">
                  <c:v>0.93007322880632559</c:v>
                </c:pt>
                <c:pt idx="22">
                  <c:v>0.93567930788830211</c:v>
                </c:pt>
                <c:pt idx="23">
                  <c:v>0.94073023431934444</c:v>
                </c:pt>
                <c:pt idx="24">
                  <c:v>0.94554369661068083</c:v>
                </c:pt>
                <c:pt idx="25">
                  <c:v>0.9503475319774346</c:v>
                </c:pt>
                <c:pt idx="26">
                  <c:v>0.9549652468022567</c:v>
                </c:pt>
                <c:pt idx="27">
                  <c:v>0.95945781160750399</c:v>
                </c:pt>
                <c:pt idx="28">
                  <c:v>0.96381239049373302</c:v>
                </c:pt>
                <c:pt idx="29">
                  <c:v>0.96692830508365812</c:v>
                </c:pt>
                <c:pt idx="30">
                  <c:v>0.96992869657859115</c:v>
                </c:pt>
                <c:pt idx="31">
                  <c:v>0.97261781751201781</c:v>
                </c:pt>
                <c:pt idx="32">
                  <c:v>0.97528126664655734</c:v>
                </c:pt>
                <c:pt idx="33">
                  <c:v>0.97730292080891867</c:v>
                </c:pt>
                <c:pt idx="34">
                  <c:v>0.97882397489298101</c:v>
                </c:pt>
                <c:pt idx="35">
                  <c:v>0.98027764050496458</c:v>
                </c:pt>
                <c:pt idx="36">
                  <c:v>0.98149063300238137</c:v>
                </c:pt>
                <c:pt idx="37">
                  <c:v>0.9826586998517457</c:v>
                </c:pt>
                <c:pt idx="38">
                  <c:v>0.98380109490222289</c:v>
                </c:pt>
                <c:pt idx="39">
                  <c:v>0.98494028097783914</c:v>
                </c:pt>
                <c:pt idx="40">
                  <c:v>0.98606984012887278</c:v>
                </c:pt>
                <c:pt idx="41">
                  <c:v>0.9871833544056019</c:v>
                </c:pt>
                <c:pt idx="42">
                  <c:v>0.98818134558733894</c:v>
                </c:pt>
                <c:pt idx="43">
                  <c:v>0.98914724702046708</c:v>
                </c:pt>
                <c:pt idx="44">
                  <c:v>0.99000725228318587</c:v>
                </c:pt>
                <c:pt idx="45">
                  <c:v>0.99085121267160015</c:v>
                </c:pt>
                <c:pt idx="46">
                  <c:v>0.99167912818571002</c:v>
                </c:pt>
                <c:pt idx="47">
                  <c:v>0.99242361035343674</c:v>
                </c:pt>
                <c:pt idx="48">
                  <c:v>0.9931648835463025</c:v>
                </c:pt>
                <c:pt idx="49">
                  <c:v>0.99390294776430743</c:v>
                </c:pt>
                <c:pt idx="50">
                  <c:v>0.99515444796005481</c:v>
                </c:pt>
                <c:pt idx="51">
                  <c:v>0.99622624556359241</c:v>
                </c:pt>
                <c:pt idx="52">
                  <c:v>0.99669796486814333</c:v>
                </c:pt>
                <c:pt idx="53">
                  <c:v>0.99762214962807994</c:v>
                </c:pt>
                <c:pt idx="54">
                  <c:v>0.99804894328457838</c:v>
                </c:pt>
                <c:pt idx="55">
                  <c:v>0.99844043821760708</c:v>
                </c:pt>
                <c:pt idx="56">
                  <c:v>0.998825515200914</c:v>
                </c:pt>
                <c:pt idx="57">
                  <c:v>0.99960850506697141</c:v>
                </c:pt>
                <c:pt idx="58">
                  <c:v>0.99992619357819956</c:v>
                </c:pt>
                <c:pt idx="59">
                  <c:v>1</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78</c:f>
              <c:strCache>
                <c:ptCount val="77"/>
                <c:pt idx="0">
                  <c:v>Ruinart</c:v>
                </c:pt>
                <c:pt idx="1">
                  <c:v>Deutz</c:v>
                </c:pt>
                <c:pt idx="2">
                  <c:v>Demoiselle</c:v>
                </c:pt>
                <c:pt idx="3">
                  <c:v>Laurent Per</c:v>
                </c:pt>
                <c:pt idx="4">
                  <c:v>Ruinart</c:v>
                </c:pt>
                <c:pt idx="5">
                  <c:v>Nicolas</c:v>
                </c:pt>
                <c:pt idx="6">
                  <c:v>Nicolas Feu</c:v>
                </c:pt>
                <c:pt idx="7">
                  <c:v>Malard</c:v>
                </c:pt>
                <c:pt idx="8">
                  <c:v>Besserat De</c:v>
                </c:pt>
                <c:pt idx="9">
                  <c:v>Pommery</c:v>
                </c:pt>
                <c:pt idx="10">
                  <c:v>Ruinart</c:v>
                </c:pt>
                <c:pt idx="11">
                  <c:v>Dom Perigno</c:v>
                </c:pt>
                <c:pt idx="12">
                  <c:v>Ruinart</c:v>
                </c:pt>
                <c:pt idx="13">
                  <c:v>Bollinger</c:v>
                </c:pt>
                <c:pt idx="14">
                  <c:v>Deutz</c:v>
                </c:pt>
                <c:pt idx="15">
                  <c:v>Roederer</c:v>
                </c:pt>
                <c:pt idx="16">
                  <c:v>Nicolas</c:v>
                </c:pt>
                <c:pt idx="17">
                  <c:v>Nicolas</c:v>
                </c:pt>
                <c:pt idx="18">
                  <c:v>Besserat De</c:v>
                </c:pt>
                <c:pt idx="19">
                  <c:v>Perrier Jou</c:v>
                </c:pt>
                <c:pt idx="20">
                  <c:v>Veuve Clicq</c:v>
                </c:pt>
                <c:pt idx="21">
                  <c:v>Demoiselle</c:v>
                </c:pt>
                <c:pt idx="22">
                  <c:v>Nicolas</c:v>
                </c:pt>
                <c:pt idx="23">
                  <c:v>Deutz</c:v>
                </c:pt>
                <c:pt idx="24">
                  <c:v>Nicolas</c:v>
                </c:pt>
                <c:pt idx="25">
                  <c:v>Ruinart</c:v>
                </c:pt>
                <c:pt idx="26">
                  <c:v>Krug</c:v>
                </c:pt>
                <c:pt idx="27">
                  <c:v>All Others</c:v>
                </c:pt>
                <c:pt idx="28">
                  <c:v>Henriot</c:v>
                </c:pt>
                <c:pt idx="29">
                  <c:v>Laurent Per</c:v>
                </c:pt>
                <c:pt idx="30">
                  <c:v>Moët &amp; Chan</c:v>
                </c:pt>
                <c:pt idx="31">
                  <c:v>Roederer</c:v>
                </c:pt>
                <c:pt idx="32">
                  <c:v>Veuve Clicq</c:v>
                </c:pt>
                <c:pt idx="33">
                  <c:v>Perrier Jou</c:v>
                </c:pt>
                <c:pt idx="34">
                  <c:v>Dom Perigno</c:v>
                </c:pt>
                <c:pt idx="35">
                  <c:v>Moët &amp; Chan</c:v>
                </c:pt>
                <c:pt idx="36">
                  <c:v>Bollinger</c:v>
                </c:pt>
                <c:pt idx="37">
                  <c:v>Dom Perigno</c:v>
                </c:pt>
                <c:pt idx="38">
                  <c:v>Deutz</c:v>
                </c:pt>
                <c:pt idx="39">
                  <c:v>Ruinart</c:v>
                </c:pt>
                <c:pt idx="40">
                  <c:v>Roederer</c:v>
                </c:pt>
                <c:pt idx="41">
                  <c:v>All Others</c:v>
                </c:pt>
                <c:pt idx="42">
                  <c:v>Ruinart</c:v>
                </c:pt>
                <c:pt idx="43">
                  <c:v>Dom Perigno</c:v>
                </c:pt>
                <c:pt idx="44">
                  <c:v>De Bligny</c:v>
                </c:pt>
                <c:pt idx="45">
                  <c:v>Ayala</c:v>
                </c:pt>
                <c:pt idx="46">
                  <c:v>Moët &amp; Chan</c:v>
                </c:pt>
                <c:pt idx="47">
                  <c:v>Laurent Per</c:v>
                </c:pt>
                <c:pt idx="48">
                  <c:v>Deutz</c:v>
                </c:pt>
                <c:pt idx="49">
                  <c:v>Taittinger</c:v>
                </c:pt>
                <c:pt idx="50">
                  <c:v>Dom Perigno</c:v>
                </c:pt>
                <c:pt idx="51">
                  <c:v>Roederer</c:v>
                </c:pt>
                <c:pt idx="52">
                  <c:v>Demoiselle</c:v>
                </c:pt>
                <c:pt idx="53">
                  <c:v>Piper Heids</c:v>
                </c:pt>
                <c:pt idx="54">
                  <c:v>Roederer</c:v>
                </c:pt>
                <c:pt idx="55">
                  <c:v>Roederer</c:v>
                </c:pt>
                <c:pt idx="56">
                  <c:v>Laurent Per</c:v>
                </c:pt>
                <c:pt idx="57">
                  <c:v>Laurent Per</c:v>
                </c:pt>
                <c:pt idx="58">
                  <c:v>Ruinart</c:v>
                </c:pt>
                <c:pt idx="59">
                  <c:v>Dom Perigno</c:v>
                </c:pt>
                <c:pt idx="60">
                  <c:v>Laurent Per</c:v>
                </c:pt>
                <c:pt idx="61">
                  <c:v>All Others</c:v>
                </c:pt>
                <c:pt idx="62">
                  <c:v>Taittinger</c:v>
                </c:pt>
                <c:pt idx="63">
                  <c:v>Dom Perigno</c:v>
                </c:pt>
                <c:pt idx="64">
                  <c:v>Roederer</c:v>
                </c:pt>
                <c:pt idx="65">
                  <c:v>All Others</c:v>
                </c:pt>
                <c:pt idx="66">
                  <c:v>All Others</c:v>
                </c:pt>
                <c:pt idx="67">
                  <c:v>Bollinger</c:v>
                </c:pt>
                <c:pt idx="68">
                  <c:v>All Others</c:v>
                </c:pt>
                <c:pt idx="69">
                  <c:v>Veuve Clicq</c:v>
                </c:pt>
                <c:pt idx="70">
                  <c:v>Besserat De</c:v>
                </c:pt>
                <c:pt idx="71">
                  <c:v>Moët &amp; Chan</c:v>
                </c:pt>
                <c:pt idx="72">
                  <c:v>Henriot</c:v>
                </c:pt>
                <c:pt idx="73">
                  <c:v>All Others</c:v>
                </c:pt>
                <c:pt idx="74">
                  <c:v>Demoiselle</c:v>
                </c:pt>
                <c:pt idx="75">
                  <c:v>Vranken Pom</c:v>
                </c:pt>
                <c:pt idx="76">
                  <c:v>Pommery</c:v>
                </c:pt>
              </c:strCache>
            </c:strRef>
          </c:cat>
          <c:val>
            <c:numRef>
              <c:f>Sheet1!$B$2:$B$78</c:f>
              <c:numCache>
                <c:formatCode>General</c:formatCode>
                <c:ptCount val="77"/>
                <c:pt idx="0">
                  <c:v>0.67700000000000005</c:v>
                </c:pt>
                <c:pt idx="1">
                  <c:v>0.70799999999999996</c:v>
                </c:pt>
                <c:pt idx="2">
                  <c:v>0.77400000000000002</c:v>
                </c:pt>
                <c:pt idx="3">
                  <c:v>0.57199999999999995</c:v>
                </c:pt>
                <c:pt idx="4">
                  <c:v>0.502</c:v>
                </c:pt>
                <c:pt idx="5">
                  <c:v>0.628</c:v>
                </c:pt>
                <c:pt idx="6">
                  <c:v>0.54200000000000004</c:v>
                </c:pt>
                <c:pt idx="7">
                  <c:v>0.48199999999999998</c:v>
                </c:pt>
                <c:pt idx="8">
                  <c:v>0.377</c:v>
                </c:pt>
                <c:pt idx="9">
                  <c:v>0.44600000000000001</c:v>
                </c:pt>
                <c:pt idx="10">
                  <c:v>0.17100000000000001</c:v>
                </c:pt>
                <c:pt idx="11">
                  <c:v>0.18</c:v>
                </c:pt>
                <c:pt idx="12">
                  <c:v>0.32100000000000001</c:v>
                </c:pt>
                <c:pt idx="13">
                  <c:v>0.214</c:v>
                </c:pt>
                <c:pt idx="14">
                  <c:v>0.437</c:v>
                </c:pt>
                <c:pt idx="15">
                  <c:v>0.105</c:v>
                </c:pt>
                <c:pt idx="16">
                  <c:v>0.34899999999999998</c:v>
                </c:pt>
                <c:pt idx="17">
                  <c:v>0.29699999999999999</c:v>
                </c:pt>
                <c:pt idx="18">
                  <c:v>0.252</c:v>
                </c:pt>
                <c:pt idx="19">
                  <c:v>0.18</c:v>
                </c:pt>
                <c:pt idx="20">
                  <c:v>0.10299999999999999</c:v>
                </c:pt>
                <c:pt idx="21">
                  <c:v>0.17</c:v>
                </c:pt>
                <c:pt idx="22">
                  <c:v>0.105</c:v>
                </c:pt>
                <c:pt idx="23">
                  <c:v>6.6000000000000003E-2</c:v>
                </c:pt>
                <c:pt idx="24">
                  <c:v>8.1000000000000003E-2</c:v>
                </c:pt>
                <c:pt idx="25">
                  <c:v>3.7999999999999999E-2</c:v>
                </c:pt>
                <c:pt idx="26">
                  <c:v>3.5000000000000003E-2</c:v>
                </c:pt>
                <c:pt idx="27">
                  <c:v>3.7999999999999999E-2</c:v>
                </c:pt>
                <c:pt idx="28">
                  <c:v>6.5000000000000002E-2</c:v>
                </c:pt>
                <c:pt idx="29">
                  <c:v>0.02</c:v>
                </c:pt>
                <c:pt idx="30">
                  <c:v>1.2E-2</c:v>
                </c:pt>
                <c:pt idx="31">
                  <c:v>1.4999999999999999E-2</c:v>
                </c:pt>
                <c:pt idx="32">
                  <c:v>4.4999999999999998E-2</c:v>
                </c:pt>
                <c:pt idx="33">
                  <c:v>2.5999999999999999E-2</c:v>
                </c:pt>
                <c:pt idx="34">
                  <c:v>7.0000000000000001E-3</c:v>
                </c:pt>
                <c:pt idx="35">
                  <c:v>4.4999999999999998E-2</c:v>
                </c:pt>
                <c:pt idx="36">
                  <c:v>0.03</c:v>
                </c:pt>
                <c:pt idx="37">
                  <c:v>8.0000000000000002E-3</c:v>
                </c:pt>
                <c:pt idx="38">
                  <c:v>2.7E-2</c:v>
                </c:pt>
                <c:pt idx="39">
                  <c:v>1.0999999999999999E-2</c:v>
                </c:pt>
                <c:pt idx="40">
                  <c:v>3.0000000000000001E-3</c:v>
                </c:pt>
                <c:pt idx="41">
                  <c:v>0.05</c:v>
                </c:pt>
                <c:pt idx="42">
                  <c:v>1.6E-2</c:v>
                </c:pt>
                <c:pt idx="43">
                  <c:v>2.1999999999999999E-2</c:v>
                </c:pt>
                <c:pt idx="44">
                  <c:v>1.9E-2</c:v>
                </c:pt>
                <c:pt idx="45">
                  <c:v>2.5999999999999999E-2</c:v>
                </c:pt>
                <c:pt idx="46">
                  <c:v>1.4999999999999999E-2</c:v>
                </c:pt>
                <c:pt idx="47">
                  <c:v>7.0000000000000001E-3</c:v>
                </c:pt>
                <c:pt idx="48">
                  <c:v>8.9999999999999993E-3</c:v>
                </c:pt>
                <c:pt idx="49">
                  <c:v>1.4E-2</c:v>
                </c:pt>
                <c:pt idx="50">
                  <c:v>5.0000000000000001E-3</c:v>
                </c:pt>
                <c:pt idx="51">
                  <c:v>4.0000000000000001E-3</c:v>
                </c:pt>
                <c:pt idx="52">
                  <c:v>0.01</c:v>
                </c:pt>
                <c:pt idx="53">
                  <c:v>2.7E-2</c:v>
                </c:pt>
                <c:pt idx="54">
                  <c:v>7.0000000000000001E-3</c:v>
                </c:pt>
                <c:pt idx="55">
                  <c:v>6.0000000000000001E-3</c:v>
                </c:pt>
                <c:pt idx="56">
                  <c:v>4.0000000000000001E-3</c:v>
                </c:pt>
                <c:pt idx="57">
                  <c:v>1E-3</c:v>
                </c:pt>
                <c:pt idx="58">
                  <c:v>7.0000000000000001E-3</c:v>
                </c:pt>
                <c:pt idx="59">
                  <c:v>5.0000000000000001E-3</c:v>
                </c:pt>
                <c:pt idx="60">
                  <c:v>7.0000000000000001E-3</c:v>
                </c:pt>
                <c:pt idx="61">
                  <c:v>6.0000000000000001E-3</c:v>
                </c:pt>
                <c:pt idx="62">
                  <c:v>1.2E-2</c:v>
                </c:pt>
                <c:pt idx="63">
                  <c:v>1E-3</c:v>
                </c:pt>
                <c:pt idx="64">
                  <c:v>4.0000000000000001E-3</c:v>
                </c:pt>
                <c:pt idx="65">
                  <c:v>3.0000000000000001E-3</c:v>
                </c:pt>
                <c:pt idx="66">
                  <c:v>5.0000000000000001E-3</c:v>
                </c:pt>
                <c:pt idx="67">
                  <c:v>5.0000000000000001E-3</c:v>
                </c:pt>
                <c:pt idx="68">
                  <c:v>6.0000000000000001E-3</c:v>
                </c:pt>
                <c:pt idx="69">
                  <c:v>5.0000000000000001E-3</c:v>
                </c:pt>
                <c:pt idx="70">
                  <c:v>6.0000000000000001E-3</c:v>
                </c:pt>
                <c:pt idx="71">
                  <c:v>1.2E-2</c:v>
                </c:pt>
                <c:pt idx="72">
                  <c:v>5.0000000000000001E-3</c:v>
                </c:pt>
                <c:pt idx="73">
                  <c:v>2E-3</c:v>
                </c:pt>
                <c:pt idx="74">
                  <c:v>3.0000000000000001E-3</c:v>
                </c:pt>
                <c:pt idx="75">
                  <c:v>2E-3</c:v>
                </c:pt>
                <c:pt idx="76">
                  <c:v>3.0000000000000001E-3</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7ECAC4"/>
              </a:solidFill>
            </c:spPr>
            <c:extLst>
              <c:ext xmlns:c16="http://schemas.microsoft.com/office/drawing/2014/chart" uri="{C3380CC4-5D6E-409C-BE32-E72D297353CC}">
                <c16:uniqueId val="{0000004F-2993-41DE-A2CB-63102DE87051}"/>
              </c:ext>
            </c:extLst>
          </c:dPt>
          <c:dPt>
            <c:idx val="12"/>
            <c:invertIfNegative val="1"/>
            <c:bubble3D val="0"/>
            <c:spPr>
              <a:solidFill>
                <a:srgbClr val="7ECAC4"/>
              </a:solidFill>
            </c:spPr>
            <c:extLst>
              <c:ext xmlns:c16="http://schemas.microsoft.com/office/drawing/2014/chart" uri="{C3380CC4-5D6E-409C-BE32-E72D297353CC}">
                <c16:uniqueId val="{00000051-2993-41DE-A2CB-63102DE87051}"/>
              </c:ext>
            </c:extLst>
          </c:dPt>
          <c:dPt>
            <c:idx val="13"/>
            <c:invertIfNegative val="1"/>
            <c:bubble3D val="0"/>
            <c:spPr>
              <a:solidFill>
                <a:srgbClr val="7ECAC4"/>
              </a:solidFill>
            </c:spPr>
            <c:extLst>
              <c:ext xmlns:c16="http://schemas.microsoft.com/office/drawing/2014/chart" uri="{C3380CC4-5D6E-409C-BE32-E72D297353CC}">
                <c16:uniqueId val="{00000053-2993-41DE-A2CB-63102DE87051}"/>
              </c:ext>
            </c:extLst>
          </c:dPt>
          <c:dPt>
            <c:idx val="14"/>
            <c:invertIfNegative val="1"/>
            <c:bubble3D val="0"/>
            <c:spPr>
              <a:solidFill>
                <a:srgbClr val="7ECAC4"/>
              </a:solidFill>
            </c:spPr>
            <c:extLst>
              <c:ext xmlns:c16="http://schemas.microsoft.com/office/drawing/2014/chart" uri="{C3380CC4-5D6E-409C-BE32-E72D297353CC}">
                <c16:uniqueId val="{00000055-2993-41DE-A2CB-63102DE87051}"/>
              </c:ext>
            </c:extLst>
          </c:dPt>
          <c:dPt>
            <c:idx val="15"/>
            <c:invertIfNegative val="1"/>
            <c:bubble3D val="0"/>
            <c:spPr>
              <a:solidFill>
                <a:srgbClr val="7ECAC4"/>
              </a:solidFill>
            </c:spPr>
            <c:extLst>
              <c:ext xmlns:c16="http://schemas.microsoft.com/office/drawing/2014/chart" uri="{C3380CC4-5D6E-409C-BE32-E72D297353CC}">
                <c16:uniqueId val="{00000057-2993-41DE-A2CB-63102DE87051}"/>
              </c:ext>
            </c:extLst>
          </c:dPt>
          <c:dPt>
            <c:idx val="16"/>
            <c:invertIfNegative val="1"/>
            <c:bubble3D val="0"/>
            <c:spPr>
              <a:solidFill>
                <a:srgbClr val="7ECAC4"/>
              </a:solidFill>
            </c:spPr>
            <c:extLst>
              <c:ext xmlns:c16="http://schemas.microsoft.com/office/drawing/2014/chart" uri="{C3380CC4-5D6E-409C-BE32-E72D297353CC}">
                <c16:uniqueId val="{00000059-2993-41DE-A2CB-63102DE87051}"/>
              </c:ext>
            </c:extLst>
          </c:dPt>
          <c:dPt>
            <c:idx val="17"/>
            <c:invertIfNegative val="1"/>
            <c:bubble3D val="0"/>
            <c:spPr>
              <a:solidFill>
                <a:srgbClr val="7ECAC4"/>
              </a:solidFill>
            </c:spPr>
            <c:extLst>
              <c:ext xmlns:c16="http://schemas.microsoft.com/office/drawing/2014/chart" uri="{C3380CC4-5D6E-409C-BE32-E72D297353CC}">
                <c16:uniqueId val="{0000005B-2993-41DE-A2CB-63102DE87051}"/>
              </c:ext>
            </c:extLst>
          </c:dPt>
          <c:dPt>
            <c:idx val="18"/>
            <c:invertIfNegative val="1"/>
            <c:bubble3D val="0"/>
            <c:spPr>
              <a:solidFill>
                <a:srgbClr val="AEABAB"/>
              </a:solidFill>
            </c:spPr>
            <c:extLst>
              <c:ext xmlns:c16="http://schemas.microsoft.com/office/drawing/2014/chart" uri="{C3380CC4-5D6E-409C-BE32-E72D297353CC}">
                <c16:uniqueId val="{0000005D-2993-41DE-A2CB-63102DE87051}"/>
              </c:ext>
            </c:extLst>
          </c:dPt>
          <c:dPt>
            <c:idx val="19"/>
            <c:invertIfNegative val="1"/>
            <c:bubble3D val="0"/>
            <c:spPr>
              <a:solidFill>
                <a:srgbClr val="AEABAB"/>
              </a:solidFill>
            </c:spPr>
            <c:extLst>
              <c:ext xmlns:c16="http://schemas.microsoft.com/office/drawing/2014/chart" uri="{C3380CC4-5D6E-409C-BE32-E72D297353CC}">
                <c16:uniqueId val="{0000005F-2993-41DE-A2CB-63102DE87051}"/>
              </c:ext>
            </c:extLst>
          </c:dPt>
          <c:dPt>
            <c:idx val="20"/>
            <c:invertIfNegative val="1"/>
            <c:bubble3D val="0"/>
            <c:spPr>
              <a:solidFill>
                <a:srgbClr val="AEABAB"/>
              </a:solidFill>
            </c:spPr>
            <c:extLst>
              <c:ext xmlns:c16="http://schemas.microsoft.com/office/drawing/2014/chart" uri="{C3380CC4-5D6E-409C-BE32-E72D297353CC}">
                <c16:uniqueId val="{00000061-2993-41DE-A2CB-63102DE87051}"/>
              </c:ext>
            </c:extLst>
          </c:dPt>
          <c:dPt>
            <c:idx val="21"/>
            <c:invertIfNegative val="1"/>
            <c:bubble3D val="0"/>
            <c:spPr>
              <a:solidFill>
                <a:srgbClr val="AEABAB"/>
              </a:solidFill>
            </c:spPr>
            <c:extLst>
              <c:ext xmlns:c16="http://schemas.microsoft.com/office/drawing/2014/chart" uri="{C3380CC4-5D6E-409C-BE32-E72D297353CC}">
                <c16:uniqueId val="{00000063-2993-41DE-A2CB-63102DE87051}"/>
              </c:ext>
            </c:extLst>
          </c:dPt>
          <c:dPt>
            <c:idx val="22"/>
            <c:invertIfNegative val="1"/>
            <c:bubble3D val="0"/>
            <c:spPr>
              <a:solidFill>
                <a:srgbClr val="AEABAB"/>
              </a:solidFill>
            </c:spPr>
            <c:extLst>
              <c:ext xmlns:c16="http://schemas.microsoft.com/office/drawing/2014/chart" uri="{C3380CC4-5D6E-409C-BE32-E72D297353CC}">
                <c16:uniqueId val="{00000065-2993-41DE-A2CB-63102DE87051}"/>
              </c:ext>
            </c:extLst>
          </c:dPt>
          <c:dPt>
            <c:idx val="23"/>
            <c:invertIfNegative val="1"/>
            <c:bubble3D val="0"/>
            <c:spPr>
              <a:solidFill>
                <a:srgbClr val="AEABAB"/>
              </a:solidFill>
            </c:spPr>
            <c:extLst>
              <c:ext xmlns:c16="http://schemas.microsoft.com/office/drawing/2014/chart" uri="{C3380CC4-5D6E-409C-BE32-E72D297353CC}">
                <c16:uniqueId val="{00000067-2993-41DE-A2CB-63102DE87051}"/>
              </c:ext>
            </c:extLst>
          </c:dPt>
          <c:dPt>
            <c:idx val="24"/>
            <c:invertIfNegative val="1"/>
            <c:bubble3D val="0"/>
            <c:spPr>
              <a:solidFill>
                <a:srgbClr val="AEABAB"/>
              </a:solidFill>
            </c:spPr>
            <c:extLst>
              <c:ext xmlns:c16="http://schemas.microsoft.com/office/drawing/2014/chart" uri="{C3380CC4-5D6E-409C-BE32-E72D297353CC}">
                <c16:uniqueId val="{00000069-2993-41DE-A2CB-63102DE87051}"/>
              </c:ext>
            </c:extLst>
          </c:dPt>
          <c:dPt>
            <c:idx val="25"/>
            <c:invertIfNegative val="1"/>
            <c:bubble3D val="0"/>
            <c:spPr>
              <a:solidFill>
                <a:srgbClr val="AEABAB"/>
              </a:solidFill>
            </c:spPr>
            <c:extLst>
              <c:ext xmlns:c16="http://schemas.microsoft.com/office/drawing/2014/chart" uri="{C3380CC4-5D6E-409C-BE32-E72D297353CC}">
                <c16:uniqueId val="{0000006B-2993-41DE-A2CB-63102DE87051}"/>
              </c:ext>
            </c:extLst>
          </c:dPt>
          <c:dPt>
            <c:idx val="26"/>
            <c:invertIfNegative val="1"/>
            <c:bubble3D val="0"/>
            <c:spPr>
              <a:solidFill>
                <a:srgbClr val="AEABAB"/>
              </a:solidFill>
            </c:spPr>
            <c:extLst>
              <c:ext xmlns:c16="http://schemas.microsoft.com/office/drawing/2014/chart" uri="{C3380CC4-5D6E-409C-BE32-E72D297353CC}">
                <c16:uniqueId val="{0000006D-2993-41DE-A2CB-63102DE87051}"/>
              </c:ext>
            </c:extLst>
          </c:dPt>
          <c:dPt>
            <c:idx val="27"/>
            <c:invertIfNegative val="1"/>
            <c:bubble3D val="0"/>
            <c:spPr>
              <a:solidFill>
                <a:srgbClr val="AEABAB"/>
              </a:solidFill>
            </c:spPr>
            <c:extLst>
              <c:ext xmlns:c16="http://schemas.microsoft.com/office/drawing/2014/chart" uri="{C3380CC4-5D6E-409C-BE32-E72D297353CC}">
                <c16:uniqueId val="{0000006F-2993-41DE-A2CB-63102DE87051}"/>
              </c:ext>
            </c:extLst>
          </c:dPt>
          <c:dPt>
            <c:idx val="28"/>
            <c:invertIfNegative val="1"/>
            <c:bubble3D val="0"/>
            <c:spPr>
              <a:solidFill>
                <a:srgbClr val="AEABAB"/>
              </a:solidFill>
            </c:spPr>
            <c:extLst>
              <c:ext xmlns:c16="http://schemas.microsoft.com/office/drawing/2014/chart" uri="{C3380CC4-5D6E-409C-BE32-E72D297353CC}">
                <c16:uniqueId val="{00000071-2993-41DE-A2CB-63102DE87051}"/>
              </c:ext>
            </c:extLst>
          </c:dPt>
          <c:dPt>
            <c:idx val="29"/>
            <c:invertIfNegative val="1"/>
            <c:bubble3D val="0"/>
            <c:spPr>
              <a:solidFill>
                <a:srgbClr val="AEABAB"/>
              </a:solidFill>
            </c:spPr>
            <c:extLst>
              <c:ext xmlns:c16="http://schemas.microsoft.com/office/drawing/2014/chart" uri="{C3380CC4-5D6E-409C-BE32-E72D297353CC}">
                <c16:uniqueId val="{00000073-2993-41DE-A2CB-63102DE87051}"/>
              </c:ext>
            </c:extLst>
          </c:dPt>
          <c:dPt>
            <c:idx val="30"/>
            <c:invertIfNegative val="1"/>
            <c:bubble3D val="0"/>
            <c:spPr>
              <a:solidFill>
                <a:srgbClr val="AEABAB"/>
              </a:solidFill>
            </c:spPr>
            <c:extLst>
              <c:ext xmlns:c16="http://schemas.microsoft.com/office/drawing/2014/chart" uri="{C3380CC4-5D6E-409C-BE32-E72D297353CC}">
                <c16:uniqueId val="{00000075-2993-41DE-A2CB-63102DE87051}"/>
              </c:ext>
            </c:extLst>
          </c:dPt>
          <c:dPt>
            <c:idx val="31"/>
            <c:invertIfNegative val="1"/>
            <c:bubble3D val="0"/>
            <c:spPr>
              <a:solidFill>
                <a:srgbClr val="AEABAB"/>
              </a:solidFill>
            </c:spPr>
            <c:extLst>
              <c:ext xmlns:c16="http://schemas.microsoft.com/office/drawing/2014/chart" uri="{C3380CC4-5D6E-409C-BE32-E72D297353CC}">
                <c16:uniqueId val="{00000077-2993-41DE-A2CB-63102DE87051}"/>
              </c:ext>
            </c:extLst>
          </c:dPt>
          <c:dPt>
            <c:idx val="32"/>
            <c:invertIfNegative val="1"/>
            <c:bubble3D val="0"/>
            <c:spPr>
              <a:solidFill>
                <a:srgbClr val="AEABAB"/>
              </a:solidFill>
            </c:spPr>
            <c:extLst>
              <c:ext xmlns:c16="http://schemas.microsoft.com/office/drawing/2014/chart" uri="{C3380CC4-5D6E-409C-BE32-E72D297353CC}">
                <c16:uniqueId val="{00000079-2993-41DE-A2CB-63102DE87051}"/>
              </c:ext>
            </c:extLst>
          </c:dPt>
          <c:dPt>
            <c:idx val="33"/>
            <c:invertIfNegative val="1"/>
            <c:bubble3D val="0"/>
            <c:spPr>
              <a:solidFill>
                <a:srgbClr val="AEABAB"/>
              </a:solidFill>
            </c:spPr>
            <c:extLst>
              <c:ext xmlns:c16="http://schemas.microsoft.com/office/drawing/2014/chart" uri="{C3380CC4-5D6E-409C-BE32-E72D297353CC}">
                <c16:uniqueId val="{0000007B-2993-41DE-A2CB-63102DE87051}"/>
              </c:ext>
            </c:extLst>
          </c:dPt>
          <c:dPt>
            <c:idx val="34"/>
            <c:invertIfNegative val="1"/>
            <c:bubble3D val="0"/>
            <c:spPr>
              <a:solidFill>
                <a:srgbClr val="AEABAB"/>
              </a:solidFill>
            </c:spPr>
            <c:extLst>
              <c:ext xmlns:c16="http://schemas.microsoft.com/office/drawing/2014/chart" uri="{C3380CC4-5D6E-409C-BE32-E72D297353CC}">
                <c16:uniqueId val="{0000007D-2993-41DE-A2CB-63102DE87051}"/>
              </c:ext>
            </c:extLst>
          </c:dPt>
          <c:dPt>
            <c:idx val="35"/>
            <c:invertIfNegative val="1"/>
            <c:bubble3D val="0"/>
            <c:spPr>
              <a:solidFill>
                <a:srgbClr val="AEABAB"/>
              </a:solidFill>
            </c:spPr>
            <c:extLst>
              <c:ext xmlns:c16="http://schemas.microsoft.com/office/drawing/2014/chart" uri="{C3380CC4-5D6E-409C-BE32-E72D297353CC}">
                <c16:uniqueId val="{0000007F-2993-41DE-A2CB-63102DE87051}"/>
              </c:ext>
            </c:extLst>
          </c:dPt>
          <c:dPt>
            <c:idx val="36"/>
            <c:invertIfNegative val="1"/>
            <c:bubble3D val="0"/>
            <c:spPr>
              <a:solidFill>
                <a:srgbClr val="AEABAB"/>
              </a:solidFill>
            </c:spPr>
            <c:extLst>
              <c:ext xmlns:c16="http://schemas.microsoft.com/office/drawing/2014/chart" uri="{C3380CC4-5D6E-409C-BE32-E72D297353CC}">
                <c16:uniqueId val="{00000081-2993-41DE-A2CB-63102DE87051}"/>
              </c:ext>
            </c:extLst>
          </c:dPt>
          <c:dPt>
            <c:idx val="37"/>
            <c:invertIfNegative val="1"/>
            <c:bubble3D val="0"/>
            <c:spPr>
              <a:solidFill>
                <a:srgbClr val="AEABAB"/>
              </a:solidFill>
            </c:spPr>
            <c:extLst>
              <c:ext xmlns:c16="http://schemas.microsoft.com/office/drawing/2014/chart" uri="{C3380CC4-5D6E-409C-BE32-E72D297353CC}">
                <c16:uniqueId val="{00000083-2993-41DE-A2CB-63102DE87051}"/>
              </c:ext>
            </c:extLst>
          </c:dPt>
          <c:dPt>
            <c:idx val="38"/>
            <c:invertIfNegative val="1"/>
            <c:bubble3D val="0"/>
            <c:spPr>
              <a:solidFill>
                <a:srgbClr val="AEABAB"/>
              </a:solidFill>
            </c:spPr>
            <c:extLst>
              <c:ext xmlns:c16="http://schemas.microsoft.com/office/drawing/2014/chart" uri="{C3380CC4-5D6E-409C-BE32-E72D297353CC}">
                <c16:uniqueId val="{00000085-2993-41DE-A2CB-63102DE87051}"/>
              </c:ext>
            </c:extLst>
          </c:dPt>
          <c:dPt>
            <c:idx val="39"/>
            <c:invertIfNegative val="1"/>
            <c:bubble3D val="0"/>
            <c:spPr>
              <a:solidFill>
                <a:srgbClr val="AEABAB"/>
              </a:solidFill>
            </c:spPr>
            <c:extLst>
              <c:ext xmlns:c16="http://schemas.microsoft.com/office/drawing/2014/chart" uri="{C3380CC4-5D6E-409C-BE32-E72D297353CC}">
                <c16:uniqueId val="{00000087-2993-41DE-A2CB-63102DE87051}"/>
              </c:ext>
            </c:extLst>
          </c:dPt>
          <c:dPt>
            <c:idx val="40"/>
            <c:invertIfNegative val="1"/>
            <c:bubble3D val="0"/>
            <c:spPr>
              <a:solidFill>
                <a:srgbClr val="AEABAB"/>
              </a:solidFill>
            </c:spPr>
            <c:extLst>
              <c:ext xmlns:c16="http://schemas.microsoft.com/office/drawing/2014/chart" uri="{C3380CC4-5D6E-409C-BE32-E72D297353CC}">
                <c16:uniqueId val="{00000089-2993-41DE-A2CB-63102DE87051}"/>
              </c:ext>
            </c:extLst>
          </c:dPt>
          <c:dPt>
            <c:idx val="41"/>
            <c:invertIfNegative val="1"/>
            <c:bubble3D val="0"/>
            <c:spPr>
              <a:solidFill>
                <a:srgbClr val="AEABAB"/>
              </a:solidFill>
            </c:spPr>
            <c:extLst>
              <c:ext xmlns:c16="http://schemas.microsoft.com/office/drawing/2014/chart" uri="{C3380CC4-5D6E-409C-BE32-E72D297353CC}">
                <c16:uniqueId val="{0000008B-2993-41DE-A2CB-63102DE87051}"/>
              </c:ext>
            </c:extLst>
          </c:dPt>
          <c:dPt>
            <c:idx val="42"/>
            <c:invertIfNegative val="1"/>
            <c:bubble3D val="0"/>
            <c:spPr>
              <a:solidFill>
                <a:srgbClr val="AEABAB"/>
              </a:solidFill>
            </c:spPr>
            <c:extLst>
              <c:ext xmlns:c16="http://schemas.microsoft.com/office/drawing/2014/chart" uri="{C3380CC4-5D6E-409C-BE32-E72D297353CC}">
                <c16:uniqueId val="{0000008D-2993-41DE-A2CB-63102DE87051}"/>
              </c:ext>
            </c:extLst>
          </c:dPt>
          <c:dPt>
            <c:idx val="43"/>
            <c:invertIfNegative val="1"/>
            <c:bubble3D val="0"/>
            <c:spPr>
              <a:solidFill>
                <a:srgbClr val="AEABAB"/>
              </a:solidFill>
            </c:spPr>
            <c:extLst>
              <c:ext xmlns:c16="http://schemas.microsoft.com/office/drawing/2014/chart" uri="{C3380CC4-5D6E-409C-BE32-E72D297353CC}">
                <c16:uniqueId val="{0000008F-2993-41DE-A2CB-63102DE87051}"/>
              </c:ext>
            </c:extLst>
          </c:dPt>
          <c:dPt>
            <c:idx val="44"/>
            <c:invertIfNegative val="1"/>
            <c:bubble3D val="0"/>
            <c:spPr>
              <a:solidFill>
                <a:srgbClr val="AEABAB"/>
              </a:solidFill>
            </c:spPr>
            <c:extLst>
              <c:ext xmlns:c16="http://schemas.microsoft.com/office/drawing/2014/chart" uri="{C3380CC4-5D6E-409C-BE32-E72D297353CC}">
                <c16:uniqueId val="{00000091-2993-41DE-A2CB-63102DE87051}"/>
              </c:ext>
            </c:extLst>
          </c:dPt>
          <c:dPt>
            <c:idx val="45"/>
            <c:invertIfNegative val="1"/>
            <c:bubble3D val="0"/>
            <c:spPr>
              <a:solidFill>
                <a:srgbClr val="AEABAB"/>
              </a:solidFill>
            </c:spPr>
            <c:extLst>
              <c:ext xmlns:c16="http://schemas.microsoft.com/office/drawing/2014/chart" uri="{C3380CC4-5D6E-409C-BE32-E72D297353CC}">
                <c16:uniqueId val="{00000093-2993-41DE-A2CB-63102DE87051}"/>
              </c:ext>
            </c:extLst>
          </c:dPt>
          <c:dPt>
            <c:idx val="46"/>
            <c:invertIfNegative val="1"/>
            <c:bubble3D val="0"/>
            <c:spPr>
              <a:solidFill>
                <a:srgbClr val="AEABAB"/>
              </a:solidFill>
            </c:spPr>
            <c:extLst>
              <c:ext xmlns:c16="http://schemas.microsoft.com/office/drawing/2014/chart" uri="{C3380CC4-5D6E-409C-BE32-E72D297353CC}">
                <c16:uniqueId val="{00000095-2993-41DE-A2CB-63102DE87051}"/>
              </c:ext>
            </c:extLst>
          </c:dPt>
          <c:dPt>
            <c:idx val="47"/>
            <c:invertIfNegative val="1"/>
            <c:bubble3D val="0"/>
            <c:spPr>
              <a:solidFill>
                <a:srgbClr val="AEABAB"/>
              </a:solidFill>
            </c:spPr>
            <c:extLst>
              <c:ext xmlns:c16="http://schemas.microsoft.com/office/drawing/2014/chart" uri="{C3380CC4-5D6E-409C-BE32-E72D297353CC}">
                <c16:uniqueId val="{00000097-2993-41DE-A2CB-63102DE87051}"/>
              </c:ext>
            </c:extLst>
          </c:dPt>
          <c:dPt>
            <c:idx val="48"/>
            <c:invertIfNegative val="1"/>
            <c:bubble3D val="0"/>
            <c:spPr>
              <a:solidFill>
                <a:srgbClr val="AEABAB"/>
              </a:solidFill>
            </c:spPr>
            <c:extLst>
              <c:ext xmlns:c16="http://schemas.microsoft.com/office/drawing/2014/chart" uri="{C3380CC4-5D6E-409C-BE32-E72D297353CC}">
                <c16:uniqueId val="{00000099-2993-41DE-A2CB-63102DE87051}"/>
              </c:ext>
            </c:extLst>
          </c:dPt>
          <c:dPt>
            <c:idx val="49"/>
            <c:invertIfNegative val="1"/>
            <c:bubble3D val="0"/>
            <c:spPr>
              <a:solidFill>
                <a:srgbClr val="AEABAB"/>
              </a:solidFill>
            </c:spPr>
            <c:extLst>
              <c:ext xmlns:c16="http://schemas.microsoft.com/office/drawing/2014/chart" uri="{C3380CC4-5D6E-409C-BE32-E72D297353CC}">
                <c16:uniqueId val="{0000009B-2993-41DE-A2CB-63102DE87051}"/>
              </c:ext>
            </c:extLst>
          </c:dPt>
          <c:dPt>
            <c:idx val="50"/>
            <c:invertIfNegative val="1"/>
            <c:bubble3D val="0"/>
            <c:spPr>
              <a:solidFill>
                <a:srgbClr val="AEABAB"/>
              </a:solidFill>
            </c:spPr>
            <c:extLst>
              <c:ext xmlns:c16="http://schemas.microsoft.com/office/drawing/2014/chart" uri="{C3380CC4-5D6E-409C-BE32-E72D297353CC}">
                <c16:uniqueId val="{0000009D-2993-41DE-A2CB-63102DE87051}"/>
              </c:ext>
            </c:extLst>
          </c:dPt>
          <c:dPt>
            <c:idx val="51"/>
            <c:invertIfNegative val="1"/>
            <c:bubble3D val="0"/>
            <c:spPr>
              <a:solidFill>
                <a:srgbClr val="AEABAB"/>
              </a:solidFill>
            </c:spPr>
            <c:extLst>
              <c:ext xmlns:c16="http://schemas.microsoft.com/office/drawing/2014/chart" uri="{C3380CC4-5D6E-409C-BE32-E72D297353CC}">
                <c16:uniqueId val="{0000009F-2993-41DE-A2CB-63102DE87051}"/>
              </c:ext>
            </c:extLst>
          </c:dPt>
          <c:dPt>
            <c:idx val="52"/>
            <c:invertIfNegative val="1"/>
            <c:bubble3D val="0"/>
            <c:spPr>
              <a:solidFill>
                <a:srgbClr val="AEABAB"/>
              </a:solidFill>
            </c:spPr>
            <c:extLst>
              <c:ext xmlns:c16="http://schemas.microsoft.com/office/drawing/2014/chart" uri="{C3380CC4-5D6E-409C-BE32-E72D297353CC}">
                <c16:uniqueId val="{000000A1-2993-41DE-A2CB-63102DE87051}"/>
              </c:ext>
            </c:extLst>
          </c:dPt>
          <c:dPt>
            <c:idx val="53"/>
            <c:invertIfNegative val="1"/>
            <c:bubble3D val="0"/>
            <c:spPr>
              <a:solidFill>
                <a:srgbClr val="AEABAB"/>
              </a:solidFill>
            </c:spPr>
            <c:extLst>
              <c:ext xmlns:c16="http://schemas.microsoft.com/office/drawing/2014/chart" uri="{C3380CC4-5D6E-409C-BE32-E72D297353CC}">
                <c16:uniqueId val="{000000A3-2993-41DE-A2CB-63102DE87051}"/>
              </c:ext>
            </c:extLst>
          </c:dPt>
          <c:dPt>
            <c:idx val="54"/>
            <c:invertIfNegative val="0"/>
            <c:bubble3D val="0"/>
            <c:spPr>
              <a:solidFill>
                <a:srgbClr val="AEABAB"/>
              </a:solidFill>
            </c:spPr>
            <c:extLst>
              <c:ext xmlns:c16="http://schemas.microsoft.com/office/drawing/2014/chart" uri="{C3380CC4-5D6E-409C-BE32-E72D297353CC}">
                <c16:uniqueId val="{00000072-C76F-4230-900D-40618C09729F}"/>
              </c:ext>
            </c:extLst>
          </c:dPt>
          <c:dPt>
            <c:idx val="55"/>
            <c:invertIfNegative val="0"/>
            <c:bubble3D val="0"/>
            <c:spPr>
              <a:solidFill>
                <a:srgbClr val="AEABAB"/>
              </a:solidFill>
            </c:spPr>
            <c:extLst>
              <c:ext xmlns:c16="http://schemas.microsoft.com/office/drawing/2014/chart" uri="{C3380CC4-5D6E-409C-BE32-E72D297353CC}">
                <c16:uniqueId val="{00000074-C76F-4230-900D-40618C09729F}"/>
              </c:ext>
            </c:extLst>
          </c:dPt>
          <c:dPt>
            <c:idx val="56"/>
            <c:invertIfNegative val="0"/>
            <c:bubble3D val="0"/>
            <c:spPr>
              <a:solidFill>
                <a:srgbClr val="AEABAB"/>
              </a:solidFill>
            </c:spPr>
            <c:extLst>
              <c:ext xmlns:c16="http://schemas.microsoft.com/office/drawing/2014/chart" uri="{C3380CC4-5D6E-409C-BE32-E72D297353CC}">
                <c16:uniqueId val="{00000076-C76F-4230-900D-40618C09729F}"/>
              </c:ext>
            </c:extLst>
          </c:dPt>
          <c:dPt>
            <c:idx val="57"/>
            <c:invertIfNegative val="0"/>
            <c:bubble3D val="0"/>
            <c:spPr>
              <a:solidFill>
                <a:srgbClr val="AEABAB"/>
              </a:solidFill>
            </c:spPr>
            <c:extLst>
              <c:ext xmlns:c16="http://schemas.microsoft.com/office/drawing/2014/chart" uri="{C3380CC4-5D6E-409C-BE32-E72D297353CC}">
                <c16:uniqueId val="{00000078-C76F-4230-900D-40618C09729F}"/>
              </c:ext>
            </c:extLst>
          </c:dPt>
          <c:dPt>
            <c:idx val="58"/>
            <c:invertIfNegative val="0"/>
            <c:bubble3D val="0"/>
            <c:spPr>
              <a:solidFill>
                <a:srgbClr val="AEABAB"/>
              </a:solidFill>
            </c:spPr>
            <c:extLst>
              <c:ext xmlns:c16="http://schemas.microsoft.com/office/drawing/2014/chart" uri="{C3380CC4-5D6E-409C-BE32-E72D297353CC}">
                <c16:uniqueId val="{0000007A-C76F-4230-900D-40618C09729F}"/>
              </c:ext>
            </c:extLst>
          </c:dPt>
          <c:dPt>
            <c:idx val="59"/>
            <c:invertIfNegative val="0"/>
            <c:bubble3D val="0"/>
            <c:spPr>
              <a:solidFill>
                <a:srgbClr val="AEABAB"/>
              </a:solidFill>
            </c:spPr>
            <c:extLst>
              <c:ext xmlns:c16="http://schemas.microsoft.com/office/drawing/2014/chart" uri="{C3380CC4-5D6E-409C-BE32-E72D297353CC}">
                <c16:uniqueId val="{0000007C-C76F-4230-900D-40618C09729F}"/>
              </c:ext>
            </c:extLst>
          </c:dPt>
          <c:dPt>
            <c:idx val="60"/>
            <c:invertIfNegative val="0"/>
            <c:bubble3D val="0"/>
            <c:spPr>
              <a:solidFill>
                <a:srgbClr val="AEABAB"/>
              </a:solidFill>
            </c:spPr>
            <c:extLst>
              <c:ext xmlns:c16="http://schemas.microsoft.com/office/drawing/2014/chart" uri="{C3380CC4-5D6E-409C-BE32-E72D297353CC}">
                <c16:uniqueId val="{0000007E-C76F-4230-900D-40618C09729F}"/>
              </c:ext>
            </c:extLst>
          </c:dPt>
          <c:dPt>
            <c:idx val="61"/>
            <c:invertIfNegative val="0"/>
            <c:bubble3D val="0"/>
            <c:spPr>
              <a:solidFill>
                <a:srgbClr val="AEABAB"/>
              </a:solidFill>
            </c:spPr>
            <c:extLst>
              <c:ext xmlns:c16="http://schemas.microsoft.com/office/drawing/2014/chart" uri="{C3380CC4-5D6E-409C-BE32-E72D297353CC}">
                <c16:uniqueId val="{00000080-C76F-4230-900D-40618C09729F}"/>
              </c:ext>
            </c:extLst>
          </c:dPt>
          <c:dPt>
            <c:idx val="62"/>
            <c:invertIfNegative val="0"/>
            <c:bubble3D val="0"/>
            <c:spPr>
              <a:solidFill>
                <a:srgbClr val="AEABAB"/>
              </a:solidFill>
            </c:spPr>
            <c:extLst>
              <c:ext xmlns:c16="http://schemas.microsoft.com/office/drawing/2014/chart" uri="{C3380CC4-5D6E-409C-BE32-E72D297353CC}">
                <c16:uniqueId val="{00000082-C76F-4230-900D-40618C09729F}"/>
              </c:ext>
            </c:extLst>
          </c:dPt>
          <c:dPt>
            <c:idx val="63"/>
            <c:invertIfNegative val="0"/>
            <c:bubble3D val="0"/>
            <c:spPr>
              <a:solidFill>
                <a:srgbClr val="AEABAB"/>
              </a:solidFill>
            </c:spPr>
            <c:extLst>
              <c:ext xmlns:c16="http://schemas.microsoft.com/office/drawing/2014/chart" uri="{C3380CC4-5D6E-409C-BE32-E72D297353CC}">
                <c16:uniqueId val="{00000084-C76F-4230-900D-40618C09729F}"/>
              </c:ext>
            </c:extLst>
          </c:dPt>
          <c:dPt>
            <c:idx val="64"/>
            <c:invertIfNegative val="0"/>
            <c:bubble3D val="0"/>
            <c:spPr>
              <a:solidFill>
                <a:srgbClr val="AEABAB"/>
              </a:solidFill>
            </c:spPr>
            <c:extLst>
              <c:ext xmlns:c16="http://schemas.microsoft.com/office/drawing/2014/chart" uri="{C3380CC4-5D6E-409C-BE32-E72D297353CC}">
                <c16:uniqueId val="{00000086-C76F-4230-900D-40618C09729F}"/>
              </c:ext>
            </c:extLst>
          </c:dPt>
          <c:dPt>
            <c:idx val="65"/>
            <c:invertIfNegative val="0"/>
            <c:bubble3D val="0"/>
            <c:spPr>
              <a:solidFill>
                <a:srgbClr val="AEABAB"/>
              </a:solidFill>
            </c:spPr>
            <c:extLst>
              <c:ext xmlns:c16="http://schemas.microsoft.com/office/drawing/2014/chart" uri="{C3380CC4-5D6E-409C-BE32-E72D297353CC}">
                <c16:uniqueId val="{00000088-C76F-4230-900D-40618C09729F}"/>
              </c:ext>
            </c:extLst>
          </c:dPt>
          <c:dPt>
            <c:idx val="66"/>
            <c:invertIfNegative val="0"/>
            <c:bubble3D val="0"/>
            <c:spPr>
              <a:solidFill>
                <a:srgbClr val="AEABAB"/>
              </a:solidFill>
            </c:spPr>
            <c:extLst>
              <c:ext xmlns:c16="http://schemas.microsoft.com/office/drawing/2014/chart" uri="{C3380CC4-5D6E-409C-BE32-E72D297353CC}">
                <c16:uniqueId val="{0000008A-C76F-4230-900D-40618C09729F}"/>
              </c:ext>
            </c:extLst>
          </c:dPt>
          <c:dPt>
            <c:idx val="67"/>
            <c:invertIfNegative val="0"/>
            <c:bubble3D val="0"/>
            <c:spPr>
              <a:solidFill>
                <a:srgbClr val="AEABAB"/>
              </a:solidFill>
            </c:spPr>
            <c:extLst>
              <c:ext xmlns:c16="http://schemas.microsoft.com/office/drawing/2014/chart" uri="{C3380CC4-5D6E-409C-BE32-E72D297353CC}">
                <c16:uniqueId val="{0000008C-C76F-4230-900D-40618C09729F}"/>
              </c:ext>
            </c:extLst>
          </c:dPt>
          <c:dPt>
            <c:idx val="68"/>
            <c:invertIfNegative val="0"/>
            <c:bubble3D val="0"/>
            <c:spPr>
              <a:solidFill>
                <a:srgbClr val="AEABAB"/>
              </a:solidFill>
            </c:spPr>
            <c:extLst>
              <c:ext xmlns:c16="http://schemas.microsoft.com/office/drawing/2014/chart" uri="{C3380CC4-5D6E-409C-BE32-E72D297353CC}">
                <c16:uniqueId val="{0000008E-C76F-4230-900D-40618C09729F}"/>
              </c:ext>
            </c:extLst>
          </c:dPt>
          <c:dPt>
            <c:idx val="69"/>
            <c:invertIfNegative val="0"/>
            <c:bubble3D val="0"/>
            <c:spPr>
              <a:solidFill>
                <a:srgbClr val="AEABAB"/>
              </a:solidFill>
            </c:spPr>
            <c:extLst>
              <c:ext xmlns:c16="http://schemas.microsoft.com/office/drawing/2014/chart" uri="{C3380CC4-5D6E-409C-BE32-E72D297353CC}">
                <c16:uniqueId val="{00000090-C76F-4230-900D-40618C09729F}"/>
              </c:ext>
            </c:extLst>
          </c:dPt>
          <c:dPt>
            <c:idx val="70"/>
            <c:invertIfNegative val="0"/>
            <c:bubble3D val="0"/>
            <c:spPr>
              <a:solidFill>
                <a:srgbClr val="AEABAB"/>
              </a:solidFill>
            </c:spPr>
            <c:extLst>
              <c:ext xmlns:c16="http://schemas.microsoft.com/office/drawing/2014/chart" uri="{C3380CC4-5D6E-409C-BE32-E72D297353CC}">
                <c16:uniqueId val="{00000092-C76F-4230-900D-40618C09729F}"/>
              </c:ext>
            </c:extLst>
          </c:dPt>
          <c:dPt>
            <c:idx val="71"/>
            <c:invertIfNegative val="0"/>
            <c:bubble3D val="0"/>
            <c:spPr>
              <a:solidFill>
                <a:srgbClr val="AEABAB"/>
              </a:solidFill>
            </c:spPr>
            <c:extLst>
              <c:ext xmlns:c16="http://schemas.microsoft.com/office/drawing/2014/chart" uri="{C3380CC4-5D6E-409C-BE32-E72D297353CC}">
                <c16:uniqueId val="{00000094-C76F-4230-900D-40618C09729F}"/>
              </c:ext>
            </c:extLst>
          </c:dPt>
          <c:dPt>
            <c:idx val="72"/>
            <c:invertIfNegative val="0"/>
            <c:bubble3D val="0"/>
            <c:spPr>
              <a:solidFill>
                <a:srgbClr val="AEABAB"/>
              </a:solidFill>
            </c:spPr>
            <c:extLst>
              <c:ext xmlns:c16="http://schemas.microsoft.com/office/drawing/2014/chart" uri="{C3380CC4-5D6E-409C-BE32-E72D297353CC}">
                <c16:uniqueId val="{00000096-C76F-4230-900D-40618C09729F}"/>
              </c:ext>
            </c:extLst>
          </c:dPt>
          <c:dPt>
            <c:idx val="73"/>
            <c:invertIfNegative val="0"/>
            <c:bubble3D val="0"/>
            <c:spPr>
              <a:solidFill>
                <a:srgbClr val="AEABAB"/>
              </a:solidFill>
            </c:spPr>
            <c:extLst>
              <c:ext xmlns:c16="http://schemas.microsoft.com/office/drawing/2014/chart" uri="{C3380CC4-5D6E-409C-BE32-E72D297353CC}">
                <c16:uniqueId val="{00000098-C76F-4230-900D-40618C09729F}"/>
              </c:ext>
            </c:extLst>
          </c:dPt>
          <c:dPt>
            <c:idx val="74"/>
            <c:invertIfNegative val="0"/>
            <c:bubble3D val="0"/>
            <c:spPr>
              <a:solidFill>
                <a:srgbClr val="AEABAB"/>
              </a:solidFill>
            </c:spPr>
            <c:extLst>
              <c:ext xmlns:c16="http://schemas.microsoft.com/office/drawing/2014/chart" uri="{C3380CC4-5D6E-409C-BE32-E72D297353CC}">
                <c16:uniqueId val="{0000009A-C76F-4230-900D-40618C09729F}"/>
              </c:ext>
            </c:extLst>
          </c:dPt>
          <c:dPt>
            <c:idx val="75"/>
            <c:invertIfNegative val="0"/>
            <c:bubble3D val="0"/>
            <c:spPr>
              <a:solidFill>
                <a:srgbClr val="AEABAB"/>
              </a:solidFill>
            </c:spPr>
            <c:extLst>
              <c:ext xmlns:c16="http://schemas.microsoft.com/office/drawing/2014/chart" uri="{C3380CC4-5D6E-409C-BE32-E72D297353CC}">
                <c16:uniqueId val="{0000009C-C76F-4230-900D-40618C09729F}"/>
              </c:ext>
            </c:extLst>
          </c:dPt>
          <c:dPt>
            <c:idx val="76"/>
            <c:invertIfNegative val="0"/>
            <c:bubble3D val="0"/>
            <c:spPr>
              <a:solidFill>
                <a:srgbClr val="AEABAB"/>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78</c:f>
              <c:strCache>
                <c:ptCount val="77"/>
                <c:pt idx="0">
                  <c:v>Ruinart</c:v>
                </c:pt>
                <c:pt idx="1">
                  <c:v>Deutz</c:v>
                </c:pt>
                <c:pt idx="2">
                  <c:v>Demoiselle</c:v>
                </c:pt>
                <c:pt idx="3">
                  <c:v>Laurent Per</c:v>
                </c:pt>
                <c:pt idx="4">
                  <c:v>Ruinart</c:v>
                </c:pt>
                <c:pt idx="5">
                  <c:v>Nicolas</c:v>
                </c:pt>
                <c:pt idx="6">
                  <c:v>Nicolas Feu</c:v>
                </c:pt>
                <c:pt idx="7">
                  <c:v>Malard</c:v>
                </c:pt>
                <c:pt idx="8">
                  <c:v>Besserat De</c:v>
                </c:pt>
                <c:pt idx="9">
                  <c:v>Pommery</c:v>
                </c:pt>
                <c:pt idx="10">
                  <c:v>Ruinart</c:v>
                </c:pt>
                <c:pt idx="11">
                  <c:v>Dom Perigno</c:v>
                </c:pt>
                <c:pt idx="12">
                  <c:v>Ruinart</c:v>
                </c:pt>
                <c:pt idx="13">
                  <c:v>Bollinger</c:v>
                </c:pt>
                <c:pt idx="14">
                  <c:v>Deutz</c:v>
                </c:pt>
                <c:pt idx="15">
                  <c:v>Roederer</c:v>
                </c:pt>
                <c:pt idx="16">
                  <c:v>Nicolas</c:v>
                </c:pt>
                <c:pt idx="17">
                  <c:v>Nicolas</c:v>
                </c:pt>
                <c:pt idx="18">
                  <c:v>Besserat De</c:v>
                </c:pt>
                <c:pt idx="19">
                  <c:v>Perrier Jou</c:v>
                </c:pt>
                <c:pt idx="20">
                  <c:v>Veuve Clicq</c:v>
                </c:pt>
                <c:pt idx="21">
                  <c:v>Demoiselle</c:v>
                </c:pt>
                <c:pt idx="22">
                  <c:v>Nicolas</c:v>
                </c:pt>
                <c:pt idx="23">
                  <c:v>Deutz</c:v>
                </c:pt>
                <c:pt idx="24">
                  <c:v>Nicolas</c:v>
                </c:pt>
                <c:pt idx="25">
                  <c:v>Ruinart</c:v>
                </c:pt>
                <c:pt idx="26">
                  <c:v>Krug</c:v>
                </c:pt>
                <c:pt idx="27">
                  <c:v>All Others</c:v>
                </c:pt>
                <c:pt idx="28">
                  <c:v>Henriot</c:v>
                </c:pt>
                <c:pt idx="29">
                  <c:v>Laurent Per</c:v>
                </c:pt>
                <c:pt idx="30">
                  <c:v>Moët &amp; Chan</c:v>
                </c:pt>
                <c:pt idx="31">
                  <c:v>Roederer</c:v>
                </c:pt>
                <c:pt idx="32">
                  <c:v>Veuve Clicq</c:v>
                </c:pt>
                <c:pt idx="33">
                  <c:v>Perrier Jou</c:v>
                </c:pt>
                <c:pt idx="34">
                  <c:v>Dom Perigno</c:v>
                </c:pt>
                <c:pt idx="35">
                  <c:v>Moët &amp; Chan</c:v>
                </c:pt>
                <c:pt idx="36">
                  <c:v>Bollinger</c:v>
                </c:pt>
                <c:pt idx="37">
                  <c:v>Dom Perigno</c:v>
                </c:pt>
                <c:pt idx="38">
                  <c:v>Deutz</c:v>
                </c:pt>
                <c:pt idx="39">
                  <c:v>Ruinart</c:v>
                </c:pt>
                <c:pt idx="40">
                  <c:v>Roederer</c:v>
                </c:pt>
                <c:pt idx="41">
                  <c:v>All Others</c:v>
                </c:pt>
                <c:pt idx="42">
                  <c:v>Ruinart</c:v>
                </c:pt>
                <c:pt idx="43">
                  <c:v>Dom Perigno</c:v>
                </c:pt>
                <c:pt idx="44">
                  <c:v>De Bligny</c:v>
                </c:pt>
                <c:pt idx="45">
                  <c:v>Ayala</c:v>
                </c:pt>
                <c:pt idx="46">
                  <c:v>Moët &amp; Chan</c:v>
                </c:pt>
                <c:pt idx="47">
                  <c:v>Laurent Per</c:v>
                </c:pt>
                <c:pt idx="48">
                  <c:v>Deutz</c:v>
                </c:pt>
                <c:pt idx="49">
                  <c:v>Taittinger</c:v>
                </c:pt>
                <c:pt idx="50">
                  <c:v>Dom Perigno</c:v>
                </c:pt>
                <c:pt idx="51">
                  <c:v>Roederer</c:v>
                </c:pt>
                <c:pt idx="52">
                  <c:v>Demoiselle</c:v>
                </c:pt>
                <c:pt idx="53">
                  <c:v>Piper Heids</c:v>
                </c:pt>
                <c:pt idx="54">
                  <c:v>Roederer</c:v>
                </c:pt>
                <c:pt idx="55">
                  <c:v>Roederer</c:v>
                </c:pt>
                <c:pt idx="56">
                  <c:v>Laurent Per</c:v>
                </c:pt>
                <c:pt idx="57">
                  <c:v>Laurent Per</c:v>
                </c:pt>
                <c:pt idx="58">
                  <c:v>Ruinart</c:v>
                </c:pt>
                <c:pt idx="59">
                  <c:v>Dom Perigno</c:v>
                </c:pt>
                <c:pt idx="60">
                  <c:v>Laurent Per</c:v>
                </c:pt>
                <c:pt idx="61">
                  <c:v>All Others</c:v>
                </c:pt>
                <c:pt idx="62">
                  <c:v>Taittinger</c:v>
                </c:pt>
                <c:pt idx="63">
                  <c:v>Dom Perigno</c:v>
                </c:pt>
                <c:pt idx="64">
                  <c:v>Roederer</c:v>
                </c:pt>
                <c:pt idx="65">
                  <c:v>All Others</c:v>
                </c:pt>
                <c:pt idx="66">
                  <c:v>All Others</c:v>
                </c:pt>
                <c:pt idx="67">
                  <c:v>Bollinger</c:v>
                </c:pt>
                <c:pt idx="68">
                  <c:v>All Others</c:v>
                </c:pt>
                <c:pt idx="69">
                  <c:v>Veuve Clicq</c:v>
                </c:pt>
                <c:pt idx="70">
                  <c:v>Besserat De</c:v>
                </c:pt>
                <c:pt idx="71">
                  <c:v>Moët &amp; Chan</c:v>
                </c:pt>
                <c:pt idx="72">
                  <c:v>Henriot</c:v>
                </c:pt>
                <c:pt idx="73">
                  <c:v>All Others</c:v>
                </c:pt>
                <c:pt idx="74">
                  <c:v>Demoiselle</c:v>
                </c:pt>
                <c:pt idx="75">
                  <c:v>Vranken Pom</c:v>
                </c:pt>
                <c:pt idx="76">
                  <c:v>Pommery</c:v>
                </c:pt>
              </c:strCache>
            </c:strRef>
          </c:cat>
          <c:val>
            <c:numRef>
              <c:f>Sheet1!$C$2:$C$78</c:f>
              <c:numCache>
                <c:formatCode>General</c:formatCode>
                <c:ptCount val="77"/>
                <c:pt idx="0">
                  <c:v>0.16255543114459689</c:v>
                </c:pt>
                <c:pt idx="1">
                  <c:v>0.27832835197243705</c:v>
                </c:pt>
                <c:pt idx="2">
                  <c:v>0.37399030091958924</c:v>
                </c:pt>
                <c:pt idx="3">
                  <c:v>0.46536535705608334</c:v>
                </c:pt>
                <c:pt idx="4">
                  <c:v>0.54497075306145004</c:v>
                </c:pt>
                <c:pt idx="5">
                  <c:v>0.60985428062044644</c:v>
                </c:pt>
                <c:pt idx="6">
                  <c:v>0.66512127114940967</c:v>
                </c:pt>
                <c:pt idx="7">
                  <c:v>0.70738511430392859</c:v>
                </c:pt>
                <c:pt idx="8">
                  <c:v>0.74537512235773751</c:v>
                </c:pt>
                <c:pt idx="9">
                  <c:v>0.78261128083543241</c:v>
                </c:pt>
                <c:pt idx="10">
                  <c:v>0.80950993015524231</c:v>
                </c:pt>
                <c:pt idx="11">
                  <c:v>0.83402438154255409</c:v>
                </c:pt>
                <c:pt idx="12">
                  <c:v>0.85671821508566581</c:v>
                </c:pt>
                <c:pt idx="13">
                  <c:v>0.8788067305033237</c:v>
                </c:pt>
                <c:pt idx="14">
                  <c:v>0.89913432046511588</c:v>
                </c:pt>
                <c:pt idx="15">
                  <c:v>0.91921731153877206</c:v>
                </c:pt>
                <c:pt idx="16">
                  <c:v>0.93380836971226888</c:v>
                </c:pt>
                <c:pt idx="17">
                  <c:v>0.94527257269996623</c:v>
                </c:pt>
                <c:pt idx="18">
                  <c:v>0.95496629012272871</c:v>
                </c:pt>
                <c:pt idx="19">
                  <c:v>0.96214966280795811</c:v>
                </c:pt>
                <c:pt idx="20">
                  <c:v>0.96908237409686138</c:v>
                </c:pt>
                <c:pt idx="21">
                  <c:v>0.97381882520716312</c:v>
                </c:pt>
                <c:pt idx="22">
                  <c:v>0.97745516425433265</c:v>
                </c:pt>
                <c:pt idx="23">
                  <c:v>0.98017583139138775</c:v>
                </c:pt>
                <c:pt idx="24">
                  <c:v>0.98238841370742447</c:v>
                </c:pt>
                <c:pt idx="25">
                  <c:v>0.98419853874898766</c:v>
                </c:pt>
                <c:pt idx="26">
                  <c:v>0.98581443035507199</c:v>
                </c:pt>
                <c:pt idx="27">
                  <c:v>0.98732539393478724</c:v>
                </c:pt>
                <c:pt idx="28">
                  <c:v>0.98882423249812201</c:v>
                </c:pt>
                <c:pt idx="29">
                  <c:v>0.98989939500831747</c:v>
                </c:pt>
                <c:pt idx="30">
                  <c:v>0.99065114602390414</c:v>
                </c:pt>
                <c:pt idx="31">
                  <c:v>0.99132268539266644</c:v>
                </c:pt>
                <c:pt idx="32">
                  <c:v>0.99197766945060162</c:v>
                </c:pt>
                <c:pt idx="33">
                  <c:v>0.99258392026962317</c:v>
                </c:pt>
                <c:pt idx="34">
                  <c:v>0.99317618068512881</c:v>
                </c:pt>
                <c:pt idx="35">
                  <c:v>0.99374419106787359</c:v>
                </c:pt>
                <c:pt idx="36">
                  <c:v>0.99426206917135318</c:v>
                </c:pt>
                <c:pt idx="37">
                  <c:v>0.99470626448298238</c:v>
                </c:pt>
                <c:pt idx="38">
                  <c:v>0.99512970736272977</c:v>
                </c:pt>
                <c:pt idx="39">
                  <c:v>0.99549345785414267</c:v>
                </c:pt>
                <c:pt idx="40">
                  <c:v>0.99583155927244316</c:v>
                </c:pt>
                <c:pt idx="41">
                  <c:v>0.99615497076705195</c:v>
                </c:pt>
                <c:pt idx="42">
                  <c:v>0.99646952167276737</c:v>
                </c:pt>
                <c:pt idx="43">
                  <c:v>0.99672881048459505</c:v>
                </c:pt>
                <c:pt idx="44">
                  <c:v>0.99696454878383767</c:v>
                </c:pt>
                <c:pt idx="45">
                  <c:v>0.99718023417137414</c:v>
                </c:pt>
                <c:pt idx="46">
                  <c:v>0.99739452051855904</c:v>
                </c:pt>
                <c:pt idx="47">
                  <c:v>0.9975822250990638</c:v>
                </c:pt>
                <c:pt idx="48">
                  <c:v>0.99775943687693158</c:v>
                </c:pt>
                <c:pt idx="49">
                  <c:v>0.99791542987613369</c:v>
                </c:pt>
                <c:pt idx="50">
                  <c:v>0.99806349498001012</c:v>
                </c:pt>
                <c:pt idx="51">
                  <c:v>0.99820759613622367</c:v>
                </c:pt>
                <c:pt idx="52">
                  <c:v>0.99834726699799059</c:v>
                </c:pt>
                <c:pt idx="53">
                  <c:v>0.99848670468636558</c:v>
                </c:pt>
                <c:pt idx="54">
                  <c:v>0.99862614237474057</c:v>
                </c:pt>
                <c:pt idx="55">
                  <c:v>0.99876208246223652</c:v>
                </c:pt>
                <c:pt idx="56">
                  <c:v>0.99888216675908115</c:v>
                </c:pt>
                <c:pt idx="57">
                  <c:v>0.99900201788253384</c:v>
                </c:pt>
                <c:pt idx="58">
                  <c:v>0.99911394111066087</c:v>
                </c:pt>
                <c:pt idx="59">
                  <c:v>0.99920254699959477</c:v>
                </c:pt>
                <c:pt idx="60">
                  <c:v>0.99928135960606757</c:v>
                </c:pt>
                <c:pt idx="61">
                  <c:v>0.99935947269236458</c:v>
                </c:pt>
                <c:pt idx="62">
                  <c:v>0.9994375857786616</c:v>
                </c:pt>
                <c:pt idx="63">
                  <c:v>0.99950637192928138</c:v>
                </c:pt>
                <c:pt idx="64">
                  <c:v>0.99957072778545442</c:v>
                </c:pt>
                <c:pt idx="65">
                  <c:v>0.99963251873431624</c:v>
                </c:pt>
                <c:pt idx="66">
                  <c:v>0.99973931214782075</c:v>
                </c:pt>
                <c:pt idx="67">
                  <c:v>0.99978827856012631</c:v>
                </c:pt>
                <c:pt idx="68">
                  <c:v>0.99981159589931945</c:v>
                </c:pt>
                <c:pt idx="69">
                  <c:v>0.99983351419816102</c:v>
                </c:pt>
                <c:pt idx="70">
                  <c:v>0.9998531007630832</c:v>
                </c:pt>
                <c:pt idx="71">
                  <c:v>0.99987128828765381</c:v>
                </c:pt>
                <c:pt idx="72">
                  <c:v>0.99990626429644347</c:v>
                </c:pt>
                <c:pt idx="73">
                  <c:v>0.99993890857131384</c:v>
                </c:pt>
                <c:pt idx="74">
                  <c:v>0.99997038697922458</c:v>
                </c:pt>
                <c:pt idx="75">
                  <c:v>0.99998321151578085</c:v>
                </c:pt>
                <c:pt idx="76">
                  <c:v>0.9999918389312823</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44</c:f>
              <c:strCache>
                <c:ptCount val="43"/>
                <c:pt idx="0">
                  <c:v>Ruinart</c:v>
                </c:pt>
                <c:pt idx="1">
                  <c:v>Deutz</c:v>
                </c:pt>
                <c:pt idx="2">
                  <c:v>Demoiselle</c:v>
                </c:pt>
                <c:pt idx="3">
                  <c:v>Laurent Per</c:v>
                </c:pt>
                <c:pt idx="4">
                  <c:v>Ruinart</c:v>
                </c:pt>
                <c:pt idx="5">
                  <c:v>Nicolas</c:v>
                </c:pt>
                <c:pt idx="6">
                  <c:v>Nicolas Feu</c:v>
                </c:pt>
                <c:pt idx="7">
                  <c:v>Malard</c:v>
                </c:pt>
                <c:pt idx="8">
                  <c:v>Besserat De</c:v>
                </c:pt>
                <c:pt idx="9">
                  <c:v>Pommery</c:v>
                </c:pt>
                <c:pt idx="10">
                  <c:v>Dom Perigno</c:v>
                </c:pt>
                <c:pt idx="11">
                  <c:v>Deutz</c:v>
                </c:pt>
                <c:pt idx="12">
                  <c:v>Bollinger</c:v>
                </c:pt>
                <c:pt idx="13">
                  <c:v>Ruinart</c:v>
                </c:pt>
                <c:pt idx="14">
                  <c:v>Roederer</c:v>
                </c:pt>
                <c:pt idx="15">
                  <c:v>Ruinart</c:v>
                </c:pt>
                <c:pt idx="16">
                  <c:v>Nicolas</c:v>
                </c:pt>
                <c:pt idx="17">
                  <c:v>Perrier Jou</c:v>
                </c:pt>
                <c:pt idx="18">
                  <c:v>Veuve Clicq</c:v>
                </c:pt>
                <c:pt idx="19">
                  <c:v>Nicolas</c:v>
                </c:pt>
                <c:pt idx="20">
                  <c:v>Besserat De</c:v>
                </c:pt>
                <c:pt idx="21">
                  <c:v>Demoiselle</c:v>
                </c:pt>
                <c:pt idx="22">
                  <c:v>Nicolas</c:v>
                </c:pt>
                <c:pt idx="23">
                  <c:v>Nicolas</c:v>
                </c:pt>
                <c:pt idx="24">
                  <c:v>Ruinart</c:v>
                </c:pt>
                <c:pt idx="25">
                  <c:v>Henriot</c:v>
                </c:pt>
                <c:pt idx="26">
                  <c:v>Krug</c:v>
                </c:pt>
                <c:pt idx="27">
                  <c:v>Deutz</c:v>
                </c:pt>
                <c:pt idx="28">
                  <c:v>Laurent Per</c:v>
                </c:pt>
                <c:pt idx="29">
                  <c:v>Veuve Clicq</c:v>
                </c:pt>
                <c:pt idx="30">
                  <c:v>Bollinger</c:v>
                </c:pt>
                <c:pt idx="31">
                  <c:v>Deutz</c:v>
                </c:pt>
                <c:pt idx="32">
                  <c:v>Dom Perigno</c:v>
                </c:pt>
                <c:pt idx="33">
                  <c:v>Ruinart</c:v>
                </c:pt>
                <c:pt idx="34">
                  <c:v>Perrier Jou</c:v>
                </c:pt>
                <c:pt idx="35">
                  <c:v>Ruinart</c:v>
                </c:pt>
                <c:pt idx="36">
                  <c:v>Laurent Per</c:v>
                </c:pt>
                <c:pt idx="37">
                  <c:v>All Others</c:v>
                </c:pt>
                <c:pt idx="38">
                  <c:v>Bollinger</c:v>
                </c:pt>
                <c:pt idx="39">
                  <c:v>Laurent Per</c:v>
                </c:pt>
                <c:pt idx="40">
                  <c:v>Veuve Clicq</c:v>
                </c:pt>
                <c:pt idx="41">
                  <c:v>Ayala</c:v>
                </c:pt>
                <c:pt idx="42">
                  <c:v>Moët &amp; Chan</c:v>
                </c:pt>
              </c:strCache>
            </c:strRef>
          </c:cat>
          <c:val>
            <c:numRef>
              <c:f>Sheet1!$B$2:$B$44</c:f>
              <c:numCache>
                <c:formatCode>General</c:formatCode>
                <c:ptCount val="43"/>
                <c:pt idx="0">
                  <c:v>0.64</c:v>
                </c:pt>
                <c:pt idx="1">
                  <c:v>0.72</c:v>
                </c:pt>
                <c:pt idx="2">
                  <c:v>0.79</c:v>
                </c:pt>
                <c:pt idx="3">
                  <c:v>0.54</c:v>
                </c:pt>
                <c:pt idx="4">
                  <c:v>0.46</c:v>
                </c:pt>
                <c:pt idx="5">
                  <c:v>0.6</c:v>
                </c:pt>
                <c:pt idx="6">
                  <c:v>0.55000000000000004</c:v>
                </c:pt>
                <c:pt idx="7">
                  <c:v>0.48</c:v>
                </c:pt>
                <c:pt idx="8">
                  <c:v>0.33</c:v>
                </c:pt>
                <c:pt idx="9">
                  <c:v>0.41</c:v>
                </c:pt>
                <c:pt idx="10">
                  <c:v>0.25</c:v>
                </c:pt>
                <c:pt idx="11">
                  <c:v>0.4</c:v>
                </c:pt>
                <c:pt idx="12">
                  <c:v>0.14000000000000001</c:v>
                </c:pt>
                <c:pt idx="13">
                  <c:v>0.28000000000000003</c:v>
                </c:pt>
                <c:pt idx="14">
                  <c:v>0.17</c:v>
                </c:pt>
                <c:pt idx="15">
                  <c:v>0.13</c:v>
                </c:pt>
                <c:pt idx="16">
                  <c:v>0.32</c:v>
                </c:pt>
                <c:pt idx="17">
                  <c:v>0.25</c:v>
                </c:pt>
                <c:pt idx="18">
                  <c:v>0.17</c:v>
                </c:pt>
                <c:pt idx="19">
                  <c:v>0.25</c:v>
                </c:pt>
                <c:pt idx="20">
                  <c:v>0.26</c:v>
                </c:pt>
                <c:pt idx="21">
                  <c:v>0.15</c:v>
                </c:pt>
                <c:pt idx="22">
                  <c:v>0.08</c:v>
                </c:pt>
                <c:pt idx="23">
                  <c:v>0.04</c:v>
                </c:pt>
                <c:pt idx="24">
                  <c:v>0.01</c:v>
                </c:pt>
                <c:pt idx="25">
                  <c:v>0.05</c:v>
                </c:pt>
                <c:pt idx="26">
                  <c:v>0.01</c:v>
                </c:pt>
                <c:pt idx="27">
                  <c:v>0.03</c:v>
                </c:pt>
                <c:pt idx="28">
                  <c:v>0.02</c:v>
                </c:pt>
                <c:pt idx="29">
                  <c:v>0.01</c:v>
                </c:pt>
                <c:pt idx="30">
                  <c:v>0.02</c:v>
                </c:pt>
                <c:pt idx="31">
                  <c:v>0.02</c:v>
                </c:pt>
                <c:pt idx="32">
                  <c:v>0.01</c:v>
                </c:pt>
                <c:pt idx="33">
                  <c:v>0.01</c:v>
                </c:pt>
                <c:pt idx="34">
                  <c:v>0.01</c:v>
                </c:pt>
                <c:pt idx="35">
                  <c:v>0.01</c:v>
                </c:pt>
                <c:pt idx="36">
                  <c:v>0.01</c:v>
                </c:pt>
                <c:pt idx="37">
                  <c:v>0.01</c:v>
                </c:pt>
                <c:pt idx="38">
                  <c:v>0.01</c:v>
                </c:pt>
                <c:pt idx="39">
                  <c:v>0.01</c:v>
                </c:pt>
                <c:pt idx="40">
                  <c:v>0.01</c:v>
                </c:pt>
                <c:pt idx="41">
                  <c:v>0.01</c:v>
                </c:pt>
                <c:pt idx="42">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7ECAC4"/>
              </a:solidFill>
            </c:spPr>
            <c:extLst>
              <c:ext xmlns:c16="http://schemas.microsoft.com/office/drawing/2014/chart" uri="{C3380CC4-5D6E-409C-BE32-E72D297353CC}">
                <c16:uniqueId val="{00000051-2993-41DE-A2CB-63102DE87051}"/>
              </c:ext>
            </c:extLst>
          </c:dPt>
          <c:dPt>
            <c:idx val="13"/>
            <c:invertIfNegative val="1"/>
            <c:bubble3D val="0"/>
            <c:spPr>
              <a:solidFill>
                <a:srgbClr val="7ECAC4"/>
              </a:solidFill>
            </c:spPr>
            <c:extLst>
              <c:ext xmlns:c16="http://schemas.microsoft.com/office/drawing/2014/chart" uri="{C3380CC4-5D6E-409C-BE32-E72D297353CC}">
                <c16:uniqueId val="{00000053-2993-41DE-A2CB-63102DE87051}"/>
              </c:ext>
            </c:extLst>
          </c:dPt>
          <c:dPt>
            <c:idx val="14"/>
            <c:invertIfNegative val="1"/>
            <c:bubble3D val="0"/>
            <c:spPr>
              <a:solidFill>
                <a:srgbClr val="7ECAC4"/>
              </a:solidFill>
            </c:spPr>
            <c:extLst>
              <c:ext xmlns:c16="http://schemas.microsoft.com/office/drawing/2014/chart" uri="{C3380CC4-5D6E-409C-BE32-E72D297353CC}">
                <c16:uniqueId val="{00000055-2993-41DE-A2CB-63102DE87051}"/>
              </c:ext>
            </c:extLst>
          </c:dPt>
          <c:dPt>
            <c:idx val="15"/>
            <c:invertIfNegative val="1"/>
            <c:bubble3D val="0"/>
            <c:spPr>
              <a:solidFill>
                <a:srgbClr val="7ECAC4"/>
              </a:solidFill>
            </c:spPr>
            <c:extLst>
              <c:ext xmlns:c16="http://schemas.microsoft.com/office/drawing/2014/chart" uri="{C3380CC4-5D6E-409C-BE32-E72D297353CC}">
                <c16:uniqueId val="{00000057-2993-41DE-A2CB-63102DE87051}"/>
              </c:ext>
            </c:extLst>
          </c:dPt>
          <c:dPt>
            <c:idx val="16"/>
            <c:invertIfNegative val="1"/>
            <c:bubble3D val="0"/>
            <c:spPr>
              <a:solidFill>
                <a:srgbClr val="7ECAC4"/>
              </a:solidFill>
            </c:spPr>
            <c:extLst>
              <c:ext xmlns:c16="http://schemas.microsoft.com/office/drawing/2014/chart" uri="{C3380CC4-5D6E-409C-BE32-E72D297353CC}">
                <c16:uniqueId val="{00000059-2993-41DE-A2CB-63102DE87051}"/>
              </c:ext>
            </c:extLst>
          </c:dPt>
          <c:dPt>
            <c:idx val="17"/>
            <c:invertIfNegative val="1"/>
            <c:bubble3D val="0"/>
            <c:spPr>
              <a:solidFill>
                <a:srgbClr val="7ECAC4"/>
              </a:solidFill>
            </c:spPr>
            <c:extLst>
              <c:ext xmlns:c16="http://schemas.microsoft.com/office/drawing/2014/chart" uri="{C3380CC4-5D6E-409C-BE32-E72D297353CC}">
                <c16:uniqueId val="{0000005B-2993-41DE-A2CB-63102DE87051}"/>
              </c:ext>
            </c:extLst>
          </c:dPt>
          <c:dPt>
            <c:idx val="18"/>
            <c:invertIfNegative val="1"/>
            <c:bubble3D val="0"/>
            <c:spPr>
              <a:solidFill>
                <a:srgbClr val="AEABAB"/>
              </a:solidFill>
            </c:spPr>
            <c:extLst>
              <c:ext xmlns:c16="http://schemas.microsoft.com/office/drawing/2014/chart" uri="{C3380CC4-5D6E-409C-BE32-E72D297353CC}">
                <c16:uniqueId val="{0000005D-2993-41DE-A2CB-63102DE87051}"/>
              </c:ext>
            </c:extLst>
          </c:dPt>
          <c:dPt>
            <c:idx val="19"/>
            <c:invertIfNegative val="1"/>
            <c:bubble3D val="0"/>
            <c:spPr>
              <a:solidFill>
                <a:srgbClr val="AEABAB"/>
              </a:solidFill>
            </c:spPr>
            <c:extLst>
              <c:ext xmlns:c16="http://schemas.microsoft.com/office/drawing/2014/chart" uri="{C3380CC4-5D6E-409C-BE32-E72D297353CC}">
                <c16:uniqueId val="{0000005F-2993-41DE-A2CB-63102DE87051}"/>
              </c:ext>
            </c:extLst>
          </c:dPt>
          <c:dPt>
            <c:idx val="20"/>
            <c:invertIfNegative val="1"/>
            <c:bubble3D val="0"/>
            <c:spPr>
              <a:solidFill>
                <a:srgbClr val="AEABAB"/>
              </a:solidFill>
            </c:spPr>
            <c:extLst>
              <c:ext xmlns:c16="http://schemas.microsoft.com/office/drawing/2014/chart" uri="{C3380CC4-5D6E-409C-BE32-E72D297353CC}">
                <c16:uniqueId val="{00000061-2993-41DE-A2CB-63102DE87051}"/>
              </c:ext>
            </c:extLst>
          </c:dPt>
          <c:dPt>
            <c:idx val="21"/>
            <c:invertIfNegative val="1"/>
            <c:bubble3D val="0"/>
            <c:spPr>
              <a:solidFill>
                <a:srgbClr val="AEABAB"/>
              </a:solidFill>
            </c:spPr>
            <c:extLst>
              <c:ext xmlns:c16="http://schemas.microsoft.com/office/drawing/2014/chart" uri="{C3380CC4-5D6E-409C-BE32-E72D297353CC}">
                <c16:uniqueId val="{00000063-2993-41DE-A2CB-63102DE87051}"/>
              </c:ext>
            </c:extLst>
          </c:dPt>
          <c:dPt>
            <c:idx val="22"/>
            <c:invertIfNegative val="1"/>
            <c:bubble3D val="0"/>
            <c:spPr>
              <a:solidFill>
                <a:srgbClr val="AEABAB"/>
              </a:solidFill>
            </c:spPr>
            <c:extLst>
              <c:ext xmlns:c16="http://schemas.microsoft.com/office/drawing/2014/chart" uri="{C3380CC4-5D6E-409C-BE32-E72D297353CC}">
                <c16:uniqueId val="{00000065-2993-41DE-A2CB-63102DE87051}"/>
              </c:ext>
            </c:extLst>
          </c:dPt>
          <c:dPt>
            <c:idx val="23"/>
            <c:invertIfNegative val="1"/>
            <c:bubble3D val="0"/>
            <c:spPr>
              <a:solidFill>
                <a:srgbClr val="AEABAB"/>
              </a:solidFill>
            </c:spPr>
            <c:extLst>
              <c:ext xmlns:c16="http://schemas.microsoft.com/office/drawing/2014/chart" uri="{C3380CC4-5D6E-409C-BE32-E72D297353CC}">
                <c16:uniqueId val="{00000067-2993-41DE-A2CB-63102DE87051}"/>
              </c:ext>
            </c:extLst>
          </c:dPt>
          <c:dPt>
            <c:idx val="24"/>
            <c:invertIfNegative val="1"/>
            <c:bubble3D val="0"/>
            <c:spPr>
              <a:solidFill>
                <a:srgbClr val="AEABAB"/>
              </a:solidFill>
            </c:spPr>
            <c:extLst>
              <c:ext xmlns:c16="http://schemas.microsoft.com/office/drawing/2014/chart" uri="{C3380CC4-5D6E-409C-BE32-E72D297353CC}">
                <c16:uniqueId val="{00000069-2993-41DE-A2CB-63102DE87051}"/>
              </c:ext>
            </c:extLst>
          </c:dPt>
          <c:dPt>
            <c:idx val="25"/>
            <c:invertIfNegative val="1"/>
            <c:bubble3D val="0"/>
            <c:spPr>
              <a:solidFill>
                <a:srgbClr val="AEABAB"/>
              </a:solidFill>
            </c:spPr>
            <c:extLst>
              <c:ext xmlns:c16="http://schemas.microsoft.com/office/drawing/2014/chart" uri="{C3380CC4-5D6E-409C-BE32-E72D297353CC}">
                <c16:uniqueId val="{0000006B-2993-41DE-A2CB-63102DE87051}"/>
              </c:ext>
            </c:extLst>
          </c:dPt>
          <c:dPt>
            <c:idx val="26"/>
            <c:invertIfNegative val="1"/>
            <c:bubble3D val="0"/>
            <c:spPr>
              <a:solidFill>
                <a:srgbClr val="AEABAB"/>
              </a:solidFill>
            </c:spPr>
            <c:extLst>
              <c:ext xmlns:c16="http://schemas.microsoft.com/office/drawing/2014/chart" uri="{C3380CC4-5D6E-409C-BE32-E72D297353CC}">
                <c16:uniqueId val="{0000006D-2993-41DE-A2CB-63102DE87051}"/>
              </c:ext>
            </c:extLst>
          </c:dPt>
          <c:dPt>
            <c:idx val="27"/>
            <c:invertIfNegative val="1"/>
            <c:bubble3D val="0"/>
            <c:spPr>
              <a:solidFill>
                <a:srgbClr val="AEABAB"/>
              </a:solidFill>
            </c:spPr>
            <c:extLst>
              <c:ext xmlns:c16="http://schemas.microsoft.com/office/drawing/2014/chart" uri="{C3380CC4-5D6E-409C-BE32-E72D297353CC}">
                <c16:uniqueId val="{0000006F-2993-41DE-A2CB-63102DE87051}"/>
              </c:ext>
            </c:extLst>
          </c:dPt>
          <c:dPt>
            <c:idx val="28"/>
            <c:invertIfNegative val="1"/>
            <c:bubble3D val="0"/>
            <c:spPr>
              <a:solidFill>
                <a:srgbClr val="AEABAB"/>
              </a:solidFill>
            </c:spPr>
            <c:extLst>
              <c:ext xmlns:c16="http://schemas.microsoft.com/office/drawing/2014/chart" uri="{C3380CC4-5D6E-409C-BE32-E72D297353CC}">
                <c16:uniqueId val="{00000071-2993-41DE-A2CB-63102DE87051}"/>
              </c:ext>
            </c:extLst>
          </c:dPt>
          <c:dPt>
            <c:idx val="29"/>
            <c:invertIfNegative val="1"/>
            <c:bubble3D val="0"/>
            <c:spPr>
              <a:solidFill>
                <a:srgbClr val="AEABAB"/>
              </a:solidFill>
            </c:spPr>
            <c:extLst>
              <c:ext xmlns:c16="http://schemas.microsoft.com/office/drawing/2014/chart" uri="{C3380CC4-5D6E-409C-BE32-E72D297353CC}">
                <c16:uniqueId val="{00000073-2993-41DE-A2CB-63102DE87051}"/>
              </c:ext>
            </c:extLst>
          </c:dPt>
          <c:dPt>
            <c:idx val="30"/>
            <c:invertIfNegative val="1"/>
            <c:bubble3D val="0"/>
            <c:spPr>
              <a:solidFill>
                <a:srgbClr val="AEABAB"/>
              </a:solidFill>
            </c:spPr>
            <c:extLst>
              <c:ext xmlns:c16="http://schemas.microsoft.com/office/drawing/2014/chart" uri="{C3380CC4-5D6E-409C-BE32-E72D297353CC}">
                <c16:uniqueId val="{00000075-2993-41DE-A2CB-63102DE87051}"/>
              </c:ext>
            </c:extLst>
          </c:dPt>
          <c:dPt>
            <c:idx val="31"/>
            <c:invertIfNegative val="1"/>
            <c:bubble3D val="0"/>
            <c:spPr>
              <a:solidFill>
                <a:srgbClr val="AEABAB"/>
              </a:solidFill>
            </c:spPr>
            <c:extLst>
              <c:ext xmlns:c16="http://schemas.microsoft.com/office/drawing/2014/chart" uri="{C3380CC4-5D6E-409C-BE32-E72D297353CC}">
                <c16:uniqueId val="{00000077-2993-41DE-A2CB-63102DE87051}"/>
              </c:ext>
            </c:extLst>
          </c:dPt>
          <c:dPt>
            <c:idx val="32"/>
            <c:invertIfNegative val="1"/>
            <c:bubble3D val="0"/>
            <c:spPr>
              <a:solidFill>
                <a:srgbClr val="AEABAB"/>
              </a:solidFill>
            </c:spPr>
            <c:extLst>
              <c:ext xmlns:c16="http://schemas.microsoft.com/office/drawing/2014/chart" uri="{C3380CC4-5D6E-409C-BE32-E72D297353CC}">
                <c16:uniqueId val="{00000079-2993-41DE-A2CB-63102DE87051}"/>
              </c:ext>
            </c:extLst>
          </c:dPt>
          <c:dPt>
            <c:idx val="33"/>
            <c:invertIfNegative val="1"/>
            <c:bubble3D val="0"/>
            <c:spPr>
              <a:solidFill>
                <a:srgbClr val="AEABAB"/>
              </a:solidFill>
            </c:spPr>
            <c:extLst>
              <c:ext xmlns:c16="http://schemas.microsoft.com/office/drawing/2014/chart" uri="{C3380CC4-5D6E-409C-BE32-E72D297353CC}">
                <c16:uniqueId val="{0000007B-2993-41DE-A2CB-63102DE87051}"/>
              </c:ext>
            </c:extLst>
          </c:dPt>
          <c:dPt>
            <c:idx val="34"/>
            <c:invertIfNegative val="1"/>
            <c:bubble3D val="0"/>
            <c:spPr>
              <a:solidFill>
                <a:srgbClr val="AEABAB"/>
              </a:solidFill>
            </c:spPr>
            <c:extLst>
              <c:ext xmlns:c16="http://schemas.microsoft.com/office/drawing/2014/chart" uri="{C3380CC4-5D6E-409C-BE32-E72D297353CC}">
                <c16:uniqueId val="{0000007D-2993-41DE-A2CB-63102DE87051}"/>
              </c:ext>
            </c:extLst>
          </c:dPt>
          <c:dPt>
            <c:idx val="35"/>
            <c:invertIfNegative val="1"/>
            <c:bubble3D val="0"/>
            <c:spPr>
              <a:solidFill>
                <a:srgbClr val="AEABAB"/>
              </a:solidFill>
            </c:spPr>
            <c:extLst>
              <c:ext xmlns:c16="http://schemas.microsoft.com/office/drawing/2014/chart" uri="{C3380CC4-5D6E-409C-BE32-E72D297353CC}">
                <c16:uniqueId val="{0000007F-2993-41DE-A2CB-63102DE87051}"/>
              </c:ext>
            </c:extLst>
          </c:dPt>
          <c:dPt>
            <c:idx val="36"/>
            <c:invertIfNegative val="1"/>
            <c:bubble3D val="0"/>
            <c:spPr>
              <a:solidFill>
                <a:srgbClr val="AEABAB"/>
              </a:solidFill>
            </c:spPr>
            <c:extLst>
              <c:ext xmlns:c16="http://schemas.microsoft.com/office/drawing/2014/chart" uri="{C3380CC4-5D6E-409C-BE32-E72D297353CC}">
                <c16:uniqueId val="{00000081-2993-41DE-A2CB-63102DE87051}"/>
              </c:ext>
            </c:extLst>
          </c:dPt>
          <c:dPt>
            <c:idx val="37"/>
            <c:invertIfNegative val="1"/>
            <c:bubble3D val="0"/>
            <c:spPr>
              <a:solidFill>
                <a:srgbClr val="AEABAB"/>
              </a:solidFill>
            </c:spPr>
            <c:extLst>
              <c:ext xmlns:c16="http://schemas.microsoft.com/office/drawing/2014/chart" uri="{C3380CC4-5D6E-409C-BE32-E72D297353CC}">
                <c16:uniqueId val="{00000083-2993-41DE-A2CB-63102DE87051}"/>
              </c:ext>
            </c:extLst>
          </c:dPt>
          <c:dPt>
            <c:idx val="38"/>
            <c:invertIfNegative val="1"/>
            <c:bubble3D val="0"/>
            <c:spPr>
              <a:solidFill>
                <a:srgbClr val="AEABAB"/>
              </a:solidFill>
            </c:spPr>
            <c:extLst>
              <c:ext xmlns:c16="http://schemas.microsoft.com/office/drawing/2014/chart" uri="{C3380CC4-5D6E-409C-BE32-E72D297353CC}">
                <c16:uniqueId val="{00000085-2993-41DE-A2CB-63102DE87051}"/>
              </c:ext>
            </c:extLst>
          </c:dPt>
          <c:dPt>
            <c:idx val="39"/>
            <c:invertIfNegative val="1"/>
            <c:bubble3D val="0"/>
            <c:spPr>
              <a:solidFill>
                <a:srgbClr val="AEABAB"/>
              </a:solidFill>
            </c:spPr>
            <c:extLst>
              <c:ext xmlns:c16="http://schemas.microsoft.com/office/drawing/2014/chart" uri="{C3380CC4-5D6E-409C-BE32-E72D297353CC}">
                <c16:uniqueId val="{00000087-2993-41DE-A2CB-63102DE87051}"/>
              </c:ext>
            </c:extLst>
          </c:dPt>
          <c:dPt>
            <c:idx val="40"/>
            <c:invertIfNegative val="1"/>
            <c:bubble3D val="0"/>
            <c:spPr>
              <a:solidFill>
                <a:srgbClr val="AEABAB"/>
              </a:solidFill>
            </c:spPr>
            <c:extLst>
              <c:ext xmlns:c16="http://schemas.microsoft.com/office/drawing/2014/chart" uri="{C3380CC4-5D6E-409C-BE32-E72D297353CC}">
                <c16:uniqueId val="{00000089-2993-41DE-A2CB-63102DE87051}"/>
              </c:ext>
            </c:extLst>
          </c:dPt>
          <c:dPt>
            <c:idx val="41"/>
            <c:invertIfNegative val="1"/>
            <c:bubble3D val="0"/>
            <c:spPr>
              <a:solidFill>
                <a:srgbClr val="AEABAB"/>
              </a:solidFill>
            </c:spPr>
            <c:extLst>
              <c:ext xmlns:c16="http://schemas.microsoft.com/office/drawing/2014/chart" uri="{C3380CC4-5D6E-409C-BE32-E72D297353CC}">
                <c16:uniqueId val="{0000008B-2993-41DE-A2CB-63102DE87051}"/>
              </c:ext>
            </c:extLst>
          </c:dPt>
          <c:dPt>
            <c:idx val="42"/>
            <c:invertIfNegative val="1"/>
            <c:bubble3D val="0"/>
            <c:spPr>
              <a:solidFill>
                <a:srgbClr val="AEABAB"/>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44</c:f>
              <c:strCache>
                <c:ptCount val="43"/>
                <c:pt idx="0">
                  <c:v>Ruinart</c:v>
                </c:pt>
                <c:pt idx="1">
                  <c:v>Deutz</c:v>
                </c:pt>
                <c:pt idx="2">
                  <c:v>Demoiselle</c:v>
                </c:pt>
                <c:pt idx="3">
                  <c:v>Laurent Per</c:v>
                </c:pt>
                <c:pt idx="4">
                  <c:v>Ruinart</c:v>
                </c:pt>
                <c:pt idx="5">
                  <c:v>Nicolas</c:v>
                </c:pt>
                <c:pt idx="6">
                  <c:v>Nicolas Feu</c:v>
                </c:pt>
                <c:pt idx="7">
                  <c:v>Malard</c:v>
                </c:pt>
                <c:pt idx="8">
                  <c:v>Besserat De</c:v>
                </c:pt>
                <c:pt idx="9">
                  <c:v>Pommery</c:v>
                </c:pt>
                <c:pt idx="10">
                  <c:v>Dom Perigno</c:v>
                </c:pt>
                <c:pt idx="11">
                  <c:v>Deutz</c:v>
                </c:pt>
                <c:pt idx="12">
                  <c:v>Bollinger</c:v>
                </c:pt>
                <c:pt idx="13">
                  <c:v>Ruinart</c:v>
                </c:pt>
                <c:pt idx="14">
                  <c:v>Roederer</c:v>
                </c:pt>
                <c:pt idx="15">
                  <c:v>Ruinart</c:v>
                </c:pt>
                <c:pt idx="16">
                  <c:v>Nicolas</c:v>
                </c:pt>
                <c:pt idx="17">
                  <c:v>Perrier Jou</c:v>
                </c:pt>
                <c:pt idx="18">
                  <c:v>Veuve Clicq</c:v>
                </c:pt>
                <c:pt idx="19">
                  <c:v>Nicolas</c:v>
                </c:pt>
                <c:pt idx="20">
                  <c:v>Besserat De</c:v>
                </c:pt>
                <c:pt idx="21">
                  <c:v>Demoiselle</c:v>
                </c:pt>
                <c:pt idx="22">
                  <c:v>Nicolas</c:v>
                </c:pt>
                <c:pt idx="23">
                  <c:v>Nicolas</c:v>
                </c:pt>
                <c:pt idx="24">
                  <c:v>Ruinart</c:v>
                </c:pt>
                <c:pt idx="25">
                  <c:v>Henriot</c:v>
                </c:pt>
                <c:pt idx="26">
                  <c:v>Krug</c:v>
                </c:pt>
                <c:pt idx="27">
                  <c:v>Deutz</c:v>
                </c:pt>
                <c:pt idx="28">
                  <c:v>Laurent Per</c:v>
                </c:pt>
                <c:pt idx="29">
                  <c:v>Veuve Clicq</c:v>
                </c:pt>
                <c:pt idx="30">
                  <c:v>Bollinger</c:v>
                </c:pt>
                <c:pt idx="31">
                  <c:v>Deutz</c:v>
                </c:pt>
                <c:pt idx="32">
                  <c:v>Dom Perigno</c:v>
                </c:pt>
                <c:pt idx="33">
                  <c:v>Ruinart</c:v>
                </c:pt>
                <c:pt idx="34">
                  <c:v>Perrier Jou</c:v>
                </c:pt>
                <c:pt idx="35">
                  <c:v>Ruinart</c:v>
                </c:pt>
                <c:pt idx="36">
                  <c:v>Laurent Per</c:v>
                </c:pt>
                <c:pt idx="37">
                  <c:v>All Others</c:v>
                </c:pt>
                <c:pt idx="38">
                  <c:v>Bollinger</c:v>
                </c:pt>
                <c:pt idx="39">
                  <c:v>Laurent Per</c:v>
                </c:pt>
                <c:pt idx="40">
                  <c:v>Veuve Clicq</c:v>
                </c:pt>
                <c:pt idx="41">
                  <c:v>Ayala</c:v>
                </c:pt>
                <c:pt idx="42">
                  <c:v>Moët &amp; Chan</c:v>
                </c:pt>
              </c:strCache>
            </c:strRef>
          </c:cat>
          <c:val>
            <c:numRef>
              <c:f>Sheet1!$C$2:$C$44</c:f>
              <c:numCache>
                <c:formatCode>General</c:formatCode>
                <c:ptCount val="43"/>
                <c:pt idx="0">
                  <c:v>0.15308589780880089</c:v>
                </c:pt>
                <c:pt idx="1">
                  <c:v>0.26597065191774766</c:v>
                </c:pt>
                <c:pt idx="2">
                  <c:v>0.36703371546809621</c:v>
                </c:pt>
                <c:pt idx="3">
                  <c:v>0.44826885832571217</c:v>
                </c:pt>
                <c:pt idx="4">
                  <c:v>0.51422229017037391</c:v>
                </c:pt>
                <c:pt idx="5">
                  <c:v>0.57954542318605573</c:v>
                </c:pt>
                <c:pt idx="6">
                  <c:v>0.63665369825906171</c:v>
                </c:pt>
                <c:pt idx="7">
                  <c:v>0.68429590046356226</c:v>
                </c:pt>
                <c:pt idx="8">
                  <c:v>0.72550541190470019</c:v>
                </c:pt>
                <c:pt idx="9">
                  <c:v>0.76174649072020206</c:v>
                </c:pt>
                <c:pt idx="10">
                  <c:v>0.79739976896401954</c:v>
                </c:pt>
                <c:pt idx="11">
                  <c:v>0.81998621290302298</c:v>
                </c:pt>
                <c:pt idx="12">
                  <c:v>0.84221942457359633</c:v>
                </c:pt>
                <c:pt idx="13">
                  <c:v>0.86410878670786984</c:v>
                </c:pt>
                <c:pt idx="14">
                  <c:v>0.88568907060726709</c:v>
                </c:pt>
                <c:pt idx="15">
                  <c:v>0.90726880258124487</c:v>
                </c:pt>
                <c:pt idx="16">
                  <c:v>0.9230472464716788</c:v>
                </c:pt>
                <c:pt idx="17">
                  <c:v>0.9384978466629762</c:v>
                </c:pt>
                <c:pt idx="18">
                  <c:v>0.95249964262829101</c:v>
                </c:pt>
                <c:pt idx="19">
                  <c:v>0.96527009298287547</c:v>
                </c:pt>
                <c:pt idx="20">
                  <c:v>0.97721044750664943</c:v>
                </c:pt>
                <c:pt idx="21">
                  <c:v>0.98250286035348622</c:v>
                </c:pt>
                <c:pt idx="22">
                  <c:v>0.98605339657662749</c:v>
                </c:pt>
                <c:pt idx="23">
                  <c:v>0.98817444596346593</c:v>
                </c:pt>
                <c:pt idx="24">
                  <c:v>0.99023919895752333</c:v>
                </c:pt>
                <c:pt idx="25">
                  <c:v>0.99193636962224574</c:v>
                </c:pt>
                <c:pt idx="26">
                  <c:v>0.99342380862758783</c:v>
                </c:pt>
                <c:pt idx="27">
                  <c:v>0.99489413794492787</c:v>
                </c:pt>
                <c:pt idx="28">
                  <c:v>0.99592955003176342</c:v>
                </c:pt>
                <c:pt idx="29">
                  <c:v>0.99673315344244173</c:v>
                </c:pt>
                <c:pt idx="30">
                  <c:v>0.99742692369465513</c:v>
                </c:pt>
                <c:pt idx="31">
                  <c:v>0.99784638701341577</c:v>
                </c:pt>
                <c:pt idx="32">
                  <c:v>0.99819685965474869</c:v>
                </c:pt>
                <c:pt idx="33">
                  <c:v>0.99849489938123648</c:v>
                </c:pt>
                <c:pt idx="34">
                  <c:v>0.99878190059933591</c:v>
                </c:pt>
                <c:pt idx="35">
                  <c:v>0.99900267076710469</c:v>
                </c:pt>
                <c:pt idx="36">
                  <c:v>0.99918039075215859</c:v>
                </c:pt>
                <c:pt idx="37">
                  <c:v>0.99943317259425379</c:v>
                </c:pt>
                <c:pt idx="38">
                  <c:v>0.99954907693233241</c:v>
                </c:pt>
                <c:pt idx="39">
                  <c:v>0.99964290425363411</c:v>
                </c:pt>
                <c:pt idx="40">
                  <c:v>0.99977536635429542</c:v>
                </c:pt>
                <c:pt idx="41">
                  <c:v>0.99988685528901866</c:v>
                </c:pt>
                <c:pt idx="42">
                  <c:v>0.99991997081418393</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40</c:f>
              <c:strCache>
                <c:ptCount val="39"/>
                <c:pt idx="0">
                  <c:v>Ruinart</c:v>
                </c:pt>
                <c:pt idx="1">
                  <c:v>Deutz</c:v>
                </c:pt>
                <c:pt idx="2">
                  <c:v>Demoiselle</c:v>
                </c:pt>
                <c:pt idx="3">
                  <c:v>Ruinart</c:v>
                </c:pt>
                <c:pt idx="4">
                  <c:v>Nicolas</c:v>
                </c:pt>
                <c:pt idx="5">
                  <c:v>Laurent Per</c:v>
                </c:pt>
                <c:pt idx="6">
                  <c:v>Nicolas Feu</c:v>
                </c:pt>
                <c:pt idx="7">
                  <c:v>Malard</c:v>
                </c:pt>
                <c:pt idx="8">
                  <c:v>Pommery</c:v>
                </c:pt>
                <c:pt idx="9">
                  <c:v>Besserat De</c:v>
                </c:pt>
                <c:pt idx="10">
                  <c:v>Ruinart</c:v>
                </c:pt>
                <c:pt idx="11">
                  <c:v>Deutz</c:v>
                </c:pt>
                <c:pt idx="12">
                  <c:v>Ruinart</c:v>
                </c:pt>
                <c:pt idx="13">
                  <c:v>Bollinger</c:v>
                </c:pt>
                <c:pt idx="14">
                  <c:v>Nicolas</c:v>
                </c:pt>
                <c:pt idx="15">
                  <c:v>Nicolas</c:v>
                </c:pt>
                <c:pt idx="16">
                  <c:v>Besserat De</c:v>
                </c:pt>
                <c:pt idx="17">
                  <c:v>Demoiselle</c:v>
                </c:pt>
                <c:pt idx="18">
                  <c:v>Dom Perigno</c:v>
                </c:pt>
                <c:pt idx="19">
                  <c:v>Nicolas</c:v>
                </c:pt>
                <c:pt idx="20">
                  <c:v>Deutz</c:v>
                </c:pt>
                <c:pt idx="21">
                  <c:v>Nicolas</c:v>
                </c:pt>
                <c:pt idx="22">
                  <c:v>Ruinart</c:v>
                </c:pt>
                <c:pt idx="23">
                  <c:v>Laurent Per</c:v>
                </c:pt>
                <c:pt idx="24">
                  <c:v>Henriot</c:v>
                </c:pt>
                <c:pt idx="25">
                  <c:v>De Bligny</c:v>
                </c:pt>
                <c:pt idx="26">
                  <c:v>Laurent Per</c:v>
                </c:pt>
                <c:pt idx="27">
                  <c:v>Demoiselle</c:v>
                </c:pt>
                <c:pt idx="28">
                  <c:v>All Others</c:v>
                </c:pt>
                <c:pt idx="29">
                  <c:v>Veuve Clicq</c:v>
                </c:pt>
                <c:pt idx="30">
                  <c:v>Deutz</c:v>
                </c:pt>
                <c:pt idx="31">
                  <c:v>Roederer</c:v>
                </c:pt>
                <c:pt idx="32">
                  <c:v>Laurent Per</c:v>
                </c:pt>
                <c:pt idx="33">
                  <c:v>Bollinger</c:v>
                </c:pt>
                <c:pt idx="34">
                  <c:v>Roederer</c:v>
                </c:pt>
                <c:pt idx="35">
                  <c:v>Perrier Jou</c:v>
                </c:pt>
                <c:pt idx="36">
                  <c:v>Moët &amp; Chan</c:v>
                </c:pt>
                <c:pt idx="37">
                  <c:v>Vranken Pom</c:v>
                </c:pt>
                <c:pt idx="38">
                  <c:v>All Others</c:v>
                </c:pt>
              </c:strCache>
            </c:strRef>
          </c:cat>
          <c:val>
            <c:numRef>
              <c:f>Sheet1!$B$2:$B$40</c:f>
              <c:numCache>
                <c:formatCode>General</c:formatCode>
                <c:ptCount val="39"/>
                <c:pt idx="0">
                  <c:v>0.68</c:v>
                </c:pt>
                <c:pt idx="1">
                  <c:v>0.63</c:v>
                </c:pt>
                <c:pt idx="2">
                  <c:v>0.75</c:v>
                </c:pt>
                <c:pt idx="3">
                  <c:v>0.43</c:v>
                </c:pt>
                <c:pt idx="4">
                  <c:v>0.61</c:v>
                </c:pt>
                <c:pt idx="5">
                  <c:v>0.48</c:v>
                </c:pt>
                <c:pt idx="6">
                  <c:v>0.42</c:v>
                </c:pt>
                <c:pt idx="7">
                  <c:v>0.36</c:v>
                </c:pt>
                <c:pt idx="8">
                  <c:v>0.43</c:v>
                </c:pt>
                <c:pt idx="9">
                  <c:v>0.35</c:v>
                </c:pt>
                <c:pt idx="10">
                  <c:v>0.11</c:v>
                </c:pt>
                <c:pt idx="11">
                  <c:v>0.45</c:v>
                </c:pt>
                <c:pt idx="12">
                  <c:v>0.26</c:v>
                </c:pt>
                <c:pt idx="13">
                  <c:v>0.12</c:v>
                </c:pt>
                <c:pt idx="14">
                  <c:v>0.28000000000000003</c:v>
                </c:pt>
                <c:pt idx="15">
                  <c:v>0.25</c:v>
                </c:pt>
                <c:pt idx="16">
                  <c:v>0.17</c:v>
                </c:pt>
                <c:pt idx="17">
                  <c:v>0.2</c:v>
                </c:pt>
                <c:pt idx="18">
                  <c:v>0.02</c:v>
                </c:pt>
                <c:pt idx="19">
                  <c:v>0.09</c:v>
                </c:pt>
                <c:pt idx="20">
                  <c:v>0.04</c:v>
                </c:pt>
                <c:pt idx="21">
                  <c:v>0.08</c:v>
                </c:pt>
                <c:pt idx="22">
                  <c:v>0.04</c:v>
                </c:pt>
                <c:pt idx="23">
                  <c:v>0.01</c:v>
                </c:pt>
                <c:pt idx="24">
                  <c:v>0.02</c:v>
                </c:pt>
                <c:pt idx="25">
                  <c:v>0.01</c:v>
                </c:pt>
                <c:pt idx="26">
                  <c:v>0.02</c:v>
                </c:pt>
                <c:pt idx="27">
                  <c:v>0.03</c:v>
                </c:pt>
                <c:pt idx="28">
                  <c:v>0.03</c:v>
                </c:pt>
                <c:pt idx="29">
                  <c:v>0.02</c:v>
                </c:pt>
                <c:pt idx="30">
                  <c:v>0.02</c:v>
                </c:pt>
                <c:pt idx="31">
                  <c:v>0.01</c:v>
                </c:pt>
                <c:pt idx="32">
                  <c:v>0.01</c:v>
                </c:pt>
                <c:pt idx="33">
                  <c:v>0.02</c:v>
                </c:pt>
                <c:pt idx="34">
                  <c:v>0.01</c:v>
                </c:pt>
                <c:pt idx="35">
                  <c:v>0.01</c:v>
                </c:pt>
                <c:pt idx="36">
                  <c:v>0.01</c:v>
                </c:pt>
                <c:pt idx="37">
                  <c:v>0.01</c:v>
                </c:pt>
                <c:pt idx="38">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7ECAC4"/>
              </a:solidFill>
            </c:spPr>
            <c:extLst>
              <c:ext xmlns:c16="http://schemas.microsoft.com/office/drawing/2014/chart" uri="{C3380CC4-5D6E-409C-BE32-E72D297353CC}">
                <c16:uniqueId val="{0000004B-2993-41DE-A2CB-63102DE87051}"/>
              </c:ext>
            </c:extLst>
          </c:dPt>
          <c:dPt>
            <c:idx val="10"/>
            <c:invertIfNegative val="1"/>
            <c:bubble3D val="0"/>
            <c:spPr>
              <a:solidFill>
                <a:srgbClr val="7ECAC4"/>
              </a:solidFill>
            </c:spPr>
            <c:extLst>
              <c:ext xmlns:c16="http://schemas.microsoft.com/office/drawing/2014/chart" uri="{C3380CC4-5D6E-409C-BE32-E72D297353CC}">
                <c16:uniqueId val="{0000004D-2993-41DE-A2CB-63102DE87051}"/>
              </c:ext>
            </c:extLst>
          </c:dPt>
          <c:dPt>
            <c:idx val="11"/>
            <c:invertIfNegative val="1"/>
            <c:bubble3D val="0"/>
            <c:spPr>
              <a:solidFill>
                <a:srgbClr val="7ECAC4"/>
              </a:solidFill>
            </c:spPr>
            <c:extLst>
              <c:ext xmlns:c16="http://schemas.microsoft.com/office/drawing/2014/chart" uri="{C3380CC4-5D6E-409C-BE32-E72D297353CC}">
                <c16:uniqueId val="{0000004F-2993-41DE-A2CB-63102DE87051}"/>
              </c:ext>
            </c:extLst>
          </c:dPt>
          <c:dPt>
            <c:idx val="12"/>
            <c:invertIfNegative val="1"/>
            <c:bubble3D val="0"/>
            <c:spPr>
              <a:solidFill>
                <a:srgbClr val="7ECAC4"/>
              </a:solidFill>
            </c:spPr>
            <c:extLst>
              <c:ext xmlns:c16="http://schemas.microsoft.com/office/drawing/2014/chart" uri="{C3380CC4-5D6E-409C-BE32-E72D297353CC}">
                <c16:uniqueId val="{00000051-2993-41DE-A2CB-63102DE87051}"/>
              </c:ext>
            </c:extLst>
          </c:dPt>
          <c:dPt>
            <c:idx val="13"/>
            <c:invertIfNegative val="1"/>
            <c:bubble3D val="0"/>
            <c:spPr>
              <a:solidFill>
                <a:srgbClr val="7ECAC4"/>
              </a:solidFill>
            </c:spPr>
            <c:extLst>
              <c:ext xmlns:c16="http://schemas.microsoft.com/office/drawing/2014/chart" uri="{C3380CC4-5D6E-409C-BE32-E72D297353CC}">
                <c16:uniqueId val="{00000053-2993-41DE-A2CB-63102DE87051}"/>
              </c:ext>
            </c:extLst>
          </c:dPt>
          <c:dPt>
            <c:idx val="14"/>
            <c:invertIfNegative val="1"/>
            <c:bubble3D val="0"/>
            <c:spPr>
              <a:solidFill>
                <a:srgbClr val="7ECAC4"/>
              </a:solidFill>
            </c:spPr>
            <c:extLst>
              <c:ext xmlns:c16="http://schemas.microsoft.com/office/drawing/2014/chart" uri="{C3380CC4-5D6E-409C-BE32-E72D297353CC}">
                <c16:uniqueId val="{00000055-2993-41DE-A2CB-63102DE87051}"/>
              </c:ext>
            </c:extLst>
          </c:dPt>
          <c:dPt>
            <c:idx val="15"/>
            <c:invertIfNegative val="1"/>
            <c:bubble3D val="0"/>
            <c:spPr>
              <a:solidFill>
                <a:srgbClr val="AEABAB"/>
              </a:solidFill>
            </c:spPr>
            <c:extLst>
              <c:ext xmlns:c16="http://schemas.microsoft.com/office/drawing/2014/chart" uri="{C3380CC4-5D6E-409C-BE32-E72D297353CC}">
                <c16:uniqueId val="{00000057-2993-41DE-A2CB-63102DE87051}"/>
              </c:ext>
            </c:extLst>
          </c:dPt>
          <c:dPt>
            <c:idx val="16"/>
            <c:invertIfNegative val="1"/>
            <c:bubble3D val="0"/>
            <c:spPr>
              <a:solidFill>
                <a:srgbClr val="AEABAB"/>
              </a:solidFill>
            </c:spPr>
            <c:extLst>
              <c:ext xmlns:c16="http://schemas.microsoft.com/office/drawing/2014/chart" uri="{C3380CC4-5D6E-409C-BE32-E72D297353CC}">
                <c16:uniqueId val="{00000059-2993-41DE-A2CB-63102DE87051}"/>
              </c:ext>
            </c:extLst>
          </c:dPt>
          <c:dPt>
            <c:idx val="17"/>
            <c:invertIfNegative val="1"/>
            <c:bubble3D val="0"/>
            <c:spPr>
              <a:solidFill>
                <a:srgbClr val="AEABAB"/>
              </a:solidFill>
            </c:spPr>
            <c:extLst>
              <c:ext xmlns:c16="http://schemas.microsoft.com/office/drawing/2014/chart" uri="{C3380CC4-5D6E-409C-BE32-E72D297353CC}">
                <c16:uniqueId val="{0000005B-2993-41DE-A2CB-63102DE87051}"/>
              </c:ext>
            </c:extLst>
          </c:dPt>
          <c:dPt>
            <c:idx val="18"/>
            <c:invertIfNegative val="1"/>
            <c:bubble3D val="0"/>
            <c:spPr>
              <a:solidFill>
                <a:srgbClr val="AEABAB"/>
              </a:solidFill>
            </c:spPr>
            <c:extLst>
              <c:ext xmlns:c16="http://schemas.microsoft.com/office/drawing/2014/chart" uri="{C3380CC4-5D6E-409C-BE32-E72D297353CC}">
                <c16:uniqueId val="{0000005D-2993-41DE-A2CB-63102DE87051}"/>
              </c:ext>
            </c:extLst>
          </c:dPt>
          <c:dPt>
            <c:idx val="19"/>
            <c:invertIfNegative val="1"/>
            <c:bubble3D val="0"/>
            <c:spPr>
              <a:solidFill>
                <a:srgbClr val="AEABAB"/>
              </a:solidFill>
            </c:spPr>
            <c:extLst>
              <c:ext xmlns:c16="http://schemas.microsoft.com/office/drawing/2014/chart" uri="{C3380CC4-5D6E-409C-BE32-E72D297353CC}">
                <c16:uniqueId val="{0000005F-2993-41DE-A2CB-63102DE87051}"/>
              </c:ext>
            </c:extLst>
          </c:dPt>
          <c:dPt>
            <c:idx val="20"/>
            <c:invertIfNegative val="1"/>
            <c:bubble3D val="0"/>
            <c:spPr>
              <a:solidFill>
                <a:srgbClr val="AEABAB"/>
              </a:solidFill>
            </c:spPr>
            <c:extLst>
              <c:ext xmlns:c16="http://schemas.microsoft.com/office/drawing/2014/chart" uri="{C3380CC4-5D6E-409C-BE32-E72D297353CC}">
                <c16:uniqueId val="{00000061-2993-41DE-A2CB-63102DE87051}"/>
              </c:ext>
            </c:extLst>
          </c:dPt>
          <c:dPt>
            <c:idx val="21"/>
            <c:invertIfNegative val="1"/>
            <c:bubble3D val="0"/>
            <c:spPr>
              <a:solidFill>
                <a:srgbClr val="AEABAB"/>
              </a:solidFill>
            </c:spPr>
            <c:extLst>
              <c:ext xmlns:c16="http://schemas.microsoft.com/office/drawing/2014/chart" uri="{C3380CC4-5D6E-409C-BE32-E72D297353CC}">
                <c16:uniqueId val="{00000063-2993-41DE-A2CB-63102DE87051}"/>
              </c:ext>
            </c:extLst>
          </c:dPt>
          <c:dPt>
            <c:idx val="22"/>
            <c:invertIfNegative val="1"/>
            <c:bubble3D val="0"/>
            <c:spPr>
              <a:solidFill>
                <a:srgbClr val="AEABAB"/>
              </a:solidFill>
            </c:spPr>
            <c:extLst>
              <c:ext xmlns:c16="http://schemas.microsoft.com/office/drawing/2014/chart" uri="{C3380CC4-5D6E-409C-BE32-E72D297353CC}">
                <c16:uniqueId val="{00000065-2993-41DE-A2CB-63102DE87051}"/>
              </c:ext>
            </c:extLst>
          </c:dPt>
          <c:dPt>
            <c:idx val="23"/>
            <c:invertIfNegative val="1"/>
            <c:bubble3D val="0"/>
            <c:spPr>
              <a:solidFill>
                <a:srgbClr val="AEABAB"/>
              </a:solidFill>
            </c:spPr>
            <c:extLst>
              <c:ext xmlns:c16="http://schemas.microsoft.com/office/drawing/2014/chart" uri="{C3380CC4-5D6E-409C-BE32-E72D297353CC}">
                <c16:uniqueId val="{00000067-2993-41DE-A2CB-63102DE87051}"/>
              </c:ext>
            </c:extLst>
          </c:dPt>
          <c:dPt>
            <c:idx val="24"/>
            <c:invertIfNegative val="1"/>
            <c:bubble3D val="0"/>
            <c:spPr>
              <a:solidFill>
                <a:srgbClr val="AEABAB"/>
              </a:solidFill>
            </c:spPr>
            <c:extLst>
              <c:ext xmlns:c16="http://schemas.microsoft.com/office/drawing/2014/chart" uri="{C3380CC4-5D6E-409C-BE32-E72D297353CC}">
                <c16:uniqueId val="{00000069-2993-41DE-A2CB-63102DE87051}"/>
              </c:ext>
            </c:extLst>
          </c:dPt>
          <c:dPt>
            <c:idx val="25"/>
            <c:invertIfNegative val="1"/>
            <c:bubble3D val="0"/>
            <c:spPr>
              <a:solidFill>
                <a:srgbClr val="AEABAB"/>
              </a:solidFill>
            </c:spPr>
            <c:extLst>
              <c:ext xmlns:c16="http://schemas.microsoft.com/office/drawing/2014/chart" uri="{C3380CC4-5D6E-409C-BE32-E72D297353CC}">
                <c16:uniqueId val="{0000006B-2993-41DE-A2CB-63102DE87051}"/>
              </c:ext>
            </c:extLst>
          </c:dPt>
          <c:dPt>
            <c:idx val="26"/>
            <c:invertIfNegative val="1"/>
            <c:bubble3D val="0"/>
            <c:spPr>
              <a:solidFill>
                <a:srgbClr val="AEABAB"/>
              </a:solidFill>
            </c:spPr>
            <c:extLst>
              <c:ext xmlns:c16="http://schemas.microsoft.com/office/drawing/2014/chart" uri="{C3380CC4-5D6E-409C-BE32-E72D297353CC}">
                <c16:uniqueId val="{0000006D-2993-41DE-A2CB-63102DE87051}"/>
              </c:ext>
            </c:extLst>
          </c:dPt>
          <c:dPt>
            <c:idx val="27"/>
            <c:invertIfNegative val="1"/>
            <c:bubble3D val="0"/>
            <c:spPr>
              <a:solidFill>
                <a:srgbClr val="AEABAB"/>
              </a:solidFill>
            </c:spPr>
            <c:extLst>
              <c:ext xmlns:c16="http://schemas.microsoft.com/office/drawing/2014/chart" uri="{C3380CC4-5D6E-409C-BE32-E72D297353CC}">
                <c16:uniqueId val="{0000006F-2993-41DE-A2CB-63102DE87051}"/>
              </c:ext>
            </c:extLst>
          </c:dPt>
          <c:dPt>
            <c:idx val="28"/>
            <c:invertIfNegative val="1"/>
            <c:bubble3D val="0"/>
            <c:spPr>
              <a:solidFill>
                <a:srgbClr val="AEABAB"/>
              </a:solidFill>
            </c:spPr>
            <c:extLst>
              <c:ext xmlns:c16="http://schemas.microsoft.com/office/drawing/2014/chart" uri="{C3380CC4-5D6E-409C-BE32-E72D297353CC}">
                <c16:uniqueId val="{00000071-2993-41DE-A2CB-63102DE87051}"/>
              </c:ext>
            </c:extLst>
          </c:dPt>
          <c:dPt>
            <c:idx val="29"/>
            <c:invertIfNegative val="1"/>
            <c:bubble3D val="0"/>
            <c:spPr>
              <a:solidFill>
                <a:srgbClr val="AEABAB"/>
              </a:solidFill>
            </c:spPr>
            <c:extLst>
              <c:ext xmlns:c16="http://schemas.microsoft.com/office/drawing/2014/chart" uri="{C3380CC4-5D6E-409C-BE32-E72D297353CC}">
                <c16:uniqueId val="{00000073-2993-41DE-A2CB-63102DE87051}"/>
              </c:ext>
            </c:extLst>
          </c:dPt>
          <c:dPt>
            <c:idx val="30"/>
            <c:invertIfNegative val="1"/>
            <c:bubble3D val="0"/>
            <c:spPr>
              <a:solidFill>
                <a:srgbClr val="AEABAB"/>
              </a:solidFill>
            </c:spPr>
            <c:extLst>
              <c:ext xmlns:c16="http://schemas.microsoft.com/office/drawing/2014/chart" uri="{C3380CC4-5D6E-409C-BE32-E72D297353CC}">
                <c16:uniqueId val="{00000075-2993-41DE-A2CB-63102DE87051}"/>
              </c:ext>
            </c:extLst>
          </c:dPt>
          <c:dPt>
            <c:idx val="31"/>
            <c:invertIfNegative val="1"/>
            <c:bubble3D val="0"/>
            <c:spPr>
              <a:solidFill>
                <a:srgbClr val="AEABAB"/>
              </a:solidFill>
            </c:spPr>
            <c:extLst>
              <c:ext xmlns:c16="http://schemas.microsoft.com/office/drawing/2014/chart" uri="{C3380CC4-5D6E-409C-BE32-E72D297353CC}">
                <c16:uniqueId val="{00000077-2993-41DE-A2CB-63102DE87051}"/>
              </c:ext>
            </c:extLst>
          </c:dPt>
          <c:dPt>
            <c:idx val="32"/>
            <c:invertIfNegative val="1"/>
            <c:bubble3D val="0"/>
            <c:spPr>
              <a:solidFill>
                <a:srgbClr val="AEABAB"/>
              </a:solidFill>
            </c:spPr>
            <c:extLst>
              <c:ext xmlns:c16="http://schemas.microsoft.com/office/drawing/2014/chart" uri="{C3380CC4-5D6E-409C-BE32-E72D297353CC}">
                <c16:uniqueId val="{00000079-2993-41DE-A2CB-63102DE87051}"/>
              </c:ext>
            </c:extLst>
          </c:dPt>
          <c:dPt>
            <c:idx val="33"/>
            <c:invertIfNegative val="1"/>
            <c:bubble3D val="0"/>
            <c:spPr>
              <a:solidFill>
                <a:srgbClr val="AEABAB"/>
              </a:solidFill>
            </c:spPr>
            <c:extLst>
              <c:ext xmlns:c16="http://schemas.microsoft.com/office/drawing/2014/chart" uri="{C3380CC4-5D6E-409C-BE32-E72D297353CC}">
                <c16:uniqueId val="{0000007B-2993-41DE-A2CB-63102DE87051}"/>
              </c:ext>
            </c:extLst>
          </c:dPt>
          <c:dPt>
            <c:idx val="34"/>
            <c:invertIfNegative val="1"/>
            <c:bubble3D val="0"/>
            <c:spPr>
              <a:solidFill>
                <a:srgbClr val="AEABAB"/>
              </a:solidFill>
            </c:spPr>
            <c:extLst>
              <c:ext xmlns:c16="http://schemas.microsoft.com/office/drawing/2014/chart" uri="{C3380CC4-5D6E-409C-BE32-E72D297353CC}">
                <c16:uniqueId val="{0000007D-2993-41DE-A2CB-63102DE87051}"/>
              </c:ext>
            </c:extLst>
          </c:dPt>
          <c:dPt>
            <c:idx val="35"/>
            <c:invertIfNegative val="1"/>
            <c:bubble3D val="0"/>
            <c:spPr>
              <a:solidFill>
                <a:srgbClr val="AEABAB"/>
              </a:solidFill>
            </c:spPr>
            <c:extLst>
              <c:ext xmlns:c16="http://schemas.microsoft.com/office/drawing/2014/chart" uri="{C3380CC4-5D6E-409C-BE32-E72D297353CC}">
                <c16:uniqueId val="{0000007F-2993-41DE-A2CB-63102DE87051}"/>
              </c:ext>
            </c:extLst>
          </c:dPt>
          <c:dPt>
            <c:idx val="36"/>
            <c:invertIfNegative val="1"/>
            <c:bubble3D val="0"/>
            <c:spPr>
              <a:solidFill>
                <a:srgbClr val="AEABAB"/>
              </a:solidFill>
            </c:spPr>
            <c:extLst>
              <c:ext xmlns:c16="http://schemas.microsoft.com/office/drawing/2014/chart" uri="{C3380CC4-5D6E-409C-BE32-E72D297353CC}">
                <c16:uniqueId val="{00000081-2993-41DE-A2CB-63102DE87051}"/>
              </c:ext>
            </c:extLst>
          </c:dPt>
          <c:dPt>
            <c:idx val="37"/>
            <c:invertIfNegative val="1"/>
            <c:bubble3D val="0"/>
            <c:spPr>
              <a:solidFill>
                <a:srgbClr val="AEABAB"/>
              </a:solidFill>
            </c:spPr>
            <c:extLst>
              <c:ext xmlns:c16="http://schemas.microsoft.com/office/drawing/2014/chart" uri="{C3380CC4-5D6E-409C-BE32-E72D297353CC}">
                <c16:uniqueId val="{00000083-2993-41DE-A2CB-63102DE87051}"/>
              </c:ext>
            </c:extLst>
          </c:dPt>
          <c:dPt>
            <c:idx val="38"/>
            <c:invertIfNegative val="1"/>
            <c:bubble3D val="0"/>
            <c:spPr>
              <a:solidFill>
                <a:srgbClr val="AEABAB"/>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40</c:f>
              <c:strCache>
                <c:ptCount val="39"/>
                <c:pt idx="0">
                  <c:v>Ruinart</c:v>
                </c:pt>
                <c:pt idx="1">
                  <c:v>Deutz</c:v>
                </c:pt>
                <c:pt idx="2">
                  <c:v>Demoiselle</c:v>
                </c:pt>
                <c:pt idx="3">
                  <c:v>Ruinart</c:v>
                </c:pt>
                <c:pt idx="4">
                  <c:v>Nicolas</c:v>
                </c:pt>
                <c:pt idx="5">
                  <c:v>Laurent Per</c:v>
                </c:pt>
                <c:pt idx="6">
                  <c:v>Nicolas Feu</c:v>
                </c:pt>
                <c:pt idx="7">
                  <c:v>Malard</c:v>
                </c:pt>
                <c:pt idx="8">
                  <c:v>Pommery</c:v>
                </c:pt>
                <c:pt idx="9">
                  <c:v>Besserat De</c:v>
                </c:pt>
                <c:pt idx="10">
                  <c:v>Ruinart</c:v>
                </c:pt>
                <c:pt idx="11">
                  <c:v>Deutz</c:v>
                </c:pt>
                <c:pt idx="12">
                  <c:v>Ruinart</c:v>
                </c:pt>
                <c:pt idx="13">
                  <c:v>Bollinger</c:v>
                </c:pt>
                <c:pt idx="14">
                  <c:v>Nicolas</c:v>
                </c:pt>
                <c:pt idx="15">
                  <c:v>Nicolas</c:v>
                </c:pt>
                <c:pt idx="16">
                  <c:v>Besserat De</c:v>
                </c:pt>
                <c:pt idx="17">
                  <c:v>Demoiselle</c:v>
                </c:pt>
                <c:pt idx="18">
                  <c:v>Dom Perigno</c:v>
                </c:pt>
                <c:pt idx="19">
                  <c:v>Nicolas</c:v>
                </c:pt>
                <c:pt idx="20">
                  <c:v>Deutz</c:v>
                </c:pt>
                <c:pt idx="21">
                  <c:v>Nicolas</c:v>
                </c:pt>
                <c:pt idx="22">
                  <c:v>Ruinart</c:v>
                </c:pt>
                <c:pt idx="23">
                  <c:v>Laurent Per</c:v>
                </c:pt>
                <c:pt idx="24">
                  <c:v>Henriot</c:v>
                </c:pt>
                <c:pt idx="25">
                  <c:v>De Bligny</c:v>
                </c:pt>
                <c:pt idx="26">
                  <c:v>Laurent Per</c:v>
                </c:pt>
                <c:pt idx="27">
                  <c:v>Demoiselle</c:v>
                </c:pt>
                <c:pt idx="28">
                  <c:v>All Others</c:v>
                </c:pt>
                <c:pt idx="29">
                  <c:v>Veuve Clicq</c:v>
                </c:pt>
                <c:pt idx="30">
                  <c:v>Deutz</c:v>
                </c:pt>
                <c:pt idx="31">
                  <c:v>Roederer</c:v>
                </c:pt>
                <c:pt idx="32">
                  <c:v>Laurent Per</c:v>
                </c:pt>
                <c:pt idx="33">
                  <c:v>Bollinger</c:v>
                </c:pt>
                <c:pt idx="34">
                  <c:v>Roederer</c:v>
                </c:pt>
                <c:pt idx="35">
                  <c:v>Perrier Jou</c:v>
                </c:pt>
                <c:pt idx="36">
                  <c:v>Moët &amp; Chan</c:v>
                </c:pt>
                <c:pt idx="37">
                  <c:v>Vranken Pom</c:v>
                </c:pt>
                <c:pt idx="38">
                  <c:v>All Others</c:v>
                </c:pt>
              </c:strCache>
            </c:strRef>
          </c:cat>
          <c:val>
            <c:numRef>
              <c:f>Sheet1!$C$2:$C$40</c:f>
              <c:numCache>
                <c:formatCode>General</c:formatCode>
                <c:ptCount val="39"/>
                <c:pt idx="0">
                  <c:v>0.18305991415328138</c:v>
                </c:pt>
                <c:pt idx="1">
                  <c:v>0.30834351066894261</c:v>
                </c:pt>
                <c:pt idx="2">
                  <c:v>0.4311190783976232</c:v>
                </c:pt>
                <c:pt idx="3">
                  <c:v>0.51358644545543286</c:v>
                </c:pt>
                <c:pt idx="4">
                  <c:v>0.59255066646669108</c:v>
                </c:pt>
                <c:pt idx="5">
                  <c:v>0.67133871839371895</c:v>
                </c:pt>
                <c:pt idx="6">
                  <c:v>0.72164332426300626</c:v>
                </c:pt>
                <c:pt idx="7">
                  <c:v>0.76680807806671103</c:v>
                </c:pt>
                <c:pt idx="8">
                  <c:v>0.81011591449609699</c:v>
                </c:pt>
                <c:pt idx="9">
                  <c:v>0.84901833348807654</c:v>
                </c:pt>
                <c:pt idx="10">
                  <c:v>0.87441524957683714</c:v>
                </c:pt>
                <c:pt idx="11">
                  <c:v>0.89417118397527928</c:v>
                </c:pt>
                <c:pt idx="12">
                  <c:v>0.91345217604528983</c:v>
                </c:pt>
                <c:pt idx="13">
                  <c:v>0.92934429390716855</c:v>
                </c:pt>
                <c:pt idx="14">
                  <c:v>0.94436508900109761</c:v>
                </c:pt>
                <c:pt idx="15">
                  <c:v>0.9565350397927872</c:v>
                </c:pt>
                <c:pt idx="16">
                  <c:v>0.96602793470316717</c:v>
                </c:pt>
                <c:pt idx="17">
                  <c:v>0.97297590054541017</c:v>
                </c:pt>
                <c:pt idx="18">
                  <c:v>0.97868949246639114</c:v>
                </c:pt>
                <c:pt idx="19">
                  <c:v>0.98320680107891678</c:v>
                </c:pt>
                <c:pt idx="20">
                  <c:v>0.98706228529392881</c:v>
                </c:pt>
                <c:pt idx="21">
                  <c:v>0.99033926832694141</c:v>
                </c:pt>
                <c:pt idx="22">
                  <c:v>0.99268779267279461</c:v>
                </c:pt>
                <c:pt idx="23">
                  <c:v>0.99431497603862395</c:v>
                </c:pt>
                <c:pt idx="24">
                  <c:v>0.99580289060137939</c:v>
                </c:pt>
                <c:pt idx="25">
                  <c:v>0.9965647028575102</c:v>
                </c:pt>
                <c:pt idx="26">
                  <c:v>0.99717772365736546</c:v>
                </c:pt>
                <c:pt idx="27">
                  <c:v>0.99766456930229908</c:v>
                </c:pt>
                <c:pt idx="28">
                  <c:v>0.99806333040511752</c:v>
                </c:pt>
                <c:pt idx="29">
                  <c:v>0.9983490100011666</c:v>
                </c:pt>
                <c:pt idx="30">
                  <c:v>0.99861921528576303</c:v>
                </c:pt>
                <c:pt idx="31">
                  <c:v>0.99886323327405491</c:v>
                </c:pt>
                <c:pt idx="32">
                  <c:v>0.9990632089912892</c:v>
                </c:pt>
                <c:pt idx="33">
                  <c:v>0.99926199437687335</c:v>
                </c:pt>
                <c:pt idx="34">
                  <c:v>0.9996274261934861</c:v>
                </c:pt>
                <c:pt idx="35">
                  <c:v>0.99973931736860533</c:v>
                </c:pt>
                <c:pt idx="36">
                  <c:v>0.99984644721712368</c:v>
                </c:pt>
                <c:pt idx="37">
                  <c:v>0.99991191545788494</c:v>
                </c:pt>
                <c:pt idx="38">
                  <c:v>1</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44</c:f>
              <c:strCache>
                <c:ptCount val="43"/>
                <c:pt idx="0">
                  <c:v>Ruinart</c:v>
                </c:pt>
                <c:pt idx="1">
                  <c:v>Laurent Per</c:v>
                </c:pt>
                <c:pt idx="2">
                  <c:v>Deutz</c:v>
                </c:pt>
                <c:pt idx="3">
                  <c:v>Ruinart</c:v>
                </c:pt>
                <c:pt idx="4">
                  <c:v>Nicolas Feu</c:v>
                </c:pt>
                <c:pt idx="5">
                  <c:v>Demoiselle</c:v>
                </c:pt>
                <c:pt idx="6">
                  <c:v>Nicolas</c:v>
                </c:pt>
                <c:pt idx="7">
                  <c:v>Pommery</c:v>
                </c:pt>
                <c:pt idx="8">
                  <c:v>Malard</c:v>
                </c:pt>
                <c:pt idx="9">
                  <c:v>Besserat De</c:v>
                </c:pt>
                <c:pt idx="10">
                  <c:v>Ruinart</c:v>
                </c:pt>
                <c:pt idx="11">
                  <c:v>Ruinart</c:v>
                </c:pt>
                <c:pt idx="12">
                  <c:v>Bollinger</c:v>
                </c:pt>
                <c:pt idx="13">
                  <c:v>Deutz</c:v>
                </c:pt>
                <c:pt idx="14">
                  <c:v>Dom Perigno</c:v>
                </c:pt>
                <c:pt idx="15">
                  <c:v>Nicolas</c:v>
                </c:pt>
                <c:pt idx="16">
                  <c:v>Nicolas</c:v>
                </c:pt>
                <c:pt idx="17">
                  <c:v>Besserat De</c:v>
                </c:pt>
                <c:pt idx="18">
                  <c:v>All Others</c:v>
                </c:pt>
                <c:pt idx="19">
                  <c:v>Perrier Jou</c:v>
                </c:pt>
                <c:pt idx="20">
                  <c:v>Demoiselle</c:v>
                </c:pt>
                <c:pt idx="21">
                  <c:v>Roederer</c:v>
                </c:pt>
                <c:pt idx="22">
                  <c:v>Krug</c:v>
                </c:pt>
                <c:pt idx="23">
                  <c:v>Nicolas</c:v>
                </c:pt>
                <c:pt idx="24">
                  <c:v>Henriot</c:v>
                </c:pt>
                <c:pt idx="25">
                  <c:v>Moët &amp; Chan</c:v>
                </c:pt>
                <c:pt idx="26">
                  <c:v>Deutz</c:v>
                </c:pt>
                <c:pt idx="27">
                  <c:v>Nicolas</c:v>
                </c:pt>
                <c:pt idx="28">
                  <c:v>Ruinart</c:v>
                </c:pt>
                <c:pt idx="29">
                  <c:v>Deutz</c:v>
                </c:pt>
                <c:pt idx="30">
                  <c:v>Perrier Jou</c:v>
                </c:pt>
                <c:pt idx="31">
                  <c:v>All Others</c:v>
                </c:pt>
                <c:pt idx="32">
                  <c:v>Laurent Per</c:v>
                </c:pt>
                <c:pt idx="33">
                  <c:v>Veuve Clicq</c:v>
                </c:pt>
                <c:pt idx="34">
                  <c:v>Piper Heids</c:v>
                </c:pt>
                <c:pt idx="35">
                  <c:v>Laurent Per</c:v>
                </c:pt>
                <c:pt idx="36">
                  <c:v>Ayala</c:v>
                </c:pt>
                <c:pt idx="37">
                  <c:v>De Bligny</c:v>
                </c:pt>
                <c:pt idx="38">
                  <c:v>Roederer</c:v>
                </c:pt>
                <c:pt idx="39">
                  <c:v>Bollinger</c:v>
                </c:pt>
                <c:pt idx="40">
                  <c:v>Moët &amp; Chan</c:v>
                </c:pt>
                <c:pt idx="41">
                  <c:v>Moët &amp; Chan</c:v>
                </c:pt>
                <c:pt idx="42">
                  <c:v>Besserat De</c:v>
                </c:pt>
              </c:strCache>
            </c:strRef>
          </c:cat>
          <c:val>
            <c:numRef>
              <c:f>Sheet1!$B$2:$B$44</c:f>
              <c:numCache>
                <c:formatCode>General</c:formatCode>
                <c:ptCount val="43"/>
                <c:pt idx="0">
                  <c:v>0.67</c:v>
                </c:pt>
                <c:pt idx="1">
                  <c:v>0.68</c:v>
                </c:pt>
                <c:pt idx="2">
                  <c:v>0.63</c:v>
                </c:pt>
                <c:pt idx="3">
                  <c:v>0.56999999999999995</c:v>
                </c:pt>
                <c:pt idx="4">
                  <c:v>0.64</c:v>
                </c:pt>
                <c:pt idx="5">
                  <c:v>0.72</c:v>
                </c:pt>
                <c:pt idx="6">
                  <c:v>0.56000000000000005</c:v>
                </c:pt>
                <c:pt idx="7">
                  <c:v>0.45</c:v>
                </c:pt>
                <c:pt idx="8">
                  <c:v>0.53</c:v>
                </c:pt>
                <c:pt idx="9">
                  <c:v>0.36</c:v>
                </c:pt>
                <c:pt idx="10">
                  <c:v>0.13</c:v>
                </c:pt>
                <c:pt idx="11">
                  <c:v>0.36</c:v>
                </c:pt>
                <c:pt idx="12">
                  <c:v>0.28000000000000003</c:v>
                </c:pt>
                <c:pt idx="13">
                  <c:v>0.54</c:v>
                </c:pt>
                <c:pt idx="14">
                  <c:v>0.19</c:v>
                </c:pt>
                <c:pt idx="15">
                  <c:v>0.42</c:v>
                </c:pt>
                <c:pt idx="16">
                  <c:v>0.35</c:v>
                </c:pt>
                <c:pt idx="17">
                  <c:v>0.27</c:v>
                </c:pt>
                <c:pt idx="18">
                  <c:v>0.19</c:v>
                </c:pt>
                <c:pt idx="19">
                  <c:v>0.19</c:v>
                </c:pt>
                <c:pt idx="20">
                  <c:v>0.2</c:v>
                </c:pt>
                <c:pt idx="21">
                  <c:v>0.08</c:v>
                </c:pt>
                <c:pt idx="22">
                  <c:v>0.1</c:v>
                </c:pt>
                <c:pt idx="23">
                  <c:v>0.1</c:v>
                </c:pt>
                <c:pt idx="24">
                  <c:v>0.11</c:v>
                </c:pt>
                <c:pt idx="25">
                  <c:v>0.13</c:v>
                </c:pt>
                <c:pt idx="26">
                  <c:v>0.12</c:v>
                </c:pt>
                <c:pt idx="27">
                  <c:v>0.11</c:v>
                </c:pt>
                <c:pt idx="28">
                  <c:v>7.0000000000000007E-2</c:v>
                </c:pt>
                <c:pt idx="29">
                  <c:v>0.06</c:v>
                </c:pt>
                <c:pt idx="30">
                  <c:v>0.19</c:v>
                </c:pt>
                <c:pt idx="31">
                  <c:v>0.19</c:v>
                </c:pt>
                <c:pt idx="32">
                  <c:v>0.02</c:v>
                </c:pt>
                <c:pt idx="33">
                  <c:v>0.19</c:v>
                </c:pt>
                <c:pt idx="34">
                  <c:v>0.19</c:v>
                </c:pt>
                <c:pt idx="35">
                  <c:v>0.01</c:v>
                </c:pt>
                <c:pt idx="36">
                  <c:v>0.11</c:v>
                </c:pt>
                <c:pt idx="37">
                  <c:v>0.15</c:v>
                </c:pt>
                <c:pt idx="38">
                  <c:v>0.02</c:v>
                </c:pt>
                <c:pt idx="39">
                  <c:v>0.01</c:v>
                </c:pt>
                <c:pt idx="40">
                  <c:v>0.11</c:v>
                </c:pt>
                <c:pt idx="41">
                  <c:v>0.06</c:v>
                </c:pt>
                <c:pt idx="42">
                  <c:v>0.02</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7ECAC4"/>
              </a:solidFill>
            </c:spPr>
            <c:extLst>
              <c:ext xmlns:c16="http://schemas.microsoft.com/office/drawing/2014/chart" uri="{C3380CC4-5D6E-409C-BE32-E72D297353CC}">
                <c16:uniqueId val="{0000004F-2993-41DE-A2CB-63102DE87051}"/>
              </c:ext>
            </c:extLst>
          </c:dPt>
          <c:dPt>
            <c:idx val="12"/>
            <c:invertIfNegative val="1"/>
            <c:bubble3D val="0"/>
            <c:spPr>
              <a:solidFill>
                <a:srgbClr val="7ECAC4"/>
              </a:solidFill>
            </c:spPr>
            <c:extLst>
              <c:ext xmlns:c16="http://schemas.microsoft.com/office/drawing/2014/chart" uri="{C3380CC4-5D6E-409C-BE32-E72D297353CC}">
                <c16:uniqueId val="{00000051-2993-41DE-A2CB-63102DE87051}"/>
              </c:ext>
            </c:extLst>
          </c:dPt>
          <c:dPt>
            <c:idx val="13"/>
            <c:invertIfNegative val="1"/>
            <c:bubble3D val="0"/>
            <c:spPr>
              <a:solidFill>
                <a:srgbClr val="7ECAC4"/>
              </a:solidFill>
            </c:spPr>
            <c:extLst>
              <c:ext xmlns:c16="http://schemas.microsoft.com/office/drawing/2014/chart" uri="{C3380CC4-5D6E-409C-BE32-E72D297353CC}">
                <c16:uniqueId val="{00000053-2993-41DE-A2CB-63102DE87051}"/>
              </c:ext>
            </c:extLst>
          </c:dPt>
          <c:dPt>
            <c:idx val="14"/>
            <c:invertIfNegative val="1"/>
            <c:bubble3D val="0"/>
            <c:spPr>
              <a:solidFill>
                <a:srgbClr val="7ECAC4"/>
              </a:solidFill>
            </c:spPr>
            <c:extLst>
              <c:ext xmlns:c16="http://schemas.microsoft.com/office/drawing/2014/chart" uri="{C3380CC4-5D6E-409C-BE32-E72D297353CC}">
                <c16:uniqueId val="{00000055-2993-41DE-A2CB-63102DE87051}"/>
              </c:ext>
            </c:extLst>
          </c:dPt>
          <c:dPt>
            <c:idx val="15"/>
            <c:invertIfNegative val="1"/>
            <c:bubble3D val="0"/>
            <c:spPr>
              <a:solidFill>
                <a:srgbClr val="7ECAC4"/>
              </a:solidFill>
            </c:spPr>
            <c:extLst>
              <c:ext xmlns:c16="http://schemas.microsoft.com/office/drawing/2014/chart" uri="{C3380CC4-5D6E-409C-BE32-E72D297353CC}">
                <c16:uniqueId val="{00000057-2993-41DE-A2CB-63102DE87051}"/>
              </c:ext>
            </c:extLst>
          </c:dPt>
          <c:dPt>
            <c:idx val="16"/>
            <c:invertIfNegative val="1"/>
            <c:bubble3D val="0"/>
            <c:spPr>
              <a:solidFill>
                <a:srgbClr val="7ECAC4"/>
              </a:solidFill>
            </c:spPr>
            <c:extLst>
              <c:ext xmlns:c16="http://schemas.microsoft.com/office/drawing/2014/chart" uri="{C3380CC4-5D6E-409C-BE32-E72D297353CC}">
                <c16:uniqueId val="{00000059-2993-41DE-A2CB-63102DE87051}"/>
              </c:ext>
            </c:extLst>
          </c:dPt>
          <c:dPt>
            <c:idx val="17"/>
            <c:invertIfNegative val="1"/>
            <c:bubble3D val="0"/>
            <c:spPr>
              <a:solidFill>
                <a:srgbClr val="AEABAB"/>
              </a:solidFill>
            </c:spPr>
            <c:extLst>
              <c:ext xmlns:c16="http://schemas.microsoft.com/office/drawing/2014/chart" uri="{C3380CC4-5D6E-409C-BE32-E72D297353CC}">
                <c16:uniqueId val="{0000005B-2993-41DE-A2CB-63102DE87051}"/>
              </c:ext>
            </c:extLst>
          </c:dPt>
          <c:dPt>
            <c:idx val="18"/>
            <c:invertIfNegative val="1"/>
            <c:bubble3D val="0"/>
            <c:spPr>
              <a:solidFill>
                <a:srgbClr val="AEABAB"/>
              </a:solidFill>
            </c:spPr>
            <c:extLst>
              <c:ext xmlns:c16="http://schemas.microsoft.com/office/drawing/2014/chart" uri="{C3380CC4-5D6E-409C-BE32-E72D297353CC}">
                <c16:uniqueId val="{0000005D-2993-41DE-A2CB-63102DE87051}"/>
              </c:ext>
            </c:extLst>
          </c:dPt>
          <c:dPt>
            <c:idx val="19"/>
            <c:invertIfNegative val="1"/>
            <c:bubble3D val="0"/>
            <c:spPr>
              <a:solidFill>
                <a:srgbClr val="AEABAB"/>
              </a:solidFill>
            </c:spPr>
            <c:extLst>
              <c:ext xmlns:c16="http://schemas.microsoft.com/office/drawing/2014/chart" uri="{C3380CC4-5D6E-409C-BE32-E72D297353CC}">
                <c16:uniqueId val="{0000005F-2993-41DE-A2CB-63102DE87051}"/>
              </c:ext>
            </c:extLst>
          </c:dPt>
          <c:dPt>
            <c:idx val="20"/>
            <c:invertIfNegative val="1"/>
            <c:bubble3D val="0"/>
            <c:spPr>
              <a:solidFill>
                <a:srgbClr val="AEABAB"/>
              </a:solidFill>
            </c:spPr>
            <c:extLst>
              <c:ext xmlns:c16="http://schemas.microsoft.com/office/drawing/2014/chart" uri="{C3380CC4-5D6E-409C-BE32-E72D297353CC}">
                <c16:uniqueId val="{00000061-2993-41DE-A2CB-63102DE87051}"/>
              </c:ext>
            </c:extLst>
          </c:dPt>
          <c:dPt>
            <c:idx val="21"/>
            <c:invertIfNegative val="1"/>
            <c:bubble3D val="0"/>
            <c:spPr>
              <a:solidFill>
                <a:srgbClr val="AEABAB"/>
              </a:solidFill>
            </c:spPr>
            <c:extLst>
              <c:ext xmlns:c16="http://schemas.microsoft.com/office/drawing/2014/chart" uri="{C3380CC4-5D6E-409C-BE32-E72D297353CC}">
                <c16:uniqueId val="{00000063-2993-41DE-A2CB-63102DE87051}"/>
              </c:ext>
            </c:extLst>
          </c:dPt>
          <c:dPt>
            <c:idx val="22"/>
            <c:invertIfNegative val="1"/>
            <c:bubble3D val="0"/>
            <c:spPr>
              <a:solidFill>
                <a:srgbClr val="AEABAB"/>
              </a:solidFill>
            </c:spPr>
            <c:extLst>
              <c:ext xmlns:c16="http://schemas.microsoft.com/office/drawing/2014/chart" uri="{C3380CC4-5D6E-409C-BE32-E72D297353CC}">
                <c16:uniqueId val="{00000065-2993-41DE-A2CB-63102DE87051}"/>
              </c:ext>
            </c:extLst>
          </c:dPt>
          <c:dPt>
            <c:idx val="23"/>
            <c:invertIfNegative val="1"/>
            <c:bubble3D val="0"/>
            <c:spPr>
              <a:solidFill>
                <a:srgbClr val="AEABAB"/>
              </a:solidFill>
            </c:spPr>
            <c:extLst>
              <c:ext xmlns:c16="http://schemas.microsoft.com/office/drawing/2014/chart" uri="{C3380CC4-5D6E-409C-BE32-E72D297353CC}">
                <c16:uniqueId val="{00000067-2993-41DE-A2CB-63102DE87051}"/>
              </c:ext>
            </c:extLst>
          </c:dPt>
          <c:dPt>
            <c:idx val="24"/>
            <c:invertIfNegative val="1"/>
            <c:bubble3D val="0"/>
            <c:spPr>
              <a:solidFill>
                <a:srgbClr val="AEABAB"/>
              </a:solidFill>
            </c:spPr>
            <c:extLst>
              <c:ext xmlns:c16="http://schemas.microsoft.com/office/drawing/2014/chart" uri="{C3380CC4-5D6E-409C-BE32-E72D297353CC}">
                <c16:uniqueId val="{00000069-2993-41DE-A2CB-63102DE87051}"/>
              </c:ext>
            </c:extLst>
          </c:dPt>
          <c:dPt>
            <c:idx val="25"/>
            <c:invertIfNegative val="1"/>
            <c:bubble3D val="0"/>
            <c:spPr>
              <a:solidFill>
                <a:srgbClr val="AEABAB"/>
              </a:solidFill>
            </c:spPr>
            <c:extLst>
              <c:ext xmlns:c16="http://schemas.microsoft.com/office/drawing/2014/chart" uri="{C3380CC4-5D6E-409C-BE32-E72D297353CC}">
                <c16:uniqueId val="{0000006B-2993-41DE-A2CB-63102DE87051}"/>
              </c:ext>
            </c:extLst>
          </c:dPt>
          <c:dPt>
            <c:idx val="26"/>
            <c:invertIfNegative val="1"/>
            <c:bubble3D val="0"/>
            <c:spPr>
              <a:solidFill>
                <a:srgbClr val="AEABAB"/>
              </a:solidFill>
            </c:spPr>
            <c:extLst>
              <c:ext xmlns:c16="http://schemas.microsoft.com/office/drawing/2014/chart" uri="{C3380CC4-5D6E-409C-BE32-E72D297353CC}">
                <c16:uniqueId val="{0000006D-2993-41DE-A2CB-63102DE87051}"/>
              </c:ext>
            </c:extLst>
          </c:dPt>
          <c:dPt>
            <c:idx val="27"/>
            <c:invertIfNegative val="1"/>
            <c:bubble3D val="0"/>
            <c:spPr>
              <a:solidFill>
                <a:srgbClr val="AEABAB"/>
              </a:solidFill>
            </c:spPr>
            <c:extLst>
              <c:ext xmlns:c16="http://schemas.microsoft.com/office/drawing/2014/chart" uri="{C3380CC4-5D6E-409C-BE32-E72D297353CC}">
                <c16:uniqueId val="{0000006F-2993-41DE-A2CB-63102DE87051}"/>
              </c:ext>
            </c:extLst>
          </c:dPt>
          <c:dPt>
            <c:idx val="28"/>
            <c:invertIfNegative val="1"/>
            <c:bubble3D val="0"/>
            <c:spPr>
              <a:solidFill>
                <a:srgbClr val="AEABAB"/>
              </a:solidFill>
            </c:spPr>
            <c:extLst>
              <c:ext xmlns:c16="http://schemas.microsoft.com/office/drawing/2014/chart" uri="{C3380CC4-5D6E-409C-BE32-E72D297353CC}">
                <c16:uniqueId val="{00000071-2993-41DE-A2CB-63102DE87051}"/>
              </c:ext>
            </c:extLst>
          </c:dPt>
          <c:dPt>
            <c:idx val="29"/>
            <c:invertIfNegative val="1"/>
            <c:bubble3D val="0"/>
            <c:spPr>
              <a:solidFill>
                <a:srgbClr val="AEABAB"/>
              </a:solidFill>
            </c:spPr>
            <c:extLst>
              <c:ext xmlns:c16="http://schemas.microsoft.com/office/drawing/2014/chart" uri="{C3380CC4-5D6E-409C-BE32-E72D297353CC}">
                <c16:uniqueId val="{00000073-2993-41DE-A2CB-63102DE87051}"/>
              </c:ext>
            </c:extLst>
          </c:dPt>
          <c:dPt>
            <c:idx val="30"/>
            <c:invertIfNegative val="1"/>
            <c:bubble3D val="0"/>
            <c:spPr>
              <a:solidFill>
                <a:srgbClr val="AEABAB"/>
              </a:solidFill>
            </c:spPr>
            <c:extLst>
              <c:ext xmlns:c16="http://schemas.microsoft.com/office/drawing/2014/chart" uri="{C3380CC4-5D6E-409C-BE32-E72D297353CC}">
                <c16:uniqueId val="{00000075-2993-41DE-A2CB-63102DE87051}"/>
              </c:ext>
            </c:extLst>
          </c:dPt>
          <c:dPt>
            <c:idx val="31"/>
            <c:invertIfNegative val="1"/>
            <c:bubble3D val="0"/>
            <c:spPr>
              <a:solidFill>
                <a:srgbClr val="AEABAB"/>
              </a:solidFill>
            </c:spPr>
            <c:extLst>
              <c:ext xmlns:c16="http://schemas.microsoft.com/office/drawing/2014/chart" uri="{C3380CC4-5D6E-409C-BE32-E72D297353CC}">
                <c16:uniqueId val="{00000077-2993-41DE-A2CB-63102DE87051}"/>
              </c:ext>
            </c:extLst>
          </c:dPt>
          <c:dPt>
            <c:idx val="32"/>
            <c:invertIfNegative val="1"/>
            <c:bubble3D val="0"/>
            <c:spPr>
              <a:solidFill>
                <a:srgbClr val="AEABAB"/>
              </a:solidFill>
            </c:spPr>
            <c:extLst>
              <c:ext xmlns:c16="http://schemas.microsoft.com/office/drawing/2014/chart" uri="{C3380CC4-5D6E-409C-BE32-E72D297353CC}">
                <c16:uniqueId val="{00000079-2993-41DE-A2CB-63102DE87051}"/>
              </c:ext>
            </c:extLst>
          </c:dPt>
          <c:dPt>
            <c:idx val="33"/>
            <c:invertIfNegative val="1"/>
            <c:bubble3D val="0"/>
            <c:spPr>
              <a:solidFill>
                <a:srgbClr val="AEABAB"/>
              </a:solidFill>
            </c:spPr>
            <c:extLst>
              <c:ext xmlns:c16="http://schemas.microsoft.com/office/drawing/2014/chart" uri="{C3380CC4-5D6E-409C-BE32-E72D297353CC}">
                <c16:uniqueId val="{0000007B-2993-41DE-A2CB-63102DE87051}"/>
              </c:ext>
            </c:extLst>
          </c:dPt>
          <c:dPt>
            <c:idx val="34"/>
            <c:invertIfNegative val="1"/>
            <c:bubble3D val="0"/>
            <c:spPr>
              <a:solidFill>
                <a:srgbClr val="AEABAB"/>
              </a:solidFill>
            </c:spPr>
            <c:extLst>
              <c:ext xmlns:c16="http://schemas.microsoft.com/office/drawing/2014/chart" uri="{C3380CC4-5D6E-409C-BE32-E72D297353CC}">
                <c16:uniqueId val="{0000007D-2993-41DE-A2CB-63102DE87051}"/>
              </c:ext>
            </c:extLst>
          </c:dPt>
          <c:dPt>
            <c:idx val="35"/>
            <c:invertIfNegative val="1"/>
            <c:bubble3D val="0"/>
            <c:spPr>
              <a:solidFill>
                <a:srgbClr val="AEABAB"/>
              </a:solidFill>
            </c:spPr>
            <c:extLst>
              <c:ext xmlns:c16="http://schemas.microsoft.com/office/drawing/2014/chart" uri="{C3380CC4-5D6E-409C-BE32-E72D297353CC}">
                <c16:uniqueId val="{0000007F-2993-41DE-A2CB-63102DE87051}"/>
              </c:ext>
            </c:extLst>
          </c:dPt>
          <c:dPt>
            <c:idx val="36"/>
            <c:invertIfNegative val="1"/>
            <c:bubble3D val="0"/>
            <c:spPr>
              <a:solidFill>
                <a:srgbClr val="AEABAB"/>
              </a:solidFill>
            </c:spPr>
            <c:extLst>
              <c:ext xmlns:c16="http://schemas.microsoft.com/office/drawing/2014/chart" uri="{C3380CC4-5D6E-409C-BE32-E72D297353CC}">
                <c16:uniqueId val="{00000081-2993-41DE-A2CB-63102DE87051}"/>
              </c:ext>
            </c:extLst>
          </c:dPt>
          <c:dPt>
            <c:idx val="37"/>
            <c:invertIfNegative val="1"/>
            <c:bubble3D val="0"/>
            <c:spPr>
              <a:solidFill>
                <a:srgbClr val="AEABAB"/>
              </a:solidFill>
            </c:spPr>
            <c:extLst>
              <c:ext xmlns:c16="http://schemas.microsoft.com/office/drawing/2014/chart" uri="{C3380CC4-5D6E-409C-BE32-E72D297353CC}">
                <c16:uniqueId val="{00000083-2993-41DE-A2CB-63102DE87051}"/>
              </c:ext>
            </c:extLst>
          </c:dPt>
          <c:dPt>
            <c:idx val="38"/>
            <c:invertIfNegative val="1"/>
            <c:bubble3D val="0"/>
            <c:spPr>
              <a:solidFill>
                <a:srgbClr val="AEABAB"/>
              </a:solidFill>
            </c:spPr>
            <c:extLst>
              <c:ext xmlns:c16="http://schemas.microsoft.com/office/drawing/2014/chart" uri="{C3380CC4-5D6E-409C-BE32-E72D297353CC}">
                <c16:uniqueId val="{00000085-2993-41DE-A2CB-63102DE87051}"/>
              </c:ext>
            </c:extLst>
          </c:dPt>
          <c:dPt>
            <c:idx val="39"/>
            <c:invertIfNegative val="1"/>
            <c:bubble3D val="0"/>
            <c:spPr>
              <a:solidFill>
                <a:srgbClr val="AEABAB"/>
              </a:solidFill>
            </c:spPr>
            <c:extLst>
              <c:ext xmlns:c16="http://schemas.microsoft.com/office/drawing/2014/chart" uri="{C3380CC4-5D6E-409C-BE32-E72D297353CC}">
                <c16:uniqueId val="{00000087-2993-41DE-A2CB-63102DE87051}"/>
              </c:ext>
            </c:extLst>
          </c:dPt>
          <c:dPt>
            <c:idx val="40"/>
            <c:invertIfNegative val="1"/>
            <c:bubble3D val="0"/>
            <c:spPr>
              <a:solidFill>
                <a:srgbClr val="AEABAB"/>
              </a:solidFill>
            </c:spPr>
            <c:extLst>
              <c:ext xmlns:c16="http://schemas.microsoft.com/office/drawing/2014/chart" uri="{C3380CC4-5D6E-409C-BE32-E72D297353CC}">
                <c16:uniqueId val="{00000089-2993-41DE-A2CB-63102DE87051}"/>
              </c:ext>
            </c:extLst>
          </c:dPt>
          <c:dPt>
            <c:idx val="41"/>
            <c:invertIfNegative val="1"/>
            <c:bubble3D val="0"/>
            <c:spPr>
              <a:solidFill>
                <a:srgbClr val="AEABAB"/>
              </a:solidFill>
            </c:spPr>
            <c:extLst>
              <c:ext xmlns:c16="http://schemas.microsoft.com/office/drawing/2014/chart" uri="{C3380CC4-5D6E-409C-BE32-E72D297353CC}">
                <c16:uniqueId val="{0000008B-2993-41DE-A2CB-63102DE87051}"/>
              </c:ext>
            </c:extLst>
          </c:dPt>
          <c:dPt>
            <c:idx val="42"/>
            <c:invertIfNegative val="1"/>
            <c:bubble3D val="0"/>
            <c:spPr>
              <a:solidFill>
                <a:srgbClr val="AEABAB"/>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44</c:f>
              <c:strCache>
                <c:ptCount val="43"/>
                <c:pt idx="0">
                  <c:v>Ruinart</c:v>
                </c:pt>
                <c:pt idx="1">
                  <c:v>Laurent Per</c:v>
                </c:pt>
                <c:pt idx="2">
                  <c:v>Deutz</c:v>
                </c:pt>
                <c:pt idx="3">
                  <c:v>Ruinart</c:v>
                </c:pt>
                <c:pt idx="4">
                  <c:v>Nicolas Feu</c:v>
                </c:pt>
                <c:pt idx="5">
                  <c:v>Demoiselle</c:v>
                </c:pt>
                <c:pt idx="6">
                  <c:v>Nicolas</c:v>
                </c:pt>
                <c:pt idx="7">
                  <c:v>Pommery</c:v>
                </c:pt>
                <c:pt idx="8">
                  <c:v>Malard</c:v>
                </c:pt>
                <c:pt idx="9">
                  <c:v>Besserat De</c:v>
                </c:pt>
                <c:pt idx="10">
                  <c:v>Ruinart</c:v>
                </c:pt>
                <c:pt idx="11">
                  <c:v>Ruinart</c:v>
                </c:pt>
                <c:pt idx="12">
                  <c:v>Bollinger</c:v>
                </c:pt>
                <c:pt idx="13">
                  <c:v>Deutz</c:v>
                </c:pt>
                <c:pt idx="14">
                  <c:v>Dom Perigno</c:v>
                </c:pt>
                <c:pt idx="15">
                  <c:v>Nicolas</c:v>
                </c:pt>
                <c:pt idx="16">
                  <c:v>Nicolas</c:v>
                </c:pt>
                <c:pt idx="17">
                  <c:v>Besserat De</c:v>
                </c:pt>
                <c:pt idx="18">
                  <c:v>All Others</c:v>
                </c:pt>
                <c:pt idx="19">
                  <c:v>Perrier Jou</c:v>
                </c:pt>
                <c:pt idx="20">
                  <c:v>Demoiselle</c:v>
                </c:pt>
                <c:pt idx="21">
                  <c:v>Roederer</c:v>
                </c:pt>
                <c:pt idx="22">
                  <c:v>Krug</c:v>
                </c:pt>
                <c:pt idx="23">
                  <c:v>Nicolas</c:v>
                </c:pt>
                <c:pt idx="24">
                  <c:v>Henriot</c:v>
                </c:pt>
                <c:pt idx="25">
                  <c:v>Moët &amp; Chan</c:v>
                </c:pt>
                <c:pt idx="26">
                  <c:v>Deutz</c:v>
                </c:pt>
                <c:pt idx="27">
                  <c:v>Nicolas</c:v>
                </c:pt>
                <c:pt idx="28">
                  <c:v>Ruinart</c:v>
                </c:pt>
                <c:pt idx="29">
                  <c:v>Deutz</c:v>
                </c:pt>
                <c:pt idx="30">
                  <c:v>Perrier Jou</c:v>
                </c:pt>
                <c:pt idx="31">
                  <c:v>All Others</c:v>
                </c:pt>
                <c:pt idx="32">
                  <c:v>Laurent Per</c:v>
                </c:pt>
                <c:pt idx="33">
                  <c:v>Veuve Clicq</c:v>
                </c:pt>
                <c:pt idx="34">
                  <c:v>Piper Heids</c:v>
                </c:pt>
                <c:pt idx="35">
                  <c:v>Laurent Per</c:v>
                </c:pt>
                <c:pt idx="36">
                  <c:v>Ayala</c:v>
                </c:pt>
                <c:pt idx="37">
                  <c:v>De Bligny</c:v>
                </c:pt>
                <c:pt idx="38">
                  <c:v>Roederer</c:v>
                </c:pt>
                <c:pt idx="39">
                  <c:v>Bollinger</c:v>
                </c:pt>
                <c:pt idx="40">
                  <c:v>Moët &amp; Chan</c:v>
                </c:pt>
                <c:pt idx="41">
                  <c:v>Moët &amp; Chan</c:v>
                </c:pt>
                <c:pt idx="42">
                  <c:v>Besserat De</c:v>
                </c:pt>
              </c:strCache>
            </c:strRef>
          </c:cat>
          <c:val>
            <c:numRef>
              <c:f>Sheet1!$C$2:$C$44</c:f>
              <c:numCache>
                <c:formatCode>General</c:formatCode>
                <c:ptCount val="43"/>
                <c:pt idx="0">
                  <c:v>0.14186211887080866</c:v>
                </c:pt>
                <c:pt idx="1">
                  <c:v>0.28210598316264501</c:v>
                </c:pt>
                <c:pt idx="2">
                  <c:v>0.40183596821047318</c:v>
                </c:pt>
                <c:pt idx="3">
                  <c:v>0.4974339403873384</c:v>
                </c:pt>
                <c:pt idx="4">
                  <c:v>0.56775294090659789</c:v>
                </c:pt>
                <c:pt idx="5">
                  <c:v>0.63332770280838069</c:v>
                </c:pt>
                <c:pt idx="6">
                  <c:v>0.68807100300503199</c:v>
                </c:pt>
                <c:pt idx="7">
                  <c:v>0.72589144764967284</c:v>
                </c:pt>
                <c:pt idx="8">
                  <c:v>0.7627088247009044</c:v>
                </c:pt>
                <c:pt idx="9">
                  <c:v>0.79540757701828246</c:v>
                </c:pt>
                <c:pt idx="10">
                  <c:v>0.82396268004646223</c:v>
                </c:pt>
                <c:pt idx="11">
                  <c:v>0.85006329127122648</c:v>
                </c:pt>
                <c:pt idx="12">
                  <c:v>0.87598664522896419</c:v>
                </c:pt>
                <c:pt idx="13">
                  <c:v>0.90115717714674182</c:v>
                </c:pt>
                <c:pt idx="14">
                  <c:v>0.91934168736405919</c:v>
                </c:pt>
                <c:pt idx="15">
                  <c:v>0.93467339827205431</c:v>
                </c:pt>
                <c:pt idx="16">
                  <c:v>0.94957343560034935</c:v>
                </c:pt>
                <c:pt idx="17">
                  <c:v>0.95825695630504082</c:v>
                </c:pt>
                <c:pt idx="18">
                  <c:v>0.96613969123869448</c:v>
                </c:pt>
                <c:pt idx="19">
                  <c:v>0.97047728083181606</c:v>
                </c:pt>
                <c:pt idx="20">
                  <c:v>0.97314448135566345</c:v>
                </c:pt>
                <c:pt idx="21">
                  <c:v>0.97571992517657935</c:v>
                </c:pt>
                <c:pt idx="22">
                  <c:v>0.97812853862852911</c:v>
                </c:pt>
                <c:pt idx="23">
                  <c:v>0.98034321177655559</c:v>
                </c:pt>
                <c:pt idx="24">
                  <c:v>0.98235560310221059</c:v>
                </c:pt>
                <c:pt idx="25">
                  <c:v>0.98427206696571001</c:v>
                </c:pt>
                <c:pt idx="26">
                  <c:v>0.9861655916534765</c:v>
                </c:pt>
                <c:pt idx="27">
                  <c:v>0.98790479824994926</c:v>
                </c:pt>
                <c:pt idx="28">
                  <c:v>0.98920816050749782</c:v>
                </c:pt>
                <c:pt idx="29">
                  <c:v>0.99049066896892557</c:v>
                </c:pt>
                <c:pt idx="30">
                  <c:v>0.99176066515268091</c:v>
                </c:pt>
                <c:pt idx="31">
                  <c:v>0.99297018532768599</c:v>
                </c:pt>
                <c:pt idx="32">
                  <c:v>0.99417970550269108</c:v>
                </c:pt>
                <c:pt idx="33">
                  <c:v>0.99530581049321298</c:v>
                </c:pt>
                <c:pt idx="34">
                  <c:v>0.99642774472451079</c:v>
                </c:pt>
                <c:pt idx="35">
                  <c:v>0.99749962984511875</c:v>
                </c:pt>
                <c:pt idx="36">
                  <c:v>0.99828998871809616</c:v>
                </c:pt>
                <c:pt idx="37">
                  <c:v>0.99906366455417694</c:v>
                </c:pt>
                <c:pt idx="38">
                  <c:v>0.99936604459792822</c:v>
                </c:pt>
                <c:pt idx="39">
                  <c:v>0.99962880242905006</c:v>
                </c:pt>
                <c:pt idx="40">
                  <c:v>0.9997914620387921</c:v>
                </c:pt>
                <c:pt idx="41">
                  <c:v>0.99991658481551671</c:v>
                </c:pt>
                <c:pt idx="42">
                  <c:v>0.99999999999999978</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44</c:f>
              <c:strCache>
                <c:ptCount val="43"/>
                <c:pt idx="0">
                  <c:v>Ruinart</c:v>
                </c:pt>
                <c:pt idx="1">
                  <c:v>Roederer</c:v>
                </c:pt>
                <c:pt idx="2">
                  <c:v>Laurent Per</c:v>
                </c:pt>
                <c:pt idx="3">
                  <c:v>Deutz</c:v>
                </c:pt>
                <c:pt idx="4">
                  <c:v>Ruinart</c:v>
                </c:pt>
                <c:pt idx="5">
                  <c:v>Demoiselle</c:v>
                </c:pt>
                <c:pt idx="6">
                  <c:v>Nicolas Feu</c:v>
                </c:pt>
                <c:pt idx="7">
                  <c:v>Nicolas</c:v>
                </c:pt>
                <c:pt idx="8">
                  <c:v>Dom Perigno</c:v>
                </c:pt>
                <c:pt idx="9">
                  <c:v>Bollinger</c:v>
                </c:pt>
                <c:pt idx="10">
                  <c:v>Besserat De</c:v>
                </c:pt>
                <c:pt idx="11">
                  <c:v>Ruinart</c:v>
                </c:pt>
                <c:pt idx="12">
                  <c:v>Malard</c:v>
                </c:pt>
                <c:pt idx="13">
                  <c:v>Pommery</c:v>
                </c:pt>
                <c:pt idx="14">
                  <c:v>Ruinart</c:v>
                </c:pt>
                <c:pt idx="15">
                  <c:v>Deutz</c:v>
                </c:pt>
                <c:pt idx="16">
                  <c:v>Nicolas</c:v>
                </c:pt>
                <c:pt idx="17">
                  <c:v>Veuve Clicq</c:v>
                </c:pt>
                <c:pt idx="18">
                  <c:v>Moët &amp; Chan</c:v>
                </c:pt>
                <c:pt idx="19">
                  <c:v>Nicolas</c:v>
                </c:pt>
                <c:pt idx="20">
                  <c:v>Roederer</c:v>
                </c:pt>
                <c:pt idx="21">
                  <c:v>Dom Perigno</c:v>
                </c:pt>
                <c:pt idx="22">
                  <c:v>Besserat De</c:v>
                </c:pt>
                <c:pt idx="23">
                  <c:v>Dom Perigno</c:v>
                </c:pt>
                <c:pt idx="24">
                  <c:v>Moët &amp; Chan</c:v>
                </c:pt>
                <c:pt idx="25">
                  <c:v>Ruinart</c:v>
                </c:pt>
                <c:pt idx="26">
                  <c:v>Roederer</c:v>
                </c:pt>
                <c:pt idx="27">
                  <c:v>Nicolas</c:v>
                </c:pt>
                <c:pt idx="28">
                  <c:v>Demoiselle</c:v>
                </c:pt>
                <c:pt idx="29">
                  <c:v>Perrier Jou</c:v>
                </c:pt>
                <c:pt idx="30">
                  <c:v>Veuve Clicq</c:v>
                </c:pt>
                <c:pt idx="31">
                  <c:v>Dom Perigno</c:v>
                </c:pt>
                <c:pt idx="32">
                  <c:v>Deutz</c:v>
                </c:pt>
                <c:pt idx="33">
                  <c:v>Ruinart</c:v>
                </c:pt>
                <c:pt idx="34">
                  <c:v>Nicolas</c:v>
                </c:pt>
                <c:pt idx="35">
                  <c:v>Deutz</c:v>
                </c:pt>
                <c:pt idx="36">
                  <c:v>Taittinger</c:v>
                </c:pt>
                <c:pt idx="37">
                  <c:v>Laurent Per</c:v>
                </c:pt>
                <c:pt idx="38">
                  <c:v>Bollinger</c:v>
                </c:pt>
                <c:pt idx="39">
                  <c:v>Ruinart</c:v>
                </c:pt>
                <c:pt idx="40">
                  <c:v>All Others</c:v>
                </c:pt>
                <c:pt idx="41">
                  <c:v>Roederer</c:v>
                </c:pt>
                <c:pt idx="42">
                  <c:v>Laurent Per</c:v>
                </c:pt>
              </c:strCache>
            </c:strRef>
          </c:cat>
          <c:val>
            <c:numRef>
              <c:f>Sheet1!$B$2:$B$44</c:f>
              <c:numCache>
                <c:formatCode>General</c:formatCode>
                <c:ptCount val="43"/>
                <c:pt idx="0">
                  <c:v>0.77</c:v>
                </c:pt>
                <c:pt idx="1">
                  <c:v>0.27</c:v>
                </c:pt>
                <c:pt idx="2">
                  <c:v>0.69</c:v>
                </c:pt>
                <c:pt idx="3">
                  <c:v>0.81</c:v>
                </c:pt>
                <c:pt idx="4">
                  <c:v>0.59</c:v>
                </c:pt>
                <c:pt idx="5">
                  <c:v>0.79</c:v>
                </c:pt>
                <c:pt idx="6">
                  <c:v>0.65</c:v>
                </c:pt>
                <c:pt idx="7">
                  <c:v>0.64</c:v>
                </c:pt>
                <c:pt idx="8">
                  <c:v>0.25</c:v>
                </c:pt>
                <c:pt idx="9">
                  <c:v>0.43</c:v>
                </c:pt>
                <c:pt idx="10">
                  <c:v>0.43</c:v>
                </c:pt>
                <c:pt idx="11">
                  <c:v>0.44</c:v>
                </c:pt>
                <c:pt idx="12">
                  <c:v>0.64</c:v>
                </c:pt>
                <c:pt idx="13">
                  <c:v>0.38</c:v>
                </c:pt>
                <c:pt idx="14">
                  <c:v>0.25</c:v>
                </c:pt>
                <c:pt idx="15">
                  <c:v>0.47</c:v>
                </c:pt>
                <c:pt idx="16">
                  <c:v>0.38</c:v>
                </c:pt>
                <c:pt idx="17">
                  <c:v>0.2</c:v>
                </c:pt>
                <c:pt idx="18">
                  <c:v>0.15</c:v>
                </c:pt>
                <c:pt idx="19">
                  <c:v>0.44</c:v>
                </c:pt>
                <c:pt idx="20">
                  <c:v>0.21</c:v>
                </c:pt>
                <c:pt idx="21">
                  <c:v>0.1</c:v>
                </c:pt>
                <c:pt idx="22">
                  <c:v>0.3</c:v>
                </c:pt>
                <c:pt idx="23">
                  <c:v>0.11</c:v>
                </c:pt>
                <c:pt idx="24">
                  <c:v>0.15</c:v>
                </c:pt>
                <c:pt idx="25">
                  <c:v>0.16</c:v>
                </c:pt>
                <c:pt idx="26">
                  <c:v>0.05</c:v>
                </c:pt>
                <c:pt idx="27">
                  <c:v>0.1</c:v>
                </c:pt>
                <c:pt idx="28">
                  <c:v>0.26</c:v>
                </c:pt>
                <c:pt idx="29">
                  <c:v>0.18</c:v>
                </c:pt>
                <c:pt idx="30">
                  <c:v>0.27</c:v>
                </c:pt>
                <c:pt idx="31">
                  <c:v>0.28000000000000003</c:v>
                </c:pt>
                <c:pt idx="32">
                  <c:v>0.13</c:v>
                </c:pt>
                <c:pt idx="33">
                  <c:v>0.03</c:v>
                </c:pt>
                <c:pt idx="34">
                  <c:v>0.2</c:v>
                </c:pt>
                <c:pt idx="35">
                  <c:v>0.13</c:v>
                </c:pt>
                <c:pt idx="36">
                  <c:v>0.09</c:v>
                </c:pt>
                <c:pt idx="37">
                  <c:v>0.04</c:v>
                </c:pt>
                <c:pt idx="38">
                  <c:v>0.09</c:v>
                </c:pt>
                <c:pt idx="39">
                  <c:v>0.03</c:v>
                </c:pt>
                <c:pt idx="40">
                  <c:v>0.04</c:v>
                </c:pt>
                <c:pt idx="41">
                  <c:v>0.02</c:v>
                </c:pt>
                <c:pt idx="42">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7ECAC4"/>
              </a:solidFill>
            </c:spPr>
            <c:extLst>
              <c:ext xmlns:c16="http://schemas.microsoft.com/office/drawing/2014/chart" uri="{C3380CC4-5D6E-409C-BE32-E72D297353CC}">
                <c16:uniqueId val="{00000051-2993-41DE-A2CB-63102DE87051}"/>
              </c:ext>
            </c:extLst>
          </c:dPt>
          <c:dPt>
            <c:idx val="13"/>
            <c:invertIfNegative val="1"/>
            <c:bubble3D val="0"/>
            <c:spPr>
              <a:solidFill>
                <a:srgbClr val="7ECAC4"/>
              </a:solidFill>
            </c:spPr>
            <c:extLst>
              <c:ext xmlns:c16="http://schemas.microsoft.com/office/drawing/2014/chart" uri="{C3380CC4-5D6E-409C-BE32-E72D297353CC}">
                <c16:uniqueId val="{00000053-2993-41DE-A2CB-63102DE87051}"/>
              </c:ext>
            </c:extLst>
          </c:dPt>
          <c:dPt>
            <c:idx val="14"/>
            <c:invertIfNegative val="1"/>
            <c:bubble3D val="0"/>
            <c:spPr>
              <a:solidFill>
                <a:srgbClr val="7ECAC4"/>
              </a:solidFill>
            </c:spPr>
            <c:extLst>
              <c:ext xmlns:c16="http://schemas.microsoft.com/office/drawing/2014/chart" uri="{C3380CC4-5D6E-409C-BE32-E72D297353CC}">
                <c16:uniqueId val="{00000055-2993-41DE-A2CB-63102DE87051}"/>
              </c:ext>
            </c:extLst>
          </c:dPt>
          <c:dPt>
            <c:idx val="15"/>
            <c:invertIfNegative val="1"/>
            <c:bubble3D val="0"/>
            <c:spPr>
              <a:solidFill>
                <a:srgbClr val="7ECAC4"/>
              </a:solidFill>
            </c:spPr>
            <c:extLst>
              <c:ext xmlns:c16="http://schemas.microsoft.com/office/drawing/2014/chart" uri="{C3380CC4-5D6E-409C-BE32-E72D297353CC}">
                <c16:uniqueId val="{00000057-2993-41DE-A2CB-63102DE87051}"/>
              </c:ext>
            </c:extLst>
          </c:dPt>
          <c:dPt>
            <c:idx val="16"/>
            <c:invertIfNegative val="1"/>
            <c:bubble3D val="0"/>
            <c:spPr>
              <a:solidFill>
                <a:srgbClr val="7ECAC4"/>
              </a:solidFill>
            </c:spPr>
            <c:extLst>
              <c:ext xmlns:c16="http://schemas.microsoft.com/office/drawing/2014/chart" uri="{C3380CC4-5D6E-409C-BE32-E72D297353CC}">
                <c16:uniqueId val="{00000059-2993-41DE-A2CB-63102DE87051}"/>
              </c:ext>
            </c:extLst>
          </c:dPt>
          <c:dPt>
            <c:idx val="17"/>
            <c:invertIfNegative val="1"/>
            <c:bubble3D val="0"/>
            <c:spPr>
              <a:solidFill>
                <a:srgbClr val="7ECAC4"/>
              </a:solidFill>
            </c:spPr>
            <c:extLst>
              <c:ext xmlns:c16="http://schemas.microsoft.com/office/drawing/2014/chart" uri="{C3380CC4-5D6E-409C-BE32-E72D297353CC}">
                <c16:uniqueId val="{0000005B-2993-41DE-A2CB-63102DE87051}"/>
              </c:ext>
            </c:extLst>
          </c:dPt>
          <c:dPt>
            <c:idx val="18"/>
            <c:invertIfNegative val="1"/>
            <c:bubble3D val="0"/>
            <c:spPr>
              <a:solidFill>
                <a:srgbClr val="7ECAC4"/>
              </a:solidFill>
            </c:spPr>
            <c:extLst>
              <c:ext xmlns:c16="http://schemas.microsoft.com/office/drawing/2014/chart" uri="{C3380CC4-5D6E-409C-BE32-E72D297353CC}">
                <c16:uniqueId val="{0000005D-2993-41DE-A2CB-63102DE87051}"/>
              </c:ext>
            </c:extLst>
          </c:dPt>
          <c:dPt>
            <c:idx val="19"/>
            <c:invertIfNegative val="1"/>
            <c:bubble3D val="0"/>
            <c:spPr>
              <a:solidFill>
                <a:srgbClr val="7ECAC4"/>
              </a:solidFill>
            </c:spPr>
            <c:extLst>
              <c:ext xmlns:c16="http://schemas.microsoft.com/office/drawing/2014/chart" uri="{C3380CC4-5D6E-409C-BE32-E72D297353CC}">
                <c16:uniqueId val="{0000005F-2993-41DE-A2CB-63102DE87051}"/>
              </c:ext>
            </c:extLst>
          </c:dPt>
          <c:dPt>
            <c:idx val="20"/>
            <c:invertIfNegative val="1"/>
            <c:bubble3D val="0"/>
            <c:spPr>
              <a:solidFill>
                <a:srgbClr val="7ECAC4"/>
              </a:solidFill>
            </c:spPr>
            <c:extLst>
              <c:ext xmlns:c16="http://schemas.microsoft.com/office/drawing/2014/chart" uri="{C3380CC4-5D6E-409C-BE32-E72D297353CC}">
                <c16:uniqueId val="{00000061-2993-41DE-A2CB-63102DE87051}"/>
              </c:ext>
            </c:extLst>
          </c:dPt>
          <c:dPt>
            <c:idx val="21"/>
            <c:invertIfNegative val="1"/>
            <c:bubble3D val="0"/>
            <c:spPr>
              <a:solidFill>
                <a:srgbClr val="AEABAB"/>
              </a:solidFill>
            </c:spPr>
            <c:extLst>
              <c:ext xmlns:c16="http://schemas.microsoft.com/office/drawing/2014/chart" uri="{C3380CC4-5D6E-409C-BE32-E72D297353CC}">
                <c16:uniqueId val="{00000063-2993-41DE-A2CB-63102DE87051}"/>
              </c:ext>
            </c:extLst>
          </c:dPt>
          <c:dPt>
            <c:idx val="22"/>
            <c:invertIfNegative val="1"/>
            <c:bubble3D val="0"/>
            <c:spPr>
              <a:solidFill>
                <a:srgbClr val="AEABAB"/>
              </a:solidFill>
            </c:spPr>
            <c:extLst>
              <c:ext xmlns:c16="http://schemas.microsoft.com/office/drawing/2014/chart" uri="{C3380CC4-5D6E-409C-BE32-E72D297353CC}">
                <c16:uniqueId val="{00000065-2993-41DE-A2CB-63102DE87051}"/>
              </c:ext>
            </c:extLst>
          </c:dPt>
          <c:dPt>
            <c:idx val="23"/>
            <c:invertIfNegative val="1"/>
            <c:bubble3D val="0"/>
            <c:spPr>
              <a:solidFill>
                <a:srgbClr val="AEABAB"/>
              </a:solidFill>
            </c:spPr>
            <c:extLst>
              <c:ext xmlns:c16="http://schemas.microsoft.com/office/drawing/2014/chart" uri="{C3380CC4-5D6E-409C-BE32-E72D297353CC}">
                <c16:uniqueId val="{00000067-2993-41DE-A2CB-63102DE87051}"/>
              </c:ext>
            </c:extLst>
          </c:dPt>
          <c:dPt>
            <c:idx val="24"/>
            <c:invertIfNegative val="1"/>
            <c:bubble3D val="0"/>
            <c:spPr>
              <a:solidFill>
                <a:srgbClr val="AEABAB"/>
              </a:solidFill>
            </c:spPr>
            <c:extLst>
              <c:ext xmlns:c16="http://schemas.microsoft.com/office/drawing/2014/chart" uri="{C3380CC4-5D6E-409C-BE32-E72D297353CC}">
                <c16:uniqueId val="{00000069-2993-41DE-A2CB-63102DE87051}"/>
              </c:ext>
            </c:extLst>
          </c:dPt>
          <c:dPt>
            <c:idx val="25"/>
            <c:invertIfNegative val="1"/>
            <c:bubble3D val="0"/>
            <c:spPr>
              <a:solidFill>
                <a:srgbClr val="AEABAB"/>
              </a:solidFill>
            </c:spPr>
            <c:extLst>
              <c:ext xmlns:c16="http://schemas.microsoft.com/office/drawing/2014/chart" uri="{C3380CC4-5D6E-409C-BE32-E72D297353CC}">
                <c16:uniqueId val="{0000006B-2993-41DE-A2CB-63102DE87051}"/>
              </c:ext>
            </c:extLst>
          </c:dPt>
          <c:dPt>
            <c:idx val="26"/>
            <c:invertIfNegative val="1"/>
            <c:bubble3D val="0"/>
            <c:spPr>
              <a:solidFill>
                <a:srgbClr val="AEABAB"/>
              </a:solidFill>
            </c:spPr>
            <c:extLst>
              <c:ext xmlns:c16="http://schemas.microsoft.com/office/drawing/2014/chart" uri="{C3380CC4-5D6E-409C-BE32-E72D297353CC}">
                <c16:uniqueId val="{0000006D-2993-41DE-A2CB-63102DE87051}"/>
              </c:ext>
            </c:extLst>
          </c:dPt>
          <c:dPt>
            <c:idx val="27"/>
            <c:invertIfNegative val="1"/>
            <c:bubble3D val="0"/>
            <c:spPr>
              <a:solidFill>
                <a:srgbClr val="AEABAB"/>
              </a:solidFill>
            </c:spPr>
            <c:extLst>
              <c:ext xmlns:c16="http://schemas.microsoft.com/office/drawing/2014/chart" uri="{C3380CC4-5D6E-409C-BE32-E72D297353CC}">
                <c16:uniqueId val="{0000006F-2993-41DE-A2CB-63102DE87051}"/>
              </c:ext>
            </c:extLst>
          </c:dPt>
          <c:dPt>
            <c:idx val="28"/>
            <c:invertIfNegative val="1"/>
            <c:bubble3D val="0"/>
            <c:spPr>
              <a:solidFill>
                <a:srgbClr val="AEABAB"/>
              </a:solidFill>
            </c:spPr>
            <c:extLst>
              <c:ext xmlns:c16="http://schemas.microsoft.com/office/drawing/2014/chart" uri="{C3380CC4-5D6E-409C-BE32-E72D297353CC}">
                <c16:uniqueId val="{00000071-2993-41DE-A2CB-63102DE87051}"/>
              </c:ext>
            </c:extLst>
          </c:dPt>
          <c:dPt>
            <c:idx val="29"/>
            <c:invertIfNegative val="1"/>
            <c:bubble3D val="0"/>
            <c:spPr>
              <a:solidFill>
                <a:srgbClr val="AEABAB"/>
              </a:solidFill>
            </c:spPr>
            <c:extLst>
              <c:ext xmlns:c16="http://schemas.microsoft.com/office/drawing/2014/chart" uri="{C3380CC4-5D6E-409C-BE32-E72D297353CC}">
                <c16:uniqueId val="{00000073-2993-41DE-A2CB-63102DE87051}"/>
              </c:ext>
            </c:extLst>
          </c:dPt>
          <c:dPt>
            <c:idx val="30"/>
            <c:invertIfNegative val="1"/>
            <c:bubble3D val="0"/>
            <c:spPr>
              <a:solidFill>
                <a:srgbClr val="AEABAB"/>
              </a:solidFill>
            </c:spPr>
            <c:extLst>
              <c:ext xmlns:c16="http://schemas.microsoft.com/office/drawing/2014/chart" uri="{C3380CC4-5D6E-409C-BE32-E72D297353CC}">
                <c16:uniqueId val="{00000075-2993-41DE-A2CB-63102DE87051}"/>
              </c:ext>
            </c:extLst>
          </c:dPt>
          <c:dPt>
            <c:idx val="31"/>
            <c:invertIfNegative val="1"/>
            <c:bubble3D val="0"/>
            <c:spPr>
              <a:solidFill>
                <a:srgbClr val="AEABAB"/>
              </a:solidFill>
            </c:spPr>
            <c:extLst>
              <c:ext xmlns:c16="http://schemas.microsoft.com/office/drawing/2014/chart" uri="{C3380CC4-5D6E-409C-BE32-E72D297353CC}">
                <c16:uniqueId val="{00000077-2993-41DE-A2CB-63102DE87051}"/>
              </c:ext>
            </c:extLst>
          </c:dPt>
          <c:dPt>
            <c:idx val="32"/>
            <c:invertIfNegative val="1"/>
            <c:bubble3D val="0"/>
            <c:spPr>
              <a:solidFill>
                <a:srgbClr val="AEABAB"/>
              </a:solidFill>
            </c:spPr>
            <c:extLst>
              <c:ext xmlns:c16="http://schemas.microsoft.com/office/drawing/2014/chart" uri="{C3380CC4-5D6E-409C-BE32-E72D297353CC}">
                <c16:uniqueId val="{00000079-2993-41DE-A2CB-63102DE87051}"/>
              </c:ext>
            </c:extLst>
          </c:dPt>
          <c:dPt>
            <c:idx val="33"/>
            <c:invertIfNegative val="1"/>
            <c:bubble3D val="0"/>
            <c:spPr>
              <a:solidFill>
                <a:srgbClr val="AEABAB"/>
              </a:solidFill>
            </c:spPr>
            <c:extLst>
              <c:ext xmlns:c16="http://schemas.microsoft.com/office/drawing/2014/chart" uri="{C3380CC4-5D6E-409C-BE32-E72D297353CC}">
                <c16:uniqueId val="{0000007B-2993-41DE-A2CB-63102DE87051}"/>
              </c:ext>
            </c:extLst>
          </c:dPt>
          <c:dPt>
            <c:idx val="34"/>
            <c:invertIfNegative val="1"/>
            <c:bubble3D val="0"/>
            <c:spPr>
              <a:solidFill>
                <a:srgbClr val="AEABAB"/>
              </a:solidFill>
            </c:spPr>
            <c:extLst>
              <c:ext xmlns:c16="http://schemas.microsoft.com/office/drawing/2014/chart" uri="{C3380CC4-5D6E-409C-BE32-E72D297353CC}">
                <c16:uniqueId val="{0000007D-2993-41DE-A2CB-63102DE87051}"/>
              </c:ext>
            </c:extLst>
          </c:dPt>
          <c:dPt>
            <c:idx val="35"/>
            <c:invertIfNegative val="1"/>
            <c:bubble3D val="0"/>
            <c:spPr>
              <a:solidFill>
                <a:srgbClr val="AEABAB"/>
              </a:solidFill>
            </c:spPr>
            <c:extLst>
              <c:ext xmlns:c16="http://schemas.microsoft.com/office/drawing/2014/chart" uri="{C3380CC4-5D6E-409C-BE32-E72D297353CC}">
                <c16:uniqueId val="{0000007F-2993-41DE-A2CB-63102DE87051}"/>
              </c:ext>
            </c:extLst>
          </c:dPt>
          <c:dPt>
            <c:idx val="36"/>
            <c:invertIfNegative val="1"/>
            <c:bubble3D val="0"/>
            <c:spPr>
              <a:solidFill>
                <a:srgbClr val="AEABAB"/>
              </a:solidFill>
            </c:spPr>
            <c:extLst>
              <c:ext xmlns:c16="http://schemas.microsoft.com/office/drawing/2014/chart" uri="{C3380CC4-5D6E-409C-BE32-E72D297353CC}">
                <c16:uniqueId val="{00000081-2993-41DE-A2CB-63102DE87051}"/>
              </c:ext>
            </c:extLst>
          </c:dPt>
          <c:dPt>
            <c:idx val="37"/>
            <c:invertIfNegative val="1"/>
            <c:bubble3D val="0"/>
            <c:spPr>
              <a:solidFill>
                <a:srgbClr val="AEABAB"/>
              </a:solidFill>
            </c:spPr>
            <c:extLst>
              <c:ext xmlns:c16="http://schemas.microsoft.com/office/drawing/2014/chart" uri="{C3380CC4-5D6E-409C-BE32-E72D297353CC}">
                <c16:uniqueId val="{00000083-2993-41DE-A2CB-63102DE87051}"/>
              </c:ext>
            </c:extLst>
          </c:dPt>
          <c:dPt>
            <c:idx val="38"/>
            <c:invertIfNegative val="1"/>
            <c:bubble3D val="0"/>
            <c:spPr>
              <a:solidFill>
                <a:srgbClr val="AEABAB"/>
              </a:solidFill>
            </c:spPr>
            <c:extLst>
              <c:ext xmlns:c16="http://schemas.microsoft.com/office/drawing/2014/chart" uri="{C3380CC4-5D6E-409C-BE32-E72D297353CC}">
                <c16:uniqueId val="{00000085-2993-41DE-A2CB-63102DE87051}"/>
              </c:ext>
            </c:extLst>
          </c:dPt>
          <c:dPt>
            <c:idx val="39"/>
            <c:invertIfNegative val="1"/>
            <c:bubble3D val="0"/>
            <c:spPr>
              <a:solidFill>
                <a:srgbClr val="AEABAB"/>
              </a:solidFill>
            </c:spPr>
            <c:extLst>
              <c:ext xmlns:c16="http://schemas.microsoft.com/office/drawing/2014/chart" uri="{C3380CC4-5D6E-409C-BE32-E72D297353CC}">
                <c16:uniqueId val="{00000087-2993-41DE-A2CB-63102DE87051}"/>
              </c:ext>
            </c:extLst>
          </c:dPt>
          <c:dPt>
            <c:idx val="40"/>
            <c:invertIfNegative val="1"/>
            <c:bubble3D val="0"/>
            <c:spPr>
              <a:solidFill>
                <a:srgbClr val="AEABAB"/>
              </a:solidFill>
            </c:spPr>
            <c:extLst>
              <c:ext xmlns:c16="http://schemas.microsoft.com/office/drawing/2014/chart" uri="{C3380CC4-5D6E-409C-BE32-E72D297353CC}">
                <c16:uniqueId val="{00000089-2993-41DE-A2CB-63102DE87051}"/>
              </c:ext>
            </c:extLst>
          </c:dPt>
          <c:dPt>
            <c:idx val="41"/>
            <c:invertIfNegative val="1"/>
            <c:bubble3D val="0"/>
            <c:spPr>
              <a:solidFill>
                <a:srgbClr val="AEABAB"/>
              </a:solidFill>
            </c:spPr>
            <c:extLst>
              <c:ext xmlns:c16="http://schemas.microsoft.com/office/drawing/2014/chart" uri="{C3380CC4-5D6E-409C-BE32-E72D297353CC}">
                <c16:uniqueId val="{0000008B-2993-41DE-A2CB-63102DE87051}"/>
              </c:ext>
            </c:extLst>
          </c:dPt>
          <c:dPt>
            <c:idx val="42"/>
            <c:invertIfNegative val="1"/>
            <c:bubble3D val="0"/>
            <c:spPr>
              <a:solidFill>
                <a:srgbClr val="AEABAB"/>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44</c:f>
              <c:strCache>
                <c:ptCount val="43"/>
                <c:pt idx="0">
                  <c:v>Ruinart</c:v>
                </c:pt>
                <c:pt idx="1">
                  <c:v>Roederer</c:v>
                </c:pt>
                <c:pt idx="2">
                  <c:v>Laurent Per</c:v>
                </c:pt>
                <c:pt idx="3">
                  <c:v>Deutz</c:v>
                </c:pt>
                <c:pt idx="4">
                  <c:v>Ruinart</c:v>
                </c:pt>
                <c:pt idx="5">
                  <c:v>Demoiselle</c:v>
                </c:pt>
                <c:pt idx="6">
                  <c:v>Nicolas Feu</c:v>
                </c:pt>
                <c:pt idx="7">
                  <c:v>Nicolas</c:v>
                </c:pt>
                <c:pt idx="8">
                  <c:v>Dom Perigno</c:v>
                </c:pt>
                <c:pt idx="9">
                  <c:v>Bollinger</c:v>
                </c:pt>
                <c:pt idx="10">
                  <c:v>Besserat De</c:v>
                </c:pt>
                <c:pt idx="11">
                  <c:v>Ruinart</c:v>
                </c:pt>
                <c:pt idx="12">
                  <c:v>Malard</c:v>
                </c:pt>
                <c:pt idx="13">
                  <c:v>Pommery</c:v>
                </c:pt>
                <c:pt idx="14">
                  <c:v>Ruinart</c:v>
                </c:pt>
                <c:pt idx="15">
                  <c:v>Deutz</c:v>
                </c:pt>
                <c:pt idx="16">
                  <c:v>Nicolas</c:v>
                </c:pt>
                <c:pt idx="17">
                  <c:v>Veuve Clicq</c:v>
                </c:pt>
                <c:pt idx="18">
                  <c:v>Moët &amp; Chan</c:v>
                </c:pt>
                <c:pt idx="19">
                  <c:v>Nicolas</c:v>
                </c:pt>
                <c:pt idx="20">
                  <c:v>Roederer</c:v>
                </c:pt>
                <c:pt idx="21">
                  <c:v>Dom Perigno</c:v>
                </c:pt>
                <c:pt idx="22">
                  <c:v>Besserat De</c:v>
                </c:pt>
                <c:pt idx="23">
                  <c:v>Dom Perigno</c:v>
                </c:pt>
                <c:pt idx="24">
                  <c:v>Moët &amp; Chan</c:v>
                </c:pt>
                <c:pt idx="25">
                  <c:v>Ruinart</c:v>
                </c:pt>
                <c:pt idx="26">
                  <c:v>Roederer</c:v>
                </c:pt>
                <c:pt idx="27">
                  <c:v>Nicolas</c:v>
                </c:pt>
                <c:pt idx="28">
                  <c:v>Demoiselle</c:v>
                </c:pt>
                <c:pt idx="29">
                  <c:v>Perrier Jou</c:v>
                </c:pt>
                <c:pt idx="30">
                  <c:v>Veuve Clicq</c:v>
                </c:pt>
                <c:pt idx="31">
                  <c:v>Dom Perigno</c:v>
                </c:pt>
                <c:pt idx="32">
                  <c:v>Deutz</c:v>
                </c:pt>
                <c:pt idx="33">
                  <c:v>Ruinart</c:v>
                </c:pt>
                <c:pt idx="34">
                  <c:v>Nicolas</c:v>
                </c:pt>
                <c:pt idx="35">
                  <c:v>Deutz</c:v>
                </c:pt>
                <c:pt idx="36">
                  <c:v>Taittinger</c:v>
                </c:pt>
                <c:pt idx="37">
                  <c:v>Laurent Per</c:v>
                </c:pt>
                <c:pt idx="38">
                  <c:v>Bollinger</c:v>
                </c:pt>
                <c:pt idx="39">
                  <c:v>Ruinart</c:v>
                </c:pt>
                <c:pt idx="40">
                  <c:v>All Others</c:v>
                </c:pt>
                <c:pt idx="41">
                  <c:v>Roederer</c:v>
                </c:pt>
                <c:pt idx="42">
                  <c:v>Laurent Per</c:v>
                </c:pt>
              </c:strCache>
            </c:strRef>
          </c:cat>
          <c:val>
            <c:numRef>
              <c:f>Sheet1!$C$2:$C$44</c:f>
              <c:numCache>
                <c:formatCode>General</c:formatCode>
                <c:ptCount val="43"/>
                <c:pt idx="0">
                  <c:v>0.14057861356969228</c:v>
                </c:pt>
                <c:pt idx="1">
                  <c:v>0.25569300148562263</c:v>
                </c:pt>
                <c:pt idx="2">
                  <c:v>0.35208753861739056</c:v>
                </c:pt>
                <c:pt idx="3">
                  <c:v>0.44342693677682726</c:v>
                </c:pt>
                <c:pt idx="4">
                  <c:v>0.52403013476181015</c:v>
                </c:pt>
                <c:pt idx="5">
                  <c:v>0.58374412098146611</c:v>
                </c:pt>
                <c:pt idx="6">
                  <c:v>0.63278223688014212</c:v>
                </c:pt>
                <c:pt idx="7">
                  <c:v>0.67840417482586035</c:v>
                </c:pt>
                <c:pt idx="8">
                  <c:v>0.72118055468272779</c:v>
                </c:pt>
                <c:pt idx="9">
                  <c:v>0.758331175703157</c:v>
                </c:pt>
                <c:pt idx="10">
                  <c:v>0.78781236410072064</c:v>
                </c:pt>
                <c:pt idx="11">
                  <c:v>0.81644139331796595</c:v>
                </c:pt>
                <c:pt idx="12">
                  <c:v>0.84447969271994627</c:v>
                </c:pt>
                <c:pt idx="13">
                  <c:v>0.86851611184149335</c:v>
                </c:pt>
                <c:pt idx="14">
                  <c:v>0.89168528931935354</c:v>
                </c:pt>
                <c:pt idx="15">
                  <c:v>0.90791401990382414</c:v>
                </c:pt>
                <c:pt idx="16">
                  <c:v>0.91746876044774806</c:v>
                </c:pt>
                <c:pt idx="17">
                  <c:v>0.92654086216388098</c:v>
                </c:pt>
                <c:pt idx="18">
                  <c:v>0.93441893553001032</c:v>
                </c:pt>
                <c:pt idx="19">
                  <c:v>0.9419300022875069</c:v>
                </c:pt>
                <c:pt idx="20">
                  <c:v>0.94916958470437107</c:v>
                </c:pt>
                <c:pt idx="21">
                  <c:v>0.9555544941970221</c:v>
                </c:pt>
                <c:pt idx="22">
                  <c:v>0.96181120275104115</c:v>
                </c:pt>
                <c:pt idx="23">
                  <c:v>0.9665998848705295</c:v>
                </c:pt>
                <c:pt idx="24">
                  <c:v>0.97076264476022645</c:v>
                </c:pt>
                <c:pt idx="25">
                  <c:v>0.9746840852360279</c:v>
                </c:pt>
                <c:pt idx="26">
                  <c:v>0.97832901388340743</c:v>
                </c:pt>
                <c:pt idx="27">
                  <c:v>0.98143600133731168</c:v>
                </c:pt>
                <c:pt idx="28">
                  <c:v>0.9839371765125825</c:v>
                </c:pt>
                <c:pt idx="29">
                  <c:v>0.98618194981058938</c:v>
                </c:pt>
                <c:pt idx="30">
                  <c:v>0.98822562359701671</c:v>
                </c:pt>
                <c:pt idx="31">
                  <c:v>0.99006568412796969</c:v>
                </c:pt>
                <c:pt idx="32">
                  <c:v>0.9917775437202907</c:v>
                </c:pt>
                <c:pt idx="33">
                  <c:v>0.99326819384987419</c:v>
                </c:pt>
                <c:pt idx="34">
                  <c:v>0.99462058806524678</c:v>
                </c:pt>
                <c:pt idx="35">
                  <c:v>0.99564870931819727</c:v>
                </c:pt>
                <c:pt idx="36">
                  <c:v>0.99649081352293667</c:v>
                </c:pt>
                <c:pt idx="37">
                  <c:v>0.99730023905704446</c:v>
                </c:pt>
                <c:pt idx="38">
                  <c:v>0.99803927976209938</c:v>
                </c:pt>
                <c:pt idx="39">
                  <c:v>0.99871799061368038</c:v>
                </c:pt>
                <c:pt idx="40">
                  <c:v>0.99938413274578763</c:v>
                </c:pt>
                <c:pt idx="41">
                  <c:v>0.99975113935442028</c:v>
                </c:pt>
                <c:pt idx="42">
                  <c:v>1</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41</c:f>
              <c:strCache>
                <c:ptCount val="40"/>
                <c:pt idx="0">
                  <c:v>Ruinart</c:v>
                </c:pt>
                <c:pt idx="1">
                  <c:v>Deutz</c:v>
                </c:pt>
                <c:pt idx="2">
                  <c:v>Ruinart</c:v>
                </c:pt>
                <c:pt idx="3">
                  <c:v>Demoiselle</c:v>
                </c:pt>
                <c:pt idx="4">
                  <c:v>Laurent Per</c:v>
                </c:pt>
                <c:pt idx="5">
                  <c:v>Nicolas Feu</c:v>
                </c:pt>
                <c:pt idx="6">
                  <c:v>Nicolas</c:v>
                </c:pt>
                <c:pt idx="7">
                  <c:v>Ruinart</c:v>
                </c:pt>
                <c:pt idx="8">
                  <c:v>Malard</c:v>
                </c:pt>
                <c:pt idx="9">
                  <c:v>Pommery</c:v>
                </c:pt>
                <c:pt idx="10">
                  <c:v>Ruinart</c:v>
                </c:pt>
                <c:pt idx="11">
                  <c:v>Besserat De</c:v>
                </c:pt>
                <c:pt idx="12">
                  <c:v>Bollinger</c:v>
                </c:pt>
                <c:pt idx="13">
                  <c:v>Deutz</c:v>
                </c:pt>
                <c:pt idx="14">
                  <c:v>Dom Perigno</c:v>
                </c:pt>
                <c:pt idx="15">
                  <c:v>Deutz</c:v>
                </c:pt>
                <c:pt idx="16">
                  <c:v>Nicolas</c:v>
                </c:pt>
                <c:pt idx="17">
                  <c:v>Nicolas</c:v>
                </c:pt>
                <c:pt idx="18">
                  <c:v>Besserat De</c:v>
                </c:pt>
                <c:pt idx="19">
                  <c:v>All Others</c:v>
                </c:pt>
                <c:pt idx="20">
                  <c:v>Nicolas</c:v>
                </c:pt>
                <c:pt idx="21">
                  <c:v>Demoiselle</c:v>
                </c:pt>
                <c:pt idx="22">
                  <c:v>Nicolas</c:v>
                </c:pt>
                <c:pt idx="23">
                  <c:v>Ayala</c:v>
                </c:pt>
                <c:pt idx="24">
                  <c:v>Krug</c:v>
                </c:pt>
                <c:pt idx="25">
                  <c:v>Dom Perigno</c:v>
                </c:pt>
                <c:pt idx="26">
                  <c:v>Taittinger</c:v>
                </c:pt>
                <c:pt idx="27">
                  <c:v>Perrier Jou</c:v>
                </c:pt>
                <c:pt idx="28">
                  <c:v>Dom Perigno</c:v>
                </c:pt>
                <c:pt idx="29">
                  <c:v>All Others</c:v>
                </c:pt>
                <c:pt idx="30">
                  <c:v>Laurent Per</c:v>
                </c:pt>
                <c:pt idx="31">
                  <c:v>Veuve Clicq</c:v>
                </c:pt>
                <c:pt idx="32">
                  <c:v>Ruinart</c:v>
                </c:pt>
                <c:pt idx="33">
                  <c:v>Henriot</c:v>
                </c:pt>
                <c:pt idx="34">
                  <c:v>Ruinart</c:v>
                </c:pt>
                <c:pt idx="35">
                  <c:v>Bollinger</c:v>
                </c:pt>
                <c:pt idx="36">
                  <c:v>Moët &amp; Chan</c:v>
                </c:pt>
                <c:pt idx="37">
                  <c:v>All Others</c:v>
                </c:pt>
                <c:pt idx="38">
                  <c:v>Henriot</c:v>
                </c:pt>
                <c:pt idx="39">
                  <c:v>Roederer</c:v>
                </c:pt>
              </c:strCache>
            </c:strRef>
          </c:cat>
          <c:val>
            <c:numRef>
              <c:f>Sheet1!$B$2:$B$41</c:f>
              <c:numCache>
                <c:formatCode>General</c:formatCode>
                <c:ptCount val="40"/>
                <c:pt idx="0">
                  <c:v>0.78</c:v>
                </c:pt>
                <c:pt idx="1">
                  <c:v>0.88</c:v>
                </c:pt>
                <c:pt idx="2">
                  <c:v>0.84</c:v>
                </c:pt>
                <c:pt idx="3">
                  <c:v>0.77</c:v>
                </c:pt>
                <c:pt idx="4">
                  <c:v>0.73</c:v>
                </c:pt>
                <c:pt idx="5">
                  <c:v>0.71</c:v>
                </c:pt>
                <c:pt idx="6">
                  <c:v>0.82</c:v>
                </c:pt>
                <c:pt idx="7">
                  <c:v>0.35</c:v>
                </c:pt>
                <c:pt idx="8">
                  <c:v>0.51</c:v>
                </c:pt>
                <c:pt idx="9">
                  <c:v>0.55000000000000004</c:v>
                </c:pt>
                <c:pt idx="10">
                  <c:v>0.49</c:v>
                </c:pt>
                <c:pt idx="11">
                  <c:v>0.53</c:v>
                </c:pt>
                <c:pt idx="12">
                  <c:v>0.41</c:v>
                </c:pt>
                <c:pt idx="13">
                  <c:v>0.46</c:v>
                </c:pt>
                <c:pt idx="14">
                  <c:v>0.12</c:v>
                </c:pt>
                <c:pt idx="15">
                  <c:v>0.15</c:v>
                </c:pt>
                <c:pt idx="16">
                  <c:v>0.39</c:v>
                </c:pt>
                <c:pt idx="17">
                  <c:v>0.43</c:v>
                </c:pt>
                <c:pt idx="18">
                  <c:v>0.26</c:v>
                </c:pt>
                <c:pt idx="19">
                  <c:v>0.1</c:v>
                </c:pt>
                <c:pt idx="20">
                  <c:v>0.21</c:v>
                </c:pt>
                <c:pt idx="21">
                  <c:v>0.16</c:v>
                </c:pt>
                <c:pt idx="22">
                  <c:v>0.09</c:v>
                </c:pt>
                <c:pt idx="23">
                  <c:v>0.19</c:v>
                </c:pt>
                <c:pt idx="24">
                  <c:v>0.15</c:v>
                </c:pt>
                <c:pt idx="25">
                  <c:v>0.1</c:v>
                </c:pt>
                <c:pt idx="26">
                  <c:v>0.15</c:v>
                </c:pt>
                <c:pt idx="27">
                  <c:v>0.14000000000000001</c:v>
                </c:pt>
                <c:pt idx="28">
                  <c:v>0.03</c:v>
                </c:pt>
                <c:pt idx="29">
                  <c:v>0.16</c:v>
                </c:pt>
                <c:pt idx="30">
                  <c:v>0.03</c:v>
                </c:pt>
                <c:pt idx="31">
                  <c:v>0.14000000000000001</c:v>
                </c:pt>
                <c:pt idx="32">
                  <c:v>0.12</c:v>
                </c:pt>
                <c:pt idx="33">
                  <c:v>0.15</c:v>
                </c:pt>
                <c:pt idx="34">
                  <c:v>0.1</c:v>
                </c:pt>
                <c:pt idx="35">
                  <c:v>0.05</c:v>
                </c:pt>
                <c:pt idx="36">
                  <c:v>0.15</c:v>
                </c:pt>
                <c:pt idx="37">
                  <c:v>0.12</c:v>
                </c:pt>
                <c:pt idx="38">
                  <c:v>0.1</c:v>
                </c:pt>
                <c:pt idx="39">
                  <c:v>0.04</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7ECAC4"/>
              </a:solidFill>
            </c:spPr>
            <c:extLst>
              <c:ext xmlns:c16="http://schemas.microsoft.com/office/drawing/2014/chart" uri="{C3380CC4-5D6E-409C-BE32-E72D297353CC}">
                <c16:uniqueId val="{0000004D-2993-41DE-A2CB-63102DE87051}"/>
              </c:ext>
            </c:extLst>
          </c:dPt>
          <c:dPt>
            <c:idx val="11"/>
            <c:invertIfNegative val="1"/>
            <c:bubble3D val="0"/>
            <c:spPr>
              <a:solidFill>
                <a:srgbClr val="7ECAC4"/>
              </a:solidFill>
            </c:spPr>
            <c:extLst>
              <c:ext xmlns:c16="http://schemas.microsoft.com/office/drawing/2014/chart" uri="{C3380CC4-5D6E-409C-BE32-E72D297353CC}">
                <c16:uniqueId val="{0000004F-2993-41DE-A2CB-63102DE87051}"/>
              </c:ext>
            </c:extLst>
          </c:dPt>
          <c:dPt>
            <c:idx val="12"/>
            <c:invertIfNegative val="1"/>
            <c:bubble3D val="0"/>
            <c:spPr>
              <a:solidFill>
                <a:srgbClr val="7ECAC4"/>
              </a:solidFill>
            </c:spPr>
            <c:extLst>
              <c:ext xmlns:c16="http://schemas.microsoft.com/office/drawing/2014/chart" uri="{C3380CC4-5D6E-409C-BE32-E72D297353CC}">
                <c16:uniqueId val="{00000051-2993-41DE-A2CB-63102DE87051}"/>
              </c:ext>
            </c:extLst>
          </c:dPt>
          <c:dPt>
            <c:idx val="13"/>
            <c:invertIfNegative val="1"/>
            <c:bubble3D val="0"/>
            <c:spPr>
              <a:solidFill>
                <a:srgbClr val="7ECAC4"/>
              </a:solidFill>
            </c:spPr>
            <c:extLst>
              <c:ext xmlns:c16="http://schemas.microsoft.com/office/drawing/2014/chart" uri="{C3380CC4-5D6E-409C-BE32-E72D297353CC}">
                <c16:uniqueId val="{00000053-2993-41DE-A2CB-63102DE87051}"/>
              </c:ext>
            </c:extLst>
          </c:dPt>
          <c:dPt>
            <c:idx val="14"/>
            <c:invertIfNegative val="1"/>
            <c:bubble3D val="0"/>
            <c:spPr>
              <a:solidFill>
                <a:srgbClr val="7ECAC4"/>
              </a:solidFill>
            </c:spPr>
            <c:extLst>
              <c:ext xmlns:c16="http://schemas.microsoft.com/office/drawing/2014/chart" uri="{C3380CC4-5D6E-409C-BE32-E72D297353CC}">
                <c16:uniqueId val="{00000055-2993-41DE-A2CB-63102DE87051}"/>
              </c:ext>
            </c:extLst>
          </c:dPt>
          <c:dPt>
            <c:idx val="15"/>
            <c:invertIfNegative val="1"/>
            <c:bubble3D val="0"/>
            <c:spPr>
              <a:solidFill>
                <a:srgbClr val="7ECAC4"/>
              </a:solidFill>
            </c:spPr>
            <c:extLst>
              <c:ext xmlns:c16="http://schemas.microsoft.com/office/drawing/2014/chart" uri="{C3380CC4-5D6E-409C-BE32-E72D297353CC}">
                <c16:uniqueId val="{00000057-2993-41DE-A2CB-63102DE87051}"/>
              </c:ext>
            </c:extLst>
          </c:dPt>
          <c:dPt>
            <c:idx val="16"/>
            <c:invertIfNegative val="1"/>
            <c:bubble3D val="0"/>
            <c:spPr>
              <a:solidFill>
                <a:srgbClr val="AEABAB"/>
              </a:solidFill>
            </c:spPr>
            <c:extLst>
              <c:ext xmlns:c16="http://schemas.microsoft.com/office/drawing/2014/chart" uri="{C3380CC4-5D6E-409C-BE32-E72D297353CC}">
                <c16:uniqueId val="{00000059-2993-41DE-A2CB-63102DE87051}"/>
              </c:ext>
            </c:extLst>
          </c:dPt>
          <c:dPt>
            <c:idx val="17"/>
            <c:invertIfNegative val="1"/>
            <c:bubble3D val="0"/>
            <c:spPr>
              <a:solidFill>
                <a:srgbClr val="AEABAB"/>
              </a:solidFill>
            </c:spPr>
            <c:extLst>
              <c:ext xmlns:c16="http://schemas.microsoft.com/office/drawing/2014/chart" uri="{C3380CC4-5D6E-409C-BE32-E72D297353CC}">
                <c16:uniqueId val="{0000005B-2993-41DE-A2CB-63102DE87051}"/>
              </c:ext>
            </c:extLst>
          </c:dPt>
          <c:dPt>
            <c:idx val="18"/>
            <c:invertIfNegative val="1"/>
            <c:bubble3D val="0"/>
            <c:spPr>
              <a:solidFill>
                <a:srgbClr val="AEABAB"/>
              </a:solidFill>
            </c:spPr>
            <c:extLst>
              <c:ext xmlns:c16="http://schemas.microsoft.com/office/drawing/2014/chart" uri="{C3380CC4-5D6E-409C-BE32-E72D297353CC}">
                <c16:uniqueId val="{0000005D-2993-41DE-A2CB-63102DE87051}"/>
              </c:ext>
            </c:extLst>
          </c:dPt>
          <c:dPt>
            <c:idx val="19"/>
            <c:invertIfNegative val="1"/>
            <c:bubble3D val="0"/>
            <c:spPr>
              <a:solidFill>
                <a:srgbClr val="AEABAB"/>
              </a:solidFill>
            </c:spPr>
            <c:extLst>
              <c:ext xmlns:c16="http://schemas.microsoft.com/office/drawing/2014/chart" uri="{C3380CC4-5D6E-409C-BE32-E72D297353CC}">
                <c16:uniqueId val="{0000005F-2993-41DE-A2CB-63102DE87051}"/>
              </c:ext>
            </c:extLst>
          </c:dPt>
          <c:dPt>
            <c:idx val="20"/>
            <c:invertIfNegative val="1"/>
            <c:bubble3D val="0"/>
            <c:spPr>
              <a:solidFill>
                <a:srgbClr val="AEABAB"/>
              </a:solidFill>
            </c:spPr>
            <c:extLst>
              <c:ext xmlns:c16="http://schemas.microsoft.com/office/drawing/2014/chart" uri="{C3380CC4-5D6E-409C-BE32-E72D297353CC}">
                <c16:uniqueId val="{00000061-2993-41DE-A2CB-63102DE87051}"/>
              </c:ext>
            </c:extLst>
          </c:dPt>
          <c:dPt>
            <c:idx val="21"/>
            <c:invertIfNegative val="1"/>
            <c:bubble3D val="0"/>
            <c:spPr>
              <a:solidFill>
                <a:srgbClr val="AEABAB"/>
              </a:solidFill>
            </c:spPr>
            <c:extLst>
              <c:ext xmlns:c16="http://schemas.microsoft.com/office/drawing/2014/chart" uri="{C3380CC4-5D6E-409C-BE32-E72D297353CC}">
                <c16:uniqueId val="{00000063-2993-41DE-A2CB-63102DE87051}"/>
              </c:ext>
            </c:extLst>
          </c:dPt>
          <c:dPt>
            <c:idx val="22"/>
            <c:invertIfNegative val="1"/>
            <c:bubble3D val="0"/>
            <c:spPr>
              <a:solidFill>
                <a:srgbClr val="AEABAB"/>
              </a:solidFill>
            </c:spPr>
            <c:extLst>
              <c:ext xmlns:c16="http://schemas.microsoft.com/office/drawing/2014/chart" uri="{C3380CC4-5D6E-409C-BE32-E72D297353CC}">
                <c16:uniqueId val="{00000065-2993-41DE-A2CB-63102DE87051}"/>
              </c:ext>
            </c:extLst>
          </c:dPt>
          <c:dPt>
            <c:idx val="23"/>
            <c:invertIfNegative val="1"/>
            <c:bubble3D val="0"/>
            <c:spPr>
              <a:solidFill>
                <a:srgbClr val="AEABAB"/>
              </a:solidFill>
            </c:spPr>
            <c:extLst>
              <c:ext xmlns:c16="http://schemas.microsoft.com/office/drawing/2014/chart" uri="{C3380CC4-5D6E-409C-BE32-E72D297353CC}">
                <c16:uniqueId val="{00000067-2993-41DE-A2CB-63102DE87051}"/>
              </c:ext>
            </c:extLst>
          </c:dPt>
          <c:dPt>
            <c:idx val="24"/>
            <c:invertIfNegative val="1"/>
            <c:bubble3D val="0"/>
            <c:spPr>
              <a:solidFill>
                <a:srgbClr val="AEABAB"/>
              </a:solidFill>
            </c:spPr>
            <c:extLst>
              <c:ext xmlns:c16="http://schemas.microsoft.com/office/drawing/2014/chart" uri="{C3380CC4-5D6E-409C-BE32-E72D297353CC}">
                <c16:uniqueId val="{00000069-2993-41DE-A2CB-63102DE87051}"/>
              </c:ext>
            </c:extLst>
          </c:dPt>
          <c:dPt>
            <c:idx val="25"/>
            <c:invertIfNegative val="1"/>
            <c:bubble3D val="0"/>
            <c:spPr>
              <a:solidFill>
                <a:srgbClr val="AEABAB"/>
              </a:solidFill>
            </c:spPr>
            <c:extLst>
              <c:ext xmlns:c16="http://schemas.microsoft.com/office/drawing/2014/chart" uri="{C3380CC4-5D6E-409C-BE32-E72D297353CC}">
                <c16:uniqueId val="{0000006B-2993-41DE-A2CB-63102DE87051}"/>
              </c:ext>
            </c:extLst>
          </c:dPt>
          <c:dPt>
            <c:idx val="26"/>
            <c:invertIfNegative val="1"/>
            <c:bubble3D val="0"/>
            <c:spPr>
              <a:solidFill>
                <a:srgbClr val="AEABAB"/>
              </a:solidFill>
            </c:spPr>
            <c:extLst>
              <c:ext xmlns:c16="http://schemas.microsoft.com/office/drawing/2014/chart" uri="{C3380CC4-5D6E-409C-BE32-E72D297353CC}">
                <c16:uniqueId val="{0000006D-2993-41DE-A2CB-63102DE87051}"/>
              </c:ext>
            </c:extLst>
          </c:dPt>
          <c:dPt>
            <c:idx val="27"/>
            <c:invertIfNegative val="1"/>
            <c:bubble3D val="0"/>
            <c:spPr>
              <a:solidFill>
                <a:srgbClr val="AEABAB"/>
              </a:solidFill>
            </c:spPr>
            <c:extLst>
              <c:ext xmlns:c16="http://schemas.microsoft.com/office/drawing/2014/chart" uri="{C3380CC4-5D6E-409C-BE32-E72D297353CC}">
                <c16:uniqueId val="{0000006F-2993-41DE-A2CB-63102DE87051}"/>
              </c:ext>
            </c:extLst>
          </c:dPt>
          <c:dPt>
            <c:idx val="28"/>
            <c:invertIfNegative val="1"/>
            <c:bubble3D val="0"/>
            <c:spPr>
              <a:solidFill>
                <a:srgbClr val="AEABAB"/>
              </a:solidFill>
            </c:spPr>
            <c:extLst>
              <c:ext xmlns:c16="http://schemas.microsoft.com/office/drawing/2014/chart" uri="{C3380CC4-5D6E-409C-BE32-E72D297353CC}">
                <c16:uniqueId val="{00000071-2993-41DE-A2CB-63102DE87051}"/>
              </c:ext>
            </c:extLst>
          </c:dPt>
          <c:dPt>
            <c:idx val="29"/>
            <c:invertIfNegative val="1"/>
            <c:bubble3D val="0"/>
            <c:spPr>
              <a:solidFill>
                <a:srgbClr val="AEABAB"/>
              </a:solidFill>
            </c:spPr>
            <c:extLst>
              <c:ext xmlns:c16="http://schemas.microsoft.com/office/drawing/2014/chart" uri="{C3380CC4-5D6E-409C-BE32-E72D297353CC}">
                <c16:uniqueId val="{00000073-2993-41DE-A2CB-63102DE87051}"/>
              </c:ext>
            </c:extLst>
          </c:dPt>
          <c:dPt>
            <c:idx val="30"/>
            <c:invertIfNegative val="1"/>
            <c:bubble3D val="0"/>
            <c:spPr>
              <a:solidFill>
                <a:srgbClr val="AEABAB"/>
              </a:solidFill>
            </c:spPr>
            <c:extLst>
              <c:ext xmlns:c16="http://schemas.microsoft.com/office/drawing/2014/chart" uri="{C3380CC4-5D6E-409C-BE32-E72D297353CC}">
                <c16:uniqueId val="{00000075-2993-41DE-A2CB-63102DE87051}"/>
              </c:ext>
            </c:extLst>
          </c:dPt>
          <c:dPt>
            <c:idx val="31"/>
            <c:invertIfNegative val="1"/>
            <c:bubble3D val="0"/>
            <c:spPr>
              <a:solidFill>
                <a:srgbClr val="AEABAB"/>
              </a:solidFill>
            </c:spPr>
            <c:extLst>
              <c:ext xmlns:c16="http://schemas.microsoft.com/office/drawing/2014/chart" uri="{C3380CC4-5D6E-409C-BE32-E72D297353CC}">
                <c16:uniqueId val="{00000077-2993-41DE-A2CB-63102DE87051}"/>
              </c:ext>
            </c:extLst>
          </c:dPt>
          <c:dPt>
            <c:idx val="32"/>
            <c:invertIfNegative val="1"/>
            <c:bubble3D val="0"/>
            <c:spPr>
              <a:solidFill>
                <a:srgbClr val="AEABAB"/>
              </a:solidFill>
            </c:spPr>
            <c:extLst>
              <c:ext xmlns:c16="http://schemas.microsoft.com/office/drawing/2014/chart" uri="{C3380CC4-5D6E-409C-BE32-E72D297353CC}">
                <c16:uniqueId val="{00000079-2993-41DE-A2CB-63102DE87051}"/>
              </c:ext>
            </c:extLst>
          </c:dPt>
          <c:dPt>
            <c:idx val="33"/>
            <c:invertIfNegative val="1"/>
            <c:bubble3D val="0"/>
            <c:spPr>
              <a:solidFill>
                <a:srgbClr val="AEABAB"/>
              </a:solidFill>
            </c:spPr>
            <c:extLst>
              <c:ext xmlns:c16="http://schemas.microsoft.com/office/drawing/2014/chart" uri="{C3380CC4-5D6E-409C-BE32-E72D297353CC}">
                <c16:uniqueId val="{0000007B-2993-41DE-A2CB-63102DE87051}"/>
              </c:ext>
            </c:extLst>
          </c:dPt>
          <c:dPt>
            <c:idx val="34"/>
            <c:invertIfNegative val="1"/>
            <c:bubble3D val="0"/>
            <c:spPr>
              <a:solidFill>
                <a:srgbClr val="AEABAB"/>
              </a:solidFill>
            </c:spPr>
            <c:extLst>
              <c:ext xmlns:c16="http://schemas.microsoft.com/office/drawing/2014/chart" uri="{C3380CC4-5D6E-409C-BE32-E72D297353CC}">
                <c16:uniqueId val="{0000007D-2993-41DE-A2CB-63102DE87051}"/>
              </c:ext>
            </c:extLst>
          </c:dPt>
          <c:dPt>
            <c:idx val="35"/>
            <c:invertIfNegative val="1"/>
            <c:bubble3D val="0"/>
            <c:spPr>
              <a:solidFill>
                <a:srgbClr val="AEABAB"/>
              </a:solidFill>
            </c:spPr>
            <c:extLst>
              <c:ext xmlns:c16="http://schemas.microsoft.com/office/drawing/2014/chart" uri="{C3380CC4-5D6E-409C-BE32-E72D297353CC}">
                <c16:uniqueId val="{0000007F-2993-41DE-A2CB-63102DE87051}"/>
              </c:ext>
            </c:extLst>
          </c:dPt>
          <c:dPt>
            <c:idx val="36"/>
            <c:invertIfNegative val="1"/>
            <c:bubble3D val="0"/>
            <c:spPr>
              <a:solidFill>
                <a:srgbClr val="AEABAB"/>
              </a:solidFill>
            </c:spPr>
            <c:extLst>
              <c:ext xmlns:c16="http://schemas.microsoft.com/office/drawing/2014/chart" uri="{C3380CC4-5D6E-409C-BE32-E72D297353CC}">
                <c16:uniqueId val="{00000081-2993-41DE-A2CB-63102DE87051}"/>
              </c:ext>
            </c:extLst>
          </c:dPt>
          <c:dPt>
            <c:idx val="37"/>
            <c:invertIfNegative val="1"/>
            <c:bubble3D val="0"/>
            <c:spPr>
              <a:solidFill>
                <a:srgbClr val="AEABAB"/>
              </a:solidFill>
            </c:spPr>
            <c:extLst>
              <c:ext xmlns:c16="http://schemas.microsoft.com/office/drawing/2014/chart" uri="{C3380CC4-5D6E-409C-BE32-E72D297353CC}">
                <c16:uniqueId val="{00000083-2993-41DE-A2CB-63102DE87051}"/>
              </c:ext>
            </c:extLst>
          </c:dPt>
          <c:dPt>
            <c:idx val="38"/>
            <c:invertIfNegative val="1"/>
            <c:bubble3D val="0"/>
            <c:spPr>
              <a:solidFill>
                <a:srgbClr val="AEABAB"/>
              </a:solidFill>
            </c:spPr>
            <c:extLst>
              <c:ext xmlns:c16="http://schemas.microsoft.com/office/drawing/2014/chart" uri="{C3380CC4-5D6E-409C-BE32-E72D297353CC}">
                <c16:uniqueId val="{00000085-2993-41DE-A2CB-63102DE87051}"/>
              </c:ext>
            </c:extLst>
          </c:dPt>
          <c:dPt>
            <c:idx val="39"/>
            <c:invertIfNegative val="1"/>
            <c:bubble3D val="0"/>
            <c:spPr>
              <a:solidFill>
                <a:srgbClr val="AEABAB"/>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41</c:f>
              <c:strCache>
                <c:ptCount val="40"/>
                <c:pt idx="0">
                  <c:v>Ruinart</c:v>
                </c:pt>
                <c:pt idx="1">
                  <c:v>Deutz</c:v>
                </c:pt>
                <c:pt idx="2">
                  <c:v>Ruinart</c:v>
                </c:pt>
                <c:pt idx="3">
                  <c:v>Demoiselle</c:v>
                </c:pt>
                <c:pt idx="4">
                  <c:v>Laurent Per</c:v>
                </c:pt>
                <c:pt idx="5">
                  <c:v>Nicolas Feu</c:v>
                </c:pt>
                <c:pt idx="6">
                  <c:v>Nicolas</c:v>
                </c:pt>
                <c:pt idx="7">
                  <c:v>Ruinart</c:v>
                </c:pt>
                <c:pt idx="8">
                  <c:v>Malard</c:v>
                </c:pt>
                <c:pt idx="9">
                  <c:v>Pommery</c:v>
                </c:pt>
                <c:pt idx="10">
                  <c:v>Ruinart</c:v>
                </c:pt>
                <c:pt idx="11">
                  <c:v>Besserat De</c:v>
                </c:pt>
                <c:pt idx="12">
                  <c:v>Bollinger</c:v>
                </c:pt>
                <c:pt idx="13">
                  <c:v>Deutz</c:v>
                </c:pt>
                <c:pt idx="14">
                  <c:v>Dom Perigno</c:v>
                </c:pt>
                <c:pt idx="15">
                  <c:v>Deutz</c:v>
                </c:pt>
                <c:pt idx="16">
                  <c:v>Nicolas</c:v>
                </c:pt>
                <c:pt idx="17">
                  <c:v>Nicolas</c:v>
                </c:pt>
                <c:pt idx="18">
                  <c:v>Besserat De</c:v>
                </c:pt>
                <c:pt idx="19">
                  <c:v>All Others</c:v>
                </c:pt>
                <c:pt idx="20">
                  <c:v>Nicolas</c:v>
                </c:pt>
                <c:pt idx="21">
                  <c:v>Demoiselle</c:v>
                </c:pt>
                <c:pt idx="22">
                  <c:v>Nicolas</c:v>
                </c:pt>
                <c:pt idx="23">
                  <c:v>Ayala</c:v>
                </c:pt>
                <c:pt idx="24">
                  <c:v>Krug</c:v>
                </c:pt>
                <c:pt idx="25">
                  <c:v>Dom Perigno</c:v>
                </c:pt>
                <c:pt idx="26">
                  <c:v>Taittinger</c:v>
                </c:pt>
                <c:pt idx="27">
                  <c:v>Perrier Jou</c:v>
                </c:pt>
                <c:pt idx="28">
                  <c:v>Dom Perigno</c:v>
                </c:pt>
                <c:pt idx="29">
                  <c:v>All Others</c:v>
                </c:pt>
                <c:pt idx="30">
                  <c:v>Laurent Per</c:v>
                </c:pt>
                <c:pt idx="31">
                  <c:v>Veuve Clicq</c:v>
                </c:pt>
                <c:pt idx="32">
                  <c:v>Ruinart</c:v>
                </c:pt>
                <c:pt idx="33">
                  <c:v>Henriot</c:v>
                </c:pt>
                <c:pt idx="34">
                  <c:v>Ruinart</c:v>
                </c:pt>
                <c:pt idx="35">
                  <c:v>Bollinger</c:v>
                </c:pt>
                <c:pt idx="36">
                  <c:v>Moët &amp; Chan</c:v>
                </c:pt>
                <c:pt idx="37">
                  <c:v>All Others</c:v>
                </c:pt>
                <c:pt idx="38">
                  <c:v>Henriot</c:v>
                </c:pt>
                <c:pt idx="39">
                  <c:v>Roederer</c:v>
                </c:pt>
              </c:strCache>
            </c:strRef>
          </c:cat>
          <c:val>
            <c:numRef>
              <c:f>Sheet1!$C$2:$C$41</c:f>
              <c:numCache>
                <c:formatCode>General</c:formatCode>
                <c:ptCount val="40"/>
                <c:pt idx="0">
                  <c:v>0.16113183143732179</c:v>
                </c:pt>
                <c:pt idx="1">
                  <c:v>0.29427698715159006</c:v>
                </c:pt>
                <c:pt idx="2">
                  <c:v>0.42160599023049045</c:v>
                </c:pt>
                <c:pt idx="3">
                  <c:v>0.53014027909398165</c:v>
                </c:pt>
                <c:pt idx="4">
                  <c:v>0.60539234626851091</c:v>
                </c:pt>
                <c:pt idx="5">
                  <c:v>0.66129248740172519</c:v>
                </c:pt>
                <c:pt idx="6">
                  <c:v>0.71568368264142801</c:v>
                </c:pt>
                <c:pt idx="7">
                  <c:v>0.76138725408452534</c:v>
                </c:pt>
                <c:pt idx="8">
                  <c:v>0.793514379725624</c:v>
                </c:pt>
                <c:pt idx="9">
                  <c:v>0.82549101750133203</c:v>
                </c:pt>
                <c:pt idx="10">
                  <c:v>0.85432367906225726</c:v>
                </c:pt>
                <c:pt idx="11">
                  <c:v>0.88119999837310414</c:v>
                </c:pt>
                <c:pt idx="12">
                  <c:v>0.90241472015357893</c:v>
                </c:pt>
                <c:pt idx="13">
                  <c:v>0.91944425238035199</c:v>
                </c:pt>
                <c:pt idx="14">
                  <c:v>0.93050714410636648</c:v>
                </c:pt>
                <c:pt idx="15">
                  <c:v>0.94050441905583104</c:v>
                </c:pt>
                <c:pt idx="16">
                  <c:v>0.95022918895175035</c:v>
                </c:pt>
                <c:pt idx="17">
                  <c:v>0.95864837493441579</c:v>
                </c:pt>
                <c:pt idx="18">
                  <c:v>0.96569283393053973</c:v>
                </c:pt>
                <c:pt idx="19">
                  <c:v>0.97228176209088657</c:v>
                </c:pt>
                <c:pt idx="20">
                  <c:v>0.97665811190603058</c:v>
                </c:pt>
                <c:pt idx="21">
                  <c:v>0.98053825848934595</c:v>
                </c:pt>
                <c:pt idx="22">
                  <c:v>0.98287285402270341</c:v>
                </c:pt>
                <c:pt idx="23">
                  <c:v>0.98483733075199198</c:v>
                </c:pt>
                <c:pt idx="24">
                  <c:v>0.98640321799997566</c:v>
                </c:pt>
                <c:pt idx="25">
                  <c:v>0.98794876904993356</c:v>
                </c:pt>
                <c:pt idx="26">
                  <c:v>0.98930722707805441</c:v>
                </c:pt>
                <c:pt idx="27">
                  <c:v>0.99052333171999496</c:v>
                </c:pt>
                <c:pt idx="28">
                  <c:v>0.99172316740351496</c:v>
                </c:pt>
                <c:pt idx="29">
                  <c:v>0.9929067341286143</c:v>
                </c:pt>
                <c:pt idx="30">
                  <c:v>0.99408623361410853</c:v>
                </c:pt>
                <c:pt idx="31">
                  <c:v>0.99520065726592033</c:v>
                </c:pt>
                <c:pt idx="32">
                  <c:v>0.99629474471970636</c:v>
                </c:pt>
                <c:pt idx="33">
                  <c:v>0.9972220753496811</c:v>
                </c:pt>
                <c:pt idx="34">
                  <c:v>0.99801111983308066</c:v>
                </c:pt>
                <c:pt idx="35">
                  <c:v>0.99852359202332985</c:v>
                </c:pt>
                <c:pt idx="36">
                  <c:v>0.99901166077594816</c:v>
                </c:pt>
                <c:pt idx="37">
                  <c:v>0.99941838473646338</c:v>
                </c:pt>
                <c:pt idx="38">
                  <c:v>0.9997112259880343</c:v>
                </c:pt>
                <c:pt idx="39">
                  <c:v>1.0000000000000002</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56</c:f>
              <c:strCache>
                <c:ptCount val="55"/>
                <c:pt idx="0">
                  <c:v>Ruinart</c:v>
                </c:pt>
                <c:pt idx="1">
                  <c:v>Deutz</c:v>
                </c:pt>
                <c:pt idx="2">
                  <c:v>Demoiselle</c:v>
                </c:pt>
                <c:pt idx="3">
                  <c:v>Laurent Per</c:v>
                </c:pt>
                <c:pt idx="4">
                  <c:v>Ruinart</c:v>
                </c:pt>
                <c:pt idx="5">
                  <c:v>Nicolas</c:v>
                </c:pt>
                <c:pt idx="6">
                  <c:v>Nicolas Feu</c:v>
                </c:pt>
                <c:pt idx="7">
                  <c:v>Malard</c:v>
                </c:pt>
                <c:pt idx="8">
                  <c:v>Besserat De</c:v>
                </c:pt>
                <c:pt idx="9">
                  <c:v>Pommery</c:v>
                </c:pt>
                <c:pt idx="10">
                  <c:v>Dom Perigno</c:v>
                </c:pt>
                <c:pt idx="11">
                  <c:v>Roederer</c:v>
                </c:pt>
                <c:pt idx="12">
                  <c:v>Ruinart</c:v>
                </c:pt>
                <c:pt idx="13">
                  <c:v>Bollinger</c:v>
                </c:pt>
                <c:pt idx="14">
                  <c:v>Ruinart</c:v>
                </c:pt>
                <c:pt idx="15">
                  <c:v>Deutz</c:v>
                </c:pt>
                <c:pt idx="16">
                  <c:v>Nicolas</c:v>
                </c:pt>
                <c:pt idx="17">
                  <c:v>Nicolas</c:v>
                </c:pt>
                <c:pt idx="18">
                  <c:v>Veuve Clicq</c:v>
                </c:pt>
                <c:pt idx="19">
                  <c:v>Perrier Jou</c:v>
                </c:pt>
                <c:pt idx="20">
                  <c:v>Besserat De</c:v>
                </c:pt>
                <c:pt idx="21">
                  <c:v>Demoiselle</c:v>
                </c:pt>
                <c:pt idx="22">
                  <c:v>Nicolas</c:v>
                </c:pt>
                <c:pt idx="23">
                  <c:v>Deutz</c:v>
                </c:pt>
                <c:pt idx="24">
                  <c:v>Nicolas</c:v>
                </c:pt>
                <c:pt idx="25">
                  <c:v>Ruinart</c:v>
                </c:pt>
                <c:pt idx="26">
                  <c:v>Henriot</c:v>
                </c:pt>
                <c:pt idx="27">
                  <c:v>Krug</c:v>
                </c:pt>
                <c:pt idx="28">
                  <c:v>All Others</c:v>
                </c:pt>
                <c:pt idx="29">
                  <c:v>Moët &amp; Chan</c:v>
                </c:pt>
                <c:pt idx="30">
                  <c:v>Roederer</c:v>
                </c:pt>
                <c:pt idx="31">
                  <c:v>Veuve Clicq</c:v>
                </c:pt>
                <c:pt idx="32">
                  <c:v>Dom Perigno</c:v>
                </c:pt>
                <c:pt idx="33">
                  <c:v>Laurent Per</c:v>
                </c:pt>
                <c:pt idx="34">
                  <c:v>Perrier Jou</c:v>
                </c:pt>
                <c:pt idx="35">
                  <c:v>Dom Perigno</c:v>
                </c:pt>
                <c:pt idx="36">
                  <c:v>Deutz</c:v>
                </c:pt>
                <c:pt idx="37">
                  <c:v>Moët &amp; Chan</c:v>
                </c:pt>
                <c:pt idx="38">
                  <c:v>Ruinart</c:v>
                </c:pt>
                <c:pt idx="39">
                  <c:v>Bollinger</c:v>
                </c:pt>
                <c:pt idx="40">
                  <c:v>Roederer</c:v>
                </c:pt>
                <c:pt idx="41">
                  <c:v>Moët &amp; Chan</c:v>
                </c:pt>
                <c:pt idx="42">
                  <c:v>All Others</c:v>
                </c:pt>
                <c:pt idx="43">
                  <c:v>Ayala</c:v>
                </c:pt>
                <c:pt idx="44">
                  <c:v>Ruinart</c:v>
                </c:pt>
                <c:pt idx="45">
                  <c:v>Deutz</c:v>
                </c:pt>
                <c:pt idx="46">
                  <c:v>Dom Perigno</c:v>
                </c:pt>
                <c:pt idx="47">
                  <c:v>Taittinger</c:v>
                </c:pt>
                <c:pt idx="48">
                  <c:v>Piper Heids</c:v>
                </c:pt>
                <c:pt idx="49">
                  <c:v>Laurent Per</c:v>
                </c:pt>
                <c:pt idx="50">
                  <c:v>Demoiselle</c:v>
                </c:pt>
                <c:pt idx="51">
                  <c:v>Ruinart</c:v>
                </c:pt>
                <c:pt idx="52">
                  <c:v>De Bligny</c:v>
                </c:pt>
                <c:pt idx="53">
                  <c:v>All Others</c:v>
                </c:pt>
                <c:pt idx="54">
                  <c:v>Moët &amp; Chan</c:v>
                </c:pt>
              </c:strCache>
            </c:strRef>
          </c:cat>
          <c:val>
            <c:numRef>
              <c:f>Sheet1!$B$2:$B$56</c:f>
              <c:numCache>
                <c:formatCode>General</c:formatCode>
                <c:ptCount val="55"/>
                <c:pt idx="0">
                  <c:v>0.66</c:v>
                </c:pt>
                <c:pt idx="1">
                  <c:v>0.68</c:v>
                </c:pt>
                <c:pt idx="2">
                  <c:v>0.76</c:v>
                </c:pt>
                <c:pt idx="3">
                  <c:v>0.53</c:v>
                </c:pt>
                <c:pt idx="4">
                  <c:v>0.49</c:v>
                </c:pt>
                <c:pt idx="5">
                  <c:v>0.59</c:v>
                </c:pt>
                <c:pt idx="6">
                  <c:v>0.53</c:v>
                </c:pt>
                <c:pt idx="7">
                  <c:v>0.48</c:v>
                </c:pt>
                <c:pt idx="8">
                  <c:v>0.32</c:v>
                </c:pt>
                <c:pt idx="9">
                  <c:v>0.39</c:v>
                </c:pt>
                <c:pt idx="10">
                  <c:v>0.18</c:v>
                </c:pt>
                <c:pt idx="11">
                  <c:v>0.12</c:v>
                </c:pt>
                <c:pt idx="12">
                  <c:v>0.11</c:v>
                </c:pt>
                <c:pt idx="13">
                  <c:v>0.19</c:v>
                </c:pt>
                <c:pt idx="14">
                  <c:v>0.28000000000000003</c:v>
                </c:pt>
                <c:pt idx="15">
                  <c:v>0.43</c:v>
                </c:pt>
                <c:pt idx="16">
                  <c:v>0.33</c:v>
                </c:pt>
                <c:pt idx="17">
                  <c:v>0.27</c:v>
                </c:pt>
                <c:pt idx="18">
                  <c:v>0.12</c:v>
                </c:pt>
                <c:pt idx="19">
                  <c:v>0.18</c:v>
                </c:pt>
                <c:pt idx="20">
                  <c:v>0.24</c:v>
                </c:pt>
                <c:pt idx="21">
                  <c:v>0.16</c:v>
                </c:pt>
                <c:pt idx="22">
                  <c:v>0.09</c:v>
                </c:pt>
                <c:pt idx="23">
                  <c:v>0.03</c:v>
                </c:pt>
                <c:pt idx="24">
                  <c:v>0.05</c:v>
                </c:pt>
                <c:pt idx="25">
                  <c:v>0.01</c:v>
                </c:pt>
                <c:pt idx="26">
                  <c:v>0.03</c:v>
                </c:pt>
                <c:pt idx="27">
                  <c:v>0.02</c:v>
                </c:pt>
                <c:pt idx="28">
                  <c:v>0.04</c:v>
                </c:pt>
                <c:pt idx="29">
                  <c:v>0.02</c:v>
                </c:pt>
                <c:pt idx="30">
                  <c:v>0.03</c:v>
                </c:pt>
                <c:pt idx="31">
                  <c:v>0.05</c:v>
                </c:pt>
                <c:pt idx="32">
                  <c:v>0.01</c:v>
                </c:pt>
                <c:pt idx="33">
                  <c:v>0.01</c:v>
                </c:pt>
                <c:pt idx="34">
                  <c:v>0.04</c:v>
                </c:pt>
                <c:pt idx="35">
                  <c:v>0.01</c:v>
                </c:pt>
                <c:pt idx="36">
                  <c:v>0.02</c:v>
                </c:pt>
                <c:pt idx="37">
                  <c:v>0.02</c:v>
                </c:pt>
                <c:pt idx="38">
                  <c:v>0.02</c:v>
                </c:pt>
                <c:pt idx="39">
                  <c:v>0.02</c:v>
                </c:pt>
                <c:pt idx="40">
                  <c:v>0.01</c:v>
                </c:pt>
                <c:pt idx="41">
                  <c:v>0.02</c:v>
                </c:pt>
                <c:pt idx="42">
                  <c:v>0.04</c:v>
                </c:pt>
                <c:pt idx="43">
                  <c:v>0.03</c:v>
                </c:pt>
                <c:pt idx="44">
                  <c:v>0.01</c:v>
                </c:pt>
                <c:pt idx="45">
                  <c:v>0.01</c:v>
                </c:pt>
                <c:pt idx="46">
                  <c:v>0.03</c:v>
                </c:pt>
                <c:pt idx="47">
                  <c:v>0.01</c:v>
                </c:pt>
                <c:pt idx="48">
                  <c:v>0.04</c:v>
                </c:pt>
                <c:pt idx="49">
                  <c:v>0.01</c:v>
                </c:pt>
                <c:pt idx="50">
                  <c:v>0.01</c:v>
                </c:pt>
                <c:pt idx="51">
                  <c:v>0.01</c:v>
                </c:pt>
                <c:pt idx="52">
                  <c:v>0.03</c:v>
                </c:pt>
                <c:pt idx="53">
                  <c:v>0.01</c:v>
                </c:pt>
                <c:pt idx="54">
                  <c:v>0.02</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7ECAC4"/>
              </a:solidFill>
            </c:spPr>
            <c:extLst>
              <c:ext xmlns:c16="http://schemas.microsoft.com/office/drawing/2014/chart" uri="{C3380CC4-5D6E-409C-BE32-E72D297353CC}">
                <c16:uniqueId val="{00000051-2993-41DE-A2CB-63102DE87051}"/>
              </c:ext>
            </c:extLst>
          </c:dPt>
          <c:dPt>
            <c:idx val="13"/>
            <c:invertIfNegative val="1"/>
            <c:bubble3D val="0"/>
            <c:spPr>
              <a:solidFill>
                <a:srgbClr val="7ECAC4"/>
              </a:solidFill>
            </c:spPr>
            <c:extLst>
              <c:ext xmlns:c16="http://schemas.microsoft.com/office/drawing/2014/chart" uri="{C3380CC4-5D6E-409C-BE32-E72D297353CC}">
                <c16:uniqueId val="{00000053-2993-41DE-A2CB-63102DE87051}"/>
              </c:ext>
            </c:extLst>
          </c:dPt>
          <c:dPt>
            <c:idx val="14"/>
            <c:invertIfNegative val="1"/>
            <c:bubble3D val="0"/>
            <c:spPr>
              <a:solidFill>
                <a:srgbClr val="7ECAC4"/>
              </a:solidFill>
            </c:spPr>
            <c:extLst>
              <c:ext xmlns:c16="http://schemas.microsoft.com/office/drawing/2014/chart" uri="{C3380CC4-5D6E-409C-BE32-E72D297353CC}">
                <c16:uniqueId val="{00000055-2993-41DE-A2CB-63102DE87051}"/>
              </c:ext>
            </c:extLst>
          </c:dPt>
          <c:dPt>
            <c:idx val="15"/>
            <c:invertIfNegative val="1"/>
            <c:bubble3D val="0"/>
            <c:spPr>
              <a:solidFill>
                <a:srgbClr val="7ECAC4"/>
              </a:solidFill>
            </c:spPr>
            <c:extLst>
              <c:ext xmlns:c16="http://schemas.microsoft.com/office/drawing/2014/chart" uri="{C3380CC4-5D6E-409C-BE32-E72D297353CC}">
                <c16:uniqueId val="{00000057-2993-41DE-A2CB-63102DE87051}"/>
              </c:ext>
            </c:extLst>
          </c:dPt>
          <c:dPt>
            <c:idx val="16"/>
            <c:invertIfNegative val="1"/>
            <c:bubble3D val="0"/>
            <c:spPr>
              <a:solidFill>
                <a:srgbClr val="7ECAC4"/>
              </a:solidFill>
            </c:spPr>
            <c:extLst>
              <c:ext xmlns:c16="http://schemas.microsoft.com/office/drawing/2014/chart" uri="{C3380CC4-5D6E-409C-BE32-E72D297353CC}">
                <c16:uniqueId val="{00000059-2993-41DE-A2CB-63102DE87051}"/>
              </c:ext>
            </c:extLst>
          </c:dPt>
          <c:dPt>
            <c:idx val="17"/>
            <c:invertIfNegative val="1"/>
            <c:bubble3D val="0"/>
            <c:spPr>
              <a:solidFill>
                <a:srgbClr val="7ECAC4"/>
              </a:solidFill>
            </c:spPr>
            <c:extLst>
              <c:ext xmlns:c16="http://schemas.microsoft.com/office/drawing/2014/chart" uri="{C3380CC4-5D6E-409C-BE32-E72D297353CC}">
                <c16:uniqueId val="{0000005B-2993-41DE-A2CB-63102DE87051}"/>
              </c:ext>
            </c:extLst>
          </c:dPt>
          <c:dPt>
            <c:idx val="18"/>
            <c:invertIfNegative val="1"/>
            <c:bubble3D val="0"/>
            <c:spPr>
              <a:solidFill>
                <a:srgbClr val="7ECAC4"/>
              </a:solidFill>
            </c:spPr>
            <c:extLst>
              <c:ext xmlns:c16="http://schemas.microsoft.com/office/drawing/2014/chart" uri="{C3380CC4-5D6E-409C-BE32-E72D297353CC}">
                <c16:uniqueId val="{0000005D-2993-41DE-A2CB-63102DE87051}"/>
              </c:ext>
            </c:extLst>
          </c:dPt>
          <c:dPt>
            <c:idx val="19"/>
            <c:invertIfNegative val="1"/>
            <c:bubble3D val="0"/>
            <c:spPr>
              <a:solidFill>
                <a:srgbClr val="AEABAB"/>
              </a:solidFill>
            </c:spPr>
            <c:extLst>
              <c:ext xmlns:c16="http://schemas.microsoft.com/office/drawing/2014/chart" uri="{C3380CC4-5D6E-409C-BE32-E72D297353CC}">
                <c16:uniqueId val="{0000005F-2993-41DE-A2CB-63102DE87051}"/>
              </c:ext>
            </c:extLst>
          </c:dPt>
          <c:dPt>
            <c:idx val="20"/>
            <c:invertIfNegative val="1"/>
            <c:bubble3D val="0"/>
            <c:spPr>
              <a:solidFill>
                <a:srgbClr val="AEABAB"/>
              </a:solidFill>
            </c:spPr>
            <c:extLst>
              <c:ext xmlns:c16="http://schemas.microsoft.com/office/drawing/2014/chart" uri="{C3380CC4-5D6E-409C-BE32-E72D297353CC}">
                <c16:uniqueId val="{00000061-2993-41DE-A2CB-63102DE87051}"/>
              </c:ext>
            </c:extLst>
          </c:dPt>
          <c:dPt>
            <c:idx val="21"/>
            <c:invertIfNegative val="1"/>
            <c:bubble3D val="0"/>
            <c:spPr>
              <a:solidFill>
                <a:srgbClr val="AEABAB"/>
              </a:solidFill>
            </c:spPr>
            <c:extLst>
              <c:ext xmlns:c16="http://schemas.microsoft.com/office/drawing/2014/chart" uri="{C3380CC4-5D6E-409C-BE32-E72D297353CC}">
                <c16:uniqueId val="{00000063-2993-41DE-A2CB-63102DE87051}"/>
              </c:ext>
            </c:extLst>
          </c:dPt>
          <c:dPt>
            <c:idx val="22"/>
            <c:invertIfNegative val="1"/>
            <c:bubble3D val="0"/>
            <c:spPr>
              <a:solidFill>
                <a:srgbClr val="AEABAB"/>
              </a:solidFill>
            </c:spPr>
            <c:extLst>
              <c:ext xmlns:c16="http://schemas.microsoft.com/office/drawing/2014/chart" uri="{C3380CC4-5D6E-409C-BE32-E72D297353CC}">
                <c16:uniqueId val="{00000065-2993-41DE-A2CB-63102DE87051}"/>
              </c:ext>
            </c:extLst>
          </c:dPt>
          <c:dPt>
            <c:idx val="23"/>
            <c:invertIfNegative val="1"/>
            <c:bubble3D val="0"/>
            <c:spPr>
              <a:solidFill>
                <a:srgbClr val="AEABAB"/>
              </a:solidFill>
            </c:spPr>
            <c:extLst>
              <c:ext xmlns:c16="http://schemas.microsoft.com/office/drawing/2014/chart" uri="{C3380CC4-5D6E-409C-BE32-E72D297353CC}">
                <c16:uniqueId val="{00000067-2993-41DE-A2CB-63102DE87051}"/>
              </c:ext>
            </c:extLst>
          </c:dPt>
          <c:dPt>
            <c:idx val="24"/>
            <c:invertIfNegative val="1"/>
            <c:bubble3D val="0"/>
            <c:spPr>
              <a:solidFill>
                <a:srgbClr val="AEABAB"/>
              </a:solidFill>
            </c:spPr>
            <c:extLst>
              <c:ext xmlns:c16="http://schemas.microsoft.com/office/drawing/2014/chart" uri="{C3380CC4-5D6E-409C-BE32-E72D297353CC}">
                <c16:uniqueId val="{00000069-2993-41DE-A2CB-63102DE87051}"/>
              </c:ext>
            </c:extLst>
          </c:dPt>
          <c:dPt>
            <c:idx val="25"/>
            <c:invertIfNegative val="1"/>
            <c:bubble3D val="0"/>
            <c:spPr>
              <a:solidFill>
                <a:srgbClr val="AEABAB"/>
              </a:solidFill>
            </c:spPr>
            <c:extLst>
              <c:ext xmlns:c16="http://schemas.microsoft.com/office/drawing/2014/chart" uri="{C3380CC4-5D6E-409C-BE32-E72D297353CC}">
                <c16:uniqueId val="{0000006B-2993-41DE-A2CB-63102DE87051}"/>
              </c:ext>
            </c:extLst>
          </c:dPt>
          <c:dPt>
            <c:idx val="26"/>
            <c:invertIfNegative val="1"/>
            <c:bubble3D val="0"/>
            <c:spPr>
              <a:solidFill>
                <a:srgbClr val="AEABAB"/>
              </a:solidFill>
            </c:spPr>
            <c:extLst>
              <c:ext xmlns:c16="http://schemas.microsoft.com/office/drawing/2014/chart" uri="{C3380CC4-5D6E-409C-BE32-E72D297353CC}">
                <c16:uniqueId val="{0000006D-2993-41DE-A2CB-63102DE87051}"/>
              </c:ext>
            </c:extLst>
          </c:dPt>
          <c:dPt>
            <c:idx val="27"/>
            <c:invertIfNegative val="1"/>
            <c:bubble3D val="0"/>
            <c:spPr>
              <a:solidFill>
                <a:srgbClr val="AEABAB"/>
              </a:solidFill>
            </c:spPr>
            <c:extLst>
              <c:ext xmlns:c16="http://schemas.microsoft.com/office/drawing/2014/chart" uri="{C3380CC4-5D6E-409C-BE32-E72D297353CC}">
                <c16:uniqueId val="{0000006F-2993-41DE-A2CB-63102DE87051}"/>
              </c:ext>
            </c:extLst>
          </c:dPt>
          <c:dPt>
            <c:idx val="28"/>
            <c:invertIfNegative val="1"/>
            <c:bubble3D val="0"/>
            <c:spPr>
              <a:solidFill>
                <a:srgbClr val="AEABAB"/>
              </a:solidFill>
            </c:spPr>
            <c:extLst>
              <c:ext xmlns:c16="http://schemas.microsoft.com/office/drawing/2014/chart" uri="{C3380CC4-5D6E-409C-BE32-E72D297353CC}">
                <c16:uniqueId val="{00000071-2993-41DE-A2CB-63102DE87051}"/>
              </c:ext>
            </c:extLst>
          </c:dPt>
          <c:dPt>
            <c:idx val="29"/>
            <c:invertIfNegative val="1"/>
            <c:bubble3D val="0"/>
            <c:spPr>
              <a:solidFill>
                <a:srgbClr val="AEABAB"/>
              </a:solidFill>
            </c:spPr>
            <c:extLst>
              <c:ext xmlns:c16="http://schemas.microsoft.com/office/drawing/2014/chart" uri="{C3380CC4-5D6E-409C-BE32-E72D297353CC}">
                <c16:uniqueId val="{00000073-2993-41DE-A2CB-63102DE87051}"/>
              </c:ext>
            </c:extLst>
          </c:dPt>
          <c:dPt>
            <c:idx val="30"/>
            <c:invertIfNegative val="1"/>
            <c:bubble3D val="0"/>
            <c:spPr>
              <a:solidFill>
                <a:srgbClr val="AEABAB"/>
              </a:solidFill>
            </c:spPr>
            <c:extLst>
              <c:ext xmlns:c16="http://schemas.microsoft.com/office/drawing/2014/chart" uri="{C3380CC4-5D6E-409C-BE32-E72D297353CC}">
                <c16:uniqueId val="{00000075-2993-41DE-A2CB-63102DE87051}"/>
              </c:ext>
            </c:extLst>
          </c:dPt>
          <c:dPt>
            <c:idx val="31"/>
            <c:invertIfNegative val="1"/>
            <c:bubble3D val="0"/>
            <c:spPr>
              <a:solidFill>
                <a:srgbClr val="AEABAB"/>
              </a:solidFill>
            </c:spPr>
            <c:extLst>
              <c:ext xmlns:c16="http://schemas.microsoft.com/office/drawing/2014/chart" uri="{C3380CC4-5D6E-409C-BE32-E72D297353CC}">
                <c16:uniqueId val="{00000077-2993-41DE-A2CB-63102DE87051}"/>
              </c:ext>
            </c:extLst>
          </c:dPt>
          <c:dPt>
            <c:idx val="32"/>
            <c:invertIfNegative val="1"/>
            <c:bubble3D val="0"/>
            <c:spPr>
              <a:solidFill>
                <a:srgbClr val="AEABAB"/>
              </a:solidFill>
            </c:spPr>
            <c:extLst>
              <c:ext xmlns:c16="http://schemas.microsoft.com/office/drawing/2014/chart" uri="{C3380CC4-5D6E-409C-BE32-E72D297353CC}">
                <c16:uniqueId val="{00000079-2993-41DE-A2CB-63102DE87051}"/>
              </c:ext>
            </c:extLst>
          </c:dPt>
          <c:dPt>
            <c:idx val="33"/>
            <c:invertIfNegative val="1"/>
            <c:bubble3D val="0"/>
            <c:spPr>
              <a:solidFill>
                <a:srgbClr val="AEABAB"/>
              </a:solidFill>
            </c:spPr>
            <c:extLst>
              <c:ext xmlns:c16="http://schemas.microsoft.com/office/drawing/2014/chart" uri="{C3380CC4-5D6E-409C-BE32-E72D297353CC}">
                <c16:uniqueId val="{0000007B-2993-41DE-A2CB-63102DE87051}"/>
              </c:ext>
            </c:extLst>
          </c:dPt>
          <c:dPt>
            <c:idx val="34"/>
            <c:invertIfNegative val="1"/>
            <c:bubble3D val="0"/>
            <c:spPr>
              <a:solidFill>
                <a:srgbClr val="AEABAB"/>
              </a:solidFill>
            </c:spPr>
            <c:extLst>
              <c:ext xmlns:c16="http://schemas.microsoft.com/office/drawing/2014/chart" uri="{C3380CC4-5D6E-409C-BE32-E72D297353CC}">
                <c16:uniqueId val="{0000007D-2993-41DE-A2CB-63102DE87051}"/>
              </c:ext>
            </c:extLst>
          </c:dPt>
          <c:dPt>
            <c:idx val="35"/>
            <c:invertIfNegative val="1"/>
            <c:bubble3D val="0"/>
            <c:spPr>
              <a:solidFill>
                <a:srgbClr val="AEABAB"/>
              </a:solidFill>
            </c:spPr>
            <c:extLst>
              <c:ext xmlns:c16="http://schemas.microsoft.com/office/drawing/2014/chart" uri="{C3380CC4-5D6E-409C-BE32-E72D297353CC}">
                <c16:uniqueId val="{0000007F-2993-41DE-A2CB-63102DE87051}"/>
              </c:ext>
            </c:extLst>
          </c:dPt>
          <c:dPt>
            <c:idx val="36"/>
            <c:invertIfNegative val="1"/>
            <c:bubble3D val="0"/>
            <c:spPr>
              <a:solidFill>
                <a:srgbClr val="AEABAB"/>
              </a:solidFill>
            </c:spPr>
            <c:extLst>
              <c:ext xmlns:c16="http://schemas.microsoft.com/office/drawing/2014/chart" uri="{C3380CC4-5D6E-409C-BE32-E72D297353CC}">
                <c16:uniqueId val="{00000081-2993-41DE-A2CB-63102DE87051}"/>
              </c:ext>
            </c:extLst>
          </c:dPt>
          <c:dPt>
            <c:idx val="37"/>
            <c:invertIfNegative val="1"/>
            <c:bubble3D val="0"/>
            <c:spPr>
              <a:solidFill>
                <a:srgbClr val="AEABAB"/>
              </a:solidFill>
            </c:spPr>
            <c:extLst>
              <c:ext xmlns:c16="http://schemas.microsoft.com/office/drawing/2014/chart" uri="{C3380CC4-5D6E-409C-BE32-E72D297353CC}">
                <c16:uniqueId val="{00000083-2993-41DE-A2CB-63102DE87051}"/>
              </c:ext>
            </c:extLst>
          </c:dPt>
          <c:dPt>
            <c:idx val="38"/>
            <c:invertIfNegative val="1"/>
            <c:bubble3D val="0"/>
            <c:spPr>
              <a:solidFill>
                <a:srgbClr val="AEABAB"/>
              </a:solidFill>
            </c:spPr>
            <c:extLst>
              <c:ext xmlns:c16="http://schemas.microsoft.com/office/drawing/2014/chart" uri="{C3380CC4-5D6E-409C-BE32-E72D297353CC}">
                <c16:uniqueId val="{00000085-2993-41DE-A2CB-63102DE87051}"/>
              </c:ext>
            </c:extLst>
          </c:dPt>
          <c:dPt>
            <c:idx val="39"/>
            <c:invertIfNegative val="1"/>
            <c:bubble3D val="0"/>
            <c:spPr>
              <a:solidFill>
                <a:srgbClr val="AEABAB"/>
              </a:solidFill>
            </c:spPr>
            <c:extLst>
              <c:ext xmlns:c16="http://schemas.microsoft.com/office/drawing/2014/chart" uri="{C3380CC4-5D6E-409C-BE32-E72D297353CC}">
                <c16:uniqueId val="{00000087-2993-41DE-A2CB-63102DE87051}"/>
              </c:ext>
            </c:extLst>
          </c:dPt>
          <c:dPt>
            <c:idx val="40"/>
            <c:invertIfNegative val="1"/>
            <c:bubble3D val="0"/>
            <c:spPr>
              <a:solidFill>
                <a:srgbClr val="AEABAB"/>
              </a:solidFill>
            </c:spPr>
            <c:extLst>
              <c:ext xmlns:c16="http://schemas.microsoft.com/office/drawing/2014/chart" uri="{C3380CC4-5D6E-409C-BE32-E72D297353CC}">
                <c16:uniqueId val="{00000089-2993-41DE-A2CB-63102DE87051}"/>
              </c:ext>
            </c:extLst>
          </c:dPt>
          <c:dPt>
            <c:idx val="41"/>
            <c:invertIfNegative val="1"/>
            <c:bubble3D val="0"/>
            <c:spPr>
              <a:solidFill>
                <a:srgbClr val="AEABAB"/>
              </a:solidFill>
            </c:spPr>
            <c:extLst>
              <c:ext xmlns:c16="http://schemas.microsoft.com/office/drawing/2014/chart" uri="{C3380CC4-5D6E-409C-BE32-E72D297353CC}">
                <c16:uniqueId val="{0000008B-2993-41DE-A2CB-63102DE87051}"/>
              </c:ext>
            </c:extLst>
          </c:dPt>
          <c:dPt>
            <c:idx val="42"/>
            <c:invertIfNegative val="1"/>
            <c:bubble3D val="0"/>
            <c:spPr>
              <a:solidFill>
                <a:srgbClr val="AEABAB"/>
              </a:solidFill>
            </c:spPr>
            <c:extLst>
              <c:ext xmlns:c16="http://schemas.microsoft.com/office/drawing/2014/chart" uri="{C3380CC4-5D6E-409C-BE32-E72D297353CC}">
                <c16:uniqueId val="{0000008D-2993-41DE-A2CB-63102DE87051}"/>
              </c:ext>
            </c:extLst>
          </c:dPt>
          <c:dPt>
            <c:idx val="43"/>
            <c:invertIfNegative val="1"/>
            <c:bubble3D val="0"/>
            <c:spPr>
              <a:solidFill>
                <a:srgbClr val="AEABAB"/>
              </a:solidFill>
            </c:spPr>
            <c:extLst>
              <c:ext xmlns:c16="http://schemas.microsoft.com/office/drawing/2014/chart" uri="{C3380CC4-5D6E-409C-BE32-E72D297353CC}">
                <c16:uniqueId val="{0000008F-2993-41DE-A2CB-63102DE87051}"/>
              </c:ext>
            </c:extLst>
          </c:dPt>
          <c:dPt>
            <c:idx val="44"/>
            <c:invertIfNegative val="1"/>
            <c:bubble3D val="0"/>
            <c:spPr>
              <a:solidFill>
                <a:srgbClr val="AEABAB"/>
              </a:solidFill>
            </c:spPr>
            <c:extLst>
              <c:ext xmlns:c16="http://schemas.microsoft.com/office/drawing/2014/chart" uri="{C3380CC4-5D6E-409C-BE32-E72D297353CC}">
                <c16:uniqueId val="{00000091-2993-41DE-A2CB-63102DE87051}"/>
              </c:ext>
            </c:extLst>
          </c:dPt>
          <c:dPt>
            <c:idx val="45"/>
            <c:invertIfNegative val="1"/>
            <c:bubble3D val="0"/>
            <c:spPr>
              <a:solidFill>
                <a:srgbClr val="AEABAB"/>
              </a:solidFill>
            </c:spPr>
            <c:extLst>
              <c:ext xmlns:c16="http://schemas.microsoft.com/office/drawing/2014/chart" uri="{C3380CC4-5D6E-409C-BE32-E72D297353CC}">
                <c16:uniqueId val="{00000093-2993-41DE-A2CB-63102DE87051}"/>
              </c:ext>
            </c:extLst>
          </c:dPt>
          <c:dPt>
            <c:idx val="46"/>
            <c:invertIfNegative val="1"/>
            <c:bubble3D val="0"/>
            <c:spPr>
              <a:solidFill>
                <a:srgbClr val="AEABAB"/>
              </a:solidFill>
            </c:spPr>
            <c:extLst>
              <c:ext xmlns:c16="http://schemas.microsoft.com/office/drawing/2014/chart" uri="{C3380CC4-5D6E-409C-BE32-E72D297353CC}">
                <c16:uniqueId val="{00000095-2993-41DE-A2CB-63102DE87051}"/>
              </c:ext>
            </c:extLst>
          </c:dPt>
          <c:dPt>
            <c:idx val="47"/>
            <c:invertIfNegative val="1"/>
            <c:bubble3D val="0"/>
            <c:spPr>
              <a:solidFill>
                <a:srgbClr val="AEABAB"/>
              </a:solidFill>
            </c:spPr>
            <c:extLst>
              <c:ext xmlns:c16="http://schemas.microsoft.com/office/drawing/2014/chart" uri="{C3380CC4-5D6E-409C-BE32-E72D297353CC}">
                <c16:uniqueId val="{00000097-2993-41DE-A2CB-63102DE87051}"/>
              </c:ext>
            </c:extLst>
          </c:dPt>
          <c:dPt>
            <c:idx val="48"/>
            <c:invertIfNegative val="1"/>
            <c:bubble3D val="0"/>
            <c:spPr>
              <a:solidFill>
                <a:srgbClr val="AEABAB"/>
              </a:solidFill>
            </c:spPr>
            <c:extLst>
              <c:ext xmlns:c16="http://schemas.microsoft.com/office/drawing/2014/chart" uri="{C3380CC4-5D6E-409C-BE32-E72D297353CC}">
                <c16:uniqueId val="{00000099-2993-41DE-A2CB-63102DE87051}"/>
              </c:ext>
            </c:extLst>
          </c:dPt>
          <c:dPt>
            <c:idx val="49"/>
            <c:invertIfNegative val="1"/>
            <c:bubble3D val="0"/>
            <c:spPr>
              <a:solidFill>
                <a:srgbClr val="AEABAB"/>
              </a:solidFill>
            </c:spPr>
            <c:extLst>
              <c:ext xmlns:c16="http://schemas.microsoft.com/office/drawing/2014/chart" uri="{C3380CC4-5D6E-409C-BE32-E72D297353CC}">
                <c16:uniqueId val="{0000009B-2993-41DE-A2CB-63102DE87051}"/>
              </c:ext>
            </c:extLst>
          </c:dPt>
          <c:dPt>
            <c:idx val="50"/>
            <c:invertIfNegative val="1"/>
            <c:bubble3D val="0"/>
            <c:spPr>
              <a:solidFill>
                <a:srgbClr val="AEABAB"/>
              </a:solidFill>
            </c:spPr>
            <c:extLst>
              <c:ext xmlns:c16="http://schemas.microsoft.com/office/drawing/2014/chart" uri="{C3380CC4-5D6E-409C-BE32-E72D297353CC}">
                <c16:uniqueId val="{0000009D-2993-41DE-A2CB-63102DE87051}"/>
              </c:ext>
            </c:extLst>
          </c:dPt>
          <c:dPt>
            <c:idx val="51"/>
            <c:invertIfNegative val="1"/>
            <c:bubble3D val="0"/>
            <c:spPr>
              <a:solidFill>
                <a:srgbClr val="AEABAB"/>
              </a:solidFill>
            </c:spPr>
            <c:extLst>
              <c:ext xmlns:c16="http://schemas.microsoft.com/office/drawing/2014/chart" uri="{C3380CC4-5D6E-409C-BE32-E72D297353CC}">
                <c16:uniqueId val="{0000009F-2993-41DE-A2CB-63102DE87051}"/>
              </c:ext>
            </c:extLst>
          </c:dPt>
          <c:dPt>
            <c:idx val="52"/>
            <c:invertIfNegative val="1"/>
            <c:bubble3D val="0"/>
            <c:spPr>
              <a:solidFill>
                <a:srgbClr val="AEABAB"/>
              </a:solidFill>
            </c:spPr>
            <c:extLst>
              <c:ext xmlns:c16="http://schemas.microsoft.com/office/drawing/2014/chart" uri="{C3380CC4-5D6E-409C-BE32-E72D297353CC}">
                <c16:uniqueId val="{000000A1-2993-41DE-A2CB-63102DE87051}"/>
              </c:ext>
            </c:extLst>
          </c:dPt>
          <c:dPt>
            <c:idx val="53"/>
            <c:invertIfNegative val="1"/>
            <c:bubble3D val="0"/>
            <c:spPr>
              <a:solidFill>
                <a:srgbClr val="AEABAB"/>
              </a:solidFill>
            </c:spPr>
            <c:extLst>
              <c:ext xmlns:c16="http://schemas.microsoft.com/office/drawing/2014/chart" uri="{C3380CC4-5D6E-409C-BE32-E72D297353CC}">
                <c16:uniqueId val="{000000A3-2993-41DE-A2CB-63102DE87051}"/>
              </c:ext>
            </c:extLst>
          </c:dPt>
          <c:dPt>
            <c:idx val="54"/>
            <c:invertIfNegative val="0"/>
            <c:bubble3D val="0"/>
            <c:spPr>
              <a:solidFill>
                <a:srgbClr val="AEABAB"/>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56</c:f>
              <c:strCache>
                <c:ptCount val="55"/>
                <c:pt idx="0">
                  <c:v>Ruinart</c:v>
                </c:pt>
                <c:pt idx="1">
                  <c:v>Deutz</c:v>
                </c:pt>
                <c:pt idx="2">
                  <c:v>Demoiselle</c:v>
                </c:pt>
                <c:pt idx="3">
                  <c:v>Laurent Per</c:v>
                </c:pt>
                <c:pt idx="4">
                  <c:v>Ruinart</c:v>
                </c:pt>
                <c:pt idx="5">
                  <c:v>Nicolas</c:v>
                </c:pt>
                <c:pt idx="6">
                  <c:v>Nicolas Feu</c:v>
                </c:pt>
                <c:pt idx="7">
                  <c:v>Malard</c:v>
                </c:pt>
                <c:pt idx="8">
                  <c:v>Besserat De</c:v>
                </c:pt>
                <c:pt idx="9">
                  <c:v>Pommery</c:v>
                </c:pt>
                <c:pt idx="10">
                  <c:v>Dom Perigno</c:v>
                </c:pt>
                <c:pt idx="11">
                  <c:v>Roederer</c:v>
                </c:pt>
                <c:pt idx="12">
                  <c:v>Ruinart</c:v>
                </c:pt>
                <c:pt idx="13">
                  <c:v>Bollinger</c:v>
                </c:pt>
                <c:pt idx="14">
                  <c:v>Ruinart</c:v>
                </c:pt>
                <c:pt idx="15">
                  <c:v>Deutz</c:v>
                </c:pt>
                <c:pt idx="16">
                  <c:v>Nicolas</c:v>
                </c:pt>
                <c:pt idx="17">
                  <c:v>Nicolas</c:v>
                </c:pt>
                <c:pt idx="18">
                  <c:v>Veuve Clicq</c:v>
                </c:pt>
                <c:pt idx="19">
                  <c:v>Perrier Jou</c:v>
                </c:pt>
                <c:pt idx="20">
                  <c:v>Besserat De</c:v>
                </c:pt>
                <c:pt idx="21">
                  <c:v>Demoiselle</c:v>
                </c:pt>
                <c:pt idx="22">
                  <c:v>Nicolas</c:v>
                </c:pt>
                <c:pt idx="23">
                  <c:v>Deutz</c:v>
                </c:pt>
                <c:pt idx="24">
                  <c:v>Nicolas</c:v>
                </c:pt>
                <c:pt idx="25">
                  <c:v>Ruinart</c:v>
                </c:pt>
                <c:pt idx="26">
                  <c:v>Henriot</c:v>
                </c:pt>
                <c:pt idx="27">
                  <c:v>Krug</c:v>
                </c:pt>
                <c:pt idx="28">
                  <c:v>All Others</c:v>
                </c:pt>
                <c:pt idx="29">
                  <c:v>Moët &amp; Chan</c:v>
                </c:pt>
                <c:pt idx="30">
                  <c:v>Roederer</c:v>
                </c:pt>
                <c:pt idx="31">
                  <c:v>Veuve Clicq</c:v>
                </c:pt>
                <c:pt idx="32">
                  <c:v>Dom Perigno</c:v>
                </c:pt>
                <c:pt idx="33">
                  <c:v>Laurent Per</c:v>
                </c:pt>
                <c:pt idx="34">
                  <c:v>Perrier Jou</c:v>
                </c:pt>
                <c:pt idx="35">
                  <c:v>Dom Perigno</c:v>
                </c:pt>
                <c:pt idx="36">
                  <c:v>Deutz</c:v>
                </c:pt>
                <c:pt idx="37">
                  <c:v>Moët &amp; Chan</c:v>
                </c:pt>
                <c:pt idx="38">
                  <c:v>Ruinart</c:v>
                </c:pt>
                <c:pt idx="39">
                  <c:v>Bollinger</c:v>
                </c:pt>
                <c:pt idx="40">
                  <c:v>Roederer</c:v>
                </c:pt>
                <c:pt idx="41">
                  <c:v>Moët &amp; Chan</c:v>
                </c:pt>
                <c:pt idx="42">
                  <c:v>All Others</c:v>
                </c:pt>
                <c:pt idx="43">
                  <c:v>Ayala</c:v>
                </c:pt>
                <c:pt idx="44">
                  <c:v>Ruinart</c:v>
                </c:pt>
                <c:pt idx="45">
                  <c:v>Deutz</c:v>
                </c:pt>
                <c:pt idx="46">
                  <c:v>Dom Perigno</c:v>
                </c:pt>
                <c:pt idx="47">
                  <c:v>Taittinger</c:v>
                </c:pt>
                <c:pt idx="48">
                  <c:v>Piper Heids</c:v>
                </c:pt>
                <c:pt idx="49">
                  <c:v>Laurent Per</c:v>
                </c:pt>
                <c:pt idx="50">
                  <c:v>Demoiselle</c:v>
                </c:pt>
                <c:pt idx="51">
                  <c:v>Ruinart</c:v>
                </c:pt>
                <c:pt idx="52">
                  <c:v>De Bligny</c:v>
                </c:pt>
                <c:pt idx="53">
                  <c:v>All Others</c:v>
                </c:pt>
                <c:pt idx="54">
                  <c:v>Moët &amp; Chan</c:v>
                </c:pt>
              </c:strCache>
            </c:strRef>
          </c:cat>
          <c:val>
            <c:numRef>
              <c:f>Sheet1!$C$2:$C$56</c:f>
              <c:numCache>
                <c:formatCode>General</c:formatCode>
                <c:ptCount val="55"/>
                <c:pt idx="0">
                  <c:v>0.1589362259281365</c:v>
                </c:pt>
                <c:pt idx="1">
                  <c:v>0.27388667262737476</c:v>
                </c:pt>
                <c:pt idx="2">
                  <c:v>0.36897940118137956</c:v>
                </c:pt>
                <c:pt idx="3">
                  <c:v>0.45470373000351511</c:v>
                </c:pt>
                <c:pt idx="4">
                  <c:v>0.53069197350102404</c:v>
                </c:pt>
                <c:pt idx="5">
                  <c:v>0.59010605589292831</c:v>
                </c:pt>
                <c:pt idx="6">
                  <c:v>0.64525720972132394</c:v>
                </c:pt>
                <c:pt idx="7">
                  <c:v>0.68923692264346725</c:v>
                </c:pt>
                <c:pt idx="8">
                  <c:v>0.72695384787522543</c:v>
                </c:pt>
                <c:pt idx="9">
                  <c:v>0.76184084100580707</c:v>
                </c:pt>
                <c:pt idx="10">
                  <c:v>0.79228561250656759</c:v>
                </c:pt>
                <c:pt idx="11">
                  <c:v>0.82131255331188324</c:v>
                </c:pt>
                <c:pt idx="12">
                  <c:v>0.84661410773558576</c:v>
                </c:pt>
                <c:pt idx="13">
                  <c:v>0.87040380370914205</c:v>
                </c:pt>
                <c:pt idx="14">
                  <c:v>0.89294990679793695</c:v>
                </c:pt>
                <c:pt idx="15">
                  <c:v>0.91336201797716299</c:v>
                </c:pt>
                <c:pt idx="16">
                  <c:v>0.9278520656954059</c:v>
                </c:pt>
                <c:pt idx="17">
                  <c:v>0.93923515330399698</c:v>
                </c:pt>
                <c:pt idx="18">
                  <c:v>0.94925534399497968</c:v>
                </c:pt>
                <c:pt idx="19">
                  <c:v>0.95912994332384394</c:v>
                </c:pt>
                <c:pt idx="20">
                  <c:v>0.96871302291142947</c:v>
                </c:pt>
                <c:pt idx="21">
                  <c:v>0.97424313555263542</c:v>
                </c:pt>
                <c:pt idx="22">
                  <c:v>0.97770463759040893</c:v>
                </c:pt>
                <c:pt idx="23">
                  <c:v>0.9795690158664252</c:v>
                </c:pt>
                <c:pt idx="24">
                  <c:v>0.98129622820637163</c:v>
                </c:pt>
                <c:pt idx="25">
                  <c:v>0.98297524710932049</c:v>
                </c:pt>
                <c:pt idx="26">
                  <c:v>0.98443385686684015</c:v>
                </c:pt>
                <c:pt idx="27">
                  <c:v>0.98586112403945925</c:v>
                </c:pt>
                <c:pt idx="28">
                  <c:v>0.98713504845799527</c:v>
                </c:pt>
                <c:pt idx="29">
                  <c:v>0.98822159140121224</c:v>
                </c:pt>
                <c:pt idx="30">
                  <c:v>0.98919220048200163</c:v>
                </c:pt>
                <c:pt idx="31">
                  <c:v>0.99013888135281325</c:v>
                </c:pt>
                <c:pt idx="32">
                  <c:v>0.99099490463934281</c:v>
                </c:pt>
                <c:pt idx="33">
                  <c:v>0.99181891130688793</c:v>
                </c:pt>
                <c:pt idx="34">
                  <c:v>0.99251990675412471</c:v>
                </c:pt>
                <c:pt idx="35">
                  <c:v>0.99316192421902183</c:v>
                </c:pt>
                <c:pt idx="36">
                  <c:v>0.99377394716718626</c:v>
                </c:pt>
                <c:pt idx="37">
                  <c:v>0.99435226841115665</c:v>
                </c:pt>
                <c:pt idx="38">
                  <c:v>0.99487801499658424</c:v>
                </c:pt>
                <c:pt idx="39">
                  <c:v>0.99540039141159242</c:v>
                </c:pt>
                <c:pt idx="40">
                  <c:v>0.99588906612240657</c:v>
                </c:pt>
                <c:pt idx="41">
                  <c:v>0.99619878478395019</c:v>
                </c:pt>
                <c:pt idx="42">
                  <c:v>0.99649232662748055</c:v>
                </c:pt>
                <c:pt idx="43">
                  <c:v>0.99678317233467539</c:v>
                </c:pt>
                <c:pt idx="44">
                  <c:v>0.99705581912160546</c:v>
                </c:pt>
                <c:pt idx="45">
                  <c:v>0.99731195207348045</c:v>
                </c:pt>
                <c:pt idx="46">
                  <c:v>0.9975586485481811</c:v>
                </c:pt>
                <c:pt idx="47">
                  <c:v>0.99778411294923952</c:v>
                </c:pt>
                <c:pt idx="48">
                  <c:v>0.99839647291444578</c:v>
                </c:pt>
                <c:pt idx="49">
                  <c:v>0.99857003669104527</c:v>
                </c:pt>
                <c:pt idx="50">
                  <c:v>0.9988932360342665</c:v>
                </c:pt>
                <c:pt idx="51">
                  <c:v>0.999175319298371</c:v>
                </c:pt>
                <c:pt idx="52">
                  <c:v>0.99930035262093098</c:v>
                </c:pt>
                <c:pt idx="53">
                  <c:v>0.9994132533299811</c:v>
                </c:pt>
                <c:pt idx="54">
                  <c:v>0.99988137000123678</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37</c:f>
              <c:strCache>
                <c:ptCount val="36"/>
                <c:pt idx="0">
                  <c:v>Ruinart</c:v>
                </c:pt>
                <c:pt idx="1">
                  <c:v>Laurent Per</c:v>
                </c:pt>
                <c:pt idx="2">
                  <c:v>Deutz</c:v>
                </c:pt>
                <c:pt idx="3">
                  <c:v>Ruinart</c:v>
                </c:pt>
                <c:pt idx="4">
                  <c:v>Demoiselle</c:v>
                </c:pt>
                <c:pt idx="5">
                  <c:v>Nicolas</c:v>
                </c:pt>
                <c:pt idx="6">
                  <c:v>Nicolas Feu</c:v>
                </c:pt>
                <c:pt idx="7">
                  <c:v>Pommery</c:v>
                </c:pt>
                <c:pt idx="8">
                  <c:v>Ruinart</c:v>
                </c:pt>
                <c:pt idx="9">
                  <c:v>Besserat De</c:v>
                </c:pt>
                <c:pt idx="10">
                  <c:v>Malard</c:v>
                </c:pt>
                <c:pt idx="11">
                  <c:v>Bollinger</c:v>
                </c:pt>
                <c:pt idx="12">
                  <c:v>Ruinart</c:v>
                </c:pt>
                <c:pt idx="13">
                  <c:v>Dom Perigno</c:v>
                </c:pt>
                <c:pt idx="14">
                  <c:v>Deutz</c:v>
                </c:pt>
                <c:pt idx="15">
                  <c:v>Nicolas</c:v>
                </c:pt>
                <c:pt idx="16">
                  <c:v>Nicolas</c:v>
                </c:pt>
                <c:pt idx="17">
                  <c:v>Besserat De</c:v>
                </c:pt>
                <c:pt idx="18">
                  <c:v>All Others</c:v>
                </c:pt>
                <c:pt idx="19">
                  <c:v>Krug</c:v>
                </c:pt>
                <c:pt idx="20">
                  <c:v>Nicolas</c:v>
                </c:pt>
                <c:pt idx="21">
                  <c:v>Deutz</c:v>
                </c:pt>
                <c:pt idx="22">
                  <c:v>Nicolas</c:v>
                </c:pt>
                <c:pt idx="23">
                  <c:v>Moët &amp; Chan</c:v>
                </c:pt>
                <c:pt idx="24">
                  <c:v>Roederer</c:v>
                </c:pt>
                <c:pt idx="25">
                  <c:v>Perrier Jou</c:v>
                </c:pt>
                <c:pt idx="26">
                  <c:v>Perrier Jou</c:v>
                </c:pt>
                <c:pt idx="27">
                  <c:v>Demoiselle</c:v>
                </c:pt>
                <c:pt idx="28">
                  <c:v>All Others</c:v>
                </c:pt>
                <c:pt idx="29">
                  <c:v>Taittinger</c:v>
                </c:pt>
                <c:pt idx="30">
                  <c:v>Laurent Per</c:v>
                </c:pt>
                <c:pt idx="31">
                  <c:v>Ruinart</c:v>
                </c:pt>
                <c:pt idx="32">
                  <c:v>Henriot</c:v>
                </c:pt>
                <c:pt idx="33">
                  <c:v>Bollinger</c:v>
                </c:pt>
                <c:pt idx="34">
                  <c:v>All Others</c:v>
                </c:pt>
                <c:pt idx="35">
                  <c:v>All Others</c:v>
                </c:pt>
              </c:strCache>
            </c:strRef>
          </c:cat>
          <c:val>
            <c:numRef>
              <c:f>Sheet1!$B$2:$B$37</c:f>
              <c:numCache>
                <c:formatCode>General</c:formatCode>
                <c:ptCount val="36"/>
                <c:pt idx="0">
                  <c:v>0.79</c:v>
                </c:pt>
                <c:pt idx="1">
                  <c:v>0.81</c:v>
                </c:pt>
                <c:pt idx="2">
                  <c:v>0.77</c:v>
                </c:pt>
                <c:pt idx="3">
                  <c:v>0.59</c:v>
                </c:pt>
                <c:pt idx="4">
                  <c:v>0.89</c:v>
                </c:pt>
                <c:pt idx="5">
                  <c:v>0.86</c:v>
                </c:pt>
                <c:pt idx="6">
                  <c:v>0.55000000000000004</c:v>
                </c:pt>
                <c:pt idx="7">
                  <c:v>0.49</c:v>
                </c:pt>
                <c:pt idx="8">
                  <c:v>0.3</c:v>
                </c:pt>
                <c:pt idx="9">
                  <c:v>0.31</c:v>
                </c:pt>
                <c:pt idx="10">
                  <c:v>0.42</c:v>
                </c:pt>
                <c:pt idx="11">
                  <c:v>0.28000000000000003</c:v>
                </c:pt>
                <c:pt idx="12">
                  <c:v>0.4</c:v>
                </c:pt>
                <c:pt idx="13">
                  <c:v>0.17</c:v>
                </c:pt>
                <c:pt idx="14">
                  <c:v>0.37</c:v>
                </c:pt>
                <c:pt idx="15">
                  <c:v>0.43</c:v>
                </c:pt>
                <c:pt idx="16">
                  <c:v>0.41</c:v>
                </c:pt>
                <c:pt idx="17">
                  <c:v>0.32</c:v>
                </c:pt>
                <c:pt idx="18">
                  <c:v>0.14000000000000001</c:v>
                </c:pt>
                <c:pt idx="19">
                  <c:v>0.14000000000000001</c:v>
                </c:pt>
                <c:pt idx="20">
                  <c:v>0.09</c:v>
                </c:pt>
                <c:pt idx="21">
                  <c:v>0.14000000000000001</c:v>
                </c:pt>
                <c:pt idx="22">
                  <c:v>0.08</c:v>
                </c:pt>
                <c:pt idx="23">
                  <c:v>0.22</c:v>
                </c:pt>
                <c:pt idx="24">
                  <c:v>0.04</c:v>
                </c:pt>
                <c:pt idx="25">
                  <c:v>0.13</c:v>
                </c:pt>
                <c:pt idx="26">
                  <c:v>0.02</c:v>
                </c:pt>
                <c:pt idx="27">
                  <c:v>0.15</c:v>
                </c:pt>
                <c:pt idx="28">
                  <c:v>0.14000000000000001</c:v>
                </c:pt>
                <c:pt idx="29">
                  <c:v>0.14000000000000001</c:v>
                </c:pt>
                <c:pt idx="30">
                  <c:v>0.02</c:v>
                </c:pt>
                <c:pt idx="31">
                  <c:v>0.01</c:v>
                </c:pt>
                <c:pt idx="32">
                  <c:v>0.06</c:v>
                </c:pt>
                <c:pt idx="33">
                  <c:v>0.05</c:v>
                </c:pt>
                <c:pt idx="34">
                  <c:v>0.08</c:v>
                </c:pt>
                <c:pt idx="35">
                  <c:v>0.02</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7ECAC4"/>
              </a:solidFill>
            </c:spPr>
            <c:extLst>
              <c:ext xmlns:c16="http://schemas.microsoft.com/office/drawing/2014/chart" uri="{C3380CC4-5D6E-409C-BE32-E72D297353CC}">
                <c16:uniqueId val="{0000004B-2993-41DE-A2CB-63102DE87051}"/>
              </c:ext>
            </c:extLst>
          </c:dPt>
          <c:dPt>
            <c:idx val="10"/>
            <c:invertIfNegative val="1"/>
            <c:bubble3D val="0"/>
            <c:spPr>
              <a:solidFill>
                <a:srgbClr val="7ECAC4"/>
              </a:solidFill>
            </c:spPr>
            <c:extLst>
              <c:ext xmlns:c16="http://schemas.microsoft.com/office/drawing/2014/chart" uri="{C3380CC4-5D6E-409C-BE32-E72D297353CC}">
                <c16:uniqueId val="{0000004D-2993-41DE-A2CB-63102DE87051}"/>
              </c:ext>
            </c:extLst>
          </c:dPt>
          <c:dPt>
            <c:idx val="11"/>
            <c:invertIfNegative val="1"/>
            <c:bubble3D val="0"/>
            <c:spPr>
              <a:solidFill>
                <a:srgbClr val="7ECAC4"/>
              </a:solidFill>
            </c:spPr>
            <c:extLst>
              <c:ext xmlns:c16="http://schemas.microsoft.com/office/drawing/2014/chart" uri="{C3380CC4-5D6E-409C-BE32-E72D297353CC}">
                <c16:uniqueId val="{0000004F-2993-41DE-A2CB-63102DE87051}"/>
              </c:ext>
            </c:extLst>
          </c:dPt>
          <c:dPt>
            <c:idx val="12"/>
            <c:invertIfNegative val="1"/>
            <c:bubble3D val="0"/>
            <c:spPr>
              <a:solidFill>
                <a:srgbClr val="7ECAC4"/>
              </a:solidFill>
            </c:spPr>
            <c:extLst>
              <c:ext xmlns:c16="http://schemas.microsoft.com/office/drawing/2014/chart" uri="{C3380CC4-5D6E-409C-BE32-E72D297353CC}">
                <c16:uniqueId val="{00000051-2993-41DE-A2CB-63102DE87051}"/>
              </c:ext>
            </c:extLst>
          </c:dPt>
          <c:dPt>
            <c:idx val="13"/>
            <c:invertIfNegative val="1"/>
            <c:bubble3D val="0"/>
            <c:spPr>
              <a:solidFill>
                <a:srgbClr val="7ECAC4"/>
              </a:solidFill>
            </c:spPr>
            <c:extLst>
              <c:ext xmlns:c16="http://schemas.microsoft.com/office/drawing/2014/chart" uri="{C3380CC4-5D6E-409C-BE32-E72D297353CC}">
                <c16:uniqueId val="{00000053-2993-41DE-A2CB-63102DE87051}"/>
              </c:ext>
            </c:extLst>
          </c:dPt>
          <c:dPt>
            <c:idx val="14"/>
            <c:invertIfNegative val="1"/>
            <c:bubble3D val="0"/>
            <c:spPr>
              <a:solidFill>
                <a:srgbClr val="7ECAC4"/>
              </a:solidFill>
            </c:spPr>
            <c:extLst>
              <c:ext xmlns:c16="http://schemas.microsoft.com/office/drawing/2014/chart" uri="{C3380CC4-5D6E-409C-BE32-E72D297353CC}">
                <c16:uniqueId val="{00000055-2993-41DE-A2CB-63102DE87051}"/>
              </c:ext>
            </c:extLst>
          </c:dPt>
          <c:dPt>
            <c:idx val="15"/>
            <c:invertIfNegative val="1"/>
            <c:bubble3D val="0"/>
            <c:spPr>
              <a:solidFill>
                <a:srgbClr val="AEABAB"/>
              </a:solidFill>
            </c:spPr>
            <c:extLst>
              <c:ext xmlns:c16="http://schemas.microsoft.com/office/drawing/2014/chart" uri="{C3380CC4-5D6E-409C-BE32-E72D297353CC}">
                <c16:uniqueId val="{00000057-2993-41DE-A2CB-63102DE87051}"/>
              </c:ext>
            </c:extLst>
          </c:dPt>
          <c:dPt>
            <c:idx val="16"/>
            <c:invertIfNegative val="1"/>
            <c:bubble3D val="0"/>
            <c:spPr>
              <a:solidFill>
                <a:srgbClr val="AEABAB"/>
              </a:solidFill>
            </c:spPr>
            <c:extLst>
              <c:ext xmlns:c16="http://schemas.microsoft.com/office/drawing/2014/chart" uri="{C3380CC4-5D6E-409C-BE32-E72D297353CC}">
                <c16:uniqueId val="{00000059-2993-41DE-A2CB-63102DE87051}"/>
              </c:ext>
            </c:extLst>
          </c:dPt>
          <c:dPt>
            <c:idx val="17"/>
            <c:invertIfNegative val="1"/>
            <c:bubble3D val="0"/>
            <c:spPr>
              <a:solidFill>
                <a:srgbClr val="AEABAB"/>
              </a:solidFill>
            </c:spPr>
            <c:extLst>
              <c:ext xmlns:c16="http://schemas.microsoft.com/office/drawing/2014/chart" uri="{C3380CC4-5D6E-409C-BE32-E72D297353CC}">
                <c16:uniqueId val="{0000005B-2993-41DE-A2CB-63102DE87051}"/>
              </c:ext>
            </c:extLst>
          </c:dPt>
          <c:dPt>
            <c:idx val="18"/>
            <c:invertIfNegative val="1"/>
            <c:bubble3D val="0"/>
            <c:spPr>
              <a:solidFill>
                <a:srgbClr val="AEABAB"/>
              </a:solidFill>
            </c:spPr>
            <c:extLst>
              <c:ext xmlns:c16="http://schemas.microsoft.com/office/drawing/2014/chart" uri="{C3380CC4-5D6E-409C-BE32-E72D297353CC}">
                <c16:uniqueId val="{0000005D-2993-41DE-A2CB-63102DE87051}"/>
              </c:ext>
            </c:extLst>
          </c:dPt>
          <c:dPt>
            <c:idx val="19"/>
            <c:invertIfNegative val="1"/>
            <c:bubble3D val="0"/>
            <c:spPr>
              <a:solidFill>
                <a:srgbClr val="AEABAB"/>
              </a:solidFill>
            </c:spPr>
            <c:extLst>
              <c:ext xmlns:c16="http://schemas.microsoft.com/office/drawing/2014/chart" uri="{C3380CC4-5D6E-409C-BE32-E72D297353CC}">
                <c16:uniqueId val="{0000005F-2993-41DE-A2CB-63102DE87051}"/>
              </c:ext>
            </c:extLst>
          </c:dPt>
          <c:dPt>
            <c:idx val="20"/>
            <c:invertIfNegative val="1"/>
            <c:bubble3D val="0"/>
            <c:spPr>
              <a:solidFill>
                <a:srgbClr val="AEABAB"/>
              </a:solidFill>
            </c:spPr>
            <c:extLst>
              <c:ext xmlns:c16="http://schemas.microsoft.com/office/drawing/2014/chart" uri="{C3380CC4-5D6E-409C-BE32-E72D297353CC}">
                <c16:uniqueId val="{00000061-2993-41DE-A2CB-63102DE87051}"/>
              </c:ext>
            </c:extLst>
          </c:dPt>
          <c:dPt>
            <c:idx val="21"/>
            <c:invertIfNegative val="1"/>
            <c:bubble3D val="0"/>
            <c:spPr>
              <a:solidFill>
                <a:srgbClr val="AEABAB"/>
              </a:solidFill>
            </c:spPr>
            <c:extLst>
              <c:ext xmlns:c16="http://schemas.microsoft.com/office/drawing/2014/chart" uri="{C3380CC4-5D6E-409C-BE32-E72D297353CC}">
                <c16:uniqueId val="{00000063-2993-41DE-A2CB-63102DE87051}"/>
              </c:ext>
            </c:extLst>
          </c:dPt>
          <c:dPt>
            <c:idx val="22"/>
            <c:invertIfNegative val="1"/>
            <c:bubble3D val="0"/>
            <c:spPr>
              <a:solidFill>
                <a:srgbClr val="AEABAB"/>
              </a:solidFill>
            </c:spPr>
            <c:extLst>
              <c:ext xmlns:c16="http://schemas.microsoft.com/office/drawing/2014/chart" uri="{C3380CC4-5D6E-409C-BE32-E72D297353CC}">
                <c16:uniqueId val="{00000065-2993-41DE-A2CB-63102DE87051}"/>
              </c:ext>
            </c:extLst>
          </c:dPt>
          <c:dPt>
            <c:idx val="23"/>
            <c:invertIfNegative val="1"/>
            <c:bubble3D val="0"/>
            <c:spPr>
              <a:solidFill>
                <a:srgbClr val="AEABAB"/>
              </a:solidFill>
            </c:spPr>
            <c:extLst>
              <c:ext xmlns:c16="http://schemas.microsoft.com/office/drawing/2014/chart" uri="{C3380CC4-5D6E-409C-BE32-E72D297353CC}">
                <c16:uniqueId val="{00000067-2993-41DE-A2CB-63102DE87051}"/>
              </c:ext>
            </c:extLst>
          </c:dPt>
          <c:dPt>
            <c:idx val="24"/>
            <c:invertIfNegative val="1"/>
            <c:bubble3D val="0"/>
            <c:spPr>
              <a:solidFill>
                <a:srgbClr val="AEABAB"/>
              </a:solidFill>
            </c:spPr>
            <c:extLst>
              <c:ext xmlns:c16="http://schemas.microsoft.com/office/drawing/2014/chart" uri="{C3380CC4-5D6E-409C-BE32-E72D297353CC}">
                <c16:uniqueId val="{00000069-2993-41DE-A2CB-63102DE87051}"/>
              </c:ext>
            </c:extLst>
          </c:dPt>
          <c:dPt>
            <c:idx val="25"/>
            <c:invertIfNegative val="1"/>
            <c:bubble3D val="0"/>
            <c:spPr>
              <a:solidFill>
                <a:srgbClr val="AEABAB"/>
              </a:solidFill>
            </c:spPr>
            <c:extLst>
              <c:ext xmlns:c16="http://schemas.microsoft.com/office/drawing/2014/chart" uri="{C3380CC4-5D6E-409C-BE32-E72D297353CC}">
                <c16:uniqueId val="{0000006B-2993-41DE-A2CB-63102DE87051}"/>
              </c:ext>
            </c:extLst>
          </c:dPt>
          <c:dPt>
            <c:idx val="26"/>
            <c:invertIfNegative val="1"/>
            <c:bubble3D val="0"/>
            <c:spPr>
              <a:solidFill>
                <a:srgbClr val="AEABAB"/>
              </a:solidFill>
            </c:spPr>
            <c:extLst>
              <c:ext xmlns:c16="http://schemas.microsoft.com/office/drawing/2014/chart" uri="{C3380CC4-5D6E-409C-BE32-E72D297353CC}">
                <c16:uniqueId val="{0000006D-2993-41DE-A2CB-63102DE87051}"/>
              </c:ext>
            </c:extLst>
          </c:dPt>
          <c:dPt>
            <c:idx val="27"/>
            <c:invertIfNegative val="1"/>
            <c:bubble3D val="0"/>
            <c:spPr>
              <a:solidFill>
                <a:srgbClr val="AEABAB"/>
              </a:solidFill>
            </c:spPr>
            <c:extLst>
              <c:ext xmlns:c16="http://schemas.microsoft.com/office/drawing/2014/chart" uri="{C3380CC4-5D6E-409C-BE32-E72D297353CC}">
                <c16:uniqueId val="{0000006F-2993-41DE-A2CB-63102DE87051}"/>
              </c:ext>
            </c:extLst>
          </c:dPt>
          <c:dPt>
            <c:idx val="28"/>
            <c:invertIfNegative val="1"/>
            <c:bubble3D val="0"/>
            <c:spPr>
              <a:solidFill>
                <a:srgbClr val="AEABAB"/>
              </a:solidFill>
            </c:spPr>
            <c:extLst>
              <c:ext xmlns:c16="http://schemas.microsoft.com/office/drawing/2014/chart" uri="{C3380CC4-5D6E-409C-BE32-E72D297353CC}">
                <c16:uniqueId val="{00000071-2993-41DE-A2CB-63102DE87051}"/>
              </c:ext>
            </c:extLst>
          </c:dPt>
          <c:dPt>
            <c:idx val="29"/>
            <c:invertIfNegative val="1"/>
            <c:bubble3D val="0"/>
            <c:spPr>
              <a:solidFill>
                <a:srgbClr val="AEABAB"/>
              </a:solidFill>
            </c:spPr>
            <c:extLst>
              <c:ext xmlns:c16="http://schemas.microsoft.com/office/drawing/2014/chart" uri="{C3380CC4-5D6E-409C-BE32-E72D297353CC}">
                <c16:uniqueId val="{00000073-2993-41DE-A2CB-63102DE87051}"/>
              </c:ext>
            </c:extLst>
          </c:dPt>
          <c:dPt>
            <c:idx val="30"/>
            <c:invertIfNegative val="1"/>
            <c:bubble3D val="0"/>
            <c:spPr>
              <a:solidFill>
                <a:srgbClr val="AEABAB"/>
              </a:solidFill>
            </c:spPr>
            <c:extLst>
              <c:ext xmlns:c16="http://schemas.microsoft.com/office/drawing/2014/chart" uri="{C3380CC4-5D6E-409C-BE32-E72D297353CC}">
                <c16:uniqueId val="{00000075-2993-41DE-A2CB-63102DE87051}"/>
              </c:ext>
            </c:extLst>
          </c:dPt>
          <c:dPt>
            <c:idx val="31"/>
            <c:invertIfNegative val="1"/>
            <c:bubble3D val="0"/>
            <c:spPr>
              <a:solidFill>
                <a:srgbClr val="AEABAB"/>
              </a:solidFill>
            </c:spPr>
            <c:extLst>
              <c:ext xmlns:c16="http://schemas.microsoft.com/office/drawing/2014/chart" uri="{C3380CC4-5D6E-409C-BE32-E72D297353CC}">
                <c16:uniqueId val="{00000077-2993-41DE-A2CB-63102DE87051}"/>
              </c:ext>
            </c:extLst>
          </c:dPt>
          <c:dPt>
            <c:idx val="32"/>
            <c:invertIfNegative val="1"/>
            <c:bubble3D val="0"/>
            <c:spPr>
              <a:solidFill>
                <a:srgbClr val="AEABAB"/>
              </a:solidFill>
            </c:spPr>
            <c:extLst>
              <c:ext xmlns:c16="http://schemas.microsoft.com/office/drawing/2014/chart" uri="{C3380CC4-5D6E-409C-BE32-E72D297353CC}">
                <c16:uniqueId val="{00000079-2993-41DE-A2CB-63102DE87051}"/>
              </c:ext>
            </c:extLst>
          </c:dPt>
          <c:dPt>
            <c:idx val="33"/>
            <c:invertIfNegative val="1"/>
            <c:bubble3D val="0"/>
            <c:spPr>
              <a:solidFill>
                <a:srgbClr val="AEABAB"/>
              </a:solidFill>
            </c:spPr>
            <c:extLst>
              <c:ext xmlns:c16="http://schemas.microsoft.com/office/drawing/2014/chart" uri="{C3380CC4-5D6E-409C-BE32-E72D297353CC}">
                <c16:uniqueId val="{0000007B-2993-41DE-A2CB-63102DE87051}"/>
              </c:ext>
            </c:extLst>
          </c:dPt>
          <c:dPt>
            <c:idx val="34"/>
            <c:invertIfNegative val="1"/>
            <c:bubble3D val="0"/>
            <c:spPr>
              <a:solidFill>
                <a:srgbClr val="AEABAB"/>
              </a:solidFill>
            </c:spPr>
            <c:extLst>
              <c:ext xmlns:c16="http://schemas.microsoft.com/office/drawing/2014/chart" uri="{C3380CC4-5D6E-409C-BE32-E72D297353CC}">
                <c16:uniqueId val="{0000007D-2993-41DE-A2CB-63102DE87051}"/>
              </c:ext>
            </c:extLst>
          </c:dPt>
          <c:dPt>
            <c:idx val="35"/>
            <c:invertIfNegative val="1"/>
            <c:bubble3D val="0"/>
            <c:spPr>
              <a:solidFill>
                <a:srgbClr val="AEABAB"/>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37</c:f>
              <c:strCache>
                <c:ptCount val="36"/>
                <c:pt idx="0">
                  <c:v>Ruinart</c:v>
                </c:pt>
                <c:pt idx="1">
                  <c:v>Laurent Per</c:v>
                </c:pt>
                <c:pt idx="2">
                  <c:v>Deutz</c:v>
                </c:pt>
                <c:pt idx="3">
                  <c:v>Ruinart</c:v>
                </c:pt>
                <c:pt idx="4">
                  <c:v>Demoiselle</c:v>
                </c:pt>
                <c:pt idx="5">
                  <c:v>Nicolas</c:v>
                </c:pt>
                <c:pt idx="6">
                  <c:v>Nicolas Feu</c:v>
                </c:pt>
                <c:pt idx="7">
                  <c:v>Pommery</c:v>
                </c:pt>
                <c:pt idx="8">
                  <c:v>Ruinart</c:v>
                </c:pt>
                <c:pt idx="9">
                  <c:v>Besserat De</c:v>
                </c:pt>
                <c:pt idx="10">
                  <c:v>Malard</c:v>
                </c:pt>
                <c:pt idx="11">
                  <c:v>Bollinger</c:v>
                </c:pt>
                <c:pt idx="12">
                  <c:v>Ruinart</c:v>
                </c:pt>
                <c:pt idx="13">
                  <c:v>Dom Perigno</c:v>
                </c:pt>
                <c:pt idx="14">
                  <c:v>Deutz</c:v>
                </c:pt>
                <c:pt idx="15">
                  <c:v>Nicolas</c:v>
                </c:pt>
                <c:pt idx="16">
                  <c:v>Nicolas</c:v>
                </c:pt>
                <c:pt idx="17">
                  <c:v>Besserat De</c:v>
                </c:pt>
                <c:pt idx="18">
                  <c:v>All Others</c:v>
                </c:pt>
                <c:pt idx="19">
                  <c:v>Krug</c:v>
                </c:pt>
                <c:pt idx="20">
                  <c:v>Nicolas</c:v>
                </c:pt>
                <c:pt idx="21">
                  <c:v>Deutz</c:v>
                </c:pt>
                <c:pt idx="22">
                  <c:v>Nicolas</c:v>
                </c:pt>
                <c:pt idx="23">
                  <c:v>Moët &amp; Chan</c:v>
                </c:pt>
                <c:pt idx="24">
                  <c:v>Roederer</c:v>
                </c:pt>
                <c:pt idx="25">
                  <c:v>Perrier Jou</c:v>
                </c:pt>
                <c:pt idx="26">
                  <c:v>Perrier Jou</c:v>
                </c:pt>
                <c:pt idx="27">
                  <c:v>Demoiselle</c:v>
                </c:pt>
                <c:pt idx="28">
                  <c:v>All Others</c:v>
                </c:pt>
                <c:pt idx="29">
                  <c:v>Taittinger</c:v>
                </c:pt>
                <c:pt idx="30">
                  <c:v>Laurent Per</c:v>
                </c:pt>
                <c:pt idx="31">
                  <c:v>Ruinart</c:v>
                </c:pt>
                <c:pt idx="32">
                  <c:v>Henriot</c:v>
                </c:pt>
                <c:pt idx="33">
                  <c:v>Bollinger</c:v>
                </c:pt>
                <c:pt idx="34">
                  <c:v>All Others</c:v>
                </c:pt>
                <c:pt idx="35">
                  <c:v>All Others</c:v>
                </c:pt>
              </c:strCache>
            </c:strRef>
          </c:cat>
          <c:val>
            <c:numRef>
              <c:f>Sheet1!$C$2:$C$37</c:f>
              <c:numCache>
                <c:formatCode>General</c:formatCode>
                <c:ptCount val="36"/>
                <c:pt idx="0">
                  <c:v>0.19922270396113098</c:v>
                </c:pt>
                <c:pt idx="1">
                  <c:v>0.33161397530197723</c:v>
                </c:pt>
                <c:pt idx="2">
                  <c:v>0.43698545785815512</c:v>
                </c:pt>
                <c:pt idx="3">
                  <c:v>0.53007330116742024</c:v>
                </c:pt>
                <c:pt idx="4">
                  <c:v>0.6212041973142588</c:v>
                </c:pt>
                <c:pt idx="5">
                  <c:v>0.68576236588163852</c:v>
                </c:pt>
                <c:pt idx="6">
                  <c:v>0.73529548215129237</c:v>
                </c:pt>
                <c:pt idx="7">
                  <c:v>0.77385451110061421</c:v>
                </c:pt>
                <c:pt idx="8">
                  <c:v>0.80907956002429327</c:v>
                </c:pt>
                <c:pt idx="9">
                  <c:v>0.83613730683581899</c:v>
                </c:pt>
                <c:pt idx="10">
                  <c:v>0.86194665631958978</c:v>
                </c:pt>
                <c:pt idx="11">
                  <c:v>0.88411625278358874</c:v>
                </c:pt>
                <c:pt idx="12">
                  <c:v>0.90552457993116953</c:v>
                </c:pt>
                <c:pt idx="13">
                  <c:v>0.9228144611647211</c:v>
                </c:pt>
                <c:pt idx="14">
                  <c:v>0.93962354072474541</c:v>
                </c:pt>
                <c:pt idx="15">
                  <c:v>0.95537823064984162</c:v>
                </c:pt>
                <c:pt idx="16">
                  <c:v>0.96450924488831924</c:v>
                </c:pt>
                <c:pt idx="17">
                  <c:v>0.97169174708144967</c:v>
                </c:pt>
                <c:pt idx="18">
                  <c:v>0.97738545111006159</c:v>
                </c:pt>
                <c:pt idx="19">
                  <c:v>0.98306861124232425</c:v>
                </c:pt>
                <c:pt idx="20">
                  <c:v>0.98599770564815459</c:v>
                </c:pt>
                <c:pt idx="21">
                  <c:v>0.98815920439975724</c:v>
                </c:pt>
                <c:pt idx="22">
                  <c:v>0.99030805047574078</c:v>
                </c:pt>
                <c:pt idx="23">
                  <c:v>0.99182637155003728</c:v>
                </c:pt>
                <c:pt idx="24">
                  <c:v>0.99312959713880844</c:v>
                </c:pt>
                <c:pt idx="25">
                  <c:v>0.99439275592145238</c:v>
                </c:pt>
                <c:pt idx="26">
                  <c:v>0.99548932114177768</c:v>
                </c:pt>
                <c:pt idx="27">
                  <c:v>0.99641718402051449</c:v>
                </c:pt>
                <c:pt idx="28">
                  <c:v>0.99734082934071155</c:v>
                </c:pt>
                <c:pt idx="29">
                  <c:v>0.99804727039611341</c:v>
                </c:pt>
                <c:pt idx="30">
                  <c:v>0.99863561981240334</c:v>
                </c:pt>
                <c:pt idx="31">
                  <c:v>0.99909111613469226</c:v>
                </c:pt>
                <c:pt idx="32">
                  <c:v>0.99944960861056786</c:v>
                </c:pt>
                <c:pt idx="33">
                  <c:v>0.99971531479856979</c:v>
                </c:pt>
                <c:pt idx="34">
                  <c:v>0.99992619272555539</c:v>
                </c:pt>
                <c:pt idx="35">
                  <c:v>1.000000000000000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40</c:f>
              <c:strCache>
                <c:ptCount val="39"/>
                <c:pt idx="0">
                  <c:v>Ruinart</c:v>
                </c:pt>
                <c:pt idx="1">
                  <c:v>Deutz</c:v>
                </c:pt>
                <c:pt idx="2">
                  <c:v>Ruinart</c:v>
                </c:pt>
                <c:pt idx="3">
                  <c:v>Laurent Per</c:v>
                </c:pt>
                <c:pt idx="4">
                  <c:v>Demoiselle</c:v>
                </c:pt>
                <c:pt idx="5">
                  <c:v>Nicolas</c:v>
                </c:pt>
                <c:pt idx="6">
                  <c:v>Nicolas Feu</c:v>
                </c:pt>
                <c:pt idx="7">
                  <c:v>Besserat De</c:v>
                </c:pt>
                <c:pt idx="8">
                  <c:v>Ruinart</c:v>
                </c:pt>
                <c:pt idx="9">
                  <c:v>Pommery</c:v>
                </c:pt>
                <c:pt idx="10">
                  <c:v>Malard</c:v>
                </c:pt>
                <c:pt idx="11">
                  <c:v>Ruinart</c:v>
                </c:pt>
                <c:pt idx="12">
                  <c:v>Deutz</c:v>
                </c:pt>
                <c:pt idx="13">
                  <c:v>Nicolas</c:v>
                </c:pt>
                <c:pt idx="14">
                  <c:v>Bollinger</c:v>
                </c:pt>
                <c:pt idx="15">
                  <c:v>Nicolas</c:v>
                </c:pt>
                <c:pt idx="16">
                  <c:v>Deutz</c:v>
                </c:pt>
                <c:pt idx="17">
                  <c:v>Besserat De</c:v>
                </c:pt>
                <c:pt idx="18">
                  <c:v>Dom Perigno</c:v>
                </c:pt>
                <c:pt idx="19">
                  <c:v>Nicolas</c:v>
                </c:pt>
                <c:pt idx="20">
                  <c:v>Perrier Jou</c:v>
                </c:pt>
                <c:pt idx="21">
                  <c:v>Nicolas</c:v>
                </c:pt>
                <c:pt idx="22">
                  <c:v>Ruinart</c:v>
                </c:pt>
                <c:pt idx="23">
                  <c:v>Roederer</c:v>
                </c:pt>
                <c:pt idx="24">
                  <c:v>Demoiselle</c:v>
                </c:pt>
                <c:pt idx="25">
                  <c:v>Ruinart</c:v>
                </c:pt>
                <c:pt idx="26">
                  <c:v>Henriot</c:v>
                </c:pt>
                <c:pt idx="27">
                  <c:v>Dom Perigno</c:v>
                </c:pt>
                <c:pt idx="28">
                  <c:v>Dom Perigno</c:v>
                </c:pt>
                <c:pt idx="29">
                  <c:v>Laurent Per</c:v>
                </c:pt>
                <c:pt idx="30">
                  <c:v>All Others</c:v>
                </c:pt>
                <c:pt idx="31">
                  <c:v>Laurent Per</c:v>
                </c:pt>
                <c:pt idx="32">
                  <c:v>Bollinger</c:v>
                </c:pt>
                <c:pt idx="33">
                  <c:v>All Others</c:v>
                </c:pt>
                <c:pt idx="34">
                  <c:v>Henriot</c:v>
                </c:pt>
                <c:pt idx="35">
                  <c:v>Piper Heids</c:v>
                </c:pt>
                <c:pt idx="36">
                  <c:v>Besserat De</c:v>
                </c:pt>
                <c:pt idx="37">
                  <c:v>Pommery</c:v>
                </c:pt>
                <c:pt idx="38">
                  <c:v>Demoiselle</c:v>
                </c:pt>
              </c:strCache>
            </c:strRef>
          </c:cat>
          <c:val>
            <c:numRef>
              <c:f>Sheet1!$B$2:$B$40</c:f>
              <c:numCache>
                <c:formatCode>General</c:formatCode>
                <c:ptCount val="39"/>
                <c:pt idx="0">
                  <c:v>0.65</c:v>
                </c:pt>
                <c:pt idx="1">
                  <c:v>0.7</c:v>
                </c:pt>
                <c:pt idx="2">
                  <c:v>0.61</c:v>
                </c:pt>
                <c:pt idx="3">
                  <c:v>0.56000000000000005</c:v>
                </c:pt>
                <c:pt idx="4">
                  <c:v>0.72</c:v>
                </c:pt>
                <c:pt idx="5">
                  <c:v>0.72</c:v>
                </c:pt>
                <c:pt idx="6">
                  <c:v>0.48</c:v>
                </c:pt>
                <c:pt idx="7">
                  <c:v>0.4</c:v>
                </c:pt>
                <c:pt idx="8">
                  <c:v>0.27</c:v>
                </c:pt>
                <c:pt idx="9">
                  <c:v>0.45</c:v>
                </c:pt>
                <c:pt idx="10">
                  <c:v>0.47</c:v>
                </c:pt>
                <c:pt idx="11">
                  <c:v>0.43</c:v>
                </c:pt>
                <c:pt idx="12">
                  <c:v>0.55000000000000004</c:v>
                </c:pt>
                <c:pt idx="13">
                  <c:v>0.5</c:v>
                </c:pt>
                <c:pt idx="14">
                  <c:v>0.39</c:v>
                </c:pt>
                <c:pt idx="15">
                  <c:v>0.47</c:v>
                </c:pt>
                <c:pt idx="16">
                  <c:v>0.19</c:v>
                </c:pt>
                <c:pt idx="17">
                  <c:v>0.26</c:v>
                </c:pt>
                <c:pt idx="18">
                  <c:v>0.04</c:v>
                </c:pt>
                <c:pt idx="19">
                  <c:v>0.12</c:v>
                </c:pt>
                <c:pt idx="20">
                  <c:v>0.16</c:v>
                </c:pt>
                <c:pt idx="21">
                  <c:v>0.13</c:v>
                </c:pt>
                <c:pt idx="22">
                  <c:v>0.14000000000000001</c:v>
                </c:pt>
                <c:pt idx="23">
                  <c:v>0.14000000000000001</c:v>
                </c:pt>
                <c:pt idx="24">
                  <c:v>7.0000000000000007E-2</c:v>
                </c:pt>
                <c:pt idx="25">
                  <c:v>0.06</c:v>
                </c:pt>
                <c:pt idx="26">
                  <c:v>0.19</c:v>
                </c:pt>
                <c:pt idx="27">
                  <c:v>0.05</c:v>
                </c:pt>
                <c:pt idx="28">
                  <c:v>0.1</c:v>
                </c:pt>
                <c:pt idx="29">
                  <c:v>0.05</c:v>
                </c:pt>
                <c:pt idx="30">
                  <c:v>0.06</c:v>
                </c:pt>
                <c:pt idx="31">
                  <c:v>0.02</c:v>
                </c:pt>
                <c:pt idx="32">
                  <c:v>0.04</c:v>
                </c:pt>
                <c:pt idx="33">
                  <c:v>0.12</c:v>
                </c:pt>
                <c:pt idx="34">
                  <c:v>0.09</c:v>
                </c:pt>
                <c:pt idx="35">
                  <c:v>0.12</c:v>
                </c:pt>
                <c:pt idx="36">
                  <c:v>0.05</c:v>
                </c:pt>
                <c:pt idx="37">
                  <c:v>0.04</c:v>
                </c:pt>
                <c:pt idx="38">
                  <c:v>0.03</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7ECAC4"/>
              </a:solidFill>
            </c:spPr>
            <c:extLst>
              <c:ext xmlns:c16="http://schemas.microsoft.com/office/drawing/2014/chart" uri="{C3380CC4-5D6E-409C-BE32-E72D297353CC}">
                <c16:uniqueId val="{0000004D-2993-41DE-A2CB-63102DE87051}"/>
              </c:ext>
            </c:extLst>
          </c:dPt>
          <c:dPt>
            <c:idx val="11"/>
            <c:invertIfNegative val="1"/>
            <c:bubble3D val="0"/>
            <c:spPr>
              <a:solidFill>
                <a:srgbClr val="7ECAC4"/>
              </a:solidFill>
            </c:spPr>
            <c:extLst>
              <c:ext xmlns:c16="http://schemas.microsoft.com/office/drawing/2014/chart" uri="{C3380CC4-5D6E-409C-BE32-E72D297353CC}">
                <c16:uniqueId val="{0000004F-2993-41DE-A2CB-63102DE87051}"/>
              </c:ext>
            </c:extLst>
          </c:dPt>
          <c:dPt>
            <c:idx val="12"/>
            <c:invertIfNegative val="1"/>
            <c:bubble3D val="0"/>
            <c:spPr>
              <a:solidFill>
                <a:srgbClr val="7ECAC4"/>
              </a:solidFill>
            </c:spPr>
            <c:extLst>
              <c:ext xmlns:c16="http://schemas.microsoft.com/office/drawing/2014/chart" uri="{C3380CC4-5D6E-409C-BE32-E72D297353CC}">
                <c16:uniqueId val="{00000051-2993-41DE-A2CB-63102DE87051}"/>
              </c:ext>
            </c:extLst>
          </c:dPt>
          <c:dPt>
            <c:idx val="13"/>
            <c:invertIfNegative val="1"/>
            <c:bubble3D val="0"/>
            <c:spPr>
              <a:solidFill>
                <a:srgbClr val="7ECAC4"/>
              </a:solidFill>
            </c:spPr>
            <c:extLst>
              <c:ext xmlns:c16="http://schemas.microsoft.com/office/drawing/2014/chart" uri="{C3380CC4-5D6E-409C-BE32-E72D297353CC}">
                <c16:uniqueId val="{00000053-2993-41DE-A2CB-63102DE87051}"/>
              </c:ext>
            </c:extLst>
          </c:dPt>
          <c:dPt>
            <c:idx val="14"/>
            <c:invertIfNegative val="1"/>
            <c:bubble3D val="0"/>
            <c:spPr>
              <a:solidFill>
                <a:srgbClr val="7ECAC4"/>
              </a:solidFill>
            </c:spPr>
            <c:extLst>
              <c:ext xmlns:c16="http://schemas.microsoft.com/office/drawing/2014/chart" uri="{C3380CC4-5D6E-409C-BE32-E72D297353CC}">
                <c16:uniqueId val="{00000055-2993-41DE-A2CB-63102DE87051}"/>
              </c:ext>
            </c:extLst>
          </c:dPt>
          <c:dPt>
            <c:idx val="15"/>
            <c:invertIfNegative val="1"/>
            <c:bubble3D val="0"/>
            <c:spPr>
              <a:solidFill>
                <a:srgbClr val="7ECAC4"/>
              </a:solidFill>
            </c:spPr>
            <c:extLst>
              <c:ext xmlns:c16="http://schemas.microsoft.com/office/drawing/2014/chart" uri="{C3380CC4-5D6E-409C-BE32-E72D297353CC}">
                <c16:uniqueId val="{00000057-2993-41DE-A2CB-63102DE87051}"/>
              </c:ext>
            </c:extLst>
          </c:dPt>
          <c:dPt>
            <c:idx val="16"/>
            <c:invertIfNegative val="1"/>
            <c:bubble3D val="0"/>
            <c:spPr>
              <a:solidFill>
                <a:srgbClr val="AEABAB"/>
              </a:solidFill>
            </c:spPr>
            <c:extLst>
              <c:ext xmlns:c16="http://schemas.microsoft.com/office/drawing/2014/chart" uri="{C3380CC4-5D6E-409C-BE32-E72D297353CC}">
                <c16:uniqueId val="{00000059-2993-41DE-A2CB-63102DE87051}"/>
              </c:ext>
            </c:extLst>
          </c:dPt>
          <c:dPt>
            <c:idx val="17"/>
            <c:invertIfNegative val="1"/>
            <c:bubble3D val="0"/>
            <c:spPr>
              <a:solidFill>
                <a:srgbClr val="AEABAB"/>
              </a:solidFill>
            </c:spPr>
            <c:extLst>
              <c:ext xmlns:c16="http://schemas.microsoft.com/office/drawing/2014/chart" uri="{C3380CC4-5D6E-409C-BE32-E72D297353CC}">
                <c16:uniqueId val="{0000005B-2993-41DE-A2CB-63102DE87051}"/>
              </c:ext>
            </c:extLst>
          </c:dPt>
          <c:dPt>
            <c:idx val="18"/>
            <c:invertIfNegative val="1"/>
            <c:bubble3D val="0"/>
            <c:spPr>
              <a:solidFill>
                <a:srgbClr val="AEABAB"/>
              </a:solidFill>
            </c:spPr>
            <c:extLst>
              <c:ext xmlns:c16="http://schemas.microsoft.com/office/drawing/2014/chart" uri="{C3380CC4-5D6E-409C-BE32-E72D297353CC}">
                <c16:uniqueId val="{0000005D-2993-41DE-A2CB-63102DE87051}"/>
              </c:ext>
            </c:extLst>
          </c:dPt>
          <c:dPt>
            <c:idx val="19"/>
            <c:invertIfNegative val="1"/>
            <c:bubble3D val="0"/>
            <c:spPr>
              <a:solidFill>
                <a:srgbClr val="AEABAB"/>
              </a:solidFill>
            </c:spPr>
            <c:extLst>
              <c:ext xmlns:c16="http://schemas.microsoft.com/office/drawing/2014/chart" uri="{C3380CC4-5D6E-409C-BE32-E72D297353CC}">
                <c16:uniqueId val="{0000005F-2993-41DE-A2CB-63102DE87051}"/>
              </c:ext>
            </c:extLst>
          </c:dPt>
          <c:dPt>
            <c:idx val="20"/>
            <c:invertIfNegative val="1"/>
            <c:bubble3D val="0"/>
            <c:spPr>
              <a:solidFill>
                <a:srgbClr val="AEABAB"/>
              </a:solidFill>
            </c:spPr>
            <c:extLst>
              <c:ext xmlns:c16="http://schemas.microsoft.com/office/drawing/2014/chart" uri="{C3380CC4-5D6E-409C-BE32-E72D297353CC}">
                <c16:uniqueId val="{00000061-2993-41DE-A2CB-63102DE87051}"/>
              </c:ext>
            </c:extLst>
          </c:dPt>
          <c:dPt>
            <c:idx val="21"/>
            <c:invertIfNegative val="1"/>
            <c:bubble3D val="0"/>
            <c:spPr>
              <a:solidFill>
                <a:srgbClr val="AEABAB"/>
              </a:solidFill>
            </c:spPr>
            <c:extLst>
              <c:ext xmlns:c16="http://schemas.microsoft.com/office/drawing/2014/chart" uri="{C3380CC4-5D6E-409C-BE32-E72D297353CC}">
                <c16:uniqueId val="{00000063-2993-41DE-A2CB-63102DE87051}"/>
              </c:ext>
            </c:extLst>
          </c:dPt>
          <c:dPt>
            <c:idx val="22"/>
            <c:invertIfNegative val="1"/>
            <c:bubble3D val="0"/>
            <c:spPr>
              <a:solidFill>
                <a:srgbClr val="AEABAB"/>
              </a:solidFill>
            </c:spPr>
            <c:extLst>
              <c:ext xmlns:c16="http://schemas.microsoft.com/office/drawing/2014/chart" uri="{C3380CC4-5D6E-409C-BE32-E72D297353CC}">
                <c16:uniqueId val="{00000065-2993-41DE-A2CB-63102DE87051}"/>
              </c:ext>
            </c:extLst>
          </c:dPt>
          <c:dPt>
            <c:idx val="23"/>
            <c:invertIfNegative val="1"/>
            <c:bubble3D val="0"/>
            <c:spPr>
              <a:solidFill>
                <a:srgbClr val="AEABAB"/>
              </a:solidFill>
            </c:spPr>
            <c:extLst>
              <c:ext xmlns:c16="http://schemas.microsoft.com/office/drawing/2014/chart" uri="{C3380CC4-5D6E-409C-BE32-E72D297353CC}">
                <c16:uniqueId val="{00000067-2993-41DE-A2CB-63102DE87051}"/>
              </c:ext>
            </c:extLst>
          </c:dPt>
          <c:dPt>
            <c:idx val="24"/>
            <c:invertIfNegative val="1"/>
            <c:bubble3D val="0"/>
            <c:spPr>
              <a:solidFill>
                <a:srgbClr val="AEABAB"/>
              </a:solidFill>
            </c:spPr>
            <c:extLst>
              <c:ext xmlns:c16="http://schemas.microsoft.com/office/drawing/2014/chart" uri="{C3380CC4-5D6E-409C-BE32-E72D297353CC}">
                <c16:uniqueId val="{00000069-2993-41DE-A2CB-63102DE87051}"/>
              </c:ext>
            </c:extLst>
          </c:dPt>
          <c:dPt>
            <c:idx val="25"/>
            <c:invertIfNegative val="1"/>
            <c:bubble3D val="0"/>
            <c:spPr>
              <a:solidFill>
                <a:srgbClr val="AEABAB"/>
              </a:solidFill>
            </c:spPr>
            <c:extLst>
              <c:ext xmlns:c16="http://schemas.microsoft.com/office/drawing/2014/chart" uri="{C3380CC4-5D6E-409C-BE32-E72D297353CC}">
                <c16:uniqueId val="{0000006B-2993-41DE-A2CB-63102DE87051}"/>
              </c:ext>
            </c:extLst>
          </c:dPt>
          <c:dPt>
            <c:idx val="26"/>
            <c:invertIfNegative val="1"/>
            <c:bubble3D val="0"/>
            <c:spPr>
              <a:solidFill>
                <a:srgbClr val="AEABAB"/>
              </a:solidFill>
            </c:spPr>
            <c:extLst>
              <c:ext xmlns:c16="http://schemas.microsoft.com/office/drawing/2014/chart" uri="{C3380CC4-5D6E-409C-BE32-E72D297353CC}">
                <c16:uniqueId val="{0000006D-2993-41DE-A2CB-63102DE87051}"/>
              </c:ext>
            </c:extLst>
          </c:dPt>
          <c:dPt>
            <c:idx val="27"/>
            <c:invertIfNegative val="1"/>
            <c:bubble3D val="0"/>
            <c:spPr>
              <a:solidFill>
                <a:srgbClr val="AEABAB"/>
              </a:solidFill>
            </c:spPr>
            <c:extLst>
              <c:ext xmlns:c16="http://schemas.microsoft.com/office/drawing/2014/chart" uri="{C3380CC4-5D6E-409C-BE32-E72D297353CC}">
                <c16:uniqueId val="{0000006F-2993-41DE-A2CB-63102DE87051}"/>
              </c:ext>
            </c:extLst>
          </c:dPt>
          <c:dPt>
            <c:idx val="28"/>
            <c:invertIfNegative val="1"/>
            <c:bubble3D val="0"/>
            <c:spPr>
              <a:solidFill>
                <a:srgbClr val="AEABAB"/>
              </a:solidFill>
            </c:spPr>
            <c:extLst>
              <c:ext xmlns:c16="http://schemas.microsoft.com/office/drawing/2014/chart" uri="{C3380CC4-5D6E-409C-BE32-E72D297353CC}">
                <c16:uniqueId val="{00000071-2993-41DE-A2CB-63102DE87051}"/>
              </c:ext>
            </c:extLst>
          </c:dPt>
          <c:dPt>
            <c:idx val="29"/>
            <c:invertIfNegative val="1"/>
            <c:bubble3D val="0"/>
            <c:spPr>
              <a:solidFill>
                <a:srgbClr val="AEABAB"/>
              </a:solidFill>
            </c:spPr>
            <c:extLst>
              <c:ext xmlns:c16="http://schemas.microsoft.com/office/drawing/2014/chart" uri="{C3380CC4-5D6E-409C-BE32-E72D297353CC}">
                <c16:uniqueId val="{00000073-2993-41DE-A2CB-63102DE87051}"/>
              </c:ext>
            </c:extLst>
          </c:dPt>
          <c:dPt>
            <c:idx val="30"/>
            <c:invertIfNegative val="1"/>
            <c:bubble3D val="0"/>
            <c:spPr>
              <a:solidFill>
                <a:srgbClr val="AEABAB"/>
              </a:solidFill>
            </c:spPr>
            <c:extLst>
              <c:ext xmlns:c16="http://schemas.microsoft.com/office/drawing/2014/chart" uri="{C3380CC4-5D6E-409C-BE32-E72D297353CC}">
                <c16:uniqueId val="{00000075-2993-41DE-A2CB-63102DE87051}"/>
              </c:ext>
            </c:extLst>
          </c:dPt>
          <c:dPt>
            <c:idx val="31"/>
            <c:invertIfNegative val="1"/>
            <c:bubble3D val="0"/>
            <c:spPr>
              <a:solidFill>
                <a:srgbClr val="AEABAB"/>
              </a:solidFill>
            </c:spPr>
            <c:extLst>
              <c:ext xmlns:c16="http://schemas.microsoft.com/office/drawing/2014/chart" uri="{C3380CC4-5D6E-409C-BE32-E72D297353CC}">
                <c16:uniqueId val="{00000077-2993-41DE-A2CB-63102DE87051}"/>
              </c:ext>
            </c:extLst>
          </c:dPt>
          <c:dPt>
            <c:idx val="32"/>
            <c:invertIfNegative val="1"/>
            <c:bubble3D val="0"/>
            <c:spPr>
              <a:solidFill>
                <a:srgbClr val="AEABAB"/>
              </a:solidFill>
            </c:spPr>
            <c:extLst>
              <c:ext xmlns:c16="http://schemas.microsoft.com/office/drawing/2014/chart" uri="{C3380CC4-5D6E-409C-BE32-E72D297353CC}">
                <c16:uniqueId val="{00000079-2993-41DE-A2CB-63102DE87051}"/>
              </c:ext>
            </c:extLst>
          </c:dPt>
          <c:dPt>
            <c:idx val="33"/>
            <c:invertIfNegative val="1"/>
            <c:bubble3D val="0"/>
            <c:spPr>
              <a:solidFill>
                <a:srgbClr val="AEABAB"/>
              </a:solidFill>
            </c:spPr>
            <c:extLst>
              <c:ext xmlns:c16="http://schemas.microsoft.com/office/drawing/2014/chart" uri="{C3380CC4-5D6E-409C-BE32-E72D297353CC}">
                <c16:uniqueId val="{0000007B-2993-41DE-A2CB-63102DE87051}"/>
              </c:ext>
            </c:extLst>
          </c:dPt>
          <c:dPt>
            <c:idx val="34"/>
            <c:invertIfNegative val="1"/>
            <c:bubble3D val="0"/>
            <c:spPr>
              <a:solidFill>
                <a:srgbClr val="AEABAB"/>
              </a:solidFill>
            </c:spPr>
            <c:extLst>
              <c:ext xmlns:c16="http://schemas.microsoft.com/office/drawing/2014/chart" uri="{C3380CC4-5D6E-409C-BE32-E72D297353CC}">
                <c16:uniqueId val="{0000007D-2993-41DE-A2CB-63102DE87051}"/>
              </c:ext>
            </c:extLst>
          </c:dPt>
          <c:dPt>
            <c:idx val="35"/>
            <c:invertIfNegative val="1"/>
            <c:bubble3D val="0"/>
            <c:spPr>
              <a:solidFill>
                <a:srgbClr val="AEABAB"/>
              </a:solidFill>
            </c:spPr>
            <c:extLst>
              <c:ext xmlns:c16="http://schemas.microsoft.com/office/drawing/2014/chart" uri="{C3380CC4-5D6E-409C-BE32-E72D297353CC}">
                <c16:uniqueId val="{0000007F-2993-41DE-A2CB-63102DE87051}"/>
              </c:ext>
            </c:extLst>
          </c:dPt>
          <c:dPt>
            <c:idx val="36"/>
            <c:invertIfNegative val="1"/>
            <c:bubble3D val="0"/>
            <c:spPr>
              <a:solidFill>
                <a:srgbClr val="AEABAB"/>
              </a:solidFill>
            </c:spPr>
            <c:extLst>
              <c:ext xmlns:c16="http://schemas.microsoft.com/office/drawing/2014/chart" uri="{C3380CC4-5D6E-409C-BE32-E72D297353CC}">
                <c16:uniqueId val="{00000081-2993-41DE-A2CB-63102DE87051}"/>
              </c:ext>
            </c:extLst>
          </c:dPt>
          <c:dPt>
            <c:idx val="37"/>
            <c:invertIfNegative val="1"/>
            <c:bubble3D val="0"/>
            <c:spPr>
              <a:solidFill>
                <a:srgbClr val="AEABAB"/>
              </a:solidFill>
            </c:spPr>
            <c:extLst>
              <c:ext xmlns:c16="http://schemas.microsoft.com/office/drawing/2014/chart" uri="{C3380CC4-5D6E-409C-BE32-E72D297353CC}">
                <c16:uniqueId val="{00000083-2993-41DE-A2CB-63102DE87051}"/>
              </c:ext>
            </c:extLst>
          </c:dPt>
          <c:dPt>
            <c:idx val="38"/>
            <c:invertIfNegative val="1"/>
            <c:bubble3D val="0"/>
            <c:spPr>
              <a:solidFill>
                <a:srgbClr val="AEABAB"/>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40</c:f>
              <c:strCache>
                <c:ptCount val="39"/>
                <c:pt idx="0">
                  <c:v>Ruinart</c:v>
                </c:pt>
                <c:pt idx="1">
                  <c:v>Deutz</c:v>
                </c:pt>
                <c:pt idx="2">
                  <c:v>Ruinart</c:v>
                </c:pt>
                <c:pt idx="3">
                  <c:v>Laurent Per</c:v>
                </c:pt>
                <c:pt idx="4">
                  <c:v>Demoiselle</c:v>
                </c:pt>
                <c:pt idx="5">
                  <c:v>Nicolas</c:v>
                </c:pt>
                <c:pt idx="6">
                  <c:v>Nicolas Feu</c:v>
                </c:pt>
                <c:pt idx="7">
                  <c:v>Besserat De</c:v>
                </c:pt>
                <c:pt idx="8">
                  <c:v>Ruinart</c:v>
                </c:pt>
                <c:pt idx="9">
                  <c:v>Pommery</c:v>
                </c:pt>
                <c:pt idx="10">
                  <c:v>Malard</c:v>
                </c:pt>
                <c:pt idx="11">
                  <c:v>Ruinart</c:v>
                </c:pt>
                <c:pt idx="12">
                  <c:v>Deutz</c:v>
                </c:pt>
                <c:pt idx="13">
                  <c:v>Nicolas</c:v>
                </c:pt>
                <c:pt idx="14">
                  <c:v>Bollinger</c:v>
                </c:pt>
                <c:pt idx="15">
                  <c:v>Nicolas</c:v>
                </c:pt>
                <c:pt idx="16">
                  <c:v>Deutz</c:v>
                </c:pt>
                <c:pt idx="17">
                  <c:v>Besserat De</c:v>
                </c:pt>
                <c:pt idx="18">
                  <c:v>Dom Perigno</c:v>
                </c:pt>
                <c:pt idx="19">
                  <c:v>Nicolas</c:v>
                </c:pt>
                <c:pt idx="20">
                  <c:v>Perrier Jou</c:v>
                </c:pt>
                <c:pt idx="21">
                  <c:v>Nicolas</c:v>
                </c:pt>
                <c:pt idx="22">
                  <c:v>Ruinart</c:v>
                </c:pt>
                <c:pt idx="23">
                  <c:v>Roederer</c:v>
                </c:pt>
                <c:pt idx="24">
                  <c:v>Demoiselle</c:v>
                </c:pt>
                <c:pt idx="25">
                  <c:v>Ruinart</c:v>
                </c:pt>
                <c:pt idx="26">
                  <c:v>Henriot</c:v>
                </c:pt>
                <c:pt idx="27">
                  <c:v>Dom Perigno</c:v>
                </c:pt>
                <c:pt idx="28">
                  <c:v>Dom Perigno</c:v>
                </c:pt>
                <c:pt idx="29">
                  <c:v>Laurent Per</c:v>
                </c:pt>
                <c:pt idx="30">
                  <c:v>All Others</c:v>
                </c:pt>
                <c:pt idx="31">
                  <c:v>Laurent Per</c:v>
                </c:pt>
                <c:pt idx="32">
                  <c:v>Bollinger</c:v>
                </c:pt>
                <c:pt idx="33">
                  <c:v>All Others</c:v>
                </c:pt>
                <c:pt idx="34">
                  <c:v>Henriot</c:v>
                </c:pt>
                <c:pt idx="35">
                  <c:v>Piper Heids</c:v>
                </c:pt>
                <c:pt idx="36">
                  <c:v>Besserat De</c:v>
                </c:pt>
                <c:pt idx="37">
                  <c:v>Pommery</c:v>
                </c:pt>
                <c:pt idx="38">
                  <c:v>Demoiselle</c:v>
                </c:pt>
              </c:strCache>
            </c:strRef>
          </c:cat>
          <c:val>
            <c:numRef>
              <c:f>Sheet1!$C$2:$C$40</c:f>
              <c:numCache>
                <c:formatCode>General</c:formatCode>
                <c:ptCount val="39"/>
                <c:pt idx="0">
                  <c:v>0.14269603318143276</c:v>
                </c:pt>
                <c:pt idx="1">
                  <c:v>0.28003725810426422</c:v>
                </c:pt>
                <c:pt idx="2">
                  <c:v>0.3934447456466077</c:v>
                </c:pt>
                <c:pt idx="3">
                  <c:v>0.48356174110629835</c:v>
                </c:pt>
                <c:pt idx="4">
                  <c:v>0.56614775428029618</c:v>
                </c:pt>
                <c:pt idx="5">
                  <c:v>0.63785289731883665</c:v>
                </c:pt>
                <c:pt idx="6">
                  <c:v>0.70783715033979222</c:v>
                </c:pt>
                <c:pt idx="7">
                  <c:v>0.74450630923391159</c:v>
                </c:pt>
                <c:pt idx="8">
                  <c:v>0.77950052420314864</c:v>
                </c:pt>
                <c:pt idx="9">
                  <c:v>0.81330431767963884</c:v>
                </c:pt>
                <c:pt idx="10">
                  <c:v>0.84652334270355167</c:v>
                </c:pt>
                <c:pt idx="11">
                  <c:v>0.87389468320169084</c:v>
                </c:pt>
                <c:pt idx="12">
                  <c:v>0.89490457831929193</c:v>
                </c:pt>
                <c:pt idx="13">
                  <c:v>0.91280684680319624</c:v>
                </c:pt>
                <c:pt idx="14">
                  <c:v>0.92692065109790278</c:v>
                </c:pt>
                <c:pt idx="15">
                  <c:v>0.93988580307504666</c:v>
                </c:pt>
                <c:pt idx="16">
                  <c:v>0.95027797386085011</c:v>
                </c:pt>
                <c:pt idx="17">
                  <c:v>0.96013549920429719</c:v>
                </c:pt>
                <c:pt idx="18">
                  <c:v>0.96765395073743476</c:v>
                </c:pt>
                <c:pt idx="19">
                  <c:v>0.97209401405950435</c:v>
                </c:pt>
                <c:pt idx="20">
                  <c:v>0.97589918591877567</c:v>
                </c:pt>
                <c:pt idx="21">
                  <c:v>0.97960411175760509</c:v>
                </c:pt>
                <c:pt idx="22">
                  <c:v>0.98302918412270113</c:v>
                </c:pt>
                <c:pt idx="23">
                  <c:v>0.98552698079871015</c:v>
                </c:pt>
                <c:pt idx="24">
                  <c:v>0.98782846235135391</c:v>
                </c:pt>
                <c:pt idx="25">
                  <c:v>0.99008399781129519</c:v>
                </c:pt>
                <c:pt idx="26">
                  <c:v>0.99198449528217159</c:v>
                </c:pt>
                <c:pt idx="27">
                  <c:v>0.99357172393916726</c:v>
                </c:pt>
                <c:pt idx="28">
                  <c:v>0.99515895259616294</c:v>
                </c:pt>
                <c:pt idx="29">
                  <c:v>0.9964078509341675</c:v>
                </c:pt>
                <c:pt idx="30">
                  <c:v>0.99751473407654612</c:v>
                </c:pt>
                <c:pt idx="31">
                  <c:v>0.99818721779701014</c:v>
                </c:pt>
                <c:pt idx="32">
                  <c:v>0.99871350940432979</c:v>
                </c:pt>
                <c:pt idx="33">
                  <c:v>0.99903930897076576</c:v>
                </c:pt>
                <c:pt idx="34">
                  <c:v>0.99934004703209123</c:v>
                </c:pt>
                <c:pt idx="35">
                  <c:v>0.9995906620831958</c:v>
                </c:pt>
                <c:pt idx="36">
                  <c:v>0.99977444645400582</c:v>
                </c:pt>
                <c:pt idx="37">
                  <c:v>0.99992899240218702</c:v>
                </c:pt>
                <c:pt idx="38">
                  <c:v>1</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6</c:f>
              <c:strCache>
                <c:ptCount val="25"/>
                <c:pt idx="0">
                  <c:v>Ruinart</c:v>
                </c:pt>
                <c:pt idx="1">
                  <c:v>Deutz</c:v>
                </c:pt>
                <c:pt idx="2">
                  <c:v>Demoiselle</c:v>
                </c:pt>
                <c:pt idx="3">
                  <c:v>Laurent Per</c:v>
                </c:pt>
                <c:pt idx="4">
                  <c:v>Nicolas</c:v>
                </c:pt>
                <c:pt idx="5">
                  <c:v>Ruinart</c:v>
                </c:pt>
                <c:pt idx="6">
                  <c:v>Besserat De</c:v>
                </c:pt>
                <c:pt idx="7">
                  <c:v>Malard</c:v>
                </c:pt>
                <c:pt idx="8">
                  <c:v>Pommery</c:v>
                </c:pt>
                <c:pt idx="9">
                  <c:v>Nicolas Feu</c:v>
                </c:pt>
                <c:pt idx="10">
                  <c:v>Ruinart</c:v>
                </c:pt>
                <c:pt idx="11">
                  <c:v>Deutz</c:v>
                </c:pt>
                <c:pt idx="12">
                  <c:v>Bollinger</c:v>
                </c:pt>
                <c:pt idx="13">
                  <c:v>Nicolas</c:v>
                </c:pt>
                <c:pt idx="14">
                  <c:v>Ruinart</c:v>
                </c:pt>
                <c:pt idx="15">
                  <c:v>Nicolas</c:v>
                </c:pt>
                <c:pt idx="16">
                  <c:v>Besserat De</c:v>
                </c:pt>
                <c:pt idx="17">
                  <c:v>Ruinart</c:v>
                </c:pt>
                <c:pt idx="18">
                  <c:v>Nicolas</c:v>
                </c:pt>
                <c:pt idx="19">
                  <c:v>Demoiselle</c:v>
                </c:pt>
                <c:pt idx="20">
                  <c:v>Henriot</c:v>
                </c:pt>
                <c:pt idx="21">
                  <c:v>Demoiselle</c:v>
                </c:pt>
                <c:pt idx="22">
                  <c:v>Bollinger</c:v>
                </c:pt>
                <c:pt idx="23">
                  <c:v>Nicolas</c:v>
                </c:pt>
                <c:pt idx="24">
                  <c:v>Ruinart</c:v>
                </c:pt>
              </c:strCache>
            </c:strRef>
          </c:cat>
          <c:val>
            <c:numRef>
              <c:f>Sheet1!$B$2:$B$26</c:f>
              <c:numCache>
                <c:formatCode>General</c:formatCode>
                <c:ptCount val="25"/>
                <c:pt idx="0">
                  <c:v>0.86</c:v>
                </c:pt>
                <c:pt idx="1">
                  <c:v>0.92</c:v>
                </c:pt>
                <c:pt idx="2">
                  <c:v>0.79</c:v>
                </c:pt>
                <c:pt idx="3">
                  <c:v>0.56000000000000005</c:v>
                </c:pt>
                <c:pt idx="4">
                  <c:v>0.68</c:v>
                </c:pt>
                <c:pt idx="5">
                  <c:v>0.33</c:v>
                </c:pt>
                <c:pt idx="6">
                  <c:v>0.63</c:v>
                </c:pt>
                <c:pt idx="7">
                  <c:v>0.66</c:v>
                </c:pt>
                <c:pt idx="8">
                  <c:v>0.75</c:v>
                </c:pt>
                <c:pt idx="9">
                  <c:v>0.53</c:v>
                </c:pt>
                <c:pt idx="10">
                  <c:v>0.36</c:v>
                </c:pt>
                <c:pt idx="11">
                  <c:v>0.56000000000000005</c:v>
                </c:pt>
                <c:pt idx="12">
                  <c:v>0.47</c:v>
                </c:pt>
                <c:pt idx="13">
                  <c:v>0.47</c:v>
                </c:pt>
                <c:pt idx="14">
                  <c:v>0.11</c:v>
                </c:pt>
                <c:pt idx="15">
                  <c:v>0.46</c:v>
                </c:pt>
                <c:pt idx="16">
                  <c:v>0.26</c:v>
                </c:pt>
                <c:pt idx="17">
                  <c:v>0.14000000000000001</c:v>
                </c:pt>
                <c:pt idx="18">
                  <c:v>0.13</c:v>
                </c:pt>
                <c:pt idx="19">
                  <c:v>0.09</c:v>
                </c:pt>
                <c:pt idx="20">
                  <c:v>0.1</c:v>
                </c:pt>
                <c:pt idx="21">
                  <c:v>0.1</c:v>
                </c:pt>
                <c:pt idx="22">
                  <c:v>0.04</c:v>
                </c:pt>
                <c:pt idx="23">
                  <c:v>0.1</c:v>
                </c:pt>
                <c:pt idx="24">
                  <c:v>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7ECAC4"/>
              </a:solidFill>
            </c:spPr>
            <c:extLst>
              <c:ext xmlns:c16="http://schemas.microsoft.com/office/drawing/2014/chart" uri="{C3380CC4-5D6E-409C-BE32-E72D297353CC}">
                <c16:uniqueId val="{0000004B-2993-41DE-A2CB-63102DE87051}"/>
              </c:ext>
            </c:extLst>
          </c:dPt>
          <c:dPt>
            <c:idx val="10"/>
            <c:invertIfNegative val="1"/>
            <c:bubble3D val="0"/>
            <c:spPr>
              <a:solidFill>
                <a:srgbClr val="7ECAC4"/>
              </a:solidFill>
            </c:spPr>
            <c:extLst>
              <c:ext xmlns:c16="http://schemas.microsoft.com/office/drawing/2014/chart" uri="{C3380CC4-5D6E-409C-BE32-E72D297353CC}">
                <c16:uniqueId val="{0000004D-2993-41DE-A2CB-63102DE87051}"/>
              </c:ext>
            </c:extLst>
          </c:dPt>
          <c:dPt>
            <c:idx val="11"/>
            <c:invertIfNegative val="1"/>
            <c:bubble3D val="0"/>
            <c:spPr>
              <a:solidFill>
                <a:srgbClr val="7ECAC4"/>
              </a:solidFill>
            </c:spPr>
            <c:extLst>
              <c:ext xmlns:c16="http://schemas.microsoft.com/office/drawing/2014/chart" uri="{C3380CC4-5D6E-409C-BE32-E72D297353CC}">
                <c16:uniqueId val="{0000004F-2993-41DE-A2CB-63102DE87051}"/>
              </c:ext>
            </c:extLst>
          </c:dPt>
          <c:dPt>
            <c:idx val="12"/>
            <c:invertIfNegative val="1"/>
            <c:bubble3D val="0"/>
            <c:spPr>
              <a:solidFill>
                <a:srgbClr val="7ECAC4"/>
              </a:solidFill>
            </c:spPr>
            <c:extLst>
              <c:ext xmlns:c16="http://schemas.microsoft.com/office/drawing/2014/chart" uri="{C3380CC4-5D6E-409C-BE32-E72D297353CC}">
                <c16:uniqueId val="{00000051-2993-41DE-A2CB-63102DE87051}"/>
              </c:ext>
            </c:extLst>
          </c:dPt>
          <c:dPt>
            <c:idx val="13"/>
            <c:invertIfNegative val="1"/>
            <c:bubble3D val="0"/>
            <c:spPr>
              <a:solidFill>
                <a:srgbClr val="AEABAB"/>
              </a:solidFill>
            </c:spPr>
            <c:extLst>
              <c:ext xmlns:c16="http://schemas.microsoft.com/office/drawing/2014/chart" uri="{C3380CC4-5D6E-409C-BE32-E72D297353CC}">
                <c16:uniqueId val="{00000053-2993-41DE-A2CB-63102DE87051}"/>
              </c:ext>
            </c:extLst>
          </c:dPt>
          <c:dPt>
            <c:idx val="14"/>
            <c:invertIfNegative val="1"/>
            <c:bubble3D val="0"/>
            <c:spPr>
              <a:solidFill>
                <a:srgbClr val="AEABAB"/>
              </a:solidFill>
            </c:spPr>
            <c:extLst>
              <c:ext xmlns:c16="http://schemas.microsoft.com/office/drawing/2014/chart" uri="{C3380CC4-5D6E-409C-BE32-E72D297353CC}">
                <c16:uniqueId val="{00000055-2993-41DE-A2CB-63102DE87051}"/>
              </c:ext>
            </c:extLst>
          </c:dPt>
          <c:dPt>
            <c:idx val="15"/>
            <c:invertIfNegative val="1"/>
            <c:bubble3D val="0"/>
            <c:spPr>
              <a:solidFill>
                <a:srgbClr val="AEABAB"/>
              </a:solidFill>
            </c:spPr>
            <c:extLst>
              <c:ext xmlns:c16="http://schemas.microsoft.com/office/drawing/2014/chart" uri="{C3380CC4-5D6E-409C-BE32-E72D297353CC}">
                <c16:uniqueId val="{00000057-2993-41DE-A2CB-63102DE87051}"/>
              </c:ext>
            </c:extLst>
          </c:dPt>
          <c:dPt>
            <c:idx val="16"/>
            <c:invertIfNegative val="1"/>
            <c:bubble3D val="0"/>
            <c:spPr>
              <a:solidFill>
                <a:srgbClr val="AEABAB"/>
              </a:solidFill>
            </c:spPr>
            <c:extLst>
              <c:ext xmlns:c16="http://schemas.microsoft.com/office/drawing/2014/chart" uri="{C3380CC4-5D6E-409C-BE32-E72D297353CC}">
                <c16:uniqueId val="{00000059-2993-41DE-A2CB-63102DE87051}"/>
              </c:ext>
            </c:extLst>
          </c:dPt>
          <c:dPt>
            <c:idx val="17"/>
            <c:invertIfNegative val="1"/>
            <c:bubble3D val="0"/>
            <c:spPr>
              <a:solidFill>
                <a:srgbClr val="AEABAB"/>
              </a:solidFill>
            </c:spPr>
            <c:extLst>
              <c:ext xmlns:c16="http://schemas.microsoft.com/office/drawing/2014/chart" uri="{C3380CC4-5D6E-409C-BE32-E72D297353CC}">
                <c16:uniqueId val="{0000005B-2993-41DE-A2CB-63102DE87051}"/>
              </c:ext>
            </c:extLst>
          </c:dPt>
          <c:dPt>
            <c:idx val="18"/>
            <c:invertIfNegative val="1"/>
            <c:bubble3D val="0"/>
            <c:spPr>
              <a:solidFill>
                <a:srgbClr val="AEABAB"/>
              </a:solidFill>
            </c:spPr>
            <c:extLst>
              <c:ext xmlns:c16="http://schemas.microsoft.com/office/drawing/2014/chart" uri="{C3380CC4-5D6E-409C-BE32-E72D297353CC}">
                <c16:uniqueId val="{0000005D-2993-41DE-A2CB-63102DE87051}"/>
              </c:ext>
            </c:extLst>
          </c:dPt>
          <c:dPt>
            <c:idx val="19"/>
            <c:invertIfNegative val="1"/>
            <c:bubble3D val="0"/>
            <c:spPr>
              <a:solidFill>
                <a:srgbClr val="AEABAB"/>
              </a:solidFill>
            </c:spPr>
            <c:extLst>
              <c:ext xmlns:c16="http://schemas.microsoft.com/office/drawing/2014/chart" uri="{C3380CC4-5D6E-409C-BE32-E72D297353CC}">
                <c16:uniqueId val="{0000005F-2993-41DE-A2CB-63102DE87051}"/>
              </c:ext>
            </c:extLst>
          </c:dPt>
          <c:dPt>
            <c:idx val="20"/>
            <c:invertIfNegative val="1"/>
            <c:bubble3D val="0"/>
            <c:spPr>
              <a:solidFill>
                <a:srgbClr val="AEABAB"/>
              </a:solidFill>
            </c:spPr>
            <c:extLst>
              <c:ext xmlns:c16="http://schemas.microsoft.com/office/drawing/2014/chart" uri="{C3380CC4-5D6E-409C-BE32-E72D297353CC}">
                <c16:uniqueId val="{00000061-2993-41DE-A2CB-63102DE87051}"/>
              </c:ext>
            </c:extLst>
          </c:dPt>
          <c:dPt>
            <c:idx val="21"/>
            <c:invertIfNegative val="1"/>
            <c:bubble3D val="0"/>
            <c:spPr>
              <a:solidFill>
                <a:srgbClr val="AEABAB"/>
              </a:solidFill>
            </c:spPr>
            <c:extLst>
              <c:ext xmlns:c16="http://schemas.microsoft.com/office/drawing/2014/chart" uri="{C3380CC4-5D6E-409C-BE32-E72D297353CC}">
                <c16:uniqueId val="{00000063-2993-41DE-A2CB-63102DE87051}"/>
              </c:ext>
            </c:extLst>
          </c:dPt>
          <c:dPt>
            <c:idx val="22"/>
            <c:invertIfNegative val="1"/>
            <c:bubble3D val="0"/>
            <c:spPr>
              <a:solidFill>
                <a:srgbClr val="AEABAB"/>
              </a:solidFill>
            </c:spPr>
            <c:extLst>
              <c:ext xmlns:c16="http://schemas.microsoft.com/office/drawing/2014/chart" uri="{C3380CC4-5D6E-409C-BE32-E72D297353CC}">
                <c16:uniqueId val="{00000065-2993-41DE-A2CB-63102DE87051}"/>
              </c:ext>
            </c:extLst>
          </c:dPt>
          <c:dPt>
            <c:idx val="23"/>
            <c:invertIfNegative val="1"/>
            <c:bubble3D val="0"/>
            <c:spPr>
              <a:solidFill>
                <a:srgbClr val="AEABAB"/>
              </a:solidFill>
            </c:spPr>
            <c:extLst>
              <c:ext xmlns:c16="http://schemas.microsoft.com/office/drawing/2014/chart" uri="{C3380CC4-5D6E-409C-BE32-E72D297353CC}">
                <c16:uniqueId val="{00000067-2993-41DE-A2CB-63102DE87051}"/>
              </c:ext>
            </c:extLst>
          </c:dPt>
          <c:dPt>
            <c:idx val="24"/>
            <c:invertIfNegative val="1"/>
            <c:bubble3D val="0"/>
            <c:spPr>
              <a:solidFill>
                <a:srgbClr val="AEABAB"/>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6</c:f>
              <c:strCache>
                <c:ptCount val="25"/>
                <c:pt idx="0">
                  <c:v>Ruinart</c:v>
                </c:pt>
                <c:pt idx="1">
                  <c:v>Deutz</c:v>
                </c:pt>
                <c:pt idx="2">
                  <c:v>Demoiselle</c:v>
                </c:pt>
                <c:pt idx="3">
                  <c:v>Laurent Per</c:v>
                </c:pt>
                <c:pt idx="4">
                  <c:v>Nicolas</c:v>
                </c:pt>
                <c:pt idx="5">
                  <c:v>Ruinart</c:v>
                </c:pt>
                <c:pt idx="6">
                  <c:v>Besserat De</c:v>
                </c:pt>
                <c:pt idx="7">
                  <c:v>Malard</c:v>
                </c:pt>
                <c:pt idx="8">
                  <c:v>Pommery</c:v>
                </c:pt>
                <c:pt idx="9">
                  <c:v>Nicolas Feu</c:v>
                </c:pt>
                <c:pt idx="10">
                  <c:v>Ruinart</c:v>
                </c:pt>
                <c:pt idx="11">
                  <c:v>Deutz</c:v>
                </c:pt>
                <c:pt idx="12">
                  <c:v>Bollinger</c:v>
                </c:pt>
                <c:pt idx="13">
                  <c:v>Nicolas</c:v>
                </c:pt>
                <c:pt idx="14">
                  <c:v>Ruinart</c:v>
                </c:pt>
                <c:pt idx="15">
                  <c:v>Nicolas</c:v>
                </c:pt>
                <c:pt idx="16">
                  <c:v>Besserat De</c:v>
                </c:pt>
                <c:pt idx="17">
                  <c:v>Ruinart</c:v>
                </c:pt>
                <c:pt idx="18">
                  <c:v>Nicolas</c:v>
                </c:pt>
                <c:pt idx="19">
                  <c:v>Demoiselle</c:v>
                </c:pt>
                <c:pt idx="20">
                  <c:v>Henriot</c:v>
                </c:pt>
                <c:pt idx="21">
                  <c:v>Demoiselle</c:v>
                </c:pt>
                <c:pt idx="22">
                  <c:v>Bollinger</c:v>
                </c:pt>
                <c:pt idx="23">
                  <c:v>Nicolas</c:v>
                </c:pt>
                <c:pt idx="24">
                  <c:v>Ruinart</c:v>
                </c:pt>
              </c:strCache>
            </c:strRef>
          </c:cat>
          <c:val>
            <c:numRef>
              <c:f>Sheet1!$C$2:$C$26</c:f>
              <c:numCache>
                <c:formatCode>General</c:formatCode>
                <c:ptCount val="25"/>
                <c:pt idx="0">
                  <c:v>0.20009932003972802</c:v>
                </c:pt>
                <c:pt idx="1">
                  <c:v>0.35424402169760871</c:v>
                </c:pt>
                <c:pt idx="2">
                  <c:v>0.44403697761479111</c:v>
                </c:pt>
                <c:pt idx="3">
                  <c:v>0.53185117274046911</c:v>
                </c:pt>
                <c:pt idx="4">
                  <c:v>0.61774772709909087</c:v>
                </c:pt>
                <c:pt idx="5">
                  <c:v>0.6801359920543969</c:v>
                </c:pt>
                <c:pt idx="6">
                  <c:v>0.73402857361142948</c:v>
                </c:pt>
                <c:pt idx="7">
                  <c:v>0.78761555504622205</c:v>
                </c:pt>
                <c:pt idx="8">
                  <c:v>0.83608373443349382</c:v>
                </c:pt>
                <c:pt idx="9">
                  <c:v>0.88211475284590124</c:v>
                </c:pt>
                <c:pt idx="10">
                  <c:v>0.90236076094430451</c:v>
                </c:pt>
                <c:pt idx="11">
                  <c:v>0.92149896859958758</c:v>
                </c:pt>
                <c:pt idx="12">
                  <c:v>0.93592329436931787</c:v>
                </c:pt>
                <c:pt idx="13">
                  <c:v>0.95028650011460014</c:v>
                </c:pt>
                <c:pt idx="14">
                  <c:v>0.9632363052945222</c:v>
                </c:pt>
                <c:pt idx="15">
                  <c:v>0.97218274887309963</c:v>
                </c:pt>
                <c:pt idx="16">
                  <c:v>0.97914279165711671</c:v>
                </c:pt>
                <c:pt idx="17">
                  <c:v>0.98531591412636566</c:v>
                </c:pt>
                <c:pt idx="18">
                  <c:v>0.99096187638475053</c:v>
                </c:pt>
                <c:pt idx="19">
                  <c:v>0.993704637481855</c:v>
                </c:pt>
                <c:pt idx="20">
                  <c:v>0.99631751852700745</c:v>
                </c:pt>
                <c:pt idx="21">
                  <c:v>0.99749407899763165</c:v>
                </c:pt>
                <c:pt idx="22">
                  <c:v>0.99844907937963179</c:v>
                </c:pt>
                <c:pt idx="23">
                  <c:v>0.99938879975551997</c:v>
                </c:pt>
                <c:pt idx="24">
                  <c:v>1</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9</c:f>
              <c:strCache>
                <c:ptCount val="28"/>
                <c:pt idx="0">
                  <c:v>Nicolas</c:v>
                </c:pt>
                <c:pt idx="1">
                  <c:v>Deutz</c:v>
                </c:pt>
                <c:pt idx="2">
                  <c:v>Ruinart</c:v>
                </c:pt>
                <c:pt idx="3">
                  <c:v>Demoiselle</c:v>
                </c:pt>
                <c:pt idx="4">
                  <c:v>Laurent Per</c:v>
                </c:pt>
                <c:pt idx="5">
                  <c:v>Malard</c:v>
                </c:pt>
                <c:pt idx="6">
                  <c:v>Ruinart</c:v>
                </c:pt>
                <c:pt idx="7">
                  <c:v>Nicolas Feu</c:v>
                </c:pt>
                <c:pt idx="8">
                  <c:v>Pommery</c:v>
                </c:pt>
                <c:pt idx="9">
                  <c:v>Besserat De</c:v>
                </c:pt>
                <c:pt idx="10">
                  <c:v>Bollinger</c:v>
                </c:pt>
                <c:pt idx="11">
                  <c:v>Ruinart</c:v>
                </c:pt>
                <c:pt idx="12">
                  <c:v>Ruinart</c:v>
                </c:pt>
                <c:pt idx="13">
                  <c:v>Deutz</c:v>
                </c:pt>
                <c:pt idx="14">
                  <c:v>Deutz</c:v>
                </c:pt>
                <c:pt idx="15">
                  <c:v>Nicolas</c:v>
                </c:pt>
                <c:pt idx="16">
                  <c:v>Besserat De</c:v>
                </c:pt>
                <c:pt idx="17">
                  <c:v>Nicolas</c:v>
                </c:pt>
                <c:pt idx="18">
                  <c:v>Nicolas</c:v>
                </c:pt>
                <c:pt idx="19">
                  <c:v>De Bligny</c:v>
                </c:pt>
                <c:pt idx="20">
                  <c:v>Henriot</c:v>
                </c:pt>
                <c:pt idx="21">
                  <c:v>Laurent Per</c:v>
                </c:pt>
                <c:pt idx="22">
                  <c:v>Demoiselle</c:v>
                </c:pt>
                <c:pt idx="23">
                  <c:v>Ruinart</c:v>
                </c:pt>
                <c:pt idx="24">
                  <c:v>Nicolas</c:v>
                </c:pt>
                <c:pt idx="25">
                  <c:v>Bollinger</c:v>
                </c:pt>
                <c:pt idx="26">
                  <c:v>Vranken Pom</c:v>
                </c:pt>
                <c:pt idx="27">
                  <c:v>Besserat De</c:v>
                </c:pt>
              </c:strCache>
            </c:strRef>
          </c:cat>
          <c:val>
            <c:numRef>
              <c:f>Sheet1!$B$2:$B$29</c:f>
              <c:numCache>
                <c:formatCode>General</c:formatCode>
                <c:ptCount val="28"/>
                <c:pt idx="0">
                  <c:v>0.74</c:v>
                </c:pt>
                <c:pt idx="1">
                  <c:v>0.65</c:v>
                </c:pt>
                <c:pt idx="2">
                  <c:v>0.54</c:v>
                </c:pt>
                <c:pt idx="3">
                  <c:v>0.79</c:v>
                </c:pt>
                <c:pt idx="4">
                  <c:v>0.7</c:v>
                </c:pt>
                <c:pt idx="5">
                  <c:v>0.52</c:v>
                </c:pt>
                <c:pt idx="6">
                  <c:v>0.55000000000000004</c:v>
                </c:pt>
                <c:pt idx="7">
                  <c:v>0.55000000000000004</c:v>
                </c:pt>
                <c:pt idx="8">
                  <c:v>0.45</c:v>
                </c:pt>
                <c:pt idx="9">
                  <c:v>0.28000000000000003</c:v>
                </c:pt>
                <c:pt idx="10">
                  <c:v>0.33</c:v>
                </c:pt>
                <c:pt idx="11">
                  <c:v>0.2</c:v>
                </c:pt>
                <c:pt idx="12">
                  <c:v>0.19</c:v>
                </c:pt>
                <c:pt idx="13">
                  <c:v>0.53</c:v>
                </c:pt>
                <c:pt idx="14">
                  <c:v>0.22</c:v>
                </c:pt>
                <c:pt idx="15">
                  <c:v>0.34</c:v>
                </c:pt>
                <c:pt idx="16">
                  <c:v>0.31</c:v>
                </c:pt>
                <c:pt idx="17">
                  <c:v>0.25</c:v>
                </c:pt>
                <c:pt idx="18">
                  <c:v>0.23</c:v>
                </c:pt>
                <c:pt idx="19">
                  <c:v>0.1</c:v>
                </c:pt>
                <c:pt idx="20">
                  <c:v>0.09</c:v>
                </c:pt>
                <c:pt idx="21">
                  <c:v>0.1</c:v>
                </c:pt>
                <c:pt idx="22">
                  <c:v>0.09</c:v>
                </c:pt>
                <c:pt idx="23">
                  <c:v>0.21</c:v>
                </c:pt>
                <c:pt idx="24">
                  <c:v>0.03</c:v>
                </c:pt>
                <c:pt idx="25">
                  <c:v>0.03</c:v>
                </c:pt>
                <c:pt idx="26">
                  <c:v>0.08</c:v>
                </c:pt>
                <c:pt idx="27">
                  <c:v>0.03</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7ECAC4"/>
              </a:solidFill>
            </c:spPr>
            <c:extLst>
              <c:ext xmlns:c16="http://schemas.microsoft.com/office/drawing/2014/chart" uri="{C3380CC4-5D6E-409C-BE32-E72D297353CC}">
                <c16:uniqueId val="{0000004D-2993-41DE-A2CB-63102DE87051}"/>
              </c:ext>
            </c:extLst>
          </c:dPt>
          <c:dPt>
            <c:idx val="11"/>
            <c:invertIfNegative val="1"/>
            <c:bubble3D val="0"/>
            <c:spPr>
              <a:solidFill>
                <a:srgbClr val="7ECAC4"/>
              </a:solidFill>
            </c:spPr>
            <c:extLst>
              <c:ext xmlns:c16="http://schemas.microsoft.com/office/drawing/2014/chart" uri="{C3380CC4-5D6E-409C-BE32-E72D297353CC}">
                <c16:uniqueId val="{0000004F-2993-41DE-A2CB-63102DE87051}"/>
              </c:ext>
            </c:extLst>
          </c:dPt>
          <c:dPt>
            <c:idx val="12"/>
            <c:invertIfNegative val="1"/>
            <c:bubble3D val="0"/>
            <c:spPr>
              <a:solidFill>
                <a:srgbClr val="7ECAC4"/>
              </a:solidFill>
            </c:spPr>
            <c:extLst>
              <c:ext xmlns:c16="http://schemas.microsoft.com/office/drawing/2014/chart" uri="{C3380CC4-5D6E-409C-BE32-E72D297353CC}">
                <c16:uniqueId val="{00000051-2993-41DE-A2CB-63102DE87051}"/>
              </c:ext>
            </c:extLst>
          </c:dPt>
          <c:dPt>
            <c:idx val="13"/>
            <c:invertIfNegative val="1"/>
            <c:bubble3D val="0"/>
            <c:spPr>
              <a:solidFill>
                <a:srgbClr val="7ECAC4"/>
              </a:solidFill>
            </c:spPr>
            <c:extLst>
              <c:ext xmlns:c16="http://schemas.microsoft.com/office/drawing/2014/chart" uri="{C3380CC4-5D6E-409C-BE32-E72D297353CC}">
                <c16:uniqueId val="{00000053-2993-41DE-A2CB-63102DE87051}"/>
              </c:ext>
            </c:extLst>
          </c:dPt>
          <c:dPt>
            <c:idx val="14"/>
            <c:invertIfNegative val="1"/>
            <c:bubble3D val="0"/>
            <c:spPr>
              <a:solidFill>
                <a:srgbClr val="7ECAC4"/>
              </a:solidFill>
            </c:spPr>
            <c:extLst>
              <c:ext xmlns:c16="http://schemas.microsoft.com/office/drawing/2014/chart" uri="{C3380CC4-5D6E-409C-BE32-E72D297353CC}">
                <c16:uniqueId val="{00000055-2993-41DE-A2CB-63102DE87051}"/>
              </c:ext>
            </c:extLst>
          </c:dPt>
          <c:dPt>
            <c:idx val="15"/>
            <c:invertIfNegative val="1"/>
            <c:bubble3D val="0"/>
            <c:spPr>
              <a:solidFill>
                <a:srgbClr val="7ECAC4"/>
              </a:solidFill>
            </c:spPr>
            <c:extLst>
              <c:ext xmlns:c16="http://schemas.microsoft.com/office/drawing/2014/chart" uri="{C3380CC4-5D6E-409C-BE32-E72D297353CC}">
                <c16:uniqueId val="{00000057-2993-41DE-A2CB-63102DE87051}"/>
              </c:ext>
            </c:extLst>
          </c:dPt>
          <c:dPt>
            <c:idx val="16"/>
            <c:invertIfNegative val="1"/>
            <c:bubble3D val="0"/>
            <c:spPr>
              <a:solidFill>
                <a:srgbClr val="AEABAB"/>
              </a:solidFill>
            </c:spPr>
            <c:extLst>
              <c:ext xmlns:c16="http://schemas.microsoft.com/office/drawing/2014/chart" uri="{C3380CC4-5D6E-409C-BE32-E72D297353CC}">
                <c16:uniqueId val="{00000059-2993-41DE-A2CB-63102DE87051}"/>
              </c:ext>
            </c:extLst>
          </c:dPt>
          <c:dPt>
            <c:idx val="17"/>
            <c:invertIfNegative val="1"/>
            <c:bubble3D val="0"/>
            <c:spPr>
              <a:solidFill>
                <a:srgbClr val="AEABAB"/>
              </a:solidFill>
            </c:spPr>
            <c:extLst>
              <c:ext xmlns:c16="http://schemas.microsoft.com/office/drawing/2014/chart" uri="{C3380CC4-5D6E-409C-BE32-E72D297353CC}">
                <c16:uniqueId val="{0000005B-2993-41DE-A2CB-63102DE87051}"/>
              </c:ext>
            </c:extLst>
          </c:dPt>
          <c:dPt>
            <c:idx val="18"/>
            <c:invertIfNegative val="1"/>
            <c:bubble3D val="0"/>
            <c:spPr>
              <a:solidFill>
                <a:srgbClr val="AEABAB"/>
              </a:solidFill>
            </c:spPr>
            <c:extLst>
              <c:ext xmlns:c16="http://schemas.microsoft.com/office/drawing/2014/chart" uri="{C3380CC4-5D6E-409C-BE32-E72D297353CC}">
                <c16:uniqueId val="{0000005D-2993-41DE-A2CB-63102DE87051}"/>
              </c:ext>
            </c:extLst>
          </c:dPt>
          <c:dPt>
            <c:idx val="19"/>
            <c:invertIfNegative val="1"/>
            <c:bubble3D val="0"/>
            <c:spPr>
              <a:solidFill>
                <a:srgbClr val="AEABAB"/>
              </a:solidFill>
            </c:spPr>
            <c:extLst>
              <c:ext xmlns:c16="http://schemas.microsoft.com/office/drawing/2014/chart" uri="{C3380CC4-5D6E-409C-BE32-E72D297353CC}">
                <c16:uniqueId val="{0000005F-2993-41DE-A2CB-63102DE87051}"/>
              </c:ext>
            </c:extLst>
          </c:dPt>
          <c:dPt>
            <c:idx val="20"/>
            <c:invertIfNegative val="1"/>
            <c:bubble3D val="0"/>
            <c:spPr>
              <a:solidFill>
                <a:srgbClr val="AEABAB"/>
              </a:solidFill>
            </c:spPr>
            <c:extLst>
              <c:ext xmlns:c16="http://schemas.microsoft.com/office/drawing/2014/chart" uri="{C3380CC4-5D6E-409C-BE32-E72D297353CC}">
                <c16:uniqueId val="{00000061-2993-41DE-A2CB-63102DE87051}"/>
              </c:ext>
            </c:extLst>
          </c:dPt>
          <c:dPt>
            <c:idx val="21"/>
            <c:invertIfNegative val="1"/>
            <c:bubble3D val="0"/>
            <c:spPr>
              <a:solidFill>
                <a:srgbClr val="AEABAB"/>
              </a:solidFill>
            </c:spPr>
            <c:extLst>
              <c:ext xmlns:c16="http://schemas.microsoft.com/office/drawing/2014/chart" uri="{C3380CC4-5D6E-409C-BE32-E72D297353CC}">
                <c16:uniqueId val="{00000063-2993-41DE-A2CB-63102DE87051}"/>
              </c:ext>
            </c:extLst>
          </c:dPt>
          <c:dPt>
            <c:idx val="22"/>
            <c:invertIfNegative val="1"/>
            <c:bubble3D val="0"/>
            <c:spPr>
              <a:solidFill>
                <a:srgbClr val="AEABAB"/>
              </a:solidFill>
            </c:spPr>
            <c:extLst>
              <c:ext xmlns:c16="http://schemas.microsoft.com/office/drawing/2014/chart" uri="{C3380CC4-5D6E-409C-BE32-E72D297353CC}">
                <c16:uniqueId val="{00000065-2993-41DE-A2CB-63102DE87051}"/>
              </c:ext>
            </c:extLst>
          </c:dPt>
          <c:dPt>
            <c:idx val="23"/>
            <c:invertIfNegative val="1"/>
            <c:bubble3D val="0"/>
            <c:spPr>
              <a:solidFill>
                <a:srgbClr val="AEABAB"/>
              </a:solidFill>
            </c:spPr>
            <c:extLst>
              <c:ext xmlns:c16="http://schemas.microsoft.com/office/drawing/2014/chart" uri="{C3380CC4-5D6E-409C-BE32-E72D297353CC}">
                <c16:uniqueId val="{00000067-2993-41DE-A2CB-63102DE87051}"/>
              </c:ext>
            </c:extLst>
          </c:dPt>
          <c:dPt>
            <c:idx val="24"/>
            <c:invertIfNegative val="1"/>
            <c:bubble3D val="0"/>
            <c:spPr>
              <a:solidFill>
                <a:srgbClr val="AEABAB"/>
              </a:solidFill>
            </c:spPr>
            <c:extLst>
              <c:ext xmlns:c16="http://schemas.microsoft.com/office/drawing/2014/chart" uri="{C3380CC4-5D6E-409C-BE32-E72D297353CC}">
                <c16:uniqueId val="{00000069-2993-41DE-A2CB-63102DE87051}"/>
              </c:ext>
            </c:extLst>
          </c:dPt>
          <c:dPt>
            <c:idx val="25"/>
            <c:invertIfNegative val="1"/>
            <c:bubble3D val="0"/>
            <c:spPr>
              <a:solidFill>
                <a:srgbClr val="AEABAB"/>
              </a:solidFill>
            </c:spPr>
            <c:extLst>
              <c:ext xmlns:c16="http://schemas.microsoft.com/office/drawing/2014/chart" uri="{C3380CC4-5D6E-409C-BE32-E72D297353CC}">
                <c16:uniqueId val="{0000006B-2993-41DE-A2CB-63102DE87051}"/>
              </c:ext>
            </c:extLst>
          </c:dPt>
          <c:dPt>
            <c:idx val="26"/>
            <c:invertIfNegative val="1"/>
            <c:bubble3D val="0"/>
            <c:spPr>
              <a:solidFill>
                <a:srgbClr val="AEABAB"/>
              </a:solidFill>
            </c:spPr>
            <c:extLst>
              <c:ext xmlns:c16="http://schemas.microsoft.com/office/drawing/2014/chart" uri="{C3380CC4-5D6E-409C-BE32-E72D297353CC}">
                <c16:uniqueId val="{0000006D-2993-41DE-A2CB-63102DE87051}"/>
              </c:ext>
            </c:extLst>
          </c:dPt>
          <c:dPt>
            <c:idx val="27"/>
            <c:invertIfNegative val="1"/>
            <c:bubble3D val="0"/>
            <c:spPr>
              <a:solidFill>
                <a:srgbClr val="AEABAB"/>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9</c:f>
              <c:strCache>
                <c:ptCount val="28"/>
                <c:pt idx="0">
                  <c:v>Nicolas</c:v>
                </c:pt>
                <c:pt idx="1">
                  <c:v>Deutz</c:v>
                </c:pt>
                <c:pt idx="2">
                  <c:v>Ruinart</c:v>
                </c:pt>
                <c:pt idx="3">
                  <c:v>Demoiselle</c:v>
                </c:pt>
                <c:pt idx="4">
                  <c:v>Laurent Per</c:v>
                </c:pt>
                <c:pt idx="5">
                  <c:v>Malard</c:v>
                </c:pt>
                <c:pt idx="6">
                  <c:v>Ruinart</c:v>
                </c:pt>
                <c:pt idx="7">
                  <c:v>Nicolas Feu</c:v>
                </c:pt>
                <c:pt idx="8">
                  <c:v>Pommery</c:v>
                </c:pt>
                <c:pt idx="9">
                  <c:v>Besserat De</c:v>
                </c:pt>
                <c:pt idx="10">
                  <c:v>Bollinger</c:v>
                </c:pt>
                <c:pt idx="11">
                  <c:v>Ruinart</c:v>
                </c:pt>
                <c:pt idx="12">
                  <c:v>Ruinart</c:v>
                </c:pt>
                <c:pt idx="13">
                  <c:v>Deutz</c:v>
                </c:pt>
                <c:pt idx="14">
                  <c:v>Deutz</c:v>
                </c:pt>
                <c:pt idx="15">
                  <c:v>Nicolas</c:v>
                </c:pt>
                <c:pt idx="16">
                  <c:v>Besserat De</c:v>
                </c:pt>
                <c:pt idx="17">
                  <c:v>Nicolas</c:v>
                </c:pt>
                <c:pt idx="18">
                  <c:v>Nicolas</c:v>
                </c:pt>
                <c:pt idx="19">
                  <c:v>De Bligny</c:v>
                </c:pt>
                <c:pt idx="20">
                  <c:v>Henriot</c:v>
                </c:pt>
                <c:pt idx="21">
                  <c:v>Laurent Per</c:v>
                </c:pt>
                <c:pt idx="22">
                  <c:v>Demoiselle</c:v>
                </c:pt>
                <c:pt idx="23">
                  <c:v>Ruinart</c:v>
                </c:pt>
                <c:pt idx="24">
                  <c:v>Nicolas</c:v>
                </c:pt>
                <c:pt idx="25">
                  <c:v>Bollinger</c:v>
                </c:pt>
                <c:pt idx="26">
                  <c:v>Vranken Pom</c:v>
                </c:pt>
                <c:pt idx="27">
                  <c:v>Besserat De</c:v>
                </c:pt>
              </c:strCache>
            </c:strRef>
          </c:cat>
          <c:val>
            <c:numRef>
              <c:f>Sheet1!$C$2:$C$29</c:f>
              <c:numCache>
                <c:formatCode>General</c:formatCode>
                <c:ptCount val="28"/>
                <c:pt idx="0">
                  <c:v>0.12945052609203953</c:v>
                </c:pt>
                <c:pt idx="1">
                  <c:v>0.25613774046126048</c:v>
                </c:pt>
                <c:pt idx="2">
                  <c:v>0.38053105182980829</c:v>
                </c:pt>
                <c:pt idx="3">
                  <c:v>0.48151592446947955</c:v>
                </c:pt>
                <c:pt idx="4">
                  <c:v>0.55820668154603748</c:v>
                </c:pt>
                <c:pt idx="5">
                  <c:v>0.62095688525170933</c:v>
                </c:pt>
                <c:pt idx="6">
                  <c:v>0.68169660254366382</c:v>
                </c:pt>
                <c:pt idx="7">
                  <c:v>0.73236617423034678</c:v>
                </c:pt>
                <c:pt idx="8">
                  <c:v>0.78086583767314977</c:v>
                </c:pt>
                <c:pt idx="9">
                  <c:v>0.81197080809154354</c:v>
                </c:pt>
                <c:pt idx="10">
                  <c:v>0.83674318914514467</c:v>
                </c:pt>
                <c:pt idx="11">
                  <c:v>0.86095759379317671</c:v>
                </c:pt>
                <c:pt idx="12">
                  <c:v>0.88482658447585638</c:v>
                </c:pt>
                <c:pt idx="13">
                  <c:v>0.90749105466397417</c:v>
                </c:pt>
                <c:pt idx="14">
                  <c:v>0.92709108300563292</c:v>
                </c:pt>
                <c:pt idx="15">
                  <c:v>0.94414921883303227</c:v>
                </c:pt>
                <c:pt idx="16">
                  <c:v>0.95733694689481708</c:v>
                </c:pt>
                <c:pt idx="17">
                  <c:v>0.96983384702589726</c:v>
                </c:pt>
                <c:pt idx="18">
                  <c:v>0.97597158748715773</c:v>
                </c:pt>
                <c:pt idx="19">
                  <c:v>0.98163991922627281</c:v>
                </c:pt>
                <c:pt idx="20">
                  <c:v>0.98616572784922252</c:v>
                </c:pt>
                <c:pt idx="21">
                  <c:v>0.99058525525206376</c:v>
                </c:pt>
                <c:pt idx="22">
                  <c:v>0.99408367874729886</c:v>
                </c:pt>
                <c:pt idx="23">
                  <c:v>0.99713926382541551</c:v>
                </c:pt>
                <c:pt idx="24">
                  <c:v>0.99859177383356379</c:v>
                </c:pt>
                <c:pt idx="25">
                  <c:v>0.99933574237432266</c:v>
                </c:pt>
                <c:pt idx="26">
                  <c:v>0.99982286463315284</c:v>
                </c:pt>
                <c:pt idx="27">
                  <c:v>1.0000000000000002</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60</c:f>
              <c:strCache>
                <c:ptCount val="59"/>
                <c:pt idx="0">
                  <c:v>Ruinart</c:v>
                </c:pt>
                <c:pt idx="1">
                  <c:v>Deutz</c:v>
                </c:pt>
                <c:pt idx="2">
                  <c:v>Laurent Per</c:v>
                </c:pt>
                <c:pt idx="3">
                  <c:v>Demoiselle</c:v>
                </c:pt>
                <c:pt idx="4">
                  <c:v>Ruinart</c:v>
                </c:pt>
                <c:pt idx="5">
                  <c:v>Dom Perigno</c:v>
                </c:pt>
                <c:pt idx="6">
                  <c:v>Roederer</c:v>
                </c:pt>
                <c:pt idx="7">
                  <c:v>Nicolas Feu</c:v>
                </c:pt>
                <c:pt idx="8">
                  <c:v>Nicolas</c:v>
                </c:pt>
                <c:pt idx="9">
                  <c:v>Besserat De</c:v>
                </c:pt>
                <c:pt idx="10">
                  <c:v>Pommery</c:v>
                </c:pt>
                <c:pt idx="11">
                  <c:v>Malard</c:v>
                </c:pt>
                <c:pt idx="12">
                  <c:v>Bollinger</c:v>
                </c:pt>
                <c:pt idx="13">
                  <c:v>Ruinart</c:v>
                </c:pt>
                <c:pt idx="14">
                  <c:v>Ruinart</c:v>
                </c:pt>
                <c:pt idx="15">
                  <c:v>Perrier Jou</c:v>
                </c:pt>
                <c:pt idx="16">
                  <c:v>Veuve Clicq</c:v>
                </c:pt>
                <c:pt idx="17">
                  <c:v>Deutz</c:v>
                </c:pt>
                <c:pt idx="18">
                  <c:v>Nicolas</c:v>
                </c:pt>
                <c:pt idx="19">
                  <c:v>Nicolas</c:v>
                </c:pt>
                <c:pt idx="20">
                  <c:v>Besserat De</c:v>
                </c:pt>
                <c:pt idx="21">
                  <c:v>Deutz</c:v>
                </c:pt>
                <c:pt idx="22">
                  <c:v>All Others</c:v>
                </c:pt>
                <c:pt idx="23">
                  <c:v>Nicolas</c:v>
                </c:pt>
                <c:pt idx="24">
                  <c:v>Krug</c:v>
                </c:pt>
                <c:pt idx="25">
                  <c:v>Moët &amp; Chan</c:v>
                </c:pt>
                <c:pt idx="26">
                  <c:v>Roederer</c:v>
                </c:pt>
                <c:pt idx="27">
                  <c:v>Dom Perigno</c:v>
                </c:pt>
                <c:pt idx="28">
                  <c:v>Demoiselle</c:v>
                </c:pt>
                <c:pt idx="29">
                  <c:v>Moët &amp; Chan</c:v>
                </c:pt>
                <c:pt idx="30">
                  <c:v>Perrier Jou</c:v>
                </c:pt>
                <c:pt idx="31">
                  <c:v>Deutz</c:v>
                </c:pt>
                <c:pt idx="32">
                  <c:v>Ruinart</c:v>
                </c:pt>
                <c:pt idx="33">
                  <c:v>Ruinart</c:v>
                </c:pt>
                <c:pt idx="34">
                  <c:v>All Others</c:v>
                </c:pt>
                <c:pt idx="35">
                  <c:v>Veuve Clicq</c:v>
                </c:pt>
                <c:pt idx="36">
                  <c:v>Dom Perigno</c:v>
                </c:pt>
                <c:pt idx="37">
                  <c:v>Nicolas</c:v>
                </c:pt>
                <c:pt idx="38">
                  <c:v>Henriot</c:v>
                </c:pt>
                <c:pt idx="39">
                  <c:v>Dom Perigno</c:v>
                </c:pt>
                <c:pt idx="40">
                  <c:v>Moët &amp; Chan</c:v>
                </c:pt>
                <c:pt idx="41">
                  <c:v>Ayala</c:v>
                </c:pt>
                <c:pt idx="42">
                  <c:v>Ruinart</c:v>
                </c:pt>
                <c:pt idx="43">
                  <c:v>Deutz</c:v>
                </c:pt>
                <c:pt idx="44">
                  <c:v>Taittinger</c:v>
                </c:pt>
                <c:pt idx="45">
                  <c:v>Roederer</c:v>
                </c:pt>
                <c:pt idx="46">
                  <c:v>Piper Heids</c:v>
                </c:pt>
                <c:pt idx="47">
                  <c:v>Roederer</c:v>
                </c:pt>
                <c:pt idx="48">
                  <c:v>Dom Perigno</c:v>
                </c:pt>
                <c:pt idx="49">
                  <c:v>De Bligny</c:v>
                </c:pt>
                <c:pt idx="50">
                  <c:v>Demoiselle</c:v>
                </c:pt>
                <c:pt idx="51">
                  <c:v>Taittinger</c:v>
                </c:pt>
                <c:pt idx="52">
                  <c:v>All Others</c:v>
                </c:pt>
                <c:pt idx="53">
                  <c:v>Laurent Per</c:v>
                </c:pt>
                <c:pt idx="54">
                  <c:v>All Others</c:v>
                </c:pt>
                <c:pt idx="55">
                  <c:v>Bollinger</c:v>
                </c:pt>
                <c:pt idx="56">
                  <c:v>All Others</c:v>
                </c:pt>
                <c:pt idx="57">
                  <c:v>Moët &amp; Chan</c:v>
                </c:pt>
                <c:pt idx="58">
                  <c:v>Henriot</c:v>
                </c:pt>
              </c:strCache>
            </c:strRef>
          </c:cat>
          <c:val>
            <c:numRef>
              <c:f>Sheet1!$B$2:$B$60</c:f>
              <c:numCache>
                <c:formatCode>General</c:formatCode>
                <c:ptCount val="59"/>
                <c:pt idx="0">
                  <c:v>0.8</c:v>
                </c:pt>
                <c:pt idx="1">
                  <c:v>0.87</c:v>
                </c:pt>
                <c:pt idx="2">
                  <c:v>0.78</c:v>
                </c:pt>
                <c:pt idx="3">
                  <c:v>0.94</c:v>
                </c:pt>
                <c:pt idx="4">
                  <c:v>0.65</c:v>
                </c:pt>
                <c:pt idx="5">
                  <c:v>0.24</c:v>
                </c:pt>
                <c:pt idx="6">
                  <c:v>0.24</c:v>
                </c:pt>
                <c:pt idx="7">
                  <c:v>0.72</c:v>
                </c:pt>
                <c:pt idx="8">
                  <c:v>0.73</c:v>
                </c:pt>
                <c:pt idx="9">
                  <c:v>0.43</c:v>
                </c:pt>
                <c:pt idx="10">
                  <c:v>0.61</c:v>
                </c:pt>
                <c:pt idx="11">
                  <c:v>0.59</c:v>
                </c:pt>
                <c:pt idx="12">
                  <c:v>0.3</c:v>
                </c:pt>
                <c:pt idx="13">
                  <c:v>0.21</c:v>
                </c:pt>
                <c:pt idx="14">
                  <c:v>0.54</c:v>
                </c:pt>
                <c:pt idx="15">
                  <c:v>0.21</c:v>
                </c:pt>
                <c:pt idx="16">
                  <c:v>0.24</c:v>
                </c:pt>
                <c:pt idx="17">
                  <c:v>0.54</c:v>
                </c:pt>
                <c:pt idx="18">
                  <c:v>0.42</c:v>
                </c:pt>
                <c:pt idx="19">
                  <c:v>0.42</c:v>
                </c:pt>
                <c:pt idx="20">
                  <c:v>0.34</c:v>
                </c:pt>
                <c:pt idx="21">
                  <c:v>0.09</c:v>
                </c:pt>
                <c:pt idx="22">
                  <c:v>0.09</c:v>
                </c:pt>
                <c:pt idx="23">
                  <c:v>0.14000000000000001</c:v>
                </c:pt>
                <c:pt idx="24">
                  <c:v>7.0000000000000007E-2</c:v>
                </c:pt>
                <c:pt idx="25">
                  <c:v>0.05</c:v>
                </c:pt>
                <c:pt idx="26">
                  <c:v>0.06</c:v>
                </c:pt>
                <c:pt idx="27">
                  <c:v>0.03</c:v>
                </c:pt>
                <c:pt idx="28">
                  <c:v>0.14000000000000001</c:v>
                </c:pt>
                <c:pt idx="29">
                  <c:v>0.08</c:v>
                </c:pt>
                <c:pt idx="30">
                  <c:v>0.09</c:v>
                </c:pt>
                <c:pt idx="31">
                  <c:v>0.05</c:v>
                </c:pt>
                <c:pt idx="32">
                  <c:v>0.05</c:v>
                </c:pt>
                <c:pt idx="33">
                  <c:v>0.03</c:v>
                </c:pt>
                <c:pt idx="34">
                  <c:v>0.09</c:v>
                </c:pt>
                <c:pt idx="35">
                  <c:v>0.12</c:v>
                </c:pt>
                <c:pt idx="36">
                  <c:v>0.03</c:v>
                </c:pt>
                <c:pt idx="37">
                  <c:v>7.0000000000000007E-2</c:v>
                </c:pt>
                <c:pt idx="38">
                  <c:v>0.04</c:v>
                </c:pt>
                <c:pt idx="39">
                  <c:v>0.06</c:v>
                </c:pt>
                <c:pt idx="40">
                  <c:v>0.06</c:v>
                </c:pt>
                <c:pt idx="41">
                  <c:v>7.0000000000000007E-2</c:v>
                </c:pt>
                <c:pt idx="42">
                  <c:v>0.02</c:v>
                </c:pt>
                <c:pt idx="43">
                  <c:v>0.03</c:v>
                </c:pt>
                <c:pt idx="44">
                  <c:v>0.02</c:v>
                </c:pt>
                <c:pt idx="45">
                  <c:v>0.01</c:v>
                </c:pt>
                <c:pt idx="46">
                  <c:v>0.09</c:v>
                </c:pt>
                <c:pt idx="47">
                  <c:v>0.04</c:v>
                </c:pt>
                <c:pt idx="48">
                  <c:v>0.02</c:v>
                </c:pt>
                <c:pt idx="49">
                  <c:v>7.0000000000000007E-2</c:v>
                </c:pt>
                <c:pt idx="50">
                  <c:v>0.02</c:v>
                </c:pt>
                <c:pt idx="51">
                  <c:v>7.0000000000000007E-2</c:v>
                </c:pt>
                <c:pt idx="52">
                  <c:v>0.02</c:v>
                </c:pt>
                <c:pt idx="53">
                  <c:v>0.02</c:v>
                </c:pt>
                <c:pt idx="54">
                  <c:v>0.01</c:v>
                </c:pt>
                <c:pt idx="55">
                  <c:v>0.02</c:v>
                </c:pt>
                <c:pt idx="56">
                  <c:v>0.02</c:v>
                </c:pt>
                <c:pt idx="57">
                  <c:v>0.05</c:v>
                </c:pt>
                <c:pt idx="58">
                  <c:v>0.02</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7ECAC4"/>
              </a:solidFill>
            </c:spPr>
            <c:extLst>
              <c:ext xmlns:c16="http://schemas.microsoft.com/office/drawing/2014/chart" uri="{C3380CC4-5D6E-409C-BE32-E72D297353CC}">
                <c16:uniqueId val="{00000051-2993-41DE-A2CB-63102DE87051}"/>
              </c:ext>
            </c:extLst>
          </c:dPt>
          <c:dPt>
            <c:idx val="13"/>
            <c:invertIfNegative val="1"/>
            <c:bubble3D val="0"/>
            <c:spPr>
              <a:solidFill>
                <a:srgbClr val="7ECAC4"/>
              </a:solidFill>
            </c:spPr>
            <c:extLst>
              <c:ext xmlns:c16="http://schemas.microsoft.com/office/drawing/2014/chart" uri="{C3380CC4-5D6E-409C-BE32-E72D297353CC}">
                <c16:uniqueId val="{00000053-2993-41DE-A2CB-63102DE87051}"/>
              </c:ext>
            </c:extLst>
          </c:dPt>
          <c:dPt>
            <c:idx val="14"/>
            <c:invertIfNegative val="1"/>
            <c:bubble3D val="0"/>
            <c:spPr>
              <a:solidFill>
                <a:srgbClr val="7ECAC4"/>
              </a:solidFill>
            </c:spPr>
            <c:extLst>
              <c:ext xmlns:c16="http://schemas.microsoft.com/office/drawing/2014/chart" uri="{C3380CC4-5D6E-409C-BE32-E72D297353CC}">
                <c16:uniqueId val="{00000055-2993-41DE-A2CB-63102DE87051}"/>
              </c:ext>
            </c:extLst>
          </c:dPt>
          <c:dPt>
            <c:idx val="15"/>
            <c:invertIfNegative val="1"/>
            <c:bubble3D val="0"/>
            <c:spPr>
              <a:solidFill>
                <a:srgbClr val="7ECAC4"/>
              </a:solidFill>
            </c:spPr>
            <c:extLst>
              <c:ext xmlns:c16="http://schemas.microsoft.com/office/drawing/2014/chart" uri="{C3380CC4-5D6E-409C-BE32-E72D297353CC}">
                <c16:uniqueId val="{00000057-2993-41DE-A2CB-63102DE87051}"/>
              </c:ext>
            </c:extLst>
          </c:dPt>
          <c:dPt>
            <c:idx val="16"/>
            <c:invertIfNegative val="1"/>
            <c:bubble3D val="0"/>
            <c:spPr>
              <a:solidFill>
                <a:srgbClr val="7ECAC4"/>
              </a:solidFill>
            </c:spPr>
            <c:extLst>
              <c:ext xmlns:c16="http://schemas.microsoft.com/office/drawing/2014/chart" uri="{C3380CC4-5D6E-409C-BE32-E72D297353CC}">
                <c16:uniqueId val="{00000059-2993-41DE-A2CB-63102DE87051}"/>
              </c:ext>
            </c:extLst>
          </c:dPt>
          <c:dPt>
            <c:idx val="17"/>
            <c:invertIfNegative val="1"/>
            <c:bubble3D val="0"/>
            <c:spPr>
              <a:solidFill>
                <a:srgbClr val="7ECAC4"/>
              </a:solidFill>
            </c:spPr>
            <c:extLst>
              <c:ext xmlns:c16="http://schemas.microsoft.com/office/drawing/2014/chart" uri="{C3380CC4-5D6E-409C-BE32-E72D297353CC}">
                <c16:uniqueId val="{0000005B-2993-41DE-A2CB-63102DE87051}"/>
              </c:ext>
            </c:extLst>
          </c:dPt>
          <c:dPt>
            <c:idx val="18"/>
            <c:invertIfNegative val="1"/>
            <c:bubble3D val="0"/>
            <c:spPr>
              <a:solidFill>
                <a:srgbClr val="7ECAC4"/>
              </a:solidFill>
            </c:spPr>
            <c:extLst>
              <c:ext xmlns:c16="http://schemas.microsoft.com/office/drawing/2014/chart" uri="{C3380CC4-5D6E-409C-BE32-E72D297353CC}">
                <c16:uniqueId val="{0000005D-2993-41DE-A2CB-63102DE87051}"/>
              </c:ext>
            </c:extLst>
          </c:dPt>
          <c:dPt>
            <c:idx val="19"/>
            <c:invertIfNegative val="1"/>
            <c:bubble3D val="0"/>
            <c:spPr>
              <a:solidFill>
                <a:srgbClr val="AEABAB"/>
              </a:solidFill>
            </c:spPr>
            <c:extLst>
              <c:ext xmlns:c16="http://schemas.microsoft.com/office/drawing/2014/chart" uri="{C3380CC4-5D6E-409C-BE32-E72D297353CC}">
                <c16:uniqueId val="{0000005F-2993-41DE-A2CB-63102DE87051}"/>
              </c:ext>
            </c:extLst>
          </c:dPt>
          <c:dPt>
            <c:idx val="20"/>
            <c:invertIfNegative val="1"/>
            <c:bubble3D val="0"/>
            <c:spPr>
              <a:solidFill>
                <a:srgbClr val="AEABAB"/>
              </a:solidFill>
            </c:spPr>
            <c:extLst>
              <c:ext xmlns:c16="http://schemas.microsoft.com/office/drawing/2014/chart" uri="{C3380CC4-5D6E-409C-BE32-E72D297353CC}">
                <c16:uniqueId val="{00000061-2993-41DE-A2CB-63102DE87051}"/>
              </c:ext>
            </c:extLst>
          </c:dPt>
          <c:dPt>
            <c:idx val="21"/>
            <c:invertIfNegative val="1"/>
            <c:bubble3D val="0"/>
            <c:spPr>
              <a:solidFill>
                <a:srgbClr val="AEABAB"/>
              </a:solidFill>
            </c:spPr>
            <c:extLst>
              <c:ext xmlns:c16="http://schemas.microsoft.com/office/drawing/2014/chart" uri="{C3380CC4-5D6E-409C-BE32-E72D297353CC}">
                <c16:uniqueId val="{00000063-2993-41DE-A2CB-63102DE87051}"/>
              </c:ext>
            </c:extLst>
          </c:dPt>
          <c:dPt>
            <c:idx val="22"/>
            <c:invertIfNegative val="1"/>
            <c:bubble3D val="0"/>
            <c:spPr>
              <a:solidFill>
                <a:srgbClr val="AEABAB"/>
              </a:solidFill>
            </c:spPr>
            <c:extLst>
              <c:ext xmlns:c16="http://schemas.microsoft.com/office/drawing/2014/chart" uri="{C3380CC4-5D6E-409C-BE32-E72D297353CC}">
                <c16:uniqueId val="{00000065-2993-41DE-A2CB-63102DE87051}"/>
              </c:ext>
            </c:extLst>
          </c:dPt>
          <c:dPt>
            <c:idx val="23"/>
            <c:invertIfNegative val="1"/>
            <c:bubble3D val="0"/>
            <c:spPr>
              <a:solidFill>
                <a:srgbClr val="AEABAB"/>
              </a:solidFill>
            </c:spPr>
            <c:extLst>
              <c:ext xmlns:c16="http://schemas.microsoft.com/office/drawing/2014/chart" uri="{C3380CC4-5D6E-409C-BE32-E72D297353CC}">
                <c16:uniqueId val="{00000067-2993-41DE-A2CB-63102DE87051}"/>
              </c:ext>
            </c:extLst>
          </c:dPt>
          <c:dPt>
            <c:idx val="24"/>
            <c:invertIfNegative val="1"/>
            <c:bubble3D val="0"/>
            <c:spPr>
              <a:solidFill>
                <a:srgbClr val="AEABAB"/>
              </a:solidFill>
            </c:spPr>
            <c:extLst>
              <c:ext xmlns:c16="http://schemas.microsoft.com/office/drawing/2014/chart" uri="{C3380CC4-5D6E-409C-BE32-E72D297353CC}">
                <c16:uniqueId val="{00000069-2993-41DE-A2CB-63102DE87051}"/>
              </c:ext>
            </c:extLst>
          </c:dPt>
          <c:dPt>
            <c:idx val="25"/>
            <c:invertIfNegative val="1"/>
            <c:bubble3D val="0"/>
            <c:spPr>
              <a:solidFill>
                <a:srgbClr val="AEABAB"/>
              </a:solidFill>
            </c:spPr>
            <c:extLst>
              <c:ext xmlns:c16="http://schemas.microsoft.com/office/drawing/2014/chart" uri="{C3380CC4-5D6E-409C-BE32-E72D297353CC}">
                <c16:uniqueId val="{0000006B-2993-41DE-A2CB-63102DE87051}"/>
              </c:ext>
            </c:extLst>
          </c:dPt>
          <c:dPt>
            <c:idx val="26"/>
            <c:invertIfNegative val="1"/>
            <c:bubble3D val="0"/>
            <c:spPr>
              <a:solidFill>
                <a:srgbClr val="AEABAB"/>
              </a:solidFill>
            </c:spPr>
            <c:extLst>
              <c:ext xmlns:c16="http://schemas.microsoft.com/office/drawing/2014/chart" uri="{C3380CC4-5D6E-409C-BE32-E72D297353CC}">
                <c16:uniqueId val="{0000006D-2993-41DE-A2CB-63102DE87051}"/>
              </c:ext>
            </c:extLst>
          </c:dPt>
          <c:dPt>
            <c:idx val="27"/>
            <c:invertIfNegative val="1"/>
            <c:bubble3D val="0"/>
            <c:spPr>
              <a:solidFill>
                <a:srgbClr val="AEABAB"/>
              </a:solidFill>
            </c:spPr>
            <c:extLst>
              <c:ext xmlns:c16="http://schemas.microsoft.com/office/drawing/2014/chart" uri="{C3380CC4-5D6E-409C-BE32-E72D297353CC}">
                <c16:uniqueId val="{0000006F-2993-41DE-A2CB-63102DE87051}"/>
              </c:ext>
            </c:extLst>
          </c:dPt>
          <c:dPt>
            <c:idx val="28"/>
            <c:invertIfNegative val="1"/>
            <c:bubble3D val="0"/>
            <c:spPr>
              <a:solidFill>
                <a:srgbClr val="AEABAB"/>
              </a:solidFill>
            </c:spPr>
            <c:extLst>
              <c:ext xmlns:c16="http://schemas.microsoft.com/office/drawing/2014/chart" uri="{C3380CC4-5D6E-409C-BE32-E72D297353CC}">
                <c16:uniqueId val="{00000071-2993-41DE-A2CB-63102DE87051}"/>
              </c:ext>
            </c:extLst>
          </c:dPt>
          <c:dPt>
            <c:idx val="29"/>
            <c:invertIfNegative val="1"/>
            <c:bubble3D val="0"/>
            <c:spPr>
              <a:solidFill>
                <a:srgbClr val="AEABAB"/>
              </a:solidFill>
            </c:spPr>
            <c:extLst>
              <c:ext xmlns:c16="http://schemas.microsoft.com/office/drawing/2014/chart" uri="{C3380CC4-5D6E-409C-BE32-E72D297353CC}">
                <c16:uniqueId val="{00000073-2993-41DE-A2CB-63102DE87051}"/>
              </c:ext>
            </c:extLst>
          </c:dPt>
          <c:dPt>
            <c:idx val="30"/>
            <c:invertIfNegative val="1"/>
            <c:bubble3D val="0"/>
            <c:spPr>
              <a:solidFill>
                <a:srgbClr val="AEABAB"/>
              </a:solidFill>
            </c:spPr>
            <c:extLst>
              <c:ext xmlns:c16="http://schemas.microsoft.com/office/drawing/2014/chart" uri="{C3380CC4-5D6E-409C-BE32-E72D297353CC}">
                <c16:uniqueId val="{00000075-2993-41DE-A2CB-63102DE87051}"/>
              </c:ext>
            </c:extLst>
          </c:dPt>
          <c:dPt>
            <c:idx val="31"/>
            <c:invertIfNegative val="1"/>
            <c:bubble3D val="0"/>
            <c:spPr>
              <a:solidFill>
                <a:srgbClr val="AEABAB"/>
              </a:solidFill>
            </c:spPr>
            <c:extLst>
              <c:ext xmlns:c16="http://schemas.microsoft.com/office/drawing/2014/chart" uri="{C3380CC4-5D6E-409C-BE32-E72D297353CC}">
                <c16:uniqueId val="{00000077-2993-41DE-A2CB-63102DE87051}"/>
              </c:ext>
            </c:extLst>
          </c:dPt>
          <c:dPt>
            <c:idx val="32"/>
            <c:invertIfNegative val="1"/>
            <c:bubble3D val="0"/>
            <c:spPr>
              <a:solidFill>
                <a:srgbClr val="AEABAB"/>
              </a:solidFill>
            </c:spPr>
            <c:extLst>
              <c:ext xmlns:c16="http://schemas.microsoft.com/office/drawing/2014/chart" uri="{C3380CC4-5D6E-409C-BE32-E72D297353CC}">
                <c16:uniqueId val="{00000079-2993-41DE-A2CB-63102DE87051}"/>
              </c:ext>
            </c:extLst>
          </c:dPt>
          <c:dPt>
            <c:idx val="33"/>
            <c:invertIfNegative val="1"/>
            <c:bubble3D val="0"/>
            <c:spPr>
              <a:solidFill>
                <a:srgbClr val="AEABAB"/>
              </a:solidFill>
            </c:spPr>
            <c:extLst>
              <c:ext xmlns:c16="http://schemas.microsoft.com/office/drawing/2014/chart" uri="{C3380CC4-5D6E-409C-BE32-E72D297353CC}">
                <c16:uniqueId val="{0000007B-2993-41DE-A2CB-63102DE87051}"/>
              </c:ext>
            </c:extLst>
          </c:dPt>
          <c:dPt>
            <c:idx val="34"/>
            <c:invertIfNegative val="1"/>
            <c:bubble3D val="0"/>
            <c:spPr>
              <a:solidFill>
                <a:srgbClr val="AEABAB"/>
              </a:solidFill>
            </c:spPr>
            <c:extLst>
              <c:ext xmlns:c16="http://schemas.microsoft.com/office/drawing/2014/chart" uri="{C3380CC4-5D6E-409C-BE32-E72D297353CC}">
                <c16:uniqueId val="{0000007D-2993-41DE-A2CB-63102DE87051}"/>
              </c:ext>
            </c:extLst>
          </c:dPt>
          <c:dPt>
            <c:idx val="35"/>
            <c:invertIfNegative val="1"/>
            <c:bubble3D val="0"/>
            <c:spPr>
              <a:solidFill>
                <a:srgbClr val="AEABAB"/>
              </a:solidFill>
            </c:spPr>
            <c:extLst>
              <c:ext xmlns:c16="http://schemas.microsoft.com/office/drawing/2014/chart" uri="{C3380CC4-5D6E-409C-BE32-E72D297353CC}">
                <c16:uniqueId val="{0000007F-2993-41DE-A2CB-63102DE87051}"/>
              </c:ext>
            </c:extLst>
          </c:dPt>
          <c:dPt>
            <c:idx val="36"/>
            <c:invertIfNegative val="1"/>
            <c:bubble3D val="0"/>
            <c:spPr>
              <a:solidFill>
                <a:srgbClr val="AEABAB"/>
              </a:solidFill>
            </c:spPr>
            <c:extLst>
              <c:ext xmlns:c16="http://schemas.microsoft.com/office/drawing/2014/chart" uri="{C3380CC4-5D6E-409C-BE32-E72D297353CC}">
                <c16:uniqueId val="{00000081-2993-41DE-A2CB-63102DE87051}"/>
              </c:ext>
            </c:extLst>
          </c:dPt>
          <c:dPt>
            <c:idx val="37"/>
            <c:invertIfNegative val="1"/>
            <c:bubble3D val="0"/>
            <c:spPr>
              <a:solidFill>
                <a:srgbClr val="AEABAB"/>
              </a:solidFill>
            </c:spPr>
            <c:extLst>
              <c:ext xmlns:c16="http://schemas.microsoft.com/office/drawing/2014/chart" uri="{C3380CC4-5D6E-409C-BE32-E72D297353CC}">
                <c16:uniqueId val="{00000083-2993-41DE-A2CB-63102DE87051}"/>
              </c:ext>
            </c:extLst>
          </c:dPt>
          <c:dPt>
            <c:idx val="38"/>
            <c:invertIfNegative val="1"/>
            <c:bubble3D val="0"/>
            <c:spPr>
              <a:solidFill>
                <a:srgbClr val="AEABAB"/>
              </a:solidFill>
            </c:spPr>
            <c:extLst>
              <c:ext xmlns:c16="http://schemas.microsoft.com/office/drawing/2014/chart" uri="{C3380CC4-5D6E-409C-BE32-E72D297353CC}">
                <c16:uniqueId val="{00000085-2993-41DE-A2CB-63102DE87051}"/>
              </c:ext>
            </c:extLst>
          </c:dPt>
          <c:dPt>
            <c:idx val="39"/>
            <c:invertIfNegative val="1"/>
            <c:bubble3D val="0"/>
            <c:spPr>
              <a:solidFill>
                <a:srgbClr val="AEABAB"/>
              </a:solidFill>
            </c:spPr>
            <c:extLst>
              <c:ext xmlns:c16="http://schemas.microsoft.com/office/drawing/2014/chart" uri="{C3380CC4-5D6E-409C-BE32-E72D297353CC}">
                <c16:uniqueId val="{00000087-2993-41DE-A2CB-63102DE87051}"/>
              </c:ext>
            </c:extLst>
          </c:dPt>
          <c:dPt>
            <c:idx val="40"/>
            <c:invertIfNegative val="1"/>
            <c:bubble3D val="0"/>
            <c:spPr>
              <a:solidFill>
                <a:srgbClr val="AEABAB"/>
              </a:solidFill>
            </c:spPr>
            <c:extLst>
              <c:ext xmlns:c16="http://schemas.microsoft.com/office/drawing/2014/chart" uri="{C3380CC4-5D6E-409C-BE32-E72D297353CC}">
                <c16:uniqueId val="{00000089-2993-41DE-A2CB-63102DE87051}"/>
              </c:ext>
            </c:extLst>
          </c:dPt>
          <c:dPt>
            <c:idx val="41"/>
            <c:invertIfNegative val="1"/>
            <c:bubble3D val="0"/>
            <c:spPr>
              <a:solidFill>
                <a:srgbClr val="AEABAB"/>
              </a:solidFill>
            </c:spPr>
            <c:extLst>
              <c:ext xmlns:c16="http://schemas.microsoft.com/office/drawing/2014/chart" uri="{C3380CC4-5D6E-409C-BE32-E72D297353CC}">
                <c16:uniqueId val="{0000008B-2993-41DE-A2CB-63102DE87051}"/>
              </c:ext>
            </c:extLst>
          </c:dPt>
          <c:dPt>
            <c:idx val="42"/>
            <c:invertIfNegative val="1"/>
            <c:bubble3D val="0"/>
            <c:spPr>
              <a:solidFill>
                <a:srgbClr val="AEABAB"/>
              </a:solidFill>
            </c:spPr>
            <c:extLst>
              <c:ext xmlns:c16="http://schemas.microsoft.com/office/drawing/2014/chart" uri="{C3380CC4-5D6E-409C-BE32-E72D297353CC}">
                <c16:uniqueId val="{0000008D-2993-41DE-A2CB-63102DE87051}"/>
              </c:ext>
            </c:extLst>
          </c:dPt>
          <c:dPt>
            <c:idx val="43"/>
            <c:invertIfNegative val="1"/>
            <c:bubble3D val="0"/>
            <c:spPr>
              <a:solidFill>
                <a:srgbClr val="AEABAB"/>
              </a:solidFill>
            </c:spPr>
            <c:extLst>
              <c:ext xmlns:c16="http://schemas.microsoft.com/office/drawing/2014/chart" uri="{C3380CC4-5D6E-409C-BE32-E72D297353CC}">
                <c16:uniqueId val="{0000008F-2993-41DE-A2CB-63102DE87051}"/>
              </c:ext>
            </c:extLst>
          </c:dPt>
          <c:dPt>
            <c:idx val="44"/>
            <c:invertIfNegative val="1"/>
            <c:bubble3D val="0"/>
            <c:spPr>
              <a:solidFill>
                <a:srgbClr val="AEABAB"/>
              </a:solidFill>
            </c:spPr>
            <c:extLst>
              <c:ext xmlns:c16="http://schemas.microsoft.com/office/drawing/2014/chart" uri="{C3380CC4-5D6E-409C-BE32-E72D297353CC}">
                <c16:uniqueId val="{00000091-2993-41DE-A2CB-63102DE87051}"/>
              </c:ext>
            </c:extLst>
          </c:dPt>
          <c:dPt>
            <c:idx val="45"/>
            <c:invertIfNegative val="1"/>
            <c:bubble3D val="0"/>
            <c:spPr>
              <a:solidFill>
                <a:srgbClr val="AEABAB"/>
              </a:solidFill>
            </c:spPr>
            <c:extLst>
              <c:ext xmlns:c16="http://schemas.microsoft.com/office/drawing/2014/chart" uri="{C3380CC4-5D6E-409C-BE32-E72D297353CC}">
                <c16:uniqueId val="{00000093-2993-41DE-A2CB-63102DE87051}"/>
              </c:ext>
            </c:extLst>
          </c:dPt>
          <c:dPt>
            <c:idx val="46"/>
            <c:invertIfNegative val="1"/>
            <c:bubble3D val="0"/>
            <c:spPr>
              <a:solidFill>
                <a:srgbClr val="AEABAB"/>
              </a:solidFill>
            </c:spPr>
            <c:extLst>
              <c:ext xmlns:c16="http://schemas.microsoft.com/office/drawing/2014/chart" uri="{C3380CC4-5D6E-409C-BE32-E72D297353CC}">
                <c16:uniqueId val="{00000095-2993-41DE-A2CB-63102DE87051}"/>
              </c:ext>
            </c:extLst>
          </c:dPt>
          <c:dPt>
            <c:idx val="47"/>
            <c:invertIfNegative val="1"/>
            <c:bubble3D val="0"/>
            <c:spPr>
              <a:solidFill>
                <a:srgbClr val="AEABAB"/>
              </a:solidFill>
            </c:spPr>
            <c:extLst>
              <c:ext xmlns:c16="http://schemas.microsoft.com/office/drawing/2014/chart" uri="{C3380CC4-5D6E-409C-BE32-E72D297353CC}">
                <c16:uniqueId val="{00000097-2993-41DE-A2CB-63102DE87051}"/>
              </c:ext>
            </c:extLst>
          </c:dPt>
          <c:dPt>
            <c:idx val="48"/>
            <c:invertIfNegative val="1"/>
            <c:bubble3D val="0"/>
            <c:spPr>
              <a:solidFill>
                <a:srgbClr val="AEABAB"/>
              </a:solidFill>
            </c:spPr>
            <c:extLst>
              <c:ext xmlns:c16="http://schemas.microsoft.com/office/drawing/2014/chart" uri="{C3380CC4-5D6E-409C-BE32-E72D297353CC}">
                <c16:uniqueId val="{00000099-2993-41DE-A2CB-63102DE87051}"/>
              </c:ext>
            </c:extLst>
          </c:dPt>
          <c:dPt>
            <c:idx val="49"/>
            <c:invertIfNegative val="1"/>
            <c:bubble3D val="0"/>
            <c:spPr>
              <a:solidFill>
                <a:srgbClr val="AEABAB"/>
              </a:solidFill>
            </c:spPr>
            <c:extLst>
              <c:ext xmlns:c16="http://schemas.microsoft.com/office/drawing/2014/chart" uri="{C3380CC4-5D6E-409C-BE32-E72D297353CC}">
                <c16:uniqueId val="{0000009B-2993-41DE-A2CB-63102DE87051}"/>
              </c:ext>
            </c:extLst>
          </c:dPt>
          <c:dPt>
            <c:idx val="50"/>
            <c:invertIfNegative val="1"/>
            <c:bubble3D val="0"/>
            <c:spPr>
              <a:solidFill>
                <a:srgbClr val="AEABAB"/>
              </a:solidFill>
            </c:spPr>
            <c:extLst>
              <c:ext xmlns:c16="http://schemas.microsoft.com/office/drawing/2014/chart" uri="{C3380CC4-5D6E-409C-BE32-E72D297353CC}">
                <c16:uniqueId val="{0000009D-2993-41DE-A2CB-63102DE87051}"/>
              </c:ext>
            </c:extLst>
          </c:dPt>
          <c:dPt>
            <c:idx val="51"/>
            <c:invertIfNegative val="1"/>
            <c:bubble3D val="0"/>
            <c:spPr>
              <a:solidFill>
                <a:srgbClr val="AEABAB"/>
              </a:solidFill>
            </c:spPr>
            <c:extLst>
              <c:ext xmlns:c16="http://schemas.microsoft.com/office/drawing/2014/chart" uri="{C3380CC4-5D6E-409C-BE32-E72D297353CC}">
                <c16:uniqueId val="{0000009F-2993-41DE-A2CB-63102DE87051}"/>
              </c:ext>
            </c:extLst>
          </c:dPt>
          <c:dPt>
            <c:idx val="52"/>
            <c:invertIfNegative val="1"/>
            <c:bubble3D val="0"/>
            <c:spPr>
              <a:solidFill>
                <a:srgbClr val="AEABAB"/>
              </a:solidFill>
            </c:spPr>
            <c:extLst>
              <c:ext xmlns:c16="http://schemas.microsoft.com/office/drawing/2014/chart" uri="{C3380CC4-5D6E-409C-BE32-E72D297353CC}">
                <c16:uniqueId val="{000000A1-2993-41DE-A2CB-63102DE87051}"/>
              </c:ext>
            </c:extLst>
          </c:dPt>
          <c:dPt>
            <c:idx val="53"/>
            <c:invertIfNegative val="1"/>
            <c:bubble3D val="0"/>
            <c:spPr>
              <a:solidFill>
                <a:srgbClr val="AEABAB"/>
              </a:solidFill>
            </c:spPr>
            <c:extLst>
              <c:ext xmlns:c16="http://schemas.microsoft.com/office/drawing/2014/chart" uri="{C3380CC4-5D6E-409C-BE32-E72D297353CC}">
                <c16:uniqueId val="{000000A3-2993-41DE-A2CB-63102DE87051}"/>
              </c:ext>
            </c:extLst>
          </c:dPt>
          <c:dPt>
            <c:idx val="54"/>
            <c:invertIfNegative val="0"/>
            <c:bubble3D val="0"/>
            <c:spPr>
              <a:solidFill>
                <a:srgbClr val="AEABAB"/>
              </a:solidFill>
            </c:spPr>
            <c:extLst>
              <c:ext xmlns:c16="http://schemas.microsoft.com/office/drawing/2014/chart" uri="{C3380CC4-5D6E-409C-BE32-E72D297353CC}">
                <c16:uniqueId val="{00000072-C76F-4230-900D-40618C09729F}"/>
              </c:ext>
            </c:extLst>
          </c:dPt>
          <c:dPt>
            <c:idx val="55"/>
            <c:invertIfNegative val="0"/>
            <c:bubble3D val="0"/>
            <c:spPr>
              <a:solidFill>
                <a:srgbClr val="AEABAB"/>
              </a:solidFill>
            </c:spPr>
            <c:extLst>
              <c:ext xmlns:c16="http://schemas.microsoft.com/office/drawing/2014/chart" uri="{C3380CC4-5D6E-409C-BE32-E72D297353CC}">
                <c16:uniqueId val="{00000074-C76F-4230-900D-40618C09729F}"/>
              </c:ext>
            </c:extLst>
          </c:dPt>
          <c:dPt>
            <c:idx val="56"/>
            <c:invertIfNegative val="0"/>
            <c:bubble3D val="0"/>
            <c:spPr>
              <a:solidFill>
                <a:srgbClr val="AEABAB"/>
              </a:solidFill>
            </c:spPr>
            <c:extLst>
              <c:ext xmlns:c16="http://schemas.microsoft.com/office/drawing/2014/chart" uri="{C3380CC4-5D6E-409C-BE32-E72D297353CC}">
                <c16:uniqueId val="{00000076-C76F-4230-900D-40618C09729F}"/>
              </c:ext>
            </c:extLst>
          </c:dPt>
          <c:dPt>
            <c:idx val="57"/>
            <c:invertIfNegative val="0"/>
            <c:bubble3D val="0"/>
            <c:spPr>
              <a:solidFill>
                <a:srgbClr val="AEABAB"/>
              </a:solidFill>
            </c:spPr>
            <c:extLst>
              <c:ext xmlns:c16="http://schemas.microsoft.com/office/drawing/2014/chart" uri="{C3380CC4-5D6E-409C-BE32-E72D297353CC}">
                <c16:uniqueId val="{00000078-C76F-4230-900D-40618C09729F}"/>
              </c:ext>
            </c:extLst>
          </c:dPt>
          <c:dPt>
            <c:idx val="58"/>
            <c:invertIfNegative val="0"/>
            <c:bubble3D val="0"/>
            <c:spPr>
              <a:solidFill>
                <a:srgbClr val="AEABAB"/>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60</c:f>
              <c:strCache>
                <c:ptCount val="59"/>
                <c:pt idx="0">
                  <c:v>Ruinart</c:v>
                </c:pt>
                <c:pt idx="1">
                  <c:v>Deutz</c:v>
                </c:pt>
                <c:pt idx="2">
                  <c:v>Laurent Per</c:v>
                </c:pt>
                <c:pt idx="3">
                  <c:v>Demoiselle</c:v>
                </c:pt>
                <c:pt idx="4">
                  <c:v>Ruinart</c:v>
                </c:pt>
                <c:pt idx="5">
                  <c:v>Dom Perigno</c:v>
                </c:pt>
                <c:pt idx="6">
                  <c:v>Roederer</c:v>
                </c:pt>
                <c:pt idx="7">
                  <c:v>Nicolas Feu</c:v>
                </c:pt>
                <c:pt idx="8">
                  <c:v>Nicolas</c:v>
                </c:pt>
                <c:pt idx="9">
                  <c:v>Besserat De</c:v>
                </c:pt>
                <c:pt idx="10">
                  <c:v>Pommery</c:v>
                </c:pt>
                <c:pt idx="11">
                  <c:v>Malard</c:v>
                </c:pt>
                <c:pt idx="12">
                  <c:v>Bollinger</c:v>
                </c:pt>
                <c:pt idx="13">
                  <c:v>Ruinart</c:v>
                </c:pt>
                <c:pt idx="14">
                  <c:v>Ruinart</c:v>
                </c:pt>
                <c:pt idx="15">
                  <c:v>Perrier Jou</c:v>
                </c:pt>
                <c:pt idx="16">
                  <c:v>Veuve Clicq</c:v>
                </c:pt>
                <c:pt idx="17">
                  <c:v>Deutz</c:v>
                </c:pt>
                <c:pt idx="18">
                  <c:v>Nicolas</c:v>
                </c:pt>
                <c:pt idx="19">
                  <c:v>Nicolas</c:v>
                </c:pt>
                <c:pt idx="20">
                  <c:v>Besserat De</c:v>
                </c:pt>
                <c:pt idx="21">
                  <c:v>Deutz</c:v>
                </c:pt>
                <c:pt idx="22">
                  <c:v>All Others</c:v>
                </c:pt>
                <c:pt idx="23">
                  <c:v>Nicolas</c:v>
                </c:pt>
                <c:pt idx="24">
                  <c:v>Krug</c:v>
                </c:pt>
                <c:pt idx="25">
                  <c:v>Moët &amp; Chan</c:v>
                </c:pt>
                <c:pt idx="26">
                  <c:v>Roederer</c:v>
                </c:pt>
                <c:pt idx="27">
                  <c:v>Dom Perigno</c:v>
                </c:pt>
                <c:pt idx="28">
                  <c:v>Demoiselle</c:v>
                </c:pt>
                <c:pt idx="29">
                  <c:v>Moët &amp; Chan</c:v>
                </c:pt>
                <c:pt idx="30">
                  <c:v>Perrier Jou</c:v>
                </c:pt>
                <c:pt idx="31">
                  <c:v>Deutz</c:v>
                </c:pt>
                <c:pt idx="32">
                  <c:v>Ruinart</c:v>
                </c:pt>
                <c:pt idx="33">
                  <c:v>Ruinart</c:v>
                </c:pt>
                <c:pt idx="34">
                  <c:v>All Others</c:v>
                </c:pt>
                <c:pt idx="35">
                  <c:v>Veuve Clicq</c:v>
                </c:pt>
                <c:pt idx="36">
                  <c:v>Dom Perigno</c:v>
                </c:pt>
                <c:pt idx="37">
                  <c:v>Nicolas</c:v>
                </c:pt>
                <c:pt idx="38">
                  <c:v>Henriot</c:v>
                </c:pt>
                <c:pt idx="39">
                  <c:v>Dom Perigno</c:v>
                </c:pt>
                <c:pt idx="40">
                  <c:v>Moët &amp; Chan</c:v>
                </c:pt>
                <c:pt idx="41">
                  <c:v>Ayala</c:v>
                </c:pt>
                <c:pt idx="42">
                  <c:v>Ruinart</c:v>
                </c:pt>
                <c:pt idx="43">
                  <c:v>Deutz</c:v>
                </c:pt>
                <c:pt idx="44">
                  <c:v>Taittinger</c:v>
                </c:pt>
                <c:pt idx="45">
                  <c:v>Roederer</c:v>
                </c:pt>
                <c:pt idx="46">
                  <c:v>Piper Heids</c:v>
                </c:pt>
                <c:pt idx="47">
                  <c:v>Roederer</c:v>
                </c:pt>
                <c:pt idx="48">
                  <c:v>Dom Perigno</c:v>
                </c:pt>
                <c:pt idx="49">
                  <c:v>De Bligny</c:v>
                </c:pt>
                <c:pt idx="50">
                  <c:v>Demoiselle</c:v>
                </c:pt>
                <c:pt idx="51">
                  <c:v>Taittinger</c:v>
                </c:pt>
                <c:pt idx="52">
                  <c:v>All Others</c:v>
                </c:pt>
                <c:pt idx="53">
                  <c:v>Laurent Per</c:v>
                </c:pt>
                <c:pt idx="54">
                  <c:v>All Others</c:v>
                </c:pt>
                <c:pt idx="55">
                  <c:v>Bollinger</c:v>
                </c:pt>
                <c:pt idx="56">
                  <c:v>All Others</c:v>
                </c:pt>
                <c:pt idx="57">
                  <c:v>Moët &amp; Chan</c:v>
                </c:pt>
                <c:pt idx="58">
                  <c:v>Henriot</c:v>
                </c:pt>
              </c:strCache>
            </c:strRef>
          </c:cat>
          <c:val>
            <c:numRef>
              <c:f>Sheet1!$C$2:$C$60</c:f>
              <c:numCache>
                <c:formatCode>General</c:formatCode>
                <c:ptCount val="59"/>
                <c:pt idx="0">
                  <c:v>0.13179238360214462</c:v>
                </c:pt>
                <c:pt idx="1">
                  <c:v>0.23667635997362779</c:v>
                </c:pt>
                <c:pt idx="2">
                  <c:v>0.33392477807516335</c:v>
                </c:pt>
                <c:pt idx="3">
                  <c:v>0.41211723246439519</c:v>
                </c:pt>
                <c:pt idx="4">
                  <c:v>0.48647228159954864</c:v>
                </c:pt>
                <c:pt idx="5">
                  <c:v>0.55082998525047255</c:v>
                </c:pt>
                <c:pt idx="6">
                  <c:v>0.6081309348219911</c:v>
                </c:pt>
                <c:pt idx="7">
                  <c:v>0.65831724989505014</c:v>
                </c:pt>
                <c:pt idx="8">
                  <c:v>0.70692881839453026</c:v>
                </c:pt>
                <c:pt idx="9">
                  <c:v>0.73946027507170187</c:v>
                </c:pt>
                <c:pt idx="10">
                  <c:v>0.77055669653163228</c:v>
                </c:pt>
                <c:pt idx="11">
                  <c:v>0.80104570623757976</c:v>
                </c:pt>
                <c:pt idx="12">
                  <c:v>0.82773523234331203</c:v>
                </c:pt>
                <c:pt idx="13">
                  <c:v>0.85422517079713312</c:v>
                </c:pt>
                <c:pt idx="14">
                  <c:v>0.87512865087396108</c:v>
                </c:pt>
                <c:pt idx="15">
                  <c:v>0.89515793703541813</c:v>
                </c:pt>
                <c:pt idx="16">
                  <c:v>0.91477873380263042</c:v>
                </c:pt>
                <c:pt idx="17">
                  <c:v>0.93409016970938041</c:v>
                </c:pt>
                <c:pt idx="18">
                  <c:v>0.94426913995684914</c:v>
                </c:pt>
                <c:pt idx="19">
                  <c:v>0.95336368396226723</c:v>
                </c:pt>
                <c:pt idx="20">
                  <c:v>0.96127533848402524</c:v>
                </c:pt>
                <c:pt idx="21">
                  <c:v>0.96549395615325395</c:v>
                </c:pt>
                <c:pt idx="22">
                  <c:v>0.96908653388765464</c:v>
                </c:pt>
                <c:pt idx="23">
                  <c:v>0.97260060714563701</c:v>
                </c:pt>
                <c:pt idx="24">
                  <c:v>0.97567425698506871</c:v>
                </c:pt>
                <c:pt idx="25">
                  <c:v>0.97775928265536716</c:v>
                </c:pt>
                <c:pt idx="26">
                  <c:v>0.97967532411371416</c:v>
                </c:pt>
                <c:pt idx="27">
                  <c:v>0.98136516623322856</c:v>
                </c:pt>
                <c:pt idx="28">
                  <c:v>0.98303638017189798</c:v>
                </c:pt>
                <c:pt idx="29">
                  <c:v>0.9846171143750343</c:v>
                </c:pt>
                <c:pt idx="30">
                  <c:v>0.9860009220949516</c:v>
                </c:pt>
                <c:pt idx="31">
                  <c:v>0.98720909268118706</c:v>
                </c:pt>
                <c:pt idx="32">
                  <c:v>0.98824694847112504</c:v>
                </c:pt>
                <c:pt idx="33">
                  <c:v>0.98917236988381974</c:v>
                </c:pt>
                <c:pt idx="34">
                  <c:v>0.99009513012782224</c:v>
                </c:pt>
                <c:pt idx="35">
                  <c:v>0.99099527043794156</c:v>
                </c:pt>
                <c:pt idx="36">
                  <c:v>0.99184019149769875</c:v>
                </c:pt>
                <c:pt idx="37">
                  <c:v>0.99268378197310991</c:v>
                </c:pt>
                <c:pt idx="38">
                  <c:v>0.99347880611988937</c:v>
                </c:pt>
                <c:pt idx="39">
                  <c:v>0.99421861101630671</c:v>
                </c:pt>
                <c:pt idx="40">
                  <c:v>0.99483001452332787</c:v>
                </c:pt>
                <c:pt idx="41">
                  <c:v>0.99540416166865897</c:v>
                </c:pt>
                <c:pt idx="42">
                  <c:v>0.99594238303664606</c:v>
                </c:pt>
                <c:pt idx="43">
                  <c:v>0.99644800508815434</c:v>
                </c:pt>
                <c:pt idx="44">
                  <c:v>0.99689308555191625</c:v>
                </c:pt>
                <c:pt idx="45">
                  <c:v>0.99730423611485319</c:v>
                </c:pt>
                <c:pt idx="46">
                  <c:v>0.99770208083432943</c:v>
                </c:pt>
                <c:pt idx="47">
                  <c:v>0.99809992555380567</c:v>
                </c:pt>
                <c:pt idx="48">
                  <c:v>0.99835273657955981</c:v>
                </c:pt>
                <c:pt idx="49">
                  <c:v>0.99859955997575656</c:v>
                </c:pt>
                <c:pt idx="50">
                  <c:v>0.99884571807978029</c:v>
                </c:pt>
                <c:pt idx="51">
                  <c:v>0.99906859095774769</c:v>
                </c:pt>
                <c:pt idx="52">
                  <c:v>0.9992914638357151</c:v>
                </c:pt>
                <c:pt idx="53">
                  <c:v>0.99949038619545316</c:v>
                </c:pt>
                <c:pt idx="54">
                  <c:v>0.99966668862130803</c:v>
                </c:pt>
                <c:pt idx="55">
                  <c:v>0.99983367695674041</c:v>
                </c:pt>
                <c:pt idx="56">
                  <c:v>0.99990020617404418</c:v>
                </c:pt>
                <c:pt idx="57">
                  <c:v>0.99995209896354109</c:v>
                </c:pt>
                <c:pt idx="58">
                  <c:v>0.99999999999999978</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32</c:f>
              <c:strCache>
                <c:ptCount val="31"/>
                <c:pt idx="0">
                  <c:v>Ruinart</c:v>
                </c:pt>
                <c:pt idx="1">
                  <c:v>Deutz</c:v>
                </c:pt>
                <c:pt idx="2">
                  <c:v>Demoiselle</c:v>
                </c:pt>
                <c:pt idx="3">
                  <c:v>Laurent Per</c:v>
                </c:pt>
                <c:pt idx="4">
                  <c:v>Ruinart</c:v>
                </c:pt>
                <c:pt idx="5">
                  <c:v>Nicolas</c:v>
                </c:pt>
                <c:pt idx="6">
                  <c:v>Nicolas Feu</c:v>
                </c:pt>
                <c:pt idx="7">
                  <c:v>Malard</c:v>
                </c:pt>
                <c:pt idx="8">
                  <c:v>Besserat De</c:v>
                </c:pt>
                <c:pt idx="9">
                  <c:v>Pommery</c:v>
                </c:pt>
                <c:pt idx="10">
                  <c:v>Ruinart</c:v>
                </c:pt>
                <c:pt idx="11">
                  <c:v>Deutz</c:v>
                </c:pt>
                <c:pt idx="12">
                  <c:v>Ruinart</c:v>
                </c:pt>
                <c:pt idx="13">
                  <c:v>Bollinger</c:v>
                </c:pt>
                <c:pt idx="14">
                  <c:v>Nicolas</c:v>
                </c:pt>
                <c:pt idx="15">
                  <c:v>Nicolas</c:v>
                </c:pt>
                <c:pt idx="16">
                  <c:v>Besserat De</c:v>
                </c:pt>
                <c:pt idx="17">
                  <c:v>Nicolas</c:v>
                </c:pt>
                <c:pt idx="18">
                  <c:v>Demoiselle</c:v>
                </c:pt>
                <c:pt idx="19">
                  <c:v>Deutz</c:v>
                </c:pt>
                <c:pt idx="20">
                  <c:v>Roederer</c:v>
                </c:pt>
                <c:pt idx="21">
                  <c:v>Nicolas</c:v>
                </c:pt>
                <c:pt idx="22">
                  <c:v>Henriot</c:v>
                </c:pt>
                <c:pt idx="23">
                  <c:v>Dom Perigno</c:v>
                </c:pt>
                <c:pt idx="24">
                  <c:v>Laurent Per</c:v>
                </c:pt>
                <c:pt idx="25">
                  <c:v>Ruinart</c:v>
                </c:pt>
                <c:pt idx="26">
                  <c:v>Perrier Jou</c:v>
                </c:pt>
                <c:pt idx="27">
                  <c:v>Ruinart</c:v>
                </c:pt>
                <c:pt idx="28">
                  <c:v>Demoiselle</c:v>
                </c:pt>
                <c:pt idx="29">
                  <c:v>Bollinger</c:v>
                </c:pt>
                <c:pt idx="30">
                  <c:v>Ruinart</c:v>
                </c:pt>
              </c:strCache>
            </c:strRef>
          </c:cat>
          <c:val>
            <c:numRef>
              <c:f>Sheet1!$B$2:$B$32</c:f>
              <c:numCache>
                <c:formatCode>General</c:formatCode>
                <c:ptCount val="31"/>
                <c:pt idx="0">
                  <c:v>0.81</c:v>
                </c:pt>
                <c:pt idx="1">
                  <c:v>0.77</c:v>
                </c:pt>
                <c:pt idx="2">
                  <c:v>0.86</c:v>
                </c:pt>
                <c:pt idx="3">
                  <c:v>0.76</c:v>
                </c:pt>
                <c:pt idx="4">
                  <c:v>0.59</c:v>
                </c:pt>
                <c:pt idx="5">
                  <c:v>0.75</c:v>
                </c:pt>
                <c:pt idx="6">
                  <c:v>0.64</c:v>
                </c:pt>
                <c:pt idx="7">
                  <c:v>0.51</c:v>
                </c:pt>
                <c:pt idx="8">
                  <c:v>0.45</c:v>
                </c:pt>
                <c:pt idx="9">
                  <c:v>0.5</c:v>
                </c:pt>
                <c:pt idx="10">
                  <c:v>0.27</c:v>
                </c:pt>
                <c:pt idx="11">
                  <c:v>0.56999999999999995</c:v>
                </c:pt>
                <c:pt idx="12">
                  <c:v>0.28000000000000003</c:v>
                </c:pt>
                <c:pt idx="13">
                  <c:v>0.18</c:v>
                </c:pt>
                <c:pt idx="14">
                  <c:v>0.32</c:v>
                </c:pt>
                <c:pt idx="15">
                  <c:v>0.32</c:v>
                </c:pt>
                <c:pt idx="16">
                  <c:v>0.24</c:v>
                </c:pt>
                <c:pt idx="17">
                  <c:v>0.16</c:v>
                </c:pt>
                <c:pt idx="18">
                  <c:v>0.17</c:v>
                </c:pt>
                <c:pt idx="19">
                  <c:v>0.05</c:v>
                </c:pt>
                <c:pt idx="20">
                  <c:v>0.03</c:v>
                </c:pt>
                <c:pt idx="21">
                  <c:v>0.04</c:v>
                </c:pt>
                <c:pt idx="22">
                  <c:v>0.04</c:v>
                </c:pt>
                <c:pt idx="23">
                  <c:v>0.04</c:v>
                </c:pt>
                <c:pt idx="24">
                  <c:v>0.03</c:v>
                </c:pt>
                <c:pt idx="25">
                  <c:v>0.04</c:v>
                </c:pt>
                <c:pt idx="26">
                  <c:v>0.02</c:v>
                </c:pt>
                <c:pt idx="27">
                  <c:v>0.03</c:v>
                </c:pt>
                <c:pt idx="28">
                  <c:v>0.01</c:v>
                </c:pt>
                <c:pt idx="29">
                  <c:v>0.03</c:v>
                </c:pt>
                <c:pt idx="30">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7ECAC4"/>
              </a:solidFill>
            </c:spPr>
            <c:extLst>
              <c:ext xmlns:c16="http://schemas.microsoft.com/office/drawing/2014/chart" uri="{C3380CC4-5D6E-409C-BE32-E72D297353CC}">
                <c16:uniqueId val="{0000004B-2993-41DE-A2CB-63102DE87051}"/>
              </c:ext>
            </c:extLst>
          </c:dPt>
          <c:dPt>
            <c:idx val="10"/>
            <c:invertIfNegative val="1"/>
            <c:bubble3D val="0"/>
            <c:spPr>
              <a:solidFill>
                <a:srgbClr val="7ECAC4"/>
              </a:solidFill>
            </c:spPr>
            <c:extLst>
              <c:ext xmlns:c16="http://schemas.microsoft.com/office/drawing/2014/chart" uri="{C3380CC4-5D6E-409C-BE32-E72D297353CC}">
                <c16:uniqueId val="{0000004D-2993-41DE-A2CB-63102DE87051}"/>
              </c:ext>
            </c:extLst>
          </c:dPt>
          <c:dPt>
            <c:idx val="11"/>
            <c:invertIfNegative val="1"/>
            <c:bubble3D val="0"/>
            <c:spPr>
              <a:solidFill>
                <a:srgbClr val="7ECAC4"/>
              </a:solidFill>
            </c:spPr>
            <c:extLst>
              <c:ext xmlns:c16="http://schemas.microsoft.com/office/drawing/2014/chart" uri="{C3380CC4-5D6E-409C-BE32-E72D297353CC}">
                <c16:uniqueId val="{0000004F-2993-41DE-A2CB-63102DE87051}"/>
              </c:ext>
            </c:extLst>
          </c:dPt>
          <c:dPt>
            <c:idx val="12"/>
            <c:invertIfNegative val="1"/>
            <c:bubble3D val="0"/>
            <c:spPr>
              <a:solidFill>
                <a:srgbClr val="7ECAC4"/>
              </a:solidFill>
            </c:spPr>
            <c:extLst>
              <c:ext xmlns:c16="http://schemas.microsoft.com/office/drawing/2014/chart" uri="{C3380CC4-5D6E-409C-BE32-E72D297353CC}">
                <c16:uniqueId val="{00000051-2993-41DE-A2CB-63102DE87051}"/>
              </c:ext>
            </c:extLst>
          </c:dPt>
          <c:dPt>
            <c:idx val="13"/>
            <c:invertIfNegative val="1"/>
            <c:bubble3D val="0"/>
            <c:spPr>
              <a:solidFill>
                <a:srgbClr val="7ECAC4"/>
              </a:solidFill>
            </c:spPr>
            <c:extLst>
              <c:ext xmlns:c16="http://schemas.microsoft.com/office/drawing/2014/chart" uri="{C3380CC4-5D6E-409C-BE32-E72D297353CC}">
                <c16:uniqueId val="{00000053-2993-41DE-A2CB-63102DE87051}"/>
              </c:ext>
            </c:extLst>
          </c:dPt>
          <c:dPt>
            <c:idx val="14"/>
            <c:invertIfNegative val="1"/>
            <c:bubble3D val="0"/>
            <c:spPr>
              <a:solidFill>
                <a:srgbClr val="AEABAB"/>
              </a:solidFill>
            </c:spPr>
            <c:extLst>
              <c:ext xmlns:c16="http://schemas.microsoft.com/office/drawing/2014/chart" uri="{C3380CC4-5D6E-409C-BE32-E72D297353CC}">
                <c16:uniqueId val="{00000055-2993-41DE-A2CB-63102DE87051}"/>
              </c:ext>
            </c:extLst>
          </c:dPt>
          <c:dPt>
            <c:idx val="15"/>
            <c:invertIfNegative val="1"/>
            <c:bubble3D val="0"/>
            <c:spPr>
              <a:solidFill>
                <a:srgbClr val="AEABAB"/>
              </a:solidFill>
            </c:spPr>
            <c:extLst>
              <c:ext xmlns:c16="http://schemas.microsoft.com/office/drawing/2014/chart" uri="{C3380CC4-5D6E-409C-BE32-E72D297353CC}">
                <c16:uniqueId val="{00000057-2993-41DE-A2CB-63102DE87051}"/>
              </c:ext>
            </c:extLst>
          </c:dPt>
          <c:dPt>
            <c:idx val="16"/>
            <c:invertIfNegative val="1"/>
            <c:bubble3D val="0"/>
            <c:spPr>
              <a:solidFill>
                <a:srgbClr val="AEABAB"/>
              </a:solidFill>
            </c:spPr>
            <c:extLst>
              <c:ext xmlns:c16="http://schemas.microsoft.com/office/drawing/2014/chart" uri="{C3380CC4-5D6E-409C-BE32-E72D297353CC}">
                <c16:uniqueId val="{00000059-2993-41DE-A2CB-63102DE87051}"/>
              </c:ext>
            </c:extLst>
          </c:dPt>
          <c:dPt>
            <c:idx val="17"/>
            <c:invertIfNegative val="1"/>
            <c:bubble3D val="0"/>
            <c:spPr>
              <a:solidFill>
                <a:srgbClr val="AEABAB"/>
              </a:solidFill>
            </c:spPr>
            <c:extLst>
              <c:ext xmlns:c16="http://schemas.microsoft.com/office/drawing/2014/chart" uri="{C3380CC4-5D6E-409C-BE32-E72D297353CC}">
                <c16:uniqueId val="{0000005B-2993-41DE-A2CB-63102DE87051}"/>
              </c:ext>
            </c:extLst>
          </c:dPt>
          <c:dPt>
            <c:idx val="18"/>
            <c:invertIfNegative val="1"/>
            <c:bubble3D val="0"/>
            <c:spPr>
              <a:solidFill>
                <a:srgbClr val="AEABAB"/>
              </a:solidFill>
            </c:spPr>
            <c:extLst>
              <c:ext xmlns:c16="http://schemas.microsoft.com/office/drawing/2014/chart" uri="{C3380CC4-5D6E-409C-BE32-E72D297353CC}">
                <c16:uniqueId val="{0000005D-2993-41DE-A2CB-63102DE87051}"/>
              </c:ext>
            </c:extLst>
          </c:dPt>
          <c:dPt>
            <c:idx val="19"/>
            <c:invertIfNegative val="1"/>
            <c:bubble3D val="0"/>
            <c:spPr>
              <a:solidFill>
                <a:srgbClr val="AEABAB"/>
              </a:solidFill>
            </c:spPr>
            <c:extLst>
              <c:ext xmlns:c16="http://schemas.microsoft.com/office/drawing/2014/chart" uri="{C3380CC4-5D6E-409C-BE32-E72D297353CC}">
                <c16:uniqueId val="{0000005F-2993-41DE-A2CB-63102DE87051}"/>
              </c:ext>
            </c:extLst>
          </c:dPt>
          <c:dPt>
            <c:idx val="20"/>
            <c:invertIfNegative val="1"/>
            <c:bubble3D val="0"/>
            <c:spPr>
              <a:solidFill>
                <a:srgbClr val="AEABAB"/>
              </a:solidFill>
            </c:spPr>
            <c:extLst>
              <c:ext xmlns:c16="http://schemas.microsoft.com/office/drawing/2014/chart" uri="{C3380CC4-5D6E-409C-BE32-E72D297353CC}">
                <c16:uniqueId val="{00000061-2993-41DE-A2CB-63102DE87051}"/>
              </c:ext>
            </c:extLst>
          </c:dPt>
          <c:dPt>
            <c:idx val="21"/>
            <c:invertIfNegative val="1"/>
            <c:bubble3D val="0"/>
            <c:spPr>
              <a:solidFill>
                <a:srgbClr val="AEABAB"/>
              </a:solidFill>
            </c:spPr>
            <c:extLst>
              <c:ext xmlns:c16="http://schemas.microsoft.com/office/drawing/2014/chart" uri="{C3380CC4-5D6E-409C-BE32-E72D297353CC}">
                <c16:uniqueId val="{00000063-2993-41DE-A2CB-63102DE87051}"/>
              </c:ext>
            </c:extLst>
          </c:dPt>
          <c:dPt>
            <c:idx val="22"/>
            <c:invertIfNegative val="1"/>
            <c:bubble3D val="0"/>
            <c:spPr>
              <a:solidFill>
                <a:srgbClr val="AEABAB"/>
              </a:solidFill>
            </c:spPr>
            <c:extLst>
              <c:ext xmlns:c16="http://schemas.microsoft.com/office/drawing/2014/chart" uri="{C3380CC4-5D6E-409C-BE32-E72D297353CC}">
                <c16:uniqueId val="{00000065-2993-41DE-A2CB-63102DE87051}"/>
              </c:ext>
            </c:extLst>
          </c:dPt>
          <c:dPt>
            <c:idx val="23"/>
            <c:invertIfNegative val="1"/>
            <c:bubble3D val="0"/>
            <c:spPr>
              <a:solidFill>
                <a:srgbClr val="AEABAB"/>
              </a:solidFill>
            </c:spPr>
            <c:extLst>
              <c:ext xmlns:c16="http://schemas.microsoft.com/office/drawing/2014/chart" uri="{C3380CC4-5D6E-409C-BE32-E72D297353CC}">
                <c16:uniqueId val="{00000067-2993-41DE-A2CB-63102DE87051}"/>
              </c:ext>
            </c:extLst>
          </c:dPt>
          <c:dPt>
            <c:idx val="24"/>
            <c:invertIfNegative val="1"/>
            <c:bubble3D val="0"/>
            <c:spPr>
              <a:solidFill>
                <a:srgbClr val="AEABAB"/>
              </a:solidFill>
            </c:spPr>
            <c:extLst>
              <c:ext xmlns:c16="http://schemas.microsoft.com/office/drawing/2014/chart" uri="{C3380CC4-5D6E-409C-BE32-E72D297353CC}">
                <c16:uniqueId val="{00000069-2993-41DE-A2CB-63102DE87051}"/>
              </c:ext>
            </c:extLst>
          </c:dPt>
          <c:dPt>
            <c:idx val="25"/>
            <c:invertIfNegative val="1"/>
            <c:bubble3D val="0"/>
            <c:spPr>
              <a:solidFill>
                <a:srgbClr val="AEABAB"/>
              </a:solidFill>
            </c:spPr>
            <c:extLst>
              <c:ext xmlns:c16="http://schemas.microsoft.com/office/drawing/2014/chart" uri="{C3380CC4-5D6E-409C-BE32-E72D297353CC}">
                <c16:uniqueId val="{0000006B-2993-41DE-A2CB-63102DE87051}"/>
              </c:ext>
            </c:extLst>
          </c:dPt>
          <c:dPt>
            <c:idx val="26"/>
            <c:invertIfNegative val="1"/>
            <c:bubble3D val="0"/>
            <c:spPr>
              <a:solidFill>
                <a:srgbClr val="AEABAB"/>
              </a:solidFill>
            </c:spPr>
            <c:extLst>
              <c:ext xmlns:c16="http://schemas.microsoft.com/office/drawing/2014/chart" uri="{C3380CC4-5D6E-409C-BE32-E72D297353CC}">
                <c16:uniqueId val="{0000006D-2993-41DE-A2CB-63102DE87051}"/>
              </c:ext>
            </c:extLst>
          </c:dPt>
          <c:dPt>
            <c:idx val="27"/>
            <c:invertIfNegative val="1"/>
            <c:bubble3D val="0"/>
            <c:spPr>
              <a:solidFill>
                <a:srgbClr val="AEABAB"/>
              </a:solidFill>
            </c:spPr>
            <c:extLst>
              <c:ext xmlns:c16="http://schemas.microsoft.com/office/drawing/2014/chart" uri="{C3380CC4-5D6E-409C-BE32-E72D297353CC}">
                <c16:uniqueId val="{0000006F-2993-41DE-A2CB-63102DE87051}"/>
              </c:ext>
            </c:extLst>
          </c:dPt>
          <c:dPt>
            <c:idx val="28"/>
            <c:invertIfNegative val="1"/>
            <c:bubble3D val="0"/>
            <c:spPr>
              <a:solidFill>
                <a:srgbClr val="AEABAB"/>
              </a:solidFill>
            </c:spPr>
            <c:extLst>
              <c:ext xmlns:c16="http://schemas.microsoft.com/office/drawing/2014/chart" uri="{C3380CC4-5D6E-409C-BE32-E72D297353CC}">
                <c16:uniqueId val="{00000071-2993-41DE-A2CB-63102DE87051}"/>
              </c:ext>
            </c:extLst>
          </c:dPt>
          <c:dPt>
            <c:idx val="29"/>
            <c:invertIfNegative val="1"/>
            <c:bubble3D val="0"/>
            <c:spPr>
              <a:solidFill>
                <a:srgbClr val="AEABAB"/>
              </a:solidFill>
            </c:spPr>
            <c:extLst>
              <c:ext xmlns:c16="http://schemas.microsoft.com/office/drawing/2014/chart" uri="{C3380CC4-5D6E-409C-BE32-E72D297353CC}">
                <c16:uniqueId val="{00000073-2993-41DE-A2CB-63102DE87051}"/>
              </c:ext>
            </c:extLst>
          </c:dPt>
          <c:dPt>
            <c:idx val="30"/>
            <c:invertIfNegative val="1"/>
            <c:bubble3D val="0"/>
            <c:spPr>
              <a:solidFill>
                <a:srgbClr val="AEABAB"/>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32</c:f>
              <c:strCache>
                <c:ptCount val="31"/>
                <c:pt idx="0">
                  <c:v>Ruinart</c:v>
                </c:pt>
                <c:pt idx="1">
                  <c:v>Deutz</c:v>
                </c:pt>
                <c:pt idx="2">
                  <c:v>Demoiselle</c:v>
                </c:pt>
                <c:pt idx="3">
                  <c:v>Laurent Per</c:v>
                </c:pt>
                <c:pt idx="4">
                  <c:v>Ruinart</c:v>
                </c:pt>
                <c:pt idx="5">
                  <c:v>Nicolas</c:v>
                </c:pt>
                <c:pt idx="6">
                  <c:v>Nicolas Feu</c:v>
                </c:pt>
                <c:pt idx="7">
                  <c:v>Malard</c:v>
                </c:pt>
                <c:pt idx="8">
                  <c:v>Besserat De</c:v>
                </c:pt>
                <c:pt idx="9">
                  <c:v>Pommery</c:v>
                </c:pt>
                <c:pt idx="10">
                  <c:v>Ruinart</c:v>
                </c:pt>
                <c:pt idx="11">
                  <c:v>Deutz</c:v>
                </c:pt>
                <c:pt idx="12">
                  <c:v>Ruinart</c:v>
                </c:pt>
                <c:pt idx="13">
                  <c:v>Bollinger</c:v>
                </c:pt>
                <c:pt idx="14">
                  <c:v>Nicolas</c:v>
                </c:pt>
                <c:pt idx="15">
                  <c:v>Nicolas</c:v>
                </c:pt>
                <c:pt idx="16">
                  <c:v>Besserat De</c:v>
                </c:pt>
                <c:pt idx="17">
                  <c:v>Nicolas</c:v>
                </c:pt>
                <c:pt idx="18">
                  <c:v>Demoiselle</c:v>
                </c:pt>
                <c:pt idx="19">
                  <c:v>Deutz</c:v>
                </c:pt>
                <c:pt idx="20">
                  <c:v>Roederer</c:v>
                </c:pt>
                <c:pt idx="21">
                  <c:v>Nicolas</c:v>
                </c:pt>
                <c:pt idx="22">
                  <c:v>Henriot</c:v>
                </c:pt>
                <c:pt idx="23">
                  <c:v>Dom Perigno</c:v>
                </c:pt>
                <c:pt idx="24">
                  <c:v>Laurent Per</c:v>
                </c:pt>
                <c:pt idx="25">
                  <c:v>Ruinart</c:v>
                </c:pt>
                <c:pt idx="26">
                  <c:v>Perrier Jou</c:v>
                </c:pt>
                <c:pt idx="27">
                  <c:v>Ruinart</c:v>
                </c:pt>
                <c:pt idx="28">
                  <c:v>Demoiselle</c:v>
                </c:pt>
                <c:pt idx="29">
                  <c:v>Bollinger</c:v>
                </c:pt>
                <c:pt idx="30">
                  <c:v>Ruinart</c:v>
                </c:pt>
              </c:strCache>
            </c:strRef>
          </c:cat>
          <c:val>
            <c:numRef>
              <c:f>Sheet1!$C$2:$C$32</c:f>
              <c:numCache>
                <c:formatCode>General</c:formatCode>
                <c:ptCount val="31"/>
                <c:pt idx="0">
                  <c:v>0.17059558785399184</c:v>
                </c:pt>
                <c:pt idx="1">
                  <c:v>0.29209679755520546</c:v>
                </c:pt>
                <c:pt idx="2">
                  <c:v>0.40040126674403509</c:v>
                </c:pt>
                <c:pt idx="3">
                  <c:v>0.50731095848033636</c:v>
                </c:pt>
                <c:pt idx="4">
                  <c:v>0.58260748280221519</c:v>
                </c:pt>
                <c:pt idx="5">
                  <c:v>0.65193328672153983</c:v>
                </c:pt>
                <c:pt idx="6">
                  <c:v>0.71208217027371612</c:v>
                </c:pt>
                <c:pt idx="7">
                  <c:v>0.76144119850723047</c:v>
                </c:pt>
                <c:pt idx="8">
                  <c:v>0.80484202357173895</c:v>
                </c:pt>
                <c:pt idx="9">
                  <c:v>0.83930554388273859</c:v>
                </c:pt>
                <c:pt idx="10">
                  <c:v>0.86814703815431604</c:v>
                </c:pt>
                <c:pt idx="11">
                  <c:v>0.89398082002185153</c:v>
                </c:pt>
                <c:pt idx="12">
                  <c:v>0.9179191350949254</c:v>
                </c:pt>
                <c:pt idx="13">
                  <c:v>0.93801644764488257</c:v>
                </c:pt>
                <c:pt idx="14">
                  <c:v>0.95359146253144966</c:v>
                </c:pt>
                <c:pt idx="15">
                  <c:v>0.96564377026227188</c:v>
                </c:pt>
                <c:pt idx="16">
                  <c:v>0.977177506888949</c:v>
                </c:pt>
                <c:pt idx="17">
                  <c:v>0.98221837565648429</c:v>
                </c:pt>
                <c:pt idx="18">
                  <c:v>0.98628468838347094</c:v>
                </c:pt>
                <c:pt idx="19">
                  <c:v>0.99031523758603379</c:v>
                </c:pt>
                <c:pt idx="20">
                  <c:v>0.99290809310675965</c:v>
                </c:pt>
                <c:pt idx="21">
                  <c:v>0.99428320062085496</c:v>
                </c:pt>
                <c:pt idx="22">
                  <c:v>0.99550273680370671</c:v>
                </c:pt>
                <c:pt idx="23">
                  <c:v>0.99657564253642084</c:v>
                </c:pt>
                <c:pt idx="24">
                  <c:v>0.99760742021604765</c:v>
                </c:pt>
                <c:pt idx="25">
                  <c:v>0.99833878429051448</c:v>
                </c:pt>
                <c:pt idx="26">
                  <c:v>0.99887523715687154</c:v>
                </c:pt>
                <c:pt idx="27">
                  <c:v>0.99935804473659295</c:v>
                </c:pt>
                <c:pt idx="28">
                  <c:v>0.99963342387465626</c:v>
                </c:pt>
                <c:pt idx="29">
                  <c:v>0.99985694590230501</c:v>
                </c:pt>
                <c:pt idx="30">
                  <c:v>1.0000000000000002</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41</c:f>
              <c:strCache>
                <c:ptCount val="40"/>
                <c:pt idx="0">
                  <c:v>Ruinart</c:v>
                </c:pt>
                <c:pt idx="1">
                  <c:v>Deutz</c:v>
                </c:pt>
                <c:pt idx="2">
                  <c:v>Demoiselle</c:v>
                </c:pt>
                <c:pt idx="3">
                  <c:v>Laurent Per</c:v>
                </c:pt>
                <c:pt idx="4">
                  <c:v>Ruinart</c:v>
                </c:pt>
                <c:pt idx="5">
                  <c:v>Nicolas</c:v>
                </c:pt>
                <c:pt idx="6">
                  <c:v>Nicolas Feu</c:v>
                </c:pt>
                <c:pt idx="7">
                  <c:v>Malard</c:v>
                </c:pt>
                <c:pt idx="8">
                  <c:v>Besserat De</c:v>
                </c:pt>
                <c:pt idx="9">
                  <c:v>Pommery</c:v>
                </c:pt>
                <c:pt idx="10">
                  <c:v>Ruinart</c:v>
                </c:pt>
                <c:pt idx="11">
                  <c:v>Ruinart</c:v>
                </c:pt>
                <c:pt idx="12">
                  <c:v>Bollinger</c:v>
                </c:pt>
                <c:pt idx="13">
                  <c:v>Deutz</c:v>
                </c:pt>
                <c:pt idx="14">
                  <c:v>Nicolas</c:v>
                </c:pt>
                <c:pt idx="15">
                  <c:v>Nicolas</c:v>
                </c:pt>
                <c:pt idx="16">
                  <c:v>Besserat De</c:v>
                </c:pt>
                <c:pt idx="17">
                  <c:v>Dom Perigno</c:v>
                </c:pt>
                <c:pt idx="18">
                  <c:v>Demoiselle</c:v>
                </c:pt>
                <c:pt idx="19">
                  <c:v>Nicolas</c:v>
                </c:pt>
                <c:pt idx="20">
                  <c:v>Nicolas</c:v>
                </c:pt>
                <c:pt idx="21">
                  <c:v>Krug</c:v>
                </c:pt>
                <c:pt idx="22">
                  <c:v>Ruinart</c:v>
                </c:pt>
                <c:pt idx="23">
                  <c:v>Deutz</c:v>
                </c:pt>
                <c:pt idx="24">
                  <c:v>Henriot</c:v>
                </c:pt>
                <c:pt idx="25">
                  <c:v>Dom Perigno</c:v>
                </c:pt>
                <c:pt idx="26">
                  <c:v>Laurent Per</c:v>
                </c:pt>
                <c:pt idx="27">
                  <c:v>Laurent Per</c:v>
                </c:pt>
                <c:pt idx="28">
                  <c:v>Laurent Per</c:v>
                </c:pt>
                <c:pt idx="29">
                  <c:v>Bollinger</c:v>
                </c:pt>
                <c:pt idx="30">
                  <c:v>Laurent Per</c:v>
                </c:pt>
                <c:pt idx="31">
                  <c:v>Perrier Jou</c:v>
                </c:pt>
                <c:pt idx="32">
                  <c:v>Bollinger</c:v>
                </c:pt>
                <c:pt idx="33">
                  <c:v>Laurent Per</c:v>
                </c:pt>
                <c:pt idx="34">
                  <c:v>Roederer</c:v>
                </c:pt>
                <c:pt idx="35">
                  <c:v>Ayala</c:v>
                </c:pt>
                <c:pt idx="36">
                  <c:v>Moët &amp; Chan</c:v>
                </c:pt>
                <c:pt idx="37">
                  <c:v>Perrier Jou</c:v>
                </c:pt>
                <c:pt idx="38">
                  <c:v>Demoiselle</c:v>
                </c:pt>
                <c:pt idx="39">
                  <c:v>All Others</c:v>
                </c:pt>
              </c:strCache>
            </c:strRef>
          </c:cat>
          <c:val>
            <c:numRef>
              <c:f>Sheet1!$B$2:$B$41</c:f>
              <c:numCache>
                <c:formatCode>General</c:formatCode>
                <c:ptCount val="40"/>
                <c:pt idx="0">
                  <c:v>0.64</c:v>
                </c:pt>
                <c:pt idx="1">
                  <c:v>0.69</c:v>
                </c:pt>
                <c:pt idx="2">
                  <c:v>0.88</c:v>
                </c:pt>
                <c:pt idx="3">
                  <c:v>0.5</c:v>
                </c:pt>
                <c:pt idx="4">
                  <c:v>0.47</c:v>
                </c:pt>
                <c:pt idx="5">
                  <c:v>0.56000000000000005</c:v>
                </c:pt>
                <c:pt idx="6">
                  <c:v>0.46</c:v>
                </c:pt>
                <c:pt idx="7">
                  <c:v>0.44</c:v>
                </c:pt>
                <c:pt idx="8">
                  <c:v>0.3</c:v>
                </c:pt>
                <c:pt idx="9">
                  <c:v>0.45</c:v>
                </c:pt>
                <c:pt idx="10">
                  <c:v>0.13</c:v>
                </c:pt>
                <c:pt idx="11">
                  <c:v>0.26</c:v>
                </c:pt>
                <c:pt idx="12">
                  <c:v>0.2</c:v>
                </c:pt>
                <c:pt idx="13">
                  <c:v>0.44</c:v>
                </c:pt>
                <c:pt idx="14">
                  <c:v>0.32</c:v>
                </c:pt>
                <c:pt idx="15">
                  <c:v>0.23</c:v>
                </c:pt>
                <c:pt idx="16">
                  <c:v>0.23</c:v>
                </c:pt>
                <c:pt idx="17">
                  <c:v>0.04</c:v>
                </c:pt>
                <c:pt idx="18">
                  <c:v>0.17</c:v>
                </c:pt>
                <c:pt idx="19">
                  <c:v>0.09</c:v>
                </c:pt>
                <c:pt idx="20">
                  <c:v>0.06</c:v>
                </c:pt>
                <c:pt idx="21">
                  <c:v>0.02</c:v>
                </c:pt>
                <c:pt idx="22">
                  <c:v>0.03</c:v>
                </c:pt>
                <c:pt idx="23">
                  <c:v>0.04</c:v>
                </c:pt>
                <c:pt idx="24">
                  <c:v>0.04</c:v>
                </c:pt>
                <c:pt idx="25">
                  <c:v>0.01</c:v>
                </c:pt>
                <c:pt idx="26">
                  <c:v>0.02</c:v>
                </c:pt>
                <c:pt idx="27">
                  <c:v>0.02</c:v>
                </c:pt>
                <c:pt idx="28">
                  <c:v>0.01</c:v>
                </c:pt>
                <c:pt idx="29">
                  <c:v>0.04</c:v>
                </c:pt>
                <c:pt idx="30">
                  <c:v>0.02</c:v>
                </c:pt>
                <c:pt idx="31">
                  <c:v>0.02</c:v>
                </c:pt>
                <c:pt idx="32">
                  <c:v>0.01</c:v>
                </c:pt>
                <c:pt idx="33">
                  <c:v>0.01</c:v>
                </c:pt>
                <c:pt idx="34">
                  <c:v>0.01</c:v>
                </c:pt>
                <c:pt idx="35">
                  <c:v>0.01</c:v>
                </c:pt>
                <c:pt idx="36">
                  <c:v>0.01</c:v>
                </c:pt>
                <c:pt idx="37">
                  <c:v>0.01</c:v>
                </c:pt>
                <c:pt idx="38">
                  <c:v>0.01</c:v>
                </c:pt>
                <c:pt idx="3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7ECAC4"/>
              </a:solidFill>
            </c:spPr>
            <c:extLst>
              <c:ext xmlns:c16="http://schemas.microsoft.com/office/drawing/2014/chart" uri="{C3380CC4-5D6E-409C-BE32-E72D297353CC}">
                <c16:uniqueId val="{0000004D-2993-41DE-A2CB-63102DE87051}"/>
              </c:ext>
            </c:extLst>
          </c:dPt>
          <c:dPt>
            <c:idx val="11"/>
            <c:invertIfNegative val="1"/>
            <c:bubble3D val="0"/>
            <c:spPr>
              <a:solidFill>
                <a:srgbClr val="7ECAC4"/>
              </a:solidFill>
            </c:spPr>
            <c:extLst>
              <c:ext xmlns:c16="http://schemas.microsoft.com/office/drawing/2014/chart" uri="{C3380CC4-5D6E-409C-BE32-E72D297353CC}">
                <c16:uniqueId val="{0000004F-2993-41DE-A2CB-63102DE87051}"/>
              </c:ext>
            </c:extLst>
          </c:dPt>
          <c:dPt>
            <c:idx val="12"/>
            <c:invertIfNegative val="1"/>
            <c:bubble3D val="0"/>
            <c:spPr>
              <a:solidFill>
                <a:srgbClr val="7ECAC4"/>
              </a:solidFill>
            </c:spPr>
            <c:extLst>
              <c:ext xmlns:c16="http://schemas.microsoft.com/office/drawing/2014/chart" uri="{C3380CC4-5D6E-409C-BE32-E72D297353CC}">
                <c16:uniqueId val="{00000051-2993-41DE-A2CB-63102DE87051}"/>
              </c:ext>
            </c:extLst>
          </c:dPt>
          <c:dPt>
            <c:idx val="13"/>
            <c:invertIfNegative val="1"/>
            <c:bubble3D val="0"/>
            <c:spPr>
              <a:solidFill>
                <a:srgbClr val="7ECAC4"/>
              </a:solidFill>
            </c:spPr>
            <c:extLst>
              <c:ext xmlns:c16="http://schemas.microsoft.com/office/drawing/2014/chart" uri="{C3380CC4-5D6E-409C-BE32-E72D297353CC}">
                <c16:uniqueId val="{00000053-2993-41DE-A2CB-63102DE87051}"/>
              </c:ext>
            </c:extLst>
          </c:dPt>
          <c:dPt>
            <c:idx val="14"/>
            <c:invertIfNegative val="1"/>
            <c:bubble3D val="0"/>
            <c:spPr>
              <a:solidFill>
                <a:srgbClr val="7ECAC4"/>
              </a:solidFill>
            </c:spPr>
            <c:extLst>
              <c:ext xmlns:c16="http://schemas.microsoft.com/office/drawing/2014/chart" uri="{C3380CC4-5D6E-409C-BE32-E72D297353CC}">
                <c16:uniqueId val="{00000055-2993-41DE-A2CB-63102DE87051}"/>
              </c:ext>
            </c:extLst>
          </c:dPt>
          <c:dPt>
            <c:idx val="15"/>
            <c:invertIfNegative val="1"/>
            <c:bubble3D val="0"/>
            <c:spPr>
              <a:solidFill>
                <a:srgbClr val="AEABAB"/>
              </a:solidFill>
            </c:spPr>
            <c:extLst>
              <c:ext xmlns:c16="http://schemas.microsoft.com/office/drawing/2014/chart" uri="{C3380CC4-5D6E-409C-BE32-E72D297353CC}">
                <c16:uniqueId val="{00000057-2993-41DE-A2CB-63102DE87051}"/>
              </c:ext>
            </c:extLst>
          </c:dPt>
          <c:dPt>
            <c:idx val="16"/>
            <c:invertIfNegative val="1"/>
            <c:bubble3D val="0"/>
            <c:spPr>
              <a:solidFill>
                <a:srgbClr val="AEABAB"/>
              </a:solidFill>
            </c:spPr>
            <c:extLst>
              <c:ext xmlns:c16="http://schemas.microsoft.com/office/drawing/2014/chart" uri="{C3380CC4-5D6E-409C-BE32-E72D297353CC}">
                <c16:uniqueId val="{00000059-2993-41DE-A2CB-63102DE87051}"/>
              </c:ext>
            </c:extLst>
          </c:dPt>
          <c:dPt>
            <c:idx val="17"/>
            <c:invertIfNegative val="1"/>
            <c:bubble3D val="0"/>
            <c:spPr>
              <a:solidFill>
                <a:srgbClr val="AEABAB"/>
              </a:solidFill>
            </c:spPr>
            <c:extLst>
              <c:ext xmlns:c16="http://schemas.microsoft.com/office/drawing/2014/chart" uri="{C3380CC4-5D6E-409C-BE32-E72D297353CC}">
                <c16:uniqueId val="{0000005B-2993-41DE-A2CB-63102DE87051}"/>
              </c:ext>
            </c:extLst>
          </c:dPt>
          <c:dPt>
            <c:idx val="18"/>
            <c:invertIfNegative val="1"/>
            <c:bubble3D val="0"/>
            <c:spPr>
              <a:solidFill>
                <a:srgbClr val="AEABAB"/>
              </a:solidFill>
            </c:spPr>
            <c:extLst>
              <c:ext xmlns:c16="http://schemas.microsoft.com/office/drawing/2014/chart" uri="{C3380CC4-5D6E-409C-BE32-E72D297353CC}">
                <c16:uniqueId val="{0000005D-2993-41DE-A2CB-63102DE87051}"/>
              </c:ext>
            </c:extLst>
          </c:dPt>
          <c:dPt>
            <c:idx val="19"/>
            <c:invertIfNegative val="1"/>
            <c:bubble3D val="0"/>
            <c:spPr>
              <a:solidFill>
                <a:srgbClr val="AEABAB"/>
              </a:solidFill>
            </c:spPr>
            <c:extLst>
              <c:ext xmlns:c16="http://schemas.microsoft.com/office/drawing/2014/chart" uri="{C3380CC4-5D6E-409C-BE32-E72D297353CC}">
                <c16:uniqueId val="{0000005F-2993-41DE-A2CB-63102DE87051}"/>
              </c:ext>
            </c:extLst>
          </c:dPt>
          <c:dPt>
            <c:idx val="20"/>
            <c:invertIfNegative val="1"/>
            <c:bubble3D val="0"/>
            <c:spPr>
              <a:solidFill>
                <a:srgbClr val="AEABAB"/>
              </a:solidFill>
            </c:spPr>
            <c:extLst>
              <c:ext xmlns:c16="http://schemas.microsoft.com/office/drawing/2014/chart" uri="{C3380CC4-5D6E-409C-BE32-E72D297353CC}">
                <c16:uniqueId val="{00000061-2993-41DE-A2CB-63102DE87051}"/>
              </c:ext>
            </c:extLst>
          </c:dPt>
          <c:dPt>
            <c:idx val="21"/>
            <c:invertIfNegative val="1"/>
            <c:bubble3D val="0"/>
            <c:spPr>
              <a:solidFill>
                <a:srgbClr val="AEABAB"/>
              </a:solidFill>
            </c:spPr>
            <c:extLst>
              <c:ext xmlns:c16="http://schemas.microsoft.com/office/drawing/2014/chart" uri="{C3380CC4-5D6E-409C-BE32-E72D297353CC}">
                <c16:uniqueId val="{00000063-2993-41DE-A2CB-63102DE87051}"/>
              </c:ext>
            </c:extLst>
          </c:dPt>
          <c:dPt>
            <c:idx val="22"/>
            <c:invertIfNegative val="1"/>
            <c:bubble3D val="0"/>
            <c:spPr>
              <a:solidFill>
                <a:srgbClr val="AEABAB"/>
              </a:solidFill>
            </c:spPr>
            <c:extLst>
              <c:ext xmlns:c16="http://schemas.microsoft.com/office/drawing/2014/chart" uri="{C3380CC4-5D6E-409C-BE32-E72D297353CC}">
                <c16:uniqueId val="{00000065-2993-41DE-A2CB-63102DE87051}"/>
              </c:ext>
            </c:extLst>
          </c:dPt>
          <c:dPt>
            <c:idx val="23"/>
            <c:invertIfNegative val="1"/>
            <c:bubble3D val="0"/>
            <c:spPr>
              <a:solidFill>
                <a:srgbClr val="AEABAB"/>
              </a:solidFill>
            </c:spPr>
            <c:extLst>
              <c:ext xmlns:c16="http://schemas.microsoft.com/office/drawing/2014/chart" uri="{C3380CC4-5D6E-409C-BE32-E72D297353CC}">
                <c16:uniqueId val="{00000067-2993-41DE-A2CB-63102DE87051}"/>
              </c:ext>
            </c:extLst>
          </c:dPt>
          <c:dPt>
            <c:idx val="24"/>
            <c:invertIfNegative val="1"/>
            <c:bubble3D val="0"/>
            <c:spPr>
              <a:solidFill>
                <a:srgbClr val="AEABAB"/>
              </a:solidFill>
            </c:spPr>
            <c:extLst>
              <c:ext xmlns:c16="http://schemas.microsoft.com/office/drawing/2014/chart" uri="{C3380CC4-5D6E-409C-BE32-E72D297353CC}">
                <c16:uniqueId val="{00000069-2993-41DE-A2CB-63102DE87051}"/>
              </c:ext>
            </c:extLst>
          </c:dPt>
          <c:dPt>
            <c:idx val="25"/>
            <c:invertIfNegative val="1"/>
            <c:bubble3D val="0"/>
            <c:spPr>
              <a:solidFill>
                <a:srgbClr val="AEABAB"/>
              </a:solidFill>
            </c:spPr>
            <c:extLst>
              <c:ext xmlns:c16="http://schemas.microsoft.com/office/drawing/2014/chart" uri="{C3380CC4-5D6E-409C-BE32-E72D297353CC}">
                <c16:uniqueId val="{0000006B-2993-41DE-A2CB-63102DE87051}"/>
              </c:ext>
            </c:extLst>
          </c:dPt>
          <c:dPt>
            <c:idx val="26"/>
            <c:invertIfNegative val="1"/>
            <c:bubble3D val="0"/>
            <c:spPr>
              <a:solidFill>
                <a:srgbClr val="AEABAB"/>
              </a:solidFill>
            </c:spPr>
            <c:extLst>
              <c:ext xmlns:c16="http://schemas.microsoft.com/office/drawing/2014/chart" uri="{C3380CC4-5D6E-409C-BE32-E72D297353CC}">
                <c16:uniqueId val="{0000006D-2993-41DE-A2CB-63102DE87051}"/>
              </c:ext>
            </c:extLst>
          </c:dPt>
          <c:dPt>
            <c:idx val="27"/>
            <c:invertIfNegative val="1"/>
            <c:bubble3D val="0"/>
            <c:spPr>
              <a:solidFill>
                <a:srgbClr val="AEABAB"/>
              </a:solidFill>
            </c:spPr>
            <c:extLst>
              <c:ext xmlns:c16="http://schemas.microsoft.com/office/drawing/2014/chart" uri="{C3380CC4-5D6E-409C-BE32-E72D297353CC}">
                <c16:uniqueId val="{0000006F-2993-41DE-A2CB-63102DE87051}"/>
              </c:ext>
            </c:extLst>
          </c:dPt>
          <c:dPt>
            <c:idx val="28"/>
            <c:invertIfNegative val="1"/>
            <c:bubble3D val="0"/>
            <c:spPr>
              <a:solidFill>
                <a:srgbClr val="AEABAB"/>
              </a:solidFill>
            </c:spPr>
            <c:extLst>
              <c:ext xmlns:c16="http://schemas.microsoft.com/office/drawing/2014/chart" uri="{C3380CC4-5D6E-409C-BE32-E72D297353CC}">
                <c16:uniqueId val="{00000071-2993-41DE-A2CB-63102DE87051}"/>
              </c:ext>
            </c:extLst>
          </c:dPt>
          <c:dPt>
            <c:idx val="29"/>
            <c:invertIfNegative val="1"/>
            <c:bubble3D val="0"/>
            <c:spPr>
              <a:solidFill>
                <a:srgbClr val="AEABAB"/>
              </a:solidFill>
            </c:spPr>
            <c:extLst>
              <c:ext xmlns:c16="http://schemas.microsoft.com/office/drawing/2014/chart" uri="{C3380CC4-5D6E-409C-BE32-E72D297353CC}">
                <c16:uniqueId val="{00000073-2993-41DE-A2CB-63102DE87051}"/>
              </c:ext>
            </c:extLst>
          </c:dPt>
          <c:dPt>
            <c:idx val="30"/>
            <c:invertIfNegative val="1"/>
            <c:bubble3D val="0"/>
            <c:spPr>
              <a:solidFill>
                <a:srgbClr val="AEABAB"/>
              </a:solidFill>
            </c:spPr>
            <c:extLst>
              <c:ext xmlns:c16="http://schemas.microsoft.com/office/drawing/2014/chart" uri="{C3380CC4-5D6E-409C-BE32-E72D297353CC}">
                <c16:uniqueId val="{00000075-2993-41DE-A2CB-63102DE87051}"/>
              </c:ext>
            </c:extLst>
          </c:dPt>
          <c:dPt>
            <c:idx val="31"/>
            <c:invertIfNegative val="1"/>
            <c:bubble3D val="0"/>
            <c:spPr>
              <a:solidFill>
                <a:srgbClr val="AEABAB"/>
              </a:solidFill>
            </c:spPr>
            <c:extLst>
              <c:ext xmlns:c16="http://schemas.microsoft.com/office/drawing/2014/chart" uri="{C3380CC4-5D6E-409C-BE32-E72D297353CC}">
                <c16:uniqueId val="{00000077-2993-41DE-A2CB-63102DE87051}"/>
              </c:ext>
            </c:extLst>
          </c:dPt>
          <c:dPt>
            <c:idx val="32"/>
            <c:invertIfNegative val="1"/>
            <c:bubble3D val="0"/>
            <c:spPr>
              <a:solidFill>
                <a:srgbClr val="AEABAB"/>
              </a:solidFill>
            </c:spPr>
            <c:extLst>
              <c:ext xmlns:c16="http://schemas.microsoft.com/office/drawing/2014/chart" uri="{C3380CC4-5D6E-409C-BE32-E72D297353CC}">
                <c16:uniqueId val="{00000079-2993-41DE-A2CB-63102DE87051}"/>
              </c:ext>
            </c:extLst>
          </c:dPt>
          <c:dPt>
            <c:idx val="33"/>
            <c:invertIfNegative val="1"/>
            <c:bubble3D val="0"/>
            <c:spPr>
              <a:solidFill>
                <a:srgbClr val="AEABAB"/>
              </a:solidFill>
            </c:spPr>
            <c:extLst>
              <c:ext xmlns:c16="http://schemas.microsoft.com/office/drawing/2014/chart" uri="{C3380CC4-5D6E-409C-BE32-E72D297353CC}">
                <c16:uniqueId val="{0000007B-2993-41DE-A2CB-63102DE87051}"/>
              </c:ext>
            </c:extLst>
          </c:dPt>
          <c:dPt>
            <c:idx val="34"/>
            <c:invertIfNegative val="1"/>
            <c:bubble3D val="0"/>
            <c:spPr>
              <a:solidFill>
                <a:srgbClr val="AEABAB"/>
              </a:solidFill>
            </c:spPr>
            <c:extLst>
              <c:ext xmlns:c16="http://schemas.microsoft.com/office/drawing/2014/chart" uri="{C3380CC4-5D6E-409C-BE32-E72D297353CC}">
                <c16:uniqueId val="{0000007D-2993-41DE-A2CB-63102DE87051}"/>
              </c:ext>
            </c:extLst>
          </c:dPt>
          <c:dPt>
            <c:idx val="35"/>
            <c:invertIfNegative val="1"/>
            <c:bubble3D val="0"/>
            <c:spPr>
              <a:solidFill>
                <a:srgbClr val="AEABAB"/>
              </a:solidFill>
            </c:spPr>
            <c:extLst>
              <c:ext xmlns:c16="http://schemas.microsoft.com/office/drawing/2014/chart" uri="{C3380CC4-5D6E-409C-BE32-E72D297353CC}">
                <c16:uniqueId val="{0000007F-2993-41DE-A2CB-63102DE87051}"/>
              </c:ext>
            </c:extLst>
          </c:dPt>
          <c:dPt>
            <c:idx val="36"/>
            <c:invertIfNegative val="1"/>
            <c:bubble3D val="0"/>
            <c:spPr>
              <a:solidFill>
                <a:srgbClr val="AEABAB"/>
              </a:solidFill>
            </c:spPr>
            <c:extLst>
              <c:ext xmlns:c16="http://schemas.microsoft.com/office/drawing/2014/chart" uri="{C3380CC4-5D6E-409C-BE32-E72D297353CC}">
                <c16:uniqueId val="{00000081-2993-41DE-A2CB-63102DE87051}"/>
              </c:ext>
            </c:extLst>
          </c:dPt>
          <c:dPt>
            <c:idx val="37"/>
            <c:invertIfNegative val="1"/>
            <c:bubble3D val="0"/>
            <c:spPr>
              <a:solidFill>
                <a:srgbClr val="AEABAB"/>
              </a:solidFill>
            </c:spPr>
            <c:extLst>
              <c:ext xmlns:c16="http://schemas.microsoft.com/office/drawing/2014/chart" uri="{C3380CC4-5D6E-409C-BE32-E72D297353CC}">
                <c16:uniqueId val="{00000083-2993-41DE-A2CB-63102DE87051}"/>
              </c:ext>
            </c:extLst>
          </c:dPt>
          <c:dPt>
            <c:idx val="38"/>
            <c:invertIfNegative val="1"/>
            <c:bubble3D val="0"/>
            <c:spPr>
              <a:solidFill>
                <a:srgbClr val="AEABAB"/>
              </a:solidFill>
            </c:spPr>
            <c:extLst>
              <c:ext xmlns:c16="http://schemas.microsoft.com/office/drawing/2014/chart" uri="{C3380CC4-5D6E-409C-BE32-E72D297353CC}">
                <c16:uniqueId val="{00000085-2993-41DE-A2CB-63102DE87051}"/>
              </c:ext>
            </c:extLst>
          </c:dPt>
          <c:dPt>
            <c:idx val="39"/>
            <c:invertIfNegative val="1"/>
            <c:bubble3D val="0"/>
            <c:spPr>
              <a:solidFill>
                <a:srgbClr val="AEABAB"/>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41</c:f>
              <c:strCache>
                <c:ptCount val="40"/>
                <c:pt idx="0">
                  <c:v>Ruinart</c:v>
                </c:pt>
                <c:pt idx="1">
                  <c:v>Deutz</c:v>
                </c:pt>
                <c:pt idx="2">
                  <c:v>Demoiselle</c:v>
                </c:pt>
                <c:pt idx="3">
                  <c:v>Laurent Per</c:v>
                </c:pt>
                <c:pt idx="4">
                  <c:v>Ruinart</c:v>
                </c:pt>
                <c:pt idx="5">
                  <c:v>Nicolas</c:v>
                </c:pt>
                <c:pt idx="6">
                  <c:v>Nicolas Feu</c:v>
                </c:pt>
                <c:pt idx="7">
                  <c:v>Malard</c:v>
                </c:pt>
                <c:pt idx="8">
                  <c:v>Besserat De</c:v>
                </c:pt>
                <c:pt idx="9">
                  <c:v>Pommery</c:v>
                </c:pt>
                <c:pt idx="10">
                  <c:v>Ruinart</c:v>
                </c:pt>
                <c:pt idx="11">
                  <c:v>Ruinart</c:v>
                </c:pt>
                <c:pt idx="12">
                  <c:v>Bollinger</c:v>
                </c:pt>
                <c:pt idx="13">
                  <c:v>Deutz</c:v>
                </c:pt>
                <c:pt idx="14">
                  <c:v>Nicolas</c:v>
                </c:pt>
                <c:pt idx="15">
                  <c:v>Nicolas</c:v>
                </c:pt>
                <c:pt idx="16">
                  <c:v>Besserat De</c:v>
                </c:pt>
                <c:pt idx="17">
                  <c:v>Dom Perigno</c:v>
                </c:pt>
                <c:pt idx="18">
                  <c:v>Demoiselle</c:v>
                </c:pt>
                <c:pt idx="19">
                  <c:v>Nicolas</c:v>
                </c:pt>
                <c:pt idx="20">
                  <c:v>Nicolas</c:v>
                </c:pt>
                <c:pt idx="21">
                  <c:v>Krug</c:v>
                </c:pt>
                <c:pt idx="22">
                  <c:v>Ruinart</c:v>
                </c:pt>
                <c:pt idx="23">
                  <c:v>Deutz</c:v>
                </c:pt>
                <c:pt idx="24">
                  <c:v>Henriot</c:v>
                </c:pt>
                <c:pt idx="25">
                  <c:v>Dom Perigno</c:v>
                </c:pt>
                <c:pt idx="26">
                  <c:v>Laurent Per</c:v>
                </c:pt>
                <c:pt idx="27">
                  <c:v>Laurent Per</c:v>
                </c:pt>
                <c:pt idx="28">
                  <c:v>Laurent Per</c:v>
                </c:pt>
                <c:pt idx="29">
                  <c:v>Bollinger</c:v>
                </c:pt>
                <c:pt idx="30">
                  <c:v>Laurent Per</c:v>
                </c:pt>
                <c:pt idx="31">
                  <c:v>Perrier Jou</c:v>
                </c:pt>
                <c:pt idx="32">
                  <c:v>Bollinger</c:v>
                </c:pt>
                <c:pt idx="33">
                  <c:v>Laurent Per</c:v>
                </c:pt>
                <c:pt idx="34">
                  <c:v>Roederer</c:v>
                </c:pt>
                <c:pt idx="35">
                  <c:v>Ayala</c:v>
                </c:pt>
                <c:pt idx="36">
                  <c:v>Moët &amp; Chan</c:v>
                </c:pt>
                <c:pt idx="37">
                  <c:v>Perrier Jou</c:v>
                </c:pt>
                <c:pt idx="38">
                  <c:v>Demoiselle</c:v>
                </c:pt>
                <c:pt idx="39">
                  <c:v>All Others</c:v>
                </c:pt>
              </c:strCache>
            </c:strRef>
          </c:cat>
          <c:val>
            <c:numRef>
              <c:f>Sheet1!$C$2:$C$41</c:f>
              <c:numCache>
                <c:formatCode>General</c:formatCode>
                <c:ptCount val="40"/>
                <c:pt idx="0">
                  <c:v>0.16355318587294904</c:v>
                </c:pt>
                <c:pt idx="1">
                  <c:v>0.29573086261925075</c:v>
                </c:pt>
                <c:pt idx="2">
                  <c:v>0.41265164720332126</c:v>
                </c:pt>
                <c:pt idx="3">
                  <c:v>0.50151947170815669</c:v>
                </c:pt>
                <c:pt idx="4">
                  <c:v>0.58564235584653002</c:v>
                </c:pt>
                <c:pt idx="5">
                  <c:v>0.65111053420392984</c:v>
                </c:pt>
                <c:pt idx="6">
                  <c:v>0.70908061599143068</c:v>
                </c:pt>
                <c:pt idx="7">
                  <c:v>0.75417063896348679</c:v>
                </c:pt>
                <c:pt idx="8">
                  <c:v>0.79362890857645241</c:v>
                </c:pt>
                <c:pt idx="9">
                  <c:v>0.83080960681351612</c:v>
                </c:pt>
                <c:pt idx="10">
                  <c:v>0.85958248887938682</c:v>
                </c:pt>
                <c:pt idx="11">
                  <c:v>0.88417218788654894</c:v>
                </c:pt>
                <c:pt idx="12">
                  <c:v>0.9078488949197504</c:v>
                </c:pt>
                <c:pt idx="13">
                  <c:v>0.92777219050444704</c:v>
                </c:pt>
                <c:pt idx="14">
                  <c:v>0.94584441395077901</c:v>
                </c:pt>
                <c:pt idx="15">
                  <c:v>0.95839614470868228</c:v>
                </c:pt>
                <c:pt idx="16">
                  <c:v>0.96831906942447676</c:v>
                </c:pt>
                <c:pt idx="17">
                  <c:v>0.9768261475665545</c:v>
                </c:pt>
                <c:pt idx="18">
                  <c:v>0.98239681663586986</c:v>
                </c:pt>
                <c:pt idx="19">
                  <c:v>0.9862462176825928</c:v>
                </c:pt>
                <c:pt idx="20">
                  <c:v>0.98880957627137123</c:v>
                </c:pt>
                <c:pt idx="21">
                  <c:v>0.99132930322459589</c:v>
                </c:pt>
                <c:pt idx="22">
                  <c:v>0.9931520147998506</c:v>
                </c:pt>
                <c:pt idx="23">
                  <c:v>0.99449368759312606</c:v>
                </c:pt>
                <c:pt idx="24">
                  <c:v>0.99548521651108335</c:v>
                </c:pt>
                <c:pt idx="25">
                  <c:v>0.99617786872549796</c:v>
                </c:pt>
                <c:pt idx="26">
                  <c:v>0.99680943665013744</c:v>
                </c:pt>
                <c:pt idx="27">
                  <c:v>0.99737119395789098</c:v>
                </c:pt>
                <c:pt idx="28">
                  <c:v>0.99793186047475568</c:v>
                </c:pt>
                <c:pt idx="29">
                  <c:v>0.99848161908273203</c:v>
                </c:pt>
                <c:pt idx="30">
                  <c:v>0.9990084710820426</c:v>
                </c:pt>
                <c:pt idx="31">
                  <c:v>0.99933570834869512</c:v>
                </c:pt>
                <c:pt idx="32">
                  <c:v>0.99956477443535185</c:v>
                </c:pt>
                <c:pt idx="33">
                  <c:v>0.99965749166090345</c:v>
                </c:pt>
                <c:pt idx="34">
                  <c:v>0.99973493781401124</c:v>
                </c:pt>
                <c:pt idx="35">
                  <c:v>0.99980365764000823</c:v>
                </c:pt>
                <c:pt idx="36">
                  <c:v>0.99986910509333871</c:v>
                </c:pt>
                <c:pt idx="37">
                  <c:v>0.99992255384689199</c:v>
                </c:pt>
                <c:pt idx="38">
                  <c:v>0.9999618223188903</c:v>
                </c:pt>
                <c:pt idx="39">
                  <c:v>0.99999999999999978</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48</c:f>
              <c:strCache>
                <c:ptCount val="47"/>
                <c:pt idx="0">
                  <c:v>Ruinart</c:v>
                </c:pt>
                <c:pt idx="1">
                  <c:v>Deutz</c:v>
                </c:pt>
                <c:pt idx="2">
                  <c:v>Demoiselle</c:v>
                </c:pt>
                <c:pt idx="3">
                  <c:v>Ruinart</c:v>
                </c:pt>
                <c:pt idx="4">
                  <c:v>Laurent Per</c:v>
                </c:pt>
                <c:pt idx="5">
                  <c:v>Nicolas</c:v>
                </c:pt>
                <c:pt idx="6">
                  <c:v>Nicolas Feu</c:v>
                </c:pt>
                <c:pt idx="7">
                  <c:v>Malard</c:v>
                </c:pt>
                <c:pt idx="8">
                  <c:v>Pommery</c:v>
                </c:pt>
                <c:pt idx="9">
                  <c:v>Besserat De</c:v>
                </c:pt>
                <c:pt idx="10">
                  <c:v>Ruinart</c:v>
                </c:pt>
                <c:pt idx="11">
                  <c:v>Ruinart</c:v>
                </c:pt>
                <c:pt idx="12">
                  <c:v>Nicolas</c:v>
                </c:pt>
                <c:pt idx="13">
                  <c:v>Deutz</c:v>
                </c:pt>
                <c:pt idx="14">
                  <c:v>Bollinger</c:v>
                </c:pt>
                <c:pt idx="15">
                  <c:v>Nicolas</c:v>
                </c:pt>
                <c:pt idx="16">
                  <c:v>Besserat De</c:v>
                </c:pt>
                <c:pt idx="17">
                  <c:v>Demoiselle</c:v>
                </c:pt>
                <c:pt idx="18">
                  <c:v>Nicolas</c:v>
                </c:pt>
                <c:pt idx="19">
                  <c:v>Nicolas</c:v>
                </c:pt>
                <c:pt idx="20">
                  <c:v>Henriot</c:v>
                </c:pt>
                <c:pt idx="21">
                  <c:v>Ruinart</c:v>
                </c:pt>
                <c:pt idx="22">
                  <c:v>Veuve Clicq</c:v>
                </c:pt>
                <c:pt idx="23">
                  <c:v>All Others</c:v>
                </c:pt>
                <c:pt idx="24">
                  <c:v>Laurent Per</c:v>
                </c:pt>
                <c:pt idx="25">
                  <c:v>De Bligny</c:v>
                </c:pt>
                <c:pt idx="26">
                  <c:v>Dom Perigno</c:v>
                </c:pt>
                <c:pt idx="27">
                  <c:v>Bollinger</c:v>
                </c:pt>
                <c:pt idx="28">
                  <c:v>Perrier Jou</c:v>
                </c:pt>
                <c:pt idx="29">
                  <c:v>Deutz</c:v>
                </c:pt>
                <c:pt idx="30">
                  <c:v>Dom Perigno</c:v>
                </c:pt>
                <c:pt idx="31">
                  <c:v>Roederer</c:v>
                </c:pt>
                <c:pt idx="32">
                  <c:v>Ruinart</c:v>
                </c:pt>
                <c:pt idx="33">
                  <c:v>Ruinart</c:v>
                </c:pt>
                <c:pt idx="34">
                  <c:v>Veuve Clicq</c:v>
                </c:pt>
                <c:pt idx="35">
                  <c:v>All Others</c:v>
                </c:pt>
                <c:pt idx="36">
                  <c:v>Perrier Jou</c:v>
                </c:pt>
                <c:pt idx="37">
                  <c:v>Veuve Clicq</c:v>
                </c:pt>
                <c:pt idx="38">
                  <c:v>Moët &amp; Chan</c:v>
                </c:pt>
                <c:pt idx="39">
                  <c:v>Laurent Per</c:v>
                </c:pt>
                <c:pt idx="40">
                  <c:v>Roederer</c:v>
                </c:pt>
                <c:pt idx="41">
                  <c:v>Demoiselle</c:v>
                </c:pt>
                <c:pt idx="42">
                  <c:v>Besserat De</c:v>
                </c:pt>
                <c:pt idx="43">
                  <c:v>Vranken Pom</c:v>
                </c:pt>
                <c:pt idx="44">
                  <c:v>Demoiselle</c:v>
                </c:pt>
                <c:pt idx="45">
                  <c:v>Lanson</c:v>
                </c:pt>
                <c:pt idx="46">
                  <c:v>Pommery</c:v>
                </c:pt>
              </c:strCache>
            </c:strRef>
          </c:cat>
          <c:val>
            <c:numRef>
              <c:f>Sheet1!$B$2:$B$48</c:f>
              <c:numCache>
                <c:formatCode>General</c:formatCode>
                <c:ptCount val="47"/>
                <c:pt idx="0">
                  <c:v>0.62</c:v>
                </c:pt>
                <c:pt idx="1">
                  <c:v>0.6</c:v>
                </c:pt>
                <c:pt idx="2">
                  <c:v>0.66</c:v>
                </c:pt>
                <c:pt idx="3">
                  <c:v>0.42</c:v>
                </c:pt>
                <c:pt idx="4">
                  <c:v>0.46</c:v>
                </c:pt>
                <c:pt idx="5">
                  <c:v>0.53</c:v>
                </c:pt>
                <c:pt idx="6">
                  <c:v>0.36</c:v>
                </c:pt>
                <c:pt idx="7">
                  <c:v>0.33</c:v>
                </c:pt>
                <c:pt idx="8">
                  <c:v>0.3</c:v>
                </c:pt>
                <c:pt idx="9">
                  <c:v>0.26</c:v>
                </c:pt>
                <c:pt idx="10">
                  <c:v>0.08</c:v>
                </c:pt>
                <c:pt idx="11">
                  <c:v>0.23</c:v>
                </c:pt>
                <c:pt idx="12">
                  <c:v>0.28000000000000003</c:v>
                </c:pt>
                <c:pt idx="13">
                  <c:v>0.24</c:v>
                </c:pt>
                <c:pt idx="14">
                  <c:v>0.11</c:v>
                </c:pt>
                <c:pt idx="15">
                  <c:v>0.18</c:v>
                </c:pt>
                <c:pt idx="16">
                  <c:v>0.15</c:v>
                </c:pt>
                <c:pt idx="17">
                  <c:v>0.12</c:v>
                </c:pt>
                <c:pt idx="18">
                  <c:v>0.05</c:v>
                </c:pt>
                <c:pt idx="19">
                  <c:v>7.0000000000000007E-2</c:v>
                </c:pt>
                <c:pt idx="20">
                  <c:v>0.03</c:v>
                </c:pt>
                <c:pt idx="21">
                  <c:v>0.01</c:v>
                </c:pt>
                <c:pt idx="22">
                  <c:v>0.02</c:v>
                </c:pt>
                <c:pt idx="23">
                  <c:v>0.02</c:v>
                </c:pt>
                <c:pt idx="24">
                  <c:v>0.02</c:v>
                </c:pt>
                <c:pt idx="25">
                  <c:v>0.02</c:v>
                </c:pt>
                <c:pt idx="26">
                  <c:v>0.02</c:v>
                </c:pt>
                <c:pt idx="27">
                  <c:v>0.02</c:v>
                </c:pt>
                <c:pt idx="28">
                  <c:v>0.01</c:v>
                </c:pt>
                <c:pt idx="29">
                  <c:v>0.02</c:v>
                </c:pt>
                <c:pt idx="30">
                  <c:v>0.01</c:v>
                </c:pt>
                <c:pt idx="31">
                  <c:v>0.01</c:v>
                </c:pt>
                <c:pt idx="32">
                  <c:v>0.02</c:v>
                </c:pt>
                <c:pt idx="33">
                  <c:v>0.02</c:v>
                </c:pt>
                <c:pt idx="34">
                  <c:v>0.01</c:v>
                </c:pt>
                <c:pt idx="35">
                  <c:v>0.01</c:v>
                </c:pt>
                <c:pt idx="36">
                  <c:v>0.01</c:v>
                </c:pt>
                <c:pt idx="37">
                  <c:v>0.02</c:v>
                </c:pt>
                <c:pt idx="38">
                  <c:v>0.01</c:v>
                </c:pt>
                <c:pt idx="39">
                  <c:v>0.01</c:v>
                </c:pt>
                <c:pt idx="40">
                  <c:v>0.01</c:v>
                </c:pt>
                <c:pt idx="41">
                  <c:v>0.01</c:v>
                </c:pt>
                <c:pt idx="42">
                  <c:v>0.02</c:v>
                </c:pt>
                <c:pt idx="43">
                  <c:v>0.01</c:v>
                </c:pt>
                <c:pt idx="44">
                  <c:v>0.01</c:v>
                </c:pt>
                <c:pt idx="45">
                  <c:v>0.01</c:v>
                </c:pt>
                <c:pt idx="46">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7ECAC4"/>
              </a:solidFill>
            </c:spPr>
            <c:extLst>
              <c:ext xmlns:c16="http://schemas.microsoft.com/office/drawing/2014/chart" uri="{C3380CC4-5D6E-409C-BE32-E72D297353CC}">
                <c16:uniqueId val="{0000004D-2993-41DE-A2CB-63102DE87051}"/>
              </c:ext>
            </c:extLst>
          </c:dPt>
          <c:dPt>
            <c:idx val="11"/>
            <c:invertIfNegative val="1"/>
            <c:bubble3D val="0"/>
            <c:spPr>
              <a:solidFill>
                <a:srgbClr val="7ECAC4"/>
              </a:solidFill>
            </c:spPr>
            <c:extLst>
              <c:ext xmlns:c16="http://schemas.microsoft.com/office/drawing/2014/chart" uri="{C3380CC4-5D6E-409C-BE32-E72D297353CC}">
                <c16:uniqueId val="{0000004F-2993-41DE-A2CB-63102DE87051}"/>
              </c:ext>
            </c:extLst>
          </c:dPt>
          <c:dPt>
            <c:idx val="12"/>
            <c:invertIfNegative val="1"/>
            <c:bubble3D val="0"/>
            <c:spPr>
              <a:solidFill>
                <a:srgbClr val="7ECAC4"/>
              </a:solidFill>
            </c:spPr>
            <c:extLst>
              <c:ext xmlns:c16="http://schemas.microsoft.com/office/drawing/2014/chart" uri="{C3380CC4-5D6E-409C-BE32-E72D297353CC}">
                <c16:uniqueId val="{00000051-2993-41DE-A2CB-63102DE87051}"/>
              </c:ext>
            </c:extLst>
          </c:dPt>
          <c:dPt>
            <c:idx val="13"/>
            <c:invertIfNegative val="1"/>
            <c:bubble3D val="0"/>
            <c:spPr>
              <a:solidFill>
                <a:srgbClr val="7ECAC4"/>
              </a:solidFill>
            </c:spPr>
            <c:extLst>
              <c:ext xmlns:c16="http://schemas.microsoft.com/office/drawing/2014/chart" uri="{C3380CC4-5D6E-409C-BE32-E72D297353CC}">
                <c16:uniqueId val="{00000053-2993-41DE-A2CB-63102DE87051}"/>
              </c:ext>
            </c:extLst>
          </c:dPt>
          <c:dPt>
            <c:idx val="14"/>
            <c:invertIfNegative val="1"/>
            <c:bubble3D val="0"/>
            <c:spPr>
              <a:solidFill>
                <a:srgbClr val="7ECAC4"/>
              </a:solidFill>
            </c:spPr>
            <c:extLst>
              <c:ext xmlns:c16="http://schemas.microsoft.com/office/drawing/2014/chart" uri="{C3380CC4-5D6E-409C-BE32-E72D297353CC}">
                <c16:uniqueId val="{00000055-2993-41DE-A2CB-63102DE87051}"/>
              </c:ext>
            </c:extLst>
          </c:dPt>
          <c:dPt>
            <c:idx val="15"/>
            <c:invertIfNegative val="1"/>
            <c:bubble3D val="0"/>
            <c:spPr>
              <a:solidFill>
                <a:srgbClr val="AEABAB"/>
              </a:solidFill>
            </c:spPr>
            <c:extLst>
              <c:ext xmlns:c16="http://schemas.microsoft.com/office/drawing/2014/chart" uri="{C3380CC4-5D6E-409C-BE32-E72D297353CC}">
                <c16:uniqueId val="{00000057-2993-41DE-A2CB-63102DE87051}"/>
              </c:ext>
            </c:extLst>
          </c:dPt>
          <c:dPt>
            <c:idx val="16"/>
            <c:invertIfNegative val="1"/>
            <c:bubble3D val="0"/>
            <c:spPr>
              <a:solidFill>
                <a:srgbClr val="AEABAB"/>
              </a:solidFill>
            </c:spPr>
            <c:extLst>
              <c:ext xmlns:c16="http://schemas.microsoft.com/office/drawing/2014/chart" uri="{C3380CC4-5D6E-409C-BE32-E72D297353CC}">
                <c16:uniqueId val="{00000059-2993-41DE-A2CB-63102DE87051}"/>
              </c:ext>
            </c:extLst>
          </c:dPt>
          <c:dPt>
            <c:idx val="17"/>
            <c:invertIfNegative val="1"/>
            <c:bubble3D val="0"/>
            <c:spPr>
              <a:solidFill>
                <a:srgbClr val="AEABAB"/>
              </a:solidFill>
            </c:spPr>
            <c:extLst>
              <c:ext xmlns:c16="http://schemas.microsoft.com/office/drawing/2014/chart" uri="{C3380CC4-5D6E-409C-BE32-E72D297353CC}">
                <c16:uniqueId val="{0000005B-2993-41DE-A2CB-63102DE87051}"/>
              </c:ext>
            </c:extLst>
          </c:dPt>
          <c:dPt>
            <c:idx val="18"/>
            <c:invertIfNegative val="1"/>
            <c:bubble3D val="0"/>
            <c:spPr>
              <a:solidFill>
                <a:srgbClr val="AEABAB"/>
              </a:solidFill>
            </c:spPr>
            <c:extLst>
              <c:ext xmlns:c16="http://schemas.microsoft.com/office/drawing/2014/chart" uri="{C3380CC4-5D6E-409C-BE32-E72D297353CC}">
                <c16:uniqueId val="{0000005D-2993-41DE-A2CB-63102DE87051}"/>
              </c:ext>
            </c:extLst>
          </c:dPt>
          <c:dPt>
            <c:idx val="19"/>
            <c:invertIfNegative val="1"/>
            <c:bubble3D val="0"/>
            <c:spPr>
              <a:solidFill>
                <a:srgbClr val="AEABAB"/>
              </a:solidFill>
            </c:spPr>
            <c:extLst>
              <c:ext xmlns:c16="http://schemas.microsoft.com/office/drawing/2014/chart" uri="{C3380CC4-5D6E-409C-BE32-E72D297353CC}">
                <c16:uniqueId val="{0000005F-2993-41DE-A2CB-63102DE87051}"/>
              </c:ext>
            </c:extLst>
          </c:dPt>
          <c:dPt>
            <c:idx val="20"/>
            <c:invertIfNegative val="1"/>
            <c:bubble3D val="0"/>
            <c:spPr>
              <a:solidFill>
                <a:srgbClr val="AEABAB"/>
              </a:solidFill>
            </c:spPr>
            <c:extLst>
              <c:ext xmlns:c16="http://schemas.microsoft.com/office/drawing/2014/chart" uri="{C3380CC4-5D6E-409C-BE32-E72D297353CC}">
                <c16:uniqueId val="{00000061-2993-41DE-A2CB-63102DE87051}"/>
              </c:ext>
            </c:extLst>
          </c:dPt>
          <c:dPt>
            <c:idx val="21"/>
            <c:invertIfNegative val="1"/>
            <c:bubble3D val="0"/>
            <c:spPr>
              <a:solidFill>
                <a:srgbClr val="AEABAB"/>
              </a:solidFill>
            </c:spPr>
            <c:extLst>
              <c:ext xmlns:c16="http://schemas.microsoft.com/office/drawing/2014/chart" uri="{C3380CC4-5D6E-409C-BE32-E72D297353CC}">
                <c16:uniqueId val="{00000063-2993-41DE-A2CB-63102DE87051}"/>
              </c:ext>
            </c:extLst>
          </c:dPt>
          <c:dPt>
            <c:idx val="22"/>
            <c:invertIfNegative val="1"/>
            <c:bubble3D val="0"/>
            <c:spPr>
              <a:solidFill>
                <a:srgbClr val="AEABAB"/>
              </a:solidFill>
            </c:spPr>
            <c:extLst>
              <c:ext xmlns:c16="http://schemas.microsoft.com/office/drawing/2014/chart" uri="{C3380CC4-5D6E-409C-BE32-E72D297353CC}">
                <c16:uniqueId val="{00000065-2993-41DE-A2CB-63102DE87051}"/>
              </c:ext>
            </c:extLst>
          </c:dPt>
          <c:dPt>
            <c:idx val="23"/>
            <c:invertIfNegative val="1"/>
            <c:bubble3D val="0"/>
            <c:spPr>
              <a:solidFill>
                <a:srgbClr val="AEABAB"/>
              </a:solidFill>
            </c:spPr>
            <c:extLst>
              <c:ext xmlns:c16="http://schemas.microsoft.com/office/drawing/2014/chart" uri="{C3380CC4-5D6E-409C-BE32-E72D297353CC}">
                <c16:uniqueId val="{00000067-2993-41DE-A2CB-63102DE87051}"/>
              </c:ext>
            </c:extLst>
          </c:dPt>
          <c:dPt>
            <c:idx val="24"/>
            <c:invertIfNegative val="1"/>
            <c:bubble3D val="0"/>
            <c:spPr>
              <a:solidFill>
                <a:srgbClr val="AEABAB"/>
              </a:solidFill>
            </c:spPr>
            <c:extLst>
              <c:ext xmlns:c16="http://schemas.microsoft.com/office/drawing/2014/chart" uri="{C3380CC4-5D6E-409C-BE32-E72D297353CC}">
                <c16:uniqueId val="{00000069-2993-41DE-A2CB-63102DE87051}"/>
              </c:ext>
            </c:extLst>
          </c:dPt>
          <c:dPt>
            <c:idx val="25"/>
            <c:invertIfNegative val="1"/>
            <c:bubble3D val="0"/>
            <c:spPr>
              <a:solidFill>
                <a:srgbClr val="AEABAB"/>
              </a:solidFill>
            </c:spPr>
            <c:extLst>
              <c:ext xmlns:c16="http://schemas.microsoft.com/office/drawing/2014/chart" uri="{C3380CC4-5D6E-409C-BE32-E72D297353CC}">
                <c16:uniqueId val="{0000006B-2993-41DE-A2CB-63102DE87051}"/>
              </c:ext>
            </c:extLst>
          </c:dPt>
          <c:dPt>
            <c:idx val="26"/>
            <c:invertIfNegative val="1"/>
            <c:bubble3D val="0"/>
            <c:spPr>
              <a:solidFill>
                <a:srgbClr val="AEABAB"/>
              </a:solidFill>
            </c:spPr>
            <c:extLst>
              <c:ext xmlns:c16="http://schemas.microsoft.com/office/drawing/2014/chart" uri="{C3380CC4-5D6E-409C-BE32-E72D297353CC}">
                <c16:uniqueId val="{0000006D-2993-41DE-A2CB-63102DE87051}"/>
              </c:ext>
            </c:extLst>
          </c:dPt>
          <c:dPt>
            <c:idx val="27"/>
            <c:invertIfNegative val="1"/>
            <c:bubble3D val="0"/>
            <c:spPr>
              <a:solidFill>
                <a:srgbClr val="AEABAB"/>
              </a:solidFill>
            </c:spPr>
            <c:extLst>
              <c:ext xmlns:c16="http://schemas.microsoft.com/office/drawing/2014/chart" uri="{C3380CC4-5D6E-409C-BE32-E72D297353CC}">
                <c16:uniqueId val="{0000006F-2993-41DE-A2CB-63102DE87051}"/>
              </c:ext>
            </c:extLst>
          </c:dPt>
          <c:dPt>
            <c:idx val="28"/>
            <c:invertIfNegative val="1"/>
            <c:bubble3D val="0"/>
            <c:spPr>
              <a:solidFill>
                <a:srgbClr val="AEABAB"/>
              </a:solidFill>
            </c:spPr>
            <c:extLst>
              <c:ext xmlns:c16="http://schemas.microsoft.com/office/drawing/2014/chart" uri="{C3380CC4-5D6E-409C-BE32-E72D297353CC}">
                <c16:uniqueId val="{00000071-2993-41DE-A2CB-63102DE87051}"/>
              </c:ext>
            </c:extLst>
          </c:dPt>
          <c:dPt>
            <c:idx val="29"/>
            <c:invertIfNegative val="1"/>
            <c:bubble3D val="0"/>
            <c:spPr>
              <a:solidFill>
                <a:srgbClr val="AEABAB"/>
              </a:solidFill>
            </c:spPr>
            <c:extLst>
              <c:ext xmlns:c16="http://schemas.microsoft.com/office/drawing/2014/chart" uri="{C3380CC4-5D6E-409C-BE32-E72D297353CC}">
                <c16:uniqueId val="{00000073-2993-41DE-A2CB-63102DE87051}"/>
              </c:ext>
            </c:extLst>
          </c:dPt>
          <c:dPt>
            <c:idx val="30"/>
            <c:invertIfNegative val="1"/>
            <c:bubble3D val="0"/>
            <c:spPr>
              <a:solidFill>
                <a:srgbClr val="AEABAB"/>
              </a:solidFill>
            </c:spPr>
            <c:extLst>
              <c:ext xmlns:c16="http://schemas.microsoft.com/office/drawing/2014/chart" uri="{C3380CC4-5D6E-409C-BE32-E72D297353CC}">
                <c16:uniqueId val="{00000075-2993-41DE-A2CB-63102DE87051}"/>
              </c:ext>
            </c:extLst>
          </c:dPt>
          <c:dPt>
            <c:idx val="31"/>
            <c:invertIfNegative val="1"/>
            <c:bubble3D val="0"/>
            <c:spPr>
              <a:solidFill>
                <a:srgbClr val="AEABAB"/>
              </a:solidFill>
            </c:spPr>
            <c:extLst>
              <c:ext xmlns:c16="http://schemas.microsoft.com/office/drawing/2014/chart" uri="{C3380CC4-5D6E-409C-BE32-E72D297353CC}">
                <c16:uniqueId val="{00000077-2993-41DE-A2CB-63102DE87051}"/>
              </c:ext>
            </c:extLst>
          </c:dPt>
          <c:dPt>
            <c:idx val="32"/>
            <c:invertIfNegative val="1"/>
            <c:bubble3D val="0"/>
            <c:spPr>
              <a:solidFill>
                <a:srgbClr val="AEABAB"/>
              </a:solidFill>
            </c:spPr>
            <c:extLst>
              <c:ext xmlns:c16="http://schemas.microsoft.com/office/drawing/2014/chart" uri="{C3380CC4-5D6E-409C-BE32-E72D297353CC}">
                <c16:uniqueId val="{00000079-2993-41DE-A2CB-63102DE87051}"/>
              </c:ext>
            </c:extLst>
          </c:dPt>
          <c:dPt>
            <c:idx val="33"/>
            <c:invertIfNegative val="1"/>
            <c:bubble3D val="0"/>
            <c:spPr>
              <a:solidFill>
                <a:srgbClr val="AEABAB"/>
              </a:solidFill>
            </c:spPr>
            <c:extLst>
              <c:ext xmlns:c16="http://schemas.microsoft.com/office/drawing/2014/chart" uri="{C3380CC4-5D6E-409C-BE32-E72D297353CC}">
                <c16:uniqueId val="{0000007B-2993-41DE-A2CB-63102DE87051}"/>
              </c:ext>
            </c:extLst>
          </c:dPt>
          <c:dPt>
            <c:idx val="34"/>
            <c:invertIfNegative val="1"/>
            <c:bubble3D val="0"/>
            <c:spPr>
              <a:solidFill>
                <a:srgbClr val="AEABAB"/>
              </a:solidFill>
            </c:spPr>
            <c:extLst>
              <c:ext xmlns:c16="http://schemas.microsoft.com/office/drawing/2014/chart" uri="{C3380CC4-5D6E-409C-BE32-E72D297353CC}">
                <c16:uniqueId val="{0000007D-2993-41DE-A2CB-63102DE87051}"/>
              </c:ext>
            </c:extLst>
          </c:dPt>
          <c:dPt>
            <c:idx val="35"/>
            <c:invertIfNegative val="1"/>
            <c:bubble3D val="0"/>
            <c:spPr>
              <a:solidFill>
                <a:srgbClr val="AEABAB"/>
              </a:solidFill>
            </c:spPr>
            <c:extLst>
              <c:ext xmlns:c16="http://schemas.microsoft.com/office/drawing/2014/chart" uri="{C3380CC4-5D6E-409C-BE32-E72D297353CC}">
                <c16:uniqueId val="{0000007F-2993-41DE-A2CB-63102DE87051}"/>
              </c:ext>
            </c:extLst>
          </c:dPt>
          <c:dPt>
            <c:idx val="36"/>
            <c:invertIfNegative val="1"/>
            <c:bubble3D val="0"/>
            <c:spPr>
              <a:solidFill>
                <a:srgbClr val="AEABAB"/>
              </a:solidFill>
            </c:spPr>
            <c:extLst>
              <c:ext xmlns:c16="http://schemas.microsoft.com/office/drawing/2014/chart" uri="{C3380CC4-5D6E-409C-BE32-E72D297353CC}">
                <c16:uniqueId val="{00000081-2993-41DE-A2CB-63102DE87051}"/>
              </c:ext>
            </c:extLst>
          </c:dPt>
          <c:dPt>
            <c:idx val="37"/>
            <c:invertIfNegative val="1"/>
            <c:bubble3D val="0"/>
            <c:spPr>
              <a:solidFill>
                <a:srgbClr val="AEABAB"/>
              </a:solidFill>
            </c:spPr>
            <c:extLst>
              <c:ext xmlns:c16="http://schemas.microsoft.com/office/drawing/2014/chart" uri="{C3380CC4-5D6E-409C-BE32-E72D297353CC}">
                <c16:uniqueId val="{00000083-2993-41DE-A2CB-63102DE87051}"/>
              </c:ext>
            </c:extLst>
          </c:dPt>
          <c:dPt>
            <c:idx val="38"/>
            <c:invertIfNegative val="1"/>
            <c:bubble3D val="0"/>
            <c:spPr>
              <a:solidFill>
                <a:srgbClr val="AEABAB"/>
              </a:solidFill>
            </c:spPr>
            <c:extLst>
              <c:ext xmlns:c16="http://schemas.microsoft.com/office/drawing/2014/chart" uri="{C3380CC4-5D6E-409C-BE32-E72D297353CC}">
                <c16:uniqueId val="{00000085-2993-41DE-A2CB-63102DE87051}"/>
              </c:ext>
            </c:extLst>
          </c:dPt>
          <c:dPt>
            <c:idx val="39"/>
            <c:invertIfNegative val="1"/>
            <c:bubble3D val="0"/>
            <c:spPr>
              <a:solidFill>
                <a:srgbClr val="AEABAB"/>
              </a:solidFill>
            </c:spPr>
            <c:extLst>
              <c:ext xmlns:c16="http://schemas.microsoft.com/office/drawing/2014/chart" uri="{C3380CC4-5D6E-409C-BE32-E72D297353CC}">
                <c16:uniqueId val="{00000087-2993-41DE-A2CB-63102DE87051}"/>
              </c:ext>
            </c:extLst>
          </c:dPt>
          <c:dPt>
            <c:idx val="40"/>
            <c:invertIfNegative val="1"/>
            <c:bubble3D val="0"/>
            <c:spPr>
              <a:solidFill>
                <a:srgbClr val="AEABAB"/>
              </a:solidFill>
            </c:spPr>
            <c:extLst>
              <c:ext xmlns:c16="http://schemas.microsoft.com/office/drawing/2014/chart" uri="{C3380CC4-5D6E-409C-BE32-E72D297353CC}">
                <c16:uniqueId val="{00000089-2993-41DE-A2CB-63102DE87051}"/>
              </c:ext>
            </c:extLst>
          </c:dPt>
          <c:dPt>
            <c:idx val="41"/>
            <c:invertIfNegative val="1"/>
            <c:bubble3D val="0"/>
            <c:spPr>
              <a:solidFill>
                <a:srgbClr val="AEABAB"/>
              </a:solidFill>
            </c:spPr>
            <c:extLst>
              <c:ext xmlns:c16="http://schemas.microsoft.com/office/drawing/2014/chart" uri="{C3380CC4-5D6E-409C-BE32-E72D297353CC}">
                <c16:uniqueId val="{0000008B-2993-41DE-A2CB-63102DE87051}"/>
              </c:ext>
            </c:extLst>
          </c:dPt>
          <c:dPt>
            <c:idx val="42"/>
            <c:invertIfNegative val="1"/>
            <c:bubble3D val="0"/>
            <c:spPr>
              <a:solidFill>
                <a:srgbClr val="AEABAB"/>
              </a:solidFill>
            </c:spPr>
            <c:extLst>
              <c:ext xmlns:c16="http://schemas.microsoft.com/office/drawing/2014/chart" uri="{C3380CC4-5D6E-409C-BE32-E72D297353CC}">
                <c16:uniqueId val="{0000008D-2993-41DE-A2CB-63102DE87051}"/>
              </c:ext>
            </c:extLst>
          </c:dPt>
          <c:dPt>
            <c:idx val="43"/>
            <c:invertIfNegative val="1"/>
            <c:bubble3D val="0"/>
            <c:spPr>
              <a:solidFill>
                <a:srgbClr val="AEABAB"/>
              </a:solidFill>
            </c:spPr>
            <c:extLst>
              <c:ext xmlns:c16="http://schemas.microsoft.com/office/drawing/2014/chart" uri="{C3380CC4-5D6E-409C-BE32-E72D297353CC}">
                <c16:uniqueId val="{0000008F-2993-41DE-A2CB-63102DE87051}"/>
              </c:ext>
            </c:extLst>
          </c:dPt>
          <c:dPt>
            <c:idx val="44"/>
            <c:invertIfNegative val="1"/>
            <c:bubble3D val="0"/>
            <c:spPr>
              <a:solidFill>
                <a:srgbClr val="AEABAB"/>
              </a:solidFill>
            </c:spPr>
            <c:extLst>
              <c:ext xmlns:c16="http://schemas.microsoft.com/office/drawing/2014/chart" uri="{C3380CC4-5D6E-409C-BE32-E72D297353CC}">
                <c16:uniqueId val="{00000091-2993-41DE-A2CB-63102DE87051}"/>
              </c:ext>
            </c:extLst>
          </c:dPt>
          <c:dPt>
            <c:idx val="45"/>
            <c:invertIfNegative val="1"/>
            <c:bubble3D val="0"/>
            <c:spPr>
              <a:solidFill>
                <a:srgbClr val="AEABAB"/>
              </a:solidFill>
            </c:spPr>
            <c:extLst>
              <c:ext xmlns:c16="http://schemas.microsoft.com/office/drawing/2014/chart" uri="{C3380CC4-5D6E-409C-BE32-E72D297353CC}">
                <c16:uniqueId val="{00000093-2993-41DE-A2CB-63102DE87051}"/>
              </c:ext>
            </c:extLst>
          </c:dPt>
          <c:dPt>
            <c:idx val="46"/>
            <c:invertIfNegative val="1"/>
            <c:bubble3D val="0"/>
            <c:spPr>
              <a:solidFill>
                <a:srgbClr val="AEABAB"/>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48</c:f>
              <c:strCache>
                <c:ptCount val="47"/>
                <c:pt idx="0">
                  <c:v>Ruinart</c:v>
                </c:pt>
                <c:pt idx="1">
                  <c:v>Deutz</c:v>
                </c:pt>
                <c:pt idx="2">
                  <c:v>Demoiselle</c:v>
                </c:pt>
                <c:pt idx="3">
                  <c:v>Ruinart</c:v>
                </c:pt>
                <c:pt idx="4">
                  <c:v>Laurent Per</c:v>
                </c:pt>
                <c:pt idx="5">
                  <c:v>Nicolas</c:v>
                </c:pt>
                <c:pt idx="6">
                  <c:v>Nicolas Feu</c:v>
                </c:pt>
                <c:pt idx="7">
                  <c:v>Malard</c:v>
                </c:pt>
                <c:pt idx="8">
                  <c:v>Pommery</c:v>
                </c:pt>
                <c:pt idx="9">
                  <c:v>Besserat De</c:v>
                </c:pt>
                <c:pt idx="10">
                  <c:v>Ruinart</c:v>
                </c:pt>
                <c:pt idx="11">
                  <c:v>Ruinart</c:v>
                </c:pt>
                <c:pt idx="12">
                  <c:v>Nicolas</c:v>
                </c:pt>
                <c:pt idx="13">
                  <c:v>Deutz</c:v>
                </c:pt>
                <c:pt idx="14">
                  <c:v>Bollinger</c:v>
                </c:pt>
                <c:pt idx="15">
                  <c:v>Nicolas</c:v>
                </c:pt>
                <c:pt idx="16">
                  <c:v>Besserat De</c:v>
                </c:pt>
                <c:pt idx="17">
                  <c:v>Demoiselle</c:v>
                </c:pt>
                <c:pt idx="18">
                  <c:v>Nicolas</c:v>
                </c:pt>
                <c:pt idx="19">
                  <c:v>Nicolas</c:v>
                </c:pt>
                <c:pt idx="20">
                  <c:v>Henriot</c:v>
                </c:pt>
                <c:pt idx="21">
                  <c:v>Ruinart</c:v>
                </c:pt>
                <c:pt idx="22">
                  <c:v>Veuve Clicq</c:v>
                </c:pt>
                <c:pt idx="23">
                  <c:v>All Others</c:v>
                </c:pt>
                <c:pt idx="24">
                  <c:v>Laurent Per</c:v>
                </c:pt>
                <c:pt idx="25">
                  <c:v>De Bligny</c:v>
                </c:pt>
                <c:pt idx="26">
                  <c:v>Dom Perigno</c:v>
                </c:pt>
                <c:pt idx="27">
                  <c:v>Bollinger</c:v>
                </c:pt>
                <c:pt idx="28">
                  <c:v>Perrier Jou</c:v>
                </c:pt>
                <c:pt idx="29">
                  <c:v>Deutz</c:v>
                </c:pt>
                <c:pt idx="30">
                  <c:v>Dom Perigno</c:v>
                </c:pt>
                <c:pt idx="31">
                  <c:v>Roederer</c:v>
                </c:pt>
                <c:pt idx="32">
                  <c:v>Ruinart</c:v>
                </c:pt>
                <c:pt idx="33">
                  <c:v>Ruinart</c:v>
                </c:pt>
                <c:pt idx="34">
                  <c:v>Veuve Clicq</c:v>
                </c:pt>
                <c:pt idx="35">
                  <c:v>All Others</c:v>
                </c:pt>
                <c:pt idx="36">
                  <c:v>Perrier Jou</c:v>
                </c:pt>
                <c:pt idx="37">
                  <c:v>Veuve Clicq</c:v>
                </c:pt>
                <c:pt idx="38">
                  <c:v>Moët &amp; Chan</c:v>
                </c:pt>
                <c:pt idx="39">
                  <c:v>Laurent Per</c:v>
                </c:pt>
                <c:pt idx="40">
                  <c:v>Roederer</c:v>
                </c:pt>
                <c:pt idx="41">
                  <c:v>Demoiselle</c:v>
                </c:pt>
                <c:pt idx="42">
                  <c:v>Besserat De</c:v>
                </c:pt>
                <c:pt idx="43">
                  <c:v>Vranken Pom</c:v>
                </c:pt>
                <c:pt idx="44">
                  <c:v>Demoiselle</c:v>
                </c:pt>
                <c:pt idx="45">
                  <c:v>Lanson</c:v>
                </c:pt>
                <c:pt idx="46">
                  <c:v>Pommery</c:v>
                </c:pt>
              </c:strCache>
            </c:strRef>
          </c:cat>
          <c:val>
            <c:numRef>
              <c:f>Sheet1!$C$2:$C$48</c:f>
              <c:numCache>
                <c:formatCode>General</c:formatCode>
                <c:ptCount val="47"/>
                <c:pt idx="0">
                  <c:v>0.20361571720435218</c:v>
                </c:pt>
                <c:pt idx="1">
                  <c:v>0.31556011545588447</c:v>
                </c:pt>
                <c:pt idx="2">
                  <c:v>0.40767538128949499</c:v>
                </c:pt>
                <c:pt idx="3">
                  <c:v>0.48752345940038966</c:v>
                </c:pt>
                <c:pt idx="4">
                  <c:v>0.56718000190050843</c:v>
                </c:pt>
                <c:pt idx="5">
                  <c:v>0.64581353637097927</c:v>
                </c:pt>
                <c:pt idx="6">
                  <c:v>0.70205819119114365</c:v>
                </c:pt>
                <c:pt idx="7">
                  <c:v>0.7519034779303464</c:v>
                </c:pt>
                <c:pt idx="8">
                  <c:v>0.79593142728179789</c:v>
                </c:pt>
                <c:pt idx="9">
                  <c:v>0.83857705373687463</c:v>
                </c:pt>
                <c:pt idx="10">
                  <c:v>0.86309806623271723</c:v>
                </c:pt>
                <c:pt idx="11">
                  <c:v>0.88697914192046368</c:v>
                </c:pt>
                <c:pt idx="12">
                  <c:v>0.90753878224925166</c:v>
                </c:pt>
                <c:pt idx="13">
                  <c:v>0.92775840974960799</c:v>
                </c:pt>
                <c:pt idx="14">
                  <c:v>0.94517033306409459</c:v>
                </c:pt>
                <c:pt idx="15">
                  <c:v>0.95700693685560878</c:v>
                </c:pt>
                <c:pt idx="16">
                  <c:v>0.96830753789138591</c:v>
                </c:pt>
                <c:pt idx="17">
                  <c:v>0.97492516748230151</c:v>
                </c:pt>
                <c:pt idx="18">
                  <c:v>0.97958735211669123</c:v>
                </c:pt>
                <c:pt idx="19">
                  <c:v>0.98217531002043046</c:v>
                </c:pt>
                <c:pt idx="20">
                  <c:v>0.98462369933957328</c:v>
                </c:pt>
                <c:pt idx="21">
                  <c:v>0.9870230911768898</c:v>
                </c:pt>
                <c:pt idx="22">
                  <c:v>0.9891849194659571</c:v>
                </c:pt>
                <c:pt idx="23">
                  <c:v>0.99078847341663889</c:v>
                </c:pt>
                <c:pt idx="24">
                  <c:v>0.99238014918990824</c:v>
                </c:pt>
                <c:pt idx="25">
                  <c:v>0.9933304033829049</c:v>
                </c:pt>
                <c:pt idx="26">
                  <c:v>0.99427323371501874</c:v>
                </c:pt>
                <c:pt idx="27">
                  <c:v>0.99508094977906592</c:v>
                </c:pt>
                <c:pt idx="28">
                  <c:v>0.99585303131087566</c:v>
                </c:pt>
                <c:pt idx="29">
                  <c:v>0.99646178790326412</c:v>
                </c:pt>
                <c:pt idx="30">
                  <c:v>0.99689979569534848</c:v>
                </c:pt>
                <c:pt idx="31">
                  <c:v>0.99733186439872668</c:v>
                </c:pt>
                <c:pt idx="32">
                  <c:v>0.99773275288639718</c:v>
                </c:pt>
                <c:pt idx="33">
                  <c:v>0.9980890982087709</c:v>
                </c:pt>
                <c:pt idx="34">
                  <c:v>0.99844544353114462</c:v>
                </c:pt>
                <c:pt idx="35">
                  <c:v>0.99876170000475128</c:v>
                </c:pt>
                <c:pt idx="36">
                  <c:v>0.99905271535135654</c:v>
                </c:pt>
                <c:pt idx="37">
                  <c:v>0.99919228393595294</c:v>
                </c:pt>
                <c:pt idx="38">
                  <c:v>0.99932591343184307</c:v>
                </c:pt>
                <c:pt idx="39">
                  <c:v>0.99945211906685039</c:v>
                </c:pt>
                <c:pt idx="40">
                  <c:v>0.99955456834703282</c:v>
                </c:pt>
                <c:pt idx="41">
                  <c:v>0.99965256331068564</c:v>
                </c:pt>
                <c:pt idx="42">
                  <c:v>0.99974758872998526</c:v>
                </c:pt>
                <c:pt idx="43">
                  <c:v>0.9998292511996959</c:v>
                </c:pt>
                <c:pt idx="44">
                  <c:v>0.99988715731458166</c:v>
                </c:pt>
                <c:pt idx="45">
                  <c:v>0.99994506342946743</c:v>
                </c:pt>
                <c:pt idx="46">
                  <c:v>1</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Nicolas</c:v>
                </c:pt>
                <c:pt idx="2">
                  <c:v>Deutz</c:v>
                </c:pt>
                <c:pt idx="3">
                  <c:v>Laurent Perrier</c:v>
                </c:pt>
                <c:pt idx="4">
                  <c:v>Malard</c:v>
                </c:pt>
                <c:pt idx="5">
                  <c:v>Roederer</c:v>
                </c:pt>
                <c:pt idx="6">
                  <c:v>Nicolas Feuillatte</c:v>
                </c:pt>
                <c:pt idx="7">
                  <c:v>Taittinger</c:v>
                </c:pt>
                <c:pt idx="8">
                  <c:v>Bollinger</c:v>
                </c:pt>
                <c:pt idx="9">
                  <c:v>Others</c:v>
                </c:pt>
              </c:strCache>
            </c:strRef>
          </c:cat>
          <c:val>
            <c:numRef>
              <c:f>Sheet1!$B$2:$B$11</c:f>
              <c:numCache>
                <c:formatCode>General</c:formatCode>
                <c:ptCount val="10"/>
                <c:pt idx="0">
                  <c:v>0.22460352094922031</c:v>
                </c:pt>
                <c:pt idx="1">
                  <c:v>7.5112698780106041E-2</c:v>
                </c:pt>
                <c:pt idx="2">
                  <c:v>7.2022543196079911E-2</c:v>
                </c:pt>
                <c:pt idx="3">
                  <c:v>6.2326983476415201E-2</c:v>
                </c:pt>
                <c:pt idx="4">
                  <c:v>4.3835807964129031E-2</c:v>
                </c:pt>
                <c:pt idx="5">
                  <c:v>3.5323505577072305E-2</c:v>
                </c:pt>
                <c:pt idx="6">
                  <c:v>3.5252738655300715E-2</c:v>
                </c:pt>
                <c:pt idx="7">
                  <c:v>2.9383629940108579E-2</c:v>
                </c:pt>
                <c:pt idx="8">
                  <c:v>2.8410584765749203E-2</c:v>
                </c:pt>
                <c:pt idx="9">
                  <c:v>0.39372798669581871</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Nicolas</c:v>
                </c:pt>
                <c:pt idx="2">
                  <c:v>Deutz</c:v>
                </c:pt>
                <c:pt idx="3">
                  <c:v>Laurent Perrier</c:v>
                </c:pt>
                <c:pt idx="4">
                  <c:v>Malard</c:v>
                </c:pt>
                <c:pt idx="5">
                  <c:v>Roederer</c:v>
                </c:pt>
                <c:pt idx="6">
                  <c:v>Nicolas Feuillatte</c:v>
                </c:pt>
                <c:pt idx="7">
                  <c:v>Taittinger</c:v>
                </c:pt>
                <c:pt idx="8">
                  <c:v>Bollinger</c:v>
                </c:pt>
                <c:pt idx="9">
                  <c:v>Others</c:v>
                </c:pt>
              </c:strCache>
            </c:strRef>
          </c:cat>
          <c:val>
            <c:numRef>
              <c:f>Sheet1!$C$2:$C$11</c:f>
              <c:numCache>
                <c:formatCode>General</c:formatCode>
                <c:ptCount val="10"/>
                <c:pt idx="0">
                  <c:v>7.9575596816976082E-2</c:v>
                </c:pt>
                <c:pt idx="1">
                  <c:v>6.5839333080712353E-2</c:v>
                </c:pt>
                <c:pt idx="2">
                  <c:v>4.5850701023114795E-2</c:v>
                </c:pt>
                <c:pt idx="3">
                  <c:v>4.1208791208791194E-2</c:v>
                </c:pt>
                <c:pt idx="4">
                  <c:v>3.7135278514588844E-2</c:v>
                </c:pt>
                <c:pt idx="5">
                  <c:v>4.4240242516104568E-2</c:v>
                </c:pt>
                <c:pt idx="6">
                  <c:v>3.2114437286851066E-2</c:v>
                </c:pt>
                <c:pt idx="7">
                  <c:v>2.2262220538082595E-2</c:v>
                </c:pt>
                <c:pt idx="8">
                  <c:v>2.3399014778325112E-2</c:v>
                </c:pt>
                <c:pt idx="9">
                  <c:v>0.60837438423645307</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Nicolas</c:v>
                </c:pt>
                <c:pt idx="2">
                  <c:v>Deutz</c:v>
                </c:pt>
                <c:pt idx="3">
                  <c:v>Laurent Perrier</c:v>
                </c:pt>
                <c:pt idx="4">
                  <c:v>Malard</c:v>
                </c:pt>
                <c:pt idx="5">
                  <c:v>Roederer</c:v>
                </c:pt>
                <c:pt idx="6">
                  <c:v>Nicolas Feuillatte</c:v>
                </c:pt>
                <c:pt idx="7">
                  <c:v>Taittinger</c:v>
                </c:pt>
                <c:pt idx="8">
                  <c:v>Bollinger</c:v>
                </c:pt>
                <c:pt idx="9">
                  <c:v>Others</c:v>
                </c:pt>
              </c:strCache>
            </c:strRef>
          </c:cat>
          <c:val>
            <c:numRef>
              <c:f>Sheet1!$D$2:$D$11</c:f>
              <c:numCache>
                <c:formatCode>General</c:formatCode>
                <c:ptCount val="10"/>
                <c:pt idx="0">
                  <c:v>35.42936303076344</c:v>
                </c:pt>
                <c:pt idx="1">
                  <c:v>87.65406402645489</c:v>
                </c:pt>
                <c:pt idx="2">
                  <c:v>63.661596756292248</c:v>
                </c:pt>
                <c:pt idx="3">
                  <c:v>66.117095534367991</c:v>
                </c:pt>
                <c:pt idx="4">
                  <c:v>84.714483978433236</c:v>
                </c:pt>
                <c:pt idx="5">
                  <c:v>125.24306915002205</c:v>
                </c:pt>
                <c:pt idx="6">
                  <c:v>91.097709034365295</c:v>
                </c:pt>
                <c:pt idx="7">
                  <c:v>75.764024334157298</c:v>
                </c:pt>
                <c:pt idx="8">
                  <c:v>82.360201211113875</c:v>
                </c:pt>
                <c:pt idx="9">
                  <c:v>154.51641864271718</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37</c:f>
              <c:strCache>
                <c:ptCount val="36"/>
                <c:pt idx="0">
                  <c:v>Ruinart</c:v>
                </c:pt>
                <c:pt idx="1">
                  <c:v>Deutz</c:v>
                </c:pt>
                <c:pt idx="2">
                  <c:v>Demoiselle</c:v>
                </c:pt>
                <c:pt idx="3">
                  <c:v>Ruinart</c:v>
                </c:pt>
                <c:pt idx="4">
                  <c:v>Nicolas</c:v>
                </c:pt>
                <c:pt idx="5">
                  <c:v>Laurent Per</c:v>
                </c:pt>
                <c:pt idx="6">
                  <c:v>Nicolas Feu</c:v>
                </c:pt>
                <c:pt idx="7">
                  <c:v>Malard</c:v>
                </c:pt>
                <c:pt idx="8">
                  <c:v>Pommery</c:v>
                </c:pt>
                <c:pt idx="9">
                  <c:v>Besserat De</c:v>
                </c:pt>
                <c:pt idx="10">
                  <c:v>Ruinart</c:v>
                </c:pt>
                <c:pt idx="11">
                  <c:v>Ruinart</c:v>
                </c:pt>
                <c:pt idx="12">
                  <c:v>Deutz</c:v>
                </c:pt>
                <c:pt idx="13">
                  <c:v>Bollinger</c:v>
                </c:pt>
                <c:pt idx="14">
                  <c:v>Nicolas</c:v>
                </c:pt>
                <c:pt idx="15">
                  <c:v>Nicolas</c:v>
                </c:pt>
                <c:pt idx="16">
                  <c:v>Besserat De</c:v>
                </c:pt>
                <c:pt idx="17">
                  <c:v>Demoiselle</c:v>
                </c:pt>
                <c:pt idx="18">
                  <c:v>Nicolas</c:v>
                </c:pt>
                <c:pt idx="19">
                  <c:v>Ruinart</c:v>
                </c:pt>
                <c:pt idx="20">
                  <c:v>Laurent Per</c:v>
                </c:pt>
                <c:pt idx="21">
                  <c:v>Henriot</c:v>
                </c:pt>
                <c:pt idx="22">
                  <c:v>Deutz</c:v>
                </c:pt>
                <c:pt idx="23">
                  <c:v>Nicolas</c:v>
                </c:pt>
                <c:pt idx="24">
                  <c:v>Bollinger</c:v>
                </c:pt>
                <c:pt idx="25">
                  <c:v>Laurent Per</c:v>
                </c:pt>
                <c:pt idx="26">
                  <c:v>Roederer</c:v>
                </c:pt>
                <c:pt idx="27">
                  <c:v>Roederer</c:v>
                </c:pt>
                <c:pt idx="28">
                  <c:v>Laurent Per</c:v>
                </c:pt>
                <c:pt idx="29">
                  <c:v>Ruinart</c:v>
                </c:pt>
                <c:pt idx="30">
                  <c:v>Perrier Jou</c:v>
                </c:pt>
                <c:pt idx="31">
                  <c:v>Roederer</c:v>
                </c:pt>
                <c:pt idx="32">
                  <c:v>Lanson</c:v>
                </c:pt>
                <c:pt idx="33">
                  <c:v>All Others</c:v>
                </c:pt>
                <c:pt idx="34">
                  <c:v>All Others</c:v>
                </c:pt>
                <c:pt idx="35">
                  <c:v>Besserat De</c:v>
                </c:pt>
              </c:strCache>
            </c:strRef>
          </c:cat>
          <c:val>
            <c:numRef>
              <c:f>Sheet1!$B$2:$B$37</c:f>
              <c:numCache>
                <c:formatCode>General</c:formatCode>
                <c:ptCount val="36"/>
                <c:pt idx="0">
                  <c:v>0.47</c:v>
                </c:pt>
                <c:pt idx="1">
                  <c:v>0.5</c:v>
                </c:pt>
                <c:pt idx="2">
                  <c:v>0.51</c:v>
                </c:pt>
                <c:pt idx="3">
                  <c:v>0.24</c:v>
                </c:pt>
                <c:pt idx="4">
                  <c:v>0.45</c:v>
                </c:pt>
                <c:pt idx="5">
                  <c:v>0.37</c:v>
                </c:pt>
                <c:pt idx="6">
                  <c:v>0.28000000000000003</c:v>
                </c:pt>
                <c:pt idx="7">
                  <c:v>0.28000000000000003</c:v>
                </c:pt>
                <c:pt idx="8">
                  <c:v>0.31</c:v>
                </c:pt>
                <c:pt idx="9">
                  <c:v>0.15</c:v>
                </c:pt>
                <c:pt idx="10">
                  <c:v>0.06</c:v>
                </c:pt>
                <c:pt idx="11">
                  <c:v>0.11</c:v>
                </c:pt>
                <c:pt idx="12">
                  <c:v>0.24</c:v>
                </c:pt>
                <c:pt idx="13">
                  <c:v>0.06</c:v>
                </c:pt>
                <c:pt idx="14">
                  <c:v>0.2</c:v>
                </c:pt>
                <c:pt idx="15">
                  <c:v>0.17</c:v>
                </c:pt>
                <c:pt idx="16">
                  <c:v>0.09</c:v>
                </c:pt>
                <c:pt idx="17">
                  <c:v>0.08</c:v>
                </c:pt>
                <c:pt idx="18">
                  <c:v>0.04</c:v>
                </c:pt>
                <c:pt idx="19">
                  <c:v>0.03</c:v>
                </c:pt>
                <c:pt idx="20">
                  <c:v>0.02</c:v>
                </c:pt>
                <c:pt idx="21">
                  <c:v>0.04</c:v>
                </c:pt>
                <c:pt idx="22">
                  <c:v>0.01</c:v>
                </c:pt>
                <c:pt idx="23">
                  <c:v>0.03</c:v>
                </c:pt>
                <c:pt idx="24">
                  <c:v>0.02</c:v>
                </c:pt>
                <c:pt idx="25">
                  <c:v>0.01</c:v>
                </c:pt>
                <c:pt idx="26">
                  <c:v>0.01</c:v>
                </c:pt>
                <c:pt idx="27">
                  <c:v>0.01</c:v>
                </c:pt>
                <c:pt idx="28">
                  <c:v>0.01</c:v>
                </c:pt>
                <c:pt idx="29">
                  <c:v>0.01</c:v>
                </c:pt>
                <c:pt idx="30">
                  <c:v>0.02</c:v>
                </c:pt>
                <c:pt idx="31">
                  <c:v>0.01</c:v>
                </c:pt>
                <c:pt idx="32">
                  <c:v>0.01</c:v>
                </c:pt>
                <c:pt idx="33">
                  <c:v>0.01</c:v>
                </c:pt>
                <c:pt idx="34">
                  <c:v>0.01</c:v>
                </c:pt>
                <c:pt idx="35">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7ECAC4"/>
              </a:solidFill>
            </c:spPr>
            <c:extLst>
              <c:ext xmlns:c16="http://schemas.microsoft.com/office/drawing/2014/chart" uri="{C3380CC4-5D6E-409C-BE32-E72D297353CC}">
                <c16:uniqueId val="{0000004B-2993-41DE-A2CB-63102DE87051}"/>
              </c:ext>
            </c:extLst>
          </c:dPt>
          <c:dPt>
            <c:idx val="10"/>
            <c:invertIfNegative val="1"/>
            <c:bubble3D val="0"/>
            <c:spPr>
              <a:solidFill>
                <a:srgbClr val="7ECAC4"/>
              </a:solidFill>
            </c:spPr>
            <c:extLst>
              <c:ext xmlns:c16="http://schemas.microsoft.com/office/drawing/2014/chart" uri="{C3380CC4-5D6E-409C-BE32-E72D297353CC}">
                <c16:uniqueId val="{0000004D-2993-41DE-A2CB-63102DE87051}"/>
              </c:ext>
            </c:extLst>
          </c:dPt>
          <c:dPt>
            <c:idx val="11"/>
            <c:invertIfNegative val="1"/>
            <c:bubble3D val="0"/>
            <c:spPr>
              <a:solidFill>
                <a:srgbClr val="7ECAC4"/>
              </a:solidFill>
            </c:spPr>
            <c:extLst>
              <c:ext xmlns:c16="http://schemas.microsoft.com/office/drawing/2014/chart" uri="{C3380CC4-5D6E-409C-BE32-E72D297353CC}">
                <c16:uniqueId val="{0000004F-2993-41DE-A2CB-63102DE87051}"/>
              </c:ext>
            </c:extLst>
          </c:dPt>
          <c:dPt>
            <c:idx val="12"/>
            <c:invertIfNegative val="1"/>
            <c:bubble3D val="0"/>
            <c:spPr>
              <a:solidFill>
                <a:srgbClr val="7ECAC4"/>
              </a:solidFill>
            </c:spPr>
            <c:extLst>
              <c:ext xmlns:c16="http://schemas.microsoft.com/office/drawing/2014/chart" uri="{C3380CC4-5D6E-409C-BE32-E72D297353CC}">
                <c16:uniqueId val="{00000051-2993-41DE-A2CB-63102DE87051}"/>
              </c:ext>
            </c:extLst>
          </c:dPt>
          <c:dPt>
            <c:idx val="13"/>
            <c:invertIfNegative val="1"/>
            <c:bubble3D val="0"/>
            <c:spPr>
              <a:solidFill>
                <a:srgbClr val="7ECAC4"/>
              </a:solidFill>
            </c:spPr>
            <c:extLst>
              <c:ext xmlns:c16="http://schemas.microsoft.com/office/drawing/2014/chart" uri="{C3380CC4-5D6E-409C-BE32-E72D297353CC}">
                <c16:uniqueId val="{00000053-2993-41DE-A2CB-63102DE87051}"/>
              </c:ext>
            </c:extLst>
          </c:dPt>
          <c:dPt>
            <c:idx val="14"/>
            <c:invertIfNegative val="1"/>
            <c:bubble3D val="0"/>
            <c:spPr>
              <a:solidFill>
                <a:srgbClr val="7ECAC4"/>
              </a:solidFill>
            </c:spPr>
            <c:extLst>
              <c:ext xmlns:c16="http://schemas.microsoft.com/office/drawing/2014/chart" uri="{C3380CC4-5D6E-409C-BE32-E72D297353CC}">
                <c16:uniqueId val="{00000055-2993-41DE-A2CB-63102DE87051}"/>
              </c:ext>
            </c:extLst>
          </c:dPt>
          <c:dPt>
            <c:idx val="15"/>
            <c:invertIfNegative val="1"/>
            <c:bubble3D val="0"/>
            <c:spPr>
              <a:solidFill>
                <a:srgbClr val="AEABAB"/>
              </a:solidFill>
            </c:spPr>
            <c:extLst>
              <c:ext xmlns:c16="http://schemas.microsoft.com/office/drawing/2014/chart" uri="{C3380CC4-5D6E-409C-BE32-E72D297353CC}">
                <c16:uniqueId val="{00000057-2993-41DE-A2CB-63102DE87051}"/>
              </c:ext>
            </c:extLst>
          </c:dPt>
          <c:dPt>
            <c:idx val="16"/>
            <c:invertIfNegative val="1"/>
            <c:bubble3D val="0"/>
            <c:spPr>
              <a:solidFill>
                <a:srgbClr val="AEABAB"/>
              </a:solidFill>
            </c:spPr>
            <c:extLst>
              <c:ext xmlns:c16="http://schemas.microsoft.com/office/drawing/2014/chart" uri="{C3380CC4-5D6E-409C-BE32-E72D297353CC}">
                <c16:uniqueId val="{00000059-2993-41DE-A2CB-63102DE87051}"/>
              </c:ext>
            </c:extLst>
          </c:dPt>
          <c:dPt>
            <c:idx val="17"/>
            <c:invertIfNegative val="1"/>
            <c:bubble3D val="0"/>
            <c:spPr>
              <a:solidFill>
                <a:srgbClr val="AEABAB"/>
              </a:solidFill>
            </c:spPr>
            <c:extLst>
              <c:ext xmlns:c16="http://schemas.microsoft.com/office/drawing/2014/chart" uri="{C3380CC4-5D6E-409C-BE32-E72D297353CC}">
                <c16:uniqueId val="{0000005B-2993-41DE-A2CB-63102DE87051}"/>
              </c:ext>
            </c:extLst>
          </c:dPt>
          <c:dPt>
            <c:idx val="18"/>
            <c:invertIfNegative val="1"/>
            <c:bubble3D val="0"/>
            <c:spPr>
              <a:solidFill>
                <a:srgbClr val="AEABAB"/>
              </a:solidFill>
            </c:spPr>
            <c:extLst>
              <c:ext xmlns:c16="http://schemas.microsoft.com/office/drawing/2014/chart" uri="{C3380CC4-5D6E-409C-BE32-E72D297353CC}">
                <c16:uniqueId val="{0000005D-2993-41DE-A2CB-63102DE87051}"/>
              </c:ext>
            </c:extLst>
          </c:dPt>
          <c:dPt>
            <c:idx val="19"/>
            <c:invertIfNegative val="1"/>
            <c:bubble3D val="0"/>
            <c:spPr>
              <a:solidFill>
                <a:srgbClr val="AEABAB"/>
              </a:solidFill>
            </c:spPr>
            <c:extLst>
              <c:ext xmlns:c16="http://schemas.microsoft.com/office/drawing/2014/chart" uri="{C3380CC4-5D6E-409C-BE32-E72D297353CC}">
                <c16:uniqueId val="{0000005F-2993-41DE-A2CB-63102DE87051}"/>
              </c:ext>
            </c:extLst>
          </c:dPt>
          <c:dPt>
            <c:idx val="20"/>
            <c:invertIfNegative val="1"/>
            <c:bubble3D val="0"/>
            <c:spPr>
              <a:solidFill>
                <a:srgbClr val="AEABAB"/>
              </a:solidFill>
            </c:spPr>
            <c:extLst>
              <c:ext xmlns:c16="http://schemas.microsoft.com/office/drawing/2014/chart" uri="{C3380CC4-5D6E-409C-BE32-E72D297353CC}">
                <c16:uniqueId val="{00000061-2993-41DE-A2CB-63102DE87051}"/>
              </c:ext>
            </c:extLst>
          </c:dPt>
          <c:dPt>
            <c:idx val="21"/>
            <c:invertIfNegative val="1"/>
            <c:bubble3D val="0"/>
            <c:spPr>
              <a:solidFill>
                <a:srgbClr val="AEABAB"/>
              </a:solidFill>
            </c:spPr>
            <c:extLst>
              <c:ext xmlns:c16="http://schemas.microsoft.com/office/drawing/2014/chart" uri="{C3380CC4-5D6E-409C-BE32-E72D297353CC}">
                <c16:uniqueId val="{00000063-2993-41DE-A2CB-63102DE87051}"/>
              </c:ext>
            </c:extLst>
          </c:dPt>
          <c:dPt>
            <c:idx val="22"/>
            <c:invertIfNegative val="1"/>
            <c:bubble3D val="0"/>
            <c:spPr>
              <a:solidFill>
                <a:srgbClr val="AEABAB"/>
              </a:solidFill>
            </c:spPr>
            <c:extLst>
              <c:ext xmlns:c16="http://schemas.microsoft.com/office/drawing/2014/chart" uri="{C3380CC4-5D6E-409C-BE32-E72D297353CC}">
                <c16:uniqueId val="{00000065-2993-41DE-A2CB-63102DE87051}"/>
              </c:ext>
            </c:extLst>
          </c:dPt>
          <c:dPt>
            <c:idx val="23"/>
            <c:invertIfNegative val="1"/>
            <c:bubble3D val="0"/>
            <c:spPr>
              <a:solidFill>
                <a:srgbClr val="AEABAB"/>
              </a:solidFill>
            </c:spPr>
            <c:extLst>
              <c:ext xmlns:c16="http://schemas.microsoft.com/office/drawing/2014/chart" uri="{C3380CC4-5D6E-409C-BE32-E72D297353CC}">
                <c16:uniqueId val="{00000067-2993-41DE-A2CB-63102DE87051}"/>
              </c:ext>
            </c:extLst>
          </c:dPt>
          <c:dPt>
            <c:idx val="24"/>
            <c:invertIfNegative val="1"/>
            <c:bubble3D val="0"/>
            <c:spPr>
              <a:solidFill>
                <a:srgbClr val="AEABAB"/>
              </a:solidFill>
            </c:spPr>
            <c:extLst>
              <c:ext xmlns:c16="http://schemas.microsoft.com/office/drawing/2014/chart" uri="{C3380CC4-5D6E-409C-BE32-E72D297353CC}">
                <c16:uniqueId val="{00000069-2993-41DE-A2CB-63102DE87051}"/>
              </c:ext>
            </c:extLst>
          </c:dPt>
          <c:dPt>
            <c:idx val="25"/>
            <c:invertIfNegative val="1"/>
            <c:bubble3D val="0"/>
            <c:spPr>
              <a:solidFill>
                <a:srgbClr val="AEABAB"/>
              </a:solidFill>
            </c:spPr>
            <c:extLst>
              <c:ext xmlns:c16="http://schemas.microsoft.com/office/drawing/2014/chart" uri="{C3380CC4-5D6E-409C-BE32-E72D297353CC}">
                <c16:uniqueId val="{0000006B-2993-41DE-A2CB-63102DE87051}"/>
              </c:ext>
            </c:extLst>
          </c:dPt>
          <c:dPt>
            <c:idx val="26"/>
            <c:invertIfNegative val="1"/>
            <c:bubble3D val="0"/>
            <c:spPr>
              <a:solidFill>
                <a:srgbClr val="AEABAB"/>
              </a:solidFill>
            </c:spPr>
            <c:extLst>
              <c:ext xmlns:c16="http://schemas.microsoft.com/office/drawing/2014/chart" uri="{C3380CC4-5D6E-409C-BE32-E72D297353CC}">
                <c16:uniqueId val="{0000006D-2993-41DE-A2CB-63102DE87051}"/>
              </c:ext>
            </c:extLst>
          </c:dPt>
          <c:dPt>
            <c:idx val="27"/>
            <c:invertIfNegative val="1"/>
            <c:bubble3D val="0"/>
            <c:spPr>
              <a:solidFill>
                <a:srgbClr val="AEABAB"/>
              </a:solidFill>
            </c:spPr>
            <c:extLst>
              <c:ext xmlns:c16="http://schemas.microsoft.com/office/drawing/2014/chart" uri="{C3380CC4-5D6E-409C-BE32-E72D297353CC}">
                <c16:uniqueId val="{0000006F-2993-41DE-A2CB-63102DE87051}"/>
              </c:ext>
            </c:extLst>
          </c:dPt>
          <c:dPt>
            <c:idx val="28"/>
            <c:invertIfNegative val="1"/>
            <c:bubble3D val="0"/>
            <c:spPr>
              <a:solidFill>
                <a:srgbClr val="AEABAB"/>
              </a:solidFill>
            </c:spPr>
            <c:extLst>
              <c:ext xmlns:c16="http://schemas.microsoft.com/office/drawing/2014/chart" uri="{C3380CC4-5D6E-409C-BE32-E72D297353CC}">
                <c16:uniqueId val="{00000071-2993-41DE-A2CB-63102DE87051}"/>
              </c:ext>
            </c:extLst>
          </c:dPt>
          <c:dPt>
            <c:idx val="29"/>
            <c:invertIfNegative val="1"/>
            <c:bubble3D val="0"/>
            <c:spPr>
              <a:solidFill>
                <a:srgbClr val="AEABAB"/>
              </a:solidFill>
            </c:spPr>
            <c:extLst>
              <c:ext xmlns:c16="http://schemas.microsoft.com/office/drawing/2014/chart" uri="{C3380CC4-5D6E-409C-BE32-E72D297353CC}">
                <c16:uniqueId val="{00000073-2993-41DE-A2CB-63102DE87051}"/>
              </c:ext>
            </c:extLst>
          </c:dPt>
          <c:dPt>
            <c:idx val="30"/>
            <c:invertIfNegative val="1"/>
            <c:bubble3D val="0"/>
            <c:spPr>
              <a:solidFill>
                <a:srgbClr val="AEABAB"/>
              </a:solidFill>
            </c:spPr>
            <c:extLst>
              <c:ext xmlns:c16="http://schemas.microsoft.com/office/drawing/2014/chart" uri="{C3380CC4-5D6E-409C-BE32-E72D297353CC}">
                <c16:uniqueId val="{00000075-2993-41DE-A2CB-63102DE87051}"/>
              </c:ext>
            </c:extLst>
          </c:dPt>
          <c:dPt>
            <c:idx val="31"/>
            <c:invertIfNegative val="1"/>
            <c:bubble3D val="0"/>
            <c:spPr>
              <a:solidFill>
                <a:srgbClr val="AEABAB"/>
              </a:solidFill>
            </c:spPr>
            <c:extLst>
              <c:ext xmlns:c16="http://schemas.microsoft.com/office/drawing/2014/chart" uri="{C3380CC4-5D6E-409C-BE32-E72D297353CC}">
                <c16:uniqueId val="{00000077-2993-41DE-A2CB-63102DE87051}"/>
              </c:ext>
            </c:extLst>
          </c:dPt>
          <c:dPt>
            <c:idx val="32"/>
            <c:invertIfNegative val="1"/>
            <c:bubble3D val="0"/>
            <c:spPr>
              <a:solidFill>
                <a:srgbClr val="AEABAB"/>
              </a:solidFill>
            </c:spPr>
            <c:extLst>
              <c:ext xmlns:c16="http://schemas.microsoft.com/office/drawing/2014/chart" uri="{C3380CC4-5D6E-409C-BE32-E72D297353CC}">
                <c16:uniqueId val="{00000079-2993-41DE-A2CB-63102DE87051}"/>
              </c:ext>
            </c:extLst>
          </c:dPt>
          <c:dPt>
            <c:idx val="33"/>
            <c:invertIfNegative val="1"/>
            <c:bubble3D val="0"/>
            <c:spPr>
              <a:solidFill>
                <a:srgbClr val="AEABAB"/>
              </a:solidFill>
            </c:spPr>
            <c:extLst>
              <c:ext xmlns:c16="http://schemas.microsoft.com/office/drawing/2014/chart" uri="{C3380CC4-5D6E-409C-BE32-E72D297353CC}">
                <c16:uniqueId val="{0000007B-2993-41DE-A2CB-63102DE87051}"/>
              </c:ext>
            </c:extLst>
          </c:dPt>
          <c:dPt>
            <c:idx val="34"/>
            <c:invertIfNegative val="1"/>
            <c:bubble3D val="0"/>
            <c:spPr>
              <a:solidFill>
                <a:srgbClr val="AEABAB"/>
              </a:solidFill>
            </c:spPr>
            <c:extLst>
              <c:ext xmlns:c16="http://schemas.microsoft.com/office/drawing/2014/chart" uri="{C3380CC4-5D6E-409C-BE32-E72D297353CC}">
                <c16:uniqueId val="{0000007D-2993-41DE-A2CB-63102DE87051}"/>
              </c:ext>
            </c:extLst>
          </c:dPt>
          <c:dPt>
            <c:idx val="35"/>
            <c:invertIfNegative val="1"/>
            <c:bubble3D val="0"/>
            <c:spPr>
              <a:solidFill>
                <a:srgbClr val="AEABAB"/>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37</c:f>
              <c:strCache>
                <c:ptCount val="36"/>
                <c:pt idx="0">
                  <c:v>Ruinart</c:v>
                </c:pt>
                <c:pt idx="1">
                  <c:v>Deutz</c:v>
                </c:pt>
                <c:pt idx="2">
                  <c:v>Demoiselle</c:v>
                </c:pt>
                <c:pt idx="3">
                  <c:v>Ruinart</c:v>
                </c:pt>
                <c:pt idx="4">
                  <c:v>Nicolas</c:v>
                </c:pt>
                <c:pt idx="5">
                  <c:v>Laurent Per</c:v>
                </c:pt>
                <c:pt idx="6">
                  <c:v>Nicolas Feu</c:v>
                </c:pt>
                <c:pt idx="7">
                  <c:v>Malard</c:v>
                </c:pt>
                <c:pt idx="8">
                  <c:v>Pommery</c:v>
                </c:pt>
                <c:pt idx="9">
                  <c:v>Besserat De</c:v>
                </c:pt>
                <c:pt idx="10">
                  <c:v>Ruinart</c:v>
                </c:pt>
                <c:pt idx="11">
                  <c:v>Ruinart</c:v>
                </c:pt>
                <c:pt idx="12">
                  <c:v>Deutz</c:v>
                </c:pt>
                <c:pt idx="13">
                  <c:v>Bollinger</c:v>
                </c:pt>
                <c:pt idx="14">
                  <c:v>Nicolas</c:v>
                </c:pt>
                <c:pt idx="15">
                  <c:v>Nicolas</c:v>
                </c:pt>
                <c:pt idx="16">
                  <c:v>Besserat De</c:v>
                </c:pt>
                <c:pt idx="17">
                  <c:v>Demoiselle</c:v>
                </c:pt>
                <c:pt idx="18">
                  <c:v>Nicolas</c:v>
                </c:pt>
                <c:pt idx="19">
                  <c:v>Ruinart</c:v>
                </c:pt>
                <c:pt idx="20">
                  <c:v>Laurent Per</c:v>
                </c:pt>
                <c:pt idx="21">
                  <c:v>Henriot</c:v>
                </c:pt>
                <c:pt idx="22">
                  <c:v>Deutz</c:v>
                </c:pt>
                <c:pt idx="23">
                  <c:v>Nicolas</c:v>
                </c:pt>
                <c:pt idx="24">
                  <c:v>Bollinger</c:v>
                </c:pt>
                <c:pt idx="25">
                  <c:v>Laurent Per</c:v>
                </c:pt>
                <c:pt idx="26">
                  <c:v>Roederer</c:v>
                </c:pt>
                <c:pt idx="27">
                  <c:v>Roederer</c:v>
                </c:pt>
                <c:pt idx="28">
                  <c:v>Laurent Per</c:v>
                </c:pt>
                <c:pt idx="29">
                  <c:v>Ruinart</c:v>
                </c:pt>
                <c:pt idx="30">
                  <c:v>Perrier Jou</c:v>
                </c:pt>
                <c:pt idx="31">
                  <c:v>Roederer</c:v>
                </c:pt>
                <c:pt idx="32">
                  <c:v>Lanson</c:v>
                </c:pt>
                <c:pt idx="33">
                  <c:v>All Others</c:v>
                </c:pt>
                <c:pt idx="34">
                  <c:v>All Others</c:v>
                </c:pt>
                <c:pt idx="35">
                  <c:v>Besserat De</c:v>
                </c:pt>
              </c:strCache>
            </c:strRef>
          </c:cat>
          <c:val>
            <c:numRef>
              <c:f>Sheet1!$C$2:$C$37</c:f>
              <c:numCache>
                <c:formatCode>General</c:formatCode>
                <c:ptCount val="36"/>
                <c:pt idx="0">
                  <c:v>0.18321845149975011</c:v>
                </c:pt>
                <c:pt idx="1">
                  <c:v>0.30007574971790302</c:v>
                </c:pt>
                <c:pt idx="2">
                  <c:v>0.39901242483962118</c:v>
                </c:pt>
                <c:pt idx="3">
                  <c:v>0.48803563065569078</c:v>
                </c:pt>
                <c:pt idx="4">
                  <c:v>0.57205809783343231</c:v>
                </c:pt>
                <c:pt idx="5">
                  <c:v>0.65190961581377516</c:v>
                </c:pt>
                <c:pt idx="6">
                  <c:v>0.70997287468607873</c:v>
                </c:pt>
                <c:pt idx="7">
                  <c:v>0.76172941949313699</c:v>
                </c:pt>
                <c:pt idx="8">
                  <c:v>0.80880739769859156</c:v>
                </c:pt>
                <c:pt idx="9">
                  <c:v>0.84789708096419014</c:v>
                </c:pt>
                <c:pt idx="10">
                  <c:v>0.87387043340782578</c:v>
                </c:pt>
                <c:pt idx="11">
                  <c:v>0.89571369749774477</c:v>
                </c:pt>
                <c:pt idx="12">
                  <c:v>0.9143022382312912</c:v>
                </c:pt>
                <c:pt idx="13">
                  <c:v>0.92993465408152676</c:v>
                </c:pt>
                <c:pt idx="14">
                  <c:v>0.94453926255606568</c:v>
                </c:pt>
                <c:pt idx="15">
                  <c:v>0.95737113904316462</c:v>
                </c:pt>
                <c:pt idx="16">
                  <c:v>0.96763192552011124</c:v>
                </c:pt>
                <c:pt idx="17">
                  <c:v>0.97701577542880291</c:v>
                </c:pt>
                <c:pt idx="18">
                  <c:v>0.98229468211835169</c:v>
                </c:pt>
                <c:pt idx="19">
                  <c:v>0.98650020587578913</c:v>
                </c:pt>
                <c:pt idx="20">
                  <c:v>0.98977535965400276</c:v>
                </c:pt>
                <c:pt idx="21">
                  <c:v>0.99290435733750726</c:v>
                </c:pt>
                <c:pt idx="22">
                  <c:v>0.99515799002366767</c:v>
                </c:pt>
                <c:pt idx="23">
                  <c:v>0.99647025173422832</c:v>
                </c:pt>
                <c:pt idx="24">
                  <c:v>0.99772279375017658</c:v>
                </c:pt>
                <c:pt idx="25">
                  <c:v>0.99822883958347064</c:v>
                </c:pt>
                <c:pt idx="26">
                  <c:v>0.99868773828943913</c:v>
                </c:pt>
                <c:pt idx="27">
                  <c:v>0.9990099103261636</c:v>
                </c:pt>
                <c:pt idx="28">
                  <c:v>0.99927393423918653</c:v>
                </c:pt>
                <c:pt idx="29">
                  <c:v>0.99952538558492265</c:v>
                </c:pt>
                <c:pt idx="30">
                  <c:v>0.99968725738874031</c:v>
                </c:pt>
                <c:pt idx="31">
                  <c:v>0.99979726735249985</c:v>
                </c:pt>
                <c:pt idx="32">
                  <c:v>0.99985855861802309</c:v>
                </c:pt>
                <c:pt idx="33">
                  <c:v>0.99991356359990291</c:v>
                </c:pt>
                <c:pt idx="34">
                  <c:v>0.99996856858178274</c:v>
                </c:pt>
                <c:pt idx="35">
                  <c:v>0.99999999999999978</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10</c:f>
              <c:strCache>
                <c:ptCount val="9"/>
                <c:pt idx="0">
                  <c:v>Patriarche</c:v>
                </c:pt>
                <c:pt idx="1">
                  <c:v>Patriarche</c:v>
                </c:pt>
                <c:pt idx="2">
                  <c:v>All Others</c:v>
                </c:pt>
                <c:pt idx="3">
                  <c:v>All Others</c:v>
                </c:pt>
                <c:pt idx="4">
                  <c:v>All Others</c:v>
                </c:pt>
                <c:pt idx="5">
                  <c:v>All Others</c:v>
                </c:pt>
                <c:pt idx="6">
                  <c:v>All Others</c:v>
                </c:pt>
                <c:pt idx="7">
                  <c:v>All Others</c:v>
                </c:pt>
                <c:pt idx="8">
                  <c:v>All Others</c:v>
                </c:pt>
              </c:strCache>
            </c:strRef>
          </c:cat>
          <c:val>
            <c:numRef>
              <c:f>Sheet1!$B$2:$B$10</c:f>
              <c:numCache>
                <c:formatCode>General</c:formatCode>
                <c:ptCount val="9"/>
                <c:pt idx="0">
                  <c:v>0.877</c:v>
                </c:pt>
                <c:pt idx="1">
                  <c:v>0.6</c:v>
                </c:pt>
                <c:pt idx="2">
                  <c:v>4.0000000000000001E-3</c:v>
                </c:pt>
                <c:pt idx="3">
                  <c:v>4.0000000000000001E-3</c:v>
                </c:pt>
                <c:pt idx="4">
                  <c:v>1.7000000000000001E-2</c:v>
                </c:pt>
                <c:pt idx="5">
                  <c:v>4.0000000000000001E-3</c:v>
                </c:pt>
                <c:pt idx="6">
                  <c:v>0.02</c:v>
                </c:pt>
                <c:pt idx="7">
                  <c:v>2E-3</c:v>
                </c:pt>
                <c:pt idx="8">
                  <c:v>2E-3</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AEABAB"/>
              </a:solidFill>
            </c:spPr>
            <c:extLst>
              <c:ext xmlns:c16="http://schemas.microsoft.com/office/drawing/2014/chart" uri="{C3380CC4-5D6E-409C-BE32-E72D297353CC}">
                <c16:uniqueId val="{0000000A-C76F-4230-900D-40618C09729F}"/>
              </c:ext>
            </c:extLst>
          </c:dPt>
          <c:dPt>
            <c:idx val="3"/>
            <c:invertIfNegative val="0"/>
            <c:bubble3D val="0"/>
            <c:spPr>
              <a:solidFill>
                <a:srgbClr val="AEABAB"/>
              </a:solidFill>
            </c:spPr>
            <c:extLst>
              <c:ext xmlns:c16="http://schemas.microsoft.com/office/drawing/2014/chart" uri="{C3380CC4-5D6E-409C-BE32-E72D297353CC}">
                <c16:uniqueId val="{0000000C-C76F-4230-900D-40618C09729F}"/>
              </c:ext>
            </c:extLst>
          </c:dPt>
          <c:dPt>
            <c:idx val="4"/>
            <c:invertIfNegative val="0"/>
            <c:bubble3D val="0"/>
            <c:spPr>
              <a:solidFill>
                <a:srgbClr val="AEABAB"/>
              </a:solidFill>
            </c:spPr>
            <c:extLst>
              <c:ext xmlns:c16="http://schemas.microsoft.com/office/drawing/2014/chart" uri="{C3380CC4-5D6E-409C-BE32-E72D297353CC}">
                <c16:uniqueId val="{0000000E-C76F-4230-900D-40618C09729F}"/>
              </c:ext>
            </c:extLst>
          </c:dPt>
          <c:dPt>
            <c:idx val="5"/>
            <c:invertIfNegative val="0"/>
            <c:bubble3D val="0"/>
            <c:spPr>
              <a:solidFill>
                <a:srgbClr val="AEABAB"/>
              </a:solidFill>
            </c:spPr>
            <c:extLst>
              <c:ext xmlns:c16="http://schemas.microsoft.com/office/drawing/2014/chart" uri="{C3380CC4-5D6E-409C-BE32-E72D297353CC}">
                <c16:uniqueId val="{00000010-C76F-4230-900D-40618C09729F}"/>
              </c:ext>
            </c:extLst>
          </c:dPt>
          <c:dPt>
            <c:idx val="6"/>
            <c:invertIfNegative val="1"/>
            <c:bubble3D val="0"/>
            <c:spPr>
              <a:solidFill>
                <a:srgbClr val="AEABAB"/>
              </a:solidFill>
            </c:spPr>
            <c:extLst>
              <c:ext xmlns:c16="http://schemas.microsoft.com/office/drawing/2014/chart" uri="{C3380CC4-5D6E-409C-BE32-E72D297353CC}">
                <c16:uniqueId val="{00000045-2993-41DE-A2CB-63102DE87051}"/>
              </c:ext>
            </c:extLst>
          </c:dPt>
          <c:dPt>
            <c:idx val="7"/>
            <c:invertIfNegative val="1"/>
            <c:bubble3D val="0"/>
            <c:spPr>
              <a:solidFill>
                <a:srgbClr val="AEABAB"/>
              </a:solidFill>
            </c:spPr>
            <c:extLst>
              <c:ext xmlns:c16="http://schemas.microsoft.com/office/drawing/2014/chart" uri="{C3380CC4-5D6E-409C-BE32-E72D297353CC}">
                <c16:uniqueId val="{00000047-2993-41DE-A2CB-63102DE87051}"/>
              </c:ext>
            </c:extLst>
          </c:dPt>
          <c:dPt>
            <c:idx val="8"/>
            <c:invertIfNegative val="1"/>
            <c:bubble3D val="0"/>
            <c:spPr>
              <a:solidFill>
                <a:srgbClr val="AEABAB"/>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10</c:f>
              <c:strCache>
                <c:ptCount val="9"/>
                <c:pt idx="0">
                  <c:v>Patriarche</c:v>
                </c:pt>
                <c:pt idx="1">
                  <c:v>Patriarche</c:v>
                </c:pt>
                <c:pt idx="2">
                  <c:v>All Others</c:v>
                </c:pt>
                <c:pt idx="3">
                  <c:v>All Others</c:v>
                </c:pt>
                <c:pt idx="4">
                  <c:v>All Others</c:v>
                </c:pt>
                <c:pt idx="5">
                  <c:v>All Others</c:v>
                </c:pt>
                <c:pt idx="6">
                  <c:v>All Others</c:v>
                </c:pt>
                <c:pt idx="7">
                  <c:v>All Others</c:v>
                </c:pt>
                <c:pt idx="8">
                  <c:v>All Others</c:v>
                </c:pt>
              </c:strCache>
            </c:strRef>
          </c:cat>
          <c:val>
            <c:numRef>
              <c:f>Sheet1!$C$2:$C$10</c:f>
              <c:numCache>
                <c:formatCode>General</c:formatCode>
                <c:ptCount val="9"/>
                <c:pt idx="0">
                  <c:v>0.72095255918405543</c:v>
                </c:pt>
                <c:pt idx="1">
                  <c:v>0.94941143445307385</c:v>
                </c:pt>
                <c:pt idx="2">
                  <c:v>0.97496584635538508</c:v>
                </c:pt>
                <c:pt idx="3">
                  <c:v>0.98341536446149536</c:v>
                </c:pt>
                <c:pt idx="4">
                  <c:v>0.9887452044540096</c:v>
                </c:pt>
                <c:pt idx="5">
                  <c:v>0.99375315804248154</c:v>
                </c:pt>
                <c:pt idx="6">
                  <c:v>0.99804622438476653</c:v>
                </c:pt>
                <c:pt idx="7">
                  <c:v>0.99952278469168143</c:v>
                </c:pt>
                <c:pt idx="8">
                  <c:v>0.99999999999999989</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3</c:f>
              <c:strCache>
                <c:ptCount val="2"/>
                <c:pt idx="0">
                  <c:v>Patriarche</c:v>
                </c:pt>
                <c:pt idx="1">
                  <c:v>Patriarche</c:v>
                </c:pt>
              </c:strCache>
            </c:strRef>
          </c:cat>
          <c:val>
            <c:numRef>
              <c:f>Sheet1!$B$2:$B$3</c:f>
              <c:numCache>
                <c:formatCode>General</c:formatCode>
                <c:ptCount val="2"/>
                <c:pt idx="0">
                  <c:v>0.88</c:v>
                </c:pt>
                <c:pt idx="1">
                  <c:v>0.59</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3</c:f>
              <c:strCache>
                <c:ptCount val="2"/>
                <c:pt idx="0">
                  <c:v>Patriarche</c:v>
                </c:pt>
                <c:pt idx="1">
                  <c:v>Patriarche</c:v>
                </c:pt>
              </c:strCache>
            </c:strRef>
          </c:cat>
          <c:val>
            <c:numRef>
              <c:f>Sheet1!$C$2:$C$3</c:f>
              <c:numCache>
                <c:formatCode>General</c:formatCode>
                <c:ptCount val="2"/>
                <c:pt idx="0">
                  <c:v>0.76548720317363017</c:v>
                </c:pt>
                <c:pt idx="1">
                  <c:v>1</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9</c:f>
              <c:strCache>
                <c:ptCount val="8"/>
                <c:pt idx="0">
                  <c:v>Patriarche</c:v>
                </c:pt>
                <c:pt idx="1">
                  <c:v>Patriarche</c:v>
                </c:pt>
                <c:pt idx="2">
                  <c:v>All Others</c:v>
                </c:pt>
                <c:pt idx="3">
                  <c:v>All Others</c:v>
                </c:pt>
                <c:pt idx="4">
                  <c:v>All Others</c:v>
                </c:pt>
                <c:pt idx="5">
                  <c:v>All Others</c:v>
                </c:pt>
                <c:pt idx="6">
                  <c:v>All Others</c:v>
                </c:pt>
                <c:pt idx="7">
                  <c:v>All Others</c:v>
                </c:pt>
              </c:strCache>
            </c:strRef>
          </c:cat>
          <c:val>
            <c:numRef>
              <c:f>Sheet1!$B$2:$B$9</c:f>
              <c:numCache>
                <c:formatCode>General</c:formatCode>
                <c:ptCount val="8"/>
                <c:pt idx="0">
                  <c:v>0.85</c:v>
                </c:pt>
                <c:pt idx="1">
                  <c:v>0.55000000000000004</c:v>
                </c:pt>
                <c:pt idx="2">
                  <c:v>0.01</c:v>
                </c:pt>
                <c:pt idx="3">
                  <c:v>0.1</c:v>
                </c:pt>
                <c:pt idx="4">
                  <c:v>0.08</c:v>
                </c:pt>
                <c:pt idx="5">
                  <c:v>0.01</c:v>
                </c:pt>
                <c:pt idx="6">
                  <c:v>0.01</c:v>
                </c:pt>
                <c:pt idx="7">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7ECAC4"/>
              </a:solidFill>
            </c:spPr>
            <c:extLst>
              <c:ext xmlns:c16="http://schemas.microsoft.com/office/drawing/2014/chart" uri="{C3380CC4-5D6E-409C-BE32-E72D297353CC}">
                <c16:uniqueId val="{0000000A-C76F-4230-900D-40618C09729F}"/>
              </c:ext>
            </c:extLst>
          </c:dPt>
          <c:dPt>
            <c:idx val="3"/>
            <c:invertIfNegative val="0"/>
            <c:bubble3D val="0"/>
            <c:spPr>
              <a:solidFill>
                <a:srgbClr val="AEABAB"/>
              </a:solidFill>
            </c:spPr>
            <c:extLst>
              <c:ext xmlns:c16="http://schemas.microsoft.com/office/drawing/2014/chart" uri="{C3380CC4-5D6E-409C-BE32-E72D297353CC}">
                <c16:uniqueId val="{0000000C-C76F-4230-900D-40618C09729F}"/>
              </c:ext>
            </c:extLst>
          </c:dPt>
          <c:dPt>
            <c:idx val="4"/>
            <c:invertIfNegative val="0"/>
            <c:bubble3D val="0"/>
            <c:spPr>
              <a:solidFill>
                <a:srgbClr val="AEABAB"/>
              </a:solidFill>
            </c:spPr>
            <c:extLst>
              <c:ext xmlns:c16="http://schemas.microsoft.com/office/drawing/2014/chart" uri="{C3380CC4-5D6E-409C-BE32-E72D297353CC}">
                <c16:uniqueId val="{0000000E-C76F-4230-900D-40618C09729F}"/>
              </c:ext>
            </c:extLst>
          </c:dPt>
          <c:dPt>
            <c:idx val="5"/>
            <c:invertIfNegative val="0"/>
            <c:bubble3D val="0"/>
            <c:spPr>
              <a:solidFill>
                <a:srgbClr val="AEABAB"/>
              </a:solidFill>
            </c:spPr>
            <c:extLst>
              <c:ext xmlns:c16="http://schemas.microsoft.com/office/drawing/2014/chart" uri="{C3380CC4-5D6E-409C-BE32-E72D297353CC}">
                <c16:uniqueId val="{00000010-C76F-4230-900D-40618C09729F}"/>
              </c:ext>
            </c:extLst>
          </c:dPt>
          <c:dPt>
            <c:idx val="6"/>
            <c:invertIfNegative val="1"/>
            <c:bubble3D val="0"/>
            <c:spPr>
              <a:solidFill>
                <a:srgbClr val="AEABAB"/>
              </a:solidFill>
            </c:spPr>
            <c:extLst>
              <c:ext xmlns:c16="http://schemas.microsoft.com/office/drawing/2014/chart" uri="{C3380CC4-5D6E-409C-BE32-E72D297353CC}">
                <c16:uniqueId val="{00000045-2993-41DE-A2CB-63102DE87051}"/>
              </c:ext>
            </c:extLst>
          </c:dPt>
          <c:dPt>
            <c:idx val="7"/>
            <c:invertIfNegative val="1"/>
            <c:bubble3D val="0"/>
            <c:spPr>
              <a:solidFill>
                <a:srgbClr val="AEABAB"/>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9</c:f>
              <c:strCache>
                <c:ptCount val="8"/>
                <c:pt idx="0">
                  <c:v>Patriarche</c:v>
                </c:pt>
                <c:pt idx="1">
                  <c:v>Patriarche</c:v>
                </c:pt>
                <c:pt idx="2">
                  <c:v>All Others</c:v>
                </c:pt>
                <c:pt idx="3">
                  <c:v>All Others</c:v>
                </c:pt>
                <c:pt idx="4">
                  <c:v>All Others</c:v>
                </c:pt>
                <c:pt idx="5">
                  <c:v>All Others</c:v>
                </c:pt>
                <c:pt idx="6">
                  <c:v>All Others</c:v>
                </c:pt>
                <c:pt idx="7">
                  <c:v>All Others</c:v>
                </c:pt>
              </c:strCache>
            </c:strRef>
          </c:cat>
          <c:val>
            <c:numRef>
              <c:f>Sheet1!$C$2:$C$9</c:f>
              <c:numCache>
                <c:formatCode>General</c:formatCode>
                <c:ptCount val="8"/>
                <c:pt idx="0">
                  <c:v>0.69221863241310788</c:v>
                </c:pt>
                <c:pt idx="1">
                  <c:v>0.90161228496999946</c:v>
                </c:pt>
                <c:pt idx="2">
                  <c:v>0.94486470417973734</c:v>
                </c:pt>
                <c:pt idx="3">
                  <c:v>0.96281027293848909</c:v>
                </c:pt>
                <c:pt idx="4">
                  <c:v>0.97809607998059933</c:v>
                </c:pt>
                <c:pt idx="5">
                  <c:v>0.98586414875890815</c:v>
                </c:pt>
                <c:pt idx="6">
                  <c:v>0.9923492736503664</c:v>
                </c:pt>
                <c:pt idx="7">
                  <c:v>0.9985214853986903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3</c:f>
              <c:strCache>
                <c:ptCount val="2"/>
                <c:pt idx="0">
                  <c:v>Patriarche</c:v>
                </c:pt>
                <c:pt idx="1">
                  <c:v>Patriarche</c:v>
                </c:pt>
              </c:strCache>
            </c:strRef>
          </c:cat>
          <c:val>
            <c:numRef>
              <c:f>Sheet1!$B$2:$B$3</c:f>
              <c:numCache>
                <c:formatCode>General</c:formatCode>
                <c:ptCount val="2"/>
                <c:pt idx="0">
                  <c:v>0.9</c:v>
                </c:pt>
                <c:pt idx="1">
                  <c:v>0.6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3</c:f>
              <c:strCache>
                <c:ptCount val="2"/>
                <c:pt idx="0">
                  <c:v>Patriarche</c:v>
                </c:pt>
                <c:pt idx="1">
                  <c:v>Patriarche</c:v>
                </c:pt>
              </c:strCache>
            </c:strRef>
          </c:cat>
          <c:val>
            <c:numRef>
              <c:f>Sheet1!$C$2:$C$3</c:f>
              <c:numCache>
                <c:formatCode>General</c:formatCode>
                <c:ptCount val="2"/>
                <c:pt idx="0">
                  <c:v>0.7286414442368041</c:v>
                </c:pt>
                <c:pt idx="1">
                  <c:v>1</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3</c:f>
              <c:strCache>
                <c:ptCount val="2"/>
                <c:pt idx="0">
                  <c:v>Patriarche</c:v>
                </c:pt>
                <c:pt idx="1">
                  <c:v>Patriarche</c:v>
                </c:pt>
              </c:strCache>
            </c:strRef>
          </c:cat>
          <c:val>
            <c:numRef>
              <c:f>Sheet1!$B$2:$B$3</c:f>
              <c:numCache>
                <c:formatCode>General</c:formatCode>
                <c:ptCount val="2"/>
                <c:pt idx="0">
                  <c:v>0.97</c:v>
                </c:pt>
                <c:pt idx="1">
                  <c:v>0.52</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AEABAB"/>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3</c:f>
              <c:strCache>
                <c:ptCount val="2"/>
                <c:pt idx="0">
                  <c:v>Patriarche</c:v>
                </c:pt>
                <c:pt idx="1">
                  <c:v>Patriarche</c:v>
                </c:pt>
              </c:strCache>
            </c:strRef>
          </c:cat>
          <c:val>
            <c:numRef>
              <c:f>Sheet1!$C$2:$C$3</c:f>
              <c:numCache>
                <c:formatCode>General</c:formatCode>
                <c:ptCount val="2"/>
                <c:pt idx="0">
                  <c:v>0.83005448571309737</c:v>
                </c:pt>
                <c:pt idx="1">
                  <c:v>1</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3</c:f>
              <c:strCache>
                <c:ptCount val="2"/>
                <c:pt idx="0">
                  <c:v>Patriarche</c:v>
                </c:pt>
                <c:pt idx="1">
                  <c:v>Patriarche</c:v>
                </c:pt>
              </c:strCache>
            </c:strRef>
          </c:cat>
          <c:val>
            <c:numRef>
              <c:f>Sheet1!$B$2:$B$3</c:f>
              <c:numCache>
                <c:formatCode>General</c:formatCode>
                <c:ptCount val="2"/>
                <c:pt idx="0">
                  <c:v>0.83</c:v>
                </c:pt>
                <c:pt idx="1">
                  <c:v>0.8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3</c:f>
              <c:strCache>
                <c:ptCount val="2"/>
                <c:pt idx="0">
                  <c:v>Patriarche</c:v>
                </c:pt>
                <c:pt idx="1">
                  <c:v>Patriarche</c:v>
                </c:pt>
              </c:strCache>
            </c:strRef>
          </c:cat>
          <c:val>
            <c:numRef>
              <c:f>Sheet1!$C$2:$C$3</c:f>
              <c:numCache>
                <c:formatCode>General</c:formatCode>
                <c:ptCount val="2"/>
                <c:pt idx="0">
                  <c:v>0.67247403668834316</c:v>
                </c:pt>
                <c:pt idx="1">
                  <c:v>1</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3</c:f>
              <c:strCache>
                <c:ptCount val="2"/>
                <c:pt idx="0">
                  <c:v>Patriarche</c:v>
                </c:pt>
                <c:pt idx="1">
                  <c:v>Patriarche</c:v>
                </c:pt>
              </c:strCache>
            </c:strRef>
          </c:cat>
          <c:val>
            <c:numRef>
              <c:f>Sheet1!$B$2:$B$3</c:f>
              <c:numCache>
                <c:formatCode>General</c:formatCode>
                <c:ptCount val="2"/>
                <c:pt idx="0">
                  <c:v>0.87</c:v>
                </c:pt>
                <c:pt idx="1">
                  <c:v>0.56000000000000005</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3</c:f>
              <c:strCache>
                <c:ptCount val="2"/>
                <c:pt idx="0">
                  <c:v>Patriarche</c:v>
                </c:pt>
                <c:pt idx="1">
                  <c:v>Patriarche</c:v>
                </c:pt>
              </c:strCache>
            </c:strRef>
          </c:cat>
          <c:val>
            <c:numRef>
              <c:f>Sheet1!$C$2:$C$3</c:f>
              <c:numCache>
                <c:formatCode>General</c:formatCode>
                <c:ptCount val="2"/>
                <c:pt idx="0">
                  <c:v>0.76716082583017042</c:v>
                </c:pt>
                <c:pt idx="1">
                  <c:v>1</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3</c:f>
              <c:strCache>
                <c:ptCount val="2"/>
                <c:pt idx="0">
                  <c:v>Patriarche</c:v>
                </c:pt>
                <c:pt idx="1">
                  <c:v>Patriarche</c:v>
                </c:pt>
              </c:strCache>
            </c:strRef>
          </c:cat>
          <c:val>
            <c:numRef>
              <c:f>Sheet1!$B$2:$B$3</c:f>
              <c:numCache>
                <c:formatCode>General</c:formatCode>
                <c:ptCount val="2"/>
                <c:pt idx="0">
                  <c:v>0.89</c:v>
                </c:pt>
                <c:pt idx="1">
                  <c:v>0.66</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3</c:f>
              <c:strCache>
                <c:ptCount val="2"/>
                <c:pt idx="0">
                  <c:v>Patriarche</c:v>
                </c:pt>
                <c:pt idx="1">
                  <c:v>Patriarche</c:v>
                </c:pt>
              </c:strCache>
            </c:strRef>
          </c:cat>
          <c:val>
            <c:numRef>
              <c:f>Sheet1!$C$2:$C$3</c:f>
              <c:numCache>
                <c:formatCode>General</c:formatCode>
                <c:ptCount val="2"/>
                <c:pt idx="0">
                  <c:v>0.68506336829807224</c:v>
                </c:pt>
                <c:pt idx="1">
                  <c:v>1</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3</c:f>
              <c:strCache>
                <c:ptCount val="2"/>
                <c:pt idx="0">
                  <c:v>Patriarche</c:v>
                </c:pt>
                <c:pt idx="1">
                  <c:v>Patriarche</c:v>
                </c:pt>
              </c:strCache>
            </c:strRef>
          </c:cat>
          <c:val>
            <c:numRef>
              <c:f>Sheet1!$B$2:$B$3</c:f>
              <c:numCache>
                <c:formatCode>General</c:formatCode>
                <c:ptCount val="2"/>
                <c:pt idx="0">
                  <c:v>0.9</c:v>
                </c:pt>
                <c:pt idx="1">
                  <c:v>0.56000000000000005</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3</c:f>
              <c:strCache>
                <c:ptCount val="2"/>
                <c:pt idx="0">
                  <c:v>Patriarche</c:v>
                </c:pt>
                <c:pt idx="1">
                  <c:v>Patriarche</c:v>
                </c:pt>
              </c:strCache>
            </c:strRef>
          </c:cat>
          <c:val>
            <c:numRef>
              <c:f>Sheet1!$C$2:$C$3</c:f>
              <c:numCache>
                <c:formatCode>General</c:formatCode>
                <c:ptCount val="2"/>
                <c:pt idx="0">
                  <c:v>0.79787139426640186</c:v>
                </c:pt>
                <c:pt idx="1">
                  <c:v>1</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3</c:f>
              <c:strCache>
                <c:ptCount val="2"/>
                <c:pt idx="0">
                  <c:v>Patriarche</c:v>
                </c:pt>
                <c:pt idx="1">
                  <c:v>Patriarche</c:v>
                </c:pt>
              </c:strCache>
            </c:strRef>
          </c:cat>
          <c:val>
            <c:numRef>
              <c:f>Sheet1!$B$2:$B$3</c:f>
              <c:numCache>
                <c:formatCode>General</c:formatCode>
                <c:ptCount val="2"/>
                <c:pt idx="0">
                  <c:v>0.93</c:v>
                </c:pt>
                <c:pt idx="1">
                  <c:v>0.86</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3</c:f>
              <c:strCache>
                <c:ptCount val="2"/>
                <c:pt idx="0">
                  <c:v>Patriarche</c:v>
                </c:pt>
                <c:pt idx="1">
                  <c:v>Patriarche</c:v>
                </c:pt>
              </c:strCache>
            </c:strRef>
          </c:cat>
          <c:val>
            <c:numRef>
              <c:f>Sheet1!$C$2:$C$3</c:f>
              <c:numCache>
                <c:formatCode>General</c:formatCode>
                <c:ptCount val="2"/>
                <c:pt idx="0">
                  <c:v>0.6078734858681023</c:v>
                </c:pt>
                <c:pt idx="1">
                  <c:v>1</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3</c:f>
              <c:strCache>
                <c:ptCount val="2"/>
                <c:pt idx="0">
                  <c:v>Patriarche</c:v>
                </c:pt>
                <c:pt idx="1">
                  <c:v>Patriarche</c:v>
                </c:pt>
              </c:strCache>
            </c:strRef>
          </c:cat>
          <c:val>
            <c:numRef>
              <c:f>Sheet1!$B$2:$B$3</c:f>
              <c:numCache>
                <c:formatCode>General</c:formatCode>
                <c:ptCount val="2"/>
                <c:pt idx="0">
                  <c:v>0.55000000000000004</c:v>
                </c:pt>
                <c:pt idx="1">
                  <c:v>0.42</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3</c:f>
              <c:strCache>
                <c:ptCount val="2"/>
                <c:pt idx="0">
                  <c:v>Patriarche</c:v>
                </c:pt>
                <c:pt idx="1">
                  <c:v>Patriarche</c:v>
                </c:pt>
              </c:strCache>
            </c:strRef>
          </c:cat>
          <c:val>
            <c:numRef>
              <c:f>Sheet1!$C$2:$C$3</c:f>
              <c:numCache>
                <c:formatCode>General</c:formatCode>
                <c:ptCount val="2"/>
                <c:pt idx="0">
                  <c:v>0.73944907758402834</c:v>
                </c:pt>
                <c:pt idx="1">
                  <c:v>1</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3</c:f>
              <c:strCache>
                <c:ptCount val="2"/>
                <c:pt idx="0">
                  <c:v>Patriarche</c:v>
                </c:pt>
                <c:pt idx="1">
                  <c:v>Patriarche</c:v>
                </c:pt>
              </c:strCache>
            </c:strRef>
          </c:cat>
          <c:val>
            <c:numRef>
              <c:f>Sheet1!$B$2:$B$3</c:f>
              <c:numCache>
                <c:formatCode>General</c:formatCode>
                <c:ptCount val="2"/>
                <c:pt idx="0">
                  <c:v>0.94</c:v>
                </c:pt>
                <c:pt idx="1">
                  <c:v>0.72</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3</c:f>
              <c:strCache>
                <c:ptCount val="2"/>
                <c:pt idx="0">
                  <c:v>Patriarche</c:v>
                </c:pt>
                <c:pt idx="1">
                  <c:v>Patriarche</c:v>
                </c:pt>
              </c:strCache>
            </c:strRef>
          </c:cat>
          <c:val>
            <c:numRef>
              <c:f>Sheet1!$C$2:$C$3</c:f>
              <c:numCache>
                <c:formatCode>General</c:formatCode>
                <c:ptCount val="2"/>
                <c:pt idx="0">
                  <c:v>0.73189185689893754</c:v>
                </c:pt>
                <c:pt idx="1">
                  <c:v>1</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3</c:f>
              <c:strCache>
                <c:ptCount val="2"/>
                <c:pt idx="0">
                  <c:v>Patriarche</c:v>
                </c:pt>
                <c:pt idx="1">
                  <c:v>Patriarche</c:v>
                </c:pt>
              </c:strCache>
            </c:strRef>
          </c:cat>
          <c:val>
            <c:numRef>
              <c:f>Sheet1!$B$2:$B$3</c:f>
              <c:numCache>
                <c:formatCode>General</c:formatCode>
                <c:ptCount val="2"/>
                <c:pt idx="0">
                  <c:v>0.87</c:v>
                </c:pt>
                <c:pt idx="1">
                  <c:v>0.6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3</c:f>
              <c:strCache>
                <c:ptCount val="2"/>
                <c:pt idx="0">
                  <c:v>Patriarche</c:v>
                </c:pt>
                <c:pt idx="1">
                  <c:v>Patriarche</c:v>
                </c:pt>
              </c:strCache>
            </c:strRef>
          </c:cat>
          <c:val>
            <c:numRef>
              <c:f>Sheet1!$C$2:$C$3</c:f>
              <c:numCache>
                <c:formatCode>General</c:formatCode>
                <c:ptCount val="2"/>
                <c:pt idx="0">
                  <c:v>0.76751779883303894</c:v>
                </c:pt>
                <c:pt idx="1">
                  <c:v>1</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3</c:f>
              <c:strCache>
                <c:ptCount val="2"/>
                <c:pt idx="0">
                  <c:v>Patriarche</c:v>
                </c:pt>
                <c:pt idx="1">
                  <c:v>Patriarche</c:v>
                </c:pt>
              </c:strCache>
            </c:strRef>
          </c:cat>
          <c:val>
            <c:numRef>
              <c:f>Sheet1!$B$2:$B$3</c:f>
              <c:numCache>
                <c:formatCode>General</c:formatCode>
                <c:ptCount val="2"/>
                <c:pt idx="0">
                  <c:v>0.86</c:v>
                </c:pt>
                <c:pt idx="1">
                  <c:v>0.6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3</c:f>
              <c:strCache>
                <c:ptCount val="2"/>
                <c:pt idx="0">
                  <c:v>Patriarche</c:v>
                </c:pt>
                <c:pt idx="1">
                  <c:v>Patriarche</c:v>
                </c:pt>
              </c:strCache>
            </c:strRef>
          </c:cat>
          <c:val>
            <c:numRef>
              <c:f>Sheet1!$C$2:$C$3</c:f>
              <c:numCache>
                <c:formatCode>General</c:formatCode>
                <c:ptCount val="2"/>
                <c:pt idx="0">
                  <c:v>0.75887318396247527</c:v>
                </c:pt>
                <c:pt idx="1">
                  <c:v>1</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10</c:f>
              <c:strCache>
                <c:ptCount val="9"/>
                <c:pt idx="0">
                  <c:v>Patriarche</c:v>
                </c:pt>
                <c:pt idx="1">
                  <c:v>Patriarche</c:v>
                </c:pt>
                <c:pt idx="2">
                  <c:v>All Others</c:v>
                </c:pt>
                <c:pt idx="3">
                  <c:v>All Others</c:v>
                </c:pt>
                <c:pt idx="4">
                  <c:v>All Others</c:v>
                </c:pt>
                <c:pt idx="5">
                  <c:v>All Others</c:v>
                </c:pt>
                <c:pt idx="6">
                  <c:v>All Others</c:v>
                </c:pt>
                <c:pt idx="7">
                  <c:v>All Others</c:v>
                </c:pt>
                <c:pt idx="8">
                  <c:v>All Others</c:v>
                </c:pt>
              </c:strCache>
            </c:strRef>
          </c:cat>
          <c:val>
            <c:numRef>
              <c:f>Sheet1!$B$2:$B$10</c:f>
              <c:numCache>
                <c:formatCode>General</c:formatCode>
                <c:ptCount val="9"/>
                <c:pt idx="0">
                  <c:v>0.81</c:v>
                </c:pt>
                <c:pt idx="1">
                  <c:v>0.53</c:v>
                </c:pt>
                <c:pt idx="2">
                  <c:v>0.03</c:v>
                </c:pt>
                <c:pt idx="3">
                  <c:v>0.03</c:v>
                </c:pt>
                <c:pt idx="4">
                  <c:v>0.02</c:v>
                </c:pt>
                <c:pt idx="5">
                  <c:v>0.1</c:v>
                </c:pt>
                <c:pt idx="6">
                  <c:v>0.08</c:v>
                </c:pt>
                <c:pt idx="7">
                  <c:v>0.01</c:v>
                </c:pt>
                <c:pt idx="8">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7ECAC4"/>
              </a:solidFill>
            </c:spPr>
            <c:extLst>
              <c:ext xmlns:c16="http://schemas.microsoft.com/office/drawing/2014/chart" uri="{C3380CC4-5D6E-409C-BE32-E72D297353CC}">
                <c16:uniqueId val="{0000000A-C76F-4230-900D-40618C09729F}"/>
              </c:ext>
            </c:extLst>
          </c:dPt>
          <c:dPt>
            <c:idx val="3"/>
            <c:invertIfNegative val="0"/>
            <c:bubble3D val="0"/>
            <c:spPr>
              <a:solidFill>
                <a:srgbClr val="7ECAC4"/>
              </a:solidFill>
            </c:spPr>
            <c:extLst>
              <c:ext xmlns:c16="http://schemas.microsoft.com/office/drawing/2014/chart" uri="{C3380CC4-5D6E-409C-BE32-E72D297353CC}">
                <c16:uniqueId val="{0000000C-C76F-4230-900D-40618C09729F}"/>
              </c:ext>
            </c:extLst>
          </c:dPt>
          <c:dPt>
            <c:idx val="4"/>
            <c:invertIfNegative val="0"/>
            <c:bubble3D val="0"/>
            <c:spPr>
              <a:solidFill>
                <a:srgbClr val="AEABAB"/>
              </a:solidFill>
            </c:spPr>
            <c:extLst>
              <c:ext xmlns:c16="http://schemas.microsoft.com/office/drawing/2014/chart" uri="{C3380CC4-5D6E-409C-BE32-E72D297353CC}">
                <c16:uniqueId val="{0000000E-C76F-4230-900D-40618C09729F}"/>
              </c:ext>
            </c:extLst>
          </c:dPt>
          <c:dPt>
            <c:idx val="5"/>
            <c:invertIfNegative val="0"/>
            <c:bubble3D val="0"/>
            <c:spPr>
              <a:solidFill>
                <a:srgbClr val="AEABAB"/>
              </a:solidFill>
            </c:spPr>
            <c:extLst>
              <c:ext xmlns:c16="http://schemas.microsoft.com/office/drawing/2014/chart" uri="{C3380CC4-5D6E-409C-BE32-E72D297353CC}">
                <c16:uniqueId val="{00000010-C76F-4230-900D-40618C09729F}"/>
              </c:ext>
            </c:extLst>
          </c:dPt>
          <c:dPt>
            <c:idx val="6"/>
            <c:invertIfNegative val="1"/>
            <c:bubble3D val="0"/>
            <c:spPr>
              <a:solidFill>
                <a:srgbClr val="AEABAB"/>
              </a:solidFill>
            </c:spPr>
            <c:extLst>
              <c:ext xmlns:c16="http://schemas.microsoft.com/office/drawing/2014/chart" uri="{C3380CC4-5D6E-409C-BE32-E72D297353CC}">
                <c16:uniqueId val="{00000045-2993-41DE-A2CB-63102DE87051}"/>
              </c:ext>
            </c:extLst>
          </c:dPt>
          <c:dPt>
            <c:idx val="7"/>
            <c:invertIfNegative val="1"/>
            <c:bubble3D val="0"/>
            <c:spPr>
              <a:solidFill>
                <a:srgbClr val="AEABAB"/>
              </a:solidFill>
            </c:spPr>
            <c:extLst>
              <c:ext xmlns:c16="http://schemas.microsoft.com/office/drawing/2014/chart" uri="{C3380CC4-5D6E-409C-BE32-E72D297353CC}">
                <c16:uniqueId val="{00000047-2993-41DE-A2CB-63102DE87051}"/>
              </c:ext>
            </c:extLst>
          </c:dPt>
          <c:dPt>
            <c:idx val="8"/>
            <c:invertIfNegative val="1"/>
            <c:bubble3D val="0"/>
            <c:spPr>
              <a:solidFill>
                <a:srgbClr val="AEABAB"/>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10</c:f>
              <c:strCache>
                <c:ptCount val="9"/>
                <c:pt idx="0">
                  <c:v>Patriarche</c:v>
                </c:pt>
                <c:pt idx="1">
                  <c:v>Patriarche</c:v>
                </c:pt>
                <c:pt idx="2">
                  <c:v>All Others</c:v>
                </c:pt>
                <c:pt idx="3">
                  <c:v>All Others</c:v>
                </c:pt>
                <c:pt idx="4">
                  <c:v>All Others</c:v>
                </c:pt>
                <c:pt idx="5">
                  <c:v>All Others</c:v>
                </c:pt>
                <c:pt idx="6">
                  <c:v>All Others</c:v>
                </c:pt>
                <c:pt idx="7">
                  <c:v>All Others</c:v>
                </c:pt>
                <c:pt idx="8">
                  <c:v>All Others</c:v>
                </c:pt>
              </c:strCache>
            </c:strRef>
          </c:cat>
          <c:val>
            <c:numRef>
              <c:f>Sheet1!$C$2:$C$10</c:f>
              <c:numCache>
                <c:formatCode>General</c:formatCode>
                <c:ptCount val="9"/>
                <c:pt idx="0">
                  <c:v>0.6124697336561743</c:v>
                </c:pt>
                <c:pt idx="1">
                  <c:v>0.80016142050040351</c:v>
                </c:pt>
                <c:pt idx="2">
                  <c:v>0.9028571428571428</c:v>
                </c:pt>
                <c:pt idx="3">
                  <c:v>0.93880548829701371</c:v>
                </c:pt>
                <c:pt idx="4">
                  <c:v>0.95857142857142852</c:v>
                </c:pt>
                <c:pt idx="5">
                  <c:v>0.97708635996771587</c:v>
                </c:pt>
                <c:pt idx="6">
                  <c:v>0.99344632768361574</c:v>
                </c:pt>
                <c:pt idx="7">
                  <c:v>0.99946731234866815</c:v>
                </c:pt>
                <c:pt idx="8">
                  <c:v>0.99999999999999989</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8</c:f>
              <c:strCache>
                <c:ptCount val="7"/>
                <c:pt idx="0">
                  <c:v>Patriarche</c:v>
                </c:pt>
                <c:pt idx="1">
                  <c:v>Patriarche</c:v>
                </c:pt>
                <c:pt idx="2">
                  <c:v>All Others</c:v>
                </c:pt>
                <c:pt idx="3">
                  <c:v>All Others</c:v>
                </c:pt>
                <c:pt idx="4">
                  <c:v>All Others</c:v>
                </c:pt>
                <c:pt idx="5">
                  <c:v>All Others</c:v>
                </c:pt>
                <c:pt idx="6">
                  <c:v>All Others</c:v>
                </c:pt>
              </c:strCache>
            </c:strRef>
          </c:cat>
          <c:val>
            <c:numRef>
              <c:f>Sheet1!$B$2:$B$8</c:f>
              <c:numCache>
                <c:formatCode>General</c:formatCode>
                <c:ptCount val="7"/>
                <c:pt idx="0">
                  <c:v>0.78</c:v>
                </c:pt>
                <c:pt idx="1">
                  <c:v>0.42</c:v>
                </c:pt>
                <c:pt idx="2">
                  <c:v>0.01</c:v>
                </c:pt>
                <c:pt idx="3">
                  <c:v>0.01</c:v>
                </c:pt>
                <c:pt idx="4">
                  <c:v>0.01</c:v>
                </c:pt>
                <c:pt idx="5">
                  <c:v>0.01</c:v>
                </c:pt>
                <c:pt idx="6">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AEABAB"/>
              </a:solidFill>
            </c:spPr>
            <c:extLst>
              <c:ext xmlns:c16="http://schemas.microsoft.com/office/drawing/2014/chart" uri="{C3380CC4-5D6E-409C-BE32-E72D297353CC}">
                <c16:uniqueId val="{0000000A-C76F-4230-900D-40618C09729F}"/>
              </c:ext>
            </c:extLst>
          </c:dPt>
          <c:dPt>
            <c:idx val="3"/>
            <c:invertIfNegative val="0"/>
            <c:bubble3D val="0"/>
            <c:spPr>
              <a:solidFill>
                <a:srgbClr val="AEABAB"/>
              </a:solidFill>
            </c:spPr>
            <c:extLst>
              <c:ext xmlns:c16="http://schemas.microsoft.com/office/drawing/2014/chart" uri="{C3380CC4-5D6E-409C-BE32-E72D297353CC}">
                <c16:uniqueId val="{0000000C-C76F-4230-900D-40618C09729F}"/>
              </c:ext>
            </c:extLst>
          </c:dPt>
          <c:dPt>
            <c:idx val="4"/>
            <c:invertIfNegative val="0"/>
            <c:bubble3D val="0"/>
            <c:spPr>
              <a:solidFill>
                <a:srgbClr val="AEABAB"/>
              </a:solidFill>
            </c:spPr>
            <c:extLst>
              <c:ext xmlns:c16="http://schemas.microsoft.com/office/drawing/2014/chart" uri="{C3380CC4-5D6E-409C-BE32-E72D297353CC}">
                <c16:uniqueId val="{0000000E-C76F-4230-900D-40618C09729F}"/>
              </c:ext>
            </c:extLst>
          </c:dPt>
          <c:dPt>
            <c:idx val="5"/>
            <c:invertIfNegative val="0"/>
            <c:bubble3D val="0"/>
            <c:spPr>
              <a:solidFill>
                <a:srgbClr val="AEABAB"/>
              </a:solidFill>
            </c:spPr>
            <c:extLst>
              <c:ext xmlns:c16="http://schemas.microsoft.com/office/drawing/2014/chart" uri="{C3380CC4-5D6E-409C-BE32-E72D297353CC}">
                <c16:uniqueId val="{00000010-C76F-4230-900D-40618C09729F}"/>
              </c:ext>
            </c:extLst>
          </c:dPt>
          <c:dPt>
            <c:idx val="6"/>
            <c:invertIfNegative val="1"/>
            <c:bubble3D val="0"/>
            <c:spPr>
              <a:solidFill>
                <a:srgbClr val="AEABAB"/>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8</c:f>
              <c:strCache>
                <c:ptCount val="7"/>
                <c:pt idx="0">
                  <c:v>Patriarche</c:v>
                </c:pt>
                <c:pt idx="1">
                  <c:v>Patriarche</c:v>
                </c:pt>
                <c:pt idx="2">
                  <c:v>All Others</c:v>
                </c:pt>
                <c:pt idx="3">
                  <c:v>All Others</c:v>
                </c:pt>
                <c:pt idx="4">
                  <c:v>All Others</c:v>
                </c:pt>
                <c:pt idx="5">
                  <c:v>All Others</c:v>
                </c:pt>
                <c:pt idx="6">
                  <c:v>All Others</c:v>
                </c:pt>
              </c:strCache>
            </c:strRef>
          </c:cat>
          <c:val>
            <c:numRef>
              <c:f>Sheet1!$C$2:$C$8</c:f>
              <c:numCache>
                <c:formatCode>General</c:formatCode>
                <c:ptCount val="7"/>
                <c:pt idx="0">
                  <c:v>0.7643949875085847</c:v>
                </c:pt>
                <c:pt idx="1">
                  <c:v>0.97733629278682976</c:v>
                </c:pt>
                <c:pt idx="2">
                  <c:v>0.98659287939563445</c:v>
                </c:pt>
                <c:pt idx="3">
                  <c:v>0.9947645542406115</c:v>
                </c:pt>
                <c:pt idx="4">
                  <c:v>0.99704386427654301</c:v>
                </c:pt>
                <c:pt idx="5">
                  <c:v>0.99892504155510653</c:v>
                </c:pt>
                <c:pt idx="6">
                  <c:v>0.999572007285829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15</c:f>
              <c:strCache>
                <c:ptCount val="14"/>
                <c:pt idx="0">
                  <c:v>All Others</c:v>
                </c:pt>
                <c:pt idx="1">
                  <c:v>Bottega</c:v>
                </c:pt>
                <c:pt idx="2">
                  <c:v>Savian</c:v>
                </c:pt>
                <c:pt idx="3">
                  <c:v>Bottega</c:v>
                </c:pt>
                <c:pt idx="4">
                  <c:v>Contarini</c:v>
                </c:pt>
                <c:pt idx="5">
                  <c:v>Contarini</c:v>
                </c:pt>
                <c:pt idx="6">
                  <c:v>Vilaveroni</c:v>
                </c:pt>
                <c:pt idx="7">
                  <c:v>Bottega</c:v>
                </c:pt>
                <c:pt idx="8">
                  <c:v>Vilaveroni</c:v>
                </c:pt>
                <c:pt idx="9">
                  <c:v>Vilaveroni</c:v>
                </c:pt>
                <c:pt idx="10">
                  <c:v>Vilaveroni</c:v>
                </c:pt>
                <c:pt idx="11">
                  <c:v>Bottega</c:v>
                </c:pt>
                <c:pt idx="12">
                  <c:v>Bottega</c:v>
                </c:pt>
                <c:pt idx="13">
                  <c:v>Bottega</c:v>
                </c:pt>
              </c:strCache>
            </c:strRef>
          </c:cat>
          <c:val>
            <c:numRef>
              <c:f>Sheet1!$B$2:$B$15</c:f>
              <c:numCache>
                <c:formatCode>General</c:formatCode>
                <c:ptCount val="14"/>
                <c:pt idx="0">
                  <c:v>0.90900000000000003</c:v>
                </c:pt>
                <c:pt idx="1">
                  <c:v>0.81</c:v>
                </c:pt>
                <c:pt idx="2">
                  <c:v>0.8</c:v>
                </c:pt>
                <c:pt idx="3">
                  <c:v>0.46500000000000002</c:v>
                </c:pt>
                <c:pt idx="4">
                  <c:v>0.85</c:v>
                </c:pt>
                <c:pt idx="5">
                  <c:v>0.15</c:v>
                </c:pt>
                <c:pt idx="6">
                  <c:v>1.7000000000000001E-2</c:v>
                </c:pt>
                <c:pt idx="7">
                  <c:v>7.0999999999999994E-2</c:v>
                </c:pt>
                <c:pt idx="8">
                  <c:v>1.4999999999999999E-2</c:v>
                </c:pt>
                <c:pt idx="9">
                  <c:v>1.4999999999999999E-2</c:v>
                </c:pt>
                <c:pt idx="10">
                  <c:v>1.2999999999999999E-2</c:v>
                </c:pt>
                <c:pt idx="11">
                  <c:v>0.01</c:v>
                </c:pt>
                <c:pt idx="12">
                  <c:v>1E-3</c:v>
                </c:pt>
                <c:pt idx="13">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7ECAC4"/>
              </a:solidFill>
            </c:spPr>
            <c:extLst>
              <c:ext xmlns:c16="http://schemas.microsoft.com/office/drawing/2014/chart" uri="{C3380CC4-5D6E-409C-BE32-E72D297353CC}">
                <c16:uniqueId val="{0000000C-C76F-4230-900D-40618C09729F}"/>
              </c:ext>
            </c:extLst>
          </c:dPt>
          <c:dPt>
            <c:idx val="4"/>
            <c:invertIfNegative val="0"/>
            <c:bubble3D val="0"/>
            <c:spPr>
              <a:solidFill>
                <a:srgbClr val="AEABAB"/>
              </a:solidFill>
            </c:spPr>
            <c:extLst>
              <c:ext xmlns:c16="http://schemas.microsoft.com/office/drawing/2014/chart" uri="{C3380CC4-5D6E-409C-BE32-E72D297353CC}">
                <c16:uniqueId val="{0000000E-C76F-4230-900D-40618C09729F}"/>
              </c:ext>
            </c:extLst>
          </c:dPt>
          <c:dPt>
            <c:idx val="5"/>
            <c:invertIfNegative val="0"/>
            <c:bubble3D val="0"/>
            <c:spPr>
              <a:solidFill>
                <a:srgbClr val="AEABAB"/>
              </a:solidFill>
            </c:spPr>
            <c:extLst>
              <c:ext xmlns:c16="http://schemas.microsoft.com/office/drawing/2014/chart" uri="{C3380CC4-5D6E-409C-BE32-E72D297353CC}">
                <c16:uniqueId val="{00000010-C76F-4230-900D-40618C09729F}"/>
              </c:ext>
            </c:extLst>
          </c:dPt>
          <c:dPt>
            <c:idx val="6"/>
            <c:invertIfNegative val="1"/>
            <c:bubble3D val="0"/>
            <c:spPr>
              <a:solidFill>
                <a:srgbClr val="AEABAB"/>
              </a:solidFill>
            </c:spPr>
            <c:extLst>
              <c:ext xmlns:c16="http://schemas.microsoft.com/office/drawing/2014/chart" uri="{C3380CC4-5D6E-409C-BE32-E72D297353CC}">
                <c16:uniqueId val="{00000045-2993-41DE-A2CB-63102DE87051}"/>
              </c:ext>
            </c:extLst>
          </c:dPt>
          <c:dPt>
            <c:idx val="7"/>
            <c:invertIfNegative val="1"/>
            <c:bubble3D val="0"/>
            <c:spPr>
              <a:solidFill>
                <a:srgbClr val="AEABAB"/>
              </a:solidFill>
            </c:spPr>
            <c:extLst>
              <c:ext xmlns:c16="http://schemas.microsoft.com/office/drawing/2014/chart" uri="{C3380CC4-5D6E-409C-BE32-E72D297353CC}">
                <c16:uniqueId val="{00000047-2993-41DE-A2CB-63102DE87051}"/>
              </c:ext>
            </c:extLst>
          </c:dPt>
          <c:dPt>
            <c:idx val="8"/>
            <c:invertIfNegative val="1"/>
            <c:bubble3D val="0"/>
            <c:spPr>
              <a:solidFill>
                <a:srgbClr val="AEABAB"/>
              </a:solidFill>
            </c:spPr>
            <c:extLst>
              <c:ext xmlns:c16="http://schemas.microsoft.com/office/drawing/2014/chart" uri="{C3380CC4-5D6E-409C-BE32-E72D297353CC}">
                <c16:uniqueId val="{00000049-2993-41DE-A2CB-63102DE87051}"/>
              </c:ext>
            </c:extLst>
          </c:dPt>
          <c:dPt>
            <c:idx val="9"/>
            <c:invertIfNegative val="1"/>
            <c:bubble3D val="0"/>
            <c:spPr>
              <a:solidFill>
                <a:srgbClr val="AEABAB"/>
              </a:solidFill>
            </c:spPr>
            <c:extLst>
              <c:ext xmlns:c16="http://schemas.microsoft.com/office/drawing/2014/chart" uri="{C3380CC4-5D6E-409C-BE32-E72D297353CC}">
                <c16:uniqueId val="{0000004B-2993-41DE-A2CB-63102DE87051}"/>
              </c:ext>
            </c:extLst>
          </c:dPt>
          <c:dPt>
            <c:idx val="10"/>
            <c:invertIfNegative val="1"/>
            <c:bubble3D val="0"/>
            <c:spPr>
              <a:solidFill>
                <a:srgbClr val="AEABAB"/>
              </a:solidFill>
            </c:spPr>
            <c:extLst>
              <c:ext xmlns:c16="http://schemas.microsoft.com/office/drawing/2014/chart" uri="{C3380CC4-5D6E-409C-BE32-E72D297353CC}">
                <c16:uniqueId val="{0000004D-2993-41DE-A2CB-63102DE87051}"/>
              </c:ext>
            </c:extLst>
          </c:dPt>
          <c:dPt>
            <c:idx val="11"/>
            <c:invertIfNegative val="1"/>
            <c:bubble3D val="0"/>
            <c:spPr>
              <a:solidFill>
                <a:srgbClr val="AEABAB"/>
              </a:solidFill>
            </c:spPr>
            <c:extLst>
              <c:ext xmlns:c16="http://schemas.microsoft.com/office/drawing/2014/chart" uri="{C3380CC4-5D6E-409C-BE32-E72D297353CC}">
                <c16:uniqueId val="{0000004F-2993-41DE-A2CB-63102DE87051}"/>
              </c:ext>
            </c:extLst>
          </c:dPt>
          <c:dPt>
            <c:idx val="12"/>
            <c:invertIfNegative val="1"/>
            <c:bubble3D val="0"/>
            <c:spPr>
              <a:solidFill>
                <a:srgbClr val="AEABAB"/>
              </a:solidFill>
            </c:spPr>
            <c:extLst>
              <c:ext xmlns:c16="http://schemas.microsoft.com/office/drawing/2014/chart" uri="{C3380CC4-5D6E-409C-BE32-E72D297353CC}">
                <c16:uniqueId val="{00000051-2993-41DE-A2CB-63102DE87051}"/>
              </c:ext>
            </c:extLst>
          </c:dPt>
          <c:dPt>
            <c:idx val="13"/>
            <c:invertIfNegative val="1"/>
            <c:bubble3D val="0"/>
            <c:spPr>
              <a:solidFill>
                <a:srgbClr val="AEABAB"/>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15</c:f>
              <c:strCache>
                <c:ptCount val="14"/>
                <c:pt idx="0">
                  <c:v>All Others</c:v>
                </c:pt>
                <c:pt idx="1">
                  <c:v>Bottega</c:v>
                </c:pt>
                <c:pt idx="2">
                  <c:v>Savian</c:v>
                </c:pt>
                <c:pt idx="3">
                  <c:v>Bottega</c:v>
                </c:pt>
                <c:pt idx="4">
                  <c:v>Contarini</c:v>
                </c:pt>
                <c:pt idx="5">
                  <c:v>Contarini</c:v>
                </c:pt>
                <c:pt idx="6">
                  <c:v>Vilaveroni</c:v>
                </c:pt>
                <c:pt idx="7">
                  <c:v>Bottega</c:v>
                </c:pt>
                <c:pt idx="8">
                  <c:v>Vilaveroni</c:v>
                </c:pt>
                <c:pt idx="9">
                  <c:v>Vilaveroni</c:v>
                </c:pt>
                <c:pt idx="10">
                  <c:v>Vilaveroni</c:v>
                </c:pt>
                <c:pt idx="11">
                  <c:v>Bottega</c:v>
                </c:pt>
                <c:pt idx="12">
                  <c:v>Bottega</c:v>
                </c:pt>
                <c:pt idx="13">
                  <c:v>Bottega</c:v>
                </c:pt>
              </c:strCache>
            </c:strRef>
          </c:cat>
          <c:val>
            <c:numRef>
              <c:f>Sheet1!$C$2:$C$15</c:f>
              <c:numCache>
                <c:formatCode>General</c:formatCode>
                <c:ptCount val="14"/>
                <c:pt idx="0">
                  <c:v>0.39413936393498167</c:v>
                </c:pt>
                <c:pt idx="1">
                  <c:v>0.69418371812851176</c:v>
                </c:pt>
                <c:pt idx="2">
                  <c:v>0.88464438995924577</c:v>
                </c:pt>
                <c:pt idx="3">
                  <c:v>0.93987889069809016</c:v>
                </c:pt>
                <c:pt idx="4">
                  <c:v>0.9777864316168926</c:v>
                </c:pt>
                <c:pt idx="5">
                  <c:v>0.99332275264242742</c:v>
                </c:pt>
                <c:pt idx="6">
                  <c:v>0.99652931376885923</c:v>
                </c:pt>
                <c:pt idx="7">
                  <c:v>0.99839407230321786</c:v>
                </c:pt>
                <c:pt idx="8">
                  <c:v>0.9991287989307932</c:v>
                </c:pt>
                <c:pt idx="9">
                  <c:v>0.99952469246190467</c:v>
                </c:pt>
                <c:pt idx="10">
                  <c:v>0.99972705111673732</c:v>
                </c:pt>
                <c:pt idx="11">
                  <c:v>0.99987823185595814</c:v>
                </c:pt>
                <c:pt idx="12">
                  <c:v>0.99995235159580964</c:v>
                </c:pt>
                <c:pt idx="13">
                  <c:v>0.99999999999999989</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10</c:f>
              <c:strCache>
                <c:ptCount val="9"/>
                <c:pt idx="0">
                  <c:v>All Others</c:v>
                </c:pt>
                <c:pt idx="1">
                  <c:v>Bottega</c:v>
                </c:pt>
                <c:pt idx="2">
                  <c:v>Savian</c:v>
                </c:pt>
                <c:pt idx="3">
                  <c:v>Bottega</c:v>
                </c:pt>
                <c:pt idx="4">
                  <c:v>Contarini</c:v>
                </c:pt>
                <c:pt idx="5">
                  <c:v>Contarini</c:v>
                </c:pt>
                <c:pt idx="6">
                  <c:v>Bottega</c:v>
                </c:pt>
                <c:pt idx="7">
                  <c:v>Bottega</c:v>
                </c:pt>
                <c:pt idx="8">
                  <c:v>Bottega</c:v>
                </c:pt>
              </c:strCache>
            </c:strRef>
          </c:cat>
          <c:val>
            <c:numRef>
              <c:f>Sheet1!$B$2:$B$10</c:f>
              <c:numCache>
                <c:formatCode>General</c:formatCode>
                <c:ptCount val="9"/>
                <c:pt idx="0">
                  <c:v>0.92</c:v>
                </c:pt>
                <c:pt idx="1">
                  <c:v>0.82</c:v>
                </c:pt>
                <c:pt idx="2">
                  <c:v>0.82</c:v>
                </c:pt>
                <c:pt idx="3">
                  <c:v>0.46</c:v>
                </c:pt>
                <c:pt idx="4">
                  <c:v>0.91</c:v>
                </c:pt>
                <c:pt idx="5">
                  <c:v>0.11</c:v>
                </c:pt>
                <c:pt idx="6">
                  <c:v>0.03</c:v>
                </c:pt>
                <c:pt idx="7">
                  <c:v>0.01</c:v>
                </c:pt>
                <c:pt idx="8">
                  <c:v>0.02</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7ECAC4"/>
              </a:solidFill>
            </c:spPr>
            <c:extLst>
              <c:ext xmlns:c16="http://schemas.microsoft.com/office/drawing/2014/chart" uri="{C3380CC4-5D6E-409C-BE32-E72D297353CC}">
                <c16:uniqueId val="{0000000C-C76F-4230-900D-40618C09729F}"/>
              </c:ext>
            </c:extLst>
          </c:dPt>
          <c:dPt>
            <c:idx val="4"/>
            <c:invertIfNegative val="0"/>
            <c:bubble3D val="0"/>
            <c:spPr>
              <a:solidFill>
                <a:srgbClr val="AEABAB"/>
              </a:solidFill>
            </c:spPr>
            <c:extLst>
              <c:ext xmlns:c16="http://schemas.microsoft.com/office/drawing/2014/chart" uri="{C3380CC4-5D6E-409C-BE32-E72D297353CC}">
                <c16:uniqueId val="{0000000E-C76F-4230-900D-40618C09729F}"/>
              </c:ext>
            </c:extLst>
          </c:dPt>
          <c:dPt>
            <c:idx val="5"/>
            <c:invertIfNegative val="0"/>
            <c:bubble3D val="0"/>
            <c:spPr>
              <a:solidFill>
                <a:srgbClr val="AEABAB"/>
              </a:solidFill>
            </c:spPr>
            <c:extLst>
              <c:ext xmlns:c16="http://schemas.microsoft.com/office/drawing/2014/chart" uri="{C3380CC4-5D6E-409C-BE32-E72D297353CC}">
                <c16:uniqueId val="{00000010-C76F-4230-900D-40618C09729F}"/>
              </c:ext>
            </c:extLst>
          </c:dPt>
          <c:dPt>
            <c:idx val="6"/>
            <c:invertIfNegative val="1"/>
            <c:bubble3D val="0"/>
            <c:spPr>
              <a:solidFill>
                <a:srgbClr val="AEABAB"/>
              </a:solidFill>
            </c:spPr>
            <c:extLst>
              <c:ext xmlns:c16="http://schemas.microsoft.com/office/drawing/2014/chart" uri="{C3380CC4-5D6E-409C-BE32-E72D297353CC}">
                <c16:uniqueId val="{00000045-2993-41DE-A2CB-63102DE87051}"/>
              </c:ext>
            </c:extLst>
          </c:dPt>
          <c:dPt>
            <c:idx val="7"/>
            <c:invertIfNegative val="1"/>
            <c:bubble3D val="0"/>
            <c:spPr>
              <a:solidFill>
                <a:srgbClr val="AEABAB"/>
              </a:solidFill>
            </c:spPr>
            <c:extLst>
              <c:ext xmlns:c16="http://schemas.microsoft.com/office/drawing/2014/chart" uri="{C3380CC4-5D6E-409C-BE32-E72D297353CC}">
                <c16:uniqueId val="{00000047-2993-41DE-A2CB-63102DE87051}"/>
              </c:ext>
            </c:extLst>
          </c:dPt>
          <c:dPt>
            <c:idx val="8"/>
            <c:invertIfNegative val="1"/>
            <c:bubble3D val="0"/>
            <c:spPr>
              <a:solidFill>
                <a:srgbClr val="AEABAB"/>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10</c:f>
              <c:strCache>
                <c:ptCount val="9"/>
                <c:pt idx="0">
                  <c:v>All Others</c:v>
                </c:pt>
                <c:pt idx="1">
                  <c:v>Bottega</c:v>
                </c:pt>
                <c:pt idx="2">
                  <c:v>Savian</c:v>
                </c:pt>
                <c:pt idx="3">
                  <c:v>Bottega</c:v>
                </c:pt>
                <c:pt idx="4">
                  <c:v>Contarini</c:v>
                </c:pt>
                <c:pt idx="5">
                  <c:v>Contarini</c:v>
                </c:pt>
                <c:pt idx="6">
                  <c:v>Bottega</c:v>
                </c:pt>
                <c:pt idx="7">
                  <c:v>Bottega</c:v>
                </c:pt>
                <c:pt idx="8">
                  <c:v>Bottega</c:v>
                </c:pt>
              </c:strCache>
            </c:strRef>
          </c:cat>
          <c:val>
            <c:numRef>
              <c:f>Sheet1!$C$2:$C$10</c:f>
              <c:numCache>
                <c:formatCode>General</c:formatCode>
                <c:ptCount val="9"/>
                <c:pt idx="0">
                  <c:v>0.39331430569057413</c:v>
                </c:pt>
                <c:pt idx="1">
                  <c:v>0.69108055301481186</c:v>
                </c:pt>
                <c:pt idx="2">
                  <c:v>0.89712861377556641</c:v>
                </c:pt>
                <c:pt idx="3">
                  <c:v>0.94683673420522085</c:v>
                </c:pt>
                <c:pt idx="4">
                  <c:v>0.98465058256193172</c:v>
                </c:pt>
                <c:pt idx="5">
                  <c:v>0.99914519272671554</c:v>
                </c:pt>
                <c:pt idx="6">
                  <c:v>0.9998455600304571</c:v>
                </c:pt>
                <c:pt idx="7">
                  <c:v>0.99997006977334446</c:v>
                </c:pt>
                <c:pt idx="8">
                  <c:v>1</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9</c:f>
              <c:strCache>
                <c:ptCount val="8"/>
                <c:pt idx="0">
                  <c:v>All Others</c:v>
                </c:pt>
                <c:pt idx="1">
                  <c:v>Bottega</c:v>
                </c:pt>
                <c:pt idx="2">
                  <c:v>Savian</c:v>
                </c:pt>
                <c:pt idx="3">
                  <c:v>Bottega</c:v>
                </c:pt>
                <c:pt idx="4">
                  <c:v>Contarini</c:v>
                </c:pt>
                <c:pt idx="5">
                  <c:v>Contarini</c:v>
                </c:pt>
                <c:pt idx="6">
                  <c:v>Bottega</c:v>
                </c:pt>
                <c:pt idx="7">
                  <c:v>Bottega</c:v>
                </c:pt>
              </c:strCache>
            </c:strRef>
          </c:cat>
          <c:val>
            <c:numRef>
              <c:f>Sheet1!$B$2:$B$9</c:f>
              <c:numCache>
                <c:formatCode>General</c:formatCode>
                <c:ptCount val="8"/>
                <c:pt idx="0">
                  <c:v>0.84</c:v>
                </c:pt>
                <c:pt idx="1">
                  <c:v>0.71</c:v>
                </c:pt>
                <c:pt idx="2">
                  <c:v>0.72</c:v>
                </c:pt>
                <c:pt idx="3">
                  <c:v>0.4</c:v>
                </c:pt>
                <c:pt idx="4">
                  <c:v>0.76</c:v>
                </c:pt>
                <c:pt idx="5">
                  <c:v>0.12</c:v>
                </c:pt>
                <c:pt idx="6">
                  <c:v>0.05</c:v>
                </c:pt>
                <c:pt idx="7">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7ECAC4"/>
              </a:solidFill>
            </c:spPr>
            <c:extLst>
              <c:ext xmlns:c16="http://schemas.microsoft.com/office/drawing/2014/chart" uri="{C3380CC4-5D6E-409C-BE32-E72D297353CC}">
                <c16:uniqueId val="{0000000C-C76F-4230-900D-40618C09729F}"/>
              </c:ext>
            </c:extLst>
          </c:dPt>
          <c:dPt>
            <c:idx val="4"/>
            <c:invertIfNegative val="0"/>
            <c:bubble3D val="0"/>
            <c:spPr>
              <a:solidFill>
                <a:srgbClr val="AEABAB"/>
              </a:solidFill>
            </c:spPr>
            <c:extLst>
              <c:ext xmlns:c16="http://schemas.microsoft.com/office/drawing/2014/chart" uri="{C3380CC4-5D6E-409C-BE32-E72D297353CC}">
                <c16:uniqueId val="{0000000E-C76F-4230-900D-40618C09729F}"/>
              </c:ext>
            </c:extLst>
          </c:dPt>
          <c:dPt>
            <c:idx val="5"/>
            <c:invertIfNegative val="0"/>
            <c:bubble3D val="0"/>
            <c:spPr>
              <a:solidFill>
                <a:srgbClr val="AEABAB"/>
              </a:solidFill>
            </c:spPr>
            <c:extLst>
              <c:ext xmlns:c16="http://schemas.microsoft.com/office/drawing/2014/chart" uri="{C3380CC4-5D6E-409C-BE32-E72D297353CC}">
                <c16:uniqueId val="{00000010-C76F-4230-900D-40618C09729F}"/>
              </c:ext>
            </c:extLst>
          </c:dPt>
          <c:dPt>
            <c:idx val="6"/>
            <c:invertIfNegative val="1"/>
            <c:bubble3D val="0"/>
            <c:spPr>
              <a:solidFill>
                <a:srgbClr val="AEABAB"/>
              </a:solidFill>
            </c:spPr>
            <c:extLst>
              <c:ext xmlns:c16="http://schemas.microsoft.com/office/drawing/2014/chart" uri="{C3380CC4-5D6E-409C-BE32-E72D297353CC}">
                <c16:uniqueId val="{00000045-2993-41DE-A2CB-63102DE87051}"/>
              </c:ext>
            </c:extLst>
          </c:dPt>
          <c:dPt>
            <c:idx val="7"/>
            <c:invertIfNegative val="1"/>
            <c:bubble3D val="0"/>
            <c:spPr>
              <a:solidFill>
                <a:srgbClr val="AEABAB"/>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9</c:f>
              <c:strCache>
                <c:ptCount val="8"/>
                <c:pt idx="0">
                  <c:v>All Others</c:v>
                </c:pt>
                <c:pt idx="1">
                  <c:v>Bottega</c:v>
                </c:pt>
                <c:pt idx="2">
                  <c:v>Savian</c:v>
                </c:pt>
                <c:pt idx="3">
                  <c:v>Bottega</c:v>
                </c:pt>
                <c:pt idx="4">
                  <c:v>Contarini</c:v>
                </c:pt>
                <c:pt idx="5">
                  <c:v>Contarini</c:v>
                </c:pt>
                <c:pt idx="6">
                  <c:v>Bottega</c:v>
                </c:pt>
                <c:pt idx="7">
                  <c:v>Bottega</c:v>
                </c:pt>
              </c:strCache>
            </c:strRef>
          </c:cat>
          <c:val>
            <c:numRef>
              <c:f>Sheet1!$C$2:$C$9</c:f>
              <c:numCache>
                <c:formatCode>General</c:formatCode>
                <c:ptCount val="8"/>
                <c:pt idx="0">
                  <c:v>0.39906053448687667</c:v>
                </c:pt>
                <c:pt idx="1">
                  <c:v>0.68793954512884481</c:v>
                </c:pt>
                <c:pt idx="2">
                  <c:v>0.87084339587590565</c:v>
                </c:pt>
                <c:pt idx="3">
                  <c:v>0.93903426129879786</c:v>
                </c:pt>
                <c:pt idx="4">
                  <c:v>0.97716687455216167</c:v>
                </c:pt>
                <c:pt idx="5">
                  <c:v>0.99626469573525134</c:v>
                </c:pt>
                <c:pt idx="6">
                  <c:v>0.99934317029802833</c:v>
                </c:pt>
                <c:pt idx="7">
                  <c:v>0.99973461426182975</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8</c:f>
              <c:strCache>
                <c:ptCount val="7"/>
                <c:pt idx="0">
                  <c:v>All Others</c:v>
                </c:pt>
                <c:pt idx="1">
                  <c:v>Bottega</c:v>
                </c:pt>
                <c:pt idx="2">
                  <c:v>Savian</c:v>
                </c:pt>
                <c:pt idx="3">
                  <c:v>Bottega</c:v>
                </c:pt>
                <c:pt idx="4">
                  <c:v>Contarini</c:v>
                </c:pt>
                <c:pt idx="5">
                  <c:v>Contarini</c:v>
                </c:pt>
                <c:pt idx="6">
                  <c:v>Bottega</c:v>
                </c:pt>
              </c:strCache>
            </c:strRef>
          </c:cat>
          <c:val>
            <c:numRef>
              <c:f>Sheet1!$B$2:$B$8</c:f>
              <c:numCache>
                <c:formatCode>General</c:formatCode>
                <c:ptCount val="7"/>
                <c:pt idx="0">
                  <c:v>0.91</c:v>
                </c:pt>
                <c:pt idx="1">
                  <c:v>0.9</c:v>
                </c:pt>
                <c:pt idx="2">
                  <c:v>0.9</c:v>
                </c:pt>
                <c:pt idx="3">
                  <c:v>0.47</c:v>
                </c:pt>
                <c:pt idx="4">
                  <c:v>0.85</c:v>
                </c:pt>
                <c:pt idx="5">
                  <c:v>0.19</c:v>
                </c:pt>
                <c:pt idx="6">
                  <c:v>0.09</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AEABAB"/>
              </a:solidFill>
            </c:spPr>
            <c:extLst>
              <c:ext xmlns:c16="http://schemas.microsoft.com/office/drawing/2014/chart" uri="{C3380CC4-5D6E-409C-BE32-E72D297353CC}">
                <c16:uniqueId val="{0000000C-C76F-4230-900D-40618C09729F}"/>
              </c:ext>
            </c:extLst>
          </c:dPt>
          <c:dPt>
            <c:idx val="4"/>
            <c:invertIfNegative val="0"/>
            <c:bubble3D val="0"/>
            <c:spPr>
              <a:solidFill>
                <a:srgbClr val="AEABAB"/>
              </a:solidFill>
            </c:spPr>
            <c:extLst>
              <c:ext xmlns:c16="http://schemas.microsoft.com/office/drawing/2014/chart" uri="{C3380CC4-5D6E-409C-BE32-E72D297353CC}">
                <c16:uniqueId val="{0000000E-C76F-4230-900D-40618C09729F}"/>
              </c:ext>
            </c:extLst>
          </c:dPt>
          <c:dPt>
            <c:idx val="5"/>
            <c:invertIfNegative val="0"/>
            <c:bubble3D val="0"/>
            <c:spPr>
              <a:solidFill>
                <a:srgbClr val="AEABAB"/>
              </a:solidFill>
            </c:spPr>
            <c:extLst>
              <c:ext xmlns:c16="http://schemas.microsoft.com/office/drawing/2014/chart" uri="{C3380CC4-5D6E-409C-BE32-E72D297353CC}">
                <c16:uniqueId val="{00000010-C76F-4230-900D-40618C09729F}"/>
              </c:ext>
            </c:extLst>
          </c:dPt>
          <c:dPt>
            <c:idx val="6"/>
            <c:invertIfNegative val="1"/>
            <c:bubble3D val="0"/>
            <c:spPr>
              <a:solidFill>
                <a:srgbClr val="AEABAB"/>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8</c:f>
              <c:strCache>
                <c:ptCount val="7"/>
                <c:pt idx="0">
                  <c:v>All Others</c:v>
                </c:pt>
                <c:pt idx="1">
                  <c:v>Bottega</c:v>
                </c:pt>
                <c:pt idx="2">
                  <c:v>Savian</c:v>
                </c:pt>
                <c:pt idx="3">
                  <c:v>Bottega</c:v>
                </c:pt>
                <c:pt idx="4">
                  <c:v>Contarini</c:v>
                </c:pt>
                <c:pt idx="5">
                  <c:v>Contarini</c:v>
                </c:pt>
                <c:pt idx="6">
                  <c:v>Bottega</c:v>
                </c:pt>
              </c:strCache>
            </c:strRef>
          </c:cat>
          <c:val>
            <c:numRef>
              <c:f>Sheet1!$C$2:$C$8</c:f>
              <c:numCache>
                <c:formatCode>General</c:formatCode>
                <c:ptCount val="7"/>
                <c:pt idx="0">
                  <c:v>0.35909975906585362</c:v>
                </c:pt>
                <c:pt idx="1">
                  <c:v>0.68531123657267323</c:v>
                </c:pt>
                <c:pt idx="2">
                  <c:v>0.89258652309936859</c:v>
                </c:pt>
                <c:pt idx="3">
                  <c:v>0.95232175239778272</c:v>
                </c:pt>
                <c:pt idx="4">
                  <c:v>0.98677687648657386</c:v>
                </c:pt>
                <c:pt idx="5">
                  <c:v>0.99961471085333831</c:v>
                </c:pt>
                <c:pt idx="6">
                  <c:v>0.99999999999999989</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9</c:f>
              <c:strCache>
                <c:ptCount val="8"/>
                <c:pt idx="0">
                  <c:v>All Others</c:v>
                </c:pt>
                <c:pt idx="1">
                  <c:v>Bottega</c:v>
                </c:pt>
                <c:pt idx="2">
                  <c:v>Savian</c:v>
                </c:pt>
                <c:pt idx="3">
                  <c:v>Bottega</c:v>
                </c:pt>
                <c:pt idx="4">
                  <c:v>Contarini</c:v>
                </c:pt>
                <c:pt idx="5">
                  <c:v>Contarini</c:v>
                </c:pt>
                <c:pt idx="6">
                  <c:v>Bottega</c:v>
                </c:pt>
                <c:pt idx="7">
                  <c:v>Bottega</c:v>
                </c:pt>
              </c:strCache>
            </c:strRef>
          </c:cat>
          <c:val>
            <c:numRef>
              <c:f>Sheet1!$B$2:$B$9</c:f>
              <c:numCache>
                <c:formatCode>General</c:formatCode>
                <c:ptCount val="8"/>
                <c:pt idx="0">
                  <c:v>0.97</c:v>
                </c:pt>
                <c:pt idx="1">
                  <c:v>0.88</c:v>
                </c:pt>
                <c:pt idx="2">
                  <c:v>0.92</c:v>
                </c:pt>
                <c:pt idx="3">
                  <c:v>0.46</c:v>
                </c:pt>
                <c:pt idx="4">
                  <c:v>0.91</c:v>
                </c:pt>
                <c:pt idx="5">
                  <c:v>0.17</c:v>
                </c:pt>
                <c:pt idx="6">
                  <c:v>0.1</c:v>
                </c:pt>
                <c:pt idx="7">
                  <c:v>0.03</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7ECAC4"/>
              </a:solidFill>
            </c:spPr>
            <c:extLst>
              <c:ext xmlns:c16="http://schemas.microsoft.com/office/drawing/2014/chart" uri="{C3380CC4-5D6E-409C-BE32-E72D297353CC}">
                <c16:uniqueId val="{0000000C-C76F-4230-900D-40618C09729F}"/>
              </c:ext>
            </c:extLst>
          </c:dPt>
          <c:dPt>
            <c:idx val="4"/>
            <c:invertIfNegative val="0"/>
            <c:bubble3D val="0"/>
            <c:spPr>
              <a:solidFill>
                <a:srgbClr val="AEABAB"/>
              </a:solidFill>
            </c:spPr>
            <c:extLst>
              <c:ext xmlns:c16="http://schemas.microsoft.com/office/drawing/2014/chart" uri="{C3380CC4-5D6E-409C-BE32-E72D297353CC}">
                <c16:uniqueId val="{0000000E-C76F-4230-900D-40618C09729F}"/>
              </c:ext>
            </c:extLst>
          </c:dPt>
          <c:dPt>
            <c:idx val="5"/>
            <c:invertIfNegative val="0"/>
            <c:bubble3D val="0"/>
            <c:spPr>
              <a:solidFill>
                <a:srgbClr val="AEABAB"/>
              </a:solidFill>
            </c:spPr>
            <c:extLst>
              <c:ext xmlns:c16="http://schemas.microsoft.com/office/drawing/2014/chart" uri="{C3380CC4-5D6E-409C-BE32-E72D297353CC}">
                <c16:uniqueId val="{00000010-C76F-4230-900D-40618C09729F}"/>
              </c:ext>
            </c:extLst>
          </c:dPt>
          <c:dPt>
            <c:idx val="6"/>
            <c:invertIfNegative val="1"/>
            <c:bubble3D val="0"/>
            <c:spPr>
              <a:solidFill>
                <a:srgbClr val="AEABAB"/>
              </a:solidFill>
            </c:spPr>
            <c:extLst>
              <c:ext xmlns:c16="http://schemas.microsoft.com/office/drawing/2014/chart" uri="{C3380CC4-5D6E-409C-BE32-E72D297353CC}">
                <c16:uniqueId val="{00000045-2993-41DE-A2CB-63102DE87051}"/>
              </c:ext>
            </c:extLst>
          </c:dPt>
          <c:dPt>
            <c:idx val="7"/>
            <c:invertIfNegative val="1"/>
            <c:bubble3D val="0"/>
            <c:spPr>
              <a:solidFill>
                <a:srgbClr val="AEABAB"/>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9</c:f>
              <c:strCache>
                <c:ptCount val="8"/>
                <c:pt idx="0">
                  <c:v>All Others</c:v>
                </c:pt>
                <c:pt idx="1">
                  <c:v>Bottega</c:v>
                </c:pt>
                <c:pt idx="2">
                  <c:v>Savian</c:v>
                </c:pt>
                <c:pt idx="3">
                  <c:v>Bottega</c:v>
                </c:pt>
                <c:pt idx="4">
                  <c:v>Contarini</c:v>
                </c:pt>
                <c:pt idx="5">
                  <c:v>Contarini</c:v>
                </c:pt>
                <c:pt idx="6">
                  <c:v>Bottega</c:v>
                </c:pt>
                <c:pt idx="7">
                  <c:v>Bottega</c:v>
                </c:pt>
              </c:strCache>
            </c:strRef>
          </c:cat>
          <c:val>
            <c:numRef>
              <c:f>Sheet1!$C$2:$C$9</c:f>
              <c:numCache>
                <c:formatCode>General</c:formatCode>
                <c:ptCount val="8"/>
                <c:pt idx="0">
                  <c:v>0.37414246329422324</c:v>
                </c:pt>
                <c:pt idx="1">
                  <c:v>0.69038917740591144</c:v>
                </c:pt>
                <c:pt idx="2">
                  <c:v>0.89938235985552784</c:v>
                </c:pt>
                <c:pt idx="3">
                  <c:v>0.94991558205637838</c:v>
                </c:pt>
                <c:pt idx="4">
                  <c:v>0.98355452971725332</c:v>
                </c:pt>
                <c:pt idx="5">
                  <c:v>0.99732854608792287</c:v>
                </c:pt>
                <c:pt idx="6">
                  <c:v>0.99988245602786863</c:v>
                </c:pt>
                <c:pt idx="7">
                  <c:v>1</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14</c:f>
              <c:strCache>
                <c:ptCount val="13"/>
                <c:pt idx="0">
                  <c:v>All Others</c:v>
                </c:pt>
                <c:pt idx="1">
                  <c:v>Bottega</c:v>
                </c:pt>
                <c:pt idx="2">
                  <c:v>Savian</c:v>
                </c:pt>
                <c:pt idx="3">
                  <c:v>Bottega</c:v>
                </c:pt>
                <c:pt idx="4">
                  <c:v>Contarini</c:v>
                </c:pt>
                <c:pt idx="5">
                  <c:v>Contarini</c:v>
                </c:pt>
                <c:pt idx="6">
                  <c:v>Vilaveroni</c:v>
                </c:pt>
                <c:pt idx="7">
                  <c:v>Bottega</c:v>
                </c:pt>
                <c:pt idx="8">
                  <c:v>Vilaveroni</c:v>
                </c:pt>
                <c:pt idx="9">
                  <c:v>Vilaveroni</c:v>
                </c:pt>
                <c:pt idx="10">
                  <c:v>Vilaveroni</c:v>
                </c:pt>
                <c:pt idx="11">
                  <c:v>Bottega</c:v>
                </c:pt>
                <c:pt idx="12">
                  <c:v>Bottega</c:v>
                </c:pt>
              </c:strCache>
            </c:strRef>
          </c:cat>
          <c:val>
            <c:numRef>
              <c:f>Sheet1!$B$2:$B$14</c:f>
              <c:numCache>
                <c:formatCode>General</c:formatCode>
                <c:ptCount val="13"/>
                <c:pt idx="0">
                  <c:v>0.9</c:v>
                </c:pt>
                <c:pt idx="1">
                  <c:v>0.76</c:v>
                </c:pt>
                <c:pt idx="2">
                  <c:v>0.75</c:v>
                </c:pt>
                <c:pt idx="3">
                  <c:v>0.56000000000000005</c:v>
                </c:pt>
                <c:pt idx="4">
                  <c:v>0.77</c:v>
                </c:pt>
                <c:pt idx="5">
                  <c:v>0.28000000000000003</c:v>
                </c:pt>
                <c:pt idx="6">
                  <c:v>0.22</c:v>
                </c:pt>
                <c:pt idx="7">
                  <c:v>0.18</c:v>
                </c:pt>
                <c:pt idx="8">
                  <c:v>0.17</c:v>
                </c:pt>
                <c:pt idx="9">
                  <c:v>0.17</c:v>
                </c:pt>
                <c:pt idx="10">
                  <c:v>0.15</c:v>
                </c:pt>
                <c:pt idx="11">
                  <c:v>0.03</c:v>
                </c:pt>
                <c:pt idx="12">
                  <c:v>0.03</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7ECAC4"/>
              </a:solidFill>
            </c:spPr>
            <c:extLst>
              <c:ext xmlns:c16="http://schemas.microsoft.com/office/drawing/2014/chart" uri="{C3380CC4-5D6E-409C-BE32-E72D297353CC}">
                <c16:uniqueId val="{0000000C-C76F-4230-900D-40618C09729F}"/>
              </c:ext>
            </c:extLst>
          </c:dPt>
          <c:dPt>
            <c:idx val="4"/>
            <c:invertIfNegative val="0"/>
            <c:bubble3D val="0"/>
            <c:spPr>
              <a:solidFill>
                <a:srgbClr val="7ECAC4"/>
              </a:solidFill>
            </c:spPr>
            <c:extLst>
              <c:ext xmlns:c16="http://schemas.microsoft.com/office/drawing/2014/chart" uri="{C3380CC4-5D6E-409C-BE32-E72D297353CC}">
                <c16:uniqueId val="{0000000E-C76F-4230-900D-40618C09729F}"/>
              </c:ext>
            </c:extLst>
          </c:dPt>
          <c:dPt>
            <c:idx val="5"/>
            <c:invertIfNegative val="0"/>
            <c:bubble3D val="0"/>
            <c:spPr>
              <a:solidFill>
                <a:srgbClr val="AEABAB"/>
              </a:solidFill>
            </c:spPr>
            <c:extLst>
              <c:ext xmlns:c16="http://schemas.microsoft.com/office/drawing/2014/chart" uri="{C3380CC4-5D6E-409C-BE32-E72D297353CC}">
                <c16:uniqueId val="{00000010-C76F-4230-900D-40618C09729F}"/>
              </c:ext>
            </c:extLst>
          </c:dPt>
          <c:dPt>
            <c:idx val="6"/>
            <c:invertIfNegative val="1"/>
            <c:bubble3D val="0"/>
            <c:spPr>
              <a:solidFill>
                <a:srgbClr val="AEABAB"/>
              </a:solidFill>
            </c:spPr>
            <c:extLst>
              <c:ext xmlns:c16="http://schemas.microsoft.com/office/drawing/2014/chart" uri="{C3380CC4-5D6E-409C-BE32-E72D297353CC}">
                <c16:uniqueId val="{00000045-2993-41DE-A2CB-63102DE87051}"/>
              </c:ext>
            </c:extLst>
          </c:dPt>
          <c:dPt>
            <c:idx val="7"/>
            <c:invertIfNegative val="1"/>
            <c:bubble3D val="0"/>
            <c:spPr>
              <a:solidFill>
                <a:srgbClr val="AEABAB"/>
              </a:solidFill>
            </c:spPr>
            <c:extLst>
              <c:ext xmlns:c16="http://schemas.microsoft.com/office/drawing/2014/chart" uri="{C3380CC4-5D6E-409C-BE32-E72D297353CC}">
                <c16:uniqueId val="{00000047-2993-41DE-A2CB-63102DE87051}"/>
              </c:ext>
            </c:extLst>
          </c:dPt>
          <c:dPt>
            <c:idx val="8"/>
            <c:invertIfNegative val="1"/>
            <c:bubble3D val="0"/>
            <c:spPr>
              <a:solidFill>
                <a:srgbClr val="AEABAB"/>
              </a:solidFill>
            </c:spPr>
            <c:extLst>
              <c:ext xmlns:c16="http://schemas.microsoft.com/office/drawing/2014/chart" uri="{C3380CC4-5D6E-409C-BE32-E72D297353CC}">
                <c16:uniqueId val="{00000049-2993-41DE-A2CB-63102DE87051}"/>
              </c:ext>
            </c:extLst>
          </c:dPt>
          <c:dPt>
            <c:idx val="9"/>
            <c:invertIfNegative val="1"/>
            <c:bubble3D val="0"/>
            <c:spPr>
              <a:solidFill>
                <a:srgbClr val="AEABAB"/>
              </a:solidFill>
            </c:spPr>
            <c:extLst>
              <c:ext xmlns:c16="http://schemas.microsoft.com/office/drawing/2014/chart" uri="{C3380CC4-5D6E-409C-BE32-E72D297353CC}">
                <c16:uniqueId val="{0000004B-2993-41DE-A2CB-63102DE87051}"/>
              </c:ext>
            </c:extLst>
          </c:dPt>
          <c:dPt>
            <c:idx val="10"/>
            <c:invertIfNegative val="1"/>
            <c:bubble3D val="0"/>
            <c:spPr>
              <a:solidFill>
                <a:srgbClr val="AEABAB"/>
              </a:solidFill>
            </c:spPr>
            <c:extLst>
              <c:ext xmlns:c16="http://schemas.microsoft.com/office/drawing/2014/chart" uri="{C3380CC4-5D6E-409C-BE32-E72D297353CC}">
                <c16:uniqueId val="{0000004D-2993-41DE-A2CB-63102DE87051}"/>
              </c:ext>
            </c:extLst>
          </c:dPt>
          <c:dPt>
            <c:idx val="11"/>
            <c:invertIfNegative val="1"/>
            <c:bubble3D val="0"/>
            <c:spPr>
              <a:solidFill>
                <a:srgbClr val="AEABAB"/>
              </a:solidFill>
            </c:spPr>
            <c:extLst>
              <c:ext xmlns:c16="http://schemas.microsoft.com/office/drawing/2014/chart" uri="{C3380CC4-5D6E-409C-BE32-E72D297353CC}">
                <c16:uniqueId val="{0000004F-2993-41DE-A2CB-63102DE87051}"/>
              </c:ext>
            </c:extLst>
          </c:dPt>
          <c:dPt>
            <c:idx val="12"/>
            <c:invertIfNegative val="1"/>
            <c:bubble3D val="0"/>
            <c:spPr>
              <a:solidFill>
                <a:srgbClr val="AEABAB"/>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14</c:f>
              <c:strCache>
                <c:ptCount val="13"/>
                <c:pt idx="0">
                  <c:v>All Others</c:v>
                </c:pt>
                <c:pt idx="1">
                  <c:v>Bottega</c:v>
                </c:pt>
                <c:pt idx="2">
                  <c:v>Savian</c:v>
                </c:pt>
                <c:pt idx="3">
                  <c:v>Bottega</c:v>
                </c:pt>
                <c:pt idx="4">
                  <c:v>Contarini</c:v>
                </c:pt>
                <c:pt idx="5">
                  <c:v>Contarini</c:v>
                </c:pt>
                <c:pt idx="6">
                  <c:v>Vilaveroni</c:v>
                </c:pt>
                <c:pt idx="7">
                  <c:v>Bottega</c:v>
                </c:pt>
                <c:pt idx="8">
                  <c:v>Vilaveroni</c:v>
                </c:pt>
                <c:pt idx="9">
                  <c:v>Vilaveroni</c:v>
                </c:pt>
                <c:pt idx="10">
                  <c:v>Vilaveroni</c:v>
                </c:pt>
                <c:pt idx="11">
                  <c:v>Bottega</c:v>
                </c:pt>
                <c:pt idx="12">
                  <c:v>Bottega</c:v>
                </c:pt>
              </c:strCache>
            </c:strRef>
          </c:cat>
          <c:val>
            <c:numRef>
              <c:f>Sheet1!$C$2:$C$14</c:f>
              <c:numCache>
                <c:formatCode>General</c:formatCode>
                <c:ptCount val="13"/>
                <c:pt idx="0">
                  <c:v>0.42939045085538685</c:v>
                </c:pt>
                <c:pt idx="1">
                  <c:v>0.69468651103059209</c:v>
                </c:pt>
                <c:pt idx="2">
                  <c:v>0.83642159335871202</c:v>
                </c:pt>
                <c:pt idx="3">
                  <c:v>0.90329312479933943</c:v>
                </c:pt>
                <c:pt idx="4">
                  <c:v>0.93909095078658889</c:v>
                </c:pt>
                <c:pt idx="5">
                  <c:v>0.96603678392881698</c:v>
                </c:pt>
                <c:pt idx="6">
                  <c:v>0.98663028023666455</c:v>
                </c:pt>
                <c:pt idx="7">
                  <c:v>0.99142319864238848</c:v>
                </c:pt>
                <c:pt idx="8">
                  <c:v>0.99525294684217747</c:v>
                </c:pt>
                <c:pt idx="9">
                  <c:v>0.99842911525936773</c:v>
                </c:pt>
                <c:pt idx="10">
                  <c:v>0.9997821400724668</c:v>
                </c:pt>
                <c:pt idx="11">
                  <c:v>0.99991973581617177</c:v>
                </c:pt>
                <c:pt idx="12">
                  <c:v>0.99999999999999967</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9</c:f>
              <c:strCache>
                <c:ptCount val="8"/>
                <c:pt idx="0">
                  <c:v>All Others</c:v>
                </c:pt>
                <c:pt idx="1">
                  <c:v>Bottega</c:v>
                </c:pt>
                <c:pt idx="2">
                  <c:v>Savian</c:v>
                </c:pt>
                <c:pt idx="3">
                  <c:v>Bottega</c:v>
                </c:pt>
                <c:pt idx="4">
                  <c:v>Contarini</c:v>
                </c:pt>
                <c:pt idx="5">
                  <c:v>Contarini</c:v>
                </c:pt>
                <c:pt idx="6">
                  <c:v>Bottega</c:v>
                </c:pt>
                <c:pt idx="7">
                  <c:v>Bottega</c:v>
                </c:pt>
              </c:strCache>
            </c:strRef>
          </c:cat>
          <c:val>
            <c:numRef>
              <c:f>Sheet1!$B$2:$B$9</c:f>
              <c:numCache>
                <c:formatCode>General</c:formatCode>
                <c:ptCount val="8"/>
                <c:pt idx="0">
                  <c:v>0.9</c:v>
                </c:pt>
                <c:pt idx="1">
                  <c:v>0.8</c:v>
                </c:pt>
                <c:pt idx="2">
                  <c:v>0.82</c:v>
                </c:pt>
                <c:pt idx="3">
                  <c:v>0.45</c:v>
                </c:pt>
                <c:pt idx="4">
                  <c:v>0.87</c:v>
                </c:pt>
                <c:pt idx="5">
                  <c:v>0.1</c:v>
                </c:pt>
                <c:pt idx="6">
                  <c:v>0.03</c:v>
                </c:pt>
                <c:pt idx="7">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7ECAC4"/>
              </a:solidFill>
            </c:spPr>
            <c:extLst>
              <c:ext xmlns:c16="http://schemas.microsoft.com/office/drawing/2014/chart" uri="{C3380CC4-5D6E-409C-BE32-E72D297353CC}">
                <c16:uniqueId val="{0000000C-C76F-4230-900D-40618C09729F}"/>
              </c:ext>
            </c:extLst>
          </c:dPt>
          <c:dPt>
            <c:idx val="4"/>
            <c:invertIfNegative val="0"/>
            <c:bubble3D val="0"/>
            <c:spPr>
              <a:solidFill>
                <a:srgbClr val="AEABAB"/>
              </a:solidFill>
            </c:spPr>
            <c:extLst>
              <c:ext xmlns:c16="http://schemas.microsoft.com/office/drawing/2014/chart" uri="{C3380CC4-5D6E-409C-BE32-E72D297353CC}">
                <c16:uniqueId val="{0000000E-C76F-4230-900D-40618C09729F}"/>
              </c:ext>
            </c:extLst>
          </c:dPt>
          <c:dPt>
            <c:idx val="5"/>
            <c:invertIfNegative val="0"/>
            <c:bubble3D val="0"/>
            <c:spPr>
              <a:solidFill>
                <a:srgbClr val="AEABAB"/>
              </a:solidFill>
            </c:spPr>
            <c:extLst>
              <c:ext xmlns:c16="http://schemas.microsoft.com/office/drawing/2014/chart" uri="{C3380CC4-5D6E-409C-BE32-E72D297353CC}">
                <c16:uniqueId val="{00000010-C76F-4230-900D-40618C09729F}"/>
              </c:ext>
            </c:extLst>
          </c:dPt>
          <c:dPt>
            <c:idx val="6"/>
            <c:invertIfNegative val="1"/>
            <c:bubble3D val="0"/>
            <c:spPr>
              <a:solidFill>
                <a:srgbClr val="AEABAB"/>
              </a:solidFill>
            </c:spPr>
            <c:extLst>
              <c:ext xmlns:c16="http://schemas.microsoft.com/office/drawing/2014/chart" uri="{C3380CC4-5D6E-409C-BE32-E72D297353CC}">
                <c16:uniqueId val="{00000045-2993-41DE-A2CB-63102DE87051}"/>
              </c:ext>
            </c:extLst>
          </c:dPt>
          <c:dPt>
            <c:idx val="7"/>
            <c:invertIfNegative val="1"/>
            <c:bubble3D val="0"/>
            <c:spPr>
              <a:solidFill>
                <a:srgbClr val="AEABAB"/>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9</c:f>
              <c:strCache>
                <c:ptCount val="8"/>
                <c:pt idx="0">
                  <c:v>All Others</c:v>
                </c:pt>
                <c:pt idx="1">
                  <c:v>Bottega</c:v>
                </c:pt>
                <c:pt idx="2">
                  <c:v>Savian</c:v>
                </c:pt>
                <c:pt idx="3">
                  <c:v>Bottega</c:v>
                </c:pt>
                <c:pt idx="4">
                  <c:v>Contarini</c:v>
                </c:pt>
                <c:pt idx="5">
                  <c:v>Contarini</c:v>
                </c:pt>
                <c:pt idx="6">
                  <c:v>Bottega</c:v>
                </c:pt>
                <c:pt idx="7">
                  <c:v>Bottega</c:v>
                </c:pt>
              </c:strCache>
            </c:strRef>
          </c:cat>
          <c:val>
            <c:numRef>
              <c:f>Sheet1!$C$2:$C$9</c:f>
              <c:numCache>
                <c:formatCode>General</c:formatCode>
                <c:ptCount val="8"/>
                <c:pt idx="0">
                  <c:v>0.38134594086053519</c:v>
                </c:pt>
                <c:pt idx="1">
                  <c:v>0.69025445859710066</c:v>
                </c:pt>
                <c:pt idx="2">
                  <c:v>0.89201544070486916</c:v>
                </c:pt>
                <c:pt idx="3">
                  <c:v>0.94633011056538219</c:v>
                </c:pt>
                <c:pt idx="4">
                  <c:v>0.98223536356939545</c:v>
                </c:pt>
                <c:pt idx="5">
                  <c:v>0.99845269710461249</c:v>
                </c:pt>
                <c:pt idx="6">
                  <c:v>0.99990643028120241</c:v>
                </c:pt>
                <c:pt idx="7">
                  <c:v>0.99999999999999989</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8</c:f>
              <c:strCache>
                <c:ptCount val="7"/>
                <c:pt idx="0">
                  <c:v>All Others</c:v>
                </c:pt>
                <c:pt idx="1">
                  <c:v>Bottega</c:v>
                </c:pt>
                <c:pt idx="2">
                  <c:v>Savian</c:v>
                </c:pt>
                <c:pt idx="3">
                  <c:v>Bottega</c:v>
                </c:pt>
                <c:pt idx="4">
                  <c:v>Contarini</c:v>
                </c:pt>
                <c:pt idx="5">
                  <c:v>Contarini</c:v>
                </c:pt>
                <c:pt idx="6">
                  <c:v>Bottega</c:v>
                </c:pt>
              </c:strCache>
            </c:strRef>
          </c:cat>
          <c:val>
            <c:numRef>
              <c:f>Sheet1!$B$2:$B$8</c:f>
              <c:numCache>
                <c:formatCode>General</c:formatCode>
                <c:ptCount val="7"/>
                <c:pt idx="0">
                  <c:v>0.98</c:v>
                </c:pt>
                <c:pt idx="1">
                  <c:v>0.93</c:v>
                </c:pt>
                <c:pt idx="2">
                  <c:v>0.76</c:v>
                </c:pt>
                <c:pt idx="3">
                  <c:v>0.56999999999999995</c:v>
                </c:pt>
                <c:pt idx="4">
                  <c:v>0.84</c:v>
                </c:pt>
                <c:pt idx="5">
                  <c:v>0.23</c:v>
                </c:pt>
                <c:pt idx="6">
                  <c:v>0.18</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AEABAB"/>
              </a:solidFill>
            </c:spPr>
            <c:extLst>
              <c:ext xmlns:c16="http://schemas.microsoft.com/office/drawing/2014/chart" uri="{C3380CC4-5D6E-409C-BE32-E72D297353CC}">
                <c16:uniqueId val="{0000000C-C76F-4230-900D-40618C09729F}"/>
              </c:ext>
            </c:extLst>
          </c:dPt>
          <c:dPt>
            <c:idx val="4"/>
            <c:invertIfNegative val="0"/>
            <c:bubble3D val="0"/>
            <c:spPr>
              <a:solidFill>
                <a:srgbClr val="AEABAB"/>
              </a:solidFill>
            </c:spPr>
            <c:extLst>
              <c:ext xmlns:c16="http://schemas.microsoft.com/office/drawing/2014/chart" uri="{C3380CC4-5D6E-409C-BE32-E72D297353CC}">
                <c16:uniqueId val="{0000000E-C76F-4230-900D-40618C09729F}"/>
              </c:ext>
            </c:extLst>
          </c:dPt>
          <c:dPt>
            <c:idx val="5"/>
            <c:invertIfNegative val="0"/>
            <c:bubble3D val="0"/>
            <c:spPr>
              <a:solidFill>
                <a:srgbClr val="AEABAB"/>
              </a:solidFill>
            </c:spPr>
            <c:extLst>
              <c:ext xmlns:c16="http://schemas.microsoft.com/office/drawing/2014/chart" uri="{C3380CC4-5D6E-409C-BE32-E72D297353CC}">
                <c16:uniqueId val="{00000010-C76F-4230-900D-40618C09729F}"/>
              </c:ext>
            </c:extLst>
          </c:dPt>
          <c:dPt>
            <c:idx val="6"/>
            <c:invertIfNegative val="1"/>
            <c:bubble3D val="0"/>
            <c:spPr>
              <a:solidFill>
                <a:srgbClr val="AEABAB"/>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8</c:f>
              <c:strCache>
                <c:ptCount val="7"/>
                <c:pt idx="0">
                  <c:v>All Others</c:v>
                </c:pt>
                <c:pt idx="1">
                  <c:v>Bottega</c:v>
                </c:pt>
                <c:pt idx="2">
                  <c:v>Savian</c:v>
                </c:pt>
                <c:pt idx="3">
                  <c:v>Bottega</c:v>
                </c:pt>
                <c:pt idx="4">
                  <c:v>Contarini</c:v>
                </c:pt>
                <c:pt idx="5">
                  <c:v>Contarini</c:v>
                </c:pt>
                <c:pt idx="6">
                  <c:v>Bottega</c:v>
                </c:pt>
              </c:strCache>
            </c:strRef>
          </c:cat>
          <c:val>
            <c:numRef>
              <c:f>Sheet1!$C$2:$C$8</c:f>
              <c:numCache>
                <c:formatCode>General</c:formatCode>
                <c:ptCount val="7"/>
                <c:pt idx="0">
                  <c:v>0.39089751227428665</c:v>
                </c:pt>
                <c:pt idx="1">
                  <c:v>0.72618582961852129</c:v>
                </c:pt>
                <c:pt idx="2">
                  <c:v>0.89084101974157237</c:v>
                </c:pt>
                <c:pt idx="3">
                  <c:v>0.95362990201113418</c:v>
                </c:pt>
                <c:pt idx="4">
                  <c:v>0.98357094434971959</c:v>
                </c:pt>
                <c:pt idx="5">
                  <c:v>0.99600957291645265</c:v>
                </c:pt>
                <c:pt idx="6">
                  <c:v>1</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14</c:f>
              <c:strCache>
                <c:ptCount val="13"/>
                <c:pt idx="0">
                  <c:v>All Others</c:v>
                </c:pt>
                <c:pt idx="1">
                  <c:v>Bottega</c:v>
                </c:pt>
                <c:pt idx="2">
                  <c:v>Savian</c:v>
                </c:pt>
                <c:pt idx="3">
                  <c:v>Bottega</c:v>
                </c:pt>
                <c:pt idx="4">
                  <c:v>Contarini</c:v>
                </c:pt>
                <c:pt idx="5">
                  <c:v>Vilaveroni</c:v>
                </c:pt>
                <c:pt idx="6">
                  <c:v>Contarini</c:v>
                </c:pt>
                <c:pt idx="7">
                  <c:v>Vilaveroni</c:v>
                </c:pt>
                <c:pt idx="8">
                  <c:v>Vilaveroni</c:v>
                </c:pt>
                <c:pt idx="9">
                  <c:v>Vilaveroni</c:v>
                </c:pt>
                <c:pt idx="10">
                  <c:v>Bottega</c:v>
                </c:pt>
                <c:pt idx="11">
                  <c:v>Bottega</c:v>
                </c:pt>
                <c:pt idx="12">
                  <c:v>Bottega</c:v>
                </c:pt>
              </c:strCache>
            </c:strRef>
          </c:cat>
          <c:val>
            <c:numRef>
              <c:f>Sheet1!$B$2:$B$14</c:f>
              <c:numCache>
                <c:formatCode>General</c:formatCode>
                <c:ptCount val="13"/>
                <c:pt idx="0">
                  <c:v>0.93</c:v>
                </c:pt>
                <c:pt idx="1">
                  <c:v>0.82</c:v>
                </c:pt>
                <c:pt idx="2">
                  <c:v>0.73</c:v>
                </c:pt>
                <c:pt idx="3">
                  <c:v>0.39</c:v>
                </c:pt>
                <c:pt idx="4">
                  <c:v>0.9</c:v>
                </c:pt>
                <c:pt idx="5">
                  <c:v>0.26</c:v>
                </c:pt>
                <c:pt idx="6">
                  <c:v>0.33</c:v>
                </c:pt>
                <c:pt idx="7">
                  <c:v>0.22</c:v>
                </c:pt>
                <c:pt idx="8">
                  <c:v>0.22</c:v>
                </c:pt>
                <c:pt idx="9">
                  <c:v>0.24</c:v>
                </c:pt>
                <c:pt idx="10">
                  <c:v>0.06</c:v>
                </c:pt>
                <c:pt idx="11">
                  <c:v>0.01</c:v>
                </c:pt>
                <c:pt idx="12">
                  <c:v>0.03</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7ECAC4"/>
              </a:solidFill>
            </c:spPr>
            <c:extLst>
              <c:ext xmlns:c16="http://schemas.microsoft.com/office/drawing/2014/chart" uri="{C3380CC4-5D6E-409C-BE32-E72D297353CC}">
                <c16:uniqueId val="{0000000C-C76F-4230-900D-40618C09729F}"/>
              </c:ext>
            </c:extLst>
          </c:dPt>
          <c:dPt>
            <c:idx val="4"/>
            <c:invertIfNegative val="0"/>
            <c:bubble3D val="0"/>
            <c:spPr>
              <a:solidFill>
                <a:srgbClr val="7ECAC4"/>
              </a:solidFill>
            </c:spPr>
            <c:extLst>
              <c:ext xmlns:c16="http://schemas.microsoft.com/office/drawing/2014/chart" uri="{C3380CC4-5D6E-409C-BE32-E72D297353CC}">
                <c16:uniqueId val="{0000000E-C76F-4230-900D-40618C09729F}"/>
              </c:ext>
            </c:extLst>
          </c:dPt>
          <c:dPt>
            <c:idx val="5"/>
            <c:invertIfNegative val="0"/>
            <c:bubble3D val="0"/>
            <c:spPr>
              <a:solidFill>
                <a:srgbClr val="AEABAB"/>
              </a:solidFill>
            </c:spPr>
            <c:extLst>
              <c:ext xmlns:c16="http://schemas.microsoft.com/office/drawing/2014/chart" uri="{C3380CC4-5D6E-409C-BE32-E72D297353CC}">
                <c16:uniqueId val="{00000010-C76F-4230-900D-40618C09729F}"/>
              </c:ext>
            </c:extLst>
          </c:dPt>
          <c:dPt>
            <c:idx val="6"/>
            <c:invertIfNegative val="1"/>
            <c:bubble3D val="0"/>
            <c:spPr>
              <a:solidFill>
                <a:srgbClr val="AEABAB"/>
              </a:solidFill>
            </c:spPr>
            <c:extLst>
              <c:ext xmlns:c16="http://schemas.microsoft.com/office/drawing/2014/chart" uri="{C3380CC4-5D6E-409C-BE32-E72D297353CC}">
                <c16:uniqueId val="{00000045-2993-41DE-A2CB-63102DE87051}"/>
              </c:ext>
            </c:extLst>
          </c:dPt>
          <c:dPt>
            <c:idx val="7"/>
            <c:invertIfNegative val="1"/>
            <c:bubble3D val="0"/>
            <c:spPr>
              <a:solidFill>
                <a:srgbClr val="AEABAB"/>
              </a:solidFill>
            </c:spPr>
            <c:extLst>
              <c:ext xmlns:c16="http://schemas.microsoft.com/office/drawing/2014/chart" uri="{C3380CC4-5D6E-409C-BE32-E72D297353CC}">
                <c16:uniqueId val="{00000047-2993-41DE-A2CB-63102DE87051}"/>
              </c:ext>
            </c:extLst>
          </c:dPt>
          <c:dPt>
            <c:idx val="8"/>
            <c:invertIfNegative val="1"/>
            <c:bubble3D val="0"/>
            <c:spPr>
              <a:solidFill>
                <a:srgbClr val="AEABAB"/>
              </a:solidFill>
            </c:spPr>
            <c:extLst>
              <c:ext xmlns:c16="http://schemas.microsoft.com/office/drawing/2014/chart" uri="{C3380CC4-5D6E-409C-BE32-E72D297353CC}">
                <c16:uniqueId val="{00000049-2993-41DE-A2CB-63102DE87051}"/>
              </c:ext>
            </c:extLst>
          </c:dPt>
          <c:dPt>
            <c:idx val="9"/>
            <c:invertIfNegative val="1"/>
            <c:bubble3D val="0"/>
            <c:spPr>
              <a:solidFill>
                <a:srgbClr val="AEABAB"/>
              </a:solidFill>
            </c:spPr>
            <c:extLst>
              <c:ext xmlns:c16="http://schemas.microsoft.com/office/drawing/2014/chart" uri="{C3380CC4-5D6E-409C-BE32-E72D297353CC}">
                <c16:uniqueId val="{0000004B-2993-41DE-A2CB-63102DE87051}"/>
              </c:ext>
            </c:extLst>
          </c:dPt>
          <c:dPt>
            <c:idx val="10"/>
            <c:invertIfNegative val="1"/>
            <c:bubble3D val="0"/>
            <c:spPr>
              <a:solidFill>
                <a:srgbClr val="AEABAB"/>
              </a:solidFill>
            </c:spPr>
            <c:extLst>
              <c:ext xmlns:c16="http://schemas.microsoft.com/office/drawing/2014/chart" uri="{C3380CC4-5D6E-409C-BE32-E72D297353CC}">
                <c16:uniqueId val="{0000004D-2993-41DE-A2CB-63102DE87051}"/>
              </c:ext>
            </c:extLst>
          </c:dPt>
          <c:dPt>
            <c:idx val="11"/>
            <c:invertIfNegative val="1"/>
            <c:bubble3D val="0"/>
            <c:spPr>
              <a:solidFill>
                <a:srgbClr val="AEABAB"/>
              </a:solidFill>
            </c:spPr>
            <c:extLst>
              <c:ext xmlns:c16="http://schemas.microsoft.com/office/drawing/2014/chart" uri="{C3380CC4-5D6E-409C-BE32-E72D297353CC}">
                <c16:uniqueId val="{0000004F-2993-41DE-A2CB-63102DE87051}"/>
              </c:ext>
            </c:extLst>
          </c:dPt>
          <c:dPt>
            <c:idx val="12"/>
            <c:invertIfNegative val="1"/>
            <c:bubble3D val="0"/>
            <c:spPr>
              <a:solidFill>
                <a:srgbClr val="AEABAB"/>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14</c:f>
              <c:strCache>
                <c:ptCount val="13"/>
                <c:pt idx="0">
                  <c:v>All Others</c:v>
                </c:pt>
                <c:pt idx="1">
                  <c:v>Bottega</c:v>
                </c:pt>
                <c:pt idx="2">
                  <c:v>Savian</c:v>
                </c:pt>
                <c:pt idx="3">
                  <c:v>Bottega</c:v>
                </c:pt>
                <c:pt idx="4">
                  <c:v>Contarini</c:v>
                </c:pt>
                <c:pt idx="5">
                  <c:v>Vilaveroni</c:v>
                </c:pt>
                <c:pt idx="6">
                  <c:v>Contarini</c:v>
                </c:pt>
                <c:pt idx="7">
                  <c:v>Vilaveroni</c:v>
                </c:pt>
                <c:pt idx="8">
                  <c:v>Vilaveroni</c:v>
                </c:pt>
                <c:pt idx="9">
                  <c:v>Vilaveroni</c:v>
                </c:pt>
                <c:pt idx="10">
                  <c:v>Bottega</c:v>
                </c:pt>
                <c:pt idx="11">
                  <c:v>Bottega</c:v>
                </c:pt>
                <c:pt idx="12">
                  <c:v>Bottega</c:v>
                </c:pt>
              </c:strCache>
            </c:strRef>
          </c:cat>
          <c:val>
            <c:numRef>
              <c:f>Sheet1!$C$2:$C$14</c:f>
              <c:numCache>
                <c:formatCode>General</c:formatCode>
                <c:ptCount val="13"/>
                <c:pt idx="0">
                  <c:v>0.38190589581432749</c:v>
                </c:pt>
                <c:pt idx="1">
                  <c:v>0.64762729423406995</c:v>
                </c:pt>
                <c:pt idx="2">
                  <c:v>0.8238059159154516</c:v>
                </c:pt>
                <c:pt idx="3">
                  <c:v>0.87506378241306271</c:v>
                </c:pt>
                <c:pt idx="4">
                  <c:v>0.91945634190465886</c:v>
                </c:pt>
                <c:pt idx="5">
                  <c:v>0.96163777774341697</c:v>
                </c:pt>
                <c:pt idx="6">
                  <c:v>0.98109721212870915</c:v>
                </c:pt>
                <c:pt idx="7">
                  <c:v>0.99075348290631338</c:v>
                </c:pt>
                <c:pt idx="8">
                  <c:v>0.99597204397507466</c:v>
                </c:pt>
                <c:pt idx="9">
                  <c:v>0.9986470397229138</c:v>
                </c:pt>
                <c:pt idx="10">
                  <c:v>0.999798988758833</c:v>
                </c:pt>
                <c:pt idx="11">
                  <c:v>0.99990722558099987</c:v>
                </c:pt>
                <c:pt idx="12">
                  <c:v>1</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10</c:f>
              <c:strCache>
                <c:ptCount val="9"/>
                <c:pt idx="0">
                  <c:v>All Others</c:v>
                </c:pt>
                <c:pt idx="1">
                  <c:v>Bottega</c:v>
                </c:pt>
                <c:pt idx="2">
                  <c:v>Savian</c:v>
                </c:pt>
                <c:pt idx="3">
                  <c:v>Bottega</c:v>
                </c:pt>
                <c:pt idx="4">
                  <c:v>Contarini</c:v>
                </c:pt>
                <c:pt idx="5">
                  <c:v>Contarini</c:v>
                </c:pt>
                <c:pt idx="6">
                  <c:v>Bottega</c:v>
                </c:pt>
                <c:pt idx="7">
                  <c:v>Bottega</c:v>
                </c:pt>
                <c:pt idx="8">
                  <c:v>Contarini</c:v>
                </c:pt>
              </c:strCache>
            </c:strRef>
          </c:cat>
          <c:val>
            <c:numRef>
              <c:f>Sheet1!$B$2:$B$10</c:f>
              <c:numCache>
                <c:formatCode>General</c:formatCode>
                <c:ptCount val="9"/>
                <c:pt idx="0">
                  <c:v>0.99</c:v>
                </c:pt>
                <c:pt idx="1">
                  <c:v>0.85</c:v>
                </c:pt>
                <c:pt idx="2">
                  <c:v>0.7</c:v>
                </c:pt>
                <c:pt idx="3">
                  <c:v>0.56000000000000005</c:v>
                </c:pt>
                <c:pt idx="4">
                  <c:v>0.78</c:v>
                </c:pt>
                <c:pt idx="5">
                  <c:v>0.25</c:v>
                </c:pt>
                <c:pt idx="6">
                  <c:v>0.03</c:v>
                </c:pt>
                <c:pt idx="7">
                  <c:v>0.04</c:v>
                </c:pt>
                <c:pt idx="8">
                  <c:v>0.02</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7ECAC4"/>
              </a:solidFill>
            </c:spPr>
            <c:extLst>
              <c:ext xmlns:c16="http://schemas.microsoft.com/office/drawing/2014/chart" uri="{C3380CC4-5D6E-409C-BE32-E72D297353CC}">
                <c16:uniqueId val="{0000000C-C76F-4230-900D-40618C09729F}"/>
              </c:ext>
            </c:extLst>
          </c:dPt>
          <c:dPt>
            <c:idx val="4"/>
            <c:invertIfNegative val="0"/>
            <c:bubble3D val="0"/>
            <c:spPr>
              <a:solidFill>
                <a:srgbClr val="AEABAB"/>
              </a:solidFill>
            </c:spPr>
            <c:extLst>
              <c:ext xmlns:c16="http://schemas.microsoft.com/office/drawing/2014/chart" uri="{C3380CC4-5D6E-409C-BE32-E72D297353CC}">
                <c16:uniqueId val="{0000000E-C76F-4230-900D-40618C09729F}"/>
              </c:ext>
            </c:extLst>
          </c:dPt>
          <c:dPt>
            <c:idx val="5"/>
            <c:invertIfNegative val="0"/>
            <c:bubble3D val="0"/>
            <c:spPr>
              <a:solidFill>
                <a:srgbClr val="AEABAB"/>
              </a:solidFill>
            </c:spPr>
            <c:extLst>
              <c:ext xmlns:c16="http://schemas.microsoft.com/office/drawing/2014/chart" uri="{C3380CC4-5D6E-409C-BE32-E72D297353CC}">
                <c16:uniqueId val="{00000010-C76F-4230-900D-40618C09729F}"/>
              </c:ext>
            </c:extLst>
          </c:dPt>
          <c:dPt>
            <c:idx val="6"/>
            <c:invertIfNegative val="1"/>
            <c:bubble3D val="0"/>
            <c:spPr>
              <a:solidFill>
                <a:srgbClr val="AEABAB"/>
              </a:solidFill>
            </c:spPr>
            <c:extLst>
              <c:ext xmlns:c16="http://schemas.microsoft.com/office/drawing/2014/chart" uri="{C3380CC4-5D6E-409C-BE32-E72D297353CC}">
                <c16:uniqueId val="{00000045-2993-41DE-A2CB-63102DE87051}"/>
              </c:ext>
            </c:extLst>
          </c:dPt>
          <c:dPt>
            <c:idx val="7"/>
            <c:invertIfNegative val="1"/>
            <c:bubble3D val="0"/>
            <c:spPr>
              <a:solidFill>
                <a:srgbClr val="AEABAB"/>
              </a:solidFill>
            </c:spPr>
            <c:extLst>
              <c:ext xmlns:c16="http://schemas.microsoft.com/office/drawing/2014/chart" uri="{C3380CC4-5D6E-409C-BE32-E72D297353CC}">
                <c16:uniqueId val="{00000047-2993-41DE-A2CB-63102DE87051}"/>
              </c:ext>
            </c:extLst>
          </c:dPt>
          <c:dPt>
            <c:idx val="8"/>
            <c:invertIfNegative val="1"/>
            <c:bubble3D val="0"/>
            <c:spPr>
              <a:solidFill>
                <a:srgbClr val="AEABAB"/>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10</c:f>
              <c:strCache>
                <c:ptCount val="9"/>
                <c:pt idx="0">
                  <c:v>All Others</c:v>
                </c:pt>
                <c:pt idx="1">
                  <c:v>Bottega</c:v>
                </c:pt>
                <c:pt idx="2">
                  <c:v>Savian</c:v>
                </c:pt>
                <c:pt idx="3">
                  <c:v>Bottega</c:v>
                </c:pt>
                <c:pt idx="4">
                  <c:v>Contarini</c:v>
                </c:pt>
                <c:pt idx="5">
                  <c:v>Contarini</c:v>
                </c:pt>
                <c:pt idx="6">
                  <c:v>Bottega</c:v>
                </c:pt>
                <c:pt idx="7">
                  <c:v>Bottega</c:v>
                </c:pt>
                <c:pt idx="8">
                  <c:v>Contarini</c:v>
                </c:pt>
              </c:strCache>
            </c:strRef>
          </c:cat>
          <c:val>
            <c:numRef>
              <c:f>Sheet1!$C$2:$C$10</c:f>
              <c:numCache>
                <c:formatCode>General</c:formatCode>
                <c:ptCount val="9"/>
                <c:pt idx="0">
                  <c:v>0.49286987522281639</c:v>
                </c:pt>
                <c:pt idx="1">
                  <c:v>0.74977116153586743</c:v>
                </c:pt>
                <c:pt idx="2">
                  <c:v>0.88358144240497183</c:v>
                </c:pt>
                <c:pt idx="3">
                  <c:v>0.94067061714120537</c:v>
                </c:pt>
                <c:pt idx="4">
                  <c:v>0.98959387194681314</c:v>
                </c:pt>
                <c:pt idx="5">
                  <c:v>0.99525461290167172</c:v>
                </c:pt>
                <c:pt idx="6">
                  <c:v>0.99812111576817464</c:v>
                </c:pt>
                <c:pt idx="7">
                  <c:v>0.99956641133111723</c:v>
                </c:pt>
                <c:pt idx="8">
                  <c:v>1</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7</c:f>
              <c:strCache>
                <c:ptCount val="6"/>
                <c:pt idx="0">
                  <c:v>All Others</c:v>
                </c:pt>
                <c:pt idx="1">
                  <c:v>Savian</c:v>
                </c:pt>
                <c:pt idx="2">
                  <c:v>Bottega</c:v>
                </c:pt>
                <c:pt idx="3">
                  <c:v>Contarini</c:v>
                </c:pt>
                <c:pt idx="4">
                  <c:v>Bottega</c:v>
                </c:pt>
                <c:pt idx="5">
                  <c:v>Contarini</c:v>
                </c:pt>
              </c:strCache>
            </c:strRef>
          </c:cat>
          <c:val>
            <c:numRef>
              <c:f>Sheet1!$B$2:$B$7</c:f>
              <c:numCache>
                <c:formatCode>General</c:formatCode>
                <c:ptCount val="6"/>
                <c:pt idx="0">
                  <c:v>0.91</c:v>
                </c:pt>
                <c:pt idx="1">
                  <c:v>0.75</c:v>
                </c:pt>
                <c:pt idx="2">
                  <c:v>0.56000000000000005</c:v>
                </c:pt>
                <c:pt idx="3">
                  <c:v>0.77</c:v>
                </c:pt>
                <c:pt idx="4">
                  <c:v>0.42</c:v>
                </c:pt>
                <c:pt idx="5">
                  <c:v>0.2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7ECAC4"/>
              </a:solidFill>
            </c:spPr>
            <c:extLst>
              <c:ext xmlns:c16="http://schemas.microsoft.com/office/drawing/2014/chart" uri="{C3380CC4-5D6E-409C-BE32-E72D297353CC}">
                <c16:uniqueId val="{0000000C-C76F-4230-900D-40618C09729F}"/>
              </c:ext>
            </c:extLst>
          </c:dPt>
          <c:dPt>
            <c:idx val="4"/>
            <c:invertIfNegative val="0"/>
            <c:bubble3D val="0"/>
            <c:spPr>
              <a:solidFill>
                <a:srgbClr val="AEABAB"/>
              </a:solidFill>
            </c:spPr>
            <c:extLst>
              <c:ext xmlns:c16="http://schemas.microsoft.com/office/drawing/2014/chart" uri="{C3380CC4-5D6E-409C-BE32-E72D297353CC}">
                <c16:uniqueId val="{0000000E-C76F-4230-900D-40618C09729F}"/>
              </c:ext>
            </c:extLst>
          </c:dPt>
          <c:dPt>
            <c:idx val="5"/>
            <c:invertIfNegative val="0"/>
            <c:bubble3D val="0"/>
            <c:spPr>
              <a:solidFill>
                <a:srgbClr val="AEABAB"/>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7</c:f>
              <c:strCache>
                <c:ptCount val="6"/>
                <c:pt idx="0">
                  <c:v>All Others</c:v>
                </c:pt>
                <c:pt idx="1">
                  <c:v>Savian</c:v>
                </c:pt>
                <c:pt idx="2">
                  <c:v>Bottega</c:v>
                </c:pt>
                <c:pt idx="3">
                  <c:v>Contarini</c:v>
                </c:pt>
                <c:pt idx="4">
                  <c:v>Bottega</c:v>
                </c:pt>
                <c:pt idx="5">
                  <c:v>Contarini</c:v>
                </c:pt>
              </c:strCache>
            </c:strRef>
          </c:cat>
          <c:val>
            <c:numRef>
              <c:f>Sheet1!$C$2:$C$7</c:f>
              <c:numCache>
                <c:formatCode>General</c:formatCode>
                <c:ptCount val="6"/>
                <c:pt idx="0">
                  <c:v>0.47335711819541948</c:v>
                </c:pt>
                <c:pt idx="1">
                  <c:v>0.69950512141788468</c:v>
                </c:pt>
                <c:pt idx="2">
                  <c:v>0.84825641615836112</c:v>
                </c:pt>
                <c:pt idx="3">
                  <c:v>0.92548049257682119</c:v>
                </c:pt>
                <c:pt idx="4">
                  <c:v>0.97508343883070536</c:v>
                </c:pt>
                <c:pt idx="5">
                  <c:v>0.99999999999999989</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13</c:f>
              <c:strCache>
                <c:ptCount val="12"/>
                <c:pt idx="0">
                  <c:v>All Others</c:v>
                </c:pt>
                <c:pt idx="1">
                  <c:v>Bottega</c:v>
                </c:pt>
                <c:pt idx="2">
                  <c:v>Savian</c:v>
                </c:pt>
                <c:pt idx="3">
                  <c:v>Bottega</c:v>
                </c:pt>
                <c:pt idx="4">
                  <c:v>Contarini</c:v>
                </c:pt>
                <c:pt idx="5">
                  <c:v>Contarini</c:v>
                </c:pt>
                <c:pt idx="6">
                  <c:v>Vilaveroni</c:v>
                </c:pt>
                <c:pt idx="7">
                  <c:v>Vilaveroni</c:v>
                </c:pt>
                <c:pt idx="8">
                  <c:v>Bottega</c:v>
                </c:pt>
                <c:pt idx="9">
                  <c:v>Vilaveroni</c:v>
                </c:pt>
                <c:pt idx="10">
                  <c:v>Vilaveroni</c:v>
                </c:pt>
                <c:pt idx="11">
                  <c:v>Bottega</c:v>
                </c:pt>
              </c:strCache>
            </c:strRef>
          </c:cat>
          <c:val>
            <c:numRef>
              <c:f>Sheet1!$B$2:$B$13</c:f>
              <c:numCache>
                <c:formatCode>General</c:formatCode>
                <c:ptCount val="12"/>
                <c:pt idx="0">
                  <c:v>0.98</c:v>
                </c:pt>
                <c:pt idx="1">
                  <c:v>0.96</c:v>
                </c:pt>
                <c:pt idx="2">
                  <c:v>0.93</c:v>
                </c:pt>
                <c:pt idx="3">
                  <c:v>0.61</c:v>
                </c:pt>
                <c:pt idx="4">
                  <c:v>0.94</c:v>
                </c:pt>
                <c:pt idx="5">
                  <c:v>0.17</c:v>
                </c:pt>
                <c:pt idx="6">
                  <c:v>0.05</c:v>
                </c:pt>
                <c:pt idx="7">
                  <c:v>0.04</c:v>
                </c:pt>
                <c:pt idx="8">
                  <c:v>0.11</c:v>
                </c:pt>
                <c:pt idx="9">
                  <c:v>0.04</c:v>
                </c:pt>
                <c:pt idx="10">
                  <c:v>0.04</c:v>
                </c:pt>
                <c:pt idx="11">
                  <c:v>0.03</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7ECAC4"/>
              </a:solidFill>
            </c:spPr>
            <c:extLst>
              <c:ext xmlns:c16="http://schemas.microsoft.com/office/drawing/2014/chart" uri="{C3380CC4-5D6E-409C-BE32-E72D297353CC}">
                <c16:uniqueId val="{0000000C-C76F-4230-900D-40618C09729F}"/>
              </c:ext>
            </c:extLst>
          </c:dPt>
          <c:dPt>
            <c:idx val="4"/>
            <c:invertIfNegative val="0"/>
            <c:bubble3D val="0"/>
            <c:spPr>
              <a:solidFill>
                <a:srgbClr val="AEABAB"/>
              </a:solidFill>
            </c:spPr>
            <c:extLst>
              <c:ext xmlns:c16="http://schemas.microsoft.com/office/drawing/2014/chart" uri="{C3380CC4-5D6E-409C-BE32-E72D297353CC}">
                <c16:uniqueId val="{0000000E-C76F-4230-900D-40618C09729F}"/>
              </c:ext>
            </c:extLst>
          </c:dPt>
          <c:dPt>
            <c:idx val="5"/>
            <c:invertIfNegative val="0"/>
            <c:bubble3D val="0"/>
            <c:spPr>
              <a:solidFill>
                <a:srgbClr val="AEABAB"/>
              </a:solidFill>
            </c:spPr>
            <c:extLst>
              <c:ext xmlns:c16="http://schemas.microsoft.com/office/drawing/2014/chart" uri="{C3380CC4-5D6E-409C-BE32-E72D297353CC}">
                <c16:uniqueId val="{00000010-C76F-4230-900D-40618C09729F}"/>
              </c:ext>
            </c:extLst>
          </c:dPt>
          <c:dPt>
            <c:idx val="6"/>
            <c:invertIfNegative val="1"/>
            <c:bubble3D val="0"/>
            <c:spPr>
              <a:solidFill>
                <a:srgbClr val="AEABAB"/>
              </a:solidFill>
            </c:spPr>
            <c:extLst>
              <c:ext xmlns:c16="http://schemas.microsoft.com/office/drawing/2014/chart" uri="{C3380CC4-5D6E-409C-BE32-E72D297353CC}">
                <c16:uniqueId val="{00000045-2993-41DE-A2CB-63102DE87051}"/>
              </c:ext>
            </c:extLst>
          </c:dPt>
          <c:dPt>
            <c:idx val="7"/>
            <c:invertIfNegative val="1"/>
            <c:bubble3D val="0"/>
            <c:spPr>
              <a:solidFill>
                <a:srgbClr val="AEABAB"/>
              </a:solidFill>
            </c:spPr>
            <c:extLst>
              <c:ext xmlns:c16="http://schemas.microsoft.com/office/drawing/2014/chart" uri="{C3380CC4-5D6E-409C-BE32-E72D297353CC}">
                <c16:uniqueId val="{00000047-2993-41DE-A2CB-63102DE87051}"/>
              </c:ext>
            </c:extLst>
          </c:dPt>
          <c:dPt>
            <c:idx val="8"/>
            <c:invertIfNegative val="1"/>
            <c:bubble3D val="0"/>
            <c:spPr>
              <a:solidFill>
                <a:srgbClr val="AEABAB"/>
              </a:solidFill>
            </c:spPr>
            <c:extLst>
              <c:ext xmlns:c16="http://schemas.microsoft.com/office/drawing/2014/chart" uri="{C3380CC4-5D6E-409C-BE32-E72D297353CC}">
                <c16:uniqueId val="{00000049-2993-41DE-A2CB-63102DE87051}"/>
              </c:ext>
            </c:extLst>
          </c:dPt>
          <c:dPt>
            <c:idx val="9"/>
            <c:invertIfNegative val="1"/>
            <c:bubble3D val="0"/>
            <c:spPr>
              <a:solidFill>
                <a:srgbClr val="AEABAB"/>
              </a:solidFill>
            </c:spPr>
            <c:extLst>
              <c:ext xmlns:c16="http://schemas.microsoft.com/office/drawing/2014/chart" uri="{C3380CC4-5D6E-409C-BE32-E72D297353CC}">
                <c16:uniqueId val="{0000004B-2993-41DE-A2CB-63102DE87051}"/>
              </c:ext>
            </c:extLst>
          </c:dPt>
          <c:dPt>
            <c:idx val="10"/>
            <c:invertIfNegative val="1"/>
            <c:bubble3D val="0"/>
            <c:spPr>
              <a:solidFill>
                <a:srgbClr val="AEABAB"/>
              </a:solidFill>
            </c:spPr>
            <c:extLst>
              <c:ext xmlns:c16="http://schemas.microsoft.com/office/drawing/2014/chart" uri="{C3380CC4-5D6E-409C-BE32-E72D297353CC}">
                <c16:uniqueId val="{0000004D-2993-41DE-A2CB-63102DE87051}"/>
              </c:ext>
            </c:extLst>
          </c:dPt>
          <c:dPt>
            <c:idx val="11"/>
            <c:invertIfNegative val="1"/>
            <c:bubble3D val="0"/>
            <c:spPr>
              <a:solidFill>
                <a:srgbClr val="AEABAB"/>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13</c:f>
              <c:strCache>
                <c:ptCount val="12"/>
                <c:pt idx="0">
                  <c:v>All Others</c:v>
                </c:pt>
                <c:pt idx="1">
                  <c:v>Bottega</c:v>
                </c:pt>
                <c:pt idx="2">
                  <c:v>Savian</c:v>
                </c:pt>
                <c:pt idx="3">
                  <c:v>Bottega</c:v>
                </c:pt>
                <c:pt idx="4">
                  <c:v>Contarini</c:v>
                </c:pt>
                <c:pt idx="5">
                  <c:v>Contarini</c:v>
                </c:pt>
                <c:pt idx="6">
                  <c:v>Vilaveroni</c:v>
                </c:pt>
                <c:pt idx="7">
                  <c:v>Vilaveroni</c:v>
                </c:pt>
                <c:pt idx="8">
                  <c:v>Bottega</c:v>
                </c:pt>
                <c:pt idx="9">
                  <c:v>Vilaveroni</c:v>
                </c:pt>
                <c:pt idx="10">
                  <c:v>Vilaveroni</c:v>
                </c:pt>
                <c:pt idx="11">
                  <c:v>Bottega</c:v>
                </c:pt>
              </c:strCache>
            </c:strRef>
          </c:cat>
          <c:val>
            <c:numRef>
              <c:f>Sheet1!$C$2:$C$13</c:f>
              <c:numCache>
                <c:formatCode>General</c:formatCode>
                <c:ptCount val="12"/>
                <c:pt idx="0">
                  <c:v>0.36254727747471066</c:v>
                </c:pt>
                <c:pt idx="1">
                  <c:v>0.68983984911041674</c:v>
                </c:pt>
                <c:pt idx="2">
                  <c:v>0.88286738008600074</c:v>
                </c:pt>
                <c:pt idx="3">
                  <c:v>0.94303997896787228</c:v>
                </c:pt>
                <c:pt idx="4">
                  <c:v>0.97152696035961761</c:v>
                </c:pt>
                <c:pt idx="5">
                  <c:v>0.9825927275841535</c:v>
                </c:pt>
                <c:pt idx="6">
                  <c:v>0.99337965978143328</c:v>
                </c:pt>
                <c:pt idx="7">
                  <c:v>0.9958672665603111</c:v>
                </c:pt>
                <c:pt idx="8">
                  <c:v>0.99795255422843365</c:v>
                </c:pt>
                <c:pt idx="9">
                  <c:v>0.99929693739556136</c:v>
                </c:pt>
                <c:pt idx="10">
                  <c:v>0.99998605824863718</c:v>
                </c:pt>
                <c:pt idx="11">
                  <c:v>1</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8</c:f>
              <c:strCache>
                <c:ptCount val="7"/>
                <c:pt idx="0">
                  <c:v>All Others</c:v>
                </c:pt>
                <c:pt idx="1">
                  <c:v>Bottega</c:v>
                </c:pt>
                <c:pt idx="2">
                  <c:v>Savian</c:v>
                </c:pt>
                <c:pt idx="3">
                  <c:v>Bottega</c:v>
                </c:pt>
                <c:pt idx="4">
                  <c:v>Contarini</c:v>
                </c:pt>
                <c:pt idx="5">
                  <c:v>Contarini</c:v>
                </c:pt>
                <c:pt idx="6">
                  <c:v>Bottega</c:v>
                </c:pt>
              </c:strCache>
            </c:strRef>
          </c:cat>
          <c:val>
            <c:numRef>
              <c:f>Sheet1!$B$2:$B$8</c:f>
              <c:numCache>
                <c:formatCode>General</c:formatCode>
                <c:ptCount val="7"/>
                <c:pt idx="0">
                  <c:v>0.99</c:v>
                </c:pt>
                <c:pt idx="1">
                  <c:v>0.86</c:v>
                </c:pt>
                <c:pt idx="2">
                  <c:v>0.75</c:v>
                </c:pt>
                <c:pt idx="3">
                  <c:v>0.47</c:v>
                </c:pt>
                <c:pt idx="4">
                  <c:v>0.89</c:v>
                </c:pt>
                <c:pt idx="5">
                  <c:v>0.15</c:v>
                </c:pt>
                <c:pt idx="6">
                  <c:v>0.03</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7ECAC4"/>
              </a:solidFill>
            </c:spPr>
            <c:extLst>
              <c:ext xmlns:c16="http://schemas.microsoft.com/office/drawing/2014/chart" uri="{C3380CC4-5D6E-409C-BE32-E72D297353CC}">
                <c16:uniqueId val="{0000000C-C76F-4230-900D-40618C09729F}"/>
              </c:ext>
            </c:extLst>
          </c:dPt>
          <c:dPt>
            <c:idx val="4"/>
            <c:invertIfNegative val="0"/>
            <c:bubble3D val="0"/>
            <c:spPr>
              <a:solidFill>
                <a:srgbClr val="AEABAB"/>
              </a:solidFill>
            </c:spPr>
            <c:extLst>
              <c:ext xmlns:c16="http://schemas.microsoft.com/office/drawing/2014/chart" uri="{C3380CC4-5D6E-409C-BE32-E72D297353CC}">
                <c16:uniqueId val="{0000000E-C76F-4230-900D-40618C09729F}"/>
              </c:ext>
            </c:extLst>
          </c:dPt>
          <c:dPt>
            <c:idx val="5"/>
            <c:invertIfNegative val="0"/>
            <c:bubble3D val="0"/>
            <c:spPr>
              <a:solidFill>
                <a:srgbClr val="AEABAB"/>
              </a:solidFill>
            </c:spPr>
            <c:extLst>
              <c:ext xmlns:c16="http://schemas.microsoft.com/office/drawing/2014/chart" uri="{C3380CC4-5D6E-409C-BE32-E72D297353CC}">
                <c16:uniqueId val="{00000010-C76F-4230-900D-40618C09729F}"/>
              </c:ext>
            </c:extLst>
          </c:dPt>
          <c:dPt>
            <c:idx val="6"/>
            <c:invertIfNegative val="1"/>
            <c:bubble3D val="0"/>
            <c:spPr>
              <a:solidFill>
                <a:srgbClr val="AEABAB"/>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8</c:f>
              <c:strCache>
                <c:ptCount val="7"/>
                <c:pt idx="0">
                  <c:v>All Others</c:v>
                </c:pt>
                <c:pt idx="1">
                  <c:v>Bottega</c:v>
                </c:pt>
                <c:pt idx="2">
                  <c:v>Savian</c:v>
                </c:pt>
                <c:pt idx="3">
                  <c:v>Bottega</c:v>
                </c:pt>
                <c:pt idx="4">
                  <c:v>Contarini</c:v>
                </c:pt>
                <c:pt idx="5">
                  <c:v>Contarini</c:v>
                </c:pt>
                <c:pt idx="6">
                  <c:v>Bottega</c:v>
                </c:pt>
              </c:strCache>
            </c:strRef>
          </c:cat>
          <c:val>
            <c:numRef>
              <c:f>Sheet1!$C$2:$C$8</c:f>
              <c:numCache>
                <c:formatCode>General</c:formatCode>
                <c:ptCount val="7"/>
                <c:pt idx="0">
                  <c:v>0.43346348603361406</c:v>
                </c:pt>
                <c:pt idx="1">
                  <c:v>0.73404007800701376</c:v>
                </c:pt>
                <c:pt idx="2">
                  <c:v>0.90129828376108856</c:v>
                </c:pt>
                <c:pt idx="3">
                  <c:v>0.94754409046106192</c:v>
                </c:pt>
                <c:pt idx="4">
                  <c:v>0.98334101840610166</c:v>
                </c:pt>
                <c:pt idx="5">
                  <c:v>0.99918354914991803</c:v>
                </c:pt>
                <c:pt idx="6">
                  <c:v>0.99999999999999989</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10</c:f>
              <c:strCache>
                <c:ptCount val="9"/>
                <c:pt idx="0">
                  <c:v>All Others</c:v>
                </c:pt>
                <c:pt idx="1">
                  <c:v>Bottega</c:v>
                </c:pt>
                <c:pt idx="2">
                  <c:v>Savian</c:v>
                </c:pt>
                <c:pt idx="3">
                  <c:v>Bottega</c:v>
                </c:pt>
                <c:pt idx="4">
                  <c:v>Contarini</c:v>
                </c:pt>
                <c:pt idx="5">
                  <c:v>Contarini</c:v>
                </c:pt>
                <c:pt idx="6">
                  <c:v>Bottega</c:v>
                </c:pt>
                <c:pt idx="7">
                  <c:v>Bottega</c:v>
                </c:pt>
                <c:pt idx="8">
                  <c:v>Bottega</c:v>
                </c:pt>
              </c:strCache>
            </c:strRef>
          </c:cat>
          <c:val>
            <c:numRef>
              <c:f>Sheet1!$B$2:$B$10</c:f>
              <c:numCache>
                <c:formatCode>General</c:formatCode>
                <c:ptCount val="9"/>
                <c:pt idx="0">
                  <c:v>0.94</c:v>
                </c:pt>
                <c:pt idx="1">
                  <c:v>0.85</c:v>
                </c:pt>
                <c:pt idx="2">
                  <c:v>0.8</c:v>
                </c:pt>
                <c:pt idx="3">
                  <c:v>0.48</c:v>
                </c:pt>
                <c:pt idx="4">
                  <c:v>0.82</c:v>
                </c:pt>
                <c:pt idx="5">
                  <c:v>0.11</c:v>
                </c:pt>
                <c:pt idx="6">
                  <c:v>0.06</c:v>
                </c:pt>
                <c:pt idx="7">
                  <c:v>0.01</c:v>
                </c:pt>
                <c:pt idx="8">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AEABAB"/>
              </a:solidFill>
            </c:spPr>
            <c:extLst>
              <c:ext xmlns:c16="http://schemas.microsoft.com/office/drawing/2014/chart" uri="{C3380CC4-5D6E-409C-BE32-E72D297353CC}">
                <c16:uniqueId val="{0000000C-C76F-4230-900D-40618C09729F}"/>
              </c:ext>
            </c:extLst>
          </c:dPt>
          <c:dPt>
            <c:idx val="4"/>
            <c:invertIfNegative val="0"/>
            <c:bubble3D val="0"/>
            <c:spPr>
              <a:solidFill>
                <a:srgbClr val="AEABAB"/>
              </a:solidFill>
            </c:spPr>
            <c:extLst>
              <c:ext xmlns:c16="http://schemas.microsoft.com/office/drawing/2014/chart" uri="{C3380CC4-5D6E-409C-BE32-E72D297353CC}">
                <c16:uniqueId val="{0000000E-C76F-4230-900D-40618C09729F}"/>
              </c:ext>
            </c:extLst>
          </c:dPt>
          <c:dPt>
            <c:idx val="5"/>
            <c:invertIfNegative val="0"/>
            <c:bubble3D val="0"/>
            <c:spPr>
              <a:solidFill>
                <a:srgbClr val="AEABAB"/>
              </a:solidFill>
            </c:spPr>
            <c:extLst>
              <c:ext xmlns:c16="http://schemas.microsoft.com/office/drawing/2014/chart" uri="{C3380CC4-5D6E-409C-BE32-E72D297353CC}">
                <c16:uniqueId val="{00000010-C76F-4230-900D-40618C09729F}"/>
              </c:ext>
            </c:extLst>
          </c:dPt>
          <c:dPt>
            <c:idx val="6"/>
            <c:invertIfNegative val="1"/>
            <c:bubble3D val="0"/>
            <c:spPr>
              <a:solidFill>
                <a:srgbClr val="AEABAB"/>
              </a:solidFill>
            </c:spPr>
            <c:extLst>
              <c:ext xmlns:c16="http://schemas.microsoft.com/office/drawing/2014/chart" uri="{C3380CC4-5D6E-409C-BE32-E72D297353CC}">
                <c16:uniqueId val="{00000045-2993-41DE-A2CB-63102DE87051}"/>
              </c:ext>
            </c:extLst>
          </c:dPt>
          <c:dPt>
            <c:idx val="7"/>
            <c:invertIfNegative val="1"/>
            <c:bubble3D val="0"/>
            <c:spPr>
              <a:solidFill>
                <a:srgbClr val="AEABAB"/>
              </a:solidFill>
            </c:spPr>
            <c:extLst>
              <c:ext xmlns:c16="http://schemas.microsoft.com/office/drawing/2014/chart" uri="{C3380CC4-5D6E-409C-BE32-E72D297353CC}">
                <c16:uniqueId val="{00000047-2993-41DE-A2CB-63102DE87051}"/>
              </c:ext>
            </c:extLst>
          </c:dPt>
          <c:dPt>
            <c:idx val="8"/>
            <c:invertIfNegative val="1"/>
            <c:bubble3D val="0"/>
            <c:spPr>
              <a:solidFill>
                <a:srgbClr val="AEABAB"/>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10</c:f>
              <c:strCache>
                <c:ptCount val="9"/>
                <c:pt idx="0">
                  <c:v>All Others</c:v>
                </c:pt>
                <c:pt idx="1">
                  <c:v>Bottega</c:v>
                </c:pt>
                <c:pt idx="2">
                  <c:v>Savian</c:v>
                </c:pt>
                <c:pt idx="3">
                  <c:v>Bottega</c:v>
                </c:pt>
                <c:pt idx="4">
                  <c:v>Contarini</c:v>
                </c:pt>
                <c:pt idx="5">
                  <c:v>Contarini</c:v>
                </c:pt>
                <c:pt idx="6">
                  <c:v>Bottega</c:v>
                </c:pt>
                <c:pt idx="7">
                  <c:v>Bottega</c:v>
                </c:pt>
                <c:pt idx="8">
                  <c:v>Bottega</c:v>
                </c:pt>
              </c:strCache>
            </c:strRef>
          </c:cat>
          <c:val>
            <c:numRef>
              <c:f>Sheet1!$C$2:$C$10</c:f>
              <c:numCache>
                <c:formatCode>General</c:formatCode>
                <c:ptCount val="9"/>
                <c:pt idx="0">
                  <c:v>0.37639827425520678</c:v>
                </c:pt>
                <c:pt idx="1">
                  <c:v>0.68182249551651886</c:v>
                </c:pt>
                <c:pt idx="2">
                  <c:v>0.89177594518107905</c:v>
                </c:pt>
                <c:pt idx="3">
                  <c:v>0.95190934243088621</c:v>
                </c:pt>
                <c:pt idx="4">
                  <c:v>0.9840833379972892</c:v>
                </c:pt>
                <c:pt idx="5">
                  <c:v>0.99839154355850912</c:v>
                </c:pt>
                <c:pt idx="6">
                  <c:v>0.99984426442926566</c:v>
                </c:pt>
                <c:pt idx="7">
                  <c:v>0.99998296642195095</c:v>
                </c:pt>
                <c:pt idx="8">
                  <c:v>1</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9</c:f>
              <c:strCache>
                <c:ptCount val="8"/>
                <c:pt idx="0">
                  <c:v>All Others</c:v>
                </c:pt>
                <c:pt idx="1">
                  <c:v>Bottega</c:v>
                </c:pt>
                <c:pt idx="2">
                  <c:v>Savian</c:v>
                </c:pt>
                <c:pt idx="3">
                  <c:v>Bottega</c:v>
                </c:pt>
                <c:pt idx="4">
                  <c:v>Contarini</c:v>
                </c:pt>
                <c:pt idx="5">
                  <c:v>Contarini</c:v>
                </c:pt>
                <c:pt idx="6">
                  <c:v>Bottega</c:v>
                </c:pt>
                <c:pt idx="7">
                  <c:v>Bottega</c:v>
                </c:pt>
              </c:strCache>
            </c:strRef>
          </c:cat>
          <c:val>
            <c:numRef>
              <c:f>Sheet1!$B$2:$B$9</c:f>
              <c:numCache>
                <c:formatCode>General</c:formatCode>
                <c:ptCount val="8"/>
                <c:pt idx="0">
                  <c:v>0.85</c:v>
                </c:pt>
                <c:pt idx="1">
                  <c:v>0.69</c:v>
                </c:pt>
                <c:pt idx="2">
                  <c:v>0.7</c:v>
                </c:pt>
                <c:pt idx="3">
                  <c:v>0.38</c:v>
                </c:pt>
                <c:pt idx="4">
                  <c:v>0.76</c:v>
                </c:pt>
                <c:pt idx="5">
                  <c:v>0.11</c:v>
                </c:pt>
                <c:pt idx="6">
                  <c:v>0.03</c:v>
                </c:pt>
                <c:pt idx="7">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7ECAC4"/>
              </a:solidFill>
            </c:spPr>
            <c:extLst>
              <c:ext xmlns:c16="http://schemas.microsoft.com/office/drawing/2014/chart" uri="{C3380CC4-5D6E-409C-BE32-E72D297353CC}">
                <c16:uniqueId val="{0000000C-C76F-4230-900D-40618C09729F}"/>
              </c:ext>
            </c:extLst>
          </c:dPt>
          <c:dPt>
            <c:idx val="4"/>
            <c:invertIfNegative val="0"/>
            <c:bubble3D val="0"/>
            <c:spPr>
              <a:solidFill>
                <a:srgbClr val="AEABAB"/>
              </a:solidFill>
            </c:spPr>
            <c:extLst>
              <c:ext xmlns:c16="http://schemas.microsoft.com/office/drawing/2014/chart" uri="{C3380CC4-5D6E-409C-BE32-E72D297353CC}">
                <c16:uniqueId val="{0000000E-C76F-4230-900D-40618C09729F}"/>
              </c:ext>
            </c:extLst>
          </c:dPt>
          <c:dPt>
            <c:idx val="5"/>
            <c:invertIfNegative val="0"/>
            <c:bubble3D val="0"/>
            <c:spPr>
              <a:solidFill>
                <a:srgbClr val="AEABAB"/>
              </a:solidFill>
            </c:spPr>
            <c:extLst>
              <c:ext xmlns:c16="http://schemas.microsoft.com/office/drawing/2014/chart" uri="{C3380CC4-5D6E-409C-BE32-E72D297353CC}">
                <c16:uniqueId val="{00000010-C76F-4230-900D-40618C09729F}"/>
              </c:ext>
            </c:extLst>
          </c:dPt>
          <c:dPt>
            <c:idx val="6"/>
            <c:invertIfNegative val="1"/>
            <c:bubble3D val="0"/>
            <c:spPr>
              <a:solidFill>
                <a:srgbClr val="AEABAB"/>
              </a:solidFill>
            </c:spPr>
            <c:extLst>
              <c:ext xmlns:c16="http://schemas.microsoft.com/office/drawing/2014/chart" uri="{C3380CC4-5D6E-409C-BE32-E72D297353CC}">
                <c16:uniqueId val="{00000045-2993-41DE-A2CB-63102DE87051}"/>
              </c:ext>
            </c:extLst>
          </c:dPt>
          <c:dPt>
            <c:idx val="7"/>
            <c:invertIfNegative val="1"/>
            <c:bubble3D val="0"/>
            <c:spPr>
              <a:solidFill>
                <a:srgbClr val="AEABAB"/>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9</c:f>
              <c:strCache>
                <c:ptCount val="8"/>
                <c:pt idx="0">
                  <c:v>All Others</c:v>
                </c:pt>
                <c:pt idx="1">
                  <c:v>Bottega</c:v>
                </c:pt>
                <c:pt idx="2">
                  <c:v>Savian</c:v>
                </c:pt>
                <c:pt idx="3">
                  <c:v>Bottega</c:v>
                </c:pt>
                <c:pt idx="4">
                  <c:v>Contarini</c:v>
                </c:pt>
                <c:pt idx="5">
                  <c:v>Contarini</c:v>
                </c:pt>
                <c:pt idx="6">
                  <c:v>Bottega</c:v>
                </c:pt>
                <c:pt idx="7">
                  <c:v>Bottega</c:v>
                </c:pt>
              </c:strCache>
            </c:strRef>
          </c:cat>
          <c:val>
            <c:numRef>
              <c:f>Sheet1!$C$2:$C$9</c:f>
              <c:numCache>
                <c:formatCode>General</c:formatCode>
                <c:ptCount val="8"/>
                <c:pt idx="0">
                  <c:v>0.40971281906186213</c:v>
                </c:pt>
                <c:pt idx="1">
                  <c:v>0.69304379458782162</c:v>
                </c:pt>
                <c:pt idx="2">
                  <c:v>0.8833559009181976</c:v>
                </c:pt>
                <c:pt idx="3">
                  <c:v>0.9407718787682815</c:v>
                </c:pt>
                <c:pt idx="4">
                  <c:v>0.98065924294173523</c:v>
                </c:pt>
                <c:pt idx="5">
                  <c:v>0.99855163261319158</c:v>
                </c:pt>
                <c:pt idx="6">
                  <c:v>0.99976421926261261</c:v>
                </c:pt>
                <c:pt idx="7">
                  <c:v>1</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12</c:f>
              <c:strCache>
                <c:ptCount val="11"/>
                <c:pt idx="0">
                  <c:v>All Others</c:v>
                </c:pt>
                <c:pt idx="1">
                  <c:v>Bottega</c:v>
                </c:pt>
                <c:pt idx="2">
                  <c:v>Savian</c:v>
                </c:pt>
                <c:pt idx="3">
                  <c:v>Contarini</c:v>
                </c:pt>
                <c:pt idx="4">
                  <c:v>Bottega</c:v>
                </c:pt>
                <c:pt idx="5">
                  <c:v>Contarini</c:v>
                </c:pt>
                <c:pt idx="6">
                  <c:v>Bottega</c:v>
                </c:pt>
                <c:pt idx="7">
                  <c:v>Bottega</c:v>
                </c:pt>
                <c:pt idx="8">
                  <c:v>Bottega</c:v>
                </c:pt>
                <c:pt idx="9">
                  <c:v>Contarini</c:v>
                </c:pt>
                <c:pt idx="10">
                  <c:v>Bottega</c:v>
                </c:pt>
              </c:strCache>
            </c:strRef>
          </c:cat>
          <c:val>
            <c:numRef>
              <c:f>Sheet1!$B$2:$B$12</c:f>
              <c:numCache>
                <c:formatCode>General</c:formatCode>
                <c:ptCount val="11"/>
                <c:pt idx="0">
                  <c:v>0.75</c:v>
                </c:pt>
                <c:pt idx="1">
                  <c:v>0.55000000000000004</c:v>
                </c:pt>
                <c:pt idx="2">
                  <c:v>0.56999999999999995</c:v>
                </c:pt>
                <c:pt idx="3">
                  <c:v>0.72</c:v>
                </c:pt>
                <c:pt idx="4">
                  <c:v>0.21</c:v>
                </c:pt>
                <c:pt idx="5">
                  <c:v>0.11</c:v>
                </c:pt>
                <c:pt idx="6">
                  <c:v>0.06</c:v>
                </c:pt>
                <c:pt idx="7">
                  <c:v>0.01</c:v>
                </c:pt>
                <c:pt idx="8">
                  <c:v>0.01</c:v>
                </c:pt>
                <c:pt idx="9">
                  <c:v>0.01</c:v>
                </c:pt>
                <c:pt idx="10">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7ECAC4"/>
              </a:solidFill>
            </c:spPr>
            <c:extLst>
              <c:ext xmlns:c16="http://schemas.microsoft.com/office/drawing/2014/chart" uri="{C3380CC4-5D6E-409C-BE32-E72D297353CC}">
                <c16:uniqueId val="{0000000C-C76F-4230-900D-40618C09729F}"/>
              </c:ext>
            </c:extLst>
          </c:dPt>
          <c:dPt>
            <c:idx val="4"/>
            <c:invertIfNegative val="0"/>
            <c:bubble3D val="0"/>
            <c:spPr>
              <a:solidFill>
                <a:srgbClr val="AEABAB"/>
              </a:solidFill>
            </c:spPr>
            <c:extLst>
              <c:ext xmlns:c16="http://schemas.microsoft.com/office/drawing/2014/chart" uri="{C3380CC4-5D6E-409C-BE32-E72D297353CC}">
                <c16:uniqueId val="{0000000E-C76F-4230-900D-40618C09729F}"/>
              </c:ext>
            </c:extLst>
          </c:dPt>
          <c:dPt>
            <c:idx val="5"/>
            <c:invertIfNegative val="0"/>
            <c:bubble3D val="0"/>
            <c:spPr>
              <a:solidFill>
                <a:srgbClr val="AEABAB"/>
              </a:solidFill>
            </c:spPr>
            <c:extLst>
              <c:ext xmlns:c16="http://schemas.microsoft.com/office/drawing/2014/chart" uri="{C3380CC4-5D6E-409C-BE32-E72D297353CC}">
                <c16:uniqueId val="{00000010-C76F-4230-900D-40618C09729F}"/>
              </c:ext>
            </c:extLst>
          </c:dPt>
          <c:dPt>
            <c:idx val="6"/>
            <c:invertIfNegative val="1"/>
            <c:bubble3D val="0"/>
            <c:spPr>
              <a:solidFill>
                <a:srgbClr val="AEABAB"/>
              </a:solidFill>
            </c:spPr>
            <c:extLst>
              <c:ext xmlns:c16="http://schemas.microsoft.com/office/drawing/2014/chart" uri="{C3380CC4-5D6E-409C-BE32-E72D297353CC}">
                <c16:uniqueId val="{00000045-2993-41DE-A2CB-63102DE87051}"/>
              </c:ext>
            </c:extLst>
          </c:dPt>
          <c:dPt>
            <c:idx val="7"/>
            <c:invertIfNegative val="1"/>
            <c:bubble3D val="0"/>
            <c:spPr>
              <a:solidFill>
                <a:srgbClr val="AEABAB"/>
              </a:solidFill>
            </c:spPr>
            <c:extLst>
              <c:ext xmlns:c16="http://schemas.microsoft.com/office/drawing/2014/chart" uri="{C3380CC4-5D6E-409C-BE32-E72D297353CC}">
                <c16:uniqueId val="{00000047-2993-41DE-A2CB-63102DE87051}"/>
              </c:ext>
            </c:extLst>
          </c:dPt>
          <c:dPt>
            <c:idx val="8"/>
            <c:invertIfNegative val="1"/>
            <c:bubble3D val="0"/>
            <c:spPr>
              <a:solidFill>
                <a:srgbClr val="AEABAB"/>
              </a:solidFill>
            </c:spPr>
            <c:extLst>
              <c:ext xmlns:c16="http://schemas.microsoft.com/office/drawing/2014/chart" uri="{C3380CC4-5D6E-409C-BE32-E72D297353CC}">
                <c16:uniqueId val="{00000049-2993-41DE-A2CB-63102DE87051}"/>
              </c:ext>
            </c:extLst>
          </c:dPt>
          <c:dPt>
            <c:idx val="9"/>
            <c:invertIfNegative val="1"/>
            <c:bubble3D val="0"/>
            <c:spPr>
              <a:solidFill>
                <a:srgbClr val="AEABAB"/>
              </a:solidFill>
            </c:spPr>
            <c:extLst>
              <c:ext xmlns:c16="http://schemas.microsoft.com/office/drawing/2014/chart" uri="{C3380CC4-5D6E-409C-BE32-E72D297353CC}">
                <c16:uniqueId val="{0000004B-2993-41DE-A2CB-63102DE87051}"/>
              </c:ext>
            </c:extLst>
          </c:dPt>
          <c:dPt>
            <c:idx val="10"/>
            <c:invertIfNegative val="1"/>
            <c:bubble3D val="0"/>
            <c:spPr>
              <a:solidFill>
                <a:srgbClr val="AEABAB"/>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12</c:f>
              <c:strCache>
                <c:ptCount val="11"/>
                <c:pt idx="0">
                  <c:v>All Others</c:v>
                </c:pt>
                <c:pt idx="1">
                  <c:v>Bottega</c:v>
                </c:pt>
                <c:pt idx="2">
                  <c:v>Savian</c:v>
                </c:pt>
                <c:pt idx="3">
                  <c:v>Contarini</c:v>
                </c:pt>
                <c:pt idx="4">
                  <c:v>Bottega</c:v>
                </c:pt>
                <c:pt idx="5">
                  <c:v>Contarini</c:v>
                </c:pt>
                <c:pt idx="6">
                  <c:v>Bottega</c:v>
                </c:pt>
                <c:pt idx="7">
                  <c:v>Bottega</c:v>
                </c:pt>
                <c:pt idx="8">
                  <c:v>Bottega</c:v>
                </c:pt>
                <c:pt idx="9">
                  <c:v>Contarini</c:v>
                </c:pt>
                <c:pt idx="10">
                  <c:v>Bottega</c:v>
                </c:pt>
              </c:strCache>
            </c:strRef>
          </c:cat>
          <c:val>
            <c:numRef>
              <c:f>Sheet1!$C$2:$C$12</c:f>
              <c:numCache>
                <c:formatCode>General</c:formatCode>
                <c:ptCount val="11"/>
                <c:pt idx="0">
                  <c:v>0.43043431998833509</c:v>
                </c:pt>
                <c:pt idx="1">
                  <c:v>0.6868490224746111</c:v>
                </c:pt>
                <c:pt idx="2">
                  <c:v>0.86243315349966299</c:v>
                </c:pt>
                <c:pt idx="3">
                  <c:v>0.92793779777973062</c:v>
                </c:pt>
                <c:pt idx="4">
                  <c:v>0.97135797409291702</c:v>
                </c:pt>
                <c:pt idx="5">
                  <c:v>0.99474291929553527</c:v>
                </c:pt>
                <c:pt idx="6">
                  <c:v>0.99857341588079729</c:v>
                </c:pt>
                <c:pt idx="7">
                  <c:v>0.99908572509487559</c:v>
                </c:pt>
                <c:pt idx="8">
                  <c:v>0.9995822709485207</c:v>
                </c:pt>
                <c:pt idx="9">
                  <c:v>0.99979113547426035</c:v>
                </c:pt>
                <c:pt idx="10">
                  <c:v>1</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33</c:f>
              <c:strCache>
                <c:ptCount val="32"/>
                <c:pt idx="0">
                  <c:v>French Bloo</c:v>
                </c:pt>
                <c:pt idx="1">
                  <c:v>Bouvet-Ladu</c:v>
                </c:pt>
                <c:pt idx="2">
                  <c:v>De Chanceny</c:v>
                </c:pt>
                <c:pt idx="3">
                  <c:v>All Others</c:v>
                </c:pt>
                <c:pt idx="4">
                  <c:v>All Others</c:v>
                </c:pt>
                <c:pt idx="5">
                  <c:v>All Others</c:v>
                </c:pt>
                <c:pt idx="6">
                  <c:v>All Others</c:v>
                </c:pt>
                <c:pt idx="7">
                  <c:v>All Others</c:v>
                </c:pt>
                <c:pt idx="8">
                  <c:v>All Others</c:v>
                </c:pt>
                <c:pt idx="9">
                  <c:v>Bouvet-Ladu</c:v>
                </c:pt>
                <c:pt idx="10">
                  <c:v>All Others</c:v>
                </c:pt>
                <c:pt idx="11">
                  <c:v>Bouvet-Ladu</c:v>
                </c:pt>
                <c:pt idx="12">
                  <c:v>All Others</c:v>
                </c:pt>
                <c:pt idx="13">
                  <c:v>Bouvet-Ladu</c:v>
                </c:pt>
                <c:pt idx="14">
                  <c:v>All Others</c:v>
                </c:pt>
                <c:pt idx="15">
                  <c:v>All Others</c:v>
                </c:pt>
                <c:pt idx="16">
                  <c:v>All Others</c:v>
                </c:pt>
                <c:pt idx="17">
                  <c:v>All Others</c:v>
                </c:pt>
                <c:pt idx="18">
                  <c:v>All Others</c:v>
                </c:pt>
                <c:pt idx="19">
                  <c:v>Bouvet-Ladu</c:v>
                </c:pt>
                <c:pt idx="20">
                  <c:v>Bouvet-Ladu</c:v>
                </c:pt>
                <c:pt idx="21">
                  <c:v>All Others</c:v>
                </c:pt>
                <c:pt idx="22">
                  <c:v>All Others</c:v>
                </c:pt>
                <c:pt idx="23">
                  <c:v>All Others</c:v>
                </c:pt>
                <c:pt idx="24">
                  <c:v>Bouvet-Ladu</c:v>
                </c:pt>
                <c:pt idx="25">
                  <c:v>All Others</c:v>
                </c:pt>
                <c:pt idx="26">
                  <c:v>All Others</c:v>
                </c:pt>
                <c:pt idx="27">
                  <c:v>Bouvet-Ladu</c:v>
                </c:pt>
                <c:pt idx="28">
                  <c:v>All Others</c:v>
                </c:pt>
                <c:pt idx="29">
                  <c:v>All Others</c:v>
                </c:pt>
                <c:pt idx="30">
                  <c:v>All Others</c:v>
                </c:pt>
                <c:pt idx="31">
                  <c:v>All Others</c:v>
                </c:pt>
              </c:strCache>
            </c:strRef>
          </c:cat>
          <c:val>
            <c:numRef>
              <c:f>Sheet1!$B$2:$B$33</c:f>
              <c:numCache>
                <c:formatCode>General</c:formatCode>
                <c:ptCount val="32"/>
                <c:pt idx="0">
                  <c:v>0.72199999999999998</c:v>
                </c:pt>
                <c:pt idx="1">
                  <c:v>0.68100000000000005</c:v>
                </c:pt>
                <c:pt idx="2">
                  <c:v>0.55400000000000005</c:v>
                </c:pt>
                <c:pt idx="3">
                  <c:v>0.45900000000000002</c:v>
                </c:pt>
                <c:pt idx="4">
                  <c:v>6.6000000000000003E-2</c:v>
                </c:pt>
                <c:pt idx="5">
                  <c:v>0.307</c:v>
                </c:pt>
                <c:pt idx="6">
                  <c:v>2.5000000000000001E-2</c:v>
                </c:pt>
                <c:pt idx="7">
                  <c:v>3.7999999999999999E-2</c:v>
                </c:pt>
                <c:pt idx="8">
                  <c:v>3.1E-2</c:v>
                </c:pt>
                <c:pt idx="9">
                  <c:v>0.104</c:v>
                </c:pt>
                <c:pt idx="10">
                  <c:v>2.5000000000000001E-2</c:v>
                </c:pt>
                <c:pt idx="11">
                  <c:v>0.10299999999999999</c:v>
                </c:pt>
                <c:pt idx="12">
                  <c:v>0.112</c:v>
                </c:pt>
                <c:pt idx="13">
                  <c:v>8.5000000000000006E-2</c:v>
                </c:pt>
                <c:pt idx="14">
                  <c:v>2.5000000000000001E-2</c:v>
                </c:pt>
                <c:pt idx="15">
                  <c:v>3.5999999999999997E-2</c:v>
                </c:pt>
                <c:pt idx="16">
                  <c:v>2.5000000000000001E-2</c:v>
                </c:pt>
                <c:pt idx="17">
                  <c:v>1.9E-2</c:v>
                </c:pt>
                <c:pt idx="18">
                  <c:v>1.2E-2</c:v>
                </c:pt>
                <c:pt idx="19">
                  <c:v>2.5999999999999999E-2</c:v>
                </c:pt>
                <c:pt idx="20">
                  <c:v>1.0999999999999999E-2</c:v>
                </c:pt>
                <c:pt idx="21">
                  <c:v>8.0000000000000002E-3</c:v>
                </c:pt>
                <c:pt idx="22">
                  <c:v>2.8000000000000001E-2</c:v>
                </c:pt>
                <c:pt idx="23">
                  <c:v>5.0000000000000001E-3</c:v>
                </c:pt>
                <c:pt idx="24">
                  <c:v>1.0999999999999999E-2</c:v>
                </c:pt>
                <c:pt idx="25">
                  <c:v>1.7999999999999999E-2</c:v>
                </c:pt>
                <c:pt idx="26">
                  <c:v>1.7000000000000001E-2</c:v>
                </c:pt>
                <c:pt idx="27">
                  <c:v>2E-3</c:v>
                </c:pt>
                <c:pt idx="28">
                  <c:v>5.0000000000000001E-3</c:v>
                </c:pt>
                <c:pt idx="29">
                  <c:v>2E-3</c:v>
                </c:pt>
                <c:pt idx="30">
                  <c:v>7.0000000000000001E-3</c:v>
                </c:pt>
                <c:pt idx="31">
                  <c:v>2E-3</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7ECAC4"/>
              </a:solidFill>
            </c:spPr>
            <c:extLst>
              <c:ext xmlns:c16="http://schemas.microsoft.com/office/drawing/2014/chart" uri="{C3380CC4-5D6E-409C-BE32-E72D297353CC}">
                <c16:uniqueId val="{00000010-C76F-4230-900D-40618C09729F}"/>
              </c:ext>
            </c:extLst>
          </c:dPt>
          <c:dPt>
            <c:idx val="6"/>
            <c:invertIfNegative val="1"/>
            <c:bubble3D val="0"/>
            <c:spPr>
              <a:solidFill>
                <a:srgbClr val="7ECAC4"/>
              </a:solidFill>
            </c:spPr>
            <c:extLst>
              <c:ext xmlns:c16="http://schemas.microsoft.com/office/drawing/2014/chart" uri="{C3380CC4-5D6E-409C-BE32-E72D297353CC}">
                <c16:uniqueId val="{00000045-2993-41DE-A2CB-63102DE87051}"/>
              </c:ext>
            </c:extLst>
          </c:dPt>
          <c:dPt>
            <c:idx val="7"/>
            <c:invertIfNegative val="1"/>
            <c:bubble3D val="0"/>
            <c:spPr>
              <a:solidFill>
                <a:srgbClr val="7ECAC4"/>
              </a:solidFill>
            </c:spPr>
            <c:extLst>
              <c:ext xmlns:c16="http://schemas.microsoft.com/office/drawing/2014/chart" uri="{C3380CC4-5D6E-409C-BE32-E72D297353CC}">
                <c16:uniqueId val="{00000047-2993-41DE-A2CB-63102DE87051}"/>
              </c:ext>
            </c:extLst>
          </c:dPt>
          <c:dPt>
            <c:idx val="8"/>
            <c:invertIfNegative val="1"/>
            <c:bubble3D val="0"/>
            <c:spPr>
              <a:solidFill>
                <a:srgbClr val="7ECAC4"/>
              </a:solidFill>
            </c:spPr>
            <c:extLst>
              <c:ext xmlns:c16="http://schemas.microsoft.com/office/drawing/2014/chart" uri="{C3380CC4-5D6E-409C-BE32-E72D297353CC}">
                <c16:uniqueId val="{00000049-2993-41DE-A2CB-63102DE87051}"/>
              </c:ext>
            </c:extLst>
          </c:dPt>
          <c:dPt>
            <c:idx val="9"/>
            <c:invertIfNegative val="1"/>
            <c:bubble3D val="0"/>
            <c:spPr>
              <a:solidFill>
                <a:srgbClr val="7ECAC4"/>
              </a:solidFill>
            </c:spPr>
            <c:extLst>
              <c:ext xmlns:c16="http://schemas.microsoft.com/office/drawing/2014/chart" uri="{C3380CC4-5D6E-409C-BE32-E72D297353CC}">
                <c16:uniqueId val="{0000004B-2993-41DE-A2CB-63102DE87051}"/>
              </c:ext>
            </c:extLst>
          </c:dPt>
          <c:dPt>
            <c:idx val="10"/>
            <c:invertIfNegative val="1"/>
            <c:bubble3D val="0"/>
            <c:spPr>
              <a:solidFill>
                <a:srgbClr val="AEABAB"/>
              </a:solidFill>
            </c:spPr>
            <c:extLst>
              <c:ext xmlns:c16="http://schemas.microsoft.com/office/drawing/2014/chart" uri="{C3380CC4-5D6E-409C-BE32-E72D297353CC}">
                <c16:uniqueId val="{0000004D-2993-41DE-A2CB-63102DE87051}"/>
              </c:ext>
            </c:extLst>
          </c:dPt>
          <c:dPt>
            <c:idx val="11"/>
            <c:invertIfNegative val="1"/>
            <c:bubble3D val="0"/>
            <c:spPr>
              <a:solidFill>
                <a:srgbClr val="AEABAB"/>
              </a:solidFill>
            </c:spPr>
            <c:extLst>
              <c:ext xmlns:c16="http://schemas.microsoft.com/office/drawing/2014/chart" uri="{C3380CC4-5D6E-409C-BE32-E72D297353CC}">
                <c16:uniqueId val="{0000004F-2993-41DE-A2CB-63102DE87051}"/>
              </c:ext>
            </c:extLst>
          </c:dPt>
          <c:dPt>
            <c:idx val="12"/>
            <c:invertIfNegative val="1"/>
            <c:bubble3D val="0"/>
            <c:spPr>
              <a:solidFill>
                <a:srgbClr val="AEABAB"/>
              </a:solidFill>
            </c:spPr>
            <c:extLst>
              <c:ext xmlns:c16="http://schemas.microsoft.com/office/drawing/2014/chart" uri="{C3380CC4-5D6E-409C-BE32-E72D297353CC}">
                <c16:uniqueId val="{00000051-2993-41DE-A2CB-63102DE87051}"/>
              </c:ext>
            </c:extLst>
          </c:dPt>
          <c:dPt>
            <c:idx val="13"/>
            <c:invertIfNegative val="1"/>
            <c:bubble3D val="0"/>
            <c:spPr>
              <a:solidFill>
                <a:srgbClr val="AEABAB"/>
              </a:solidFill>
            </c:spPr>
            <c:extLst>
              <c:ext xmlns:c16="http://schemas.microsoft.com/office/drawing/2014/chart" uri="{C3380CC4-5D6E-409C-BE32-E72D297353CC}">
                <c16:uniqueId val="{00000053-2993-41DE-A2CB-63102DE87051}"/>
              </c:ext>
            </c:extLst>
          </c:dPt>
          <c:dPt>
            <c:idx val="14"/>
            <c:invertIfNegative val="1"/>
            <c:bubble3D val="0"/>
            <c:spPr>
              <a:solidFill>
                <a:srgbClr val="AEABAB"/>
              </a:solidFill>
            </c:spPr>
            <c:extLst>
              <c:ext xmlns:c16="http://schemas.microsoft.com/office/drawing/2014/chart" uri="{C3380CC4-5D6E-409C-BE32-E72D297353CC}">
                <c16:uniqueId val="{00000055-2993-41DE-A2CB-63102DE87051}"/>
              </c:ext>
            </c:extLst>
          </c:dPt>
          <c:dPt>
            <c:idx val="15"/>
            <c:invertIfNegative val="1"/>
            <c:bubble3D val="0"/>
            <c:spPr>
              <a:solidFill>
                <a:srgbClr val="AEABAB"/>
              </a:solidFill>
            </c:spPr>
            <c:extLst>
              <c:ext xmlns:c16="http://schemas.microsoft.com/office/drawing/2014/chart" uri="{C3380CC4-5D6E-409C-BE32-E72D297353CC}">
                <c16:uniqueId val="{00000057-2993-41DE-A2CB-63102DE87051}"/>
              </c:ext>
            </c:extLst>
          </c:dPt>
          <c:dPt>
            <c:idx val="16"/>
            <c:invertIfNegative val="1"/>
            <c:bubble3D val="0"/>
            <c:spPr>
              <a:solidFill>
                <a:srgbClr val="AEABAB"/>
              </a:solidFill>
            </c:spPr>
            <c:extLst>
              <c:ext xmlns:c16="http://schemas.microsoft.com/office/drawing/2014/chart" uri="{C3380CC4-5D6E-409C-BE32-E72D297353CC}">
                <c16:uniqueId val="{00000059-2993-41DE-A2CB-63102DE87051}"/>
              </c:ext>
            </c:extLst>
          </c:dPt>
          <c:dPt>
            <c:idx val="17"/>
            <c:invertIfNegative val="1"/>
            <c:bubble3D val="0"/>
            <c:spPr>
              <a:solidFill>
                <a:srgbClr val="AEABAB"/>
              </a:solidFill>
            </c:spPr>
            <c:extLst>
              <c:ext xmlns:c16="http://schemas.microsoft.com/office/drawing/2014/chart" uri="{C3380CC4-5D6E-409C-BE32-E72D297353CC}">
                <c16:uniqueId val="{0000005B-2993-41DE-A2CB-63102DE87051}"/>
              </c:ext>
            </c:extLst>
          </c:dPt>
          <c:dPt>
            <c:idx val="18"/>
            <c:invertIfNegative val="1"/>
            <c:bubble3D val="0"/>
            <c:spPr>
              <a:solidFill>
                <a:srgbClr val="AEABAB"/>
              </a:solidFill>
            </c:spPr>
            <c:extLst>
              <c:ext xmlns:c16="http://schemas.microsoft.com/office/drawing/2014/chart" uri="{C3380CC4-5D6E-409C-BE32-E72D297353CC}">
                <c16:uniqueId val="{0000005D-2993-41DE-A2CB-63102DE87051}"/>
              </c:ext>
            </c:extLst>
          </c:dPt>
          <c:dPt>
            <c:idx val="19"/>
            <c:invertIfNegative val="1"/>
            <c:bubble3D val="0"/>
            <c:spPr>
              <a:solidFill>
                <a:srgbClr val="AEABAB"/>
              </a:solidFill>
            </c:spPr>
            <c:extLst>
              <c:ext xmlns:c16="http://schemas.microsoft.com/office/drawing/2014/chart" uri="{C3380CC4-5D6E-409C-BE32-E72D297353CC}">
                <c16:uniqueId val="{0000005F-2993-41DE-A2CB-63102DE87051}"/>
              </c:ext>
            </c:extLst>
          </c:dPt>
          <c:dPt>
            <c:idx val="20"/>
            <c:invertIfNegative val="1"/>
            <c:bubble3D val="0"/>
            <c:spPr>
              <a:solidFill>
                <a:srgbClr val="AEABAB"/>
              </a:solidFill>
            </c:spPr>
            <c:extLst>
              <c:ext xmlns:c16="http://schemas.microsoft.com/office/drawing/2014/chart" uri="{C3380CC4-5D6E-409C-BE32-E72D297353CC}">
                <c16:uniqueId val="{00000061-2993-41DE-A2CB-63102DE87051}"/>
              </c:ext>
            </c:extLst>
          </c:dPt>
          <c:dPt>
            <c:idx val="21"/>
            <c:invertIfNegative val="1"/>
            <c:bubble3D val="0"/>
            <c:spPr>
              <a:solidFill>
                <a:srgbClr val="AEABAB"/>
              </a:solidFill>
            </c:spPr>
            <c:extLst>
              <c:ext xmlns:c16="http://schemas.microsoft.com/office/drawing/2014/chart" uri="{C3380CC4-5D6E-409C-BE32-E72D297353CC}">
                <c16:uniqueId val="{00000063-2993-41DE-A2CB-63102DE87051}"/>
              </c:ext>
            </c:extLst>
          </c:dPt>
          <c:dPt>
            <c:idx val="22"/>
            <c:invertIfNegative val="1"/>
            <c:bubble3D val="0"/>
            <c:spPr>
              <a:solidFill>
                <a:srgbClr val="AEABAB"/>
              </a:solidFill>
            </c:spPr>
            <c:extLst>
              <c:ext xmlns:c16="http://schemas.microsoft.com/office/drawing/2014/chart" uri="{C3380CC4-5D6E-409C-BE32-E72D297353CC}">
                <c16:uniqueId val="{00000065-2993-41DE-A2CB-63102DE87051}"/>
              </c:ext>
            </c:extLst>
          </c:dPt>
          <c:dPt>
            <c:idx val="23"/>
            <c:invertIfNegative val="1"/>
            <c:bubble3D val="0"/>
            <c:spPr>
              <a:solidFill>
                <a:srgbClr val="AEABAB"/>
              </a:solidFill>
            </c:spPr>
            <c:extLst>
              <c:ext xmlns:c16="http://schemas.microsoft.com/office/drawing/2014/chart" uri="{C3380CC4-5D6E-409C-BE32-E72D297353CC}">
                <c16:uniqueId val="{00000067-2993-41DE-A2CB-63102DE87051}"/>
              </c:ext>
            </c:extLst>
          </c:dPt>
          <c:dPt>
            <c:idx val="24"/>
            <c:invertIfNegative val="1"/>
            <c:bubble3D val="0"/>
            <c:spPr>
              <a:solidFill>
                <a:srgbClr val="AEABAB"/>
              </a:solidFill>
            </c:spPr>
            <c:extLst>
              <c:ext xmlns:c16="http://schemas.microsoft.com/office/drawing/2014/chart" uri="{C3380CC4-5D6E-409C-BE32-E72D297353CC}">
                <c16:uniqueId val="{00000069-2993-41DE-A2CB-63102DE87051}"/>
              </c:ext>
            </c:extLst>
          </c:dPt>
          <c:dPt>
            <c:idx val="25"/>
            <c:invertIfNegative val="1"/>
            <c:bubble3D val="0"/>
            <c:spPr>
              <a:solidFill>
                <a:srgbClr val="AEABAB"/>
              </a:solidFill>
            </c:spPr>
            <c:extLst>
              <c:ext xmlns:c16="http://schemas.microsoft.com/office/drawing/2014/chart" uri="{C3380CC4-5D6E-409C-BE32-E72D297353CC}">
                <c16:uniqueId val="{0000006B-2993-41DE-A2CB-63102DE87051}"/>
              </c:ext>
            </c:extLst>
          </c:dPt>
          <c:dPt>
            <c:idx val="26"/>
            <c:invertIfNegative val="1"/>
            <c:bubble3D val="0"/>
            <c:spPr>
              <a:solidFill>
                <a:srgbClr val="AEABAB"/>
              </a:solidFill>
            </c:spPr>
            <c:extLst>
              <c:ext xmlns:c16="http://schemas.microsoft.com/office/drawing/2014/chart" uri="{C3380CC4-5D6E-409C-BE32-E72D297353CC}">
                <c16:uniqueId val="{0000006D-2993-41DE-A2CB-63102DE87051}"/>
              </c:ext>
            </c:extLst>
          </c:dPt>
          <c:dPt>
            <c:idx val="27"/>
            <c:invertIfNegative val="1"/>
            <c:bubble3D val="0"/>
            <c:spPr>
              <a:solidFill>
                <a:srgbClr val="AEABAB"/>
              </a:solidFill>
            </c:spPr>
            <c:extLst>
              <c:ext xmlns:c16="http://schemas.microsoft.com/office/drawing/2014/chart" uri="{C3380CC4-5D6E-409C-BE32-E72D297353CC}">
                <c16:uniqueId val="{0000006F-2993-41DE-A2CB-63102DE87051}"/>
              </c:ext>
            </c:extLst>
          </c:dPt>
          <c:dPt>
            <c:idx val="28"/>
            <c:invertIfNegative val="1"/>
            <c:bubble3D val="0"/>
            <c:spPr>
              <a:solidFill>
                <a:srgbClr val="AEABAB"/>
              </a:solidFill>
            </c:spPr>
            <c:extLst>
              <c:ext xmlns:c16="http://schemas.microsoft.com/office/drawing/2014/chart" uri="{C3380CC4-5D6E-409C-BE32-E72D297353CC}">
                <c16:uniqueId val="{00000071-2993-41DE-A2CB-63102DE87051}"/>
              </c:ext>
            </c:extLst>
          </c:dPt>
          <c:dPt>
            <c:idx val="29"/>
            <c:invertIfNegative val="1"/>
            <c:bubble3D val="0"/>
            <c:spPr>
              <a:solidFill>
                <a:srgbClr val="AEABAB"/>
              </a:solidFill>
            </c:spPr>
            <c:extLst>
              <c:ext xmlns:c16="http://schemas.microsoft.com/office/drawing/2014/chart" uri="{C3380CC4-5D6E-409C-BE32-E72D297353CC}">
                <c16:uniqueId val="{00000073-2993-41DE-A2CB-63102DE87051}"/>
              </c:ext>
            </c:extLst>
          </c:dPt>
          <c:dPt>
            <c:idx val="30"/>
            <c:invertIfNegative val="1"/>
            <c:bubble3D val="0"/>
            <c:spPr>
              <a:solidFill>
                <a:srgbClr val="AEABAB"/>
              </a:solidFill>
            </c:spPr>
            <c:extLst>
              <c:ext xmlns:c16="http://schemas.microsoft.com/office/drawing/2014/chart" uri="{C3380CC4-5D6E-409C-BE32-E72D297353CC}">
                <c16:uniqueId val="{00000075-2993-41DE-A2CB-63102DE87051}"/>
              </c:ext>
            </c:extLst>
          </c:dPt>
          <c:dPt>
            <c:idx val="31"/>
            <c:invertIfNegative val="1"/>
            <c:bubble3D val="0"/>
            <c:spPr>
              <a:solidFill>
                <a:srgbClr val="AEABAB"/>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33</c:f>
              <c:strCache>
                <c:ptCount val="32"/>
                <c:pt idx="0">
                  <c:v>French Bloo</c:v>
                </c:pt>
                <c:pt idx="1">
                  <c:v>Bouvet-Ladu</c:v>
                </c:pt>
                <c:pt idx="2">
                  <c:v>De Chanceny</c:v>
                </c:pt>
                <c:pt idx="3">
                  <c:v>All Others</c:v>
                </c:pt>
                <c:pt idx="4">
                  <c:v>All Others</c:v>
                </c:pt>
                <c:pt idx="5">
                  <c:v>All Others</c:v>
                </c:pt>
                <c:pt idx="6">
                  <c:v>All Others</c:v>
                </c:pt>
                <c:pt idx="7">
                  <c:v>All Others</c:v>
                </c:pt>
                <c:pt idx="8">
                  <c:v>All Others</c:v>
                </c:pt>
                <c:pt idx="9">
                  <c:v>Bouvet-Ladu</c:v>
                </c:pt>
                <c:pt idx="10">
                  <c:v>All Others</c:v>
                </c:pt>
                <c:pt idx="11">
                  <c:v>Bouvet-Ladu</c:v>
                </c:pt>
                <c:pt idx="12">
                  <c:v>All Others</c:v>
                </c:pt>
                <c:pt idx="13">
                  <c:v>Bouvet-Ladu</c:v>
                </c:pt>
                <c:pt idx="14">
                  <c:v>All Others</c:v>
                </c:pt>
                <c:pt idx="15">
                  <c:v>All Others</c:v>
                </c:pt>
                <c:pt idx="16">
                  <c:v>All Others</c:v>
                </c:pt>
                <c:pt idx="17">
                  <c:v>All Others</c:v>
                </c:pt>
                <c:pt idx="18">
                  <c:v>All Others</c:v>
                </c:pt>
                <c:pt idx="19">
                  <c:v>Bouvet-Ladu</c:v>
                </c:pt>
                <c:pt idx="20">
                  <c:v>Bouvet-Ladu</c:v>
                </c:pt>
                <c:pt idx="21">
                  <c:v>All Others</c:v>
                </c:pt>
                <c:pt idx="22">
                  <c:v>All Others</c:v>
                </c:pt>
                <c:pt idx="23">
                  <c:v>All Others</c:v>
                </c:pt>
                <c:pt idx="24">
                  <c:v>Bouvet-Ladu</c:v>
                </c:pt>
                <c:pt idx="25">
                  <c:v>All Others</c:v>
                </c:pt>
                <c:pt idx="26">
                  <c:v>All Others</c:v>
                </c:pt>
                <c:pt idx="27">
                  <c:v>Bouvet-Ladu</c:v>
                </c:pt>
                <c:pt idx="28">
                  <c:v>All Others</c:v>
                </c:pt>
                <c:pt idx="29">
                  <c:v>All Others</c:v>
                </c:pt>
                <c:pt idx="30">
                  <c:v>All Others</c:v>
                </c:pt>
                <c:pt idx="31">
                  <c:v>All Others</c:v>
                </c:pt>
              </c:strCache>
            </c:strRef>
          </c:cat>
          <c:val>
            <c:numRef>
              <c:f>Sheet1!$C$2:$C$33</c:f>
              <c:numCache>
                <c:formatCode>General</c:formatCode>
                <c:ptCount val="32"/>
                <c:pt idx="0">
                  <c:v>0.25772661529125662</c:v>
                </c:pt>
                <c:pt idx="1">
                  <c:v>0.50966779364058201</c:v>
                </c:pt>
                <c:pt idx="2">
                  <c:v>0.65388486615473762</c:v>
                </c:pt>
                <c:pt idx="3">
                  <c:v>0.77226275374023023</c:v>
                </c:pt>
                <c:pt idx="4">
                  <c:v>0.84091417203918406</c:v>
                </c:pt>
                <c:pt idx="5">
                  <c:v>0.88501945969129137</c:v>
                </c:pt>
                <c:pt idx="6">
                  <c:v>0.90637173713675634</c:v>
                </c:pt>
                <c:pt idx="7">
                  <c:v>0.92497365071108872</c:v>
                </c:pt>
                <c:pt idx="8">
                  <c:v>0.93701173969183893</c:v>
                </c:pt>
                <c:pt idx="9">
                  <c:v>0.94722385717088498</c:v>
                </c:pt>
                <c:pt idx="10">
                  <c:v>0.95492743109261735</c:v>
                </c:pt>
                <c:pt idx="11">
                  <c:v>0.96255161494905817</c:v>
                </c:pt>
                <c:pt idx="12">
                  <c:v>0.97014659786194357</c:v>
                </c:pt>
                <c:pt idx="13">
                  <c:v>0.97666662104019253</c:v>
                </c:pt>
                <c:pt idx="14">
                  <c:v>0.98289645984185881</c:v>
                </c:pt>
                <c:pt idx="15">
                  <c:v>0.98792084719237505</c:v>
                </c:pt>
                <c:pt idx="16">
                  <c:v>0.99092124414270155</c:v>
                </c:pt>
                <c:pt idx="17">
                  <c:v>0.99304561278636339</c:v>
                </c:pt>
                <c:pt idx="18">
                  <c:v>0.99511614219034472</c:v>
                </c:pt>
                <c:pt idx="19">
                  <c:v>0.99598030761368994</c:v>
                </c:pt>
                <c:pt idx="20">
                  <c:v>0.996583489604008</c:v>
                </c:pt>
                <c:pt idx="21">
                  <c:v>0.99716020823922891</c:v>
                </c:pt>
                <c:pt idx="22">
                  <c:v>0.99765479922069999</c:v>
                </c:pt>
                <c:pt idx="23">
                  <c:v>0.99813478973039338</c:v>
                </c:pt>
                <c:pt idx="24">
                  <c:v>0.99854999064657302</c:v>
                </c:pt>
                <c:pt idx="25">
                  <c:v>0.99890587714615553</c:v>
                </c:pt>
                <c:pt idx="26">
                  <c:v>0.99924351305601589</c:v>
                </c:pt>
                <c:pt idx="27">
                  <c:v>0.99953826008002911</c:v>
                </c:pt>
                <c:pt idx="28">
                  <c:v>0.99965962650168161</c:v>
                </c:pt>
                <c:pt idx="29">
                  <c:v>0.99976274233361195</c:v>
                </c:pt>
                <c:pt idx="30">
                  <c:v>0.99986038298862567</c:v>
                </c:pt>
                <c:pt idx="31">
                  <c:v>1.0000000000000002</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8</c:f>
              <c:strCache>
                <c:ptCount val="27"/>
                <c:pt idx="0">
                  <c:v>French Bloo</c:v>
                </c:pt>
                <c:pt idx="1">
                  <c:v>Bouvet-Ladu</c:v>
                </c:pt>
                <c:pt idx="2">
                  <c:v>De Chanceny</c:v>
                </c:pt>
                <c:pt idx="3">
                  <c:v>All Others</c:v>
                </c:pt>
                <c:pt idx="4">
                  <c:v>All Others</c:v>
                </c:pt>
                <c:pt idx="5">
                  <c:v>All Others</c:v>
                </c:pt>
                <c:pt idx="6">
                  <c:v>All Others</c:v>
                </c:pt>
                <c:pt idx="7">
                  <c:v>All Others</c:v>
                </c:pt>
                <c:pt idx="8">
                  <c:v>All Others</c:v>
                </c:pt>
                <c:pt idx="9">
                  <c:v>Bouvet-Ladu</c:v>
                </c:pt>
                <c:pt idx="10">
                  <c:v>Bouvet-Ladu</c:v>
                </c:pt>
                <c:pt idx="11">
                  <c:v>All Others</c:v>
                </c:pt>
                <c:pt idx="12">
                  <c:v>All Others</c:v>
                </c:pt>
                <c:pt idx="13">
                  <c:v>Bouvet-Ladu</c:v>
                </c:pt>
                <c:pt idx="14">
                  <c:v>All Others</c:v>
                </c:pt>
                <c:pt idx="15">
                  <c:v>All Others</c:v>
                </c:pt>
                <c:pt idx="16">
                  <c:v>All Others</c:v>
                </c:pt>
                <c:pt idx="17">
                  <c:v>All Others</c:v>
                </c:pt>
                <c:pt idx="18">
                  <c:v>All Others</c:v>
                </c:pt>
                <c:pt idx="19">
                  <c:v>Bouvet-Ladu</c:v>
                </c:pt>
                <c:pt idx="20">
                  <c:v>Bouvet-Ladu</c:v>
                </c:pt>
                <c:pt idx="21">
                  <c:v>All Others</c:v>
                </c:pt>
                <c:pt idx="22">
                  <c:v>Bouvet-Ladu</c:v>
                </c:pt>
                <c:pt idx="23">
                  <c:v>All Others</c:v>
                </c:pt>
                <c:pt idx="24">
                  <c:v>All Others</c:v>
                </c:pt>
                <c:pt idx="25">
                  <c:v>All Others</c:v>
                </c:pt>
                <c:pt idx="26">
                  <c:v>All Others</c:v>
                </c:pt>
              </c:strCache>
            </c:strRef>
          </c:cat>
          <c:val>
            <c:numRef>
              <c:f>Sheet1!$B$2:$B$28</c:f>
              <c:numCache>
                <c:formatCode>General</c:formatCode>
                <c:ptCount val="27"/>
                <c:pt idx="0">
                  <c:v>0.73</c:v>
                </c:pt>
                <c:pt idx="1">
                  <c:v>0.71</c:v>
                </c:pt>
                <c:pt idx="2">
                  <c:v>0.61</c:v>
                </c:pt>
                <c:pt idx="3">
                  <c:v>0.48</c:v>
                </c:pt>
                <c:pt idx="4">
                  <c:v>7.0000000000000007E-2</c:v>
                </c:pt>
                <c:pt idx="5">
                  <c:v>0.28000000000000003</c:v>
                </c:pt>
                <c:pt idx="6">
                  <c:v>0.03</c:v>
                </c:pt>
                <c:pt idx="7">
                  <c:v>0.03</c:v>
                </c:pt>
                <c:pt idx="8">
                  <c:v>0.02</c:v>
                </c:pt>
                <c:pt idx="9">
                  <c:v>0.06</c:v>
                </c:pt>
                <c:pt idx="10">
                  <c:v>0.1</c:v>
                </c:pt>
                <c:pt idx="11">
                  <c:v>7.0000000000000007E-2</c:v>
                </c:pt>
                <c:pt idx="12">
                  <c:v>0.02</c:v>
                </c:pt>
                <c:pt idx="13">
                  <c:v>0.06</c:v>
                </c:pt>
                <c:pt idx="14">
                  <c:v>0.04</c:v>
                </c:pt>
                <c:pt idx="15">
                  <c:v>0.02</c:v>
                </c:pt>
                <c:pt idx="16">
                  <c:v>0.03</c:v>
                </c:pt>
                <c:pt idx="17">
                  <c:v>0.02</c:v>
                </c:pt>
                <c:pt idx="18">
                  <c:v>0.01</c:v>
                </c:pt>
                <c:pt idx="19">
                  <c:v>0.02</c:v>
                </c:pt>
                <c:pt idx="20">
                  <c:v>0.01</c:v>
                </c:pt>
                <c:pt idx="21">
                  <c:v>0.01</c:v>
                </c:pt>
                <c:pt idx="22">
                  <c:v>0.01</c:v>
                </c:pt>
                <c:pt idx="23">
                  <c:v>0.01</c:v>
                </c:pt>
                <c:pt idx="24">
                  <c:v>0.01</c:v>
                </c:pt>
                <c:pt idx="25">
                  <c:v>0.01</c:v>
                </c:pt>
                <c:pt idx="26">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7ECAC4"/>
              </a:solidFill>
            </c:spPr>
            <c:extLst>
              <c:ext xmlns:c16="http://schemas.microsoft.com/office/drawing/2014/chart" uri="{C3380CC4-5D6E-409C-BE32-E72D297353CC}">
                <c16:uniqueId val="{00000010-C76F-4230-900D-40618C09729F}"/>
              </c:ext>
            </c:extLst>
          </c:dPt>
          <c:dPt>
            <c:idx val="6"/>
            <c:invertIfNegative val="1"/>
            <c:bubble3D val="0"/>
            <c:spPr>
              <a:solidFill>
                <a:srgbClr val="7ECAC4"/>
              </a:solidFill>
            </c:spPr>
            <c:extLst>
              <c:ext xmlns:c16="http://schemas.microsoft.com/office/drawing/2014/chart" uri="{C3380CC4-5D6E-409C-BE32-E72D297353CC}">
                <c16:uniqueId val="{00000045-2993-41DE-A2CB-63102DE87051}"/>
              </c:ext>
            </c:extLst>
          </c:dPt>
          <c:dPt>
            <c:idx val="7"/>
            <c:invertIfNegative val="1"/>
            <c:bubble3D val="0"/>
            <c:spPr>
              <a:solidFill>
                <a:srgbClr val="7ECAC4"/>
              </a:solidFill>
            </c:spPr>
            <c:extLst>
              <c:ext xmlns:c16="http://schemas.microsoft.com/office/drawing/2014/chart" uri="{C3380CC4-5D6E-409C-BE32-E72D297353CC}">
                <c16:uniqueId val="{00000047-2993-41DE-A2CB-63102DE87051}"/>
              </c:ext>
            </c:extLst>
          </c:dPt>
          <c:dPt>
            <c:idx val="8"/>
            <c:invertIfNegative val="1"/>
            <c:bubble3D val="0"/>
            <c:spPr>
              <a:solidFill>
                <a:srgbClr val="7ECAC4"/>
              </a:solidFill>
            </c:spPr>
            <c:extLst>
              <c:ext xmlns:c16="http://schemas.microsoft.com/office/drawing/2014/chart" uri="{C3380CC4-5D6E-409C-BE32-E72D297353CC}">
                <c16:uniqueId val="{00000049-2993-41DE-A2CB-63102DE87051}"/>
              </c:ext>
            </c:extLst>
          </c:dPt>
          <c:dPt>
            <c:idx val="9"/>
            <c:invertIfNegative val="1"/>
            <c:bubble3D val="0"/>
            <c:spPr>
              <a:solidFill>
                <a:srgbClr val="AEABAB"/>
              </a:solidFill>
            </c:spPr>
            <c:extLst>
              <c:ext xmlns:c16="http://schemas.microsoft.com/office/drawing/2014/chart" uri="{C3380CC4-5D6E-409C-BE32-E72D297353CC}">
                <c16:uniqueId val="{0000004B-2993-41DE-A2CB-63102DE87051}"/>
              </c:ext>
            </c:extLst>
          </c:dPt>
          <c:dPt>
            <c:idx val="10"/>
            <c:invertIfNegative val="1"/>
            <c:bubble3D val="0"/>
            <c:spPr>
              <a:solidFill>
                <a:srgbClr val="AEABAB"/>
              </a:solidFill>
            </c:spPr>
            <c:extLst>
              <c:ext xmlns:c16="http://schemas.microsoft.com/office/drawing/2014/chart" uri="{C3380CC4-5D6E-409C-BE32-E72D297353CC}">
                <c16:uniqueId val="{0000004D-2993-41DE-A2CB-63102DE87051}"/>
              </c:ext>
            </c:extLst>
          </c:dPt>
          <c:dPt>
            <c:idx val="11"/>
            <c:invertIfNegative val="1"/>
            <c:bubble3D val="0"/>
            <c:spPr>
              <a:solidFill>
                <a:srgbClr val="AEABAB"/>
              </a:solidFill>
            </c:spPr>
            <c:extLst>
              <c:ext xmlns:c16="http://schemas.microsoft.com/office/drawing/2014/chart" uri="{C3380CC4-5D6E-409C-BE32-E72D297353CC}">
                <c16:uniqueId val="{0000004F-2993-41DE-A2CB-63102DE87051}"/>
              </c:ext>
            </c:extLst>
          </c:dPt>
          <c:dPt>
            <c:idx val="12"/>
            <c:invertIfNegative val="1"/>
            <c:bubble3D val="0"/>
            <c:spPr>
              <a:solidFill>
                <a:srgbClr val="AEABAB"/>
              </a:solidFill>
            </c:spPr>
            <c:extLst>
              <c:ext xmlns:c16="http://schemas.microsoft.com/office/drawing/2014/chart" uri="{C3380CC4-5D6E-409C-BE32-E72D297353CC}">
                <c16:uniqueId val="{00000051-2993-41DE-A2CB-63102DE87051}"/>
              </c:ext>
            </c:extLst>
          </c:dPt>
          <c:dPt>
            <c:idx val="13"/>
            <c:invertIfNegative val="1"/>
            <c:bubble3D val="0"/>
            <c:spPr>
              <a:solidFill>
                <a:srgbClr val="AEABAB"/>
              </a:solidFill>
            </c:spPr>
            <c:extLst>
              <c:ext xmlns:c16="http://schemas.microsoft.com/office/drawing/2014/chart" uri="{C3380CC4-5D6E-409C-BE32-E72D297353CC}">
                <c16:uniqueId val="{00000053-2993-41DE-A2CB-63102DE87051}"/>
              </c:ext>
            </c:extLst>
          </c:dPt>
          <c:dPt>
            <c:idx val="14"/>
            <c:invertIfNegative val="1"/>
            <c:bubble3D val="0"/>
            <c:spPr>
              <a:solidFill>
                <a:srgbClr val="AEABAB"/>
              </a:solidFill>
            </c:spPr>
            <c:extLst>
              <c:ext xmlns:c16="http://schemas.microsoft.com/office/drawing/2014/chart" uri="{C3380CC4-5D6E-409C-BE32-E72D297353CC}">
                <c16:uniqueId val="{00000055-2993-41DE-A2CB-63102DE87051}"/>
              </c:ext>
            </c:extLst>
          </c:dPt>
          <c:dPt>
            <c:idx val="15"/>
            <c:invertIfNegative val="1"/>
            <c:bubble3D val="0"/>
            <c:spPr>
              <a:solidFill>
                <a:srgbClr val="AEABAB"/>
              </a:solidFill>
            </c:spPr>
            <c:extLst>
              <c:ext xmlns:c16="http://schemas.microsoft.com/office/drawing/2014/chart" uri="{C3380CC4-5D6E-409C-BE32-E72D297353CC}">
                <c16:uniqueId val="{00000057-2993-41DE-A2CB-63102DE87051}"/>
              </c:ext>
            </c:extLst>
          </c:dPt>
          <c:dPt>
            <c:idx val="16"/>
            <c:invertIfNegative val="1"/>
            <c:bubble3D val="0"/>
            <c:spPr>
              <a:solidFill>
                <a:srgbClr val="AEABAB"/>
              </a:solidFill>
            </c:spPr>
            <c:extLst>
              <c:ext xmlns:c16="http://schemas.microsoft.com/office/drawing/2014/chart" uri="{C3380CC4-5D6E-409C-BE32-E72D297353CC}">
                <c16:uniqueId val="{00000059-2993-41DE-A2CB-63102DE87051}"/>
              </c:ext>
            </c:extLst>
          </c:dPt>
          <c:dPt>
            <c:idx val="17"/>
            <c:invertIfNegative val="1"/>
            <c:bubble3D val="0"/>
            <c:spPr>
              <a:solidFill>
                <a:srgbClr val="AEABAB"/>
              </a:solidFill>
            </c:spPr>
            <c:extLst>
              <c:ext xmlns:c16="http://schemas.microsoft.com/office/drawing/2014/chart" uri="{C3380CC4-5D6E-409C-BE32-E72D297353CC}">
                <c16:uniqueId val="{0000005B-2993-41DE-A2CB-63102DE87051}"/>
              </c:ext>
            </c:extLst>
          </c:dPt>
          <c:dPt>
            <c:idx val="18"/>
            <c:invertIfNegative val="1"/>
            <c:bubble3D val="0"/>
            <c:spPr>
              <a:solidFill>
                <a:srgbClr val="AEABAB"/>
              </a:solidFill>
            </c:spPr>
            <c:extLst>
              <c:ext xmlns:c16="http://schemas.microsoft.com/office/drawing/2014/chart" uri="{C3380CC4-5D6E-409C-BE32-E72D297353CC}">
                <c16:uniqueId val="{0000005D-2993-41DE-A2CB-63102DE87051}"/>
              </c:ext>
            </c:extLst>
          </c:dPt>
          <c:dPt>
            <c:idx val="19"/>
            <c:invertIfNegative val="1"/>
            <c:bubble3D val="0"/>
            <c:spPr>
              <a:solidFill>
                <a:srgbClr val="AEABAB"/>
              </a:solidFill>
            </c:spPr>
            <c:extLst>
              <c:ext xmlns:c16="http://schemas.microsoft.com/office/drawing/2014/chart" uri="{C3380CC4-5D6E-409C-BE32-E72D297353CC}">
                <c16:uniqueId val="{0000005F-2993-41DE-A2CB-63102DE87051}"/>
              </c:ext>
            </c:extLst>
          </c:dPt>
          <c:dPt>
            <c:idx val="20"/>
            <c:invertIfNegative val="1"/>
            <c:bubble3D val="0"/>
            <c:spPr>
              <a:solidFill>
                <a:srgbClr val="AEABAB"/>
              </a:solidFill>
            </c:spPr>
            <c:extLst>
              <c:ext xmlns:c16="http://schemas.microsoft.com/office/drawing/2014/chart" uri="{C3380CC4-5D6E-409C-BE32-E72D297353CC}">
                <c16:uniqueId val="{00000061-2993-41DE-A2CB-63102DE87051}"/>
              </c:ext>
            </c:extLst>
          </c:dPt>
          <c:dPt>
            <c:idx val="21"/>
            <c:invertIfNegative val="1"/>
            <c:bubble3D val="0"/>
            <c:spPr>
              <a:solidFill>
                <a:srgbClr val="AEABAB"/>
              </a:solidFill>
            </c:spPr>
            <c:extLst>
              <c:ext xmlns:c16="http://schemas.microsoft.com/office/drawing/2014/chart" uri="{C3380CC4-5D6E-409C-BE32-E72D297353CC}">
                <c16:uniqueId val="{00000063-2993-41DE-A2CB-63102DE87051}"/>
              </c:ext>
            </c:extLst>
          </c:dPt>
          <c:dPt>
            <c:idx val="22"/>
            <c:invertIfNegative val="1"/>
            <c:bubble3D val="0"/>
            <c:spPr>
              <a:solidFill>
                <a:srgbClr val="AEABAB"/>
              </a:solidFill>
            </c:spPr>
            <c:extLst>
              <c:ext xmlns:c16="http://schemas.microsoft.com/office/drawing/2014/chart" uri="{C3380CC4-5D6E-409C-BE32-E72D297353CC}">
                <c16:uniqueId val="{00000065-2993-41DE-A2CB-63102DE87051}"/>
              </c:ext>
            </c:extLst>
          </c:dPt>
          <c:dPt>
            <c:idx val="23"/>
            <c:invertIfNegative val="1"/>
            <c:bubble3D val="0"/>
            <c:spPr>
              <a:solidFill>
                <a:srgbClr val="AEABAB"/>
              </a:solidFill>
            </c:spPr>
            <c:extLst>
              <c:ext xmlns:c16="http://schemas.microsoft.com/office/drawing/2014/chart" uri="{C3380CC4-5D6E-409C-BE32-E72D297353CC}">
                <c16:uniqueId val="{00000067-2993-41DE-A2CB-63102DE87051}"/>
              </c:ext>
            </c:extLst>
          </c:dPt>
          <c:dPt>
            <c:idx val="24"/>
            <c:invertIfNegative val="1"/>
            <c:bubble3D val="0"/>
            <c:spPr>
              <a:solidFill>
                <a:srgbClr val="AEABAB"/>
              </a:solidFill>
            </c:spPr>
            <c:extLst>
              <c:ext xmlns:c16="http://schemas.microsoft.com/office/drawing/2014/chart" uri="{C3380CC4-5D6E-409C-BE32-E72D297353CC}">
                <c16:uniqueId val="{00000069-2993-41DE-A2CB-63102DE87051}"/>
              </c:ext>
            </c:extLst>
          </c:dPt>
          <c:dPt>
            <c:idx val="25"/>
            <c:invertIfNegative val="1"/>
            <c:bubble3D val="0"/>
            <c:spPr>
              <a:solidFill>
                <a:srgbClr val="AEABAB"/>
              </a:solidFill>
            </c:spPr>
            <c:extLst>
              <c:ext xmlns:c16="http://schemas.microsoft.com/office/drawing/2014/chart" uri="{C3380CC4-5D6E-409C-BE32-E72D297353CC}">
                <c16:uniqueId val="{0000006B-2993-41DE-A2CB-63102DE87051}"/>
              </c:ext>
            </c:extLst>
          </c:dPt>
          <c:dPt>
            <c:idx val="26"/>
            <c:invertIfNegative val="1"/>
            <c:bubble3D val="0"/>
            <c:spPr>
              <a:solidFill>
                <a:srgbClr val="AEABAB"/>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8</c:f>
              <c:strCache>
                <c:ptCount val="27"/>
                <c:pt idx="0">
                  <c:v>French Bloo</c:v>
                </c:pt>
                <c:pt idx="1">
                  <c:v>Bouvet-Ladu</c:v>
                </c:pt>
                <c:pt idx="2">
                  <c:v>De Chanceny</c:v>
                </c:pt>
                <c:pt idx="3">
                  <c:v>All Others</c:v>
                </c:pt>
                <c:pt idx="4">
                  <c:v>All Others</c:v>
                </c:pt>
                <c:pt idx="5">
                  <c:v>All Others</c:v>
                </c:pt>
                <c:pt idx="6">
                  <c:v>All Others</c:v>
                </c:pt>
                <c:pt idx="7">
                  <c:v>All Others</c:v>
                </c:pt>
                <c:pt idx="8">
                  <c:v>All Others</c:v>
                </c:pt>
                <c:pt idx="9">
                  <c:v>Bouvet-Ladu</c:v>
                </c:pt>
                <c:pt idx="10">
                  <c:v>Bouvet-Ladu</c:v>
                </c:pt>
                <c:pt idx="11">
                  <c:v>All Others</c:v>
                </c:pt>
                <c:pt idx="12">
                  <c:v>All Others</c:v>
                </c:pt>
                <c:pt idx="13">
                  <c:v>Bouvet-Ladu</c:v>
                </c:pt>
                <c:pt idx="14">
                  <c:v>All Others</c:v>
                </c:pt>
                <c:pt idx="15">
                  <c:v>All Others</c:v>
                </c:pt>
                <c:pt idx="16">
                  <c:v>All Others</c:v>
                </c:pt>
                <c:pt idx="17">
                  <c:v>All Others</c:v>
                </c:pt>
                <c:pt idx="18">
                  <c:v>All Others</c:v>
                </c:pt>
                <c:pt idx="19">
                  <c:v>Bouvet-Ladu</c:v>
                </c:pt>
                <c:pt idx="20">
                  <c:v>Bouvet-Ladu</c:v>
                </c:pt>
                <c:pt idx="21">
                  <c:v>All Others</c:v>
                </c:pt>
                <c:pt idx="22">
                  <c:v>Bouvet-Ladu</c:v>
                </c:pt>
                <c:pt idx="23">
                  <c:v>All Others</c:v>
                </c:pt>
                <c:pt idx="24">
                  <c:v>All Others</c:v>
                </c:pt>
                <c:pt idx="25">
                  <c:v>All Others</c:v>
                </c:pt>
                <c:pt idx="26">
                  <c:v>All Others</c:v>
                </c:pt>
              </c:strCache>
            </c:strRef>
          </c:cat>
          <c:val>
            <c:numRef>
              <c:f>Sheet1!$C$2:$C$28</c:f>
              <c:numCache>
                <c:formatCode>General</c:formatCode>
                <c:ptCount val="27"/>
                <c:pt idx="0">
                  <c:v>0.27085657085657083</c:v>
                </c:pt>
                <c:pt idx="1">
                  <c:v>0.50523738023738018</c:v>
                </c:pt>
                <c:pt idx="2">
                  <c:v>0.6649095524095523</c:v>
                </c:pt>
                <c:pt idx="3">
                  <c:v>0.79516480766480757</c:v>
                </c:pt>
                <c:pt idx="4">
                  <c:v>0.85874624624624618</c:v>
                </c:pt>
                <c:pt idx="5">
                  <c:v>0.90394501644501635</c:v>
                </c:pt>
                <c:pt idx="6">
                  <c:v>0.92206313456313449</c:v>
                </c:pt>
                <c:pt idx="7">
                  <c:v>0.93364793364793353</c:v>
                </c:pt>
                <c:pt idx="8">
                  <c:v>0.94337730587730573</c:v>
                </c:pt>
                <c:pt idx="9">
                  <c:v>0.95241133991133975</c:v>
                </c:pt>
                <c:pt idx="10">
                  <c:v>0.96028528528528512</c:v>
                </c:pt>
                <c:pt idx="11">
                  <c:v>0.96705634205634183</c:v>
                </c:pt>
                <c:pt idx="12">
                  <c:v>0.97359681109681084</c:v>
                </c:pt>
                <c:pt idx="13">
                  <c:v>0.97952059202059172</c:v>
                </c:pt>
                <c:pt idx="14">
                  <c:v>0.98541756041756012</c:v>
                </c:pt>
                <c:pt idx="15">
                  <c:v>0.99126805376805349</c:v>
                </c:pt>
                <c:pt idx="16">
                  <c:v>0.99456420706420678</c:v>
                </c:pt>
                <c:pt idx="17">
                  <c:v>0.99673959673959645</c:v>
                </c:pt>
                <c:pt idx="18">
                  <c:v>0.99734734734734709</c:v>
                </c:pt>
                <c:pt idx="19">
                  <c:v>0.99788717288717266</c:v>
                </c:pt>
                <c:pt idx="20">
                  <c:v>0.99837158587158559</c:v>
                </c:pt>
                <c:pt idx="21">
                  <c:v>0.99861647361647332</c:v>
                </c:pt>
                <c:pt idx="22">
                  <c:v>0.9988577863577861</c:v>
                </c:pt>
                <c:pt idx="23">
                  <c:v>0.99922243672243649</c:v>
                </c:pt>
                <c:pt idx="24">
                  <c:v>0.9993618618618616</c:v>
                </c:pt>
                <c:pt idx="25">
                  <c:v>0.99975868725868688</c:v>
                </c:pt>
                <c:pt idx="26">
                  <c:v>0.99994637494637451</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31</c:f>
              <c:strCache>
                <c:ptCount val="30"/>
                <c:pt idx="0">
                  <c:v>Bouvet-Ladu</c:v>
                </c:pt>
                <c:pt idx="1">
                  <c:v>French Bloo</c:v>
                </c:pt>
                <c:pt idx="2">
                  <c:v>De Chanceny</c:v>
                </c:pt>
                <c:pt idx="3">
                  <c:v>All Others</c:v>
                </c:pt>
                <c:pt idx="4">
                  <c:v>All Others</c:v>
                </c:pt>
                <c:pt idx="5">
                  <c:v>All Others</c:v>
                </c:pt>
                <c:pt idx="6">
                  <c:v>All Others</c:v>
                </c:pt>
                <c:pt idx="7">
                  <c:v>All Others</c:v>
                </c:pt>
                <c:pt idx="8">
                  <c:v>All Others</c:v>
                </c:pt>
                <c:pt idx="9">
                  <c:v>Bouvet-Ladu</c:v>
                </c:pt>
                <c:pt idx="10">
                  <c:v>Bouvet-Ladu</c:v>
                </c:pt>
                <c:pt idx="11">
                  <c:v>All Others</c:v>
                </c:pt>
                <c:pt idx="12">
                  <c:v>Bouvet-Ladu</c:v>
                </c:pt>
                <c:pt idx="13">
                  <c:v>All Others</c:v>
                </c:pt>
                <c:pt idx="14">
                  <c:v>All Others</c:v>
                </c:pt>
                <c:pt idx="15">
                  <c:v>All Others</c:v>
                </c:pt>
                <c:pt idx="16">
                  <c:v>All Others</c:v>
                </c:pt>
                <c:pt idx="17">
                  <c:v>All Others</c:v>
                </c:pt>
                <c:pt idx="18">
                  <c:v>All Others</c:v>
                </c:pt>
                <c:pt idx="19">
                  <c:v>All Others</c:v>
                </c:pt>
                <c:pt idx="20">
                  <c:v>Bouvet-Ladu</c:v>
                </c:pt>
                <c:pt idx="21">
                  <c:v>All Others</c:v>
                </c:pt>
                <c:pt idx="22">
                  <c:v>Bouvet-Ladu</c:v>
                </c:pt>
                <c:pt idx="23">
                  <c:v>Bouvet-Ladu</c:v>
                </c:pt>
                <c:pt idx="24">
                  <c:v>All Others</c:v>
                </c:pt>
                <c:pt idx="25">
                  <c:v>Bouvet-Ladu</c:v>
                </c:pt>
                <c:pt idx="26">
                  <c:v>All Others</c:v>
                </c:pt>
                <c:pt idx="27">
                  <c:v>All Others</c:v>
                </c:pt>
                <c:pt idx="28">
                  <c:v>All Others</c:v>
                </c:pt>
                <c:pt idx="29">
                  <c:v>All Others</c:v>
                </c:pt>
              </c:strCache>
            </c:strRef>
          </c:cat>
          <c:val>
            <c:numRef>
              <c:f>Sheet1!$B$2:$B$31</c:f>
              <c:numCache>
                <c:formatCode>General</c:formatCode>
                <c:ptCount val="30"/>
                <c:pt idx="0">
                  <c:v>0.62</c:v>
                </c:pt>
                <c:pt idx="1">
                  <c:v>0.64</c:v>
                </c:pt>
                <c:pt idx="2">
                  <c:v>0.49</c:v>
                </c:pt>
                <c:pt idx="3">
                  <c:v>0.34</c:v>
                </c:pt>
                <c:pt idx="4">
                  <c:v>0.08</c:v>
                </c:pt>
                <c:pt idx="5">
                  <c:v>0.24</c:v>
                </c:pt>
                <c:pt idx="6">
                  <c:v>0.05</c:v>
                </c:pt>
                <c:pt idx="7">
                  <c:v>0.05</c:v>
                </c:pt>
                <c:pt idx="8">
                  <c:v>0.09</c:v>
                </c:pt>
                <c:pt idx="9">
                  <c:v>0.05</c:v>
                </c:pt>
                <c:pt idx="10">
                  <c:v>0.08</c:v>
                </c:pt>
                <c:pt idx="11">
                  <c:v>0.02</c:v>
                </c:pt>
                <c:pt idx="12">
                  <c:v>0.05</c:v>
                </c:pt>
                <c:pt idx="13">
                  <c:v>0.02</c:v>
                </c:pt>
                <c:pt idx="14">
                  <c:v>0.02</c:v>
                </c:pt>
                <c:pt idx="15">
                  <c:v>0.02</c:v>
                </c:pt>
                <c:pt idx="16">
                  <c:v>0.01</c:v>
                </c:pt>
                <c:pt idx="17">
                  <c:v>0.02</c:v>
                </c:pt>
                <c:pt idx="18">
                  <c:v>0.02</c:v>
                </c:pt>
                <c:pt idx="19">
                  <c:v>0.03</c:v>
                </c:pt>
                <c:pt idx="20">
                  <c:v>0.03</c:v>
                </c:pt>
                <c:pt idx="21">
                  <c:v>0.02</c:v>
                </c:pt>
                <c:pt idx="22">
                  <c:v>0.01</c:v>
                </c:pt>
                <c:pt idx="23">
                  <c:v>0.02</c:v>
                </c:pt>
                <c:pt idx="24">
                  <c:v>0.02</c:v>
                </c:pt>
                <c:pt idx="25">
                  <c:v>0.01</c:v>
                </c:pt>
                <c:pt idx="26">
                  <c:v>0.03</c:v>
                </c:pt>
                <c:pt idx="27">
                  <c:v>0.01</c:v>
                </c:pt>
                <c:pt idx="28">
                  <c:v>0.01</c:v>
                </c:pt>
                <c:pt idx="2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7ECAC4"/>
              </a:solidFill>
            </c:spPr>
            <c:extLst>
              <c:ext xmlns:c16="http://schemas.microsoft.com/office/drawing/2014/chart" uri="{C3380CC4-5D6E-409C-BE32-E72D297353CC}">
                <c16:uniqueId val="{00000010-C76F-4230-900D-40618C09729F}"/>
              </c:ext>
            </c:extLst>
          </c:dPt>
          <c:dPt>
            <c:idx val="6"/>
            <c:invertIfNegative val="1"/>
            <c:bubble3D val="0"/>
            <c:spPr>
              <a:solidFill>
                <a:srgbClr val="7ECAC4"/>
              </a:solidFill>
            </c:spPr>
            <c:extLst>
              <c:ext xmlns:c16="http://schemas.microsoft.com/office/drawing/2014/chart" uri="{C3380CC4-5D6E-409C-BE32-E72D297353CC}">
                <c16:uniqueId val="{00000045-2993-41DE-A2CB-63102DE87051}"/>
              </c:ext>
            </c:extLst>
          </c:dPt>
          <c:dPt>
            <c:idx val="7"/>
            <c:invertIfNegative val="1"/>
            <c:bubble3D val="0"/>
            <c:spPr>
              <a:solidFill>
                <a:srgbClr val="7ECAC4"/>
              </a:solidFill>
            </c:spPr>
            <c:extLst>
              <c:ext xmlns:c16="http://schemas.microsoft.com/office/drawing/2014/chart" uri="{C3380CC4-5D6E-409C-BE32-E72D297353CC}">
                <c16:uniqueId val="{00000047-2993-41DE-A2CB-63102DE87051}"/>
              </c:ext>
            </c:extLst>
          </c:dPt>
          <c:dPt>
            <c:idx val="8"/>
            <c:invertIfNegative val="1"/>
            <c:bubble3D val="0"/>
            <c:spPr>
              <a:solidFill>
                <a:srgbClr val="7ECAC4"/>
              </a:solidFill>
            </c:spPr>
            <c:extLst>
              <c:ext xmlns:c16="http://schemas.microsoft.com/office/drawing/2014/chart" uri="{C3380CC4-5D6E-409C-BE32-E72D297353CC}">
                <c16:uniqueId val="{00000049-2993-41DE-A2CB-63102DE87051}"/>
              </c:ext>
            </c:extLst>
          </c:dPt>
          <c:dPt>
            <c:idx val="9"/>
            <c:invertIfNegative val="1"/>
            <c:bubble3D val="0"/>
            <c:spPr>
              <a:solidFill>
                <a:srgbClr val="AEABAB"/>
              </a:solidFill>
            </c:spPr>
            <c:extLst>
              <c:ext xmlns:c16="http://schemas.microsoft.com/office/drawing/2014/chart" uri="{C3380CC4-5D6E-409C-BE32-E72D297353CC}">
                <c16:uniqueId val="{0000004B-2993-41DE-A2CB-63102DE87051}"/>
              </c:ext>
            </c:extLst>
          </c:dPt>
          <c:dPt>
            <c:idx val="10"/>
            <c:invertIfNegative val="1"/>
            <c:bubble3D val="0"/>
            <c:spPr>
              <a:solidFill>
                <a:srgbClr val="AEABAB"/>
              </a:solidFill>
            </c:spPr>
            <c:extLst>
              <c:ext xmlns:c16="http://schemas.microsoft.com/office/drawing/2014/chart" uri="{C3380CC4-5D6E-409C-BE32-E72D297353CC}">
                <c16:uniqueId val="{0000004D-2993-41DE-A2CB-63102DE87051}"/>
              </c:ext>
            </c:extLst>
          </c:dPt>
          <c:dPt>
            <c:idx val="11"/>
            <c:invertIfNegative val="1"/>
            <c:bubble3D val="0"/>
            <c:spPr>
              <a:solidFill>
                <a:srgbClr val="AEABAB"/>
              </a:solidFill>
            </c:spPr>
            <c:extLst>
              <c:ext xmlns:c16="http://schemas.microsoft.com/office/drawing/2014/chart" uri="{C3380CC4-5D6E-409C-BE32-E72D297353CC}">
                <c16:uniqueId val="{0000004F-2993-41DE-A2CB-63102DE87051}"/>
              </c:ext>
            </c:extLst>
          </c:dPt>
          <c:dPt>
            <c:idx val="12"/>
            <c:invertIfNegative val="1"/>
            <c:bubble3D val="0"/>
            <c:spPr>
              <a:solidFill>
                <a:srgbClr val="AEABAB"/>
              </a:solidFill>
            </c:spPr>
            <c:extLst>
              <c:ext xmlns:c16="http://schemas.microsoft.com/office/drawing/2014/chart" uri="{C3380CC4-5D6E-409C-BE32-E72D297353CC}">
                <c16:uniqueId val="{00000051-2993-41DE-A2CB-63102DE87051}"/>
              </c:ext>
            </c:extLst>
          </c:dPt>
          <c:dPt>
            <c:idx val="13"/>
            <c:invertIfNegative val="1"/>
            <c:bubble3D val="0"/>
            <c:spPr>
              <a:solidFill>
                <a:srgbClr val="AEABAB"/>
              </a:solidFill>
            </c:spPr>
            <c:extLst>
              <c:ext xmlns:c16="http://schemas.microsoft.com/office/drawing/2014/chart" uri="{C3380CC4-5D6E-409C-BE32-E72D297353CC}">
                <c16:uniqueId val="{00000053-2993-41DE-A2CB-63102DE87051}"/>
              </c:ext>
            </c:extLst>
          </c:dPt>
          <c:dPt>
            <c:idx val="14"/>
            <c:invertIfNegative val="1"/>
            <c:bubble3D val="0"/>
            <c:spPr>
              <a:solidFill>
                <a:srgbClr val="AEABAB"/>
              </a:solidFill>
            </c:spPr>
            <c:extLst>
              <c:ext xmlns:c16="http://schemas.microsoft.com/office/drawing/2014/chart" uri="{C3380CC4-5D6E-409C-BE32-E72D297353CC}">
                <c16:uniqueId val="{00000055-2993-41DE-A2CB-63102DE87051}"/>
              </c:ext>
            </c:extLst>
          </c:dPt>
          <c:dPt>
            <c:idx val="15"/>
            <c:invertIfNegative val="1"/>
            <c:bubble3D val="0"/>
            <c:spPr>
              <a:solidFill>
                <a:srgbClr val="AEABAB"/>
              </a:solidFill>
            </c:spPr>
            <c:extLst>
              <c:ext xmlns:c16="http://schemas.microsoft.com/office/drawing/2014/chart" uri="{C3380CC4-5D6E-409C-BE32-E72D297353CC}">
                <c16:uniqueId val="{00000057-2993-41DE-A2CB-63102DE87051}"/>
              </c:ext>
            </c:extLst>
          </c:dPt>
          <c:dPt>
            <c:idx val="16"/>
            <c:invertIfNegative val="1"/>
            <c:bubble3D val="0"/>
            <c:spPr>
              <a:solidFill>
                <a:srgbClr val="AEABAB"/>
              </a:solidFill>
            </c:spPr>
            <c:extLst>
              <c:ext xmlns:c16="http://schemas.microsoft.com/office/drawing/2014/chart" uri="{C3380CC4-5D6E-409C-BE32-E72D297353CC}">
                <c16:uniqueId val="{00000059-2993-41DE-A2CB-63102DE87051}"/>
              </c:ext>
            </c:extLst>
          </c:dPt>
          <c:dPt>
            <c:idx val="17"/>
            <c:invertIfNegative val="1"/>
            <c:bubble3D val="0"/>
            <c:spPr>
              <a:solidFill>
                <a:srgbClr val="AEABAB"/>
              </a:solidFill>
            </c:spPr>
            <c:extLst>
              <c:ext xmlns:c16="http://schemas.microsoft.com/office/drawing/2014/chart" uri="{C3380CC4-5D6E-409C-BE32-E72D297353CC}">
                <c16:uniqueId val="{0000005B-2993-41DE-A2CB-63102DE87051}"/>
              </c:ext>
            </c:extLst>
          </c:dPt>
          <c:dPt>
            <c:idx val="18"/>
            <c:invertIfNegative val="1"/>
            <c:bubble3D val="0"/>
            <c:spPr>
              <a:solidFill>
                <a:srgbClr val="AEABAB"/>
              </a:solidFill>
            </c:spPr>
            <c:extLst>
              <c:ext xmlns:c16="http://schemas.microsoft.com/office/drawing/2014/chart" uri="{C3380CC4-5D6E-409C-BE32-E72D297353CC}">
                <c16:uniqueId val="{0000005D-2993-41DE-A2CB-63102DE87051}"/>
              </c:ext>
            </c:extLst>
          </c:dPt>
          <c:dPt>
            <c:idx val="19"/>
            <c:invertIfNegative val="1"/>
            <c:bubble3D val="0"/>
            <c:spPr>
              <a:solidFill>
                <a:srgbClr val="AEABAB"/>
              </a:solidFill>
            </c:spPr>
            <c:extLst>
              <c:ext xmlns:c16="http://schemas.microsoft.com/office/drawing/2014/chart" uri="{C3380CC4-5D6E-409C-BE32-E72D297353CC}">
                <c16:uniqueId val="{0000005F-2993-41DE-A2CB-63102DE87051}"/>
              </c:ext>
            </c:extLst>
          </c:dPt>
          <c:dPt>
            <c:idx val="20"/>
            <c:invertIfNegative val="1"/>
            <c:bubble3D val="0"/>
            <c:spPr>
              <a:solidFill>
                <a:srgbClr val="AEABAB"/>
              </a:solidFill>
            </c:spPr>
            <c:extLst>
              <c:ext xmlns:c16="http://schemas.microsoft.com/office/drawing/2014/chart" uri="{C3380CC4-5D6E-409C-BE32-E72D297353CC}">
                <c16:uniqueId val="{00000061-2993-41DE-A2CB-63102DE87051}"/>
              </c:ext>
            </c:extLst>
          </c:dPt>
          <c:dPt>
            <c:idx val="21"/>
            <c:invertIfNegative val="1"/>
            <c:bubble3D val="0"/>
            <c:spPr>
              <a:solidFill>
                <a:srgbClr val="AEABAB"/>
              </a:solidFill>
            </c:spPr>
            <c:extLst>
              <c:ext xmlns:c16="http://schemas.microsoft.com/office/drawing/2014/chart" uri="{C3380CC4-5D6E-409C-BE32-E72D297353CC}">
                <c16:uniqueId val="{00000063-2993-41DE-A2CB-63102DE87051}"/>
              </c:ext>
            </c:extLst>
          </c:dPt>
          <c:dPt>
            <c:idx val="22"/>
            <c:invertIfNegative val="1"/>
            <c:bubble3D val="0"/>
            <c:spPr>
              <a:solidFill>
                <a:srgbClr val="AEABAB"/>
              </a:solidFill>
            </c:spPr>
            <c:extLst>
              <c:ext xmlns:c16="http://schemas.microsoft.com/office/drawing/2014/chart" uri="{C3380CC4-5D6E-409C-BE32-E72D297353CC}">
                <c16:uniqueId val="{00000065-2993-41DE-A2CB-63102DE87051}"/>
              </c:ext>
            </c:extLst>
          </c:dPt>
          <c:dPt>
            <c:idx val="23"/>
            <c:invertIfNegative val="1"/>
            <c:bubble3D val="0"/>
            <c:spPr>
              <a:solidFill>
                <a:srgbClr val="AEABAB"/>
              </a:solidFill>
            </c:spPr>
            <c:extLst>
              <c:ext xmlns:c16="http://schemas.microsoft.com/office/drawing/2014/chart" uri="{C3380CC4-5D6E-409C-BE32-E72D297353CC}">
                <c16:uniqueId val="{00000067-2993-41DE-A2CB-63102DE87051}"/>
              </c:ext>
            </c:extLst>
          </c:dPt>
          <c:dPt>
            <c:idx val="24"/>
            <c:invertIfNegative val="1"/>
            <c:bubble3D val="0"/>
            <c:spPr>
              <a:solidFill>
                <a:srgbClr val="AEABAB"/>
              </a:solidFill>
            </c:spPr>
            <c:extLst>
              <c:ext xmlns:c16="http://schemas.microsoft.com/office/drawing/2014/chart" uri="{C3380CC4-5D6E-409C-BE32-E72D297353CC}">
                <c16:uniqueId val="{00000069-2993-41DE-A2CB-63102DE87051}"/>
              </c:ext>
            </c:extLst>
          </c:dPt>
          <c:dPt>
            <c:idx val="25"/>
            <c:invertIfNegative val="1"/>
            <c:bubble3D val="0"/>
            <c:spPr>
              <a:solidFill>
                <a:srgbClr val="AEABAB"/>
              </a:solidFill>
            </c:spPr>
            <c:extLst>
              <c:ext xmlns:c16="http://schemas.microsoft.com/office/drawing/2014/chart" uri="{C3380CC4-5D6E-409C-BE32-E72D297353CC}">
                <c16:uniqueId val="{0000006B-2993-41DE-A2CB-63102DE87051}"/>
              </c:ext>
            </c:extLst>
          </c:dPt>
          <c:dPt>
            <c:idx val="26"/>
            <c:invertIfNegative val="1"/>
            <c:bubble3D val="0"/>
            <c:spPr>
              <a:solidFill>
                <a:srgbClr val="AEABAB"/>
              </a:solidFill>
            </c:spPr>
            <c:extLst>
              <c:ext xmlns:c16="http://schemas.microsoft.com/office/drawing/2014/chart" uri="{C3380CC4-5D6E-409C-BE32-E72D297353CC}">
                <c16:uniqueId val="{0000006D-2993-41DE-A2CB-63102DE87051}"/>
              </c:ext>
            </c:extLst>
          </c:dPt>
          <c:dPt>
            <c:idx val="27"/>
            <c:invertIfNegative val="1"/>
            <c:bubble3D val="0"/>
            <c:spPr>
              <a:solidFill>
                <a:srgbClr val="AEABAB"/>
              </a:solidFill>
            </c:spPr>
            <c:extLst>
              <c:ext xmlns:c16="http://schemas.microsoft.com/office/drawing/2014/chart" uri="{C3380CC4-5D6E-409C-BE32-E72D297353CC}">
                <c16:uniqueId val="{0000006F-2993-41DE-A2CB-63102DE87051}"/>
              </c:ext>
            </c:extLst>
          </c:dPt>
          <c:dPt>
            <c:idx val="28"/>
            <c:invertIfNegative val="1"/>
            <c:bubble3D val="0"/>
            <c:spPr>
              <a:solidFill>
                <a:srgbClr val="AEABAB"/>
              </a:solidFill>
            </c:spPr>
            <c:extLst>
              <c:ext xmlns:c16="http://schemas.microsoft.com/office/drawing/2014/chart" uri="{C3380CC4-5D6E-409C-BE32-E72D297353CC}">
                <c16:uniqueId val="{00000071-2993-41DE-A2CB-63102DE87051}"/>
              </c:ext>
            </c:extLst>
          </c:dPt>
          <c:dPt>
            <c:idx val="29"/>
            <c:invertIfNegative val="1"/>
            <c:bubble3D val="0"/>
            <c:spPr>
              <a:solidFill>
                <a:srgbClr val="AEABAB"/>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31</c:f>
              <c:strCache>
                <c:ptCount val="30"/>
                <c:pt idx="0">
                  <c:v>Bouvet-Ladu</c:v>
                </c:pt>
                <c:pt idx="1">
                  <c:v>French Bloo</c:v>
                </c:pt>
                <c:pt idx="2">
                  <c:v>De Chanceny</c:v>
                </c:pt>
                <c:pt idx="3">
                  <c:v>All Others</c:v>
                </c:pt>
                <c:pt idx="4">
                  <c:v>All Others</c:v>
                </c:pt>
                <c:pt idx="5">
                  <c:v>All Others</c:v>
                </c:pt>
                <c:pt idx="6">
                  <c:v>All Others</c:v>
                </c:pt>
                <c:pt idx="7">
                  <c:v>All Others</c:v>
                </c:pt>
                <c:pt idx="8">
                  <c:v>All Others</c:v>
                </c:pt>
                <c:pt idx="9">
                  <c:v>Bouvet-Ladu</c:v>
                </c:pt>
                <c:pt idx="10">
                  <c:v>Bouvet-Ladu</c:v>
                </c:pt>
                <c:pt idx="11">
                  <c:v>All Others</c:v>
                </c:pt>
                <c:pt idx="12">
                  <c:v>Bouvet-Ladu</c:v>
                </c:pt>
                <c:pt idx="13">
                  <c:v>All Others</c:v>
                </c:pt>
                <c:pt idx="14">
                  <c:v>All Others</c:v>
                </c:pt>
                <c:pt idx="15">
                  <c:v>All Others</c:v>
                </c:pt>
                <c:pt idx="16">
                  <c:v>All Others</c:v>
                </c:pt>
                <c:pt idx="17">
                  <c:v>All Others</c:v>
                </c:pt>
                <c:pt idx="18">
                  <c:v>All Others</c:v>
                </c:pt>
                <c:pt idx="19">
                  <c:v>All Others</c:v>
                </c:pt>
                <c:pt idx="20">
                  <c:v>Bouvet-Ladu</c:v>
                </c:pt>
                <c:pt idx="21">
                  <c:v>All Others</c:v>
                </c:pt>
                <c:pt idx="22">
                  <c:v>Bouvet-Ladu</c:v>
                </c:pt>
                <c:pt idx="23">
                  <c:v>Bouvet-Ladu</c:v>
                </c:pt>
                <c:pt idx="24">
                  <c:v>All Others</c:v>
                </c:pt>
                <c:pt idx="25">
                  <c:v>Bouvet-Ladu</c:v>
                </c:pt>
                <c:pt idx="26">
                  <c:v>All Others</c:v>
                </c:pt>
                <c:pt idx="27">
                  <c:v>All Others</c:v>
                </c:pt>
                <c:pt idx="28">
                  <c:v>All Others</c:v>
                </c:pt>
                <c:pt idx="29">
                  <c:v>All Others</c:v>
                </c:pt>
              </c:strCache>
            </c:strRef>
          </c:cat>
          <c:val>
            <c:numRef>
              <c:f>Sheet1!$C$2:$C$31</c:f>
              <c:numCache>
                <c:formatCode>General</c:formatCode>
                <c:ptCount val="30"/>
                <c:pt idx="0">
                  <c:v>0.25195811243836408</c:v>
                </c:pt>
                <c:pt idx="1">
                  <c:v>0.5035998535652787</c:v>
                </c:pt>
                <c:pt idx="2">
                  <c:v>0.63056870003028131</c:v>
                </c:pt>
                <c:pt idx="3">
                  <c:v>0.73220524362850781</c:v>
                </c:pt>
                <c:pt idx="4">
                  <c:v>0.82822845624358787</c:v>
                </c:pt>
                <c:pt idx="5">
                  <c:v>0.87313962369892306</c:v>
                </c:pt>
                <c:pt idx="6">
                  <c:v>0.90859128894191887</c:v>
                </c:pt>
                <c:pt idx="7">
                  <c:v>0.93757542066085464</c:v>
                </c:pt>
                <c:pt idx="8">
                  <c:v>0.94735581377480704</c:v>
                </c:pt>
                <c:pt idx="9">
                  <c:v>0.95678367885600146</c:v>
                </c:pt>
                <c:pt idx="10">
                  <c:v>0.9638477982816519</c:v>
                </c:pt>
                <c:pt idx="11">
                  <c:v>0.97062718352699784</c:v>
                </c:pt>
                <c:pt idx="12">
                  <c:v>0.97730713778874534</c:v>
                </c:pt>
                <c:pt idx="13">
                  <c:v>0.98168662065723877</c:v>
                </c:pt>
                <c:pt idx="14">
                  <c:v>0.98481417705042507</c:v>
                </c:pt>
                <c:pt idx="15">
                  <c:v>0.98697002155844504</c:v>
                </c:pt>
                <c:pt idx="16">
                  <c:v>0.98884113188616052</c:v>
                </c:pt>
                <c:pt idx="17">
                  <c:v>0.99055857614831477</c:v>
                </c:pt>
                <c:pt idx="18">
                  <c:v>0.99209523680392653</c:v>
                </c:pt>
                <c:pt idx="19">
                  <c:v>0.99350534893495845</c:v>
                </c:pt>
                <c:pt idx="20">
                  <c:v>0.99480699090206492</c:v>
                </c:pt>
                <c:pt idx="21">
                  <c:v>0.99584197704952104</c:v>
                </c:pt>
                <c:pt idx="22">
                  <c:v>0.99678657139370597</c:v>
                </c:pt>
                <c:pt idx="23">
                  <c:v>0.99771760696740019</c:v>
                </c:pt>
                <c:pt idx="24">
                  <c:v>0.99860796622962233</c:v>
                </c:pt>
                <c:pt idx="25">
                  <c:v>0.99933562024595612</c:v>
                </c:pt>
                <c:pt idx="26">
                  <c:v>0.99957515852462497</c:v>
                </c:pt>
                <c:pt idx="27">
                  <c:v>0.99977402049182174</c:v>
                </c:pt>
                <c:pt idx="28">
                  <c:v>0.99995932368852791</c:v>
                </c:pt>
                <c:pt idx="29">
                  <c:v>1</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15</c:f>
              <c:strCache>
                <c:ptCount val="14"/>
                <c:pt idx="0">
                  <c:v>French Bloo</c:v>
                </c:pt>
                <c:pt idx="1">
                  <c:v>Bouvet-Ladu</c:v>
                </c:pt>
                <c:pt idx="2">
                  <c:v>De Chanceny</c:v>
                </c:pt>
                <c:pt idx="3">
                  <c:v>All Others</c:v>
                </c:pt>
                <c:pt idx="4">
                  <c:v>All Others</c:v>
                </c:pt>
                <c:pt idx="5">
                  <c:v>All Others</c:v>
                </c:pt>
                <c:pt idx="6">
                  <c:v>Bouvet-Ladu</c:v>
                </c:pt>
                <c:pt idx="7">
                  <c:v>Bouvet-Ladu</c:v>
                </c:pt>
                <c:pt idx="8">
                  <c:v>Bouvet-Ladu</c:v>
                </c:pt>
                <c:pt idx="9">
                  <c:v>Bouvet-Ladu</c:v>
                </c:pt>
                <c:pt idx="10">
                  <c:v>All Others</c:v>
                </c:pt>
                <c:pt idx="11">
                  <c:v>All Others</c:v>
                </c:pt>
                <c:pt idx="12">
                  <c:v>All Others</c:v>
                </c:pt>
                <c:pt idx="13">
                  <c:v>All Others</c:v>
                </c:pt>
              </c:strCache>
            </c:strRef>
          </c:cat>
          <c:val>
            <c:numRef>
              <c:f>Sheet1!$B$2:$B$15</c:f>
              <c:numCache>
                <c:formatCode>General</c:formatCode>
                <c:ptCount val="14"/>
                <c:pt idx="0">
                  <c:v>0.81</c:v>
                </c:pt>
                <c:pt idx="1">
                  <c:v>0.66</c:v>
                </c:pt>
                <c:pt idx="2">
                  <c:v>0.61</c:v>
                </c:pt>
                <c:pt idx="3">
                  <c:v>0.51</c:v>
                </c:pt>
                <c:pt idx="4">
                  <c:v>0.39</c:v>
                </c:pt>
                <c:pt idx="5">
                  <c:v>0.17</c:v>
                </c:pt>
                <c:pt idx="6">
                  <c:v>0.11</c:v>
                </c:pt>
                <c:pt idx="7">
                  <c:v>0.05</c:v>
                </c:pt>
                <c:pt idx="8">
                  <c:v>0.05</c:v>
                </c:pt>
                <c:pt idx="9">
                  <c:v>0.03</c:v>
                </c:pt>
                <c:pt idx="10">
                  <c:v>0.01</c:v>
                </c:pt>
                <c:pt idx="11">
                  <c:v>0.03</c:v>
                </c:pt>
                <c:pt idx="12">
                  <c:v>0.01</c:v>
                </c:pt>
                <c:pt idx="13">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AEABAB"/>
              </a:solidFill>
            </c:spPr>
            <c:extLst>
              <c:ext xmlns:c16="http://schemas.microsoft.com/office/drawing/2014/chart" uri="{C3380CC4-5D6E-409C-BE32-E72D297353CC}">
                <c16:uniqueId val="{0000000E-C76F-4230-900D-40618C09729F}"/>
              </c:ext>
            </c:extLst>
          </c:dPt>
          <c:dPt>
            <c:idx val="5"/>
            <c:invertIfNegative val="0"/>
            <c:bubble3D val="0"/>
            <c:spPr>
              <a:solidFill>
                <a:srgbClr val="AEABAB"/>
              </a:solidFill>
            </c:spPr>
            <c:extLst>
              <c:ext xmlns:c16="http://schemas.microsoft.com/office/drawing/2014/chart" uri="{C3380CC4-5D6E-409C-BE32-E72D297353CC}">
                <c16:uniqueId val="{00000010-C76F-4230-900D-40618C09729F}"/>
              </c:ext>
            </c:extLst>
          </c:dPt>
          <c:dPt>
            <c:idx val="6"/>
            <c:invertIfNegative val="1"/>
            <c:bubble3D val="0"/>
            <c:spPr>
              <a:solidFill>
                <a:srgbClr val="AEABAB"/>
              </a:solidFill>
            </c:spPr>
            <c:extLst>
              <c:ext xmlns:c16="http://schemas.microsoft.com/office/drawing/2014/chart" uri="{C3380CC4-5D6E-409C-BE32-E72D297353CC}">
                <c16:uniqueId val="{00000045-2993-41DE-A2CB-63102DE87051}"/>
              </c:ext>
            </c:extLst>
          </c:dPt>
          <c:dPt>
            <c:idx val="7"/>
            <c:invertIfNegative val="1"/>
            <c:bubble3D val="0"/>
            <c:spPr>
              <a:solidFill>
                <a:srgbClr val="AEABAB"/>
              </a:solidFill>
            </c:spPr>
            <c:extLst>
              <c:ext xmlns:c16="http://schemas.microsoft.com/office/drawing/2014/chart" uri="{C3380CC4-5D6E-409C-BE32-E72D297353CC}">
                <c16:uniqueId val="{00000047-2993-41DE-A2CB-63102DE87051}"/>
              </c:ext>
            </c:extLst>
          </c:dPt>
          <c:dPt>
            <c:idx val="8"/>
            <c:invertIfNegative val="1"/>
            <c:bubble3D val="0"/>
            <c:spPr>
              <a:solidFill>
                <a:srgbClr val="AEABAB"/>
              </a:solidFill>
            </c:spPr>
            <c:extLst>
              <c:ext xmlns:c16="http://schemas.microsoft.com/office/drawing/2014/chart" uri="{C3380CC4-5D6E-409C-BE32-E72D297353CC}">
                <c16:uniqueId val="{00000049-2993-41DE-A2CB-63102DE87051}"/>
              </c:ext>
            </c:extLst>
          </c:dPt>
          <c:dPt>
            <c:idx val="9"/>
            <c:invertIfNegative val="1"/>
            <c:bubble3D val="0"/>
            <c:spPr>
              <a:solidFill>
                <a:srgbClr val="AEABAB"/>
              </a:solidFill>
            </c:spPr>
            <c:extLst>
              <c:ext xmlns:c16="http://schemas.microsoft.com/office/drawing/2014/chart" uri="{C3380CC4-5D6E-409C-BE32-E72D297353CC}">
                <c16:uniqueId val="{0000004B-2993-41DE-A2CB-63102DE87051}"/>
              </c:ext>
            </c:extLst>
          </c:dPt>
          <c:dPt>
            <c:idx val="10"/>
            <c:invertIfNegative val="1"/>
            <c:bubble3D val="0"/>
            <c:spPr>
              <a:solidFill>
                <a:srgbClr val="AEABAB"/>
              </a:solidFill>
            </c:spPr>
            <c:extLst>
              <c:ext xmlns:c16="http://schemas.microsoft.com/office/drawing/2014/chart" uri="{C3380CC4-5D6E-409C-BE32-E72D297353CC}">
                <c16:uniqueId val="{0000004D-2993-41DE-A2CB-63102DE87051}"/>
              </c:ext>
            </c:extLst>
          </c:dPt>
          <c:dPt>
            <c:idx val="11"/>
            <c:invertIfNegative val="1"/>
            <c:bubble3D val="0"/>
            <c:spPr>
              <a:solidFill>
                <a:srgbClr val="AEABAB"/>
              </a:solidFill>
            </c:spPr>
            <c:extLst>
              <c:ext xmlns:c16="http://schemas.microsoft.com/office/drawing/2014/chart" uri="{C3380CC4-5D6E-409C-BE32-E72D297353CC}">
                <c16:uniqueId val="{0000004F-2993-41DE-A2CB-63102DE87051}"/>
              </c:ext>
            </c:extLst>
          </c:dPt>
          <c:dPt>
            <c:idx val="12"/>
            <c:invertIfNegative val="1"/>
            <c:bubble3D val="0"/>
            <c:spPr>
              <a:solidFill>
                <a:srgbClr val="AEABAB"/>
              </a:solidFill>
            </c:spPr>
            <c:extLst>
              <c:ext xmlns:c16="http://schemas.microsoft.com/office/drawing/2014/chart" uri="{C3380CC4-5D6E-409C-BE32-E72D297353CC}">
                <c16:uniqueId val="{00000051-2993-41DE-A2CB-63102DE87051}"/>
              </c:ext>
            </c:extLst>
          </c:dPt>
          <c:dPt>
            <c:idx val="13"/>
            <c:invertIfNegative val="1"/>
            <c:bubble3D val="0"/>
            <c:spPr>
              <a:solidFill>
                <a:srgbClr val="AEABAB"/>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15</c:f>
              <c:strCache>
                <c:ptCount val="14"/>
                <c:pt idx="0">
                  <c:v>French Bloo</c:v>
                </c:pt>
                <c:pt idx="1">
                  <c:v>Bouvet-Ladu</c:v>
                </c:pt>
                <c:pt idx="2">
                  <c:v>De Chanceny</c:v>
                </c:pt>
                <c:pt idx="3">
                  <c:v>All Others</c:v>
                </c:pt>
                <c:pt idx="4">
                  <c:v>All Others</c:v>
                </c:pt>
                <c:pt idx="5">
                  <c:v>All Others</c:v>
                </c:pt>
                <c:pt idx="6">
                  <c:v>Bouvet-Ladu</c:v>
                </c:pt>
                <c:pt idx="7">
                  <c:v>Bouvet-Ladu</c:v>
                </c:pt>
                <c:pt idx="8">
                  <c:v>Bouvet-Ladu</c:v>
                </c:pt>
                <c:pt idx="9">
                  <c:v>Bouvet-Ladu</c:v>
                </c:pt>
                <c:pt idx="10">
                  <c:v>All Others</c:v>
                </c:pt>
                <c:pt idx="11">
                  <c:v>All Others</c:v>
                </c:pt>
                <c:pt idx="12">
                  <c:v>All Others</c:v>
                </c:pt>
                <c:pt idx="13">
                  <c:v>All Others</c:v>
                </c:pt>
              </c:strCache>
            </c:strRef>
          </c:cat>
          <c:val>
            <c:numRef>
              <c:f>Sheet1!$C$2:$C$15</c:f>
              <c:numCache>
                <c:formatCode>General</c:formatCode>
                <c:ptCount val="14"/>
                <c:pt idx="0">
                  <c:v>0.32880546370139835</c:v>
                </c:pt>
                <c:pt idx="1">
                  <c:v>0.55621474421318806</c:v>
                </c:pt>
                <c:pt idx="2">
                  <c:v>0.76040113250772656</c:v>
                </c:pt>
                <c:pt idx="3">
                  <c:v>0.92941278177613518</c:v>
                </c:pt>
                <c:pt idx="4">
                  <c:v>0.97227085089368692</c:v>
                </c:pt>
                <c:pt idx="5">
                  <c:v>0.98142384750048628</c:v>
                </c:pt>
                <c:pt idx="6">
                  <c:v>0.99002571916401905</c:v>
                </c:pt>
                <c:pt idx="7">
                  <c:v>0.99507229462491076</c:v>
                </c:pt>
                <c:pt idx="8">
                  <c:v>0.99693099051200584</c:v>
                </c:pt>
                <c:pt idx="9">
                  <c:v>0.99820614234152449</c:v>
                </c:pt>
                <c:pt idx="10">
                  <c:v>0.99897339471352298</c:v>
                </c:pt>
                <c:pt idx="11">
                  <c:v>0.9995569387710993</c:v>
                </c:pt>
                <c:pt idx="12">
                  <c:v>0.99990274265707046</c:v>
                </c:pt>
                <c:pt idx="13">
                  <c:v>0.99999999999999989</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13</c:f>
              <c:strCache>
                <c:ptCount val="12"/>
                <c:pt idx="0">
                  <c:v>Bouvet-Ladu</c:v>
                </c:pt>
                <c:pt idx="1">
                  <c:v>French Bloo</c:v>
                </c:pt>
                <c:pt idx="2">
                  <c:v>All Others</c:v>
                </c:pt>
                <c:pt idx="3">
                  <c:v>De Chanceny</c:v>
                </c:pt>
                <c:pt idx="4">
                  <c:v>All Others</c:v>
                </c:pt>
                <c:pt idx="5">
                  <c:v>Bouvet-Ladu</c:v>
                </c:pt>
                <c:pt idx="6">
                  <c:v>Bouvet-Ladu</c:v>
                </c:pt>
                <c:pt idx="7">
                  <c:v>Bouvet-Ladu</c:v>
                </c:pt>
                <c:pt idx="8">
                  <c:v>All Others</c:v>
                </c:pt>
                <c:pt idx="9">
                  <c:v>All Others</c:v>
                </c:pt>
                <c:pt idx="10">
                  <c:v>Bouvet-Ladu</c:v>
                </c:pt>
                <c:pt idx="11">
                  <c:v>All Others</c:v>
                </c:pt>
              </c:strCache>
            </c:strRef>
          </c:cat>
          <c:val>
            <c:numRef>
              <c:f>Sheet1!$B$2:$B$13</c:f>
              <c:numCache>
                <c:formatCode>General</c:formatCode>
                <c:ptCount val="12"/>
                <c:pt idx="0">
                  <c:v>0.68</c:v>
                </c:pt>
                <c:pt idx="1">
                  <c:v>0.7</c:v>
                </c:pt>
                <c:pt idx="2">
                  <c:v>0.51</c:v>
                </c:pt>
                <c:pt idx="3">
                  <c:v>0.43</c:v>
                </c:pt>
                <c:pt idx="4">
                  <c:v>0.26</c:v>
                </c:pt>
                <c:pt idx="5">
                  <c:v>0.23</c:v>
                </c:pt>
                <c:pt idx="6">
                  <c:v>0.21</c:v>
                </c:pt>
                <c:pt idx="7">
                  <c:v>0.22</c:v>
                </c:pt>
                <c:pt idx="8">
                  <c:v>0.16</c:v>
                </c:pt>
                <c:pt idx="9">
                  <c:v>0.09</c:v>
                </c:pt>
                <c:pt idx="10">
                  <c:v>0.02</c:v>
                </c:pt>
                <c:pt idx="11">
                  <c:v>0.13</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7ECAC4"/>
              </a:solidFill>
            </c:spPr>
            <c:extLst>
              <c:ext xmlns:c16="http://schemas.microsoft.com/office/drawing/2014/chart" uri="{C3380CC4-5D6E-409C-BE32-E72D297353CC}">
                <c16:uniqueId val="{0000000C-C76F-4230-900D-40618C09729F}"/>
              </c:ext>
            </c:extLst>
          </c:dPt>
          <c:dPt>
            <c:idx val="4"/>
            <c:invertIfNegative val="0"/>
            <c:bubble3D val="0"/>
            <c:spPr>
              <a:solidFill>
                <a:srgbClr val="AEABAB"/>
              </a:solidFill>
            </c:spPr>
            <c:extLst>
              <c:ext xmlns:c16="http://schemas.microsoft.com/office/drawing/2014/chart" uri="{C3380CC4-5D6E-409C-BE32-E72D297353CC}">
                <c16:uniqueId val="{0000000E-C76F-4230-900D-40618C09729F}"/>
              </c:ext>
            </c:extLst>
          </c:dPt>
          <c:dPt>
            <c:idx val="5"/>
            <c:invertIfNegative val="0"/>
            <c:bubble3D val="0"/>
            <c:spPr>
              <a:solidFill>
                <a:srgbClr val="AEABAB"/>
              </a:solidFill>
            </c:spPr>
            <c:extLst>
              <c:ext xmlns:c16="http://schemas.microsoft.com/office/drawing/2014/chart" uri="{C3380CC4-5D6E-409C-BE32-E72D297353CC}">
                <c16:uniqueId val="{00000010-C76F-4230-900D-40618C09729F}"/>
              </c:ext>
            </c:extLst>
          </c:dPt>
          <c:dPt>
            <c:idx val="6"/>
            <c:invertIfNegative val="1"/>
            <c:bubble3D val="0"/>
            <c:spPr>
              <a:solidFill>
                <a:srgbClr val="AEABAB"/>
              </a:solidFill>
            </c:spPr>
            <c:extLst>
              <c:ext xmlns:c16="http://schemas.microsoft.com/office/drawing/2014/chart" uri="{C3380CC4-5D6E-409C-BE32-E72D297353CC}">
                <c16:uniqueId val="{00000045-2993-41DE-A2CB-63102DE87051}"/>
              </c:ext>
            </c:extLst>
          </c:dPt>
          <c:dPt>
            <c:idx val="7"/>
            <c:invertIfNegative val="1"/>
            <c:bubble3D val="0"/>
            <c:spPr>
              <a:solidFill>
                <a:srgbClr val="AEABAB"/>
              </a:solidFill>
            </c:spPr>
            <c:extLst>
              <c:ext xmlns:c16="http://schemas.microsoft.com/office/drawing/2014/chart" uri="{C3380CC4-5D6E-409C-BE32-E72D297353CC}">
                <c16:uniqueId val="{00000047-2993-41DE-A2CB-63102DE87051}"/>
              </c:ext>
            </c:extLst>
          </c:dPt>
          <c:dPt>
            <c:idx val="8"/>
            <c:invertIfNegative val="1"/>
            <c:bubble3D val="0"/>
            <c:spPr>
              <a:solidFill>
                <a:srgbClr val="AEABAB"/>
              </a:solidFill>
            </c:spPr>
            <c:extLst>
              <c:ext xmlns:c16="http://schemas.microsoft.com/office/drawing/2014/chart" uri="{C3380CC4-5D6E-409C-BE32-E72D297353CC}">
                <c16:uniqueId val="{00000049-2993-41DE-A2CB-63102DE87051}"/>
              </c:ext>
            </c:extLst>
          </c:dPt>
          <c:dPt>
            <c:idx val="9"/>
            <c:invertIfNegative val="1"/>
            <c:bubble3D val="0"/>
            <c:spPr>
              <a:solidFill>
                <a:srgbClr val="AEABAB"/>
              </a:solidFill>
            </c:spPr>
            <c:extLst>
              <c:ext xmlns:c16="http://schemas.microsoft.com/office/drawing/2014/chart" uri="{C3380CC4-5D6E-409C-BE32-E72D297353CC}">
                <c16:uniqueId val="{0000004B-2993-41DE-A2CB-63102DE87051}"/>
              </c:ext>
            </c:extLst>
          </c:dPt>
          <c:dPt>
            <c:idx val="10"/>
            <c:invertIfNegative val="1"/>
            <c:bubble3D val="0"/>
            <c:spPr>
              <a:solidFill>
                <a:srgbClr val="AEABAB"/>
              </a:solidFill>
            </c:spPr>
            <c:extLst>
              <c:ext xmlns:c16="http://schemas.microsoft.com/office/drawing/2014/chart" uri="{C3380CC4-5D6E-409C-BE32-E72D297353CC}">
                <c16:uniqueId val="{0000004D-2993-41DE-A2CB-63102DE87051}"/>
              </c:ext>
            </c:extLst>
          </c:dPt>
          <c:dPt>
            <c:idx val="11"/>
            <c:invertIfNegative val="1"/>
            <c:bubble3D val="0"/>
            <c:spPr>
              <a:solidFill>
                <a:srgbClr val="AEABAB"/>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13</c:f>
              <c:strCache>
                <c:ptCount val="12"/>
                <c:pt idx="0">
                  <c:v>Bouvet-Ladu</c:v>
                </c:pt>
                <c:pt idx="1">
                  <c:v>French Bloo</c:v>
                </c:pt>
                <c:pt idx="2">
                  <c:v>All Others</c:v>
                </c:pt>
                <c:pt idx="3">
                  <c:v>De Chanceny</c:v>
                </c:pt>
                <c:pt idx="4">
                  <c:v>All Others</c:v>
                </c:pt>
                <c:pt idx="5">
                  <c:v>Bouvet-Ladu</c:v>
                </c:pt>
                <c:pt idx="6">
                  <c:v>Bouvet-Ladu</c:v>
                </c:pt>
                <c:pt idx="7">
                  <c:v>Bouvet-Ladu</c:v>
                </c:pt>
                <c:pt idx="8">
                  <c:v>All Others</c:v>
                </c:pt>
                <c:pt idx="9">
                  <c:v>All Others</c:v>
                </c:pt>
                <c:pt idx="10">
                  <c:v>Bouvet-Ladu</c:v>
                </c:pt>
                <c:pt idx="11">
                  <c:v>All Others</c:v>
                </c:pt>
              </c:strCache>
            </c:strRef>
          </c:cat>
          <c:val>
            <c:numRef>
              <c:f>Sheet1!$C$2:$C$13</c:f>
              <c:numCache>
                <c:formatCode>General</c:formatCode>
                <c:ptCount val="12"/>
                <c:pt idx="0">
                  <c:v>0.36661981179961733</c:v>
                </c:pt>
                <c:pt idx="1">
                  <c:v>0.68632618796610823</c:v>
                </c:pt>
                <c:pt idx="2">
                  <c:v>0.8081097965717855</c:v>
                </c:pt>
                <c:pt idx="3">
                  <c:v>0.91687165671000737</c:v>
                </c:pt>
                <c:pt idx="4">
                  <c:v>0.96171566904845573</c:v>
                </c:pt>
                <c:pt idx="5">
                  <c:v>0.97327320292062003</c:v>
                </c:pt>
                <c:pt idx="6">
                  <c:v>0.98375697942290419</c:v>
                </c:pt>
                <c:pt idx="7">
                  <c:v>0.99078520948030135</c:v>
                </c:pt>
                <c:pt idx="8">
                  <c:v>0.99701300222560607</c:v>
                </c:pt>
                <c:pt idx="9">
                  <c:v>0.99826246534692109</c:v>
                </c:pt>
                <c:pt idx="10">
                  <c:v>0.99916051696536634</c:v>
                </c:pt>
                <c:pt idx="11">
                  <c:v>0.99999999999999989</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4</c:f>
              <c:strCache>
                <c:ptCount val="23"/>
                <c:pt idx="0">
                  <c:v>Bouvet-Ladu</c:v>
                </c:pt>
                <c:pt idx="1">
                  <c:v>French Bloo</c:v>
                </c:pt>
                <c:pt idx="2">
                  <c:v>De Chanceny</c:v>
                </c:pt>
                <c:pt idx="3">
                  <c:v>All Others</c:v>
                </c:pt>
                <c:pt idx="4">
                  <c:v>All Others</c:v>
                </c:pt>
                <c:pt idx="5">
                  <c:v>All Others</c:v>
                </c:pt>
                <c:pt idx="6">
                  <c:v>All Others</c:v>
                </c:pt>
                <c:pt idx="7">
                  <c:v>All Others</c:v>
                </c:pt>
                <c:pt idx="8">
                  <c:v>All Others</c:v>
                </c:pt>
                <c:pt idx="9">
                  <c:v>All Others</c:v>
                </c:pt>
                <c:pt idx="10">
                  <c:v>Bouvet-Ladu</c:v>
                </c:pt>
                <c:pt idx="11">
                  <c:v>All Others</c:v>
                </c:pt>
                <c:pt idx="12">
                  <c:v>Bouvet-Ladu</c:v>
                </c:pt>
                <c:pt idx="13">
                  <c:v>All Others</c:v>
                </c:pt>
                <c:pt idx="14">
                  <c:v>All Others</c:v>
                </c:pt>
                <c:pt idx="15">
                  <c:v>Bouvet-Ladu</c:v>
                </c:pt>
                <c:pt idx="16">
                  <c:v>All Others</c:v>
                </c:pt>
                <c:pt idx="17">
                  <c:v>All Others</c:v>
                </c:pt>
                <c:pt idx="18">
                  <c:v>Bouvet-Ladu</c:v>
                </c:pt>
                <c:pt idx="19">
                  <c:v>All Others</c:v>
                </c:pt>
                <c:pt idx="20">
                  <c:v>All Others</c:v>
                </c:pt>
                <c:pt idx="21">
                  <c:v>All Others</c:v>
                </c:pt>
                <c:pt idx="22">
                  <c:v>All Others</c:v>
                </c:pt>
              </c:strCache>
            </c:strRef>
          </c:cat>
          <c:val>
            <c:numRef>
              <c:f>Sheet1!$B$2:$B$24</c:f>
              <c:numCache>
                <c:formatCode>General</c:formatCode>
                <c:ptCount val="23"/>
                <c:pt idx="0">
                  <c:v>0.73</c:v>
                </c:pt>
                <c:pt idx="1">
                  <c:v>0.74</c:v>
                </c:pt>
                <c:pt idx="2">
                  <c:v>0.46</c:v>
                </c:pt>
                <c:pt idx="3">
                  <c:v>0.05</c:v>
                </c:pt>
                <c:pt idx="4">
                  <c:v>0.62</c:v>
                </c:pt>
                <c:pt idx="5">
                  <c:v>0.47</c:v>
                </c:pt>
                <c:pt idx="6">
                  <c:v>0.09</c:v>
                </c:pt>
                <c:pt idx="7">
                  <c:v>0.04</c:v>
                </c:pt>
                <c:pt idx="8">
                  <c:v>0.05</c:v>
                </c:pt>
                <c:pt idx="9">
                  <c:v>0.04</c:v>
                </c:pt>
                <c:pt idx="10">
                  <c:v>0.13</c:v>
                </c:pt>
                <c:pt idx="11">
                  <c:v>0.22</c:v>
                </c:pt>
                <c:pt idx="12">
                  <c:v>0.11</c:v>
                </c:pt>
                <c:pt idx="13">
                  <c:v>0.04</c:v>
                </c:pt>
                <c:pt idx="14">
                  <c:v>0.05</c:v>
                </c:pt>
                <c:pt idx="15">
                  <c:v>0.1</c:v>
                </c:pt>
                <c:pt idx="16">
                  <c:v>0.04</c:v>
                </c:pt>
                <c:pt idx="17">
                  <c:v>0.03</c:v>
                </c:pt>
                <c:pt idx="18">
                  <c:v>0.03</c:v>
                </c:pt>
                <c:pt idx="19">
                  <c:v>0.03</c:v>
                </c:pt>
                <c:pt idx="20">
                  <c:v>0.03</c:v>
                </c:pt>
                <c:pt idx="21">
                  <c:v>0.02</c:v>
                </c:pt>
                <c:pt idx="22">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7ECAC4"/>
              </a:solidFill>
            </c:spPr>
            <c:extLst>
              <c:ext xmlns:c16="http://schemas.microsoft.com/office/drawing/2014/chart" uri="{C3380CC4-5D6E-409C-BE32-E72D297353CC}">
                <c16:uniqueId val="{00000045-2993-41DE-A2CB-63102DE87051}"/>
              </c:ext>
            </c:extLst>
          </c:dPt>
          <c:dPt>
            <c:idx val="7"/>
            <c:invertIfNegative val="1"/>
            <c:bubble3D val="0"/>
            <c:spPr>
              <a:solidFill>
                <a:srgbClr val="7ECAC4"/>
              </a:solidFill>
            </c:spPr>
            <c:extLst>
              <c:ext xmlns:c16="http://schemas.microsoft.com/office/drawing/2014/chart" uri="{C3380CC4-5D6E-409C-BE32-E72D297353CC}">
                <c16:uniqueId val="{00000047-2993-41DE-A2CB-63102DE87051}"/>
              </c:ext>
            </c:extLst>
          </c:dPt>
          <c:dPt>
            <c:idx val="8"/>
            <c:invertIfNegative val="1"/>
            <c:bubble3D val="0"/>
            <c:spPr>
              <a:solidFill>
                <a:srgbClr val="7ECAC4"/>
              </a:solidFill>
            </c:spPr>
            <c:extLst>
              <c:ext xmlns:c16="http://schemas.microsoft.com/office/drawing/2014/chart" uri="{C3380CC4-5D6E-409C-BE32-E72D297353CC}">
                <c16:uniqueId val="{00000049-2993-41DE-A2CB-63102DE87051}"/>
              </c:ext>
            </c:extLst>
          </c:dPt>
          <c:dPt>
            <c:idx val="9"/>
            <c:invertIfNegative val="1"/>
            <c:bubble3D val="0"/>
            <c:spPr>
              <a:solidFill>
                <a:srgbClr val="7ECAC4"/>
              </a:solidFill>
            </c:spPr>
            <c:extLst>
              <c:ext xmlns:c16="http://schemas.microsoft.com/office/drawing/2014/chart" uri="{C3380CC4-5D6E-409C-BE32-E72D297353CC}">
                <c16:uniqueId val="{0000004B-2993-41DE-A2CB-63102DE87051}"/>
              </c:ext>
            </c:extLst>
          </c:dPt>
          <c:dPt>
            <c:idx val="10"/>
            <c:invertIfNegative val="1"/>
            <c:bubble3D val="0"/>
            <c:spPr>
              <a:solidFill>
                <a:srgbClr val="AEABAB"/>
              </a:solidFill>
            </c:spPr>
            <c:extLst>
              <c:ext xmlns:c16="http://schemas.microsoft.com/office/drawing/2014/chart" uri="{C3380CC4-5D6E-409C-BE32-E72D297353CC}">
                <c16:uniqueId val="{0000004D-2993-41DE-A2CB-63102DE87051}"/>
              </c:ext>
            </c:extLst>
          </c:dPt>
          <c:dPt>
            <c:idx val="11"/>
            <c:invertIfNegative val="1"/>
            <c:bubble3D val="0"/>
            <c:spPr>
              <a:solidFill>
                <a:srgbClr val="AEABAB"/>
              </a:solidFill>
            </c:spPr>
            <c:extLst>
              <c:ext xmlns:c16="http://schemas.microsoft.com/office/drawing/2014/chart" uri="{C3380CC4-5D6E-409C-BE32-E72D297353CC}">
                <c16:uniqueId val="{0000004F-2993-41DE-A2CB-63102DE87051}"/>
              </c:ext>
            </c:extLst>
          </c:dPt>
          <c:dPt>
            <c:idx val="12"/>
            <c:invertIfNegative val="1"/>
            <c:bubble3D val="0"/>
            <c:spPr>
              <a:solidFill>
                <a:srgbClr val="AEABAB"/>
              </a:solidFill>
            </c:spPr>
            <c:extLst>
              <c:ext xmlns:c16="http://schemas.microsoft.com/office/drawing/2014/chart" uri="{C3380CC4-5D6E-409C-BE32-E72D297353CC}">
                <c16:uniqueId val="{00000051-2993-41DE-A2CB-63102DE87051}"/>
              </c:ext>
            </c:extLst>
          </c:dPt>
          <c:dPt>
            <c:idx val="13"/>
            <c:invertIfNegative val="1"/>
            <c:bubble3D val="0"/>
            <c:spPr>
              <a:solidFill>
                <a:srgbClr val="AEABAB"/>
              </a:solidFill>
            </c:spPr>
            <c:extLst>
              <c:ext xmlns:c16="http://schemas.microsoft.com/office/drawing/2014/chart" uri="{C3380CC4-5D6E-409C-BE32-E72D297353CC}">
                <c16:uniqueId val="{00000053-2993-41DE-A2CB-63102DE87051}"/>
              </c:ext>
            </c:extLst>
          </c:dPt>
          <c:dPt>
            <c:idx val="14"/>
            <c:invertIfNegative val="1"/>
            <c:bubble3D val="0"/>
            <c:spPr>
              <a:solidFill>
                <a:srgbClr val="AEABAB"/>
              </a:solidFill>
            </c:spPr>
            <c:extLst>
              <c:ext xmlns:c16="http://schemas.microsoft.com/office/drawing/2014/chart" uri="{C3380CC4-5D6E-409C-BE32-E72D297353CC}">
                <c16:uniqueId val="{00000055-2993-41DE-A2CB-63102DE87051}"/>
              </c:ext>
            </c:extLst>
          </c:dPt>
          <c:dPt>
            <c:idx val="15"/>
            <c:invertIfNegative val="1"/>
            <c:bubble3D val="0"/>
            <c:spPr>
              <a:solidFill>
                <a:srgbClr val="AEABAB"/>
              </a:solidFill>
            </c:spPr>
            <c:extLst>
              <c:ext xmlns:c16="http://schemas.microsoft.com/office/drawing/2014/chart" uri="{C3380CC4-5D6E-409C-BE32-E72D297353CC}">
                <c16:uniqueId val="{00000057-2993-41DE-A2CB-63102DE87051}"/>
              </c:ext>
            </c:extLst>
          </c:dPt>
          <c:dPt>
            <c:idx val="16"/>
            <c:invertIfNegative val="1"/>
            <c:bubble3D val="0"/>
            <c:spPr>
              <a:solidFill>
                <a:srgbClr val="AEABAB"/>
              </a:solidFill>
            </c:spPr>
            <c:extLst>
              <c:ext xmlns:c16="http://schemas.microsoft.com/office/drawing/2014/chart" uri="{C3380CC4-5D6E-409C-BE32-E72D297353CC}">
                <c16:uniqueId val="{00000059-2993-41DE-A2CB-63102DE87051}"/>
              </c:ext>
            </c:extLst>
          </c:dPt>
          <c:dPt>
            <c:idx val="17"/>
            <c:invertIfNegative val="1"/>
            <c:bubble3D val="0"/>
            <c:spPr>
              <a:solidFill>
                <a:srgbClr val="AEABAB"/>
              </a:solidFill>
            </c:spPr>
            <c:extLst>
              <c:ext xmlns:c16="http://schemas.microsoft.com/office/drawing/2014/chart" uri="{C3380CC4-5D6E-409C-BE32-E72D297353CC}">
                <c16:uniqueId val="{0000005B-2993-41DE-A2CB-63102DE87051}"/>
              </c:ext>
            </c:extLst>
          </c:dPt>
          <c:dPt>
            <c:idx val="18"/>
            <c:invertIfNegative val="1"/>
            <c:bubble3D val="0"/>
            <c:spPr>
              <a:solidFill>
                <a:srgbClr val="AEABAB"/>
              </a:solidFill>
            </c:spPr>
            <c:extLst>
              <c:ext xmlns:c16="http://schemas.microsoft.com/office/drawing/2014/chart" uri="{C3380CC4-5D6E-409C-BE32-E72D297353CC}">
                <c16:uniqueId val="{0000005D-2993-41DE-A2CB-63102DE87051}"/>
              </c:ext>
            </c:extLst>
          </c:dPt>
          <c:dPt>
            <c:idx val="19"/>
            <c:invertIfNegative val="1"/>
            <c:bubble3D val="0"/>
            <c:spPr>
              <a:solidFill>
                <a:srgbClr val="AEABAB"/>
              </a:solidFill>
            </c:spPr>
            <c:extLst>
              <c:ext xmlns:c16="http://schemas.microsoft.com/office/drawing/2014/chart" uri="{C3380CC4-5D6E-409C-BE32-E72D297353CC}">
                <c16:uniqueId val="{0000005F-2993-41DE-A2CB-63102DE87051}"/>
              </c:ext>
            </c:extLst>
          </c:dPt>
          <c:dPt>
            <c:idx val="20"/>
            <c:invertIfNegative val="1"/>
            <c:bubble3D val="0"/>
            <c:spPr>
              <a:solidFill>
                <a:srgbClr val="AEABAB"/>
              </a:solidFill>
            </c:spPr>
            <c:extLst>
              <c:ext xmlns:c16="http://schemas.microsoft.com/office/drawing/2014/chart" uri="{C3380CC4-5D6E-409C-BE32-E72D297353CC}">
                <c16:uniqueId val="{00000061-2993-41DE-A2CB-63102DE87051}"/>
              </c:ext>
            </c:extLst>
          </c:dPt>
          <c:dPt>
            <c:idx val="21"/>
            <c:invertIfNegative val="1"/>
            <c:bubble3D val="0"/>
            <c:spPr>
              <a:solidFill>
                <a:srgbClr val="AEABAB"/>
              </a:solidFill>
            </c:spPr>
            <c:extLst>
              <c:ext xmlns:c16="http://schemas.microsoft.com/office/drawing/2014/chart" uri="{C3380CC4-5D6E-409C-BE32-E72D297353CC}">
                <c16:uniqueId val="{00000063-2993-41DE-A2CB-63102DE87051}"/>
              </c:ext>
            </c:extLst>
          </c:dPt>
          <c:dPt>
            <c:idx val="22"/>
            <c:invertIfNegative val="1"/>
            <c:bubble3D val="0"/>
            <c:spPr>
              <a:solidFill>
                <a:srgbClr val="AEABAB"/>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4</c:f>
              <c:strCache>
                <c:ptCount val="23"/>
                <c:pt idx="0">
                  <c:v>Bouvet-Ladu</c:v>
                </c:pt>
                <c:pt idx="1">
                  <c:v>French Bloo</c:v>
                </c:pt>
                <c:pt idx="2">
                  <c:v>De Chanceny</c:v>
                </c:pt>
                <c:pt idx="3">
                  <c:v>All Others</c:v>
                </c:pt>
                <c:pt idx="4">
                  <c:v>All Others</c:v>
                </c:pt>
                <c:pt idx="5">
                  <c:v>All Others</c:v>
                </c:pt>
                <c:pt idx="6">
                  <c:v>All Others</c:v>
                </c:pt>
                <c:pt idx="7">
                  <c:v>All Others</c:v>
                </c:pt>
                <c:pt idx="8">
                  <c:v>All Others</c:v>
                </c:pt>
                <c:pt idx="9">
                  <c:v>All Others</c:v>
                </c:pt>
                <c:pt idx="10">
                  <c:v>Bouvet-Ladu</c:v>
                </c:pt>
                <c:pt idx="11">
                  <c:v>All Others</c:v>
                </c:pt>
                <c:pt idx="12">
                  <c:v>Bouvet-Ladu</c:v>
                </c:pt>
                <c:pt idx="13">
                  <c:v>All Others</c:v>
                </c:pt>
                <c:pt idx="14">
                  <c:v>All Others</c:v>
                </c:pt>
                <c:pt idx="15">
                  <c:v>Bouvet-Ladu</c:v>
                </c:pt>
                <c:pt idx="16">
                  <c:v>All Others</c:v>
                </c:pt>
                <c:pt idx="17">
                  <c:v>All Others</c:v>
                </c:pt>
                <c:pt idx="18">
                  <c:v>Bouvet-Ladu</c:v>
                </c:pt>
                <c:pt idx="19">
                  <c:v>All Others</c:v>
                </c:pt>
                <c:pt idx="20">
                  <c:v>All Others</c:v>
                </c:pt>
                <c:pt idx="21">
                  <c:v>All Others</c:v>
                </c:pt>
                <c:pt idx="22">
                  <c:v>All Others</c:v>
                </c:pt>
              </c:strCache>
            </c:strRef>
          </c:cat>
          <c:val>
            <c:numRef>
              <c:f>Sheet1!$C$2:$C$24</c:f>
              <c:numCache>
                <c:formatCode>General</c:formatCode>
                <c:ptCount val="23"/>
                <c:pt idx="0">
                  <c:v>0.32586967059855498</c:v>
                </c:pt>
                <c:pt idx="1">
                  <c:v>0.5175549964220586</c:v>
                </c:pt>
                <c:pt idx="2">
                  <c:v>0.62650908335449318</c:v>
                </c:pt>
                <c:pt idx="3">
                  <c:v>0.72798411855681999</c:v>
                </c:pt>
                <c:pt idx="4">
                  <c:v>0.79859652362595501</c:v>
                </c:pt>
                <c:pt idx="5">
                  <c:v>0.8387156344498049</c:v>
                </c:pt>
                <c:pt idx="6">
                  <c:v>0.86969368204796749</c:v>
                </c:pt>
                <c:pt idx="7">
                  <c:v>0.89891738417857392</c:v>
                </c:pt>
                <c:pt idx="8">
                  <c:v>0.92370905565430161</c:v>
                </c:pt>
                <c:pt idx="9">
                  <c:v>0.94240668497957114</c:v>
                </c:pt>
                <c:pt idx="10">
                  <c:v>0.95579511091618385</c:v>
                </c:pt>
                <c:pt idx="11">
                  <c:v>0.96752152535721703</c:v>
                </c:pt>
                <c:pt idx="12">
                  <c:v>0.97758592830267077</c:v>
                </c:pt>
                <c:pt idx="13">
                  <c:v>0.98471872763786616</c:v>
                </c:pt>
                <c:pt idx="14">
                  <c:v>0.99150527457814919</c:v>
                </c:pt>
                <c:pt idx="15">
                  <c:v>0.99568338681009216</c:v>
                </c:pt>
                <c:pt idx="16">
                  <c:v>0.99759931672860747</c:v>
                </c:pt>
                <c:pt idx="17">
                  <c:v>0.99817640405346142</c:v>
                </c:pt>
                <c:pt idx="18">
                  <c:v>0.99870732439232712</c:v>
                </c:pt>
                <c:pt idx="19">
                  <c:v>0.99912282726622204</c:v>
                </c:pt>
                <c:pt idx="20">
                  <c:v>0.99949216315412859</c:v>
                </c:pt>
                <c:pt idx="21">
                  <c:v>0.99979224856305271</c:v>
                </c:pt>
                <c:pt idx="22">
                  <c:v>1.0000000000000002</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16</c:f>
              <c:strCache>
                <c:ptCount val="15"/>
                <c:pt idx="0">
                  <c:v>French Bloo</c:v>
                </c:pt>
                <c:pt idx="1">
                  <c:v>Bouvet-Ladu</c:v>
                </c:pt>
                <c:pt idx="2">
                  <c:v>De Chanceny</c:v>
                </c:pt>
                <c:pt idx="3">
                  <c:v>All Others</c:v>
                </c:pt>
                <c:pt idx="4">
                  <c:v>All Others</c:v>
                </c:pt>
                <c:pt idx="5">
                  <c:v>Bouvet-Ladu</c:v>
                </c:pt>
                <c:pt idx="6">
                  <c:v>Bouvet-Ladu</c:v>
                </c:pt>
                <c:pt idx="7">
                  <c:v>All Others</c:v>
                </c:pt>
                <c:pt idx="8">
                  <c:v>Bouvet-Ladu</c:v>
                </c:pt>
                <c:pt idx="9">
                  <c:v>Bouvet-Ladu</c:v>
                </c:pt>
                <c:pt idx="10">
                  <c:v>Bouvet-Ladu</c:v>
                </c:pt>
                <c:pt idx="11">
                  <c:v>All Others</c:v>
                </c:pt>
                <c:pt idx="12">
                  <c:v>All Others</c:v>
                </c:pt>
                <c:pt idx="13">
                  <c:v>All Others</c:v>
                </c:pt>
                <c:pt idx="14">
                  <c:v>All Others</c:v>
                </c:pt>
              </c:strCache>
            </c:strRef>
          </c:cat>
          <c:val>
            <c:numRef>
              <c:f>Sheet1!$B$2:$B$16</c:f>
              <c:numCache>
                <c:formatCode>General</c:formatCode>
                <c:ptCount val="15"/>
                <c:pt idx="0">
                  <c:v>0.69</c:v>
                </c:pt>
                <c:pt idx="1">
                  <c:v>0.68</c:v>
                </c:pt>
                <c:pt idx="2">
                  <c:v>0.56999999999999995</c:v>
                </c:pt>
                <c:pt idx="3">
                  <c:v>0.43</c:v>
                </c:pt>
                <c:pt idx="4">
                  <c:v>0.23</c:v>
                </c:pt>
                <c:pt idx="5">
                  <c:v>7.0000000000000007E-2</c:v>
                </c:pt>
                <c:pt idx="6">
                  <c:v>0.09</c:v>
                </c:pt>
                <c:pt idx="7">
                  <c:v>7.0000000000000007E-2</c:v>
                </c:pt>
                <c:pt idx="8">
                  <c:v>0.05</c:v>
                </c:pt>
                <c:pt idx="9">
                  <c:v>0.01</c:v>
                </c:pt>
                <c:pt idx="10">
                  <c:v>0.01</c:v>
                </c:pt>
                <c:pt idx="11">
                  <c:v>0.01</c:v>
                </c:pt>
                <c:pt idx="12">
                  <c:v>0.01</c:v>
                </c:pt>
                <c:pt idx="13">
                  <c:v>0.01</c:v>
                </c:pt>
                <c:pt idx="14">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AEABAB"/>
              </a:solidFill>
            </c:spPr>
            <c:extLst>
              <c:ext xmlns:c16="http://schemas.microsoft.com/office/drawing/2014/chart" uri="{C3380CC4-5D6E-409C-BE32-E72D297353CC}">
                <c16:uniqueId val="{0000000E-C76F-4230-900D-40618C09729F}"/>
              </c:ext>
            </c:extLst>
          </c:dPt>
          <c:dPt>
            <c:idx val="5"/>
            <c:invertIfNegative val="0"/>
            <c:bubble3D val="0"/>
            <c:spPr>
              <a:solidFill>
                <a:srgbClr val="AEABAB"/>
              </a:solidFill>
            </c:spPr>
            <c:extLst>
              <c:ext xmlns:c16="http://schemas.microsoft.com/office/drawing/2014/chart" uri="{C3380CC4-5D6E-409C-BE32-E72D297353CC}">
                <c16:uniqueId val="{00000010-C76F-4230-900D-40618C09729F}"/>
              </c:ext>
            </c:extLst>
          </c:dPt>
          <c:dPt>
            <c:idx val="6"/>
            <c:invertIfNegative val="1"/>
            <c:bubble3D val="0"/>
            <c:spPr>
              <a:solidFill>
                <a:srgbClr val="AEABAB"/>
              </a:solidFill>
            </c:spPr>
            <c:extLst>
              <c:ext xmlns:c16="http://schemas.microsoft.com/office/drawing/2014/chart" uri="{C3380CC4-5D6E-409C-BE32-E72D297353CC}">
                <c16:uniqueId val="{00000045-2993-41DE-A2CB-63102DE87051}"/>
              </c:ext>
            </c:extLst>
          </c:dPt>
          <c:dPt>
            <c:idx val="7"/>
            <c:invertIfNegative val="1"/>
            <c:bubble3D val="0"/>
            <c:spPr>
              <a:solidFill>
                <a:srgbClr val="AEABAB"/>
              </a:solidFill>
            </c:spPr>
            <c:extLst>
              <c:ext xmlns:c16="http://schemas.microsoft.com/office/drawing/2014/chart" uri="{C3380CC4-5D6E-409C-BE32-E72D297353CC}">
                <c16:uniqueId val="{00000047-2993-41DE-A2CB-63102DE87051}"/>
              </c:ext>
            </c:extLst>
          </c:dPt>
          <c:dPt>
            <c:idx val="8"/>
            <c:invertIfNegative val="1"/>
            <c:bubble3D val="0"/>
            <c:spPr>
              <a:solidFill>
                <a:srgbClr val="AEABAB"/>
              </a:solidFill>
            </c:spPr>
            <c:extLst>
              <c:ext xmlns:c16="http://schemas.microsoft.com/office/drawing/2014/chart" uri="{C3380CC4-5D6E-409C-BE32-E72D297353CC}">
                <c16:uniqueId val="{00000049-2993-41DE-A2CB-63102DE87051}"/>
              </c:ext>
            </c:extLst>
          </c:dPt>
          <c:dPt>
            <c:idx val="9"/>
            <c:invertIfNegative val="1"/>
            <c:bubble3D val="0"/>
            <c:spPr>
              <a:solidFill>
                <a:srgbClr val="AEABAB"/>
              </a:solidFill>
            </c:spPr>
            <c:extLst>
              <c:ext xmlns:c16="http://schemas.microsoft.com/office/drawing/2014/chart" uri="{C3380CC4-5D6E-409C-BE32-E72D297353CC}">
                <c16:uniqueId val="{0000004B-2993-41DE-A2CB-63102DE87051}"/>
              </c:ext>
            </c:extLst>
          </c:dPt>
          <c:dPt>
            <c:idx val="10"/>
            <c:invertIfNegative val="1"/>
            <c:bubble3D val="0"/>
            <c:spPr>
              <a:solidFill>
                <a:srgbClr val="AEABAB"/>
              </a:solidFill>
            </c:spPr>
            <c:extLst>
              <c:ext xmlns:c16="http://schemas.microsoft.com/office/drawing/2014/chart" uri="{C3380CC4-5D6E-409C-BE32-E72D297353CC}">
                <c16:uniqueId val="{0000004D-2993-41DE-A2CB-63102DE87051}"/>
              </c:ext>
            </c:extLst>
          </c:dPt>
          <c:dPt>
            <c:idx val="11"/>
            <c:invertIfNegative val="1"/>
            <c:bubble3D val="0"/>
            <c:spPr>
              <a:solidFill>
                <a:srgbClr val="AEABAB"/>
              </a:solidFill>
            </c:spPr>
            <c:extLst>
              <c:ext xmlns:c16="http://schemas.microsoft.com/office/drawing/2014/chart" uri="{C3380CC4-5D6E-409C-BE32-E72D297353CC}">
                <c16:uniqueId val="{0000004F-2993-41DE-A2CB-63102DE87051}"/>
              </c:ext>
            </c:extLst>
          </c:dPt>
          <c:dPt>
            <c:idx val="12"/>
            <c:invertIfNegative val="1"/>
            <c:bubble3D val="0"/>
            <c:spPr>
              <a:solidFill>
                <a:srgbClr val="AEABAB"/>
              </a:solidFill>
            </c:spPr>
            <c:extLst>
              <c:ext xmlns:c16="http://schemas.microsoft.com/office/drawing/2014/chart" uri="{C3380CC4-5D6E-409C-BE32-E72D297353CC}">
                <c16:uniqueId val="{00000051-2993-41DE-A2CB-63102DE87051}"/>
              </c:ext>
            </c:extLst>
          </c:dPt>
          <c:dPt>
            <c:idx val="13"/>
            <c:invertIfNegative val="1"/>
            <c:bubble3D val="0"/>
            <c:spPr>
              <a:solidFill>
                <a:srgbClr val="AEABAB"/>
              </a:solidFill>
            </c:spPr>
            <c:extLst>
              <c:ext xmlns:c16="http://schemas.microsoft.com/office/drawing/2014/chart" uri="{C3380CC4-5D6E-409C-BE32-E72D297353CC}">
                <c16:uniqueId val="{00000053-2993-41DE-A2CB-63102DE87051}"/>
              </c:ext>
            </c:extLst>
          </c:dPt>
          <c:dPt>
            <c:idx val="14"/>
            <c:invertIfNegative val="1"/>
            <c:bubble3D val="0"/>
            <c:spPr>
              <a:solidFill>
                <a:srgbClr val="AEABAB"/>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16</c:f>
              <c:strCache>
                <c:ptCount val="15"/>
                <c:pt idx="0">
                  <c:v>French Bloo</c:v>
                </c:pt>
                <c:pt idx="1">
                  <c:v>Bouvet-Ladu</c:v>
                </c:pt>
                <c:pt idx="2">
                  <c:v>De Chanceny</c:v>
                </c:pt>
                <c:pt idx="3">
                  <c:v>All Others</c:v>
                </c:pt>
                <c:pt idx="4">
                  <c:v>All Others</c:v>
                </c:pt>
                <c:pt idx="5">
                  <c:v>Bouvet-Ladu</c:v>
                </c:pt>
                <c:pt idx="6">
                  <c:v>Bouvet-Ladu</c:v>
                </c:pt>
                <c:pt idx="7">
                  <c:v>All Others</c:v>
                </c:pt>
                <c:pt idx="8">
                  <c:v>Bouvet-Ladu</c:v>
                </c:pt>
                <c:pt idx="9">
                  <c:v>Bouvet-Ladu</c:v>
                </c:pt>
                <c:pt idx="10">
                  <c:v>Bouvet-Ladu</c:v>
                </c:pt>
                <c:pt idx="11">
                  <c:v>All Others</c:v>
                </c:pt>
                <c:pt idx="12">
                  <c:v>All Others</c:v>
                </c:pt>
                <c:pt idx="13">
                  <c:v>All Others</c:v>
                </c:pt>
                <c:pt idx="14">
                  <c:v>All Others</c:v>
                </c:pt>
              </c:strCache>
            </c:strRef>
          </c:cat>
          <c:val>
            <c:numRef>
              <c:f>Sheet1!$C$2:$C$16</c:f>
              <c:numCache>
                <c:formatCode>General</c:formatCode>
                <c:ptCount val="15"/>
                <c:pt idx="0">
                  <c:v>0.31859475408905846</c:v>
                </c:pt>
                <c:pt idx="1">
                  <c:v>0.59009263331110895</c:v>
                </c:pt>
                <c:pt idx="2">
                  <c:v>0.76426879264607839</c:v>
                </c:pt>
                <c:pt idx="3">
                  <c:v>0.91557459605918323</c:v>
                </c:pt>
                <c:pt idx="4">
                  <c:v>0.9643836976721093</c:v>
                </c:pt>
                <c:pt idx="5">
                  <c:v>0.97393641921892959</c:v>
                </c:pt>
                <c:pt idx="6">
                  <c:v>0.98243513540351535</c:v>
                </c:pt>
                <c:pt idx="7">
                  <c:v>0.99059481083228129</c:v>
                </c:pt>
                <c:pt idx="8">
                  <c:v>0.99748769381357016</c:v>
                </c:pt>
                <c:pt idx="9">
                  <c:v>0.99803668449349581</c:v>
                </c:pt>
                <c:pt idx="10">
                  <c:v>0.99848921169477822</c:v>
                </c:pt>
                <c:pt idx="11">
                  <c:v>0.99894032031549229</c:v>
                </c:pt>
                <c:pt idx="12">
                  <c:v>0.99962407614940485</c:v>
                </c:pt>
                <c:pt idx="13">
                  <c:v>0.99980281730100851</c:v>
                </c:pt>
                <c:pt idx="14">
                  <c:v>0.99992623381044921</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16</c:f>
              <c:strCache>
                <c:ptCount val="15"/>
                <c:pt idx="0">
                  <c:v>Bouvet-Ladu</c:v>
                </c:pt>
                <c:pt idx="1">
                  <c:v>French Bloo</c:v>
                </c:pt>
                <c:pt idx="2">
                  <c:v>De Chanceny</c:v>
                </c:pt>
                <c:pt idx="3">
                  <c:v>All Others</c:v>
                </c:pt>
                <c:pt idx="4">
                  <c:v>All Others</c:v>
                </c:pt>
                <c:pt idx="5">
                  <c:v>Bouvet-Ladu</c:v>
                </c:pt>
                <c:pt idx="6">
                  <c:v>Bouvet-Ladu</c:v>
                </c:pt>
                <c:pt idx="7">
                  <c:v>All Others</c:v>
                </c:pt>
                <c:pt idx="8">
                  <c:v>Bouvet-Ladu</c:v>
                </c:pt>
                <c:pt idx="9">
                  <c:v>Bouvet-Ladu</c:v>
                </c:pt>
                <c:pt idx="10">
                  <c:v>Bouvet-Ladu</c:v>
                </c:pt>
                <c:pt idx="11">
                  <c:v>All Others</c:v>
                </c:pt>
                <c:pt idx="12">
                  <c:v>All Others</c:v>
                </c:pt>
                <c:pt idx="13">
                  <c:v>All Others</c:v>
                </c:pt>
                <c:pt idx="14">
                  <c:v>All Others</c:v>
                </c:pt>
              </c:strCache>
            </c:strRef>
          </c:cat>
          <c:val>
            <c:numRef>
              <c:f>Sheet1!$B$2:$B$16</c:f>
              <c:numCache>
                <c:formatCode>General</c:formatCode>
                <c:ptCount val="15"/>
                <c:pt idx="0">
                  <c:v>0.66</c:v>
                </c:pt>
                <c:pt idx="1">
                  <c:v>0.63</c:v>
                </c:pt>
                <c:pt idx="2">
                  <c:v>0.43</c:v>
                </c:pt>
                <c:pt idx="3">
                  <c:v>0.46</c:v>
                </c:pt>
                <c:pt idx="4">
                  <c:v>0.35</c:v>
                </c:pt>
                <c:pt idx="5">
                  <c:v>0.12</c:v>
                </c:pt>
                <c:pt idx="6">
                  <c:v>0.09</c:v>
                </c:pt>
                <c:pt idx="7">
                  <c:v>0.17</c:v>
                </c:pt>
                <c:pt idx="8">
                  <c:v>0.06</c:v>
                </c:pt>
                <c:pt idx="9">
                  <c:v>0.06</c:v>
                </c:pt>
                <c:pt idx="10">
                  <c:v>0.01</c:v>
                </c:pt>
                <c:pt idx="11">
                  <c:v>0.01</c:v>
                </c:pt>
                <c:pt idx="12">
                  <c:v>0.02</c:v>
                </c:pt>
                <c:pt idx="13">
                  <c:v>0.01</c:v>
                </c:pt>
                <c:pt idx="14">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AEABAB"/>
              </a:solidFill>
            </c:spPr>
            <c:extLst>
              <c:ext xmlns:c16="http://schemas.microsoft.com/office/drawing/2014/chart" uri="{C3380CC4-5D6E-409C-BE32-E72D297353CC}">
                <c16:uniqueId val="{0000000E-C76F-4230-900D-40618C09729F}"/>
              </c:ext>
            </c:extLst>
          </c:dPt>
          <c:dPt>
            <c:idx val="5"/>
            <c:invertIfNegative val="0"/>
            <c:bubble3D val="0"/>
            <c:spPr>
              <a:solidFill>
                <a:srgbClr val="AEABAB"/>
              </a:solidFill>
            </c:spPr>
            <c:extLst>
              <c:ext xmlns:c16="http://schemas.microsoft.com/office/drawing/2014/chart" uri="{C3380CC4-5D6E-409C-BE32-E72D297353CC}">
                <c16:uniqueId val="{00000010-C76F-4230-900D-40618C09729F}"/>
              </c:ext>
            </c:extLst>
          </c:dPt>
          <c:dPt>
            <c:idx val="6"/>
            <c:invertIfNegative val="1"/>
            <c:bubble3D val="0"/>
            <c:spPr>
              <a:solidFill>
                <a:srgbClr val="AEABAB"/>
              </a:solidFill>
            </c:spPr>
            <c:extLst>
              <c:ext xmlns:c16="http://schemas.microsoft.com/office/drawing/2014/chart" uri="{C3380CC4-5D6E-409C-BE32-E72D297353CC}">
                <c16:uniqueId val="{00000045-2993-41DE-A2CB-63102DE87051}"/>
              </c:ext>
            </c:extLst>
          </c:dPt>
          <c:dPt>
            <c:idx val="7"/>
            <c:invertIfNegative val="1"/>
            <c:bubble3D val="0"/>
            <c:spPr>
              <a:solidFill>
                <a:srgbClr val="AEABAB"/>
              </a:solidFill>
            </c:spPr>
            <c:extLst>
              <c:ext xmlns:c16="http://schemas.microsoft.com/office/drawing/2014/chart" uri="{C3380CC4-5D6E-409C-BE32-E72D297353CC}">
                <c16:uniqueId val="{00000047-2993-41DE-A2CB-63102DE87051}"/>
              </c:ext>
            </c:extLst>
          </c:dPt>
          <c:dPt>
            <c:idx val="8"/>
            <c:invertIfNegative val="1"/>
            <c:bubble3D val="0"/>
            <c:spPr>
              <a:solidFill>
                <a:srgbClr val="AEABAB"/>
              </a:solidFill>
            </c:spPr>
            <c:extLst>
              <c:ext xmlns:c16="http://schemas.microsoft.com/office/drawing/2014/chart" uri="{C3380CC4-5D6E-409C-BE32-E72D297353CC}">
                <c16:uniqueId val="{00000049-2993-41DE-A2CB-63102DE87051}"/>
              </c:ext>
            </c:extLst>
          </c:dPt>
          <c:dPt>
            <c:idx val="9"/>
            <c:invertIfNegative val="1"/>
            <c:bubble3D val="0"/>
            <c:spPr>
              <a:solidFill>
                <a:srgbClr val="AEABAB"/>
              </a:solidFill>
            </c:spPr>
            <c:extLst>
              <c:ext xmlns:c16="http://schemas.microsoft.com/office/drawing/2014/chart" uri="{C3380CC4-5D6E-409C-BE32-E72D297353CC}">
                <c16:uniqueId val="{0000004B-2993-41DE-A2CB-63102DE87051}"/>
              </c:ext>
            </c:extLst>
          </c:dPt>
          <c:dPt>
            <c:idx val="10"/>
            <c:invertIfNegative val="1"/>
            <c:bubble3D val="0"/>
            <c:spPr>
              <a:solidFill>
                <a:srgbClr val="AEABAB"/>
              </a:solidFill>
            </c:spPr>
            <c:extLst>
              <c:ext xmlns:c16="http://schemas.microsoft.com/office/drawing/2014/chart" uri="{C3380CC4-5D6E-409C-BE32-E72D297353CC}">
                <c16:uniqueId val="{0000004D-2993-41DE-A2CB-63102DE87051}"/>
              </c:ext>
            </c:extLst>
          </c:dPt>
          <c:dPt>
            <c:idx val="11"/>
            <c:invertIfNegative val="1"/>
            <c:bubble3D val="0"/>
            <c:spPr>
              <a:solidFill>
                <a:srgbClr val="AEABAB"/>
              </a:solidFill>
            </c:spPr>
            <c:extLst>
              <c:ext xmlns:c16="http://schemas.microsoft.com/office/drawing/2014/chart" uri="{C3380CC4-5D6E-409C-BE32-E72D297353CC}">
                <c16:uniqueId val="{0000004F-2993-41DE-A2CB-63102DE87051}"/>
              </c:ext>
            </c:extLst>
          </c:dPt>
          <c:dPt>
            <c:idx val="12"/>
            <c:invertIfNegative val="1"/>
            <c:bubble3D val="0"/>
            <c:spPr>
              <a:solidFill>
                <a:srgbClr val="AEABAB"/>
              </a:solidFill>
            </c:spPr>
            <c:extLst>
              <c:ext xmlns:c16="http://schemas.microsoft.com/office/drawing/2014/chart" uri="{C3380CC4-5D6E-409C-BE32-E72D297353CC}">
                <c16:uniqueId val="{00000051-2993-41DE-A2CB-63102DE87051}"/>
              </c:ext>
            </c:extLst>
          </c:dPt>
          <c:dPt>
            <c:idx val="13"/>
            <c:invertIfNegative val="1"/>
            <c:bubble3D val="0"/>
            <c:spPr>
              <a:solidFill>
                <a:srgbClr val="AEABAB"/>
              </a:solidFill>
            </c:spPr>
            <c:extLst>
              <c:ext xmlns:c16="http://schemas.microsoft.com/office/drawing/2014/chart" uri="{C3380CC4-5D6E-409C-BE32-E72D297353CC}">
                <c16:uniqueId val="{00000053-2993-41DE-A2CB-63102DE87051}"/>
              </c:ext>
            </c:extLst>
          </c:dPt>
          <c:dPt>
            <c:idx val="14"/>
            <c:invertIfNegative val="1"/>
            <c:bubble3D val="0"/>
            <c:spPr>
              <a:solidFill>
                <a:srgbClr val="AEABAB"/>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16</c:f>
              <c:strCache>
                <c:ptCount val="15"/>
                <c:pt idx="0">
                  <c:v>Bouvet-Ladu</c:v>
                </c:pt>
                <c:pt idx="1">
                  <c:v>French Bloo</c:v>
                </c:pt>
                <c:pt idx="2">
                  <c:v>De Chanceny</c:v>
                </c:pt>
                <c:pt idx="3">
                  <c:v>All Others</c:v>
                </c:pt>
                <c:pt idx="4">
                  <c:v>All Others</c:v>
                </c:pt>
                <c:pt idx="5">
                  <c:v>Bouvet-Ladu</c:v>
                </c:pt>
                <c:pt idx="6">
                  <c:v>Bouvet-Ladu</c:v>
                </c:pt>
                <c:pt idx="7">
                  <c:v>All Others</c:v>
                </c:pt>
                <c:pt idx="8">
                  <c:v>Bouvet-Ladu</c:v>
                </c:pt>
                <c:pt idx="9">
                  <c:v>Bouvet-Ladu</c:v>
                </c:pt>
                <c:pt idx="10">
                  <c:v>Bouvet-Ladu</c:v>
                </c:pt>
                <c:pt idx="11">
                  <c:v>All Others</c:v>
                </c:pt>
                <c:pt idx="12">
                  <c:v>All Others</c:v>
                </c:pt>
                <c:pt idx="13">
                  <c:v>All Others</c:v>
                </c:pt>
                <c:pt idx="14">
                  <c:v>All Others</c:v>
                </c:pt>
              </c:strCache>
            </c:strRef>
          </c:cat>
          <c:val>
            <c:numRef>
              <c:f>Sheet1!$C$2:$C$16</c:f>
              <c:numCache>
                <c:formatCode>General</c:formatCode>
                <c:ptCount val="15"/>
                <c:pt idx="0">
                  <c:v>0.3112158620106536</c:v>
                </c:pt>
                <c:pt idx="1">
                  <c:v>0.56639469011583665</c:v>
                </c:pt>
                <c:pt idx="2">
                  <c:v>0.74794960683182543</c:v>
                </c:pt>
                <c:pt idx="3">
                  <c:v>0.86376511372283749</c:v>
                </c:pt>
                <c:pt idx="4">
                  <c:v>0.95102308277669734</c:v>
                </c:pt>
                <c:pt idx="5">
                  <c:v>0.96810264648685207</c:v>
                </c:pt>
                <c:pt idx="6">
                  <c:v>0.98300498858544005</c:v>
                </c:pt>
                <c:pt idx="7">
                  <c:v>0.99097404244525233</c:v>
                </c:pt>
                <c:pt idx="8">
                  <c:v>0.99685042698909265</c:v>
                </c:pt>
                <c:pt idx="9">
                  <c:v>0.99837236830979947</c:v>
                </c:pt>
                <c:pt idx="10">
                  <c:v>0.99885854400946972</c:v>
                </c:pt>
                <c:pt idx="11">
                  <c:v>0.99923902933964648</c:v>
                </c:pt>
                <c:pt idx="12">
                  <c:v>0.99961951466982324</c:v>
                </c:pt>
                <c:pt idx="13">
                  <c:v>0.99980975733491162</c:v>
                </c:pt>
                <c:pt idx="14">
                  <c:v>1</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15</c:f>
              <c:strCache>
                <c:ptCount val="14"/>
                <c:pt idx="0">
                  <c:v>French Bloo</c:v>
                </c:pt>
                <c:pt idx="1">
                  <c:v>De Chanceny</c:v>
                </c:pt>
                <c:pt idx="2">
                  <c:v>Bouvet-Ladu</c:v>
                </c:pt>
                <c:pt idx="3">
                  <c:v>All Others</c:v>
                </c:pt>
                <c:pt idx="4">
                  <c:v>All Others</c:v>
                </c:pt>
                <c:pt idx="5">
                  <c:v>Bouvet-Ladu</c:v>
                </c:pt>
                <c:pt idx="6">
                  <c:v>All Others</c:v>
                </c:pt>
                <c:pt idx="7">
                  <c:v>Bouvet-Ladu</c:v>
                </c:pt>
                <c:pt idx="8">
                  <c:v>Bouvet-Ladu</c:v>
                </c:pt>
                <c:pt idx="9">
                  <c:v>Bouvet-Ladu</c:v>
                </c:pt>
                <c:pt idx="10">
                  <c:v>All Others</c:v>
                </c:pt>
                <c:pt idx="11">
                  <c:v>All Others</c:v>
                </c:pt>
                <c:pt idx="12">
                  <c:v>All Others</c:v>
                </c:pt>
                <c:pt idx="13">
                  <c:v>All Others</c:v>
                </c:pt>
              </c:strCache>
            </c:strRef>
          </c:cat>
          <c:val>
            <c:numRef>
              <c:f>Sheet1!$B$2:$B$15</c:f>
              <c:numCache>
                <c:formatCode>General</c:formatCode>
                <c:ptCount val="14"/>
                <c:pt idx="0">
                  <c:v>0.6</c:v>
                </c:pt>
                <c:pt idx="1">
                  <c:v>0.38</c:v>
                </c:pt>
                <c:pt idx="2">
                  <c:v>0.54</c:v>
                </c:pt>
                <c:pt idx="3">
                  <c:v>0.36</c:v>
                </c:pt>
                <c:pt idx="4">
                  <c:v>0.19</c:v>
                </c:pt>
                <c:pt idx="5">
                  <c:v>0.19</c:v>
                </c:pt>
                <c:pt idx="6">
                  <c:v>0.23</c:v>
                </c:pt>
                <c:pt idx="7">
                  <c:v>0.13</c:v>
                </c:pt>
                <c:pt idx="8">
                  <c:v>0.11</c:v>
                </c:pt>
                <c:pt idx="9">
                  <c:v>0.03</c:v>
                </c:pt>
                <c:pt idx="10">
                  <c:v>0.02</c:v>
                </c:pt>
                <c:pt idx="11">
                  <c:v>0.05</c:v>
                </c:pt>
                <c:pt idx="12">
                  <c:v>0.03</c:v>
                </c:pt>
                <c:pt idx="13">
                  <c:v>0.02</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7ECAC4"/>
              </a:solidFill>
            </c:spPr>
            <c:extLst>
              <c:ext xmlns:c16="http://schemas.microsoft.com/office/drawing/2014/chart" uri="{C3380CC4-5D6E-409C-BE32-E72D297353CC}">
                <c16:uniqueId val="{0000000E-C76F-4230-900D-40618C09729F}"/>
              </c:ext>
            </c:extLst>
          </c:dPt>
          <c:dPt>
            <c:idx val="5"/>
            <c:invertIfNegative val="0"/>
            <c:bubble3D val="0"/>
            <c:spPr>
              <a:solidFill>
                <a:srgbClr val="AEABAB"/>
              </a:solidFill>
            </c:spPr>
            <c:extLst>
              <c:ext xmlns:c16="http://schemas.microsoft.com/office/drawing/2014/chart" uri="{C3380CC4-5D6E-409C-BE32-E72D297353CC}">
                <c16:uniqueId val="{00000010-C76F-4230-900D-40618C09729F}"/>
              </c:ext>
            </c:extLst>
          </c:dPt>
          <c:dPt>
            <c:idx val="6"/>
            <c:invertIfNegative val="1"/>
            <c:bubble3D val="0"/>
            <c:spPr>
              <a:solidFill>
                <a:srgbClr val="AEABAB"/>
              </a:solidFill>
            </c:spPr>
            <c:extLst>
              <c:ext xmlns:c16="http://schemas.microsoft.com/office/drawing/2014/chart" uri="{C3380CC4-5D6E-409C-BE32-E72D297353CC}">
                <c16:uniqueId val="{00000045-2993-41DE-A2CB-63102DE87051}"/>
              </c:ext>
            </c:extLst>
          </c:dPt>
          <c:dPt>
            <c:idx val="7"/>
            <c:invertIfNegative val="1"/>
            <c:bubble3D val="0"/>
            <c:spPr>
              <a:solidFill>
                <a:srgbClr val="AEABAB"/>
              </a:solidFill>
            </c:spPr>
            <c:extLst>
              <c:ext xmlns:c16="http://schemas.microsoft.com/office/drawing/2014/chart" uri="{C3380CC4-5D6E-409C-BE32-E72D297353CC}">
                <c16:uniqueId val="{00000047-2993-41DE-A2CB-63102DE87051}"/>
              </c:ext>
            </c:extLst>
          </c:dPt>
          <c:dPt>
            <c:idx val="8"/>
            <c:invertIfNegative val="1"/>
            <c:bubble3D val="0"/>
            <c:spPr>
              <a:solidFill>
                <a:srgbClr val="AEABAB"/>
              </a:solidFill>
            </c:spPr>
            <c:extLst>
              <c:ext xmlns:c16="http://schemas.microsoft.com/office/drawing/2014/chart" uri="{C3380CC4-5D6E-409C-BE32-E72D297353CC}">
                <c16:uniqueId val="{00000049-2993-41DE-A2CB-63102DE87051}"/>
              </c:ext>
            </c:extLst>
          </c:dPt>
          <c:dPt>
            <c:idx val="9"/>
            <c:invertIfNegative val="1"/>
            <c:bubble3D val="0"/>
            <c:spPr>
              <a:solidFill>
                <a:srgbClr val="AEABAB"/>
              </a:solidFill>
            </c:spPr>
            <c:extLst>
              <c:ext xmlns:c16="http://schemas.microsoft.com/office/drawing/2014/chart" uri="{C3380CC4-5D6E-409C-BE32-E72D297353CC}">
                <c16:uniqueId val="{0000004B-2993-41DE-A2CB-63102DE87051}"/>
              </c:ext>
            </c:extLst>
          </c:dPt>
          <c:dPt>
            <c:idx val="10"/>
            <c:invertIfNegative val="1"/>
            <c:bubble3D val="0"/>
            <c:spPr>
              <a:solidFill>
                <a:srgbClr val="AEABAB"/>
              </a:solidFill>
            </c:spPr>
            <c:extLst>
              <c:ext xmlns:c16="http://schemas.microsoft.com/office/drawing/2014/chart" uri="{C3380CC4-5D6E-409C-BE32-E72D297353CC}">
                <c16:uniqueId val="{0000004D-2993-41DE-A2CB-63102DE87051}"/>
              </c:ext>
            </c:extLst>
          </c:dPt>
          <c:dPt>
            <c:idx val="11"/>
            <c:invertIfNegative val="1"/>
            <c:bubble3D val="0"/>
            <c:spPr>
              <a:solidFill>
                <a:srgbClr val="AEABAB"/>
              </a:solidFill>
            </c:spPr>
            <c:extLst>
              <c:ext xmlns:c16="http://schemas.microsoft.com/office/drawing/2014/chart" uri="{C3380CC4-5D6E-409C-BE32-E72D297353CC}">
                <c16:uniqueId val="{0000004F-2993-41DE-A2CB-63102DE87051}"/>
              </c:ext>
            </c:extLst>
          </c:dPt>
          <c:dPt>
            <c:idx val="12"/>
            <c:invertIfNegative val="1"/>
            <c:bubble3D val="0"/>
            <c:spPr>
              <a:solidFill>
                <a:srgbClr val="AEABAB"/>
              </a:solidFill>
            </c:spPr>
            <c:extLst>
              <c:ext xmlns:c16="http://schemas.microsoft.com/office/drawing/2014/chart" uri="{C3380CC4-5D6E-409C-BE32-E72D297353CC}">
                <c16:uniqueId val="{00000051-2993-41DE-A2CB-63102DE87051}"/>
              </c:ext>
            </c:extLst>
          </c:dPt>
          <c:dPt>
            <c:idx val="13"/>
            <c:invertIfNegative val="1"/>
            <c:bubble3D val="0"/>
            <c:spPr>
              <a:solidFill>
                <a:srgbClr val="AEABAB"/>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15</c:f>
              <c:strCache>
                <c:ptCount val="14"/>
                <c:pt idx="0">
                  <c:v>French Bloo</c:v>
                </c:pt>
                <c:pt idx="1">
                  <c:v>De Chanceny</c:v>
                </c:pt>
                <c:pt idx="2">
                  <c:v>Bouvet-Ladu</c:v>
                </c:pt>
                <c:pt idx="3">
                  <c:v>All Others</c:v>
                </c:pt>
                <c:pt idx="4">
                  <c:v>All Others</c:v>
                </c:pt>
                <c:pt idx="5">
                  <c:v>Bouvet-Ladu</c:v>
                </c:pt>
                <c:pt idx="6">
                  <c:v>All Others</c:v>
                </c:pt>
                <c:pt idx="7">
                  <c:v>Bouvet-Ladu</c:v>
                </c:pt>
                <c:pt idx="8">
                  <c:v>Bouvet-Ladu</c:v>
                </c:pt>
                <c:pt idx="9">
                  <c:v>Bouvet-Ladu</c:v>
                </c:pt>
                <c:pt idx="10">
                  <c:v>All Others</c:v>
                </c:pt>
                <c:pt idx="11">
                  <c:v>All Others</c:v>
                </c:pt>
                <c:pt idx="12">
                  <c:v>All Others</c:v>
                </c:pt>
                <c:pt idx="13">
                  <c:v>All Others</c:v>
                </c:pt>
              </c:strCache>
            </c:strRef>
          </c:cat>
          <c:val>
            <c:numRef>
              <c:f>Sheet1!$C$2:$C$15</c:f>
              <c:numCache>
                <c:formatCode>General</c:formatCode>
                <c:ptCount val="14"/>
                <c:pt idx="0">
                  <c:v>0.37239148580968279</c:v>
                </c:pt>
                <c:pt idx="1">
                  <c:v>0.58569838619922088</c:v>
                </c:pt>
                <c:pt idx="2">
                  <c:v>0.79820534223706174</c:v>
                </c:pt>
                <c:pt idx="3">
                  <c:v>0.91259738452977179</c:v>
                </c:pt>
                <c:pt idx="4">
                  <c:v>0.9438647746243739</c:v>
                </c:pt>
                <c:pt idx="5">
                  <c:v>0.96570673344462987</c:v>
                </c:pt>
                <c:pt idx="6">
                  <c:v>0.98076655537006119</c:v>
                </c:pt>
                <c:pt idx="7">
                  <c:v>0.99106149137451305</c:v>
                </c:pt>
                <c:pt idx="8">
                  <c:v>0.99606983861992204</c:v>
                </c:pt>
                <c:pt idx="9">
                  <c:v>0.99753060656649972</c:v>
                </c:pt>
                <c:pt idx="10">
                  <c:v>0.99843489148580966</c:v>
                </c:pt>
                <c:pt idx="11">
                  <c:v>0.99906093489148584</c:v>
                </c:pt>
                <c:pt idx="12">
                  <c:v>0.99968697829716202</c:v>
                </c:pt>
                <c:pt idx="13">
                  <c:v>1</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c:f>
              <c:strCache>
                <c:ptCount val="20"/>
                <c:pt idx="0">
                  <c:v>Bouvet-Ladu</c:v>
                </c:pt>
                <c:pt idx="1">
                  <c:v>All Others</c:v>
                </c:pt>
                <c:pt idx="2">
                  <c:v>French Bloo</c:v>
                </c:pt>
                <c:pt idx="3">
                  <c:v>All Others</c:v>
                </c:pt>
                <c:pt idx="4">
                  <c:v>All Others</c:v>
                </c:pt>
                <c:pt idx="5">
                  <c:v>De Chanceny</c:v>
                </c:pt>
                <c:pt idx="6">
                  <c:v>All Others</c:v>
                </c:pt>
                <c:pt idx="7">
                  <c:v>All Others</c:v>
                </c:pt>
                <c:pt idx="8">
                  <c:v>All Others</c:v>
                </c:pt>
                <c:pt idx="9">
                  <c:v>All Others</c:v>
                </c:pt>
                <c:pt idx="10">
                  <c:v>Bouvet-Ladu</c:v>
                </c:pt>
                <c:pt idx="11">
                  <c:v>All Others</c:v>
                </c:pt>
                <c:pt idx="12">
                  <c:v>Bouvet-Ladu</c:v>
                </c:pt>
                <c:pt idx="13">
                  <c:v>All Others</c:v>
                </c:pt>
                <c:pt idx="14">
                  <c:v>All Others</c:v>
                </c:pt>
                <c:pt idx="15">
                  <c:v>Bouvet-Ladu</c:v>
                </c:pt>
                <c:pt idx="16">
                  <c:v>Bouvet-Ladu</c:v>
                </c:pt>
                <c:pt idx="17">
                  <c:v>All Others</c:v>
                </c:pt>
                <c:pt idx="18">
                  <c:v>All Others</c:v>
                </c:pt>
                <c:pt idx="19">
                  <c:v>All Others</c:v>
                </c:pt>
              </c:strCache>
            </c:strRef>
          </c:cat>
          <c:val>
            <c:numRef>
              <c:f>Sheet1!$B$2:$B$21</c:f>
              <c:numCache>
                <c:formatCode>General</c:formatCode>
                <c:ptCount val="20"/>
                <c:pt idx="0">
                  <c:v>0.62</c:v>
                </c:pt>
                <c:pt idx="1">
                  <c:v>0.28000000000000003</c:v>
                </c:pt>
                <c:pt idx="2">
                  <c:v>0.81</c:v>
                </c:pt>
                <c:pt idx="3">
                  <c:v>0.6</c:v>
                </c:pt>
                <c:pt idx="4">
                  <c:v>0.26</c:v>
                </c:pt>
                <c:pt idx="5">
                  <c:v>0.46</c:v>
                </c:pt>
                <c:pt idx="6">
                  <c:v>0.39</c:v>
                </c:pt>
                <c:pt idx="7">
                  <c:v>0.18</c:v>
                </c:pt>
                <c:pt idx="8">
                  <c:v>0.15</c:v>
                </c:pt>
                <c:pt idx="9">
                  <c:v>0.2</c:v>
                </c:pt>
                <c:pt idx="10">
                  <c:v>0.23</c:v>
                </c:pt>
                <c:pt idx="11">
                  <c:v>0.12</c:v>
                </c:pt>
                <c:pt idx="12">
                  <c:v>0.23</c:v>
                </c:pt>
                <c:pt idx="13">
                  <c:v>0.11</c:v>
                </c:pt>
                <c:pt idx="14">
                  <c:v>0.09</c:v>
                </c:pt>
                <c:pt idx="15">
                  <c:v>0.03</c:v>
                </c:pt>
                <c:pt idx="16">
                  <c:v>0.06</c:v>
                </c:pt>
                <c:pt idx="17">
                  <c:v>0.05</c:v>
                </c:pt>
                <c:pt idx="18">
                  <c:v>0.03</c:v>
                </c:pt>
                <c:pt idx="19">
                  <c:v>0.02</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7ECAC4"/>
              </a:solidFill>
            </c:spPr>
            <c:extLst>
              <c:ext xmlns:c16="http://schemas.microsoft.com/office/drawing/2014/chart" uri="{C3380CC4-5D6E-409C-BE32-E72D297353CC}">
                <c16:uniqueId val="{00000010-C76F-4230-900D-40618C09729F}"/>
              </c:ext>
            </c:extLst>
          </c:dPt>
          <c:dPt>
            <c:idx val="6"/>
            <c:invertIfNegative val="1"/>
            <c:bubble3D val="0"/>
            <c:spPr>
              <a:solidFill>
                <a:srgbClr val="7ECAC4"/>
              </a:solidFill>
            </c:spPr>
            <c:extLst>
              <c:ext xmlns:c16="http://schemas.microsoft.com/office/drawing/2014/chart" uri="{C3380CC4-5D6E-409C-BE32-E72D297353CC}">
                <c16:uniqueId val="{00000045-2993-41DE-A2CB-63102DE87051}"/>
              </c:ext>
            </c:extLst>
          </c:dPt>
          <c:dPt>
            <c:idx val="7"/>
            <c:invertIfNegative val="1"/>
            <c:bubble3D val="0"/>
            <c:spPr>
              <a:solidFill>
                <a:srgbClr val="AEABAB"/>
              </a:solidFill>
            </c:spPr>
            <c:extLst>
              <c:ext xmlns:c16="http://schemas.microsoft.com/office/drawing/2014/chart" uri="{C3380CC4-5D6E-409C-BE32-E72D297353CC}">
                <c16:uniqueId val="{00000047-2993-41DE-A2CB-63102DE87051}"/>
              </c:ext>
            </c:extLst>
          </c:dPt>
          <c:dPt>
            <c:idx val="8"/>
            <c:invertIfNegative val="1"/>
            <c:bubble3D val="0"/>
            <c:spPr>
              <a:solidFill>
                <a:srgbClr val="AEABAB"/>
              </a:solidFill>
            </c:spPr>
            <c:extLst>
              <c:ext xmlns:c16="http://schemas.microsoft.com/office/drawing/2014/chart" uri="{C3380CC4-5D6E-409C-BE32-E72D297353CC}">
                <c16:uniqueId val="{00000049-2993-41DE-A2CB-63102DE87051}"/>
              </c:ext>
            </c:extLst>
          </c:dPt>
          <c:dPt>
            <c:idx val="9"/>
            <c:invertIfNegative val="1"/>
            <c:bubble3D val="0"/>
            <c:spPr>
              <a:solidFill>
                <a:srgbClr val="AEABAB"/>
              </a:solidFill>
            </c:spPr>
            <c:extLst>
              <c:ext xmlns:c16="http://schemas.microsoft.com/office/drawing/2014/chart" uri="{C3380CC4-5D6E-409C-BE32-E72D297353CC}">
                <c16:uniqueId val="{0000004B-2993-41DE-A2CB-63102DE87051}"/>
              </c:ext>
            </c:extLst>
          </c:dPt>
          <c:dPt>
            <c:idx val="10"/>
            <c:invertIfNegative val="1"/>
            <c:bubble3D val="0"/>
            <c:spPr>
              <a:solidFill>
                <a:srgbClr val="AEABAB"/>
              </a:solidFill>
            </c:spPr>
            <c:extLst>
              <c:ext xmlns:c16="http://schemas.microsoft.com/office/drawing/2014/chart" uri="{C3380CC4-5D6E-409C-BE32-E72D297353CC}">
                <c16:uniqueId val="{0000004D-2993-41DE-A2CB-63102DE87051}"/>
              </c:ext>
            </c:extLst>
          </c:dPt>
          <c:dPt>
            <c:idx val="11"/>
            <c:invertIfNegative val="1"/>
            <c:bubble3D val="0"/>
            <c:spPr>
              <a:solidFill>
                <a:srgbClr val="AEABAB"/>
              </a:solidFill>
            </c:spPr>
            <c:extLst>
              <c:ext xmlns:c16="http://schemas.microsoft.com/office/drawing/2014/chart" uri="{C3380CC4-5D6E-409C-BE32-E72D297353CC}">
                <c16:uniqueId val="{0000004F-2993-41DE-A2CB-63102DE87051}"/>
              </c:ext>
            </c:extLst>
          </c:dPt>
          <c:dPt>
            <c:idx val="12"/>
            <c:invertIfNegative val="1"/>
            <c:bubble3D val="0"/>
            <c:spPr>
              <a:solidFill>
                <a:srgbClr val="AEABAB"/>
              </a:solidFill>
            </c:spPr>
            <c:extLst>
              <c:ext xmlns:c16="http://schemas.microsoft.com/office/drawing/2014/chart" uri="{C3380CC4-5D6E-409C-BE32-E72D297353CC}">
                <c16:uniqueId val="{00000051-2993-41DE-A2CB-63102DE87051}"/>
              </c:ext>
            </c:extLst>
          </c:dPt>
          <c:dPt>
            <c:idx val="13"/>
            <c:invertIfNegative val="1"/>
            <c:bubble3D val="0"/>
            <c:spPr>
              <a:solidFill>
                <a:srgbClr val="AEABAB"/>
              </a:solidFill>
            </c:spPr>
            <c:extLst>
              <c:ext xmlns:c16="http://schemas.microsoft.com/office/drawing/2014/chart" uri="{C3380CC4-5D6E-409C-BE32-E72D297353CC}">
                <c16:uniqueId val="{00000053-2993-41DE-A2CB-63102DE87051}"/>
              </c:ext>
            </c:extLst>
          </c:dPt>
          <c:dPt>
            <c:idx val="14"/>
            <c:invertIfNegative val="1"/>
            <c:bubble3D val="0"/>
            <c:spPr>
              <a:solidFill>
                <a:srgbClr val="AEABAB"/>
              </a:solidFill>
            </c:spPr>
            <c:extLst>
              <c:ext xmlns:c16="http://schemas.microsoft.com/office/drawing/2014/chart" uri="{C3380CC4-5D6E-409C-BE32-E72D297353CC}">
                <c16:uniqueId val="{00000055-2993-41DE-A2CB-63102DE87051}"/>
              </c:ext>
            </c:extLst>
          </c:dPt>
          <c:dPt>
            <c:idx val="15"/>
            <c:invertIfNegative val="1"/>
            <c:bubble3D val="0"/>
            <c:spPr>
              <a:solidFill>
                <a:srgbClr val="AEABAB"/>
              </a:solidFill>
            </c:spPr>
            <c:extLst>
              <c:ext xmlns:c16="http://schemas.microsoft.com/office/drawing/2014/chart" uri="{C3380CC4-5D6E-409C-BE32-E72D297353CC}">
                <c16:uniqueId val="{00000057-2993-41DE-A2CB-63102DE87051}"/>
              </c:ext>
            </c:extLst>
          </c:dPt>
          <c:dPt>
            <c:idx val="16"/>
            <c:invertIfNegative val="1"/>
            <c:bubble3D val="0"/>
            <c:spPr>
              <a:solidFill>
                <a:srgbClr val="AEABAB"/>
              </a:solidFill>
            </c:spPr>
            <c:extLst>
              <c:ext xmlns:c16="http://schemas.microsoft.com/office/drawing/2014/chart" uri="{C3380CC4-5D6E-409C-BE32-E72D297353CC}">
                <c16:uniqueId val="{00000059-2993-41DE-A2CB-63102DE87051}"/>
              </c:ext>
            </c:extLst>
          </c:dPt>
          <c:dPt>
            <c:idx val="17"/>
            <c:invertIfNegative val="1"/>
            <c:bubble3D val="0"/>
            <c:spPr>
              <a:solidFill>
                <a:srgbClr val="AEABAB"/>
              </a:solidFill>
            </c:spPr>
            <c:extLst>
              <c:ext xmlns:c16="http://schemas.microsoft.com/office/drawing/2014/chart" uri="{C3380CC4-5D6E-409C-BE32-E72D297353CC}">
                <c16:uniqueId val="{0000005B-2993-41DE-A2CB-63102DE87051}"/>
              </c:ext>
            </c:extLst>
          </c:dPt>
          <c:dPt>
            <c:idx val="18"/>
            <c:invertIfNegative val="1"/>
            <c:bubble3D val="0"/>
            <c:spPr>
              <a:solidFill>
                <a:srgbClr val="AEABAB"/>
              </a:solidFill>
            </c:spPr>
            <c:extLst>
              <c:ext xmlns:c16="http://schemas.microsoft.com/office/drawing/2014/chart" uri="{C3380CC4-5D6E-409C-BE32-E72D297353CC}">
                <c16:uniqueId val="{0000005D-2993-41DE-A2CB-63102DE87051}"/>
              </c:ext>
            </c:extLst>
          </c:dPt>
          <c:dPt>
            <c:idx val="19"/>
            <c:invertIfNegative val="1"/>
            <c:bubble3D val="0"/>
            <c:spPr>
              <a:solidFill>
                <a:srgbClr val="AEABAB"/>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c:f>
              <c:strCache>
                <c:ptCount val="20"/>
                <c:pt idx="0">
                  <c:v>Bouvet-Ladu</c:v>
                </c:pt>
                <c:pt idx="1">
                  <c:v>All Others</c:v>
                </c:pt>
                <c:pt idx="2">
                  <c:v>French Bloo</c:v>
                </c:pt>
                <c:pt idx="3">
                  <c:v>All Others</c:v>
                </c:pt>
                <c:pt idx="4">
                  <c:v>All Others</c:v>
                </c:pt>
                <c:pt idx="5">
                  <c:v>De Chanceny</c:v>
                </c:pt>
                <c:pt idx="6">
                  <c:v>All Others</c:v>
                </c:pt>
                <c:pt idx="7">
                  <c:v>All Others</c:v>
                </c:pt>
                <c:pt idx="8">
                  <c:v>All Others</c:v>
                </c:pt>
                <c:pt idx="9">
                  <c:v>All Others</c:v>
                </c:pt>
                <c:pt idx="10">
                  <c:v>Bouvet-Ladu</c:v>
                </c:pt>
                <c:pt idx="11">
                  <c:v>All Others</c:v>
                </c:pt>
                <c:pt idx="12">
                  <c:v>Bouvet-Ladu</c:v>
                </c:pt>
                <c:pt idx="13">
                  <c:v>All Others</c:v>
                </c:pt>
                <c:pt idx="14">
                  <c:v>All Others</c:v>
                </c:pt>
                <c:pt idx="15">
                  <c:v>Bouvet-Ladu</c:v>
                </c:pt>
                <c:pt idx="16">
                  <c:v>Bouvet-Ladu</c:v>
                </c:pt>
                <c:pt idx="17">
                  <c:v>All Others</c:v>
                </c:pt>
                <c:pt idx="18">
                  <c:v>All Others</c:v>
                </c:pt>
                <c:pt idx="19">
                  <c:v>All Others</c:v>
                </c:pt>
              </c:strCache>
            </c:strRef>
          </c:cat>
          <c:val>
            <c:numRef>
              <c:f>Sheet1!$C$2:$C$21</c:f>
              <c:numCache>
                <c:formatCode>General</c:formatCode>
                <c:ptCount val="20"/>
                <c:pt idx="0">
                  <c:v>0.28442846792621079</c:v>
                </c:pt>
                <c:pt idx="1">
                  <c:v>0.49247617455275039</c:v>
                </c:pt>
                <c:pt idx="2">
                  <c:v>0.65627264114139217</c:v>
                </c:pt>
                <c:pt idx="3">
                  <c:v>0.77361645209831131</c:v>
                </c:pt>
                <c:pt idx="4">
                  <c:v>0.84640249679540769</c:v>
                </c:pt>
                <c:pt idx="5">
                  <c:v>0.90561778966727968</c:v>
                </c:pt>
                <c:pt idx="6">
                  <c:v>0.93961433428077801</c:v>
                </c:pt>
                <c:pt idx="7">
                  <c:v>0.95326868416652732</c:v>
                </c:pt>
                <c:pt idx="8">
                  <c:v>0.9619071504207769</c:v>
                </c:pt>
                <c:pt idx="9">
                  <c:v>0.97054561667502648</c:v>
                </c:pt>
                <c:pt idx="10">
                  <c:v>0.97854316446525103</c:v>
                </c:pt>
                <c:pt idx="11">
                  <c:v>0.98367051217745072</c:v>
                </c:pt>
                <c:pt idx="12">
                  <c:v>0.98734882684055059</c:v>
                </c:pt>
                <c:pt idx="13">
                  <c:v>0.99077634732207542</c:v>
                </c:pt>
                <c:pt idx="14">
                  <c:v>0.99381374352115026</c:v>
                </c:pt>
                <c:pt idx="15">
                  <c:v>0.9966560775790001</c:v>
                </c:pt>
                <c:pt idx="16">
                  <c:v>0.99866243103160002</c:v>
                </c:pt>
                <c:pt idx="17">
                  <c:v>0.99938694755614998</c:v>
                </c:pt>
                <c:pt idx="18">
                  <c:v>0.99974920581842497</c:v>
                </c:pt>
                <c:pt idx="19">
                  <c:v>1</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16</c:f>
              <c:strCache>
                <c:ptCount val="15"/>
                <c:pt idx="0">
                  <c:v>French Bloo</c:v>
                </c:pt>
                <c:pt idx="1">
                  <c:v>Bouvet-Ladu</c:v>
                </c:pt>
                <c:pt idx="2">
                  <c:v>De Chanceny</c:v>
                </c:pt>
                <c:pt idx="3">
                  <c:v>All Others</c:v>
                </c:pt>
                <c:pt idx="4">
                  <c:v>All Others</c:v>
                </c:pt>
                <c:pt idx="5">
                  <c:v>All Others</c:v>
                </c:pt>
                <c:pt idx="6">
                  <c:v>Bouvet-Ladu</c:v>
                </c:pt>
                <c:pt idx="7">
                  <c:v>Bouvet-Ladu</c:v>
                </c:pt>
                <c:pt idx="8">
                  <c:v>Bouvet-Ladu</c:v>
                </c:pt>
                <c:pt idx="9">
                  <c:v>All Others</c:v>
                </c:pt>
                <c:pt idx="10">
                  <c:v>All Others</c:v>
                </c:pt>
                <c:pt idx="11">
                  <c:v>Bouvet-Ladu</c:v>
                </c:pt>
                <c:pt idx="12">
                  <c:v>All Others</c:v>
                </c:pt>
                <c:pt idx="13">
                  <c:v>All Others</c:v>
                </c:pt>
                <c:pt idx="14">
                  <c:v>All Others</c:v>
                </c:pt>
              </c:strCache>
            </c:strRef>
          </c:cat>
          <c:val>
            <c:numRef>
              <c:f>Sheet1!$B$2:$B$16</c:f>
              <c:numCache>
                <c:formatCode>General</c:formatCode>
                <c:ptCount val="15"/>
                <c:pt idx="0">
                  <c:v>0.59</c:v>
                </c:pt>
                <c:pt idx="1">
                  <c:v>0.43</c:v>
                </c:pt>
                <c:pt idx="2">
                  <c:v>0.47</c:v>
                </c:pt>
                <c:pt idx="3">
                  <c:v>0.3</c:v>
                </c:pt>
                <c:pt idx="4">
                  <c:v>0.39</c:v>
                </c:pt>
                <c:pt idx="5">
                  <c:v>0.24</c:v>
                </c:pt>
                <c:pt idx="6">
                  <c:v>0.08</c:v>
                </c:pt>
                <c:pt idx="7">
                  <c:v>0.25</c:v>
                </c:pt>
                <c:pt idx="8">
                  <c:v>0.04</c:v>
                </c:pt>
                <c:pt idx="9">
                  <c:v>0.04</c:v>
                </c:pt>
                <c:pt idx="10">
                  <c:v>0.13</c:v>
                </c:pt>
                <c:pt idx="11">
                  <c:v>7.0000000000000007E-2</c:v>
                </c:pt>
                <c:pt idx="12">
                  <c:v>0.09</c:v>
                </c:pt>
                <c:pt idx="13">
                  <c:v>0.03</c:v>
                </c:pt>
                <c:pt idx="14">
                  <c:v>0.02</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7ECAC4"/>
              </a:solidFill>
            </c:spPr>
            <c:extLst>
              <c:ext xmlns:c16="http://schemas.microsoft.com/office/drawing/2014/chart" uri="{C3380CC4-5D6E-409C-BE32-E72D297353CC}">
                <c16:uniqueId val="{00000010-C76F-4230-900D-40618C09729F}"/>
              </c:ext>
            </c:extLst>
          </c:dPt>
          <c:dPt>
            <c:idx val="6"/>
            <c:invertIfNegative val="1"/>
            <c:bubble3D val="0"/>
            <c:spPr>
              <a:solidFill>
                <a:srgbClr val="7ECAC4"/>
              </a:solidFill>
            </c:spPr>
            <c:extLst>
              <c:ext xmlns:c16="http://schemas.microsoft.com/office/drawing/2014/chart" uri="{C3380CC4-5D6E-409C-BE32-E72D297353CC}">
                <c16:uniqueId val="{00000045-2993-41DE-A2CB-63102DE87051}"/>
              </c:ext>
            </c:extLst>
          </c:dPt>
          <c:dPt>
            <c:idx val="7"/>
            <c:invertIfNegative val="1"/>
            <c:bubble3D val="0"/>
            <c:spPr>
              <a:solidFill>
                <a:srgbClr val="AEABAB"/>
              </a:solidFill>
            </c:spPr>
            <c:extLst>
              <c:ext xmlns:c16="http://schemas.microsoft.com/office/drawing/2014/chart" uri="{C3380CC4-5D6E-409C-BE32-E72D297353CC}">
                <c16:uniqueId val="{00000047-2993-41DE-A2CB-63102DE87051}"/>
              </c:ext>
            </c:extLst>
          </c:dPt>
          <c:dPt>
            <c:idx val="8"/>
            <c:invertIfNegative val="1"/>
            <c:bubble3D val="0"/>
            <c:spPr>
              <a:solidFill>
                <a:srgbClr val="AEABAB"/>
              </a:solidFill>
            </c:spPr>
            <c:extLst>
              <c:ext xmlns:c16="http://schemas.microsoft.com/office/drawing/2014/chart" uri="{C3380CC4-5D6E-409C-BE32-E72D297353CC}">
                <c16:uniqueId val="{00000049-2993-41DE-A2CB-63102DE87051}"/>
              </c:ext>
            </c:extLst>
          </c:dPt>
          <c:dPt>
            <c:idx val="9"/>
            <c:invertIfNegative val="1"/>
            <c:bubble3D val="0"/>
            <c:spPr>
              <a:solidFill>
                <a:srgbClr val="AEABAB"/>
              </a:solidFill>
            </c:spPr>
            <c:extLst>
              <c:ext xmlns:c16="http://schemas.microsoft.com/office/drawing/2014/chart" uri="{C3380CC4-5D6E-409C-BE32-E72D297353CC}">
                <c16:uniqueId val="{0000004B-2993-41DE-A2CB-63102DE87051}"/>
              </c:ext>
            </c:extLst>
          </c:dPt>
          <c:dPt>
            <c:idx val="10"/>
            <c:invertIfNegative val="1"/>
            <c:bubble3D val="0"/>
            <c:spPr>
              <a:solidFill>
                <a:srgbClr val="AEABAB"/>
              </a:solidFill>
            </c:spPr>
            <c:extLst>
              <c:ext xmlns:c16="http://schemas.microsoft.com/office/drawing/2014/chart" uri="{C3380CC4-5D6E-409C-BE32-E72D297353CC}">
                <c16:uniqueId val="{0000004D-2993-41DE-A2CB-63102DE87051}"/>
              </c:ext>
            </c:extLst>
          </c:dPt>
          <c:dPt>
            <c:idx val="11"/>
            <c:invertIfNegative val="1"/>
            <c:bubble3D val="0"/>
            <c:spPr>
              <a:solidFill>
                <a:srgbClr val="AEABAB"/>
              </a:solidFill>
            </c:spPr>
            <c:extLst>
              <c:ext xmlns:c16="http://schemas.microsoft.com/office/drawing/2014/chart" uri="{C3380CC4-5D6E-409C-BE32-E72D297353CC}">
                <c16:uniqueId val="{0000004F-2993-41DE-A2CB-63102DE87051}"/>
              </c:ext>
            </c:extLst>
          </c:dPt>
          <c:dPt>
            <c:idx val="12"/>
            <c:invertIfNegative val="1"/>
            <c:bubble3D val="0"/>
            <c:spPr>
              <a:solidFill>
                <a:srgbClr val="AEABAB"/>
              </a:solidFill>
            </c:spPr>
            <c:extLst>
              <c:ext xmlns:c16="http://schemas.microsoft.com/office/drawing/2014/chart" uri="{C3380CC4-5D6E-409C-BE32-E72D297353CC}">
                <c16:uniqueId val="{00000051-2993-41DE-A2CB-63102DE87051}"/>
              </c:ext>
            </c:extLst>
          </c:dPt>
          <c:dPt>
            <c:idx val="13"/>
            <c:invertIfNegative val="1"/>
            <c:bubble3D val="0"/>
            <c:spPr>
              <a:solidFill>
                <a:srgbClr val="AEABAB"/>
              </a:solidFill>
            </c:spPr>
            <c:extLst>
              <c:ext xmlns:c16="http://schemas.microsoft.com/office/drawing/2014/chart" uri="{C3380CC4-5D6E-409C-BE32-E72D297353CC}">
                <c16:uniqueId val="{00000053-2993-41DE-A2CB-63102DE87051}"/>
              </c:ext>
            </c:extLst>
          </c:dPt>
          <c:dPt>
            <c:idx val="14"/>
            <c:invertIfNegative val="1"/>
            <c:bubble3D val="0"/>
            <c:spPr>
              <a:solidFill>
                <a:srgbClr val="AEABAB"/>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16</c:f>
              <c:strCache>
                <c:ptCount val="15"/>
                <c:pt idx="0">
                  <c:v>French Bloo</c:v>
                </c:pt>
                <c:pt idx="1">
                  <c:v>Bouvet-Ladu</c:v>
                </c:pt>
                <c:pt idx="2">
                  <c:v>De Chanceny</c:v>
                </c:pt>
                <c:pt idx="3">
                  <c:v>All Others</c:v>
                </c:pt>
                <c:pt idx="4">
                  <c:v>All Others</c:v>
                </c:pt>
                <c:pt idx="5">
                  <c:v>All Others</c:v>
                </c:pt>
                <c:pt idx="6">
                  <c:v>Bouvet-Ladu</c:v>
                </c:pt>
                <c:pt idx="7">
                  <c:v>Bouvet-Ladu</c:v>
                </c:pt>
                <c:pt idx="8">
                  <c:v>Bouvet-Ladu</c:v>
                </c:pt>
                <c:pt idx="9">
                  <c:v>All Others</c:v>
                </c:pt>
                <c:pt idx="10">
                  <c:v>All Others</c:v>
                </c:pt>
                <c:pt idx="11">
                  <c:v>Bouvet-Ladu</c:v>
                </c:pt>
                <c:pt idx="12">
                  <c:v>All Others</c:v>
                </c:pt>
                <c:pt idx="13">
                  <c:v>All Others</c:v>
                </c:pt>
                <c:pt idx="14">
                  <c:v>All Others</c:v>
                </c:pt>
              </c:strCache>
            </c:strRef>
          </c:cat>
          <c:val>
            <c:numRef>
              <c:f>Sheet1!$C$2:$C$16</c:f>
              <c:numCache>
                <c:formatCode>General</c:formatCode>
                <c:ptCount val="15"/>
                <c:pt idx="0">
                  <c:v>0.29499797761898344</c:v>
                </c:pt>
                <c:pt idx="1">
                  <c:v>0.48564109478225703</c:v>
                </c:pt>
                <c:pt idx="2">
                  <c:v>0.67561008494000274</c:v>
                </c:pt>
                <c:pt idx="3">
                  <c:v>0.78711069165430769</c:v>
                </c:pt>
                <c:pt idx="4">
                  <c:v>0.89025212350006744</c:v>
                </c:pt>
                <c:pt idx="5">
                  <c:v>0.91708237832007555</c:v>
                </c:pt>
                <c:pt idx="6">
                  <c:v>0.93973304570581107</c:v>
                </c:pt>
                <c:pt idx="7">
                  <c:v>0.95523796683295137</c:v>
                </c:pt>
                <c:pt idx="8">
                  <c:v>0.96508022111365788</c:v>
                </c:pt>
                <c:pt idx="9">
                  <c:v>0.97465282459215319</c:v>
                </c:pt>
                <c:pt idx="10">
                  <c:v>0.98193339625185383</c:v>
                </c:pt>
                <c:pt idx="11">
                  <c:v>0.98813536470271002</c:v>
                </c:pt>
                <c:pt idx="12">
                  <c:v>0.99298907914251044</c:v>
                </c:pt>
                <c:pt idx="13">
                  <c:v>0.99649453957125522</c:v>
                </c:pt>
                <c:pt idx="14">
                  <c:v>1</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13</c:f>
              <c:strCache>
                <c:ptCount val="12"/>
                <c:pt idx="0">
                  <c:v>French Bloo</c:v>
                </c:pt>
                <c:pt idx="1">
                  <c:v>Bouvet-Ladu</c:v>
                </c:pt>
                <c:pt idx="2">
                  <c:v>De Chanceny</c:v>
                </c:pt>
                <c:pt idx="3">
                  <c:v>All Others</c:v>
                </c:pt>
                <c:pt idx="4">
                  <c:v>All Others</c:v>
                </c:pt>
                <c:pt idx="5">
                  <c:v>Bouvet-Ladu</c:v>
                </c:pt>
                <c:pt idx="6">
                  <c:v>Bouvet-Ladu</c:v>
                </c:pt>
                <c:pt idx="7">
                  <c:v>All Others</c:v>
                </c:pt>
                <c:pt idx="8">
                  <c:v>Bouvet-Ladu</c:v>
                </c:pt>
                <c:pt idx="9">
                  <c:v>Bouvet-Ladu</c:v>
                </c:pt>
                <c:pt idx="10">
                  <c:v>All Others</c:v>
                </c:pt>
                <c:pt idx="11">
                  <c:v>All Others</c:v>
                </c:pt>
              </c:strCache>
            </c:strRef>
          </c:cat>
          <c:val>
            <c:numRef>
              <c:f>Sheet1!$B$2:$B$13</c:f>
              <c:numCache>
                <c:formatCode>General</c:formatCode>
                <c:ptCount val="12"/>
                <c:pt idx="0">
                  <c:v>0.77</c:v>
                </c:pt>
                <c:pt idx="1">
                  <c:v>0.76</c:v>
                </c:pt>
                <c:pt idx="2">
                  <c:v>0.7</c:v>
                </c:pt>
                <c:pt idx="3">
                  <c:v>0.55000000000000004</c:v>
                </c:pt>
                <c:pt idx="4">
                  <c:v>0.31</c:v>
                </c:pt>
                <c:pt idx="5">
                  <c:v>0.11</c:v>
                </c:pt>
                <c:pt idx="6">
                  <c:v>0.2</c:v>
                </c:pt>
                <c:pt idx="7">
                  <c:v>0.14000000000000001</c:v>
                </c:pt>
                <c:pt idx="8">
                  <c:v>0.09</c:v>
                </c:pt>
                <c:pt idx="9">
                  <c:v>0.02</c:v>
                </c:pt>
                <c:pt idx="10">
                  <c:v>0.02</c:v>
                </c:pt>
                <c:pt idx="11">
                  <c:v>0.04</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AEABAB"/>
              </a:solidFill>
            </c:spPr>
            <c:extLst>
              <c:ext xmlns:c16="http://schemas.microsoft.com/office/drawing/2014/chart" uri="{C3380CC4-5D6E-409C-BE32-E72D297353CC}">
                <c16:uniqueId val="{0000000E-C76F-4230-900D-40618C09729F}"/>
              </c:ext>
            </c:extLst>
          </c:dPt>
          <c:dPt>
            <c:idx val="5"/>
            <c:invertIfNegative val="0"/>
            <c:bubble3D val="0"/>
            <c:spPr>
              <a:solidFill>
                <a:srgbClr val="AEABAB"/>
              </a:solidFill>
            </c:spPr>
            <c:extLst>
              <c:ext xmlns:c16="http://schemas.microsoft.com/office/drawing/2014/chart" uri="{C3380CC4-5D6E-409C-BE32-E72D297353CC}">
                <c16:uniqueId val="{00000010-C76F-4230-900D-40618C09729F}"/>
              </c:ext>
            </c:extLst>
          </c:dPt>
          <c:dPt>
            <c:idx val="6"/>
            <c:invertIfNegative val="1"/>
            <c:bubble3D val="0"/>
            <c:spPr>
              <a:solidFill>
                <a:srgbClr val="AEABAB"/>
              </a:solidFill>
            </c:spPr>
            <c:extLst>
              <c:ext xmlns:c16="http://schemas.microsoft.com/office/drawing/2014/chart" uri="{C3380CC4-5D6E-409C-BE32-E72D297353CC}">
                <c16:uniqueId val="{00000045-2993-41DE-A2CB-63102DE87051}"/>
              </c:ext>
            </c:extLst>
          </c:dPt>
          <c:dPt>
            <c:idx val="7"/>
            <c:invertIfNegative val="1"/>
            <c:bubble3D val="0"/>
            <c:spPr>
              <a:solidFill>
                <a:srgbClr val="AEABAB"/>
              </a:solidFill>
            </c:spPr>
            <c:extLst>
              <c:ext xmlns:c16="http://schemas.microsoft.com/office/drawing/2014/chart" uri="{C3380CC4-5D6E-409C-BE32-E72D297353CC}">
                <c16:uniqueId val="{00000047-2993-41DE-A2CB-63102DE87051}"/>
              </c:ext>
            </c:extLst>
          </c:dPt>
          <c:dPt>
            <c:idx val="8"/>
            <c:invertIfNegative val="1"/>
            <c:bubble3D val="0"/>
            <c:spPr>
              <a:solidFill>
                <a:srgbClr val="AEABAB"/>
              </a:solidFill>
            </c:spPr>
            <c:extLst>
              <c:ext xmlns:c16="http://schemas.microsoft.com/office/drawing/2014/chart" uri="{C3380CC4-5D6E-409C-BE32-E72D297353CC}">
                <c16:uniqueId val="{00000049-2993-41DE-A2CB-63102DE87051}"/>
              </c:ext>
            </c:extLst>
          </c:dPt>
          <c:dPt>
            <c:idx val="9"/>
            <c:invertIfNegative val="1"/>
            <c:bubble3D val="0"/>
            <c:spPr>
              <a:solidFill>
                <a:srgbClr val="AEABAB"/>
              </a:solidFill>
            </c:spPr>
            <c:extLst>
              <c:ext xmlns:c16="http://schemas.microsoft.com/office/drawing/2014/chart" uri="{C3380CC4-5D6E-409C-BE32-E72D297353CC}">
                <c16:uniqueId val="{0000004B-2993-41DE-A2CB-63102DE87051}"/>
              </c:ext>
            </c:extLst>
          </c:dPt>
          <c:dPt>
            <c:idx val="10"/>
            <c:invertIfNegative val="1"/>
            <c:bubble3D val="0"/>
            <c:spPr>
              <a:solidFill>
                <a:srgbClr val="AEABAB"/>
              </a:solidFill>
            </c:spPr>
            <c:extLst>
              <c:ext xmlns:c16="http://schemas.microsoft.com/office/drawing/2014/chart" uri="{C3380CC4-5D6E-409C-BE32-E72D297353CC}">
                <c16:uniqueId val="{0000004D-2993-41DE-A2CB-63102DE87051}"/>
              </c:ext>
            </c:extLst>
          </c:dPt>
          <c:dPt>
            <c:idx val="11"/>
            <c:invertIfNegative val="1"/>
            <c:bubble3D val="0"/>
            <c:spPr>
              <a:solidFill>
                <a:srgbClr val="AEABAB"/>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13</c:f>
              <c:strCache>
                <c:ptCount val="12"/>
                <c:pt idx="0">
                  <c:v>French Bloo</c:v>
                </c:pt>
                <c:pt idx="1">
                  <c:v>Bouvet-Ladu</c:v>
                </c:pt>
                <c:pt idx="2">
                  <c:v>De Chanceny</c:v>
                </c:pt>
                <c:pt idx="3">
                  <c:v>All Others</c:v>
                </c:pt>
                <c:pt idx="4">
                  <c:v>All Others</c:v>
                </c:pt>
                <c:pt idx="5">
                  <c:v>Bouvet-Ladu</c:v>
                </c:pt>
                <c:pt idx="6">
                  <c:v>Bouvet-Ladu</c:v>
                </c:pt>
                <c:pt idx="7">
                  <c:v>All Others</c:v>
                </c:pt>
                <c:pt idx="8">
                  <c:v>Bouvet-Ladu</c:v>
                </c:pt>
                <c:pt idx="9">
                  <c:v>Bouvet-Ladu</c:v>
                </c:pt>
                <c:pt idx="10">
                  <c:v>All Others</c:v>
                </c:pt>
                <c:pt idx="11">
                  <c:v>All Others</c:v>
                </c:pt>
              </c:strCache>
            </c:strRef>
          </c:cat>
          <c:val>
            <c:numRef>
              <c:f>Sheet1!$C$2:$C$13</c:f>
              <c:numCache>
                <c:formatCode>General</c:formatCode>
                <c:ptCount val="12"/>
                <c:pt idx="0">
                  <c:v>0.30909861314111875</c:v>
                </c:pt>
                <c:pt idx="1">
                  <c:v>0.5852944397099642</c:v>
                </c:pt>
                <c:pt idx="2">
                  <c:v>0.76429112134182053</c:v>
                </c:pt>
                <c:pt idx="3">
                  <c:v>0.92086858405183702</c:v>
                </c:pt>
                <c:pt idx="4">
                  <c:v>0.96238389282194603</c:v>
                </c:pt>
                <c:pt idx="5">
                  <c:v>0.97322929114514656</c:v>
                </c:pt>
                <c:pt idx="6">
                  <c:v>0.98402708016929874</c:v>
                </c:pt>
                <c:pt idx="7">
                  <c:v>0.99155411034883345</c:v>
                </c:pt>
                <c:pt idx="8">
                  <c:v>0.99884309403312665</c:v>
                </c:pt>
                <c:pt idx="9">
                  <c:v>0.99973814885523449</c:v>
                </c:pt>
                <c:pt idx="10">
                  <c:v>0.99991906419161802</c:v>
                </c:pt>
                <c:pt idx="11">
                  <c:v>1.0000000000000002</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6</c:f>
              <c:strCache>
                <c:ptCount val="25"/>
                <c:pt idx="0">
                  <c:v>Bouvet-Ladu</c:v>
                </c:pt>
                <c:pt idx="1">
                  <c:v>French Bloo</c:v>
                </c:pt>
                <c:pt idx="2">
                  <c:v>De Chanceny</c:v>
                </c:pt>
                <c:pt idx="3">
                  <c:v>All Others</c:v>
                </c:pt>
                <c:pt idx="4">
                  <c:v>All Others</c:v>
                </c:pt>
                <c:pt idx="5">
                  <c:v>All Others</c:v>
                </c:pt>
                <c:pt idx="6">
                  <c:v>All Others</c:v>
                </c:pt>
                <c:pt idx="7">
                  <c:v>All Others</c:v>
                </c:pt>
                <c:pt idx="8">
                  <c:v>All Others</c:v>
                </c:pt>
                <c:pt idx="9">
                  <c:v>Bouvet-Ladu</c:v>
                </c:pt>
                <c:pt idx="10">
                  <c:v>Bouvet-Ladu</c:v>
                </c:pt>
                <c:pt idx="11">
                  <c:v>All Others</c:v>
                </c:pt>
                <c:pt idx="12">
                  <c:v>All Others</c:v>
                </c:pt>
                <c:pt idx="13">
                  <c:v>Bouvet-Ladu</c:v>
                </c:pt>
                <c:pt idx="14">
                  <c:v>All Others</c:v>
                </c:pt>
                <c:pt idx="15">
                  <c:v>All Others</c:v>
                </c:pt>
                <c:pt idx="16">
                  <c:v>Bouvet-Ladu</c:v>
                </c:pt>
                <c:pt idx="17">
                  <c:v>All Others</c:v>
                </c:pt>
                <c:pt idx="18">
                  <c:v>All Others</c:v>
                </c:pt>
                <c:pt idx="19">
                  <c:v>All Others</c:v>
                </c:pt>
                <c:pt idx="20">
                  <c:v>All Others</c:v>
                </c:pt>
                <c:pt idx="21">
                  <c:v>All Others</c:v>
                </c:pt>
                <c:pt idx="22">
                  <c:v>Bouvet-Ladu</c:v>
                </c:pt>
                <c:pt idx="23">
                  <c:v>All Others</c:v>
                </c:pt>
                <c:pt idx="24">
                  <c:v>All Others</c:v>
                </c:pt>
              </c:strCache>
            </c:strRef>
          </c:cat>
          <c:val>
            <c:numRef>
              <c:f>Sheet1!$B$2:$B$26</c:f>
              <c:numCache>
                <c:formatCode>General</c:formatCode>
                <c:ptCount val="25"/>
                <c:pt idx="0">
                  <c:v>0.77</c:v>
                </c:pt>
                <c:pt idx="1">
                  <c:v>0.73</c:v>
                </c:pt>
                <c:pt idx="2">
                  <c:v>0.67</c:v>
                </c:pt>
                <c:pt idx="3">
                  <c:v>0.52</c:v>
                </c:pt>
                <c:pt idx="4">
                  <c:v>0.12</c:v>
                </c:pt>
                <c:pt idx="5">
                  <c:v>0.32</c:v>
                </c:pt>
                <c:pt idx="6">
                  <c:v>0.08</c:v>
                </c:pt>
                <c:pt idx="7">
                  <c:v>0.06</c:v>
                </c:pt>
                <c:pt idx="8">
                  <c:v>0.06</c:v>
                </c:pt>
                <c:pt idx="9">
                  <c:v>0.08</c:v>
                </c:pt>
                <c:pt idx="10">
                  <c:v>7.0000000000000007E-2</c:v>
                </c:pt>
                <c:pt idx="11">
                  <c:v>0.15</c:v>
                </c:pt>
                <c:pt idx="12">
                  <c:v>0.1</c:v>
                </c:pt>
                <c:pt idx="13">
                  <c:v>0.06</c:v>
                </c:pt>
                <c:pt idx="14">
                  <c:v>0.04</c:v>
                </c:pt>
                <c:pt idx="15">
                  <c:v>0.04</c:v>
                </c:pt>
                <c:pt idx="16">
                  <c:v>0.04</c:v>
                </c:pt>
                <c:pt idx="17">
                  <c:v>0.06</c:v>
                </c:pt>
                <c:pt idx="18">
                  <c:v>0.05</c:v>
                </c:pt>
                <c:pt idx="19">
                  <c:v>0.04</c:v>
                </c:pt>
                <c:pt idx="20">
                  <c:v>0.03</c:v>
                </c:pt>
                <c:pt idx="21">
                  <c:v>0.02</c:v>
                </c:pt>
                <c:pt idx="22">
                  <c:v>0.01</c:v>
                </c:pt>
                <c:pt idx="23">
                  <c:v>0.02</c:v>
                </c:pt>
                <c:pt idx="24">
                  <c:v>0.02</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7ECAC4"/>
              </a:solidFill>
            </c:spPr>
            <c:extLst>
              <c:ext xmlns:c16="http://schemas.microsoft.com/office/drawing/2014/chart" uri="{C3380CC4-5D6E-409C-BE32-E72D297353CC}">
                <c16:uniqueId val="{00000010-C76F-4230-900D-40618C09729F}"/>
              </c:ext>
            </c:extLst>
          </c:dPt>
          <c:dPt>
            <c:idx val="6"/>
            <c:invertIfNegative val="1"/>
            <c:bubble3D val="0"/>
            <c:spPr>
              <a:solidFill>
                <a:srgbClr val="7ECAC4"/>
              </a:solidFill>
            </c:spPr>
            <c:extLst>
              <c:ext xmlns:c16="http://schemas.microsoft.com/office/drawing/2014/chart" uri="{C3380CC4-5D6E-409C-BE32-E72D297353CC}">
                <c16:uniqueId val="{00000045-2993-41DE-A2CB-63102DE87051}"/>
              </c:ext>
            </c:extLst>
          </c:dPt>
          <c:dPt>
            <c:idx val="7"/>
            <c:invertIfNegative val="1"/>
            <c:bubble3D val="0"/>
            <c:spPr>
              <a:solidFill>
                <a:srgbClr val="7ECAC4"/>
              </a:solidFill>
            </c:spPr>
            <c:extLst>
              <c:ext xmlns:c16="http://schemas.microsoft.com/office/drawing/2014/chart" uri="{C3380CC4-5D6E-409C-BE32-E72D297353CC}">
                <c16:uniqueId val="{00000047-2993-41DE-A2CB-63102DE87051}"/>
              </c:ext>
            </c:extLst>
          </c:dPt>
          <c:dPt>
            <c:idx val="8"/>
            <c:invertIfNegative val="1"/>
            <c:bubble3D val="0"/>
            <c:spPr>
              <a:solidFill>
                <a:srgbClr val="AEABAB"/>
              </a:solidFill>
            </c:spPr>
            <c:extLst>
              <c:ext xmlns:c16="http://schemas.microsoft.com/office/drawing/2014/chart" uri="{C3380CC4-5D6E-409C-BE32-E72D297353CC}">
                <c16:uniqueId val="{00000049-2993-41DE-A2CB-63102DE87051}"/>
              </c:ext>
            </c:extLst>
          </c:dPt>
          <c:dPt>
            <c:idx val="9"/>
            <c:invertIfNegative val="1"/>
            <c:bubble3D val="0"/>
            <c:spPr>
              <a:solidFill>
                <a:srgbClr val="AEABAB"/>
              </a:solidFill>
            </c:spPr>
            <c:extLst>
              <c:ext xmlns:c16="http://schemas.microsoft.com/office/drawing/2014/chart" uri="{C3380CC4-5D6E-409C-BE32-E72D297353CC}">
                <c16:uniqueId val="{0000004B-2993-41DE-A2CB-63102DE87051}"/>
              </c:ext>
            </c:extLst>
          </c:dPt>
          <c:dPt>
            <c:idx val="10"/>
            <c:invertIfNegative val="1"/>
            <c:bubble3D val="0"/>
            <c:spPr>
              <a:solidFill>
                <a:srgbClr val="AEABAB"/>
              </a:solidFill>
            </c:spPr>
            <c:extLst>
              <c:ext xmlns:c16="http://schemas.microsoft.com/office/drawing/2014/chart" uri="{C3380CC4-5D6E-409C-BE32-E72D297353CC}">
                <c16:uniqueId val="{0000004D-2993-41DE-A2CB-63102DE87051}"/>
              </c:ext>
            </c:extLst>
          </c:dPt>
          <c:dPt>
            <c:idx val="11"/>
            <c:invertIfNegative val="1"/>
            <c:bubble3D val="0"/>
            <c:spPr>
              <a:solidFill>
                <a:srgbClr val="AEABAB"/>
              </a:solidFill>
            </c:spPr>
            <c:extLst>
              <c:ext xmlns:c16="http://schemas.microsoft.com/office/drawing/2014/chart" uri="{C3380CC4-5D6E-409C-BE32-E72D297353CC}">
                <c16:uniqueId val="{0000004F-2993-41DE-A2CB-63102DE87051}"/>
              </c:ext>
            </c:extLst>
          </c:dPt>
          <c:dPt>
            <c:idx val="12"/>
            <c:invertIfNegative val="1"/>
            <c:bubble3D val="0"/>
            <c:spPr>
              <a:solidFill>
                <a:srgbClr val="AEABAB"/>
              </a:solidFill>
            </c:spPr>
            <c:extLst>
              <c:ext xmlns:c16="http://schemas.microsoft.com/office/drawing/2014/chart" uri="{C3380CC4-5D6E-409C-BE32-E72D297353CC}">
                <c16:uniqueId val="{00000051-2993-41DE-A2CB-63102DE87051}"/>
              </c:ext>
            </c:extLst>
          </c:dPt>
          <c:dPt>
            <c:idx val="13"/>
            <c:invertIfNegative val="1"/>
            <c:bubble3D val="0"/>
            <c:spPr>
              <a:solidFill>
                <a:srgbClr val="AEABAB"/>
              </a:solidFill>
            </c:spPr>
            <c:extLst>
              <c:ext xmlns:c16="http://schemas.microsoft.com/office/drawing/2014/chart" uri="{C3380CC4-5D6E-409C-BE32-E72D297353CC}">
                <c16:uniqueId val="{00000053-2993-41DE-A2CB-63102DE87051}"/>
              </c:ext>
            </c:extLst>
          </c:dPt>
          <c:dPt>
            <c:idx val="14"/>
            <c:invertIfNegative val="1"/>
            <c:bubble3D val="0"/>
            <c:spPr>
              <a:solidFill>
                <a:srgbClr val="AEABAB"/>
              </a:solidFill>
            </c:spPr>
            <c:extLst>
              <c:ext xmlns:c16="http://schemas.microsoft.com/office/drawing/2014/chart" uri="{C3380CC4-5D6E-409C-BE32-E72D297353CC}">
                <c16:uniqueId val="{00000055-2993-41DE-A2CB-63102DE87051}"/>
              </c:ext>
            </c:extLst>
          </c:dPt>
          <c:dPt>
            <c:idx val="15"/>
            <c:invertIfNegative val="1"/>
            <c:bubble3D val="0"/>
            <c:spPr>
              <a:solidFill>
                <a:srgbClr val="AEABAB"/>
              </a:solidFill>
            </c:spPr>
            <c:extLst>
              <c:ext xmlns:c16="http://schemas.microsoft.com/office/drawing/2014/chart" uri="{C3380CC4-5D6E-409C-BE32-E72D297353CC}">
                <c16:uniqueId val="{00000057-2993-41DE-A2CB-63102DE87051}"/>
              </c:ext>
            </c:extLst>
          </c:dPt>
          <c:dPt>
            <c:idx val="16"/>
            <c:invertIfNegative val="1"/>
            <c:bubble3D val="0"/>
            <c:spPr>
              <a:solidFill>
                <a:srgbClr val="AEABAB"/>
              </a:solidFill>
            </c:spPr>
            <c:extLst>
              <c:ext xmlns:c16="http://schemas.microsoft.com/office/drawing/2014/chart" uri="{C3380CC4-5D6E-409C-BE32-E72D297353CC}">
                <c16:uniqueId val="{00000059-2993-41DE-A2CB-63102DE87051}"/>
              </c:ext>
            </c:extLst>
          </c:dPt>
          <c:dPt>
            <c:idx val="17"/>
            <c:invertIfNegative val="1"/>
            <c:bubble3D val="0"/>
            <c:spPr>
              <a:solidFill>
                <a:srgbClr val="AEABAB"/>
              </a:solidFill>
            </c:spPr>
            <c:extLst>
              <c:ext xmlns:c16="http://schemas.microsoft.com/office/drawing/2014/chart" uri="{C3380CC4-5D6E-409C-BE32-E72D297353CC}">
                <c16:uniqueId val="{0000005B-2993-41DE-A2CB-63102DE87051}"/>
              </c:ext>
            </c:extLst>
          </c:dPt>
          <c:dPt>
            <c:idx val="18"/>
            <c:invertIfNegative val="1"/>
            <c:bubble3D val="0"/>
            <c:spPr>
              <a:solidFill>
                <a:srgbClr val="AEABAB"/>
              </a:solidFill>
            </c:spPr>
            <c:extLst>
              <c:ext xmlns:c16="http://schemas.microsoft.com/office/drawing/2014/chart" uri="{C3380CC4-5D6E-409C-BE32-E72D297353CC}">
                <c16:uniqueId val="{0000005D-2993-41DE-A2CB-63102DE87051}"/>
              </c:ext>
            </c:extLst>
          </c:dPt>
          <c:dPt>
            <c:idx val="19"/>
            <c:invertIfNegative val="1"/>
            <c:bubble3D val="0"/>
            <c:spPr>
              <a:solidFill>
                <a:srgbClr val="AEABAB"/>
              </a:solidFill>
            </c:spPr>
            <c:extLst>
              <c:ext xmlns:c16="http://schemas.microsoft.com/office/drawing/2014/chart" uri="{C3380CC4-5D6E-409C-BE32-E72D297353CC}">
                <c16:uniqueId val="{0000005F-2993-41DE-A2CB-63102DE87051}"/>
              </c:ext>
            </c:extLst>
          </c:dPt>
          <c:dPt>
            <c:idx val="20"/>
            <c:invertIfNegative val="1"/>
            <c:bubble3D val="0"/>
            <c:spPr>
              <a:solidFill>
                <a:srgbClr val="AEABAB"/>
              </a:solidFill>
            </c:spPr>
            <c:extLst>
              <c:ext xmlns:c16="http://schemas.microsoft.com/office/drawing/2014/chart" uri="{C3380CC4-5D6E-409C-BE32-E72D297353CC}">
                <c16:uniqueId val="{00000061-2993-41DE-A2CB-63102DE87051}"/>
              </c:ext>
            </c:extLst>
          </c:dPt>
          <c:dPt>
            <c:idx val="21"/>
            <c:invertIfNegative val="1"/>
            <c:bubble3D val="0"/>
            <c:spPr>
              <a:solidFill>
                <a:srgbClr val="AEABAB"/>
              </a:solidFill>
            </c:spPr>
            <c:extLst>
              <c:ext xmlns:c16="http://schemas.microsoft.com/office/drawing/2014/chart" uri="{C3380CC4-5D6E-409C-BE32-E72D297353CC}">
                <c16:uniqueId val="{00000063-2993-41DE-A2CB-63102DE87051}"/>
              </c:ext>
            </c:extLst>
          </c:dPt>
          <c:dPt>
            <c:idx val="22"/>
            <c:invertIfNegative val="1"/>
            <c:bubble3D val="0"/>
            <c:spPr>
              <a:solidFill>
                <a:srgbClr val="AEABAB"/>
              </a:solidFill>
            </c:spPr>
            <c:extLst>
              <c:ext xmlns:c16="http://schemas.microsoft.com/office/drawing/2014/chart" uri="{C3380CC4-5D6E-409C-BE32-E72D297353CC}">
                <c16:uniqueId val="{00000065-2993-41DE-A2CB-63102DE87051}"/>
              </c:ext>
            </c:extLst>
          </c:dPt>
          <c:dPt>
            <c:idx val="23"/>
            <c:invertIfNegative val="1"/>
            <c:bubble3D val="0"/>
            <c:spPr>
              <a:solidFill>
                <a:srgbClr val="AEABAB"/>
              </a:solidFill>
            </c:spPr>
            <c:extLst>
              <c:ext xmlns:c16="http://schemas.microsoft.com/office/drawing/2014/chart" uri="{C3380CC4-5D6E-409C-BE32-E72D297353CC}">
                <c16:uniqueId val="{00000067-2993-41DE-A2CB-63102DE87051}"/>
              </c:ext>
            </c:extLst>
          </c:dPt>
          <c:dPt>
            <c:idx val="24"/>
            <c:invertIfNegative val="1"/>
            <c:bubble3D val="0"/>
            <c:spPr>
              <a:solidFill>
                <a:srgbClr val="AEABAB"/>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6</c:f>
              <c:strCache>
                <c:ptCount val="25"/>
                <c:pt idx="0">
                  <c:v>Bouvet-Ladu</c:v>
                </c:pt>
                <c:pt idx="1">
                  <c:v>French Bloo</c:v>
                </c:pt>
                <c:pt idx="2">
                  <c:v>De Chanceny</c:v>
                </c:pt>
                <c:pt idx="3">
                  <c:v>All Others</c:v>
                </c:pt>
                <c:pt idx="4">
                  <c:v>All Others</c:v>
                </c:pt>
                <c:pt idx="5">
                  <c:v>All Others</c:v>
                </c:pt>
                <c:pt idx="6">
                  <c:v>All Others</c:v>
                </c:pt>
                <c:pt idx="7">
                  <c:v>All Others</c:v>
                </c:pt>
                <c:pt idx="8">
                  <c:v>All Others</c:v>
                </c:pt>
                <c:pt idx="9">
                  <c:v>Bouvet-Ladu</c:v>
                </c:pt>
                <c:pt idx="10">
                  <c:v>Bouvet-Ladu</c:v>
                </c:pt>
                <c:pt idx="11">
                  <c:v>All Others</c:v>
                </c:pt>
                <c:pt idx="12">
                  <c:v>All Others</c:v>
                </c:pt>
                <c:pt idx="13">
                  <c:v>Bouvet-Ladu</c:v>
                </c:pt>
                <c:pt idx="14">
                  <c:v>All Others</c:v>
                </c:pt>
                <c:pt idx="15">
                  <c:v>All Others</c:v>
                </c:pt>
                <c:pt idx="16">
                  <c:v>Bouvet-Ladu</c:v>
                </c:pt>
                <c:pt idx="17">
                  <c:v>All Others</c:v>
                </c:pt>
                <c:pt idx="18">
                  <c:v>All Others</c:v>
                </c:pt>
                <c:pt idx="19">
                  <c:v>All Others</c:v>
                </c:pt>
                <c:pt idx="20">
                  <c:v>All Others</c:v>
                </c:pt>
                <c:pt idx="21">
                  <c:v>All Others</c:v>
                </c:pt>
                <c:pt idx="22">
                  <c:v>Bouvet-Ladu</c:v>
                </c:pt>
                <c:pt idx="23">
                  <c:v>All Others</c:v>
                </c:pt>
                <c:pt idx="24">
                  <c:v>All Others</c:v>
                </c:pt>
              </c:strCache>
            </c:strRef>
          </c:cat>
          <c:val>
            <c:numRef>
              <c:f>Sheet1!$C$2:$C$26</c:f>
              <c:numCache>
                <c:formatCode>General</c:formatCode>
                <c:ptCount val="25"/>
                <c:pt idx="0">
                  <c:v>0.25864379670738769</c:v>
                </c:pt>
                <c:pt idx="1">
                  <c:v>0.49871218597468492</c:v>
                </c:pt>
                <c:pt idx="2">
                  <c:v>0.62604858947136199</c:v>
                </c:pt>
                <c:pt idx="3">
                  <c:v>0.73065107685519681</c:v>
                </c:pt>
                <c:pt idx="4">
                  <c:v>0.83423324049306458</c:v>
                </c:pt>
                <c:pt idx="5">
                  <c:v>0.8843394093152801</c:v>
                </c:pt>
                <c:pt idx="6">
                  <c:v>0.92612856079199191</c:v>
                </c:pt>
                <c:pt idx="7">
                  <c:v>0.94257507652428096</c:v>
                </c:pt>
                <c:pt idx="8">
                  <c:v>0.95828806221217222</c:v>
                </c:pt>
                <c:pt idx="9">
                  <c:v>0.96656647271323393</c:v>
                </c:pt>
                <c:pt idx="10">
                  <c:v>0.97334473154454959</c:v>
                </c:pt>
                <c:pt idx="11">
                  <c:v>0.98007335300443987</c:v>
                </c:pt>
                <c:pt idx="12">
                  <c:v>0.9848275101342967</c:v>
                </c:pt>
                <c:pt idx="13">
                  <c:v>0.9892066293467171</c:v>
                </c:pt>
                <c:pt idx="14">
                  <c:v>0.991594738438629</c:v>
                </c:pt>
                <c:pt idx="15">
                  <c:v>0.99330447012106016</c:v>
                </c:pt>
                <c:pt idx="16">
                  <c:v>0.99488735074318191</c:v>
                </c:pt>
                <c:pt idx="17">
                  <c:v>0.9964536855748285</c:v>
                </c:pt>
                <c:pt idx="18">
                  <c:v>0.99781595565728165</c:v>
                </c:pt>
                <c:pt idx="19">
                  <c:v>0.99888040151118229</c:v>
                </c:pt>
                <c:pt idx="20">
                  <c:v>0.9993105920635359</c:v>
                </c:pt>
                <c:pt idx="21">
                  <c:v>0.99965805366351379</c:v>
                </c:pt>
                <c:pt idx="22">
                  <c:v>0.99986763367619891</c:v>
                </c:pt>
                <c:pt idx="23">
                  <c:v>0.99993933210159114</c:v>
                </c:pt>
                <c:pt idx="24">
                  <c:v>1</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5</c:f>
              <c:strCache>
                <c:ptCount val="24"/>
                <c:pt idx="0">
                  <c:v>French Bloo</c:v>
                </c:pt>
                <c:pt idx="1">
                  <c:v>Bouvet-Ladu</c:v>
                </c:pt>
                <c:pt idx="2">
                  <c:v>De Chanceny</c:v>
                </c:pt>
                <c:pt idx="3">
                  <c:v>All Others</c:v>
                </c:pt>
                <c:pt idx="4">
                  <c:v>All Others</c:v>
                </c:pt>
                <c:pt idx="5">
                  <c:v>All Others</c:v>
                </c:pt>
                <c:pt idx="6">
                  <c:v>All Others</c:v>
                </c:pt>
                <c:pt idx="7">
                  <c:v>Bouvet-Ladu</c:v>
                </c:pt>
                <c:pt idx="8">
                  <c:v>All Others</c:v>
                </c:pt>
                <c:pt idx="9">
                  <c:v>All Others</c:v>
                </c:pt>
                <c:pt idx="10">
                  <c:v>All Others</c:v>
                </c:pt>
                <c:pt idx="11">
                  <c:v>Bouvet-Ladu</c:v>
                </c:pt>
                <c:pt idx="12">
                  <c:v>All Others</c:v>
                </c:pt>
                <c:pt idx="13">
                  <c:v>Bouvet-Ladu</c:v>
                </c:pt>
                <c:pt idx="14">
                  <c:v>All Others</c:v>
                </c:pt>
                <c:pt idx="15">
                  <c:v>All Others</c:v>
                </c:pt>
                <c:pt idx="16">
                  <c:v>All Others</c:v>
                </c:pt>
                <c:pt idx="17">
                  <c:v>Bouvet-Ladu</c:v>
                </c:pt>
                <c:pt idx="18">
                  <c:v>All Others</c:v>
                </c:pt>
                <c:pt idx="19">
                  <c:v>Bouvet-Ladu</c:v>
                </c:pt>
                <c:pt idx="20">
                  <c:v>All Others</c:v>
                </c:pt>
                <c:pt idx="21">
                  <c:v>All Others</c:v>
                </c:pt>
                <c:pt idx="22">
                  <c:v>All Others</c:v>
                </c:pt>
                <c:pt idx="23">
                  <c:v>All Others</c:v>
                </c:pt>
              </c:strCache>
            </c:strRef>
          </c:cat>
          <c:val>
            <c:numRef>
              <c:f>Sheet1!$B$2:$B$25</c:f>
              <c:numCache>
                <c:formatCode>General</c:formatCode>
                <c:ptCount val="24"/>
                <c:pt idx="0">
                  <c:v>0.68</c:v>
                </c:pt>
                <c:pt idx="1">
                  <c:v>0.64</c:v>
                </c:pt>
                <c:pt idx="2">
                  <c:v>0.52</c:v>
                </c:pt>
                <c:pt idx="3">
                  <c:v>0.38</c:v>
                </c:pt>
                <c:pt idx="4">
                  <c:v>0.08</c:v>
                </c:pt>
                <c:pt idx="5">
                  <c:v>0.25</c:v>
                </c:pt>
                <c:pt idx="6">
                  <c:v>0.04</c:v>
                </c:pt>
                <c:pt idx="7">
                  <c:v>0.05</c:v>
                </c:pt>
                <c:pt idx="8">
                  <c:v>0.02</c:v>
                </c:pt>
                <c:pt idx="9">
                  <c:v>0.04</c:v>
                </c:pt>
                <c:pt idx="10">
                  <c:v>0.09</c:v>
                </c:pt>
                <c:pt idx="11">
                  <c:v>0.05</c:v>
                </c:pt>
                <c:pt idx="12">
                  <c:v>0.02</c:v>
                </c:pt>
                <c:pt idx="13">
                  <c:v>0.05</c:v>
                </c:pt>
                <c:pt idx="14">
                  <c:v>0.03</c:v>
                </c:pt>
                <c:pt idx="15">
                  <c:v>0.03</c:v>
                </c:pt>
                <c:pt idx="16">
                  <c:v>0.02</c:v>
                </c:pt>
                <c:pt idx="17">
                  <c:v>0.01</c:v>
                </c:pt>
                <c:pt idx="18">
                  <c:v>0.03</c:v>
                </c:pt>
                <c:pt idx="19">
                  <c:v>0.01</c:v>
                </c:pt>
                <c:pt idx="20">
                  <c:v>0.03</c:v>
                </c:pt>
                <c:pt idx="21">
                  <c:v>0.01</c:v>
                </c:pt>
                <c:pt idx="22">
                  <c:v>0.02</c:v>
                </c:pt>
                <c:pt idx="23">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7ECAC4"/>
              </a:solidFill>
            </c:spPr>
            <c:extLst>
              <c:ext xmlns:c16="http://schemas.microsoft.com/office/drawing/2014/chart" uri="{C3380CC4-5D6E-409C-BE32-E72D297353CC}">
                <c16:uniqueId val="{0000000E-C76F-4230-900D-40618C09729F}"/>
              </c:ext>
            </c:extLst>
          </c:dPt>
          <c:dPt>
            <c:idx val="5"/>
            <c:invertIfNegative val="0"/>
            <c:bubble3D val="0"/>
            <c:spPr>
              <a:solidFill>
                <a:srgbClr val="7ECAC4"/>
              </a:solidFill>
            </c:spPr>
            <c:extLst>
              <c:ext xmlns:c16="http://schemas.microsoft.com/office/drawing/2014/chart" uri="{C3380CC4-5D6E-409C-BE32-E72D297353CC}">
                <c16:uniqueId val="{00000010-C76F-4230-900D-40618C09729F}"/>
              </c:ext>
            </c:extLst>
          </c:dPt>
          <c:dPt>
            <c:idx val="6"/>
            <c:invertIfNegative val="1"/>
            <c:bubble3D val="0"/>
            <c:spPr>
              <a:solidFill>
                <a:srgbClr val="7ECAC4"/>
              </a:solidFill>
            </c:spPr>
            <c:extLst>
              <c:ext xmlns:c16="http://schemas.microsoft.com/office/drawing/2014/chart" uri="{C3380CC4-5D6E-409C-BE32-E72D297353CC}">
                <c16:uniqueId val="{00000045-2993-41DE-A2CB-63102DE87051}"/>
              </c:ext>
            </c:extLst>
          </c:dPt>
          <c:dPt>
            <c:idx val="7"/>
            <c:invertIfNegative val="1"/>
            <c:bubble3D val="0"/>
            <c:spPr>
              <a:solidFill>
                <a:srgbClr val="7ECAC4"/>
              </a:solidFill>
            </c:spPr>
            <c:extLst>
              <c:ext xmlns:c16="http://schemas.microsoft.com/office/drawing/2014/chart" uri="{C3380CC4-5D6E-409C-BE32-E72D297353CC}">
                <c16:uniqueId val="{00000047-2993-41DE-A2CB-63102DE87051}"/>
              </c:ext>
            </c:extLst>
          </c:dPt>
          <c:dPt>
            <c:idx val="8"/>
            <c:invertIfNegative val="1"/>
            <c:bubble3D val="0"/>
            <c:spPr>
              <a:solidFill>
                <a:srgbClr val="AEABAB"/>
              </a:solidFill>
            </c:spPr>
            <c:extLst>
              <c:ext xmlns:c16="http://schemas.microsoft.com/office/drawing/2014/chart" uri="{C3380CC4-5D6E-409C-BE32-E72D297353CC}">
                <c16:uniqueId val="{00000049-2993-41DE-A2CB-63102DE87051}"/>
              </c:ext>
            </c:extLst>
          </c:dPt>
          <c:dPt>
            <c:idx val="9"/>
            <c:invertIfNegative val="1"/>
            <c:bubble3D val="0"/>
            <c:spPr>
              <a:solidFill>
                <a:srgbClr val="AEABAB"/>
              </a:solidFill>
            </c:spPr>
            <c:extLst>
              <c:ext xmlns:c16="http://schemas.microsoft.com/office/drawing/2014/chart" uri="{C3380CC4-5D6E-409C-BE32-E72D297353CC}">
                <c16:uniqueId val="{0000004B-2993-41DE-A2CB-63102DE87051}"/>
              </c:ext>
            </c:extLst>
          </c:dPt>
          <c:dPt>
            <c:idx val="10"/>
            <c:invertIfNegative val="1"/>
            <c:bubble3D val="0"/>
            <c:spPr>
              <a:solidFill>
                <a:srgbClr val="AEABAB"/>
              </a:solidFill>
            </c:spPr>
            <c:extLst>
              <c:ext xmlns:c16="http://schemas.microsoft.com/office/drawing/2014/chart" uri="{C3380CC4-5D6E-409C-BE32-E72D297353CC}">
                <c16:uniqueId val="{0000004D-2993-41DE-A2CB-63102DE87051}"/>
              </c:ext>
            </c:extLst>
          </c:dPt>
          <c:dPt>
            <c:idx val="11"/>
            <c:invertIfNegative val="1"/>
            <c:bubble3D val="0"/>
            <c:spPr>
              <a:solidFill>
                <a:srgbClr val="AEABAB"/>
              </a:solidFill>
            </c:spPr>
            <c:extLst>
              <c:ext xmlns:c16="http://schemas.microsoft.com/office/drawing/2014/chart" uri="{C3380CC4-5D6E-409C-BE32-E72D297353CC}">
                <c16:uniqueId val="{0000004F-2993-41DE-A2CB-63102DE87051}"/>
              </c:ext>
            </c:extLst>
          </c:dPt>
          <c:dPt>
            <c:idx val="12"/>
            <c:invertIfNegative val="1"/>
            <c:bubble3D val="0"/>
            <c:spPr>
              <a:solidFill>
                <a:srgbClr val="AEABAB"/>
              </a:solidFill>
            </c:spPr>
            <c:extLst>
              <c:ext xmlns:c16="http://schemas.microsoft.com/office/drawing/2014/chart" uri="{C3380CC4-5D6E-409C-BE32-E72D297353CC}">
                <c16:uniqueId val="{00000051-2993-41DE-A2CB-63102DE87051}"/>
              </c:ext>
            </c:extLst>
          </c:dPt>
          <c:dPt>
            <c:idx val="13"/>
            <c:invertIfNegative val="1"/>
            <c:bubble3D val="0"/>
            <c:spPr>
              <a:solidFill>
                <a:srgbClr val="AEABAB"/>
              </a:solidFill>
            </c:spPr>
            <c:extLst>
              <c:ext xmlns:c16="http://schemas.microsoft.com/office/drawing/2014/chart" uri="{C3380CC4-5D6E-409C-BE32-E72D297353CC}">
                <c16:uniqueId val="{00000053-2993-41DE-A2CB-63102DE87051}"/>
              </c:ext>
            </c:extLst>
          </c:dPt>
          <c:dPt>
            <c:idx val="14"/>
            <c:invertIfNegative val="1"/>
            <c:bubble3D val="0"/>
            <c:spPr>
              <a:solidFill>
                <a:srgbClr val="AEABAB"/>
              </a:solidFill>
            </c:spPr>
            <c:extLst>
              <c:ext xmlns:c16="http://schemas.microsoft.com/office/drawing/2014/chart" uri="{C3380CC4-5D6E-409C-BE32-E72D297353CC}">
                <c16:uniqueId val="{00000055-2993-41DE-A2CB-63102DE87051}"/>
              </c:ext>
            </c:extLst>
          </c:dPt>
          <c:dPt>
            <c:idx val="15"/>
            <c:invertIfNegative val="1"/>
            <c:bubble3D val="0"/>
            <c:spPr>
              <a:solidFill>
                <a:srgbClr val="AEABAB"/>
              </a:solidFill>
            </c:spPr>
            <c:extLst>
              <c:ext xmlns:c16="http://schemas.microsoft.com/office/drawing/2014/chart" uri="{C3380CC4-5D6E-409C-BE32-E72D297353CC}">
                <c16:uniqueId val="{00000057-2993-41DE-A2CB-63102DE87051}"/>
              </c:ext>
            </c:extLst>
          </c:dPt>
          <c:dPt>
            <c:idx val="16"/>
            <c:invertIfNegative val="1"/>
            <c:bubble3D val="0"/>
            <c:spPr>
              <a:solidFill>
                <a:srgbClr val="AEABAB"/>
              </a:solidFill>
            </c:spPr>
            <c:extLst>
              <c:ext xmlns:c16="http://schemas.microsoft.com/office/drawing/2014/chart" uri="{C3380CC4-5D6E-409C-BE32-E72D297353CC}">
                <c16:uniqueId val="{00000059-2993-41DE-A2CB-63102DE87051}"/>
              </c:ext>
            </c:extLst>
          </c:dPt>
          <c:dPt>
            <c:idx val="17"/>
            <c:invertIfNegative val="1"/>
            <c:bubble3D val="0"/>
            <c:spPr>
              <a:solidFill>
                <a:srgbClr val="AEABAB"/>
              </a:solidFill>
            </c:spPr>
            <c:extLst>
              <c:ext xmlns:c16="http://schemas.microsoft.com/office/drawing/2014/chart" uri="{C3380CC4-5D6E-409C-BE32-E72D297353CC}">
                <c16:uniqueId val="{0000005B-2993-41DE-A2CB-63102DE87051}"/>
              </c:ext>
            </c:extLst>
          </c:dPt>
          <c:dPt>
            <c:idx val="18"/>
            <c:invertIfNegative val="1"/>
            <c:bubble3D val="0"/>
            <c:spPr>
              <a:solidFill>
                <a:srgbClr val="AEABAB"/>
              </a:solidFill>
            </c:spPr>
            <c:extLst>
              <c:ext xmlns:c16="http://schemas.microsoft.com/office/drawing/2014/chart" uri="{C3380CC4-5D6E-409C-BE32-E72D297353CC}">
                <c16:uniqueId val="{0000005D-2993-41DE-A2CB-63102DE87051}"/>
              </c:ext>
            </c:extLst>
          </c:dPt>
          <c:dPt>
            <c:idx val="19"/>
            <c:invertIfNegative val="1"/>
            <c:bubble3D val="0"/>
            <c:spPr>
              <a:solidFill>
                <a:srgbClr val="AEABAB"/>
              </a:solidFill>
            </c:spPr>
            <c:extLst>
              <c:ext xmlns:c16="http://schemas.microsoft.com/office/drawing/2014/chart" uri="{C3380CC4-5D6E-409C-BE32-E72D297353CC}">
                <c16:uniqueId val="{0000005F-2993-41DE-A2CB-63102DE87051}"/>
              </c:ext>
            </c:extLst>
          </c:dPt>
          <c:dPt>
            <c:idx val="20"/>
            <c:invertIfNegative val="1"/>
            <c:bubble3D val="0"/>
            <c:spPr>
              <a:solidFill>
                <a:srgbClr val="AEABAB"/>
              </a:solidFill>
            </c:spPr>
            <c:extLst>
              <c:ext xmlns:c16="http://schemas.microsoft.com/office/drawing/2014/chart" uri="{C3380CC4-5D6E-409C-BE32-E72D297353CC}">
                <c16:uniqueId val="{00000061-2993-41DE-A2CB-63102DE87051}"/>
              </c:ext>
            </c:extLst>
          </c:dPt>
          <c:dPt>
            <c:idx val="21"/>
            <c:invertIfNegative val="1"/>
            <c:bubble3D val="0"/>
            <c:spPr>
              <a:solidFill>
                <a:srgbClr val="AEABAB"/>
              </a:solidFill>
            </c:spPr>
            <c:extLst>
              <c:ext xmlns:c16="http://schemas.microsoft.com/office/drawing/2014/chart" uri="{C3380CC4-5D6E-409C-BE32-E72D297353CC}">
                <c16:uniqueId val="{00000063-2993-41DE-A2CB-63102DE87051}"/>
              </c:ext>
            </c:extLst>
          </c:dPt>
          <c:dPt>
            <c:idx val="22"/>
            <c:invertIfNegative val="1"/>
            <c:bubble3D val="0"/>
            <c:spPr>
              <a:solidFill>
                <a:srgbClr val="AEABAB"/>
              </a:solidFill>
            </c:spPr>
            <c:extLst>
              <c:ext xmlns:c16="http://schemas.microsoft.com/office/drawing/2014/chart" uri="{C3380CC4-5D6E-409C-BE32-E72D297353CC}">
                <c16:uniqueId val="{00000065-2993-41DE-A2CB-63102DE87051}"/>
              </c:ext>
            </c:extLst>
          </c:dPt>
          <c:dPt>
            <c:idx val="23"/>
            <c:invertIfNegative val="1"/>
            <c:bubble3D val="0"/>
            <c:spPr>
              <a:solidFill>
                <a:srgbClr val="AEABAB"/>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5</c:f>
              <c:strCache>
                <c:ptCount val="24"/>
                <c:pt idx="0">
                  <c:v>French Bloo</c:v>
                </c:pt>
                <c:pt idx="1">
                  <c:v>Bouvet-Ladu</c:v>
                </c:pt>
                <c:pt idx="2">
                  <c:v>De Chanceny</c:v>
                </c:pt>
                <c:pt idx="3">
                  <c:v>All Others</c:v>
                </c:pt>
                <c:pt idx="4">
                  <c:v>All Others</c:v>
                </c:pt>
                <c:pt idx="5">
                  <c:v>All Others</c:v>
                </c:pt>
                <c:pt idx="6">
                  <c:v>All Others</c:v>
                </c:pt>
                <c:pt idx="7">
                  <c:v>Bouvet-Ladu</c:v>
                </c:pt>
                <c:pt idx="8">
                  <c:v>All Others</c:v>
                </c:pt>
                <c:pt idx="9">
                  <c:v>All Others</c:v>
                </c:pt>
                <c:pt idx="10">
                  <c:v>All Others</c:v>
                </c:pt>
                <c:pt idx="11">
                  <c:v>Bouvet-Ladu</c:v>
                </c:pt>
                <c:pt idx="12">
                  <c:v>All Others</c:v>
                </c:pt>
                <c:pt idx="13">
                  <c:v>Bouvet-Ladu</c:v>
                </c:pt>
                <c:pt idx="14">
                  <c:v>All Others</c:v>
                </c:pt>
                <c:pt idx="15">
                  <c:v>All Others</c:v>
                </c:pt>
                <c:pt idx="16">
                  <c:v>All Others</c:v>
                </c:pt>
                <c:pt idx="17">
                  <c:v>Bouvet-Ladu</c:v>
                </c:pt>
                <c:pt idx="18">
                  <c:v>All Others</c:v>
                </c:pt>
                <c:pt idx="19">
                  <c:v>Bouvet-Ladu</c:v>
                </c:pt>
                <c:pt idx="20">
                  <c:v>All Others</c:v>
                </c:pt>
                <c:pt idx="21">
                  <c:v>All Others</c:v>
                </c:pt>
                <c:pt idx="22">
                  <c:v>All Others</c:v>
                </c:pt>
                <c:pt idx="23">
                  <c:v>All Others</c:v>
                </c:pt>
              </c:strCache>
            </c:strRef>
          </c:cat>
          <c:val>
            <c:numRef>
              <c:f>Sheet1!$C$2:$C$25</c:f>
              <c:numCache>
                <c:formatCode>General</c:formatCode>
                <c:ptCount val="24"/>
                <c:pt idx="0">
                  <c:v>0.27490205134427437</c:v>
                </c:pt>
                <c:pt idx="1">
                  <c:v>0.5439721947152738</c:v>
                </c:pt>
                <c:pt idx="2">
                  <c:v>0.70975102841195981</c:v>
                </c:pt>
                <c:pt idx="3">
                  <c:v>0.82164929488709981</c:v>
                </c:pt>
                <c:pt idx="4">
                  <c:v>0.87394076503673324</c:v>
                </c:pt>
                <c:pt idx="5">
                  <c:v>0.9212222739744258</c:v>
                </c:pt>
                <c:pt idx="6">
                  <c:v>0.93862406112152685</c:v>
                </c:pt>
                <c:pt idx="7">
                  <c:v>0.94941113385598719</c:v>
                </c:pt>
                <c:pt idx="8">
                  <c:v>0.95790849775530262</c:v>
                </c:pt>
                <c:pt idx="9">
                  <c:v>0.96508683280428675</c:v>
                </c:pt>
                <c:pt idx="10">
                  <c:v>0.97087177239119982</c:v>
                </c:pt>
                <c:pt idx="11">
                  <c:v>0.9764375261750905</c:v>
                </c:pt>
                <c:pt idx="12">
                  <c:v>0.98190151512186352</c:v>
                </c:pt>
                <c:pt idx="13">
                  <c:v>0.98701324117092204</c:v>
                </c:pt>
                <c:pt idx="14">
                  <c:v>0.99201146028627252</c:v>
                </c:pt>
                <c:pt idx="15">
                  <c:v>0.99630123957399697</c:v>
                </c:pt>
                <c:pt idx="16">
                  <c:v>0.99878273598678646</c:v>
                </c:pt>
                <c:pt idx="17">
                  <c:v>0.99935418468752346</c:v>
                </c:pt>
                <c:pt idx="18">
                  <c:v>0.99956554242615225</c:v>
                </c:pt>
                <c:pt idx="19">
                  <c:v>0.99971427564963178</c:v>
                </c:pt>
                <c:pt idx="20">
                  <c:v>0.99985126677652081</c:v>
                </c:pt>
                <c:pt idx="21">
                  <c:v>0.99992171935606378</c:v>
                </c:pt>
                <c:pt idx="22">
                  <c:v>0.99997260177462255</c:v>
                </c:pt>
                <c:pt idx="23">
                  <c:v>1.000000000000000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30</c:f>
              <c:strCache>
                <c:ptCount val="29"/>
                <c:pt idx="0">
                  <c:v>French Bloo</c:v>
                </c:pt>
                <c:pt idx="1">
                  <c:v>Bouvet-Ladu</c:v>
                </c:pt>
                <c:pt idx="2">
                  <c:v>De Chanceny</c:v>
                </c:pt>
                <c:pt idx="3">
                  <c:v>All Others</c:v>
                </c:pt>
                <c:pt idx="4">
                  <c:v>All Others</c:v>
                </c:pt>
                <c:pt idx="5">
                  <c:v>All Others</c:v>
                </c:pt>
                <c:pt idx="6">
                  <c:v>All Others</c:v>
                </c:pt>
                <c:pt idx="7">
                  <c:v>All Others</c:v>
                </c:pt>
                <c:pt idx="8">
                  <c:v>Bouvet-Ladu</c:v>
                </c:pt>
                <c:pt idx="9">
                  <c:v>Bouvet-Ladu</c:v>
                </c:pt>
                <c:pt idx="10">
                  <c:v>All Others</c:v>
                </c:pt>
                <c:pt idx="11">
                  <c:v>Bouvet-Ladu</c:v>
                </c:pt>
                <c:pt idx="12">
                  <c:v>All Others</c:v>
                </c:pt>
                <c:pt idx="13">
                  <c:v>All Others</c:v>
                </c:pt>
                <c:pt idx="14">
                  <c:v>All Others</c:v>
                </c:pt>
                <c:pt idx="15">
                  <c:v>All Others</c:v>
                </c:pt>
                <c:pt idx="16">
                  <c:v>All Others</c:v>
                </c:pt>
                <c:pt idx="17">
                  <c:v>All Others</c:v>
                </c:pt>
                <c:pt idx="18">
                  <c:v>All Others</c:v>
                </c:pt>
                <c:pt idx="19">
                  <c:v>All Others</c:v>
                </c:pt>
                <c:pt idx="20">
                  <c:v>All Others</c:v>
                </c:pt>
                <c:pt idx="21">
                  <c:v>Bouvet-Ladu</c:v>
                </c:pt>
                <c:pt idx="22">
                  <c:v>Bouvet-Ladu</c:v>
                </c:pt>
                <c:pt idx="23">
                  <c:v>All Others</c:v>
                </c:pt>
                <c:pt idx="24">
                  <c:v>Bouvet-Ladu</c:v>
                </c:pt>
                <c:pt idx="25">
                  <c:v>All Others</c:v>
                </c:pt>
                <c:pt idx="26">
                  <c:v>All Others</c:v>
                </c:pt>
                <c:pt idx="27">
                  <c:v>All Others</c:v>
                </c:pt>
                <c:pt idx="28">
                  <c:v>All Others</c:v>
                </c:pt>
              </c:strCache>
            </c:strRef>
          </c:cat>
          <c:val>
            <c:numRef>
              <c:f>Sheet1!$B$2:$B$30</c:f>
              <c:numCache>
                <c:formatCode>General</c:formatCode>
                <c:ptCount val="29"/>
                <c:pt idx="0">
                  <c:v>0.56999999999999995</c:v>
                </c:pt>
                <c:pt idx="1">
                  <c:v>0.63</c:v>
                </c:pt>
                <c:pt idx="2">
                  <c:v>0.37</c:v>
                </c:pt>
                <c:pt idx="3">
                  <c:v>0.36</c:v>
                </c:pt>
                <c:pt idx="4">
                  <c:v>0.09</c:v>
                </c:pt>
                <c:pt idx="5">
                  <c:v>0.09</c:v>
                </c:pt>
                <c:pt idx="6">
                  <c:v>0.18</c:v>
                </c:pt>
                <c:pt idx="7">
                  <c:v>7.0000000000000007E-2</c:v>
                </c:pt>
                <c:pt idx="8">
                  <c:v>0.06</c:v>
                </c:pt>
                <c:pt idx="9">
                  <c:v>0.06</c:v>
                </c:pt>
                <c:pt idx="10">
                  <c:v>7.0000000000000007E-2</c:v>
                </c:pt>
                <c:pt idx="11">
                  <c:v>0.04</c:v>
                </c:pt>
                <c:pt idx="12">
                  <c:v>0.02</c:v>
                </c:pt>
                <c:pt idx="13">
                  <c:v>7.0000000000000007E-2</c:v>
                </c:pt>
                <c:pt idx="14">
                  <c:v>0.03</c:v>
                </c:pt>
                <c:pt idx="15">
                  <c:v>0.05</c:v>
                </c:pt>
                <c:pt idx="16">
                  <c:v>0.02</c:v>
                </c:pt>
                <c:pt idx="17">
                  <c:v>0.04</c:v>
                </c:pt>
                <c:pt idx="18">
                  <c:v>0.02</c:v>
                </c:pt>
                <c:pt idx="19">
                  <c:v>0.03</c:v>
                </c:pt>
                <c:pt idx="20">
                  <c:v>0.02</c:v>
                </c:pt>
                <c:pt idx="21">
                  <c:v>0.02</c:v>
                </c:pt>
                <c:pt idx="22">
                  <c:v>0.02</c:v>
                </c:pt>
                <c:pt idx="23">
                  <c:v>0.02</c:v>
                </c:pt>
                <c:pt idx="24">
                  <c:v>0.02</c:v>
                </c:pt>
                <c:pt idx="25">
                  <c:v>0.02</c:v>
                </c:pt>
                <c:pt idx="26">
                  <c:v>0.03</c:v>
                </c:pt>
                <c:pt idx="27">
                  <c:v>0.01</c:v>
                </c:pt>
                <c:pt idx="28">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7ECAC4"/>
              </a:solidFill>
            </c:spPr>
            <c:extLst>
              <c:ext xmlns:c16="http://schemas.microsoft.com/office/drawing/2014/chart" uri="{C3380CC4-5D6E-409C-BE32-E72D297353CC}">
                <c16:uniqueId val="{00000010-C76F-4230-900D-40618C09729F}"/>
              </c:ext>
            </c:extLst>
          </c:dPt>
          <c:dPt>
            <c:idx val="6"/>
            <c:invertIfNegative val="1"/>
            <c:bubble3D val="0"/>
            <c:spPr>
              <a:solidFill>
                <a:srgbClr val="7ECAC4"/>
              </a:solidFill>
            </c:spPr>
            <c:extLst>
              <c:ext xmlns:c16="http://schemas.microsoft.com/office/drawing/2014/chart" uri="{C3380CC4-5D6E-409C-BE32-E72D297353CC}">
                <c16:uniqueId val="{00000045-2993-41DE-A2CB-63102DE87051}"/>
              </c:ext>
            </c:extLst>
          </c:dPt>
          <c:dPt>
            <c:idx val="7"/>
            <c:invertIfNegative val="1"/>
            <c:bubble3D val="0"/>
            <c:spPr>
              <a:solidFill>
                <a:srgbClr val="7ECAC4"/>
              </a:solidFill>
            </c:spPr>
            <c:extLst>
              <c:ext xmlns:c16="http://schemas.microsoft.com/office/drawing/2014/chart" uri="{C3380CC4-5D6E-409C-BE32-E72D297353CC}">
                <c16:uniqueId val="{00000047-2993-41DE-A2CB-63102DE87051}"/>
              </c:ext>
            </c:extLst>
          </c:dPt>
          <c:dPt>
            <c:idx val="8"/>
            <c:invertIfNegative val="1"/>
            <c:bubble3D val="0"/>
            <c:spPr>
              <a:solidFill>
                <a:srgbClr val="7ECAC4"/>
              </a:solidFill>
            </c:spPr>
            <c:extLst>
              <c:ext xmlns:c16="http://schemas.microsoft.com/office/drawing/2014/chart" uri="{C3380CC4-5D6E-409C-BE32-E72D297353CC}">
                <c16:uniqueId val="{00000049-2993-41DE-A2CB-63102DE87051}"/>
              </c:ext>
            </c:extLst>
          </c:dPt>
          <c:dPt>
            <c:idx val="9"/>
            <c:invertIfNegative val="1"/>
            <c:bubble3D val="0"/>
            <c:spPr>
              <a:solidFill>
                <a:srgbClr val="AEABAB"/>
              </a:solidFill>
            </c:spPr>
            <c:extLst>
              <c:ext xmlns:c16="http://schemas.microsoft.com/office/drawing/2014/chart" uri="{C3380CC4-5D6E-409C-BE32-E72D297353CC}">
                <c16:uniqueId val="{0000004B-2993-41DE-A2CB-63102DE87051}"/>
              </c:ext>
            </c:extLst>
          </c:dPt>
          <c:dPt>
            <c:idx val="10"/>
            <c:invertIfNegative val="1"/>
            <c:bubble3D val="0"/>
            <c:spPr>
              <a:solidFill>
                <a:srgbClr val="AEABAB"/>
              </a:solidFill>
            </c:spPr>
            <c:extLst>
              <c:ext xmlns:c16="http://schemas.microsoft.com/office/drawing/2014/chart" uri="{C3380CC4-5D6E-409C-BE32-E72D297353CC}">
                <c16:uniqueId val="{0000004D-2993-41DE-A2CB-63102DE87051}"/>
              </c:ext>
            </c:extLst>
          </c:dPt>
          <c:dPt>
            <c:idx val="11"/>
            <c:invertIfNegative val="1"/>
            <c:bubble3D val="0"/>
            <c:spPr>
              <a:solidFill>
                <a:srgbClr val="AEABAB"/>
              </a:solidFill>
            </c:spPr>
            <c:extLst>
              <c:ext xmlns:c16="http://schemas.microsoft.com/office/drawing/2014/chart" uri="{C3380CC4-5D6E-409C-BE32-E72D297353CC}">
                <c16:uniqueId val="{0000004F-2993-41DE-A2CB-63102DE87051}"/>
              </c:ext>
            </c:extLst>
          </c:dPt>
          <c:dPt>
            <c:idx val="12"/>
            <c:invertIfNegative val="1"/>
            <c:bubble3D val="0"/>
            <c:spPr>
              <a:solidFill>
                <a:srgbClr val="AEABAB"/>
              </a:solidFill>
            </c:spPr>
            <c:extLst>
              <c:ext xmlns:c16="http://schemas.microsoft.com/office/drawing/2014/chart" uri="{C3380CC4-5D6E-409C-BE32-E72D297353CC}">
                <c16:uniqueId val="{00000051-2993-41DE-A2CB-63102DE87051}"/>
              </c:ext>
            </c:extLst>
          </c:dPt>
          <c:dPt>
            <c:idx val="13"/>
            <c:invertIfNegative val="1"/>
            <c:bubble3D val="0"/>
            <c:spPr>
              <a:solidFill>
                <a:srgbClr val="AEABAB"/>
              </a:solidFill>
            </c:spPr>
            <c:extLst>
              <c:ext xmlns:c16="http://schemas.microsoft.com/office/drawing/2014/chart" uri="{C3380CC4-5D6E-409C-BE32-E72D297353CC}">
                <c16:uniqueId val="{00000053-2993-41DE-A2CB-63102DE87051}"/>
              </c:ext>
            </c:extLst>
          </c:dPt>
          <c:dPt>
            <c:idx val="14"/>
            <c:invertIfNegative val="1"/>
            <c:bubble3D val="0"/>
            <c:spPr>
              <a:solidFill>
                <a:srgbClr val="AEABAB"/>
              </a:solidFill>
            </c:spPr>
            <c:extLst>
              <c:ext xmlns:c16="http://schemas.microsoft.com/office/drawing/2014/chart" uri="{C3380CC4-5D6E-409C-BE32-E72D297353CC}">
                <c16:uniqueId val="{00000055-2993-41DE-A2CB-63102DE87051}"/>
              </c:ext>
            </c:extLst>
          </c:dPt>
          <c:dPt>
            <c:idx val="15"/>
            <c:invertIfNegative val="1"/>
            <c:bubble3D val="0"/>
            <c:spPr>
              <a:solidFill>
                <a:srgbClr val="AEABAB"/>
              </a:solidFill>
            </c:spPr>
            <c:extLst>
              <c:ext xmlns:c16="http://schemas.microsoft.com/office/drawing/2014/chart" uri="{C3380CC4-5D6E-409C-BE32-E72D297353CC}">
                <c16:uniqueId val="{00000057-2993-41DE-A2CB-63102DE87051}"/>
              </c:ext>
            </c:extLst>
          </c:dPt>
          <c:dPt>
            <c:idx val="16"/>
            <c:invertIfNegative val="1"/>
            <c:bubble3D val="0"/>
            <c:spPr>
              <a:solidFill>
                <a:srgbClr val="AEABAB"/>
              </a:solidFill>
            </c:spPr>
            <c:extLst>
              <c:ext xmlns:c16="http://schemas.microsoft.com/office/drawing/2014/chart" uri="{C3380CC4-5D6E-409C-BE32-E72D297353CC}">
                <c16:uniqueId val="{00000059-2993-41DE-A2CB-63102DE87051}"/>
              </c:ext>
            </c:extLst>
          </c:dPt>
          <c:dPt>
            <c:idx val="17"/>
            <c:invertIfNegative val="1"/>
            <c:bubble3D val="0"/>
            <c:spPr>
              <a:solidFill>
                <a:srgbClr val="AEABAB"/>
              </a:solidFill>
            </c:spPr>
            <c:extLst>
              <c:ext xmlns:c16="http://schemas.microsoft.com/office/drawing/2014/chart" uri="{C3380CC4-5D6E-409C-BE32-E72D297353CC}">
                <c16:uniqueId val="{0000005B-2993-41DE-A2CB-63102DE87051}"/>
              </c:ext>
            </c:extLst>
          </c:dPt>
          <c:dPt>
            <c:idx val="18"/>
            <c:invertIfNegative val="1"/>
            <c:bubble3D val="0"/>
            <c:spPr>
              <a:solidFill>
                <a:srgbClr val="AEABAB"/>
              </a:solidFill>
            </c:spPr>
            <c:extLst>
              <c:ext xmlns:c16="http://schemas.microsoft.com/office/drawing/2014/chart" uri="{C3380CC4-5D6E-409C-BE32-E72D297353CC}">
                <c16:uniqueId val="{0000005D-2993-41DE-A2CB-63102DE87051}"/>
              </c:ext>
            </c:extLst>
          </c:dPt>
          <c:dPt>
            <c:idx val="19"/>
            <c:invertIfNegative val="1"/>
            <c:bubble3D val="0"/>
            <c:spPr>
              <a:solidFill>
                <a:srgbClr val="AEABAB"/>
              </a:solidFill>
            </c:spPr>
            <c:extLst>
              <c:ext xmlns:c16="http://schemas.microsoft.com/office/drawing/2014/chart" uri="{C3380CC4-5D6E-409C-BE32-E72D297353CC}">
                <c16:uniqueId val="{0000005F-2993-41DE-A2CB-63102DE87051}"/>
              </c:ext>
            </c:extLst>
          </c:dPt>
          <c:dPt>
            <c:idx val="20"/>
            <c:invertIfNegative val="1"/>
            <c:bubble3D val="0"/>
            <c:spPr>
              <a:solidFill>
                <a:srgbClr val="AEABAB"/>
              </a:solidFill>
            </c:spPr>
            <c:extLst>
              <c:ext xmlns:c16="http://schemas.microsoft.com/office/drawing/2014/chart" uri="{C3380CC4-5D6E-409C-BE32-E72D297353CC}">
                <c16:uniqueId val="{00000061-2993-41DE-A2CB-63102DE87051}"/>
              </c:ext>
            </c:extLst>
          </c:dPt>
          <c:dPt>
            <c:idx val="21"/>
            <c:invertIfNegative val="1"/>
            <c:bubble3D val="0"/>
            <c:spPr>
              <a:solidFill>
                <a:srgbClr val="AEABAB"/>
              </a:solidFill>
            </c:spPr>
            <c:extLst>
              <c:ext xmlns:c16="http://schemas.microsoft.com/office/drawing/2014/chart" uri="{C3380CC4-5D6E-409C-BE32-E72D297353CC}">
                <c16:uniqueId val="{00000063-2993-41DE-A2CB-63102DE87051}"/>
              </c:ext>
            </c:extLst>
          </c:dPt>
          <c:dPt>
            <c:idx val="22"/>
            <c:invertIfNegative val="1"/>
            <c:bubble3D val="0"/>
            <c:spPr>
              <a:solidFill>
                <a:srgbClr val="AEABAB"/>
              </a:solidFill>
            </c:spPr>
            <c:extLst>
              <c:ext xmlns:c16="http://schemas.microsoft.com/office/drawing/2014/chart" uri="{C3380CC4-5D6E-409C-BE32-E72D297353CC}">
                <c16:uniqueId val="{00000065-2993-41DE-A2CB-63102DE87051}"/>
              </c:ext>
            </c:extLst>
          </c:dPt>
          <c:dPt>
            <c:idx val="23"/>
            <c:invertIfNegative val="1"/>
            <c:bubble3D val="0"/>
            <c:spPr>
              <a:solidFill>
                <a:srgbClr val="AEABAB"/>
              </a:solidFill>
            </c:spPr>
            <c:extLst>
              <c:ext xmlns:c16="http://schemas.microsoft.com/office/drawing/2014/chart" uri="{C3380CC4-5D6E-409C-BE32-E72D297353CC}">
                <c16:uniqueId val="{00000067-2993-41DE-A2CB-63102DE87051}"/>
              </c:ext>
            </c:extLst>
          </c:dPt>
          <c:dPt>
            <c:idx val="24"/>
            <c:invertIfNegative val="1"/>
            <c:bubble3D val="0"/>
            <c:spPr>
              <a:solidFill>
                <a:srgbClr val="AEABAB"/>
              </a:solidFill>
            </c:spPr>
            <c:extLst>
              <c:ext xmlns:c16="http://schemas.microsoft.com/office/drawing/2014/chart" uri="{C3380CC4-5D6E-409C-BE32-E72D297353CC}">
                <c16:uniqueId val="{00000069-2993-41DE-A2CB-63102DE87051}"/>
              </c:ext>
            </c:extLst>
          </c:dPt>
          <c:dPt>
            <c:idx val="25"/>
            <c:invertIfNegative val="1"/>
            <c:bubble3D val="0"/>
            <c:spPr>
              <a:solidFill>
                <a:srgbClr val="AEABAB"/>
              </a:solidFill>
            </c:spPr>
            <c:extLst>
              <c:ext xmlns:c16="http://schemas.microsoft.com/office/drawing/2014/chart" uri="{C3380CC4-5D6E-409C-BE32-E72D297353CC}">
                <c16:uniqueId val="{0000006B-2993-41DE-A2CB-63102DE87051}"/>
              </c:ext>
            </c:extLst>
          </c:dPt>
          <c:dPt>
            <c:idx val="26"/>
            <c:invertIfNegative val="1"/>
            <c:bubble3D val="0"/>
            <c:spPr>
              <a:solidFill>
                <a:srgbClr val="AEABAB"/>
              </a:solidFill>
            </c:spPr>
            <c:extLst>
              <c:ext xmlns:c16="http://schemas.microsoft.com/office/drawing/2014/chart" uri="{C3380CC4-5D6E-409C-BE32-E72D297353CC}">
                <c16:uniqueId val="{0000006D-2993-41DE-A2CB-63102DE87051}"/>
              </c:ext>
            </c:extLst>
          </c:dPt>
          <c:dPt>
            <c:idx val="27"/>
            <c:invertIfNegative val="1"/>
            <c:bubble3D val="0"/>
            <c:spPr>
              <a:solidFill>
                <a:srgbClr val="AEABAB"/>
              </a:solidFill>
            </c:spPr>
            <c:extLst>
              <c:ext xmlns:c16="http://schemas.microsoft.com/office/drawing/2014/chart" uri="{C3380CC4-5D6E-409C-BE32-E72D297353CC}">
                <c16:uniqueId val="{0000006F-2993-41DE-A2CB-63102DE87051}"/>
              </c:ext>
            </c:extLst>
          </c:dPt>
          <c:dPt>
            <c:idx val="28"/>
            <c:invertIfNegative val="1"/>
            <c:bubble3D val="0"/>
            <c:spPr>
              <a:solidFill>
                <a:srgbClr val="AEABAB"/>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30</c:f>
              <c:strCache>
                <c:ptCount val="29"/>
                <c:pt idx="0">
                  <c:v>French Bloo</c:v>
                </c:pt>
                <c:pt idx="1">
                  <c:v>Bouvet-Ladu</c:v>
                </c:pt>
                <c:pt idx="2">
                  <c:v>De Chanceny</c:v>
                </c:pt>
                <c:pt idx="3">
                  <c:v>All Others</c:v>
                </c:pt>
                <c:pt idx="4">
                  <c:v>All Others</c:v>
                </c:pt>
                <c:pt idx="5">
                  <c:v>All Others</c:v>
                </c:pt>
                <c:pt idx="6">
                  <c:v>All Others</c:v>
                </c:pt>
                <c:pt idx="7">
                  <c:v>All Others</c:v>
                </c:pt>
                <c:pt idx="8">
                  <c:v>Bouvet-Ladu</c:v>
                </c:pt>
                <c:pt idx="9">
                  <c:v>Bouvet-Ladu</c:v>
                </c:pt>
                <c:pt idx="10">
                  <c:v>All Others</c:v>
                </c:pt>
                <c:pt idx="11">
                  <c:v>Bouvet-Ladu</c:v>
                </c:pt>
                <c:pt idx="12">
                  <c:v>All Others</c:v>
                </c:pt>
                <c:pt idx="13">
                  <c:v>All Others</c:v>
                </c:pt>
                <c:pt idx="14">
                  <c:v>All Others</c:v>
                </c:pt>
                <c:pt idx="15">
                  <c:v>All Others</c:v>
                </c:pt>
                <c:pt idx="16">
                  <c:v>All Others</c:v>
                </c:pt>
                <c:pt idx="17">
                  <c:v>All Others</c:v>
                </c:pt>
                <c:pt idx="18">
                  <c:v>All Others</c:v>
                </c:pt>
                <c:pt idx="19">
                  <c:v>All Others</c:v>
                </c:pt>
                <c:pt idx="20">
                  <c:v>All Others</c:v>
                </c:pt>
                <c:pt idx="21">
                  <c:v>Bouvet-Ladu</c:v>
                </c:pt>
                <c:pt idx="22">
                  <c:v>Bouvet-Ladu</c:v>
                </c:pt>
                <c:pt idx="23">
                  <c:v>All Others</c:v>
                </c:pt>
                <c:pt idx="24">
                  <c:v>Bouvet-Ladu</c:v>
                </c:pt>
                <c:pt idx="25">
                  <c:v>All Others</c:v>
                </c:pt>
                <c:pt idx="26">
                  <c:v>All Others</c:v>
                </c:pt>
                <c:pt idx="27">
                  <c:v>All Others</c:v>
                </c:pt>
                <c:pt idx="28">
                  <c:v>All Others</c:v>
                </c:pt>
              </c:strCache>
            </c:strRef>
          </c:cat>
          <c:val>
            <c:numRef>
              <c:f>Sheet1!$C$2:$C$30</c:f>
              <c:numCache>
                <c:formatCode>General</c:formatCode>
                <c:ptCount val="29"/>
                <c:pt idx="0">
                  <c:v>0.26259306955607858</c:v>
                </c:pt>
                <c:pt idx="1">
                  <c:v>0.50528689353681577</c:v>
                </c:pt>
                <c:pt idx="2">
                  <c:v>0.64280533475435553</c:v>
                </c:pt>
                <c:pt idx="3">
                  <c:v>0.76818094349956323</c:v>
                </c:pt>
                <c:pt idx="4">
                  <c:v>0.83187530529774845</c:v>
                </c:pt>
                <c:pt idx="5">
                  <c:v>0.88184792101484666</c:v>
                </c:pt>
                <c:pt idx="6">
                  <c:v>0.9205806454796196</c:v>
                </c:pt>
                <c:pt idx="7">
                  <c:v>0.9345836355472662</c:v>
                </c:pt>
                <c:pt idx="8">
                  <c:v>0.94711626231675961</c:v>
                </c:pt>
                <c:pt idx="9">
                  <c:v>0.95677723996032971</c:v>
                </c:pt>
                <c:pt idx="10">
                  <c:v>0.96424254086672478</c:v>
                </c:pt>
                <c:pt idx="11">
                  <c:v>0.97079996644808575</c:v>
                </c:pt>
                <c:pt idx="12">
                  <c:v>0.97629162534353697</c:v>
                </c:pt>
                <c:pt idx="13">
                  <c:v>0.98149217204237404</c:v>
                </c:pt>
                <c:pt idx="14">
                  <c:v>0.98584898678153254</c:v>
                </c:pt>
                <c:pt idx="15">
                  <c:v>0.98961370891740796</c:v>
                </c:pt>
                <c:pt idx="16">
                  <c:v>0.99220411405677178</c:v>
                </c:pt>
                <c:pt idx="17">
                  <c:v>0.99361033398956922</c:v>
                </c:pt>
                <c:pt idx="18">
                  <c:v>0.99493267413690156</c:v>
                </c:pt>
                <c:pt idx="19">
                  <c:v>0.99607245239822162</c:v>
                </c:pt>
                <c:pt idx="20">
                  <c:v>0.99719742834445957</c:v>
                </c:pt>
                <c:pt idx="21">
                  <c:v>0.99809543545943902</c:v>
                </c:pt>
                <c:pt idx="22">
                  <c:v>0.9988848922638166</c:v>
                </c:pt>
                <c:pt idx="23">
                  <c:v>0.99926481835092329</c:v>
                </c:pt>
                <c:pt idx="24">
                  <c:v>0.99947698486709979</c:v>
                </c:pt>
                <c:pt idx="25">
                  <c:v>0.99965461264808475</c:v>
                </c:pt>
                <c:pt idx="26">
                  <c:v>0.99978289937879605</c:v>
                </c:pt>
                <c:pt idx="27">
                  <c:v>0.99991118610950736</c:v>
                </c:pt>
                <c:pt idx="28">
                  <c:v>0.99995559305475357</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34</c:f>
              <c:strCache>
                <c:ptCount val="33"/>
                <c:pt idx="0">
                  <c:v>Bouvet-Ladu</c:v>
                </c:pt>
                <c:pt idx="1">
                  <c:v>French Bloo</c:v>
                </c:pt>
                <c:pt idx="2">
                  <c:v>All Others</c:v>
                </c:pt>
                <c:pt idx="3">
                  <c:v>De Chanceny</c:v>
                </c:pt>
                <c:pt idx="4">
                  <c:v>All Others</c:v>
                </c:pt>
                <c:pt idx="5">
                  <c:v>All Others</c:v>
                </c:pt>
                <c:pt idx="6">
                  <c:v>All Others</c:v>
                </c:pt>
                <c:pt idx="7">
                  <c:v>All Others</c:v>
                </c:pt>
                <c:pt idx="8">
                  <c:v>All Others</c:v>
                </c:pt>
                <c:pt idx="9">
                  <c:v>All Others</c:v>
                </c:pt>
                <c:pt idx="10">
                  <c:v>All Others</c:v>
                </c:pt>
                <c:pt idx="11">
                  <c:v>All Others</c:v>
                </c:pt>
                <c:pt idx="12">
                  <c:v>Bouvet-Ladu</c:v>
                </c:pt>
                <c:pt idx="13">
                  <c:v>Bouvet-Ladu</c:v>
                </c:pt>
                <c:pt idx="14">
                  <c:v>All Others</c:v>
                </c:pt>
                <c:pt idx="15">
                  <c:v>All Others</c:v>
                </c:pt>
                <c:pt idx="16">
                  <c:v>Bouvet-Ladu</c:v>
                </c:pt>
                <c:pt idx="17">
                  <c:v>All Others</c:v>
                </c:pt>
                <c:pt idx="18">
                  <c:v>All Others</c:v>
                </c:pt>
                <c:pt idx="19">
                  <c:v>Bouvet-Ladu</c:v>
                </c:pt>
                <c:pt idx="20">
                  <c:v>All Others</c:v>
                </c:pt>
                <c:pt idx="21">
                  <c:v>Bouvet-Ladu</c:v>
                </c:pt>
                <c:pt idx="22">
                  <c:v>All Others</c:v>
                </c:pt>
                <c:pt idx="23">
                  <c:v>Bouvet-Ladu</c:v>
                </c:pt>
                <c:pt idx="24">
                  <c:v>All Others</c:v>
                </c:pt>
                <c:pt idx="25">
                  <c:v>Bouvet-Ladu</c:v>
                </c:pt>
                <c:pt idx="26">
                  <c:v>All Others</c:v>
                </c:pt>
                <c:pt idx="27">
                  <c:v>All Others</c:v>
                </c:pt>
                <c:pt idx="28">
                  <c:v>All Others</c:v>
                </c:pt>
                <c:pt idx="29">
                  <c:v>All Others</c:v>
                </c:pt>
                <c:pt idx="30">
                  <c:v>All Others</c:v>
                </c:pt>
                <c:pt idx="31">
                  <c:v>All Others</c:v>
                </c:pt>
                <c:pt idx="32">
                  <c:v>Bouvet-Ladu</c:v>
                </c:pt>
              </c:strCache>
            </c:strRef>
          </c:cat>
          <c:val>
            <c:numRef>
              <c:f>Sheet1!$B$2:$B$34</c:f>
              <c:numCache>
                <c:formatCode>General</c:formatCode>
                <c:ptCount val="33"/>
                <c:pt idx="0">
                  <c:v>0.46</c:v>
                </c:pt>
                <c:pt idx="1">
                  <c:v>0.45</c:v>
                </c:pt>
                <c:pt idx="2">
                  <c:v>0.08</c:v>
                </c:pt>
                <c:pt idx="3">
                  <c:v>0.33</c:v>
                </c:pt>
                <c:pt idx="4">
                  <c:v>0.28000000000000003</c:v>
                </c:pt>
                <c:pt idx="5">
                  <c:v>0.15</c:v>
                </c:pt>
                <c:pt idx="6">
                  <c:v>0.03</c:v>
                </c:pt>
                <c:pt idx="7">
                  <c:v>0.08</c:v>
                </c:pt>
                <c:pt idx="8">
                  <c:v>7.0000000000000007E-2</c:v>
                </c:pt>
                <c:pt idx="9">
                  <c:v>0.05</c:v>
                </c:pt>
                <c:pt idx="10">
                  <c:v>0.05</c:v>
                </c:pt>
                <c:pt idx="11">
                  <c:v>7.0000000000000007E-2</c:v>
                </c:pt>
                <c:pt idx="12">
                  <c:v>0.05</c:v>
                </c:pt>
                <c:pt idx="13">
                  <c:v>0.04</c:v>
                </c:pt>
                <c:pt idx="14">
                  <c:v>0.05</c:v>
                </c:pt>
                <c:pt idx="15">
                  <c:v>0.03</c:v>
                </c:pt>
                <c:pt idx="16">
                  <c:v>0.04</c:v>
                </c:pt>
                <c:pt idx="17">
                  <c:v>0.01</c:v>
                </c:pt>
                <c:pt idx="18">
                  <c:v>0.03</c:v>
                </c:pt>
                <c:pt idx="19">
                  <c:v>0.03</c:v>
                </c:pt>
                <c:pt idx="20">
                  <c:v>0.02</c:v>
                </c:pt>
                <c:pt idx="21">
                  <c:v>0.02</c:v>
                </c:pt>
                <c:pt idx="22">
                  <c:v>0.02</c:v>
                </c:pt>
                <c:pt idx="23">
                  <c:v>0.01</c:v>
                </c:pt>
                <c:pt idx="24">
                  <c:v>0.02</c:v>
                </c:pt>
                <c:pt idx="25">
                  <c:v>0.02</c:v>
                </c:pt>
                <c:pt idx="26">
                  <c:v>0.02</c:v>
                </c:pt>
                <c:pt idx="27">
                  <c:v>0.03</c:v>
                </c:pt>
                <c:pt idx="28">
                  <c:v>0.01</c:v>
                </c:pt>
                <c:pt idx="29">
                  <c:v>0.01</c:v>
                </c:pt>
                <c:pt idx="30">
                  <c:v>0.01</c:v>
                </c:pt>
                <c:pt idx="31">
                  <c:v>0.01</c:v>
                </c:pt>
                <c:pt idx="32">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7ECAC4"/>
              </a:solidFill>
            </c:spPr>
            <c:extLst>
              <c:ext xmlns:c16="http://schemas.microsoft.com/office/drawing/2014/chart" uri="{C3380CC4-5D6E-409C-BE32-E72D297353CC}">
                <c16:uniqueId val="{00000047-2993-41DE-A2CB-63102DE87051}"/>
              </c:ext>
            </c:extLst>
          </c:dPt>
          <c:dPt>
            <c:idx val="8"/>
            <c:invertIfNegative val="1"/>
            <c:bubble3D val="0"/>
            <c:spPr>
              <a:solidFill>
                <a:srgbClr val="7ECAC4"/>
              </a:solidFill>
            </c:spPr>
            <c:extLst>
              <c:ext xmlns:c16="http://schemas.microsoft.com/office/drawing/2014/chart" uri="{C3380CC4-5D6E-409C-BE32-E72D297353CC}">
                <c16:uniqueId val="{00000049-2993-41DE-A2CB-63102DE87051}"/>
              </c:ext>
            </c:extLst>
          </c:dPt>
          <c:dPt>
            <c:idx val="9"/>
            <c:invertIfNegative val="1"/>
            <c:bubble3D val="0"/>
            <c:spPr>
              <a:solidFill>
                <a:srgbClr val="7ECAC4"/>
              </a:solidFill>
            </c:spPr>
            <c:extLst>
              <c:ext xmlns:c16="http://schemas.microsoft.com/office/drawing/2014/chart" uri="{C3380CC4-5D6E-409C-BE32-E72D297353CC}">
                <c16:uniqueId val="{0000004B-2993-41DE-A2CB-63102DE87051}"/>
              </c:ext>
            </c:extLst>
          </c:dPt>
          <c:dPt>
            <c:idx val="10"/>
            <c:invertIfNegative val="1"/>
            <c:bubble3D val="0"/>
            <c:spPr>
              <a:solidFill>
                <a:srgbClr val="7ECAC4"/>
              </a:solidFill>
            </c:spPr>
            <c:extLst>
              <c:ext xmlns:c16="http://schemas.microsoft.com/office/drawing/2014/chart" uri="{C3380CC4-5D6E-409C-BE32-E72D297353CC}">
                <c16:uniqueId val="{0000004D-2993-41DE-A2CB-63102DE87051}"/>
              </c:ext>
            </c:extLst>
          </c:dPt>
          <c:dPt>
            <c:idx val="11"/>
            <c:invertIfNegative val="1"/>
            <c:bubble3D val="0"/>
            <c:spPr>
              <a:solidFill>
                <a:srgbClr val="7ECAC4"/>
              </a:solidFill>
            </c:spPr>
            <c:extLst>
              <c:ext xmlns:c16="http://schemas.microsoft.com/office/drawing/2014/chart" uri="{C3380CC4-5D6E-409C-BE32-E72D297353CC}">
                <c16:uniqueId val="{0000004F-2993-41DE-A2CB-63102DE87051}"/>
              </c:ext>
            </c:extLst>
          </c:dPt>
          <c:dPt>
            <c:idx val="12"/>
            <c:invertIfNegative val="1"/>
            <c:bubble3D val="0"/>
            <c:spPr>
              <a:solidFill>
                <a:srgbClr val="7ECAC4"/>
              </a:solidFill>
            </c:spPr>
            <c:extLst>
              <c:ext xmlns:c16="http://schemas.microsoft.com/office/drawing/2014/chart" uri="{C3380CC4-5D6E-409C-BE32-E72D297353CC}">
                <c16:uniqueId val="{00000051-2993-41DE-A2CB-63102DE87051}"/>
              </c:ext>
            </c:extLst>
          </c:dPt>
          <c:dPt>
            <c:idx val="13"/>
            <c:invertIfNegative val="1"/>
            <c:bubble3D val="0"/>
            <c:spPr>
              <a:solidFill>
                <a:srgbClr val="AEABAB"/>
              </a:solidFill>
            </c:spPr>
            <c:extLst>
              <c:ext xmlns:c16="http://schemas.microsoft.com/office/drawing/2014/chart" uri="{C3380CC4-5D6E-409C-BE32-E72D297353CC}">
                <c16:uniqueId val="{00000053-2993-41DE-A2CB-63102DE87051}"/>
              </c:ext>
            </c:extLst>
          </c:dPt>
          <c:dPt>
            <c:idx val="14"/>
            <c:invertIfNegative val="1"/>
            <c:bubble3D val="0"/>
            <c:spPr>
              <a:solidFill>
                <a:srgbClr val="AEABAB"/>
              </a:solidFill>
            </c:spPr>
            <c:extLst>
              <c:ext xmlns:c16="http://schemas.microsoft.com/office/drawing/2014/chart" uri="{C3380CC4-5D6E-409C-BE32-E72D297353CC}">
                <c16:uniqueId val="{00000055-2993-41DE-A2CB-63102DE87051}"/>
              </c:ext>
            </c:extLst>
          </c:dPt>
          <c:dPt>
            <c:idx val="15"/>
            <c:invertIfNegative val="1"/>
            <c:bubble3D val="0"/>
            <c:spPr>
              <a:solidFill>
                <a:srgbClr val="AEABAB"/>
              </a:solidFill>
            </c:spPr>
            <c:extLst>
              <c:ext xmlns:c16="http://schemas.microsoft.com/office/drawing/2014/chart" uri="{C3380CC4-5D6E-409C-BE32-E72D297353CC}">
                <c16:uniqueId val="{00000057-2993-41DE-A2CB-63102DE87051}"/>
              </c:ext>
            </c:extLst>
          </c:dPt>
          <c:dPt>
            <c:idx val="16"/>
            <c:invertIfNegative val="1"/>
            <c:bubble3D val="0"/>
            <c:spPr>
              <a:solidFill>
                <a:srgbClr val="AEABAB"/>
              </a:solidFill>
            </c:spPr>
            <c:extLst>
              <c:ext xmlns:c16="http://schemas.microsoft.com/office/drawing/2014/chart" uri="{C3380CC4-5D6E-409C-BE32-E72D297353CC}">
                <c16:uniqueId val="{00000059-2993-41DE-A2CB-63102DE87051}"/>
              </c:ext>
            </c:extLst>
          </c:dPt>
          <c:dPt>
            <c:idx val="17"/>
            <c:invertIfNegative val="1"/>
            <c:bubble3D val="0"/>
            <c:spPr>
              <a:solidFill>
                <a:srgbClr val="AEABAB"/>
              </a:solidFill>
            </c:spPr>
            <c:extLst>
              <c:ext xmlns:c16="http://schemas.microsoft.com/office/drawing/2014/chart" uri="{C3380CC4-5D6E-409C-BE32-E72D297353CC}">
                <c16:uniqueId val="{0000005B-2993-41DE-A2CB-63102DE87051}"/>
              </c:ext>
            </c:extLst>
          </c:dPt>
          <c:dPt>
            <c:idx val="18"/>
            <c:invertIfNegative val="1"/>
            <c:bubble3D val="0"/>
            <c:spPr>
              <a:solidFill>
                <a:srgbClr val="AEABAB"/>
              </a:solidFill>
            </c:spPr>
            <c:extLst>
              <c:ext xmlns:c16="http://schemas.microsoft.com/office/drawing/2014/chart" uri="{C3380CC4-5D6E-409C-BE32-E72D297353CC}">
                <c16:uniqueId val="{0000005D-2993-41DE-A2CB-63102DE87051}"/>
              </c:ext>
            </c:extLst>
          </c:dPt>
          <c:dPt>
            <c:idx val="19"/>
            <c:invertIfNegative val="1"/>
            <c:bubble3D val="0"/>
            <c:spPr>
              <a:solidFill>
                <a:srgbClr val="AEABAB"/>
              </a:solidFill>
            </c:spPr>
            <c:extLst>
              <c:ext xmlns:c16="http://schemas.microsoft.com/office/drawing/2014/chart" uri="{C3380CC4-5D6E-409C-BE32-E72D297353CC}">
                <c16:uniqueId val="{0000005F-2993-41DE-A2CB-63102DE87051}"/>
              </c:ext>
            </c:extLst>
          </c:dPt>
          <c:dPt>
            <c:idx val="20"/>
            <c:invertIfNegative val="1"/>
            <c:bubble3D val="0"/>
            <c:spPr>
              <a:solidFill>
                <a:srgbClr val="AEABAB"/>
              </a:solidFill>
            </c:spPr>
            <c:extLst>
              <c:ext xmlns:c16="http://schemas.microsoft.com/office/drawing/2014/chart" uri="{C3380CC4-5D6E-409C-BE32-E72D297353CC}">
                <c16:uniqueId val="{00000061-2993-41DE-A2CB-63102DE87051}"/>
              </c:ext>
            </c:extLst>
          </c:dPt>
          <c:dPt>
            <c:idx val="21"/>
            <c:invertIfNegative val="1"/>
            <c:bubble3D val="0"/>
            <c:spPr>
              <a:solidFill>
                <a:srgbClr val="AEABAB"/>
              </a:solidFill>
            </c:spPr>
            <c:extLst>
              <c:ext xmlns:c16="http://schemas.microsoft.com/office/drawing/2014/chart" uri="{C3380CC4-5D6E-409C-BE32-E72D297353CC}">
                <c16:uniqueId val="{00000063-2993-41DE-A2CB-63102DE87051}"/>
              </c:ext>
            </c:extLst>
          </c:dPt>
          <c:dPt>
            <c:idx val="22"/>
            <c:invertIfNegative val="1"/>
            <c:bubble3D val="0"/>
            <c:spPr>
              <a:solidFill>
                <a:srgbClr val="AEABAB"/>
              </a:solidFill>
            </c:spPr>
            <c:extLst>
              <c:ext xmlns:c16="http://schemas.microsoft.com/office/drawing/2014/chart" uri="{C3380CC4-5D6E-409C-BE32-E72D297353CC}">
                <c16:uniqueId val="{00000065-2993-41DE-A2CB-63102DE87051}"/>
              </c:ext>
            </c:extLst>
          </c:dPt>
          <c:dPt>
            <c:idx val="23"/>
            <c:invertIfNegative val="1"/>
            <c:bubble3D val="0"/>
            <c:spPr>
              <a:solidFill>
                <a:srgbClr val="AEABAB"/>
              </a:solidFill>
            </c:spPr>
            <c:extLst>
              <c:ext xmlns:c16="http://schemas.microsoft.com/office/drawing/2014/chart" uri="{C3380CC4-5D6E-409C-BE32-E72D297353CC}">
                <c16:uniqueId val="{00000067-2993-41DE-A2CB-63102DE87051}"/>
              </c:ext>
            </c:extLst>
          </c:dPt>
          <c:dPt>
            <c:idx val="24"/>
            <c:invertIfNegative val="1"/>
            <c:bubble3D val="0"/>
            <c:spPr>
              <a:solidFill>
                <a:srgbClr val="AEABAB"/>
              </a:solidFill>
            </c:spPr>
            <c:extLst>
              <c:ext xmlns:c16="http://schemas.microsoft.com/office/drawing/2014/chart" uri="{C3380CC4-5D6E-409C-BE32-E72D297353CC}">
                <c16:uniqueId val="{00000069-2993-41DE-A2CB-63102DE87051}"/>
              </c:ext>
            </c:extLst>
          </c:dPt>
          <c:dPt>
            <c:idx val="25"/>
            <c:invertIfNegative val="1"/>
            <c:bubble3D val="0"/>
            <c:spPr>
              <a:solidFill>
                <a:srgbClr val="AEABAB"/>
              </a:solidFill>
            </c:spPr>
            <c:extLst>
              <c:ext xmlns:c16="http://schemas.microsoft.com/office/drawing/2014/chart" uri="{C3380CC4-5D6E-409C-BE32-E72D297353CC}">
                <c16:uniqueId val="{0000006B-2993-41DE-A2CB-63102DE87051}"/>
              </c:ext>
            </c:extLst>
          </c:dPt>
          <c:dPt>
            <c:idx val="26"/>
            <c:invertIfNegative val="1"/>
            <c:bubble3D val="0"/>
            <c:spPr>
              <a:solidFill>
                <a:srgbClr val="AEABAB"/>
              </a:solidFill>
            </c:spPr>
            <c:extLst>
              <c:ext xmlns:c16="http://schemas.microsoft.com/office/drawing/2014/chart" uri="{C3380CC4-5D6E-409C-BE32-E72D297353CC}">
                <c16:uniqueId val="{0000006D-2993-41DE-A2CB-63102DE87051}"/>
              </c:ext>
            </c:extLst>
          </c:dPt>
          <c:dPt>
            <c:idx val="27"/>
            <c:invertIfNegative val="1"/>
            <c:bubble3D val="0"/>
            <c:spPr>
              <a:solidFill>
                <a:srgbClr val="AEABAB"/>
              </a:solidFill>
            </c:spPr>
            <c:extLst>
              <c:ext xmlns:c16="http://schemas.microsoft.com/office/drawing/2014/chart" uri="{C3380CC4-5D6E-409C-BE32-E72D297353CC}">
                <c16:uniqueId val="{0000006F-2993-41DE-A2CB-63102DE87051}"/>
              </c:ext>
            </c:extLst>
          </c:dPt>
          <c:dPt>
            <c:idx val="28"/>
            <c:invertIfNegative val="1"/>
            <c:bubble3D val="0"/>
            <c:spPr>
              <a:solidFill>
                <a:srgbClr val="AEABAB"/>
              </a:solidFill>
            </c:spPr>
            <c:extLst>
              <c:ext xmlns:c16="http://schemas.microsoft.com/office/drawing/2014/chart" uri="{C3380CC4-5D6E-409C-BE32-E72D297353CC}">
                <c16:uniqueId val="{00000071-2993-41DE-A2CB-63102DE87051}"/>
              </c:ext>
            </c:extLst>
          </c:dPt>
          <c:dPt>
            <c:idx val="29"/>
            <c:invertIfNegative val="1"/>
            <c:bubble3D val="0"/>
            <c:spPr>
              <a:solidFill>
                <a:srgbClr val="AEABAB"/>
              </a:solidFill>
            </c:spPr>
            <c:extLst>
              <c:ext xmlns:c16="http://schemas.microsoft.com/office/drawing/2014/chart" uri="{C3380CC4-5D6E-409C-BE32-E72D297353CC}">
                <c16:uniqueId val="{00000073-2993-41DE-A2CB-63102DE87051}"/>
              </c:ext>
            </c:extLst>
          </c:dPt>
          <c:dPt>
            <c:idx val="30"/>
            <c:invertIfNegative val="1"/>
            <c:bubble3D val="0"/>
            <c:spPr>
              <a:solidFill>
                <a:srgbClr val="AEABAB"/>
              </a:solidFill>
            </c:spPr>
            <c:extLst>
              <c:ext xmlns:c16="http://schemas.microsoft.com/office/drawing/2014/chart" uri="{C3380CC4-5D6E-409C-BE32-E72D297353CC}">
                <c16:uniqueId val="{00000075-2993-41DE-A2CB-63102DE87051}"/>
              </c:ext>
            </c:extLst>
          </c:dPt>
          <c:dPt>
            <c:idx val="31"/>
            <c:invertIfNegative val="1"/>
            <c:bubble3D val="0"/>
            <c:spPr>
              <a:solidFill>
                <a:srgbClr val="AEABAB"/>
              </a:solidFill>
            </c:spPr>
            <c:extLst>
              <c:ext xmlns:c16="http://schemas.microsoft.com/office/drawing/2014/chart" uri="{C3380CC4-5D6E-409C-BE32-E72D297353CC}">
                <c16:uniqueId val="{00000077-2993-41DE-A2CB-63102DE87051}"/>
              </c:ext>
            </c:extLst>
          </c:dPt>
          <c:dPt>
            <c:idx val="32"/>
            <c:invertIfNegative val="1"/>
            <c:bubble3D val="0"/>
            <c:spPr>
              <a:solidFill>
                <a:srgbClr val="AEABAB"/>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34</c:f>
              <c:strCache>
                <c:ptCount val="33"/>
                <c:pt idx="0">
                  <c:v>Bouvet-Ladu</c:v>
                </c:pt>
                <c:pt idx="1">
                  <c:v>French Bloo</c:v>
                </c:pt>
                <c:pt idx="2">
                  <c:v>All Others</c:v>
                </c:pt>
                <c:pt idx="3">
                  <c:v>De Chanceny</c:v>
                </c:pt>
                <c:pt idx="4">
                  <c:v>All Others</c:v>
                </c:pt>
                <c:pt idx="5">
                  <c:v>All Others</c:v>
                </c:pt>
                <c:pt idx="6">
                  <c:v>All Others</c:v>
                </c:pt>
                <c:pt idx="7">
                  <c:v>All Others</c:v>
                </c:pt>
                <c:pt idx="8">
                  <c:v>All Others</c:v>
                </c:pt>
                <c:pt idx="9">
                  <c:v>All Others</c:v>
                </c:pt>
                <c:pt idx="10">
                  <c:v>All Others</c:v>
                </c:pt>
                <c:pt idx="11">
                  <c:v>All Others</c:v>
                </c:pt>
                <c:pt idx="12">
                  <c:v>Bouvet-Ladu</c:v>
                </c:pt>
                <c:pt idx="13">
                  <c:v>Bouvet-Ladu</c:v>
                </c:pt>
                <c:pt idx="14">
                  <c:v>All Others</c:v>
                </c:pt>
                <c:pt idx="15">
                  <c:v>All Others</c:v>
                </c:pt>
                <c:pt idx="16">
                  <c:v>Bouvet-Ladu</c:v>
                </c:pt>
                <c:pt idx="17">
                  <c:v>All Others</c:v>
                </c:pt>
                <c:pt idx="18">
                  <c:v>All Others</c:v>
                </c:pt>
                <c:pt idx="19">
                  <c:v>Bouvet-Ladu</c:v>
                </c:pt>
                <c:pt idx="20">
                  <c:v>All Others</c:v>
                </c:pt>
                <c:pt idx="21">
                  <c:v>Bouvet-Ladu</c:v>
                </c:pt>
                <c:pt idx="22">
                  <c:v>All Others</c:v>
                </c:pt>
                <c:pt idx="23">
                  <c:v>Bouvet-Ladu</c:v>
                </c:pt>
                <c:pt idx="24">
                  <c:v>All Others</c:v>
                </c:pt>
                <c:pt idx="25">
                  <c:v>Bouvet-Ladu</c:v>
                </c:pt>
                <c:pt idx="26">
                  <c:v>All Others</c:v>
                </c:pt>
                <c:pt idx="27">
                  <c:v>All Others</c:v>
                </c:pt>
                <c:pt idx="28">
                  <c:v>All Others</c:v>
                </c:pt>
                <c:pt idx="29">
                  <c:v>All Others</c:v>
                </c:pt>
                <c:pt idx="30">
                  <c:v>All Others</c:v>
                </c:pt>
                <c:pt idx="31">
                  <c:v>All Others</c:v>
                </c:pt>
                <c:pt idx="32">
                  <c:v>Bouvet-Ladu</c:v>
                </c:pt>
              </c:strCache>
            </c:strRef>
          </c:cat>
          <c:val>
            <c:numRef>
              <c:f>Sheet1!$C$2:$C$34</c:f>
              <c:numCache>
                <c:formatCode>General</c:formatCode>
                <c:ptCount val="33"/>
                <c:pt idx="0">
                  <c:v>0.21613988386295666</c:v>
                </c:pt>
                <c:pt idx="1">
                  <c:v>0.42120982173653687</c:v>
                </c:pt>
                <c:pt idx="2">
                  <c:v>0.54372993876631781</c:v>
                </c:pt>
                <c:pt idx="3">
                  <c:v>0.65387346662175927</c:v>
                </c:pt>
                <c:pt idx="4">
                  <c:v>0.75076389931543264</c:v>
                </c:pt>
                <c:pt idx="5">
                  <c:v>0.79382631384595415</c:v>
                </c:pt>
                <c:pt idx="6">
                  <c:v>0.83613801722983538</c:v>
                </c:pt>
                <c:pt idx="7">
                  <c:v>0.87141738322383777</c:v>
                </c:pt>
                <c:pt idx="8">
                  <c:v>0.89494507634935261</c:v>
                </c:pt>
                <c:pt idx="9">
                  <c:v>0.91382647616187773</c:v>
                </c:pt>
                <c:pt idx="10">
                  <c:v>0.93104413775752437</c:v>
                </c:pt>
                <c:pt idx="11">
                  <c:v>0.94132279361936111</c:v>
                </c:pt>
                <c:pt idx="12">
                  <c:v>0.94990930597768974</c:v>
                </c:pt>
                <c:pt idx="13">
                  <c:v>0.95832132871815068</c:v>
                </c:pt>
                <c:pt idx="14">
                  <c:v>0.9666278461082729</c:v>
                </c:pt>
                <c:pt idx="15">
                  <c:v>0.97321381470825752</c:v>
                </c:pt>
                <c:pt idx="16">
                  <c:v>0.97969427795790343</c:v>
                </c:pt>
                <c:pt idx="17">
                  <c:v>0.98459621885055981</c:v>
                </c:pt>
                <c:pt idx="18">
                  <c:v>0.98757877394667115</c:v>
                </c:pt>
                <c:pt idx="19">
                  <c:v>0.99001351280063954</c:v>
                </c:pt>
                <c:pt idx="20">
                  <c:v>0.99226564624056035</c:v>
                </c:pt>
                <c:pt idx="21">
                  <c:v>0.99337345241911601</c:v>
                </c:pt>
                <c:pt idx="22">
                  <c:v>0.99441633222823245</c:v>
                </c:pt>
                <c:pt idx="23">
                  <c:v>0.9954186330564494</c:v>
                </c:pt>
                <c:pt idx="24">
                  <c:v>0.99635194961713724</c:v>
                </c:pt>
                <c:pt idx="25">
                  <c:v>0.99709860286568752</c:v>
                </c:pt>
                <c:pt idx="26">
                  <c:v>0.99781685082760818</c:v>
                </c:pt>
                <c:pt idx="27">
                  <c:v>0.99832814598694153</c:v>
                </c:pt>
                <c:pt idx="28">
                  <c:v>0.9987623410825659</c:v>
                </c:pt>
                <c:pt idx="29">
                  <c:v>0.99911537821639129</c:v>
                </c:pt>
                <c:pt idx="30">
                  <c:v>0.99943189426740719</c:v>
                </c:pt>
                <c:pt idx="31">
                  <c:v>0.99973217872606335</c:v>
                </c:pt>
                <c:pt idx="32">
                  <c:v>0.99999999999999989</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5</c:f>
              <c:strCache>
                <c:ptCount val="4"/>
                <c:pt idx="0">
                  <c:v>Cru La Maqu</c:v>
                </c:pt>
                <c:pt idx="1">
                  <c:v>Celene</c:v>
                </c:pt>
                <c:pt idx="2">
                  <c:v>Celene</c:v>
                </c:pt>
                <c:pt idx="3">
                  <c:v>All Others</c:v>
                </c:pt>
              </c:strCache>
            </c:strRef>
          </c:cat>
          <c:val>
            <c:numRef>
              <c:f>Sheet1!$B$2:$B$5</c:f>
              <c:numCache>
                <c:formatCode>General</c:formatCode>
                <c:ptCount val="4"/>
                <c:pt idx="0">
                  <c:v>0.34</c:v>
                </c:pt>
                <c:pt idx="1">
                  <c:v>0.06</c:v>
                </c:pt>
                <c:pt idx="2">
                  <c:v>0.05</c:v>
                </c:pt>
                <c:pt idx="3">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7ECAC4"/>
              </a:solidFill>
            </c:spPr>
            <c:extLst>
              <c:ext xmlns:c16="http://schemas.microsoft.com/office/drawing/2014/chart" uri="{C3380CC4-5D6E-409C-BE32-E72D297353CC}">
                <c16:uniqueId val="{00000008-C76F-4230-900D-40618C09729F}"/>
              </c:ext>
            </c:extLst>
          </c:dPt>
          <c:dPt>
            <c:idx val="2"/>
            <c:invertIfNegative val="0"/>
            <c:bubble3D val="0"/>
            <c:spPr>
              <a:solidFill>
                <a:srgbClr val="AEABAB"/>
              </a:solidFill>
            </c:spPr>
            <c:extLst>
              <c:ext xmlns:c16="http://schemas.microsoft.com/office/drawing/2014/chart" uri="{C3380CC4-5D6E-409C-BE32-E72D297353CC}">
                <c16:uniqueId val="{0000000A-C76F-4230-900D-40618C09729F}"/>
              </c:ext>
            </c:extLst>
          </c:dPt>
          <c:dPt>
            <c:idx val="3"/>
            <c:invertIfNegative val="0"/>
            <c:bubble3D val="0"/>
            <c:spPr>
              <a:solidFill>
                <a:srgbClr val="AEABAB"/>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5</c:f>
              <c:strCache>
                <c:ptCount val="4"/>
                <c:pt idx="0">
                  <c:v>Cru La Maqu</c:v>
                </c:pt>
                <c:pt idx="1">
                  <c:v>Celene</c:v>
                </c:pt>
                <c:pt idx="2">
                  <c:v>Celene</c:v>
                </c:pt>
                <c:pt idx="3">
                  <c:v>All Others</c:v>
                </c:pt>
              </c:strCache>
            </c:strRef>
          </c:cat>
          <c:val>
            <c:numRef>
              <c:f>Sheet1!$C$2:$C$5</c:f>
              <c:numCache>
                <c:formatCode>General</c:formatCode>
                <c:ptCount val="4"/>
                <c:pt idx="0">
                  <c:v>0.81563458001226241</c:v>
                </c:pt>
                <c:pt idx="1">
                  <c:v>0.89938687921520544</c:v>
                </c:pt>
                <c:pt idx="2">
                  <c:v>0.97547516860821581</c:v>
                </c:pt>
                <c:pt idx="3">
                  <c:v>0.99957081545064375</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4</c:f>
              <c:strCache>
                <c:ptCount val="3"/>
                <c:pt idx="0">
                  <c:v>Cru La Maqu</c:v>
                </c:pt>
                <c:pt idx="1">
                  <c:v>Celene</c:v>
                </c:pt>
                <c:pt idx="2">
                  <c:v>Celene</c:v>
                </c:pt>
              </c:strCache>
            </c:strRef>
          </c:cat>
          <c:val>
            <c:numRef>
              <c:f>Sheet1!$B$2:$B$4</c:f>
              <c:numCache>
                <c:formatCode>General</c:formatCode>
                <c:ptCount val="3"/>
                <c:pt idx="0">
                  <c:v>0.37</c:v>
                </c:pt>
                <c:pt idx="1">
                  <c:v>0.11</c:v>
                </c:pt>
                <c:pt idx="2">
                  <c:v>0.05</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7ECAC4"/>
              </a:solidFill>
            </c:spPr>
            <c:extLst>
              <c:ext xmlns:c16="http://schemas.microsoft.com/office/drawing/2014/chart" uri="{C3380CC4-5D6E-409C-BE32-E72D297353CC}">
                <c16:uniqueId val="{00000008-C76F-4230-900D-40618C09729F}"/>
              </c:ext>
            </c:extLst>
          </c:dPt>
          <c:dPt>
            <c:idx val="2"/>
            <c:invertIfNegative val="0"/>
            <c:bubble3D val="0"/>
            <c:spPr>
              <a:solidFill>
                <a:srgbClr val="AEABAB"/>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4</c:f>
              <c:strCache>
                <c:ptCount val="3"/>
                <c:pt idx="0">
                  <c:v>Cru La Maqu</c:v>
                </c:pt>
                <c:pt idx="1">
                  <c:v>Celene</c:v>
                </c:pt>
                <c:pt idx="2">
                  <c:v>Celene</c:v>
                </c:pt>
              </c:strCache>
            </c:strRef>
          </c:cat>
          <c:val>
            <c:numRef>
              <c:f>Sheet1!$C$2:$C$4</c:f>
              <c:numCache>
                <c:formatCode>General</c:formatCode>
                <c:ptCount val="3"/>
                <c:pt idx="0">
                  <c:v>0.86725772688092595</c:v>
                </c:pt>
                <c:pt idx="1">
                  <c:v>0.93621475187784753</c:v>
                </c:pt>
                <c:pt idx="2">
                  <c:v>1</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4</c:f>
              <c:strCache>
                <c:ptCount val="3"/>
                <c:pt idx="0">
                  <c:v>Cru La Maqu</c:v>
                </c:pt>
                <c:pt idx="1">
                  <c:v>Celene</c:v>
                </c:pt>
                <c:pt idx="2">
                  <c:v>Celene</c:v>
                </c:pt>
              </c:strCache>
            </c:strRef>
          </c:cat>
          <c:val>
            <c:numRef>
              <c:f>Sheet1!$B$2:$B$4</c:f>
              <c:numCache>
                <c:formatCode>General</c:formatCode>
                <c:ptCount val="3"/>
                <c:pt idx="0">
                  <c:v>0.56000000000000005</c:v>
                </c:pt>
                <c:pt idx="1">
                  <c:v>0.16</c:v>
                </c:pt>
                <c:pt idx="2">
                  <c:v>0.12</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7ECAC4"/>
              </a:solidFill>
            </c:spPr>
            <c:extLst>
              <c:ext xmlns:c16="http://schemas.microsoft.com/office/drawing/2014/chart" uri="{C3380CC4-5D6E-409C-BE32-E72D297353CC}">
                <c16:uniqueId val="{00000008-C76F-4230-900D-40618C09729F}"/>
              </c:ext>
            </c:extLst>
          </c:dPt>
          <c:dPt>
            <c:idx val="2"/>
            <c:invertIfNegative val="0"/>
            <c:bubble3D val="0"/>
            <c:spPr>
              <a:solidFill>
                <a:srgbClr val="AEABAB"/>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4</c:f>
              <c:strCache>
                <c:ptCount val="3"/>
                <c:pt idx="0">
                  <c:v>Cru La Maqu</c:v>
                </c:pt>
                <c:pt idx="1">
                  <c:v>Celene</c:v>
                </c:pt>
                <c:pt idx="2">
                  <c:v>Celene</c:v>
                </c:pt>
              </c:strCache>
            </c:strRef>
          </c:cat>
          <c:val>
            <c:numRef>
              <c:f>Sheet1!$C$2:$C$4</c:f>
              <c:numCache>
                <c:formatCode>General</c:formatCode>
                <c:ptCount val="3"/>
                <c:pt idx="0">
                  <c:v>0.85038693035253654</c:v>
                </c:pt>
                <c:pt idx="1">
                  <c:v>0.93422184006878761</c:v>
                </c:pt>
                <c:pt idx="2">
                  <c:v>1</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4</c:f>
              <c:strCache>
                <c:ptCount val="3"/>
                <c:pt idx="0">
                  <c:v>Cru La Maqu</c:v>
                </c:pt>
                <c:pt idx="1">
                  <c:v>Celene</c:v>
                </c:pt>
                <c:pt idx="2">
                  <c:v>Celene</c:v>
                </c:pt>
              </c:strCache>
            </c:strRef>
          </c:cat>
          <c:val>
            <c:numRef>
              <c:f>Sheet1!$B$2:$B$4</c:f>
              <c:numCache>
                <c:formatCode>General</c:formatCode>
                <c:ptCount val="3"/>
                <c:pt idx="0">
                  <c:v>0.52</c:v>
                </c:pt>
                <c:pt idx="1">
                  <c:v>0.16</c:v>
                </c:pt>
                <c:pt idx="2">
                  <c:v>0.08</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AEABAB"/>
              </a:solidFill>
            </c:spPr>
            <c:extLst>
              <c:ext xmlns:c16="http://schemas.microsoft.com/office/drawing/2014/chart" uri="{C3380CC4-5D6E-409C-BE32-E72D297353CC}">
                <c16:uniqueId val="{00000008-C76F-4230-900D-40618C09729F}"/>
              </c:ext>
            </c:extLst>
          </c:dPt>
          <c:dPt>
            <c:idx val="2"/>
            <c:invertIfNegative val="0"/>
            <c:bubble3D val="0"/>
            <c:spPr>
              <a:solidFill>
                <a:srgbClr val="AEABAB"/>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4</c:f>
              <c:strCache>
                <c:ptCount val="3"/>
                <c:pt idx="0">
                  <c:v>Cru La Maqu</c:v>
                </c:pt>
                <c:pt idx="1">
                  <c:v>Celene</c:v>
                </c:pt>
                <c:pt idx="2">
                  <c:v>Celene</c:v>
                </c:pt>
              </c:strCache>
            </c:strRef>
          </c:cat>
          <c:val>
            <c:numRef>
              <c:f>Sheet1!$C$2:$C$4</c:f>
              <c:numCache>
                <c:formatCode>General</c:formatCode>
                <c:ptCount val="3"/>
                <c:pt idx="0">
                  <c:v>0.91212781408859844</c:v>
                </c:pt>
                <c:pt idx="1">
                  <c:v>0.9694989106753813</c:v>
                </c:pt>
                <c:pt idx="2">
                  <c:v>1</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4</c:f>
              <c:strCache>
                <c:ptCount val="3"/>
                <c:pt idx="0">
                  <c:v>Cru La Maqu</c:v>
                </c:pt>
                <c:pt idx="1">
                  <c:v>Celene</c:v>
                </c:pt>
                <c:pt idx="2">
                  <c:v>Celene</c:v>
                </c:pt>
              </c:strCache>
            </c:strRef>
          </c:cat>
          <c:val>
            <c:numRef>
              <c:f>Sheet1!$B$2:$B$4</c:f>
              <c:numCache>
                <c:formatCode>General</c:formatCode>
                <c:ptCount val="3"/>
                <c:pt idx="0">
                  <c:v>0.35</c:v>
                </c:pt>
                <c:pt idx="1">
                  <c:v>0.04</c:v>
                </c:pt>
                <c:pt idx="2">
                  <c:v>0.03</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7ECAC4"/>
              </a:solidFill>
            </c:spPr>
            <c:extLst>
              <c:ext xmlns:c16="http://schemas.microsoft.com/office/drawing/2014/chart" uri="{C3380CC4-5D6E-409C-BE32-E72D297353CC}">
                <c16:uniqueId val="{00000008-C76F-4230-900D-40618C09729F}"/>
              </c:ext>
            </c:extLst>
          </c:dPt>
          <c:dPt>
            <c:idx val="2"/>
            <c:invertIfNegative val="0"/>
            <c:bubble3D val="0"/>
            <c:spPr>
              <a:solidFill>
                <a:srgbClr val="AEABAB"/>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4</c:f>
              <c:strCache>
                <c:ptCount val="3"/>
                <c:pt idx="0">
                  <c:v>Cru La Maqu</c:v>
                </c:pt>
                <c:pt idx="1">
                  <c:v>Celene</c:v>
                </c:pt>
                <c:pt idx="2">
                  <c:v>Celene</c:v>
                </c:pt>
              </c:strCache>
            </c:strRef>
          </c:cat>
          <c:val>
            <c:numRef>
              <c:f>Sheet1!$C$2:$C$4</c:f>
              <c:numCache>
                <c:formatCode>General</c:formatCode>
                <c:ptCount val="3"/>
                <c:pt idx="0">
                  <c:v>0.88107130377587306</c:v>
                </c:pt>
                <c:pt idx="1">
                  <c:v>0.94840804916651256</c:v>
                </c:pt>
                <c:pt idx="2">
                  <c:v>0.9998561180654046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4</c:f>
              <c:strCache>
                <c:ptCount val="3"/>
                <c:pt idx="0">
                  <c:v>Cru La Maqu</c:v>
                </c:pt>
                <c:pt idx="1">
                  <c:v>Celene</c:v>
                </c:pt>
                <c:pt idx="2">
                  <c:v>Celene</c:v>
                </c:pt>
              </c:strCache>
            </c:strRef>
          </c:cat>
          <c:val>
            <c:numRef>
              <c:f>Sheet1!$B$2:$B$4</c:f>
              <c:numCache>
                <c:formatCode>General</c:formatCode>
                <c:ptCount val="3"/>
                <c:pt idx="0">
                  <c:v>0.44</c:v>
                </c:pt>
                <c:pt idx="1">
                  <c:v>7.0000000000000007E-2</c:v>
                </c:pt>
                <c:pt idx="2">
                  <c:v>0.12</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7ECAC4"/>
              </a:solidFill>
            </c:spPr>
            <c:extLst>
              <c:ext xmlns:c16="http://schemas.microsoft.com/office/drawing/2014/chart" uri="{C3380CC4-5D6E-409C-BE32-E72D297353CC}">
                <c16:uniqueId val="{00000008-C76F-4230-900D-40618C09729F}"/>
              </c:ext>
            </c:extLst>
          </c:dPt>
          <c:dPt>
            <c:idx val="2"/>
            <c:invertIfNegative val="0"/>
            <c:bubble3D val="0"/>
            <c:spPr>
              <a:solidFill>
                <a:srgbClr val="AEABAB"/>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4</c:f>
              <c:strCache>
                <c:ptCount val="3"/>
                <c:pt idx="0">
                  <c:v>Cru La Maqu</c:v>
                </c:pt>
                <c:pt idx="1">
                  <c:v>Celene</c:v>
                </c:pt>
                <c:pt idx="2">
                  <c:v>Celene</c:v>
                </c:pt>
              </c:strCache>
            </c:strRef>
          </c:cat>
          <c:val>
            <c:numRef>
              <c:f>Sheet1!$C$2:$C$4</c:f>
              <c:numCache>
                <c:formatCode>General</c:formatCode>
                <c:ptCount val="3"/>
                <c:pt idx="0">
                  <c:v>0.87061994609164417</c:v>
                </c:pt>
                <c:pt idx="1">
                  <c:v>0.9408805031446541</c:v>
                </c:pt>
                <c:pt idx="2">
                  <c:v>1</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4</c:f>
              <c:strCache>
                <c:ptCount val="3"/>
                <c:pt idx="0">
                  <c:v>Cru La Maqu</c:v>
                </c:pt>
                <c:pt idx="1">
                  <c:v>Celene</c:v>
                </c:pt>
                <c:pt idx="2">
                  <c:v>Celene</c:v>
                </c:pt>
              </c:strCache>
            </c:strRef>
          </c:cat>
          <c:val>
            <c:numRef>
              <c:f>Sheet1!$B$2:$B$4</c:f>
              <c:numCache>
                <c:formatCode>General</c:formatCode>
                <c:ptCount val="3"/>
                <c:pt idx="0">
                  <c:v>0.3</c:v>
                </c:pt>
                <c:pt idx="1">
                  <c:v>0.19</c:v>
                </c:pt>
                <c:pt idx="2">
                  <c:v>0.08</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7ECAC4"/>
              </a:solidFill>
            </c:spPr>
            <c:extLst>
              <c:ext xmlns:c16="http://schemas.microsoft.com/office/drawing/2014/chart" uri="{C3380CC4-5D6E-409C-BE32-E72D297353CC}">
                <c16:uniqueId val="{00000008-C76F-4230-900D-40618C09729F}"/>
              </c:ext>
            </c:extLst>
          </c:dPt>
          <c:dPt>
            <c:idx val="2"/>
            <c:invertIfNegative val="0"/>
            <c:bubble3D val="0"/>
            <c:spPr>
              <a:solidFill>
                <a:srgbClr val="AEABAB"/>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4</c:f>
              <c:strCache>
                <c:ptCount val="3"/>
                <c:pt idx="0">
                  <c:v>Cru La Maqu</c:v>
                </c:pt>
                <c:pt idx="1">
                  <c:v>Celene</c:v>
                </c:pt>
                <c:pt idx="2">
                  <c:v>Celene</c:v>
                </c:pt>
              </c:strCache>
            </c:strRef>
          </c:cat>
          <c:val>
            <c:numRef>
              <c:f>Sheet1!$C$2:$C$4</c:f>
              <c:numCache>
                <c:formatCode>General</c:formatCode>
                <c:ptCount val="3"/>
                <c:pt idx="0">
                  <c:v>0.81449072453622684</c:v>
                </c:pt>
                <c:pt idx="1">
                  <c:v>0.91879593979698992</c:v>
                </c:pt>
                <c:pt idx="2">
                  <c:v>1</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6</c:f>
              <c:strCache>
                <c:ptCount val="5"/>
                <c:pt idx="0">
                  <c:v>Cru La Maqu</c:v>
                </c:pt>
                <c:pt idx="1">
                  <c:v>All Others</c:v>
                </c:pt>
                <c:pt idx="2">
                  <c:v>All Others</c:v>
                </c:pt>
                <c:pt idx="3">
                  <c:v>Celene</c:v>
                </c:pt>
                <c:pt idx="4">
                  <c:v>Celene</c:v>
                </c:pt>
              </c:strCache>
            </c:strRef>
          </c:cat>
          <c:val>
            <c:numRef>
              <c:f>Sheet1!$B$2:$B$6</c:f>
              <c:numCache>
                <c:formatCode>General</c:formatCode>
                <c:ptCount val="5"/>
                <c:pt idx="0">
                  <c:v>0.52</c:v>
                </c:pt>
                <c:pt idx="1">
                  <c:v>0.14000000000000001</c:v>
                </c:pt>
                <c:pt idx="2">
                  <c:v>0.16</c:v>
                </c:pt>
                <c:pt idx="3">
                  <c:v>0.24</c:v>
                </c:pt>
                <c:pt idx="4">
                  <c:v>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AEABAB"/>
              </a:solidFill>
            </c:spPr>
            <c:extLst>
              <c:ext xmlns:c16="http://schemas.microsoft.com/office/drawing/2014/chart" uri="{C3380CC4-5D6E-409C-BE32-E72D297353CC}">
                <c16:uniqueId val="{0000000C-C76F-4230-900D-40618C09729F}"/>
              </c:ext>
            </c:extLst>
          </c:dPt>
          <c:dPt>
            <c:idx val="4"/>
            <c:invertIfNegative val="0"/>
            <c:bubble3D val="0"/>
            <c:spPr>
              <a:solidFill>
                <a:srgbClr val="AEABAB"/>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6</c:f>
              <c:strCache>
                <c:ptCount val="5"/>
                <c:pt idx="0">
                  <c:v>Cru La Maqu</c:v>
                </c:pt>
                <c:pt idx="1">
                  <c:v>All Others</c:v>
                </c:pt>
                <c:pt idx="2">
                  <c:v>All Others</c:v>
                </c:pt>
                <c:pt idx="3">
                  <c:v>Celene</c:v>
                </c:pt>
                <c:pt idx="4">
                  <c:v>Celene</c:v>
                </c:pt>
              </c:strCache>
            </c:strRef>
          </c:cat>
          <c:val>
            <c:numRef>
              <c:f>Sheet1!$C$2:$C$6</c:f>
              <c:numCache>
                <c:formatCode>General</c:formatCode>
                <c:ptCount val="5"/>
                <c:pt idx="0">
                  <c:v>0.35865666775350508</c:v>
                </c:pt>
                <c:pt idx="1">
                  <c:v>0.68862080208672971</c:v>
                </c:pt>
                <c:pt idx="2">
                  <c:v>0.93544179980436915</c:v>
                </c:pt>
                <c:pt idx="3">
                  <c:v>0.97032931203130102</c:v>
                </c:pt>
                <c:pt idx="4">
                  <c:v>1</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4</c:f>
              <c:strCache>
                <c:ptCount val="3"/>
                <c:pt idx="0">
                  <c:v>Cru La Maqu</c:v>
                </c:pt>
                <c:pt idx="1">
                  <c:v>Celene</c:v>
                </c:pt>
                <c:pt idx="2">
                  <c:v>Celene</c:v>
                </c:pt>
              </c:strCache>
            </c:strRef>
          </c:cat>
          <c:val>
            <c:numRef>
              <c:f>Sheet1!$B$2:$B$4</c:f>
              <c:numCache>
                <c:formatCode>General</c:formatCode>
                <c:ptCount val="3"/>
                <c:pt idx="0">
                  <c:v>0.42</c:v>
                </c:pt>
                <c:pt idx="1">
                  <c:v>0.12</c:v>
                </c:pt>
                <c:pt idx="2">
                  <c:v>0.16</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AEABAB"/>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4</c:f>
              <c:strCache>
                <c:ptCount val="3"/>
                <c:pt idx="0">
                  <c:v>Cru La Maqu</c:v>
                </c:pt>
                <c:pt idx="1">
                  <c:v>Celene</c:v>
                </c:pt>
                <c:pt idx="2">
                  <c:v>Celene</c:v>
                </c:pt>
              </c:strCache>
            </c:strRef>
          </c:cat>
          <c:val>
            <c:numRef>
              <c:f>Sheet1!$C$2:$C$4</c:f>
              <c:numCache>
                <c:formatCode>General</c:formatCode>
                <c:ptCount val="3"/>
                <c:pt idx="0">
                  <c:v>0.67826552462526768</c:v>
                </c:pt>
                <c:pt idx="1">
                  <c:v>0.87580299785867233</c:v>
                </c:pt>
                <c:pt idx="2">
                  <c:v>1</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4</c:f>
              <c:strCache>
                <c:ptCount val="3"/>
                <c:pt idx="0">
                  <c:v>Cru La Maqu</c:v>
                </c:pt>
                <c:pt idx="1">
                  <c:v>Celene</c:v>
                </c:pt>
                <c:pt idx="2">
                  <c:v>Celene</c:v>
                </c:pt>
              </c:strCache>
            </c:strRef>
          </c:cat>
          <c:val>
            <c:numRef>
              <c:f>Sheet1!$B$2:$B$4</c:f>
              <c:numCache>
                <c:formatCode>General</c:formatCode>
                <c:ptCount val="3"/>
                <c:pt idx="0">
                  <c:v>0.5</c:v>
                </c:pt>
                <c:pt idx="1">
                  <c:v>0.05</c:v>
                </c:pt>
                <c:pt idx="2">
                  <c:v>0.03</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AEABAB"/>
              </a:solidFill>
            </c:spPr>
            <c:extLst>
              <c:ext xmlns:c16="http://schemas.microsoft.com/office/drawing/2014/chart" uri="{C3380CC4-5D6E-409C-BE32-E72D297353CC}">
                <c16:uniqueId val="{00000008-C76F-4230-900D-40618C09729F}"/>
              </c:ext>
            </c:extLst>
          </c:dPt>
          <c:dPt>
            <c:idx val="2"/>
            <c:invertIfNegative val="0"/>
            <c:bubble3D val="0"/>
            <c:spPr>
              <a:solidFill>
                <a:srgbClr val="AEABAB"/>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4</c:f>
              <c:strCache>
                <c:ptCount val="3"/>
                <c:pt idx="0">
                  <c:v>Cru La Maqu</c:v>
                </c:pt>
                <c:pt idx="1">
                  <c:v>Celene</c:v>
                </c:pt>
                <c:pt idx="2">
                  <c:v>Celene</c:v>
                </c:pt>
              </c:strCache>
            </c:strRef>
          </c:cat>
          <c:val>
            <c:numRef>
              <c:f>Sheet1!$C$2:$C$4</c:f>
              <c:numCache>
                <c:formatCode>General</c:formatCode>
                <c:ptCount val="3"/>
                <c:pt idx="0">
                  <c:v>0.95180314533622556</c:v>
                </c:pt>
                <c:pt idx="1">
                  <c:v>0.98881507592190887</c:v>
                </c:pt>
                <c:pt idx="2">
                  <c:v>1</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4</c:f>
              <c:strCache>
                <c:ptCount val="3"/>
                <c:pt idx="0">
                  <c:v>Cru La Maqu</c:v>
                </c:pt>
                <c:pt idx="1">
                  <c:v>Celene</c:v>
                </c:pt>
                <c:pt idx="2">
                  <c:v>Celene</c:v>
                </c:pt>
              </c:strCache>
            </c:strRef>
          </c:cat>
          <c:val>
            <c:numRef>
              <c:f>Sheet1!$B$2:$B$4</c:f>
              <c:numCache>
                <c:formatCode>General</c:formatCode>
                <c:ptCount val="3"/>
                <c:pt idx="0">
                  <c:v>0.54</c:v>
                </c:pt>
                <c:pt idx="1">
                  <c:v>0.06</c:v>
                </c:pt>
                <c:pt idx="2">
                  <c:v>0.08</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AEABAB"/>
              </a:solidFill>
            </c:spPr>
            <c:extLst>
              <c:ext xmlns:c16="http://schemas.microsoft.com/office/drawing/2014/chart" uri="{C3380CC4-5D6E-409C-BE32-E72D297353CC}">
                <c16:uniqueId val="{00000008-C76F-4230-900D-40618C09729F}"/>
              </c:ext>
            </c:extLst>
          </c:dPt>
          <c:dPt>
            <c:idx val="2"/>
            <c:invertIfNegative val="0"/>
            <c:bubble3D val="0"/>
            <c:spPr>
              <a:solidFill>
                <a:srgbClr val="AEABAB"/>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4</c:f>
              <c:strCache>
                <c:ptCount val="3"/>
                <c:pt idx="0">
                  <c:v>Cru La Maqu</c:v>
                </c:pt>
                <c:pt idx="1">
                  <c:v>Celene</c:v>
                </c:pt>
                <c:pt idx="2">
                  <c:v>Celene</c:v>
                </c:pt>
              </c:strCache>
            </c:strRef>
          </c:cat>
          <c:val>
            <c:numRef>
              <c:f>Sheet1!$C$2:$C$4</c:f>
              <c:numCache>
                <c:formatCode>General</c:formatCode>
                <c:ptCount val="3"/>
                <c:pt idx="0">
                  <c:v>0.94748358862144422</c:v>
                </c:pt>
                <c:pt idx="1">
                  <c:v>0.9775711159737418</c:v>
                </c:pt>
                <c:pt idx="2">
                  <c:v>1</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6</c:f>
              <c:strCache>
                <c:ptCount val="5"/>
                <c:pt idx="0">
                  <c:v>Cru La Maqu</c:v>
                </c:pt>
                <c:pt idx="1">
                  <c:v>All Others</c:v>
                </c:pt>
                <c:pt idx="2">
                  <c:v>All Others</c:v>
                </c:pt>
                <c:pt idx="3">
                  <c:v>Celene</c:v>
                </c:pt>
                <c:pt idx="4">
                  <c:v>Celene</c:v>
                </c:pt>
              </c:strCache>
            </c:strRef>
          </c:cat>
          <c:val>
            <c:numRef>
              <c:f>Sheet1!$B$2:$B$6</c:f>
              <c:numCache>
                <c:formatCode>General</c:formatCode>
                <c:ptCount val="5"/>
                <c:pt idx="0">
                  <c:v>0.32</c:v>
                </c:pt>
                <c:pt idx="1">
                  <c:v>0.02</c:v>
                </c:pt>
                <c:pt idx="2">
                  <c:v>0.02</c:v>
                </c:pt>
                <c:pt idx="3">
                  <c:v>0.1</c:v>
                </c:pt>
                <c:pt idx="4">
                  <c:v>0.05</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7ECAC4"/>
              </a:solidFill>
            </c:spPr>
            <c:extLst>
              <c:ext xmlns:c16="http://schemas.microsoft.com/office/drawing/2014/chart" uri="{C3380CC4-5D6E-409C-BE32-E72D297353CC}">
                <c16:uniqueId val="{0000000A-C76F-4230-900D-40618C09729F}"/>
              </c:ext>
            </c:extLst>
          </c:dPt>
          <c:dPt>
            <c:idx val="3"/>
            <c:invertIfNegative val="0"/>
            <c:bubble3D val="0"/>
            <c:spPr>
              <a:solidFill>
                <a:srgbClr val="AEABAB"/>
              </a:solidFill>
            </c:spPr>
            <c:extLst>
              <c:ext xmlns:c16="http://schemas.microsoft.com/office/drawing/2014/chart" uri="{C3380CC4-5D6E-409C-BE32-E72D297353CC}">
                <c16:uniqueId val="{0000000C-C76F-4230-900D-40618C09729F}"/>
              </c:ext>
            </c:extLst>
          </c:dPt>
          <c:dPt>
            <c:idx val="4"/>
            <c:invertIfNegative val="0"/>
            <c:bubble3D val="0"/>
            <c:spPr>
              <a:solidFill>
                <a:srgbClr val="AEABAB"/>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6</c:f>
              <c:strCache>
                <c:ptCount val="5"/>
                <c:pt idx="0">
                  <c:v>Cru La Maqu</c:v>
                </c:pt>
                <c:pt idx="1">
                  <c:v>All Others</c:v>
                </c:pt>
                <c:pt idx="2">
                  <c:v>All Others</c:v>
                </c:pt>
                <c:pt idx="3">
                  <c:v>Celene</c:v>
                </c:pt>
                <c:pt idx="4">
                  <c:v>Celene</c:v>
                </c:pt>
              </c:strCache>
            </c:strRef>
          </c:cat>
          <c:val>
            <c:numRef>
              <c:f>Sheet1!$C$2:$C$6</c:f>
              <c:numCache>
                <c:formatCode>General</c:formatCode>
                <c:ptCount val="5"/>
                <c:pt idx="0">
                  <c:v>0.73013469771327133</c:v>
                </c:pt>
                <c:pt idx="1">
                  <c:v>0.82468413908322014</c:v>
                </c:pt>
                <c:pt idx="2">
                  <c:v>0.89756708781455563</c:v>
                </c:pt>
                <c:pt idx="3">
                  <c:v>0.96413281821029539</c:v>
                </c:pt>
                <c:pt idx="4">
                  <c:v>0.99999999999999989</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4</c:f>
              <c:strCache>
                <c:ptCount val="3"/>
                <c:pt idx="0">
                  <c:v>Cru La Maqu</c:v>
                </c:pt>
                <c:pt idx="1">
                  <c:v>Celene</c:v>
                </c:pt>
                <c:pt idx="2">
                  <c:v>Celene</c:v>
                </c:pt>
              </c:strCache>
            </c:strRef>
          </c:cat>
          <c:val>
            <c:numRef>
              <c:f>Sheet1!$B$2:$B$4</c:f>
              <c:numCache>
                <c:formatCode>General</c:formatCode>
                <c:ptCount val="3"/>
                <c:pt idx="0">
                  <c:v>0.32</c:v>
                </c:pt>
                <c:pt idx="1">
                  <c:v>0.06</c:v>
                </c:pt>
                <c:pt idx="2">
                  <c:v>0.05</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7ECAC4"/>
              </a:solidFill>
            </c:spPr>
            <c:extLst>
              <c:ext xmlns:c16="http://schemas.microsoft.com/office/drawing/2014/chart" uri="{C3380CC4-5D6E-409C-BE32-E72D297353CC}">
                <c16:uniqueId val="{00000008-C76F-4230-900D-40618C09729F}"/>
              </c:ext>
            </c:extLst>
          </c:dPt>
          <c:dPt>
            <c:idx val="2"/>
            <c:invertIfNegative val="0"/>
            <c:bubble3D val="0"/>
            <c:spPr>
              <a:solidFill>
                <a:srgbClr val="AEABAB"/>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4</c:f>
              <c:strCache>
                <c:ptCount val="3"/>
                <c:pt idx="0">
                  <c:v>Cru La Maqu</c:v>
                </c:pt>
                <c:pt idx="1">
                  <c:v>Celene</c:v>
                </c:pt>
                <c:pt idx="2">
                  <c:v>Celene</c:v>
                </c:pt>
              </c:strCache>
            </c:strRef>
          </c:cat>
          <c:val>
            <c:numRef>
              <c:f>Sheet1!$C$2:$C$4</c:f>
              <c:numCache>
                <c:formatCode>General</c:formatCode>
                <c:ptCount val="3"/>
                <c:pt idx="0">
                  <c:v>0.84429983128464692</c:v>
                </c:pt>
                <c:pt idx="1">
                  <c:v>0.93347794649313087</c:v>
                </c:pt>
                <c:pt idx="2">
                  <c:v>0.99943761548967625</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6</c:f>
              <c:strCache>
                <c:ptCount val="5"/>
                <c:pt idx="0">
                  <c:v>Cru La Maqu</c:v>
                </c:pt>
                <c:pt idx="1">
                  <c:v>Celene</c:v>
                </c:pt>
                <c:pt idx="2">
                  <c:v>Celene</c:v>
                </c:pt>
                <c:pt idx="3">
                  <c:v>All Others</c:v>
                </c:pt>
                <c:pt idx="4">
                  <c:v>All Others</c:v>
                </c:pt>
              </c:strCache>
            </c:strRef>
          </c:cat>
          <c:val>
            <c:numRef>
              <c:f>Sheet1!$B$2:$B$6</c:f>
              <c:numCache>
                <c:formatCode>General</c:formatCode>
                <c:ptCount val="5"/>
                <c:pt idx="0">
                  <c:v>0.18</c:v>
                </c:pt>
                <c:pt idx="1">
                  <c:v>0.06</c:v>
                </c:pt>
                <c:pt idx="2">
                  <c:v>7.0000000000000007E-2</c:v>
                </c:pt>
                <c:pt idx="3">
                  <c:v>0.01</c:v>
                </c:pt>
                <c:pt idx="4">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AEABAB"/>
              </a:solidFill>
            </c:spPr>
            <c:extLst>
              <c:ext xmlns:c16="http://schemas.microsoft.com/office/drawing/2014/chart" uri="{C3380CC4-5D6E-409C-BE32-E72D297353CC}">
                <c16:uniqueId val="{0000000A-C76F-4230-900D-40618C09729F}"/>
              </c:ext>
            </c:extLst>
          </c:dPt>
          <c:dPt>
            <c:idx val="3"/>
            <c:invertIfNegative val="0"/>
            <c:bubble3D val="0"/>
            <c:spPr>
              <a:solidFill>
                <a:srgbClr val="AEABAB"/>
              </a:solidFill>
            </c:spPr>
            <c:extLst>
              <c:ext xmlns:c16="http://schemas.microsoft.com/office/drawing/2014/chart" uri="{C3380CC4-5D6E-409C-BE32-E72D297353CC}">
                <c16:uniqueId val="{0000000C-C76F-4230-900D-40618C09729F}"/>
              </c:ext>
            </c:extLst>
          </c:dPt>
          <c:dPt>
            <c:idx val="4"/>
            <c:invertIfNegative val="0"/>
            <c:bubble3D val="0"/>
            <c:spPr>
              <a:solidFill>
                <a:srgbClr val="AEABAB"/>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6</c:f>
              <c:strCache>
                <c:ptCount val="5"/>
                <c:pt idx="0">
                  <c:v>Cru La Maqu</c:v>
                </c:pt>
                <c:pt idx="1">
                  <c:v>Celene</c:v>
                </c:pt>
                <c:pt idx="2">
                  <c:v>Celene</c:v>
                </c:pt>
                <c:pt idx="3">
                  <c:v>All Others</c:v>
                </c:pt>
                <c:pt idx="4">
                  <c:v>All Others</c:v>
                </c:pt>
              </c:strCache>
            </c:strRef>
          </c:cat>
          <c:val>
            <c:numRef>
              <c:f>Sheet1!$C$2:$C$6</c:f>
              <c:numCache>
                <c:formatCode>General</c:formatCode>
                <c:ptCount val="5"/>
                <c:pt idx="0">
                  <c:v>0.69100276451369691</c:v>
                </c:pt>
                <c:pt idx="1">
                  <c:v>0.84411912540839407</c:v>
                </c:pt>
                <c:pt idx="2">
                  <c:v>0.95451118371450117</c:v>
                </c:pt>
                <c:pt idx="3">
                  <c:v>0.99258607690374467</c:v>
                </c:pt>
                <c:pt idx="4">
                  <c:v>1</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24</c:f>
              <c:strCache>
                <c:ptCount val="23"/>
                <c:pt idx="0">
                  <c:v>CHAMPAGNE E.NICOLAS BRUT 1CT X 750ML</c:v>
                </c:pt>
                <c:pt idx="1">
                  <c:v>CHAMPAGNE NICOLAS BLC/BLC BS 1CT X 750ML</c:v>
                </c:pt>
                <c:pt idx="2">
                  <c:v>CHAMPAGNE E.NICOLAS ROSE 1CT X 750ML</c:v>
                </c:pt>
                <c:pt idx="3">
                  <c:v>CHAMPAGNE NICOLAS 1ERE CUVEE 1CT X 750ML</c:v>
                </c:pt>
                <c:pt idx="4">
                  <c:v>1/2 CHAMPAGNE NICOLAS 1ERE CUV 1CT X 375ML</c:v>
                </c:pt>
                <c:pt idx="5">
                  <c:v>MG CHAMPAGNE E.NICOLAS BRUT 1CT X 1500ML</c:v>
                </c:pt>
                <c:pt idx="6">
                  <c:v>CHAMPAGNE NICOLAS ROSE 1ERE CU 1CT X 750ML</c:v>
                </c:pt>
                <c:pt idx="7">
                  <c:v>CHAMPAGNE NICOLAS BIO NAT 2017 1CT X 750ML</c:v>
                </c:pt>
                <c:pt idx="8">
                  <c:v>1/2 CHAMP NICOLAS BLC/BLC BS 1CT X 375ML</c:v>
                </c:pt>
                <c:pt idx="9">
                  <c:v>MG CHAMPAGNE NICOLAS BLC/BL BS 1CT X 1500ML</c:v>
                </c:pt>
                <c:pt idx="10">
                  <c:v>1/2 CHAMP NICOLAS ROSE 1E C BS 1CT X 375ML</c:v>
                </c:pt>
                <c:pt idx="11">
                  <c:v>CHAMPAGNE NICOLAS 1ER CRU BS 1CT X 750ML</c:v>
                </c:pt>
                <c:pt idx="12">
                  <c:v>CHAMPAGNE NICOLAS BLC DE NOIRS 1CT X 750ML</c:v>
                </c:pt>
                <c:pt idx="13">
                  <c:v>MG CHAMPAGNE NICOLAS 1ERE CUVE 1CT X 1500ML</c:v>
                </c:pt>
                <c:pt idx="14">
                  <c:v>CHAMPAGNE NICOLAS 1ER CRU ETUI 1CT X 750ML</c:v>
                </c:pt>
                <c:pt idx="15">
                  <c:v>CHAMPAGNE NICOLAS ROSE 1ERE ET 1CT X 750ML</c:v>
                </c:pt>
                <c:pt idx="16">
                  <c:v>CHAMPAGNE NICOLAS 1ERE CUV ETU 1CT X 750ML</c:v>
                </c:pt>
                <c:pt idx="17">
                  <c:v>CHAMPAGNE NICOLAS ROSE 1E C BS 1CT X 750ML</c:v>
                </c:pt>
                <c:pt idx="18">
                  <c:v>MG CHAMPAGNE NICOLAS 1E CRU BS 1CT X 1500ML</c:v>
                </c:pt>
                <c:pt idx="19">
                  <c:v>CHAMPAGNE NICOLAS BLC/BL BS ET 1CT X 750ML</c:v>
                </c:pt>
                <c:pt idx="20">
                  <c:v>1/2 CHAMPAGNE NICOLAS 1E C BS 1CT X 375ML</c:v>
                </c:pt>
                <c:pt idx="21">
                  <c:v>CHAMPAGNE NICOLAS BIO 2018 1CT X 750ML</c:v>
                </c:pt>
                <c:pt idx="22">
                  <c:v>MG CHAMPAGNE NICOLAS BRUT 1CT X 1500ML</c:v>
                </c:pt>
              </c:strCache>
            </c:strRef>
          </c:cat>
          <c:val>
            <c:numRef>
              <c:f>Sheet1!$B$2:$B$24</c:f>
              <c:numCache>
                <c:formatCode>General</c:formatCode>
                <c:ptCount val="23"/>
                <c:pt idx="0">
                  <c:v>0.998</c:v>
                </c:pt>
                <c:pt idx="1">
                  <c:v>0.58499999999999996</c:v>
                </c:pt>
                <c:pt idx="2">
                  <c:v>0.628</c:v>
                </c:pt>
                <c:pt idx="3">
                  <c:v>0.76700000000000002</c:v>
                </c:pt>
                <c:pt idx="4">
                  <c:v>0.38800000000000001</c:v>
                </c:pt>
                <c:pt idx="5">
                  <c:v>0.254</c:v>
                </c:pt>
                <c:pt idx="6">
                  <c:v>0.34899999999999998</c:v>
                </c:pt>
                <c:pt idx="7">
                  <c:v>0.2</c:v>
                </c:pt>
                <c:pt idx="8">
                  <c:v>0.315</c:v>
                </c:pt>
                <c:pt idx="9">
                  <c:v>0.17100000000000001</c:v>
                </c:pt>
                <c:pt idx="10">
                  <c:v>0.29699999999999999</c:v>
                </c:pt>
                <c:pt idx="11">
                  <c:v>0.34699999999999998</c:v>
                </c:pt>
                <c:pt idx="12">
                  <c:v>0.20699999999999999</c:v>
                </c:pt>
                <c:pt idx="13">
                  <c:v>0.23599999999999999</c:v>
                </c:pt>
                <c:pt idx="14">
                  <c:v>0.189</c:v>
                </c:pt>
                <c:pt idx="15">
                  <c:v>0.105</c:v>
                </c:pt>
                <c:pt idx="16">
                  <c:v>0.13600000000000001</c:v>
                </c:pt>
                <c:pt idx="17">
                  <c:v>8.1000000000000003E-2</c:v>
                </c:pt>
                <c:pt idx="18">
                  <c:v>5.7000000000000002E-2</c:v>
                </c:pt>
                <c:pt idx="19">
                  <c:v>2.7E-2</c:v>
                </c:pt>
                <c:pt idx="20">
                  <c:v>0.01</c:v>
                </c:pt>
                <c:pt idx="21">
                  <c:v>2E-3</c:v>
                </c:pt>
                <c:pt idx="22">
                  <c:v>2E-3</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7ECAC4"/>
              </a:solidFill>
            </c:spPr>
            <c:extLst>
              <c:ext xmlns:c16="http://schemas.microsoft.com/office/drawing/2014/chart" uri="{C3380CC4-5D6E-409C-BE32-E72D297353CC}">
                <c16:uniqueId val="{00000006-E902-46E2-9A54-39A26B3DFDC1}"/>
              </c:ext>
            </c:extLst>
          </c:dPt>
          <c:dPt>
            <c:idx val="3"/>
            <c:invertIfNegative val="0"/>
            <c:bubble3D val="0"/>
            <c:spPr>
              <a:solidFill>
                <a:srgbClr val="7ECAC4"/>
              </a:solidFill>
            </c:spPr>
            <c:extLst>
              <c:ext xmlns:c16="http://schemas.microsoft.com/office/drawing/2014/chart" uri="{C3380CC4-5D6E-409C-BE32-E72D297353CC}">
                <c16:uniqueId val="{00000007-E902-46E2-9A54-39A26B3DFDC1}"/>
              </c:ext>
            </c:extLst>
          </c:dPt>
          <c:dPt>
            <c:idx val="4"/>
            <c:invertIfNegative val="1"/>
            <c:bubble3D val="0"/>
            <c:spPr>
              <a:solidFill>
                <a:srgbClr val="7ECAC4"/>
              </a:solidFill>
            </c:spPr>
            <c:extLst>
              <c:ext xmlns:c16="http://schemas.microsoft.com/office/drawing/2014/chart" uri="{C3380CC4-5D6E-409C-BE32-E72D297353CC}">
                <c16:uniqueId val="{0000000B-FA3E-4872-B6E1-C4ABDF5766E2}"/>
              </c:ext>
            </c:extLst>
          </c:dPt>
          <c:dPt>
            <c:idx val="5"/>
            <c:invertIfNegative val="1"/>
            <c:bubble3D val="0"/>
            <c:spPr>
              <a:solidFill>
                <a:srgbClr val="7ECAC4"/>
              </a:solidFill>
            </c:spPr>
            <c:extLst>
              <c:ext xmlns:c16="http://schemas.microsoft.com/office/drawing/2014/chart" uri="{C3380CC4-5D6E-409C-BE32-E72D297353CC}">
                <c16:uniqueId val="{0000000D-FA3E-4872-B6E1-C4ABDF5766E2}"/>
              </c:ext>
            </c:extLst>
          </c:dPt>
          <c:dPt>
            <c:idx val="6"/>
            <c:invertIfNegative val="1"/>
            <c:bubble3D val="0"/>
            <c:spPr>
              <a:solidFill>
                <a:srgbClr val="7ECAC4"/>
              </a:solidFill>
            </c:spPr>
            <c:extLst>
              <c:ext xmlns:c16="http://schemas.microsoft.com/office/drawing/2014/chart" uri="{C3380CC4-5D6E-409C-BE32-E72D297353CC}">
                <c16:uniqueId val="{0000000F-FA3E-4872-B6E1-C4ABDF5766E2}"/>
              </c:ext>
            </c:extLst>
          </c:dPt>
          <c:dPt>
            <c:idx val="7"/>
            <c:invertIfNegative val="1"/>
            <c:bubble3D val="0"/>
            <c:spPr>
              <a:solidFill>
                <a:srgbClr val="7ECAC4"/>
              </a:solidFill>
            </c:spPr>
            <c:extLst>
              <c:ext xmlns:c16="http://schemas.microsoft.com/office/drawing/2014/chart" uri="{C3380CC4-5D6E-409C-BE32-E72D297353CC}">
                <c16:uniqueId val="{00000011-FA3E-4872-B6E1-C4ABDF5766E2}"/>
              </c:ext>
            </c:extLst>
          </c:dPt>
          <c:dPt>
            <c:idx val="8"/>
            <c:invertIfNegative val="1"/>
            <c:bubble3D val="0"/>
            <c:spPr>
              <a:solidFill>
                <a:srgbClr val="7ECAC4"/>
              </a:solidFill>
            </c:spPr>
            <c:extLst>
              <c:ext xmlns:c16="http://schemas.microsoft.com/office/drawing/2014/chart" uri="{C3380CC4-5D6E-409C-BE32-E72D297353CC}">
                <c16:uniqueId val="{00000013-FA3E-4872-B6E1-C4ABDF5766E2}"/>
              </c:ext>
            </c:extLst>
          </c:dPt>
          <c:dPt>
            <c:idx val="9"/>
            <c:invertIfNegative val="1"/>
            <c:bubble3D val="0"/>
            <c:spPr>
              <a:solidFill>
                <a:srgbClr val="AEABAB"/>
              </a:solidFill>
            </c:spPr>
            <c:extLst>
              <c:ext xmlns:c16="http://schemas.microsoft.com/office/drawing/2014/chart" uri="{C3380CC4-5D6E-409C-BE32-E72D297353CC}">
                <c16:uniqueId val="{00000015-FA3E-4872-B6E1-C4ABDF5766E2}"/>
              </c:ext>
            </c:extLst>
          </c:dPt>
          <c:dPt>
            <c:idx val="10"/>
            <c:invertIfNegative val="1"/>
            <c:bubble3D val="0"/>
            <c:spPr>
              <a:solidFill>
                <a:srgbClr val="AEABAB"/>
              </a:solidFill>
            </c:spPr>
            <c:extLst>
              <c:ext xmlns:c16="http://schemas.microsoft.com/office/drawing/2014/chart" uri="{C3380CC4-5D6E-409C-BE32-E72D297353CC}">
                <c16:uniqueId val="{00000017-FA3E-4872-B6E1-C4ABDF5766E2}"/>
              </c:ext>
            </c:extLst>
          </c:dPt>
          <c:dPt>
            <c:idx val="11"/>
            <c:invertIfNegative val="1"/>
            <c:bubble3D val="0"/>
            <c:spPr>
              <a:solidFill>
                <a:srgbClr val="AEABAB"/>
              </a:solidFill>
            </c:spPr>
            <c:extLst>
              <c:ext xmlns:c16="http://schemas.microsoft.com/office/drawing/2014/chart" uri="{C3380CC4-5D6E-409C-BE32-E72D297353CC}">
                <c16:uniqueId val="{00000019-FA3E-4872-B6E1-C4ABDF5766E2}"/>
              </c:ext>
            </c:extLst>
          </c:dPt>
          <c:dPt>
            <c:idx val="12"/>
            <c:invertIfNegative val="1"/>
            <c:bubble3D val="0"/>
            <c:spPr>
              <a:solidFill>
                <a:srgbClr val="AEABAB"/>
              </a:solidFill>
            </c:spPr>
            <c:extLst>
              <c:ext xmlns:c16="http://schemas.microsoft.com/office/drawing/2014/chart" uri="{C3380CC4-5D6E-409C-BE32-E72D297353CC}">
                <c16:uniqueId val="{0000001B-FA3E-4872-B6E1-C4ABDF5766E2}"/>
              </c:ext>
            </c:extLst>
          </c:dPt>
          <c:dPt>
            <c:idx val="13"/>
            <c:invertIfNegative val="1"/>
            <c:bubble3D val="0"/>
            <c:spPr>
              <a:solidFill>
                <a:srgbClr val="AEABAB"/>
              </a:solidFill>
            </c:spPr>
            <c:extLst>
              <c:ext xmlns:c16="http://schemas.microsoft.com/office/drawing/2014/chart" uri="{C3380CC4-5D6E-409C-BE32-E72D297353CC}">
                <c16:uniqueId val="{0000001D-FA3E-4872-B6E1-C4ABDF5766E2}"/>
              </c:ext>
            </c:extLst>
          </c:dPt>
          <c:dPt>
            <c:idx val="14"/>
            <c:invertIfNegative val="1"/>
            <c:bubble3D val="0"/>
            <c:spPr>
              <a:solidFill>
                <a:srgbClr val="AEABAB"/>
              </a:solidFill>
            </c:spPr>
            <c:extLst>
              <c:ext xmlns:c16="http://schemas.microsoft.com/office/drawing/2014/chart" uri="{C3380CC4-5D6E-409C-BE32-E72D297353CC}">
                <c16:uniqueId val="{0000001F-FA3E-4872-B6E1-C4ABDF5766E2}"/>
              </c:ext>
            </c:extLst>
          </c:dPt>
          <c:dPt>
            <c:idx val="15"/>
            <c:invertIfNegative val="1"/>
            <c:bubble3D val="0"/>
            <c:spPr>
              <a:solidFill>
                <a:srgbClr val="AEABAB"/>
              </a:solidFill>
            </c:spPr>
            <c:extLst>
              <c:ext xmlns:c16="http://schemas.microsoft.com/office/drawing/2014/chart" uri="{C3380CC4-5D6E-409C-BE32-E72D297353CC}">
                <c16:uniqueId val="{00000021-FA3E-4872-B6E1-C4ABDF5766E2}"/>
              </c:ext>
            </c:extLst>
          </c:dPt>
          <c:dPt>
            <c:idx val="16"/>
            <c:invertIfNegative val="1"/>
            <c:bubble3D val="0"/>
            <c:spPr>
              <a:solidFill>
                <a:srgbClr val="AEABAB"/>
              </a:solidFill>
            </c:spPr>
            <c:extLst>
              <c:ext xmlns:c16="http://schemas.microsoft.com/office/drawing/2014/chart" uri="{C3380CC4-5D6E-409C-BE32-E72D297353CC}">
                <c16:uniqueId val="{00000023-FA3E-4872-B6E1-C4ABDF5766E2}"/>
              </c:ext>
            </c:extLst>
          </c:dPt>
          <c:dPt>
            <c:idx val="17"/>
            <c:invertIfNegative val="1"/>
            <c:bubble3D val="0"/>
            <c:spPr>
              <a:solidFill>
                <a:srgbClr val="AEABAB"/>
              </a:solidFill>
            </c:spPr>
            <c:extLst>
              <c:ext xmlns:c16="http://schemas.microsoft.com/office/drawing/2014/chart" uri="{C3380CC4-5D6E-409C-BE32-E72D297353CC}">
                <c16:uniqueId val="{00000025-FA3E-4872-B6E1-C4ABDF5766E2}"/>
              </c:ext>
            </c:extLst>
          </c:dPt>
          <c:dPt>
            <c:idx val="18"/>
            <c:invertIfNegative val="1"/>
            <c:bubble3D val="0"/>
            <c:spPr>
              <a:solidFill>
                <a:srgbClr val="AEABAB"/>
              </a:solidFill>
            </c:spPr>
            <c:extLst>
              <c:ext xmlns:c16="http://schemas.microsoft.com/office/drawing/2014/chart" uri="{C3380CC4-5D6E-409C-BE32-E72D297353CC}">
                <c16:uniqueId val="{00000027-FA3E-4872-B6E1-C4ABDF5766E2}"/>
              </c:ext>
            </c:extLst>
          </c:dPt>
          <c:dPt>
            <c:idx val="19"/>
            <c:invertIfNegative val="1"/>
            <c:bubble3D val="0"/>
            <c:spPr>
              <a:solidFill>
                <a:srgbClr val="AEABAB"/>
              </a:solidFill>
            </c:spPr>
            <c:extLst>
              <c:ext xmlns:c16="http://schemas.microsoft.com/office/drawing/2014/chart" uri="{C3380CC4-5D6E-409C-BE32-E72D297353CC}">
                <c16:uniqueId val="{00000029-FA3E-4872-B6E1-C4ABDF5766E2}"/>
              </c:ext>
            </c:extLst>
          </c:dPt>
          <c:dPt>
            <c:idx val="20"/>
            <c:invertIfNegative val="1"/>
            <c:bubble3D val="0"/>
            <c:spPr>
              <a:solidFill>
                <a:srgbClr val="AEABAB"/>
              </a:solidFill>
            </c:spPr>
            <c:extLst>
              <c:ext xmlns:c16="http://schemas.microsoft.com/office/drawing/2014/chart" uri="{C3380CC4-5D6E-409C-BE32-E72D297353CC}">
                <c16:uniqueId val="{0000002B-FA3E-4872-B6E1-C4ABDF5766E2}"/>
              </c:ext>
            </c:extLst>
          </c:dPt>
          <c:dPt>
            <c:idx val="21"/>
            <c:invertIfNegative val="1"/>
            <c:bubble3D val="0"/>
            <c:spPr>
              <a:solidFill>
                <a:srgbClr val="AEABAB"/>
              </a:solidFill>
            </c:spPr>
            <c:extLst>
              <c:ext xmlns:c16="http://schemas.microsoft.com/office/drawing/2014/chart" uri="{C3380CC4-5D6E-409C-BE32-E72D297353CC}">
                <c16:uniqueId val="{0000002D-FA3E-4872-B6E1-C4ABDF5766E2}"/>
              </c:ext>
            </c:extLst>
          </c:dPt>
          <c:dPt>
            <c:idx val="22"/>
            <c:invertIfNegative val="1"/>
            <c:bubble3D val="0"/>
            <c:spPr>
              <a:solidFill>
                <a:srgbClr val="AEABAB"/>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24</c:f>
              <c:strCache>
                <c:ptCount val="23"/>
                <c:pt idx="0">
                  <c:v>CHAMPAGNE E.NICOLAS BRUT 1CT X 750ML</c:v>
                </c:pt>
                <c:pt idx="1">
                  <c:v>CHAMPAGNE NICOLAS BLC/BLC BS 1CT X 750ML</c:v>
                </c:pt>
                <c:pt idx="2">
                  <c:v>CHAMPAGNE E.NICOLAS ROSE 1CT X 750ML</c:v>
                </c:pt>
                <c:pt idx="3">
                  <c:v>CHAMPAGNE NICOLAS 1ERE CUVEE 1CT X 750ML</c:v>
                </c:pt>
                <c:pt idx="4">
                  <c:v>1/2 CHAMPAGNE NICOLAS 1ERE CUV 1CT X 375ML</c:v>
                </c:pt>
                <c:pt idx="5">
                  <c:v>MG CHAMPAGNE E.NICOLAS BRUT 1CT X 1500ML</c:v>
                </c:pt>
                <c:pt idx="6">
                  <c:v>CHAMPAGNE NICOLAS ROSE 1ERE CU 1CT X 750ML</c:v>
                </c:pt>
                <c:pt idx="7">
                  <c:v>CHAMPAGNE NICOLAS BIO NAT 2017 1CT X 750ML</c:v>
                </c:pt>
                <c:pt idx="8">
                  <c:v>1/2 CHAMP NICOLAS BLC/BLC BS 1CT X 375ML</c:v>
                </c:pt>
                <c:pt idx="9">
                  <c:v>MG CHAMPAGNE NICOLAS BLC/BL BS 1CT X 1500ML</c:v>
                </c:pt>
                <c:pt idx="10">
                  <c:v>1/2 CHAMP NICOLAS ROSE 1E C BS 1CT X 375ML</c:v>
                </c:pt>
                <c:pt idx="11">
                  <c:v>CHAMPAGNE NICOLAS 1ER CRU BS 1CT X 750ML</c:v>
                </c:pt>
                <c:pt idx="12">
                  <c:v>CHAMPAGNE NICOLAS BLC DE NOIRS 1CT X 750ML</c:v>
                </c:pt>
                <c:pt idx="13">
                  <c:v>MG CHAMPAGNE NICOLAS 1ERE CUVE 1CT X 1500ML</c:v>
                </c:pt>
                <c:pt idx="14">
                  <c:v>CHAMPAGNE NICOLAS 1ER CRU ETUI 1CT X 750ML</c:v>
                </c:pt>
                <c:pt idx="15">
                  <c:v>CHAMPAGNE NICOLAS ROSE 1ERE ET 1CT X 750ML</c:v>
                </c:pt>
                <c:pt idx="16">
                  <c:v>CHAMPAGNE NICOLAS 1ERE CUV ETU 1CT X 750ML</c:v>
                </c:pt>
                <c:pt idx="17">
                  <c:v>CHAMPAGNE NICOLAS ROSE 1E C BS 1CT X 750ML</c:v>
                </c:pt>
                <c:pt idx="18">
                  <c:v>MG CHAMPAGNE NICOLAS 1E CRU BS 1CT X 1500ML</c:v>
                </c:pt>
                <c:pt idx="19">
                  <c:v>CHAMPAGNE NICOLAS BLC/BL BS ET 1CT X 750ML</c:v>
                </c:pt>
                <c:pt idx="20">
                  <c:v>1/2 CHAMPAGNE NICOLAS 1E C BS 1CT X 375ML</c:v>
                </c:pt>
                <c:pt idx="21">
                  <c:v>CHAMPAGNE NICOLAS BIO 2018 1CT X 750ML</c:v>
                </c:pt>
                <c:pt idx="22">
                  <c:v>MG CHAMPAGNE NICOLAS BRUT 1CT X 1500ML</c:v>
                </c:pt>
              </c:strCache>
            </c:strRef>
          </c:cat>
          <c:val>
            <c:numRef>
              <c:f>Sheet1!$C$2:$C$24</c:f>
              <c:numCache>
                <c:formatCode>General</c:formatCode>
                <c:ptCount val="23"/>
                <c:pt idx="0">
                  <c:v>0.7221360662644517</c:v>
                </c:pt>
                <c:pt idx="1">
                  <c:v>0.79046873025633368</c:v>
                </c:pt>
                <c:pt idx="2">
                  <c:v>0.83943971016869867</c:v>
                </c:pt>
                <c:pt idx="3">
                  <c:v>0.88194295098977471</c:v>
                </c:pt>
                <c:pt idx="4">
                  <c:v>0.89918274640711471</c:v>
                </c:pt>
                <c:pt idx="5">
                  <c:v>0.91562725154790348</c:v>
                </c:pt>
                <c:pt idx="6">
                  <c:v>0.92663988362258154</c:v>
                </c:pt>
                <c:pt idx="7">
                  <c:v>0.9373440085375353</c:v>
                </c:pt>
                <c:pt idx="8">
                  <c:v>0.9476635994285314</c:v>
                </c:pt>
                <c:pt idx="9">
                  <c:v>0.95782620892393477</c:v>
                </c:pt>
                <c:pt idx="10">
                  <c:v>0.96647884042137189</c:v>
                </c:pt>
                <c:pt idx="11">
                  <c:v>0.97357890479782316</c:v>
                </c:pt>
                <c:pt idx="12">
                  <c:v>0.98018761036654456</c:v>
                </c:pt>
                <c:pt idx="13">
                  <c:v>0.98666907653054226</c:v>
                </c:pt>
                <c:pt idx="14">
                  <c:v>0.99056298948893406</c:v>
                </c:pt>
                <c:pt idx="15">
                  <c:v>0.99330752409013268</c:v>
                </c:pt>
                <c:pt idx="16">
                  <c:v>0.99582063432451018</c:v>
                </c:pt>
                <c:pt idx="17">
                  <c:v>0.99749058551596725</c:v>
                </c:pt>
                <c:pt idx="18">
                  <c:v>0.99882527935472909</c:v>
                </c:pt>
                <c:pt idx="19">
                  <c:v>0.9999076062413832</c:v>
                </c:pt>
                <c:pt idx="20">
                  <c:v>0.99998468903428639</c:v>
                </c:pt>
                <c:pt idx="21">
                  <c:v>0.99999278448742235</c:v>
                </c:pt>
                <c:pt idx="22">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24</c:f>
              <c:strCache>
                <c:ptCount val="23"/>
                <c:pt idx="0">
                  <c:v>CHAMPAGNE E.NICOLAS BRUT 1CT X 750ML</c:v>
                </c:pt>
                <c:pt idx="1">
                  <c:v>CHAMPAGNE NICOLAS BLC/BLC BS 1CT X 750ML</c:v>
                </c:pt>
                <c:pt idx="2">
                  <c:v>CHAMPAGNE E.NICOLAS ROSE 1CT X 750ML</c:v>
                </c:pt>
                <c:pt idx="3">
                  <c:v>CHAMPAGNE NICOLAS 1ERE CUVEE 1CT X 750ML</c:v>
                </c:pt>
                <c:pt idx="4">
                  <c:v>1/2 CHAMPAGNE NICOLAS 1ERE CUV 1CT X 375ML</c:v>
                </c:pt>
                <c:pt idx="5">
                  <c:v>MG CHAMPAGNE E.NICOLAS BRUT 1CT X 1500ML</c:v>
                </c:pt>
                <c:pt idx="6">
                  <c:v>CHAMPAGNE NICOLAS ROSE 1ERE CU 1CT X 750ML</c:v>
                </c:pt>
                <c:pt idx="7">
                  <c:v>CHAMPAGNE NICOLAS BIO NAT 2017 1CT X 750ML</c:v>
                </c:pt>
                <c:pt idx="8">
                  <c:v>1/2 CHAMP NICOLAS BLC/BLC BS 1CT X 375ML</c:v>
                </c:pt>
                <c:pt idx="9">
                  <c:v>MG CHAMPAGNE NICOLAS BLC/BL BS 1CT X 1500ML</c:v>
                </c:pt>
                <c:pt idx="10">
                  <c:v>1/2 CHAMP NICOLAS ROSE 1E C BS 1CT X 375ML</c:v>
                </c:pt>
                <c:pt idx="11">
                  <c:v>CHAMPAGNE NICOLAS 1ER CRU BS 1CT X 750ML</c:v>
                </c:pt>
                <c:pt idx="12">
                  <c:v>CHAMPAGNE NICOLAS BLC DE NOIRS 1CT X 750ML</c:v>
                </c:pt>
                <c:pt idx="13">
                  <c:v>MG CHAMPAGNE NICOLAS 1ERE CUVE 1CT X 1500ML</c:v>
                </c:pt>
                <c:pt idx="14">
                  <c:v>CHAMPAGNE NICOLAS 1ER CRU ETUI 1CT X 750ML</c:v>
                </c:pt>
                <c:pt idx="15">
                  <c:v>CHAMPAGNE NICOLAS ROSE 1ERE ET 1CT X 750ML</c:v>
                </c:pt>
                <c:pt idx="16">
                  <c:v>CHAMPAGNE NICOLAS 1ERE CUV ETU 1CT X 750ML</c:v>
                </c:pt>
                <c:pt idx="17">
                  <c:v>CHAMPAGNE NICOLAS ROSE 1E C BS 1CT X 750ML</c:v>
                </c:pt>
                <c:pt idx="18">
                  <c:v>MG CHAMPAGNE NICOLAS 1E CRU BS 1CT X 1500ML</c:v>
                </c:pt>
                <c:pt idx="19">
                  <c:v>CHAMPAGNE NICOLAS BLC/BL BS ET 1CT X 750ML</c:v>
                </c:pt>
                <c:pt idx="20">
                  <c:v>1/2 CHAMPAGNE NICOLAS 1E C BS 1CT X 375ML</c:v>
                </c:pt>
                <c:pt idx="21">
                  <c:v>CHAMPAGNE NICOLAS BIO 2018 1CT X 750ML</c:v>
                </c:pt>
                <c:pt idx="22">
                  <c:v>MG CHAMPAGNE NICOLAS BRUT 1CT X 1500ML</c:v>
                </c:pt>
              </c:strCache>
            </c:strRef>
          </c:cat>
          <c:val>
            <c:numRef>
              <c:f>Sheet1!$D$2:$D$24</c:f>
              <c:numCache>
                <c:formatCode>General</c:formatCode>
                <c:ptCount val="23"/>
                <c:pt idx="0">
                  <c:v>41115.460921843689</c:v>
                </c:pt>
                <c:pt idx="1">
                  <c:v>6637.264957264957</c:v>
                </c:pt>
                <c:pt idx="2">
                  <c:v>4430.9394904458604</c:v>
                </c:pt>
                <c:pt idx="3">
                  <c:v>3148.787483702738</c:v>
                </c:pt>
                <c:pt idx="4">
                  <c:v>2524.7422680412369</c:v>
                </c:pt>
                <c:pt idx="5">
                  <c:v>3678.7795275590552</c:v>
                </c:pt>
                <c:pt idx="6">
                  <c:v>1793.0085959885387</c:v>
                </c:pt>
                <c:pt idx="7">
                  <c:v>3041.15</c:v>
                </c:pt>
                <c:pt idx="8">
                  <c:v>1861.5238095238096</c:v>
                </c:pt>
                <c:pt idx="9">
                  <c:v>3376.9590643274851</c:v>
                </c:pt>
                <c:pt idx="10">
                  <c:v>1655.4208754208755</c:v>
                </c:pt>
                <c:pt idx="11">
                  <c:v>1162.6512968299712</c:v>
                </c:pt>
                <c:pt idx="12">
                  <c:v>1814.1062801932367</c:v>
                </c:pt>
                <c:pt idx="13">
                  <c:v>1560.5508474576272</c:v>
                </c:pt>
                <c:pt idx="14">
                  <c:v>1170.6878306878307</c:v>
                </c:pt>
                <c:pt idx="15">
                  <c:v>1485.2380952380952</c:v>
                </c:pt>
                <c:pt idx="16">
                  <c:v>1050</c:v>
                </c:pt>
                <c:pt idx="17">
                  <c:v>1171.4814814814815</c:v>
                </c:pt>
                <c:pt idx="18">
                  <c:v>1330.5263157894738</c:v>
                </c:pt>
                <c:pt idx="19">
                  <c:v>2277.7777777777778</c:v>
                </c:pt>
                <c:pt idx="20">
                  <c:v>438</c:v>
                </c:pt>
                <c:pt idx="21">
                  <c:v>230</c:v>
                </c:pt>
                <c:pt idx="22">
                  <c:v>205</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22</c:f>
              <c:strCache>
                <c:ptCount val="21"/>
                <c:pt idx="0">
                  <c:v>CHAMPAGNE E.NICOLAS BRUT 1CT X 750ML</c:v>
                </c:pt>
                <c:pt idx="1">
                  <c:v>CHAMPAGNE NICOLAS BLC/BLC BS 1CT X 750ML</c:v>
                </c:pt>
                <c:pt idx="2">
                  <c:v>CHAMPAGNE E.NICOLAS ROSE 1CT X 750ML</c:v>
                </c:pt>
                <c:pt idx="3">
                  <c:v>CHAMPAGNE NICOLAS 1ERE CUVEE 1CT X 750ML</c:v>
                </c:pt>
                <c:pt idx="4">
                  <c:v>1/2 CHAMPAGNE NICOLAS 1ERE CUV 1CT X 375ML</c:v>
                </c:pt>
                <c:pt idx="5">
                  <c:v>MG CHAMPAGNE E.NICOLAS BRUT 1CT X 1500ML</c:v>
                </c:pt>
                <c:pt idx="6">
                  <c:v>CHAMPAGNE NICOLAS BIO NAT 2017 1CT X 750ML</c:v>
                </c:pt>
                <c:pt idx="7">
                  <c:v>CHAMPAGNE NICOLAS ROSE 1ERE CU 1CT X 750ML</c:v>
                </c:pt>
                <c:pt idx="8">
                  <c:v>MG CHAMPAGNE NICOLAS BLC/BL BS 1CT X 1500ML</c:v>
                </c:pt>
                <c:pt idx="9">
                  <c:v>1/2 CHAMP NICOLAS BLC/BLC BS 1CT X 375ML</c:v>
                </c:pt>
                <c:pt idx="10">
                  <c:v>1/2 CHAMP NICOLAS ROSE 1E C BS 1CT X 375ML</c:v>
                </c:pt>
                <c:pt idx="11">
                  <c:v>CHAMPAGNE NICOLAS BLC DE NOIRS 1CT X 750ML</c:v>
                </c:pt>
                <c:pt idx="12">
                  <c:v>CHAMPAGNE NICOLAS 1ER CRU BS 1CT X 750ML</c:v>
                </c:pt>
                <c:pt idx="13">
                  <c:v>MG CHAMPAGNE NICOLAS 1ERE CUVE 1CT X 1500ML</c:v>
                </c:pt>
                <c:pt idx="14">
                  <c:v>CHAMPAGNE NICOLAS 1ER CRU ETUI 1CT X 750ML</c:v>
                </c:pt>
                <c:pt idx="15">
                  <c:v>CHAMPAGNE NICOLAS ROSE 1ERE ET 1CT X 750ML</c:v>
                </c:pt>
                <c:pt idx="16">
                  <c:v>CHAMPAGNE NICOLAS 1ERE CUV ETU 1CT X 750ML</c:v>
                </c:pt>
                <c:pt idx="17">
                  <c:v>MG CHAMPAGNE NICOLAS 1E CRU BS 1CT X 1500ML</c:v>
                </c:pt>
                <c:pt idx="18">
                  <c:v>CHAMPAGNE NICOLAS ROSE 1E C BS 1CT X 750ML</c:v>
                </c:pt>
                <c:pt idx="19">
                  <c:v>CHAMPAGNE NICOLAS BLC/BL BS ET 1CT X 750ML</c:v>
                </c:pt>
                <c:pt idx="20">
                  <c:v>1/2 CHAMPAGNE NICOLAS 1E C BS 1CT X 375ML</c:v>
                </c:pt>
              </c:strCache>
            </c:strRef>
          </c:cat>
          <c:val>
            <c:numRef>
              <c:f>Sheet1!$B$2:$B$22</c:f>
              <c:numCache>
                <c:formatCode>General</c:formatCode>
                <c:ptCount val="21"/>
                <c:pt idx="0">
                  <c:v>1</c:v>
                </c:pt>
                <c:pt idx="1">
                  <c:v>0.56999999999999995</c:v>
                </c:pt>
                <c:pt idx="2">
                  <c:v>0.6</c:v>
                </c:pt>
                <c:pt idx="3">
                  <c:v>0.83</c:v>
                </c:pt>
                <c:pt idx="4">
                  <c:v>0.37</c:v>
                </c:pt>
                <c:pt idx="5">
                  <c:v>0.18</c:v>
                </c:pt>
                <c:pt idx="6">
                  <c:v>0.19</c:v>
                </c:pt>
                <c:pt idx="7">
                  <c:v>0.32</c:v>
                </c:pt>
                <c:pt idx="8">
                  <c:v>0.12</c:v>
                </c:pt>
                <c:pt idx="9">
                  <c:v>0.28000000000000003</c:v>
                </c:pt>
                <c:pt idx="10">
                  <c:v>0.25</c:v>
                </c:pt>
                <c:pt idx="11">
                  <c:v>0.17</c:v>
                </c:pt>
                <c:pt idx="12">
                  <c:v>0.32</c:v>
                </c:pt>
                <c:pt idx="13">
                  <c:v>0.27</c:v>
                </c:pt>
                <c:pt idx="14">
                  <c:v>0.18</c:v>
                </c:pt>
                <c:pt idx="15">
                  <c:v>0.08</c:v>
                </c:pt>
                <c:pt idx="16">
                  <c:v>0.14000000000000001</c:v>
                </c:pt>
                <c:pt idx="17">
                  <c:v>0.04</c:v>
                </c:pt>
                <c:pt idx="18">
                  <c:v>0.04</c:v>
                </c:pt>
                <c:pt idx="19">
                  <c:v>0.02</c:v>
                </c:pt>
                <c:pt idx="20">
                  <c:v>0.01</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7ECAC4"/>
              </a:solidFill>
            </c:spPr>
            <c:extLst>
              <c:ext xmlns:c16="http://schemas.microsoft.com/office/drawing/2014/chart" uri="{C3380CC4-5D6E-409C-BE32-E72D297353CC}">
                <c16:uniqueId val="{00000006-E902-46E2-9A54-39A26B3DFDC1}"/>
              </c:ext>
            </c:extLst>
          </c:dPt>
          <c:dPt>
            <c:idx val="3"/>
            <c:invertIfNegative val="0"/>
            <c:bubble3D val="0"/>
            <c:spPr>
              <a:solidFill>
                <a:srgbClr val="7ECAC4"/>
              </a:solidFill>
            </c:spPr>
            <c:extLst>
              <c:ext xmlns:c16="http://schemas.microsoft.com/office/drawing/2014/chart" uri="{C3380CC4-5D6E-409C-BE32-E72D297353CC}">
                <c16:uniqueId val="{00000007-E902-46E2-9A54-39A26B3DFDC1}"/>
              </c:ext>
            </c:extLst>
          </c:dPt>
          <c:dPt>
            <c:idx val="4"/>
            <c:invertIfNegative val="1"/>
            <c:bubble3D val="0"/>
            <c:spPr>
              <a:solidFill>
                <a:srgbClr val="7ECAC4"/>
              </a:solidFill>
            </c:spPr>
            <c:extLst>
              <c:ext xmlns:c16="http://schemas.microsoft.com/office/drawing/2014/chart" uri="{C3380CC4-5D6E-409C-BE32-E72D297353CC}">
                <c16:uniqueId val="{0000000B-FA3E-4872-B6E1-C4ABDF5766E2}"/>
              </c:ext>
            </c:extLst>
          </c:dPt>
          <c:dPt>
            <c:idx val="5"/>
            <c:invertIfNegative val="1"/>
            <c:bubble3D val="0"/>
            <c:spPr>
              <a:solidFill>
                <a:srgbClr val="7ECAC4"/>
              </a:solidFill>
            </c:spPr>
            <c:extLst>
              <c:ext xmlns:c16="http://schemas.microsoft.com/office/drawing/2014/chart" uri="{C3380CC4-5D6E-409C-BE32-E72D297353CC}">
                <c16:uniqueId val="{0000000D-FA3E-4872-B6E1-C4ABDF5766E2}"/>
              </c:ext>
            </c:extLst>
          </c:dPt>
          <c:dPt>
            <c:idx val="6"/>
            <c:invertIfNegative val="1"/>
            <c:bubble3D val="0"/>
            <c:spPr>
              <a:solidFill>
                <a:srgbClr val="7ECAC4"/>
              </a:solidFill>
            </c:spPr>
            <c:extLst>
              <c:ext xmlns:c16="http://schemas.microsoft.com/office/drawing/2014/chart" uri="{C3380CC4-5D6E-409C-BE32-E72D297353CC}">
                <c16:uniqueId val="{0000000F-FA3E-4872-B6E1-C4ABDF5766E2}"/>
              </c:ext>
            </c:extLst>
          </c:dPt>
          <c:dPt>
            <c:idx val="7"/>
            <c:invertIfNegative val="1"/>
            <c:bubble3D val="0"/>
            <c:spPr>
              <a:solidFill>
                <a:srgbClr val="7ECAC4"/>
              </a:solidFill>
            </c:spPr>
            <c:extLst>
              <c:ext xmlns:c16="http://schemas.microsoft.com/office/drawing/2014/chart" uri="{C3380CC4-5D6E-409C-BE32-E72D297353CC}">
                <c16:uniqueId val="{00000011-FA3E-4872-B6E1-C4ABDF5766E2}"/>
              </c:ext>
            </c:extLst>
          </c:dPt>
          <c:dPt>
            <c:idx val="8"/>
            <c:invertIfNegative val="1"/>
            <c:bubble3D val="0"/>
            <c:spPr>
              <a:solidFill>
                <a:srgbClr val="7ECAC4"/>
              </a:solidFill>
            </c:spPr>
            <c:extLst>
              <c:ext xmlns:c16="http://schemas.microsoft.com/office/drawing/2014/chart" uri="{C3380CC4-5D6E-409C-BE32-E72D297353CC}">
                <c16:uniqueId val="{00000013-FA3E-4872-B6E1-C4ABDF5766E2}"/>
              </c:ext>
            </c:extLst>
          </c:dPt>
          <c:dPt>
            <c:idx val="9"/>
            <c:invertIfNegative val="1"/>
            <c:bubble3D val="0"/>
            <c:spPr>
              <a:solidFill>
                <a:srgbClr val="AEABAB"/>
              </a:solidFill>
            </c:spPr>
            <c:extLst>
              <c:ext xmlns:c16="http://schemas.microsoft.com/office/drawing/2014/chart" uri="{C3380CC4-5D6E-409C-BE32-E72D297353CC}">
                <c16:uniqueId val="{00000015-FA3E-4872-B6E1-C4ABDF5766E2}"/>
              </c:ext>
            </c:extLst>
          </c:dPt>
          <c:dPt>
            <c:idx val="10"/>
            <c:invertIfNegative val="1"/>
            <c:bubble3D val="0"/>
            <c:spPr>
              <a:solidFill>
                <a:srgbClr val="AEABAB"/>
              </a:solidFill>
            </c:spPr>
            <c:extLst>
              <c:ext xmlns:c16="http://schemas.microsoft.com/office/drawing/2014/chart" uri="{C3380CC4-5D6E-409C-BE32-E72D297353CC}">
                <c16:uniqueId val="{00000017-FA3E-4872-B6E1-C4ABDF5766E2}"/>
              </c:ext>
            </c:extLst>
          </c:dPt>
          <c:dPt>
            <c:idx val="11"/>
            <c:invertIfNegative val="1"/>
            <c:bubble3D val="0"/>
            <c:spPr>
              <a:solidFill>
                <a:srgbClr val="AEABAB"/>
              </a:solidFill>
            </c:spPr>
            <c:extLst>
              <c:ext xmlns:c16="http://schemas.microsoft.com/office/drawing/2014/chart" uri="{C3380CC4-5D6E-409C-BE32-E72D297353CC}">
                <c16:uniqueId val="{00000019-FA3E-4872-B6E1-C4ABDF5766E2}"/>
              </c:ext>
            </c:extLst>
          </c:dPt>
          <c:dPt>
            <c:idx val="12"/>
            <c:invertIfNegative val="1"/>
            <c:bubble3D val="0"/>
            <c:spPr>
              <a:solidFill>
                <a:srgbClr val="AEABAB"/>
              </a:solidFill>
            </c:spPr>
            <c:extLst>
              <c:ext xmlns:c16="http://schemas.microsoft.com/office/drawing/2014/chart" uri="{C3380CC4-5D6E-409C-BE32-E72D297353CC}">
                <c16:uniqueId val="{0000001B-FA3E-4872-B6E1-C4ABDF5766E2}"/>
              </c:ext>
            </c:extLst>
          </c:dPt>
          <c:dPt>
            <c:idx val="13"/>
            <c:invertIfNegative val="1"/>
            <c:bubble3D val="0"/>
            <c:spPr>
              <a:solidFill>
                <a:srgbClr val="AEABAB"/>
              </a:solidFill>
            </c:spPr>
            <c:extLst>
              <c:ext xmlns:c16="http://schemas.microsoft.com/office/drawing/2014/chart" uri="{C3380CC4-5D6E-409C-BE32-E72D297353CC}">
                <c16:uniqueId val="{0000001D-FA3E-4872-B6E1-C4ABDF5766E2}"/>
              </c:ext>
            </c:extLst>
          </c:dPt>
          <c:dPt>
            <c:idx val="14"/>
            <c:invertIfNegative val="1"/>
            <c:bubble3D val="0"/>
            <c:spPr>
              <a:solidFill>
                <a:srgbClr val="AEABAB"/>
              </a:solidFill>
            </c:spPr>
            <c:extLst>
              <c:ext xmlns:c16="http://schemas.microsoft.com/office/drawing/2014/chart" uri="{C3380CC4-5D6E-409C-BE32-E72D297353CC}">
                <c16:uniqueId val="{0000001F-FA3E-4872-B6E1-C4ABDF5766E2}"/>
              </c:ext>
            </c:extLst>
          </c:dPt>
          <c:dPt>
            <c:idx val="15"/>
            <c:invertIfNegative val="1"/>
            <c:bubble3D val="0"/>
            <c:spPr>
              <a:solidFill>
                <a:srgbClr val="AEABAB"/>
              </a:solidFill>
            </c:spPr>
            <c:extLst>
              <c:ext xmlns:c16="http://schemas.microsoft.com/office/drawing/2014/chart" uri="{C3380CC4-5D6E-409C-BE32-E72D297353CC}">
                <c16:uniqueId val="{00000021-FA3E-4872-B6E1-C4ABDF5766E2}"/>
              </c:ext>
            </c:extLst>
          </c:dPt>
          <c:dPt>
            <c:idx val="16"/>
            <c:invertIfNegative val="1"/>
            <c:bubble3D val="0"/>
            <c:spPr>
              <a:solidFill>
                <a:srgbClr val="AEABAB"/>
              </a:solidFill>
            </c:spPr>
            <c:extLst>
              <c:ext xmlns:c16="http://schemas.microsoft.com/office/drawing/2014/chart" uri="{C3380CC4-5D6E-409C-BE32-E72D297353CC}">
                <c16:uniqueId val="{00000023-FA3E-4872-B6E1-C4ABDF5766E2}"/>
              </c:ext>
            </c:extLst>
          </c:dPt>
          <c:dPt>
            <c:idx val="17"/>
            <c:invertIfNegative val="1"/>
            <c:bubble3D val="0"/>
            <c:spPr>
              <a:solidFill>
                <a:srgbClr val="AEABAB"/>
              </a:solidFill>
            </c:spPr>
            <c:extLst>
              <c:ext xmlns:c16="http://schemas.microsoft.com/office/drawing/2014/chart" uri="{C3380CC4-5D6E-409C-BE32-E72D297353CC}">
                <c16:uniqueId val="{00000025-FA3E-4872-B6E1-C4ABDF5766E2}"/>
              </c:ext>
            </c:extLst>
          </c:dPt>
          <c:dPt>
            <c:idx val="18"/>
            <c:invertIfNegative val="1"/>
            <c:bubble3D val="0"/>
            <c:spPr>
              <a:solidFill>
                <a:srgbClr val="AEABAB"/>
              </a:solidFill>
            </c:spPr>
            <c:extLst>
              <c:ext xmlns:c16="http://schemas.microsoft.com/office/drawing/2014/chart" uri="{C3380CC4-5D6E-409C-BE32-E72D297353CC}">
                <c16:uniqueId val="{00000027-FA3E-4872-B6E1-C4ABDF5766E2}"/>
              </c:ext>
            </c:extLst>
          </c:dPt>
          <c:dPt>
            <c:idx val="19"/>
            <c:invertIfNegative val="1"/>
            <c:bubble3D val="0"/>
            <c:spPr>
              <a:solidFill>
                <a:srgbClr val="AEABAB"/>
              </a:solidFill>
            </c:spPr>
            <c:extLst>
              <c:ext xmlns:c16="http://schemas.microsoft.com/office/drawing/2014/chart" uri="{C3380CC4-5D6E-409C-BE32-E72D297353CC}">
                <c16:uniqueId val="{00000029-FA3E-4872-B6E1-C4ABDF5766E2}"/>
              </c:ext>
            </c:extLst>
          </c:dPt>
          <c:dPt>
            <c:idx val="20"/>
            <c:invertIfNegative val="1"/>
            <c:bubble3D val="0"/>
            <c:spPr>
              <a:solidFill>
                <a:srgbClr val="AEABAB"/>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22</c:f>
              <c:strCache>
                <c:ptCount val="21"/>
                <c:pt idx="0">
                  <c:v>CHAMPAGNE E.NICOLAS BRUT 1CT X 750ML</c:v>
                </c:pt>
                <c:pt idx="1">
                  <c:v>CHAMPAGNE NICOLAS BLC/BLC BS 1CT X 750ML</c:v>
                </c:pt>
                <c:pt idx="2">
                  <c:v>CHAMPAGNE E.NICOLAS ROSE 1CT X 750ML</c:v>
                </c:pt>
                <c:pt idx="3">
                  <c:v>CHAMPAGNE NICOLAS 1ERE CUVEE 1CT X 750ML</c:v>
                </c:pt>
                <c:pt idx="4">
                  <c:v>1/2 CHAMPAGNE NICOLAS 1ERE CUV 1CT X 375ML</c:v>
                </c:pt>
                <c:pt idx="5">
                  <c:v>MG CHAMPAGNE E.NICOLAS BRUT 1CT X 1500ML</c:v>
                </c:pt>
                <c:pt idx="6">
                  <c:v>CHAMPAGNE NICOLAS BIO NAT 2017 1CT X 750ML</c:v>
                </c:pt>
                <c:pt idx="7">
                  <c:v>CHAMPAGNE NICOLAS ROSE 1ERE CU 1CT X 750ML</c:v>
                </c:pt>
                <c:pt idx="8">
                  <c:v>MG CHAMPAGNE NICOLAS BLC/BL BS 1CT X 1500ML</c:v>
                </c:pt>
                <c:pt idx="9">
                  <c:v>1/2 CHAMP NICOLAS BLC/BLC BS 1CT X 375ML</c:v>
                </c:pt>
                <c:pt idx="10">
                  <c:v>1/2 CHAMP NICOLAS ROSE 1E C BS 1CT X 375ML</c:v>
                </c:pt>
                <c:pt idx="11">
                  <c:v>CHAMPAGNE NICOLAS BLC DE NOIRS 1CT X 750ML</c:v>
                </c:pt>
                <c:pt idx="12">
                  <c:v>CHAMPAGNE NICOLAS 1ER CRU BS 1CT X 750ML</c:v>
                </c:pt>
                <c:pt idx="13">
                  <c:v>MG CHAMPAGNE NICOLAS 1ERE CUVE 1CT X 1500ML</c:v>
                </c:pt>
                <c:pt idx="14">
                  <c:v>CHAMPAGNE NICOLAS 1ER CRU ETUI 1CT X 750ML</c:v>
                </c:pt>
                <c:pt idx="15">
                  <c:v>CHAMPAGNE NICOLAS ROSE 1ERE ET 1CT X 750ML</c:v>
                </c:pt>
                <c:pt idx="16">
                  <c:v>CHAMPAGNE NICOLAS 1ERE CUV ETU 1CT X 750ML</c:v>
                </c:pt>
                <c:pt idx="17">
                  <c:v>MG CHAMPAGNE NICOLAS 1E CRU BS 1CT X 1500ML</c:v>
                </c:pt>
                <c:pt idx="18">
                  <c:v>CHAMPAGNE NICOLAS ROSE 1E C BS 1CT X 750ML</c:v>
                </c:pt>
                <c:pt idx="19">
                  <c:v>CHAMPAGNE NICOLAS BLC/BL BS ET 1CT X 750ML</c:v>
                </c:pt>
                <c:pt idx="20">
                  <c:v>1/2 CHAMPAGNE NICOLAS 1E C BS 1CT X 375ML</c:v>
                </c:pt>
              </c:strCache>
            </c:strRef>
          </c:cat>
          <c:val>
            <c:numRef>
              <c:f>Sheet1!$C$2:$C$22</c:f>
              <c:numCache>
                <c:formatCode>General</c:formatCode>
                <c:ptCount val="21"/>
                <c:pt idx="0">
                  <c:v>0.72249423716130479</c:v>
                </c:pt>
                <c:pt idx="1">
                  <c:v>0.79039980279304711</c:v>
                </c:pt>
                <c:pt idx="2">
                  <c:v>0.83760940817571194</c:v>
                </c:pt>
                <c:pt idx="3">
                  <c:v>0.88184056631582386</c:v>
                </c:pt>
                <c:pt idx="4">
                  <c:v>0.90016597454099723</c:v>
                </c:pt>
                <c:pt idx="5">
                  <c:v>0.915769017367694</c:v>
                </c:pt>
                <c:pt idx="6">
                  <c:v>0.9273609090666135</c:v>
                </c:pt>
                <c:pt idx="7">
                  <c:v>0.93876412987418079</c:v>
                </c:pt>
                <c:pt idx="8">
                  <c:v>0.94895036360031915</c:v>
                </c:pt>
                <c:pt idx="9">
                  <c:v>0.95885658259975715</c:v>
                </c:pt>
                <c:pt idx="10">
                  <c:v>0.96808589990231386</c:v>
                </c:pt>
                <c:pt idx="11">
                  <c:v>0.97506472847546333</c:v>
                </c:pt>
                <c:pt idx="12">
                  <c:v>0.98139138599710962</c:v>
                </c:pt>
                <c:pt idx="13">
                  <c:v>0.98720149213545527</c:v>
                </c:pt>
                <c:pt idx="14">
                  <c:v>0.99076908717193501</c:v>
                </c:pt>
                <c:pt idx="15">
                  <c:v>0.99333509107060158</c:v>
                </c:pt>
                <c:pt idx="16">
                  <c:v>0.9958787576121525</c:v>
                </c:pt>
                <c:pt idx="17">
                  <c:v>0.99751337349536962</c:v>
                </c:pt>
                <c:pt idx="18">
                  <c:v>0.99904627462743489</c:v>
                </c:pt>
                <c:pt idx="19">
                  <c:v>0.99994774653960439</c:v>
                </c:pt>
                <c:pt idx="20">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22</c:f>
              <c:strCache>
                <c:ptCount val="21"/>
                <c:pt idx="0">
                  <c:v>CHAMPAGNE E.NICOLAS BRUT 1CT X 750ML</c:v>
                </c:pt>
                <c:pt idx="1">
                  <c:v>CHAMPAGNE NICOLAS BLC/BLC BS 1CT X 750ML</c:v>
                </c:pt>
                <c:pt idx="2">
                  <c:v>CHAMPAGNE E.NICOLAS ROSE 1CT X 750ML</c:v>
                </c:pt>
                <c:pt idx="3">
                  <c:v>CHAMPAGNE NICOLAS 1ERE CUVEE 1CT X 750ML</c:v>
                </c:pt>
                <c:pt idx="4">
                  <c:v>1/2 CHAMPAGNE NICOLAS 1ERE CUV 1CT X 375ML</c:v>
                </c:pt>
                <c:pt idx="5">
                  <c:v>MG CHAMPAGNE E.NICOLAS BRUT 1CT X 1500ML</c:v>
                </c:pt>
                <c:pt idx="6">
                  <c:v>CHAMPAGNE NICOLAS BIO NAT 2017 1CT X 750ML</c:v>
                </c:pt>
                <c:pt idx="7">
                  <c:v>CHAMPAGNE NICOLAS ROSE 1ERE CU 1CT X 750ML</c:v>
                </c:pt>
                <c:pt idx="8">
                  <c:v>MG CHAMPAGNE NICOLAS BLC/BL BS 1CT X 1500ML</c:v>
                </c:pt>
                <c:pt idx="9">
                  <c:v>1/2 CHAMP NICOLAS BLC/BLC BS 1CT X 375ML</c:v>
                </c:pt>
                <c:pt idx="10">
                  <c:v>1/2 CHAMP NICOLAS ROSE 1E C BS 1CT X 375ML</c:v>
                </c:pt>
                <c:pt idx="11">
                  <c:v>CHAMPAGNE NICOLAS BLC DE NOIRS 1CT X 750ML</c:v>
                </c:pt>
                <c:pt idx="12">
                  <c:v>CHAMPAGNE NICOLAS 1ER CRU BS 1CT X 750ML</c:v>
                </c:pt>
                <c:pt idx="13">
                  <c:v>MG CHAMPAGNE NICOLAS 1ERE CUVE 1CT X 1500ML</c:v>
                </c:pt>
                <c:pt idx="14">
                  <c:v>CHAMPAGNE NICOLAS 1ER CRU ETUI 1CT X 750ML</c:v>
                </c:pt>
                <c:pt idx="15">
                  <c:v>CHAMPAGNE NICOLAS ROSE 1ERE ET 1CT X 750ML</c:v>
                </c:pt>
                <c:pt idx="16">
                  <c:v>CHAMPAGNE NICOLAS 1ERE CUV ETU 1CT X 750ML</c:v>
                </c:pt>
                <c:pt idx="17">
                  <c:v>MG CHAMPAGNE NICOLAS 1E CRU BS 1CT X 1500ML</c:v>
                </c:pt>
                <c:pt idx="18">
                  <c:v>CHAMPAGNE NICOLAS ROSE 1E C BS 1CT X 750ML</c:v>
                </c:pt>
                <c:pt idx="19">
                  <c:v>CHAMPAGNE NICOLAS BLC/BL BS ET 1CT X 750ML</c:v>
                </c:pt>
                <c:pt idx="20">
                  <c:v>1/2 CHAMPAGNE NICOLAS 1E C BS 1CT X 375ML</c:v>
                </c:pt>
              </c:strCache>
            </c:strRef>
          </c:cat>
          <c:val>
            <c:numRef>
              <c:f>Sheet1!$D$2:$D$22</c:f>
              <c:numCache>
                <c:formatCode>General</c:formatCode>
                <c:ptCount val="21"/>
                <c:pt idx="0">
                  <c:v>18113.009999999998</c:v>
                </c:pt>
                <c:pt idx="1">
                  <c:v>2986.666666666667</c:v>
                </c:pt>
                <c:pt idx="2">
                  <c:v>1972.5833333333333</c:v>
                </c:pt>
                <c:pt idx="3">
                  <c:v>1336</c:v>
                </c:pt>
                <c:pt idx="4">
                  <c:v>1241.6756756756756</c:v>
                </c:pt>
                <c:pt idx="5">
                  <c:v>2173.1666666666665</c:v>
                </c:pt>
                <c:pt idx="6">
                  <c:v>1529.5263157894738</c:v>
                </c:pt>
                <c:pt idx="7">
                  <c:v>893.375</c:v>
                </c:pt>
                <c:pt idx="8">
                  <c:v>2128.0833333333335</c:v>
                </c:pt>
                <c:pt idx="9">
                  <c:v>886.96428571428555</c:v>
                </c:pt>
                <c:pt idx="10">
                  <c:v>925.52</c:v>
                </c:pt>
                <c:pt idx="11">
                  <c:v>1029.1764705882354</c:v>
                </c:pt>
                <c:pt idx="12">
                  <c:v>495.65625</c:v>
                </c:pt>
                <c:pt idx="13">
                  <c:v>539.48148148148152</c:v>
                </c:pt>
                <c:pt idx="14">
                  <c:v>496.88888888888891</c:v>
                </c:pt>
                <c:pt idx="15">
                  <c:v>804.125</c:v>
                </c:pt>
                <c:pt idx="16">
                  <c:v>455.49999999999994</c:v>
                </c:pt>
                <c:pt idx="17">
                  <c:v>1024.5</c:v>
                </c:pt>
                <c:pt idx="18">
                  <c:v>960.75</c:v>
                </c:pt>
                <c:pt idx="19">
                  <c:v>1130</c:v>
                </c:pt>
                <c:pt idx="20">
                  <c:v>131</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22</c:f>
              <c:strCache>
                <c:ptCount val="21"/>
                <c:pt idx="0">
                  <c:v>CHAMPAGNE E.NICOLAS BRUT 1CT X 750ML</c:v>
                </c:pt>
                <c:pt idx="1">
                  <c:v>CHAMPAGNE NICOLAS BLC/BLC BS 1CT X 750ML</c:v>
                </c:pt>
                <c:pt idx="2">
                  <c:v>CHAMPAGNE E.NICOLAS ROSE 1CT X 750ML</c:v>
                </c:pt>
                <c:pt idx="3">
                  <c:v>CHAMPAGNE NICOLAS 1ERE CUVEE 1CT X 750ML</c:v>
                </c:pt>
                <c:pt idx="4">
                  <c:v>MG CHAMPAGNE E.NICOLAS BRUT 1CT X 1500ML</c:v>
                </c:pt>
                <c:pt idx="5">
                  <c:v>1/2 CHAMPAGNE NICOLAS 1ERE CUV 1CT X 375ML</c:v>
                </c:pt>
                <c:pt idx="6">
                  <c:v>MG CHAMPAGNE NICOLAS BLC/BL BS 1CT X 1500ML</c:v>
                </c:pt>
                <c:pt idx="7">
                  <c:v>CHAMPAGNE NICOLAS ROSE 1ERE CU 1CT X 750ML</c:v>
                </c:pt>
                <c:pt idx="8">
                  <c:v>CHAMPAGNE NICOLAS 1ER CRU BS 1CT X 750ML</c:v>
                </c:pt>
                <c:pt idx="9">
                  <c:v>1/2 CHAMP NICOLAS BLC/BLC BS 1CT X 375ML</c:v>
                </c:pt>
                <c:pt idx="10">
                  <c:v>CHAMPAGNE NICOLAS BIO NAT 2017 1CT X 750ML</c:v>
                </c:pt>
                <c:pt idx="11">
                  <c:v>CHAMPAGNE NICOLAS BLC DE NOIRS 1CT X 750ML</c:v>
                </c:pt>
                <c:pt idx="12">
                  <c:v>1/2 CHAMP NICOLAS ROSE 1E C BS 1CT X 375ML</c:v>
                </c:pt>
                <c:pt idx="13">
                  <c:v>MG CHAMPAGNE NICOLAS 1ERE CUVE 1CT X 1500ML</c:v>
                </c:pt>
                <c:pt idx="14">
                  <c:v>CHAMPAGNE NICOLAS ROSE 1ERE ET 1CT X 750ML</c:v>
                </c:pt>
                <c:pt idx="15">
                  <c:v>CHAMPAGNE NICOLAS 1ERE CUV ETU 1CT X 750ML</c:v>
                </c:pt>
                <c:pt idx="16">
                  <c:v>CHAMPAGNE NICOLAS 1ER CRU ETUI 1CT X 750ML</c:v>
                </c:pt>
                <c:pt idx="17">
                  <c:v>CHAMPAGNE NICOLAS ROSE 1E C BS 1CT X 750ML</c:v>
                </c:pt>
                <c:pt idx="18">
                  <c:v>MG CHAMPAGNE NICOLAS 1E CRU BS 1CT X 1500ML</c:v>
                </c:pt>
                <c:pt idx="19">
                  <c:v>CHAMPAGNE NICOLAS BLC/BL BS ET 1CT X 750ML</c:v>
                </c:pt>
                <c:pt idx="20">
                  <c:v>1/2 CHAMPAGNE NICOLAS 1E C BS 1CT X 375ML</c:v>
                </c:pt>
              </c:strCache>
            </c:strRef>
          </c:cat>
          <c:val>
            <c:numRef>
              <c:f>Sheet1!$B$2:$B$22</c:f>
              <c:numCache>
                <c:formatCode>General</c:formatCode>
                <c:ptCount val="21"/>
                <c:pt idx="0">
                  <c:v>0.99</c:v>
                </c:pt>
                <c:pt idx="1">
                  <c:v>0.56999999999999995</c:v>
                </c:pt>
                <c:pt idx="2">
                  <c:v>0.61</c:v>
                </c:pt>
                <c:pt idx="3">
                  <c:v>0.74</c:v>
                </c:pt>
                <c:pt idx="4">
                  <c:v>0.24</c:v>
                </c:pt>
                <c:pt idx="5">
                  <c:v>0.26</c:v>
                </c:pt>
                <c:pt idx="6">
                  <c:v>0.16</c:v>
                </c:pt>
                <c:pt idx="7">
                  <c:v>0.28000000000000003</c:v>
                </c:pt>
                <c:pt idx="8">
                  <c:v>0.46</c:v>
                </c:pt>
                <c:pt idx="9">
                  <c:v>0.28000000000000003</c:v>
                </c:pt>
                <c:pt idx="10">
                  <c:v>0.14000000000000001</c:v>
                </c:pt>
                <c:pt idx="11">
                  <c:v>0.19</c:v>
                </c:pt>
                <c:pt idx="12">
                  <c:v>0.25</c:v>
                </c:pt>
                <c:pt idx="13">
                  <c:v>0.11</c:v>
                </c:pt>
                <c:pt idx="14">
                  <c:v>0.09</c:v>
                </c:pt>
                <c:pt idx="15">
                  <c:v>0.11</c:v>
                </c:pt>
                <c:pt idx="16">
                  <c:v>0.11</c:v>
                </c:pt>
                <c:pt idx="17">
                  <c:v>0.08</c:v>
                </c:pt>
                <c:pt idx="18">
                  <c:v>0.09</c:v>
                </c:pt>
                <c:pt idx="19">
                  <c:v>0.04</c:v>
                </c:pt>
                <c:pt idx="20">
                  <c:v>0.01</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7ECAC4"/>
              </a:solidFill>
            </c:spPr>
            <c:extLst>
              <c:ext xmlns:c16="http://schemas.microsoft.com/office/drawing/2014/chart" uri="{C3380CC4-5D6E-409C-BE32-E72D297353CC}">
                <c16:uniqueId val="{00000006-E902-46E2-9A54-39A26B3DFDC1}"/>
              </c:ext>
            </c:extLst>
          </c:dPt>
          <c:dPt>
            <c:idx val="3"/>
            <c:invertIfNegative val="0"/>
            <c:bubble3D val="0"/>
            <c:spPr>
              <a:solidFill>
                <a:srgbClr val="7ECAC4"/>
              </a:solidFill>
            </c:spPr>
            <c:extLst>
              <c:ext xmlns:c16="http://schemas.microsoft.com/office/drawing/2014/chart" uri="{C3380CC4-5D6E-409C-BE32-E72D297353CC}">
                <c16:uniqueId val="{00000007-E902-46E2-9A54-39A26B3DFDC1}"/>
              </c:ext>
            </c:extLst>
          </c:dPt>
          <c:dPt>
            <c:idx val="4"/>
            <c:invertIfNegative val="1"/>
            <c:bubble3D val="0"/>
            <c:spPr>
              <a:solidFill>
                <a:srgbClr val="7ECAC4"/>
              </a:solidFill>
            </c:spPr>
            <c:extLst>
              <c:ext xmlns:c16="http://schemas.microsoft.com/office/drawing/2014/chart" uri="{C3380CC4-5D6E-409C-BE32-E72D297353CC}">
                <c16:uniqueId val="{0000000B-FA3E-4872-B6E1-C4ABDF5766E2}"/>
              </c:ext>
            </c:extLst>
          </c:dPt>
          <c:dPt>
            <c:idx val="5"/>
            <c:invertIfNegative val="1"/>
            <c:bubble3D val="0"/>
            <c:spPr>
              <a:solidFill>
                <a:srgbClr val="7ECAC4"/>
              </a:solidFill>
            </c:spPr>
            <c:extLst>
              <c:ext xmlns:c16="http://schemas.microsoft.com/office/drawing/2014/chart" uri="{C3380CC4-5D6E-409C-BE32-E72D297353CC}">
                <c16:uniqueId val="{0000000D-FA3E-4872-B6E1-C4ABDF5766E2}"/>
              </c:ext>
            </c:extLst>
          </c:dPt>
          <c:dPt>
            <c:idx val="6"/>
            <c:invertIfNegative val="1"/>
            <c:bubble3D val="0"/>
            <c:spPr>
              <a:solidFill>
                <a:srgbClr val="7ECAC4"/>
              </a:solidFill>
            </c:spPr>
            <c:extLst>
              <c:ext xmlns:c16="http://schemas.microsoft.com/office/drawing/2014/chart" uri="{C3380CC4-5D6E-409C-BE32-E72D297353CC}">
                <c16:uniqueId val="{0000000F-FA3E-4872-B6E1-C4ABDF5766E2}"/>
              </c:ext>
            </c:extLst>
          </c:dPt>
          <c:dPt>
            <c:idx val="7"/>
            <c:invertIfNegative val="1"/>
            <c:bubble3D val="0"/>
            <c:spPr>
              <a:solidFill>
                <a:srgbClr val="7ECAC4"/>
              </a:solidFill>
            </c:spPr>
            <c:extLst>
              <c:ext xmlns:c16="http://schemas.microsoft.com/office/drawing/2014/chart" uri="{C3380CC4-5D6E-409C-BE32-E72D297353CC}">
                <c16:uniqueId val="{00000011-FA3E-4872-B6E1-C4ABDF5766E2}"/>
              </c:ext>
            </c:extLst>
          </c:dPt>
          <c:dPt>
            <c:idx val="8"/>
            <c:invertIfNegative val="1"/>
            <c:bubble3D val="0"/>
            <c:spPr>
              <a:solidFill>
                <a:srgbClr val="7ECAC4"/>
              </a:solidFill>
            </c:spPr>
            <c:extLst>
              <c:ext xmlns:c16="http://schemas.microsoft.com/office/drawing/2014/chart" uri="{C3380CC4-5D6E-409C-BE32-E72D297353CC}">
                <c16:uniqueId val="{00000013-FA3E-4872-B6E1-C4ABDF5766E2}"/>
              </c:ext>
            </c:extLst>
          </c:dPt>
          <c:dPt>
            <c:idx val="9"/>
            <c:invertIfNegative val="1"/>
            <c:bubble3D val="0"/>
            <c:spPr>
              <a:solidFill>
                <a:srgbClr val="AEABAB"/>
              </a:solidFill>
            </c:spPr>
            <c:extLst>
              <c:ext xmlns:c16="http://schemas.microsoft.com/office/drawing/2014/chart" uri="{C3380CC4-5D6E-409C-BE32-E72D297353CC}">
                <c16:uniqueId val="{00000015-FA3E-4872-B6E1-C4ABDF5766E2}"/>
              </c:ext>
            </c:extLst>
          </c:dPt>
          <c:dPt>
            <c:idx val="10"/>
            <c:invertIfNegative val="1"/>
            <c:bubble3D val="0"/>
            <c:spPr>
              <a:solidFill>
                <a:srgbClr val="AEABAB"/>
              </a:solidFill>
            </c:spPr>
            <c:extLst>
              <c:ext xmlns:c16="http://schemas.microsoft.com/office/drawing/2014/chart" uri="{C3380CC4-5D6E-409C-BE32-E72D297353CC}">
                <c16:uniqueId val="{00000017-FA3E-4872-B6E1-C4ABDF5766E2}"/>
              </c:ext>
            </c:extLst>
          </c:dPt>
          <c:dPt>
            <c:idx val="11"/>
            <c:invertIfNegative val="1"/>
            <c:bubble3D val="0"/>
            <c:spPr>
              <a:solidFill>
                <a:srgbClr val="AEABAB"/>
              </a:solidFill>
            </c:spPr>
            <c:extLst>
              <c:ext xmlns:c16="http://schemas.microsoft.com/office/drawing/2014/chart" uri="{C3380CC4-5D6E-409C-BE32-E72D297353CC}">
                <c16:uniqueId val="{00000019-FA3E-4872-B6E1-C4ABDF5766E2}"/>
              </c:ext>
            </c:extLst>
          </c:dPt>
          <c:dPt>
            <c:idx val="12"/>
            <c:invertIfNegative val="1"/>
            <c:bubble3D val="0"/>
            <c:spPr>
              <a:solidFill>
                <a:srgbClr val="AEABAB"/>
              </a:solidFill>
            </c:spPr>
            <c:extLst>
              <c:ext xmlns:c16="http://schemas.microsoft.com/office/drawing/2014/chart" uri="{C3380CC4-5D6E-409C-BE32-E72D297353CC}">
                <c16:uniqueId val="{0000001B-FA3E-4872-B6E1-C4ABDF5766E2}"/>
              </c:ext>
            </c:extLst>
          </c:dPt>
          <c:dPt>
            <c:idx val="13"/>
            <c:invertIfNegative val="1"/>
            <c:bubble3D val="0"/>
            <c:spPr>
              <a:solidFill>
                <a:srgbClr val="AEABAB"/>
              </a:solidFill>
            </c:spPr>
            <c:extLst>
              <c:ext xmlns:c16="http://schemas.microsoft.com/office/drawing/2014/chart" uri="{C3380CC4-5D6E-409C-BE32-E72D297353CC}">
                <c16:uniqueId val="{0000001D-FA3E-4872-B6E1-C4ABDF5766E2}"/>
              </c:ext>
            </c:extLst>
          </c:dPt>
          <c:dPt>
            <c:idx val="14"/>
            <c:invertIfNegative val="1"/>
            <c:bubble3D val="0"/>
            <c:spPr>
              <a:solidFill>
                <a:srgbClr val="AEABAB"/>
              </a:solidFill>
            </c:spPr>
            <c:extLst>
              <c:ext xmlns:c16="http://schemas.microsoft.com/office/drawing/2014/chart" uri="{C3380CC4-5D6E-409C-BE32-E72D297353CC}">
                <c16:uniqueId val="{0000001F-FA3E-4872-B6E1-C4ABDF5766E2}"/>
              </c:ext>
            </c:extLst>
          </c:dPt>
          <c:dPt>
            <c:idx val="15"/>
            <c:invertIfNegative val="1"/>
            <c:bubble3D val="0"/>
            <c:spPr>
              <a:solidFill>
                <a:srgbClr val="AEABAB"/>
              </a:solidFill>
            </c:spPr>
            <c:extLst>
              <c:ext xmlns:c16="http://schemas.microsoft.com/office/drawing/2014/chart" uri="{C3380CC4-5D6E-409C-BE32-E72D297353CC}">
                <c16:uniqueId val="{00000021-FA3E-4872-B6E1-C4ABDF5766E2}"/>
              </c:ext>
            </c:extLst>
          </c:dPt>
          <c:dPt>
            <c:idx val="16"/>
            <c:invertIfNegative val="1"/>
            <c:bubble3D val="0"/>
            <c:spPr>
              <a:solidFill>
                <a:srgbClr val="AEABAB"/>
              </a:solidFill>
            </c:spPr>
            <c:extLst>
              <c:ext xmlns:c16="http://schemas.microsoft.com/office/drawing/2014/chart" uri="{C3380CC4-5D6E-409C-BE32-E72D297353CC}">
                <c16:uniqueId val="{00000023-FA3E-4872-B6E1-C4ABDF5766E2}"/>
              </c:ext>
            </c:extLst>
          </c:dPt>
          <c:dPt>
            <c:idx val="17"/>
            <c:invertIfNegative val="1"/>
            <c:bubble3D val="0"/>
            <c:spPr>
              <a:solidFill>
                <a:srgbClr val="AEABAB"/>
              </a:solidFill>
            </c:spPr>
            <c:extLst>
              <c:ext xmlns:c16="http://schemas.microsoft.com/office/drawing/2014/chart" uri="{C3380CC4-5D6E-409C-BE32-E72D297353CC}">
                <c16:uniqueId val="{00000025-FA3E-4872-B6E1-C4ABDF5766E2}"/>
              </c:ext>
            </c:extLst>
          </c:dPt>
          <c:dPt>
            <c:idx val="18"/>
            <c:invertIfNegative val="1"/>
            <c:bubble3D val="0"/>
            <c:spPr>
              <a:solidFill>
                <a:srgbClr val="AEABAB"/>
              </a:solidFill>
            </c:spPr>
            <c:extLst>
              <c:ext xmlns:c16="http://schemas.microsoft.com/office/drawing/2014/chart" uri="{C3380CC4-5D6E-409C-BE32-E72D297353CC}">
                <c16:uniqueId val="{00000027-FA3E-4872-B6E1-C4ABDF5766E2}"/>
              </c:ext>
            </c:extLst>
          </c:dPt>
          <c:dPt>
            <c:idx val="19"/>
            <c:invertIfNegative val="1"/>
            <c:bubble3D val="0"/>
            <c:spPr>
              <a:solidFill>
                <a:srgbClr val="AEABAB"/>
              </a:solidFill>
            </c:spPr>
            <c:extLst>
              <c:ext xmlns:c16="http://schemas.microsoft.com/office/drawing/2014/chart" uri="{C3380CC4-5D6E-409C-BE32-E72D297353CC}">
                <c16:uniqueId val="{00000029-FA3E-4872-B6E1-C4ABDF5766E2}"/>
              </c:ext>
            </c:extLst>
          </c:dPt>
          <c:dPt>
            <c:idx val="20"/>
            <c:invertIfNegative val="1"/>
            <c:bubble3D val="0"/>
            <c:spPr>
              <a:solidFill>
                <a:srgbClr val="AEABAB"/>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22</c:f>
              <c:strCache>
                <c:ptCount val="21"/>
                <c:pt idx="0">
                  <c:v>CHAMPAGNE E.NICOLAS BRUT 1CT X 750ML</c:v>
                </c:pt>
                <c:pt idx="1">
                  <c:v>CHAMPAGNE NICOLAS BLC/BLC BS 1CT X 750ML</c:v>
                </c:pt>
                <c:pt idx="2">
                  <c:v>CHAMPAGNE E.NICOLAS ROSE 1CT X 750ML</c:v>
                </c:pt>
                <c:pt idx="3">
                  <c:v>CHAMPAGNE NICOLAS 1ERE CUVEE 1CT X 750ML</c:v>
                </c:pt>
                <c:pt idx="4">
                  <c:v>MG CHAMPAGNE E.NICOLAS BRUT 1CT X 1500ML</c:v>
                </c:pt>
                <c:pt idx="5">
                  <c:v>1/2 CHAMPAGNE NICOLAS 1ERE CUV 1CT X 375ML</c:v>
                </c:pt>
                <c:pt idx="6">
                  <c:v>MG CHAMPAGNE NICOLAS BLC/BL BS 1CT X 1500ML</c:v>
                </c:pt>
                <c:pt idx="7">
                  <c:v>CHAMPAGNE NICOLAS ROSE 1ERE CU 1CT X 750ML</c:v>
                </c:pt>
                <c:pt idx="8">
                  <c:v>CHAMPAGNE NICOLAS 1ER CRU BS 1CT X 750ML</c:v>
                </c:pt>
                <c:pt idx="9">
                  <c:v>1/2 CHAMP NICOLAS BLC/BLC BS 1CT X 375ML</c:v>
                </c:pt>
                <c:pt idx="10">
                  <c:v>CHAMPAGNE NICOLAS BIO NAT 2017 1CT X 750ML</c:v>
                </c:pt>
                <c:pt idx="11">
                  <c:v>CHAMPAGNE NICOLAS BLC DE NOIRS 1CT X 750ML</c:v>
                </c:pt>
                <c:pt idx="12">
                  <c:v>1/2 CHAMP NICOLAS ROSE 1E C BS 1CT X 375ML</c:v>
                </c:pt>
                <c:pt idx="13">
                  <c:v>MG CHAMPAGNE NICOLAS 1ERE CUVE 1CT X 1500ML</c:v>
                </c:pt>
                <c:pt idx="14">
                  <c:v>CHAMPAGNE NICOLAS ROSE 1ERE ET 1CT X 750ML</c:v>
                </c:pt>
                <c:pt idx="15">
                  <c:v>CHAMPAGNE NICOLAS 1ERE CUV ETU 1CT X 750ML</c:v>
                </c:pt>
                <c:pt idx="16">
                  <c:v>CHAMPAGNE NICOLAS 1ER CRU ETUI 1CT X 750ML</c:v>
                </c:pt>
                <c:pt idx="17">
                  <c:v>CHAMPAGNE NICOLAS ROSE 1E C BS 1CT X 750ML</c:v>
                </c:pt>
                <c:pt idx="18">
                  <c:v>MG CHAMPAGNE NICOLAS 1E CRU BS 1CT X 1500ML</c:v>
                </c:pt>
                <c:pt idx="19">
                  <c:v>CHAMPAGNE NICOLAS BLC/BL BS ET 1CT X 750ML</c:v>
                </c:pt>
                <c:pt idx="20">
                  <c:v>1/2 CHAMPAGNE NICOLAS 1E C BS 1CT X 375ML</c:v>
                </c:pt>
              </c:strCache>
            </c:strRef>
          </c:cat>
          <c:val>
            <c:numRef>
              <c:f>Sheet1!$C$2:$C$22</c:f>
              <c:numCache>
                <c:formatCode>General</c:formatCode>
                <c:ptCount val="21"/>
                <c:pt idx="0">
                  <c:v>0.70852285551120997</c:v>
                </c:pt>
                <c:pt idx="1">
                  <c:v>0.78500454210665405</c:v>
                </c:pt>
                <c:pt idx="2">
                  <c:v>0.83828734868680521</c:v>
                </c:pt>
                <c:pt idx="3">
                  <c:v>0.88436061515625908</c:v>
                </c:pt>
                <c:pt idx="4">
                  <c:v>0.89947526820918933</c:v>
                </c:pt>
                <c:pt idx="5">
                  <c:v>0.91368631914263043</c:v>
                </c:pt>
                <c:pt idx="6">
                  <c:v>0.9238789510504678</c:v>
                </c:pt>
                <c:pt idx="7">
                  <c:v>0.93401455562454194</c:v>
                </c:pt>
                <c:pt idx="8">
                  <c:v>0.94378630974516842</c:v>
                </c:pt>
                <c:pt idx="9">
                  <c:v>0.9533114808874098</c:v>
                </c:pt>
                <c:pt idx="10">
                  <c:v>0.96185272972176306</c:v>
                </c:pt>
                <c:pt idx="11">
                  <c:v>0.97011366109860364</c:v>
                </c:pt>
                <c:pt idx="12">
                  <c:v>0.97832559716052092</c:v>
                </c:pt>
                <c:pt idx="13">
                  <c:v>0.98574959217424363</c:v>
                </c:pt>
                <c:pt idx="14">
                  <c:v>0.98879774332398696</c:v>
                </c:pt>
                <c:pt idx="15">
                  <c:v>0.99179930876445888</c:v>
                </c:pt>
                <c:pt idx="16">
                  <c:v>0.99479605499362678</c:v>
                </c:pt>
                <c:pt idx="17">
                  <c:v>0.99700726978025223</c:v>
                </c:pt>
                <c:pt idx="18">
                  <c:v>0.99852773094664593</c:v>
                </c:pt>
                <c:pt idx="19">
                  <c:v>0.99984176922885415</c:v>
                </c:pt>
                <c:pt idx="20">
                  <c:v>1.000000000000000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22</c:f>
              <c:strCache>
                <c:ptCount val="21"/>
                <c:pt idx="0">
                  <c:v>CHAMPAGNE E.NICOLAS BRUT 1CT X 750ML</c:v>
                </c:pt>
                <c:pt idx="1">
                  <c:v>CHAMPAGNE NICOLAS BLC/BLC BS 1CT X 750ML</c:v>
                </c:pt>
                <c:pt idx="2">
                  <c:v>CHAMPAGNE E.NICOLAS ROSE 1CT X 750ML</c:v>
                </c:pt>
                <c:pt idx="3">
                  <c:v>CHAMPAGNE NICOLAS 1ERE CUVEE 1CT X 750ML</c:v>
                </c:pt>
                <c:pt idx="4">
                  <c:v>MG CHAMPAGNE E.NICOLAS BRUT 1CT X 1500ML</c:v>
                </c:pt>
                <c:pt idx="5">
                  <c:v>1/2 CHAMPAGNE NICOLAS 1ERE CUV 1CT X 375ML</c:v>
                </c:pt>
                <c:pt idx="6">
                  <c:v>MG CHAMPAGNE NICOLAS BLC/BL BS 1CT X 1500ML</c:v>
                </c:pt>
                <c:pt idx="7">
                  <c:v>CHAMPAGNE NICOLAS ROSE 1ERE CU 1CT X 750ML</c:v>
                </c:pt>
                <c:pt idx="8">
                  <c:v>CHAMPAGNE NICOLAS 1ER CRU BS 1CT X 750ML</c:v>
                </c:pt>
                <c:pt idx="9">
                  <c:v>1/2 CHAMP NICOLAS BLC/BLC BS 1CT X 375ML</c:v>
                </c:pt>
                <c:pt idx="10">
                  <c:v>CHAMPAGNE NICOLAS BIO NAT 2017 1CT X 750ML</c:v>
                </c:pt>
                <c:pt idx="11">
                  <c:v>CHAMPAGNE NICOLAS BLC DE NOIRS 1CT X 750ML</c:v>
                </c:pt>
                <c:pt idx="12">
                  <c:v>1/2 CHAMP NICOLAS ROSE 1E C BS 1CT X 375ML</c:v>
                </c:pt>
                <c:pt idx="13">
                  <c:v>MG CHAMPAGNE NICOLAS 1ERE CUVE 1CT X 1500ML</c:v>
                </c:pt>
                <c:pt idx="14">
                  <c:v>CHAMPAGNE NICOLAS ROSE 1ERE ET 1CT X 750ML</c:v>
                </c:pt>
                <c:pt idx="15">
                  <c:v>CHAMPAGNE NICOLAS 1ERE CUV ETU 1CT X 750ML</c:v>
                </c:pt>
                <c:pt idx="16">
                  <c:v>CHAMPAGNE NICOLAS 1ER CRU ETUI 1CT X 750ML</c:v>
                </c:pt>
                <c:pt idx="17">
                  <c:v>CHAMPAGNE NICOLAS ROSE 1E C BS 1CT X 750ML</c:v>
                </c:pt>
                <c:pt idx="18">
                  <c:v>MG CHAMPAGNE NICOLAS 1E CRU BS 1CT X 1500ML</c:v>
                </c:pt>
                <c:pt idx="19">
                  <c:v>CHAMPAGNE NICOLAS BLC/BL BS ET 1CT X 750ML</c:v>
                </c:pt>
                <c:pt idx="20">
                  <c:v>1/2 CHAMPAGNE NICOLAS 1E C BS 1CT X 375ML</c:v>
                </c:pt>
              </c:strCache>
            </c:strRef>
          </c:cat>
          <c:val>
            <c:numRef>
              <c:f>Sheet1!$D$2:$D$22</c:f>
              <c:numCache>
                <c:formatCode>General</c:formatCode>
                <c:ptCount val="21"/>
                <c:pt idx="0">
                  <c:v>8910.3333333333339</c:v>
                </c:pt>
                <c:pt idx="1">
                  <c:v>1670.5438596491231</c:v>
                </c:pt>
                <c:pt idx="2">
                  <c:v>1087.5081967213114</c:v>
                </c:pt>
                <c:pt idx="3">
                  <c:v>775.16216216216219</c:v>
                </c:pt>
                <c:pt idx="4">
                  <c:v>784.08333333333337</c:v>
                </c:pt>
                <c:pt idx="5">
                  <c:v>680.5</c:v>
                </c:pt>
                <c:pt idx="6">
                  <c:v>793.125</c:v>
                </c:pt>
                <c:pt idx="7">
                  <c:v>450.67857142857139</c:v>
                </c:pt>
                <c:pt idx="8">
                  <c:v>264.47826086956519</c:v>
                </c:pt>
                <c:pt idx="9">
                  <c:v>423.53571428571422</c:v>
                </c:pt>
                <c:pt idx="10">
                  <c:v>759.57142857142844</c:v>
                </c:pt>
                <c:pt idx="11">
                  <c:v>541.31578947368416</c:v>
                </c:pt>
                <c:pt idx="12">
                  <c:v>408.96</c:v>
                </c:pt>
                <c:pt idx="13">
                  <c:v>840.27272727272725</c:v>
                </c:pt>
                <c:pt idx="14">
                  <c:v>421.66666666666669</c:v>
                </c:pt>
                <c:pt idx="15">
                  <c:v>339.72727272727275</c:v>
                </c:pt>
                <c:pt idx="16">
                  <c:v>339.18181818181819</c:v>
                </c:pt>
                <c:pt idx="17">
                  <c:v>344.125</c:v>
                </c:pt>
                <c:pt idx="18">
                  <c:v>210.33333333333334</c:v>
                </c:pt>
                <c:pt idx="19">
                  <c:v>409</c:v>
                </c:pt>
                <c:pt idx="20">
                  <c:v>197</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21</c:f>
              <c:strCache>
                <c:ptCount val="20"/>
                <c:pt idx="0">
                  <c:v>CHAMPAGNE E.NICOLAS BRUT 1CT X 750ML</c:v>
                </c:pt>
                <c:pt idx="1">
                  <c:v>CHAMPAGNE NICOLAS BLC/BLC BS 1CT X 750ML</c:v>
                </c:pt>
                <c:pt idx="2">
                  <c:v>CHAMPAGNE E.NICOLAS ROSE 1CT X 750ML</c:v>
                </c:pt>
                <c:pt idx="3">
                  <c:v>CHAMPAGNE NICOLAS 1ERE CUVEE 1CT X 750ML</c:v>
                </c:pt>
                <c:pt idx="4">
                  <c:v>1/2 CHAMPAGNE NICOLAS 1ERE CUV 1CT X 375ML</c:v>
                </c:pt>
                <c:pt idx="5">
                  <c:v>CHAMPAGNE NICOLAS BIO NAT 2017 1CT X 750ML</c:v>
                </c:pt>
                <c:pt idx="6">
                  <c:v>MG CHAMPAGNE E.NICOLAS BRUT 1CT X 1500ML</c:v>
                </c:pt>
                <c:pt idx="7">
                  <c:v>CHAMPAGNE NICOLAS ROSE 1ERE CU 1CT X 750ML</c:v>
                </c:pt>
                <c:pt idx="8">
                  <c:v>1/2 CHAMP NICOLAS BLC/BLC BS 1CT X 375ML</c:v>
                </c:pt>
                <c:pt idx="9">
                  <c:v>1/2 CHAMP NICOLAS ROSE 1E C BS 1CT X 375ML</c:v>
                </c:pt>
                <c:pt idx="10">
                  <c:v>MG CHAMPAGNE NICOLAS BLC/BL BS 1CT X 1500ML</c:v>
                </c:pt>
                <c:pt idx="11">
                  <c:v>MG CHAMPAGNE NICOLAS 1ERE CUVE 1CT X 1500ML</c:v>
                </c:pt>
                <c:pt idx="12">
                  <c:v>CHAMPAGNE NICOLAS 1ER CRU BS 1CT X 750ML</c:v>
                </c:pt>
                <c:pt idx="13">
                  <c:v>CHAMPAGNE NICOLAS 1ER CRU ETUI 1CT X 750ML</c:v>
                </c:pt>
                <c:pt idx="14">
                  <c:v>CHAMPAGNE NICOLAS BLC DE NOIRS 1CT X 750ML</c:v>
                </c:pt>
                <c:pt idx="15">
                  <c:v>CHAMPAGNE NICOLAS 1ERE CUV ETU 1CT X 750ML</c:v>
                </c:pt>
                <c:pt idx="16">
                  <c:v>CHAMPAGNE NICOLAS ROSE 1ERE ET 1CT X 750ML</c:v>
                </c:pt>
                <c:pt idx="17">
                  <c:v>CHAMPAGNE NICOLAS ROSE 1E C BS 1CT X 750ML</c:v>
                </c:pt>
                <c:pt idx="18">
                  <c:v>CHAMPAGNE NICOLAS BLC/BL BS ET 1CT X 750ML</c:v>
                </c:pt>
                <c:pt idx="19">
                  <c:v>MG CHAMPAGNE NICOLAS 1E CRU BS 1CT X 1500ML</c:v>
                </c:pt>
              </c:strCache>
            </c:strRef>
          </c:cat>
          <c:val>
            <c:numRef>
              <c:f>Sheet1!$B$2:$B$21</c:f>
              <c:numCache>
                <c:formatCode>General</c:formatCode>
                <c:ptCount val="20"/>
                <c:pt idx="0">
                  <c:v>1</c:v>
                </c:pt>
                <c:pt idx="1">
                  <c:v>0.51</c:v>
                </c:pt>
                <c:pt idx="2">
                  <c:v>0.56000000000000005</c:v>
                </c:pt>
                <c:pt idx="3">
                  <c:v>0.77</c:v>
                </c:pt>
                <c:pt idx="4">
                  <c:v>0.49</c:v>
                </c:pt>
                <c:pt idx="5">
                  <c:v>0.3</c:v>
                </c:pt>
                <c:pt idx="6">
                  <c:v>0.28000000000000003</c:v>
                </c:pt>
                <c:pt idx="7">
                  <c:v>0.42</c:v>
                </c:pt>
                <c:pt idx="8">
                  <c:v>0.33</c:v>
                </c:pt>
                <c:pt idx="9">
                  <c:v>0.35</c:v>
                </c:pt>
                <c:pt idx="10">
                  <c:v>0.2</c:v>
                </c:pt>
                <c:pt idx="11">
                  <c:v>0.19</c:v>
                </c:pt>
                <c:pt idx="12">
                  <c:v>0.39</c:v>
                </c:pt>
                <c:pt idx="13">
                  <c:v>0.16</c:v>
                </c:pt>
                <c:pt idx="14">
                  <c:v>0.37</c:v>
                </c:pt>
                <c:pt idx="15">
                  <c:v>0.18</c:v>
                </c:pt>
                <c:pt idx="16">
                  <c:v>0.1</c:v>
                </c:pt>
                <c:pt idx="17">
                  <c:v>0.11</c:v>
                </c:pt>
                <c:pt idx="18">
                  <c:v>0.03</c:v>
                </c:pt>
                <c:pt idx="19">
                  <c:v>0.08</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7ECAC4"/>
              </a:solidFill>
            </c:spPr>
            <c:extLst>
              <c:ext xmlns:c16="http://schemas.microsoft.com/office/drawing/2014/chart" uri="{C3380CC4-5D6E-409C-BE32-E72D297353CC}">
                <c16:uniqueId val="{00000006-E902-46E2-9A54-39A26B3DFDC1}"/>
              </c:ext>
            </c:extLst>
          </c:dPt>
          <c:dPt>
            <c:idx val="3"/>
            <c:invertIfNegative val="0"/>
            <c:bubble3D val="0"/>
            <c:spPr>
              <a:solidFill>
                <a:srgbClr val="7ECAC4"/>
              </a:solidFill>
            </c:spPr>
            <c:extLst>
              <c:ext xmlns:c16="http://schemas.microsoft.com/office/drawing/2014/chart" uri="{C3380CC4-5D6E-409C-BE32-E72D297353CC}">
                <c16:uniqueId val="{00000007-E902-46E2-9A54-39A26B3DFDC1}"/>
              </c:ext>
            </c:extLst>
          </c:dPt>
          <c:dPt>
            <c:idx val="4"/>
            <c:invertIfNegative val="1"/>
            <c:bubble3D val="0"/>
            <c:spPr>
              <a:solidFill>
                <a:srgbClr val="7ECAC4"/>
              </a:solidFill>
            </c:spPr>
            <c:extLst>
              <c:ext xmlns:c16="http://schemas.microsoft.com/office/drawing/2014/chart" uri="{C3380CC4-5D6E-409C-BE32-E72D297353CC}">
                <c16:uniqueId val="{0000000B-FA3E-4872-B6E1-C4ABDF5766E2}"/>
              </c:ext>
            </c:extLst>
          </c:dPt>
          <c:dPt>
            <c:idx val="5"/>
            <c:invertIfNegative val="1"/>
            <c:bubble3D val="0"/>
            <c:spPr>
              <a:solidFill>
                <a:srgbClr val="7ECAC4"/>
              </a:solidFill>
            </c:spPr>
            <c:extLst>
              <c:ext xmlns:c16="http://schemas.microsoft.com/office/drawing/2014/chart" uri="{C3380CC4-5D6E-409C-BE32-E72D297353CC}">
                <c16:uniqueId val="{0000000D-FA3E-4872-B6E1-C4ABDF5766E2}"/>
              </c:ext>
            </c:extLst>
          </c:dPt>
          <c:dPt>
            <c:idx val="6"/>
            <c:invertIfNegative val="1"/>
            <c:bubble3D val="0"/>
            <c:spPr>
              <a:solidFill>
                <a:srgbClr val="7ECAC4"/>
              </a:solidFill>
            </c:spPr>
            <c:extLst>
              <c:ext xmlns:c16="http://schemas.microsoft.com/office/drawing/2014/chart" uri="{C3380CC4-5D6E-409C-BE32-E72D297353CC}">
                <c16:uniqueId val="{0000000F-FA3E-4872-B6E1-C4ABDF5766E2}"/>
              </c:ext>
            </c:extLst>
          </c:dPt>
          <c:dPt>
            <c:idx val="7"/>
            <c:invertIfNegative val="1"/>
            <c:bubble3D val="0"/>
            <c:spPr>
              <a:solidFill>
                <a:srgbClr val="7ECAC4"/>
              </a:solidFill>
            </c:spPr>
            <c:extLst>
              <c:ext xmlns:c16="http://schemas.microsoft.com/office/drawing/2014/chart" uri="{C3380CC4-5D6E-409C-BE32-E72D297353CC}">
                <c16:uniqueId val="{00000011-FA3E-4872-B6E1-C4ABDF5766E2}"/>
              </c:ext>
            </c:extLst>
          </c:dPt>
          <c:dPt>
            <c:idx val="8"/>
            <c:invertIfNegative val="1"/>
            <c:bubble3D val="0"/>
            <c:spPr>
              <a:solidFill>
                <a:srgbClr val="7ECAC4"/>
              </a:solidFill>
            </c:spPr>
            <c:extLst>
              <c:ext xmlns:c16="http://schemas.microsoft.com/office/drawing/2014/chart" uri="{C3380CC4-5D6E-409C-BE32-E72D297353CC}">
                <c16:uniqueId val="{00000013-FA3E-4872-B6E1-C4ABDF5766E2}"/>
              </c:ext>
            </c:extLst>
          </c:dPt>
          <c:dPt>
            <c:idx val="9"/>
            <c:invertIfNegative val="1"/>
            <c:bubble3D val="0"/>
            <c:spPr>
              <a:solidFill>
                <a:srgbClr val="AEABAB"/>
              </a:solidFill>
            </c:spPr>
            <c:extLst>
              <c:ext xmlns:c16="http://schemas.microsoft.com/office/drawing/2014/chart" uri="{C3380CC4-5D6E-409C-BE32-E72D297353CC}">
                <c16:uniqueId val="{00000015-FA3E-4872-B6E1-C4ABDF5766E2}"/>
              </c:ext>
            </c:extLst>
          </c:dPt>
          <c:dPt>
            <c:idx val="10"/>
            <c:invertIfNegative val="1"/>
            <c:bubble3D val="0"/>
            <c:spPr>
              <a:solidFill>
                <a:srgbClr val="AEABAB"/>
              </a:solidFill>
            </c:spPr>
            <c:extLst>
              <c:ext xmlns:c16="http://schemas.microsoft.com/office/drawing/2014/chart" uri="{C3380CC4-5D6E-409C-BE32-E72D297353CC}">
                <c16:uniqueId val="{00000017-FA3E-4872-B6E1-C4ABDF5766E2}"/>
              </c:ext>
            </c:extLst>
          </c:dPt>
          <c:dPt>
            <c:idx val="11"/>
            <c:invertIfNegative val="1"/>
            <c:bubble3D val="0"/>
            <c:spPr>
              <a:solidFill>
                <a:srgbClr val="AEABAB"/>
              </a:solidFill>
            </c:spPr>
            <c:extLst>
              <c:ext xmlns:c16="http://schemas.microsoft.com/office/drawing/2014/chart" uri="{C3380CC4-5D6E-409C-BE32-E72D297353CC}">
                <c16:uniqueId val="{00000019-FA3E-4872-B6E1-C4ABDF5766E2}"/>
              </c:ext>
            </c:extLst>
          </c:dPt>
          <c:dPt>
            <c:idx val="12"/>
            <c:invertIfNegative val="1"/>
            <c:bubble3D val="0"/>
            <c:spPr>
              <a:solidFill>
                <a:srgbClr val="AEABAB"/>
              </a:solidFill>
            </c:spPr>
            <c:extLst>
              <c:ext xmlns:c16="http://schemas.microsoft.com/office/drawing/2014/chart" uri="{C3380CC4-5D6E-409C-BE32-E72D297353CC}">
                <c16:uniqueId val="{0000001B-FA3E-4872-B6E1-C4ABDF5766E2}"/>
              </c:ext>
            </c:extLst>
          </c:dPt>
          <c:dPt>
            <c:idx val="13"/>
            <c:invertIfNegative val="1"/>
            <c:bubble3D val="0"/>
            <c:spPr>
              <a:solidFill>
                <a:srgbClr val="AEABAB"/>
              </a:solidFill>
            </c:spPr>
            <c:extLst>
              <c:ext xmlns:c16="http://schemas.microsoft.com/office/drawing/2014/chart" uri="{C3380CC4-5D6E-409C-BE32-E72D297353CC}">
                <c16:uniqueId val="{0000001D-FA3E-4872-B6E1-C4ABDF5766E2}"/>
              </c:ext>
            </c:extLst>
          </c:dPt>
          <c:dPt>
            <c:idx val="14"/>
            <c:invertIfNegative val="1"/>
            <c:bubble3D val="0"/>
            <c:spPr>
              <a:solidFill>
                <a:srgbClr val="AEABAB"/>
              </a:solidFill>
            </c:spPr>
            <c:extLst>
              <c:ext xmlns:c16="http://schemas.microsoft.com/office/drawing/2014/chart" uri="{C3380CC4-5D6E-409C-BE32-E72D297353CC}">
                <c16:uniqueId val="{0000001F-FA3E-4872-B6E1-C4ABDF5766E2}"/>
              </c:ext>
            </c:extLst>
          </c:dPt>
          <c:dPt>
            <c:idx val="15"/>
            <c:invertIfNegative val="1"/>
            <c:bubble3D val="0"/>
            <c:spPr>
              <a:solidFill>
                <a:srgbClr val="AEABAB"/>
              </a:solidFill>
            </c:spPr>
            <c:extLst>
              <c:ext xmlns:c16="http://schemas.microsoft.com/office/drawing/2014/chart" uri="{C3380CC4-5D6E-409C-BE32-E72D297353CC}">
                <c16:uniqueId val="{00000021-FA3E-4872-B6E1-C4ABDF5766E2}"/>
              </c:ext>
            </c:extLst>
          </c:dPt>
          <c:dPt>
            <c:idx val="16"/>
            <c:invertIfNegative val="1"/>
            <c:bubble3D val="0"/>
            <c:spPr>
              <a:solidFill>
                <a:srgbClr val="AEABAB"/>
              </a:solidFill>
            </c:spPr>
            <c:extLst>
              <c:ext xmlns:c16="http://schemas.microsoft.com/office/drawing/2014/chart" uri="{C3380CC4-5D6E-409C-BE32-E72D297353CC}">
                <c16:uniqueId val="{00000023-FA3E-4872-B6E1-C4ABDF5766E2}"/>
              </c:ext>
            </c:extLst>
          </c:dPt>
          <c:dPt>
            <c:idx val="17"/>
            <c:invertIfNegative val="1"/>
            <c:bubble3D val="0"/>
            <c:spPr>
              <a:solidFill>
                <a:srgbClr val="AEABAB"/>
              </a:solidFill>
            </c:spPr>
            <c:extLst>
              <c:ext xmlns:c16="http://schemas.microsoft.com/office/drawing/2014/chart" uri="{C3380CC4-5D6E-409C-BE32-E72D297353CC}">
                <c16:uniqueId val="{00000025-FA3E-4872-B6E1-C4ABDF5766E2}"/>
              </c:ext>
            </c:extLst>
          </c:dPt>
          <c:dPt>
            <c:idx val="18"/>
            <c:invertIfNegative val="1"/>
            <c:bubble3D val="0"/>
            <c:spPr>
              <a:solidFill>
                <a:srgbClr val="AEABAB"/>
              </a:solidFill>
            </c:spPr>
            <c:extLst>
              <c:ext xmlns:c16="http://schemas.microsoft.com/office/drawing/2014/chart" uri="{C3380CC4-5D6E-409C-BE32-E72D297353CC}">
                <c16:uniqueId val="{00000027-FA3E-4872-B6E1-C4ABDF5766E2}"/>
              </c:ext>
            </c:extLst>
          </c:dPt>
          <c:dPt>
            <c:idx val="19"/>
            <c:invertIfNegative val="1"/>
            <c:bubble3D val="0"/>
            <c:spPr>
              <a:solidFill>
                <a:srgbClr val="AEABAB"/>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21</c:f>
              <c:strCache>
                <c:ptCount val="20"/>
                <c:pt idx="0">
                  <c:v>CHAMPAGNE E.NICOLAS BRUT 1CT X 750ML</c:v>
                </c:pt>
                <c:pt idx="1">
                  <c:v>CHAMPAGNE NICOLAS BLC/BLC BS 1CT X 750ML</c:v>
                </c:pt>
                <c:pt idx="2">
                  <c:v>CHAMPAGNE E.NICOLAS ROSE 1CT X 750ML</c:v>
                </c:pt>
                <c:pt idx="3">
                  <c:v>CHAMPAGNE NICOLAS 1ERE CUVEE 1CT X 750ML</c:v>
                </c:pt>
                <c:pt idx="4">
                  <c:v>1/2 CHAMPAGNE NICOLAS 1ERE CUV 1CT X 375ML</c:v>
                </c:pt>
                <c:pt idx="5">
                  <c:v>CHAMPAGNE NICOLAS BIO NAT 2017 1CT X 750ML</c:v>
                </c:pt>
                <c:pt idx="6">
                  <c:v>MG CHAMPAGNE E.NICOLAS BRUT 1CT X 1500ML</c:v>
                </c:pt>
                <c:pt idx="7">
                  <c:v>CHAMPAGNE NICOLAS ROSE 1ERE CU 1CT X 750ML</c:v>
                </c:pt>
                <c:pt idx="8">
                  <c:v>1/2 CHAMP NICOLAS BLC/BLC BS 1CT X 375ML</c:v>
                </c:pt>
                <c:pt idx="9">
                  <c:v>1/2 CHAMP NICOLAS ROSE 1E C BS 1CT X 375ML</c:v>
                </c:pt>
                <c:pt idx="10">
                  <c:v>MG CHAMPAGNE NICOLAS BLC/BL BS 1CT X 1500ML</c:v>
                </c:pt>
                <c:pt idx="11">
                  <c:v>MG CHAMPAGNE NICOLAS 1ERE CUVE 1CT X 1500ML</c:v>
                </c:pt>
                <c:pt idx="12">
                  <c:v>CHAMPAGNE NICOLAS 1ER CRU BS 1CT X 750ML</c:v>
                </c:pt>
                <c:pt idx="13">
                  <c:v>CHAMPAGNE NICOLAS 1ER CRU ETUI 1CT X 750ML</c:v>
                </c:pt>
                <c:pt idx="14">
                  <c:v>CHAMPAGNE NICOLAS BLC DE NOIRS 1CT X 750ML</c:v>
                </c:pt>
                <c:pt idx="15">
                  <c:v>CHAMPAGNE NICOLAS 1ERE CUV ETU 1CT X 750ML</c:v>
                </c:pt>
                <c:pt idx="16">
                  <c:v>CHAMPAGNE NICOLAS ROSE 1ERE ET 1CT X 750ML</c:v>
                </c:pt>
                <c:pt idx="17">
                  <c:v>CHAMPAGNE NICOLAS ROSE 1E C BS 1CT X 750ML</c:v>
                </c:pt>
                <c:pt idx="18">
                  <c:v>CHAMPAGNE NICOLAS BLC/BL BS ET 1CT X 750ML</c:v>
                </c:pt>
                <c:pt idx="19">
                  <c:v>MG CHAMPAGNE NICOLAS 1E CRU BS 1CT X 1500ML</c:v>
                </c:pt>
              </c:strCache>
            </c:strRef>
          </c:cat>
          <c:val>
            <c:numRef>
              <c:f>Sheet1!$C$2:$C$21</c:f>
              <c:numCache>
                <c:formatCode>General</c:formatCode>
                <c:ptCount val="20"/>
                <c:pt idx="0">
                  <c:v>0.74037118733561313</c:v>
                </c:pt>
                <c:pt idx="1">
                  <c:v>0.79335001258345794</c:v>
                </c:pt>
                <c:pt idx="2">
                  <c:v>0.83653018960721515</c:v>
                </c:pt>
                <c:pt idx="3">
                  <c:v>0.87211752456241642</c:v>
                </c:pt>
                <c:pt idx="4">
                  <c:v>0.89481051615206086</c:v>
                </c:pt>
                <c:pt idx="5">
                  <c:v>0.91037452647543105</c:v>
                </c:pt>
                <c:pt idx="6">
                  <c:v>0.92591057355894735</c:v>
                </c:pt>
                <c:pt idx="7">
                  <c:v>0.93800385234751404</c:v>
                </c:pt>
                <c:pt idx="8">
                  <c:v>0.94979775997999816</c:v>
                </c:pt>
                <c:pt idx="9">
                  <c:v>0.96155054520093242</c:v>
                </c:pt>
                <c:pt idx="10">
                  <c:v>0.96973883978872955</c:v>
                </c:pt>
                <c:pt idx="11">
                  <c:v>0.97733826144313352</c:v>
                </c:pt>
                <c:pt idx="12">
                  <c:v>0.98390304322294442</c:v>
                </c:pt>
                <c:pt idx="13">
                  <c:v>0.98870943068488559</c:v>
                </c:pt>
                <c:pt idx="14">
                  <c:v>0.9931687449933464</c:v>
                </c:pt>
                <c:pt idx="15">
                  <c:v>0.99555384486323506</c:v>
                </c:pt>
                <c:pt idx="16">
                  <c:v>0.99730072490587074</c:v>
                </c:pt>
                <c:pt idx="17">
                  <c:v>0.99867256855517228</c:v>
                </c:pt>
                <c:pt idx="18">
                  <c:v>0.99937493934444299</c:v>
                </c:pt>
                <c:pt idx="19">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21</c:f>
              <c:strCache>
                <c:ptCount val="20"/>
                <c:pt idx="0">
                  <c:v>CHAMPAGNE E.NICOLAS BRUT 1CT X 750ML</c:v>
                </c:pt>
                <c:pt idx="1">
                  <c:v>CHAMPAGNE NICOLAS BLC/BLC BS 1CT X 750ML</c:v>
                </c:pt>
                <c:pt idx="2">
                  <c:v>CHAMPAGNE E.NICOLAS ROSE 1CT X 750ML</c:v>
                </c:pt>
                <c:pt idx="3">
                  <c:v>CHAMPAGNE NICOLAS 1ERE CUVEE 1CT X 750ML</c:v>
                </c:pt>
                <c:pt idx="4">
                  <c:v>1/2 CHAMPAGNE NICOLAS 1ERE CUV 1CT X 375ML</c:v>
                </c:pt>
                <c:pt idx="5">
                  <c:v>CHAMPAGNE NICOLAS BIO NAT 2017 1CT X 750ML</c:v>
                </c:pt>
                <c:pt idx="6">
                  <c:v>MG CHAMPAGNE E.NICOLAS BRUT 1CT X 1500ML</c:v>
                </c:pt>
                <c:pt idx="7">
                  <c:v>CHAMPAGNE NICOLAS ROSE 1ERE CU 1CT X 750ML</c:v>
                </c:pt>
                <c:pt idx="8">
                  <c:v>1/2 CHAMP NICOLAS BLC/BLC BS 1CT X 375ML</c:v>
                </c:pt>
                <c:pt idx="9">
                  <c:v>1/2 CHAMP NICOLAS ROSE 1E C BS 1CT X 375ML</c:v>
                </c:pt>
                <c:pt idx="10">
                  <c:v>MG CHAMPAGNE NICOLAS BLC/BL BS 1CT X 1500ML</c:v>
                </c:pt>
                <c:pt idx="11">
                  <c:v>MG CHAMPAGNE NICOLAS 1ERE CUVE 1CT X 1500ML</c:v>
                </c:pt>
                <c:pt idx="12">
                  <c:v>CHAMPAGNE NICOLAS 1ER CRU BS 1CT X 750ML</c:v>
                </c:pt>
                <c:pt idx="13">
                  <c:v>CHAMPAGNE NICOLAS 1ER CRU ETUI 1CT X 750ML</c:v>
                </c:pt>
                <c:pt idx="14">
                  <c:v>CHAMPAGNE NICOLAS BLC DE NOIRS 1CT X 750ML</c:v>
                </c:pt>
                <c:pt idx="15">
                  <c:v>CHAMPAGNE NICOLAS 1ERE CUV ETU 1CT X 750ML</c:v>
                </c:pt>
                <c:pt idx="16">
                  <c:v>CHAMPAGNE NICOLAS ROSE 1ERE ET 1CT X 750ML</c:v>
                </c:pt>
                <c:pt idx="17">
                  <c:v>CHAMPAGNE NICOLAS ROSE 1E C BS 1CT X 750ML</c:v>
                </c:pt>
                <c:pt idx="18">
                  <c:v>CHAMPAGNE NICOLAS BLC/BL BS ET 1CT X 750ML</c:v>
                </c:pt>
                <c:pt idx="19">
                  <c:v>MG CHAMPAGNE NICOLAS 1E CRU BS 1CT X 1500ML</c:v>
                </c:pt>
              </c:strCache>
            </c:strRef>
          </c:cat>
          <c:val>
            <c:numRef>
              <c:f>Sheet1!$D$2:$D$21</c:f>
              <c:numCache>
                <c:formatCode>General</c:formatCode>
                <c:ptCount val="20"/>
                <c:pt idx="0">
                  <c:v>4501.0200000000004</c:v>
                </c:pt>
                <c:pt idx="1">
                  <c:v>631.52941176470586</c:v>
                </c:pt>
                <c:pt idx="2">
                  <c:v>468.76785714285711</c:v>
                </c:pt>
                <c:pt idx="3">
                  <c:v>280.97402597402595</c:v>
                </c:pt>
                <c:pt idx="4">
                  <c:v>281.55102040816325</c:v>
                </c:pt>
                <c:pt idx="5">
                  <c:v>315.39999999999998</c:v>
                </c:pt>
                <c:pt idx="6">
                  <c:v>337.32142857142856</c:v>
                </c:pt>
                <c:pt idx="7">
                  <c:v>175.04761904761904</c:v>
                </c:pt>
                <c:pt idx="8">
                  <c:v>217.27272727272728</c:v>
                </c:pt>
                <c:pt idx="9">
                  <c:v>204.14285714285714</c:v>
                </c:pt>
                <c:pt idx="10">
                  <c:v>248.9</c:v>
                </c:pt>
                <c:pt idx="11">
                  <c:v>243.15789473684211</c:v>
                </c:pt>
                <c:pt idx="12">
                  <c:v>102.33333333333333</c:v>
                </c:pt>
                <c:pt idx="13">
                  <c:v>182.625</c:v>
                </c:pt>
                <c:pt idx="14">
                  <c:v>73.270270270270274</c:v>
                </c:pt>
                <c:pt idx="15">
                  <c:v>80.555555555555557</c:v>
                </c:pt>
                <c:pt idx="16">
                  <c:v>106.2</c:v>
                </c:pt>
                <c:pt idx="17">
                  <c:v>75.818181818181813</c:v>
                </c:pt>
                <c:pt idx="18">
                  <c:v>142.33333333333334</c:v>
                </c:pt>
                <c:pt idx="19">
                  <c:v>47.5</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21</c:f>
              <c:strCache>
                <c:ptCount val="20"/>
                <c:pt idx="0">
                  <c:v>CHAMPAGNE E.NICOLAS BRUT 1CT X 750ML</c:v>
                </c:pt>
                <c:pt idx="1">
                  <c:v>CHAMPAGNE NICOLAS BLC/BLC BS 1CT X 750ML</c:v>
                </c:pt>
                <c:pt idx="2">
                  <c:v>CHAMPAGNE E.NICOLAS ROSE 1CT X 750ML</c:v>
                </c:pt>
                <c:pt idx="3">
                  <c:v>CHAMPAGNE NICOLAS 1ERE CUVEE 1CT X 750ML</c:v>
                </c:pt>
                <c:pt idx="4">
                  <c:v>1/2 CHAMPAGNE NICOLAS 1ERE CUV 1CT X 375ML</c:v>
                </c:pt>
                <c:pt idx="5">
                  <c:v>MG CHAMPAGNE E.NICOLAS BRUT 1CT X 1500ML</c:v>
                </c:pt>
                <c:pt idx="6">
                  <c:v>1/2 CHAMP NICOLAS BLC/BLC BS 1CT X 375ML</c:v>
                </c:pt>
                <c:pt idx="7">
                  <c:v>CHAMPAGNE NICOLAS BIO NAT 2017 1CT X 750ML</c:v>
                </c:pt>
                <c:pt idx="8">
                  <c:v>CHAMPAGNE NICOLAS ROSE 1ERE CU 1CT X 750ML</c:v>
                </c:pt>
                <c:pt idx="9">
                  <c:v>CHAMPAGNE NICOLAS BLC DE NOIRS 1CT X 750ML</c:v>
                </c:pt>
                <c:pt idx="10">
                  <c:v>1/2 CHAMP NICOLAS ROSE 1E C BS 1CT X 375ML</c:v>
                </c:pt>
                <c:pt idx="11">
                  <c:v>MG CHAMPAGNE NICOLAS BLC/BL BS 1CT X 1500ML</c:v>
                </c:pt>
                <c:pt idx="12">
                  <c:v>CHAMPAGNE NICOLAS 1ER CRU ETUI 1CT X 750ML</c:v>
                </c:pt>
                <c:pt idx="13">
                  <c:v>CHAMPAGNE NICOLAS 1ER CRU BS 1CT X 750ML</c:v>
                </c:pt>
                <c:pt idx="14">
                  <c:v>MG CHAMPAGNE NICOLAS 1ERE CUVE 1CT X 1500ML</c:v>
                </c:pt>
                <c:pt idx="15">
                  <c:v>CHAMPAGNE NICOLAS ROSE 1ERE ET 1CT X 750ML</c:v>
                </c:pt>
                <c:pt idx="16">
                  <c:v>CHAMPAGNE NICOLAS ROSE 1E C BS 1CT X 750ML</c:v>
                </c:pt>
                <c:pt idx="17">
                  <c:v>MG CHAMPAGNE NICOLAS 1E CRU BS 1CT X 1500ML</c:v>
                </c:pt>
                <c:pt idx="18">
                  <c:v>CHAMPAGNE NICOLAS 1ERE CUV ETU 1CT X 750ML</c:v>
                </c:pt>
                <c:pt idx="19">
                  <c:v>1/2 CHAMPAGNE NICOLAS 1E C BS 1CT X 375ML</c:v>
                </c:pt>
              </c:strCache>
            </c:strRef>
          </c:cat>
          <c:val>
            <c:numRef>
              <c:f>Sheet1!$B$2:$B$21</c:f>
              <c:numCache>
                <c:formatCode>General</c:formatCode>
                <c:ptCount val="20"/>
                <c:pt idx="0">
                  <c:v>1</c:v>
                </c:pt>
                <c:pt idx="1">
                  <c:v>0.59</c:v>
                </c:pt>
                <c:pt idx="2">
                  <c:v>0.64</c:v>
                </c:pt>
                <c:pt idx="3">
                  <c:v>0.6</c:v>
                </c:pt>
                <c:pt idx="4">
                  <c:v>0.43</c:v>
                </c:pt>
                <c:pt idx="5">
                  <c:v>0.28000000000000003</c:v>
                </c:pt>
                <c:pt idx="6">
                  <c:v>0.39</c:v>
                </c:pt>
                <c:pt idx="7">
                  <c:v>0.15</c:v>
                </c:pt>
                <c:pt idx="8">
                  <c:v>0.38</c:v>
                </c:pt>
                <c:pt idx="9">
                  <c:v>0.23</c:v>
                </c:pt>
                <c:pt idx="10">
                  <c:v>0.44</c:v>
                </c:pt>
                <c:pt idx="11">
                  <c:v>0.19</c:v>
                </c:pt>
                <c:pt idx="12">
                  <c:v>0.4</c:v>
                </c:pt>
                <c:pt idx="13">
                  <c:v>0.2</c:v>
                </c:pt>
                <c:pt idx="14">
                  <c:v>0.16</c:v>
                </c:pt>
                <c:pt idx="15">
                  <c:v>0.1</c:v>
                </c:pt>
                <c:pt idx="16">
                  <c:v>0.2</c:v>
                </c:pt>
                <c:pt idx="17">
                  <c:v>0.08</c:v>
                </c:pt>
                <c:pt idx="18">
                  <c:v>0.14000000000000001</c:v>
                </c:pt>
                <c:pt idx="19">
                  <c:v>0.03</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7ECAC4"/>
              </a:solidFill>
            </c:spPr>
            <c:extLst>
              <c:ext xmlns:c16="http://schemas.microsoft.com/office/drawing/2014/chart" uri="{C3380CC4-5D6E-409C-BE32-E72D297353CC}">
                <c16:uniqueId val="{00000006-E902-46E2-9A54-39A26B3DFDC1}"/>
              </c:ext>
            </c:extLst>
          </c:dPt>
          <c:dPt>
            <c:idx val="3"/>
            <c:invertIfNegative val="0"/>
            <c:bubble3D val="0"/>
            <c:spPr>
              <a:solidFill>
                <a:srgbClr val="7ECAC4"/>
              </a:solidFill>
            </c:spPr>
            <c:extLst>
              <c:ext xmlns:c16="http://schemas.microsoft.com/office/drawing/2014/chart" uri="{C3380CC4-5D6E-409C-BE32-E72D297353CC}">
                <c16:uniqueId val="{00000007-E902-46E2-9A54-39A26B3DFDC1}"/>
              </c:ext>
            </c:extLst>
          </c:dPt>
          <c:dPt>
            <c:idx val="4"/>
            <c:invertIfNegative val="1"/>
            <c:bubble3D val="0"/>
            <c:spPr>
              <a:solidFill>
                <a:srgbClr val="7ECAC4"/>
              </a:solidFill>
            </c:spPr>
            <c:extLst>
              <c:ext xmlns:c16="http://schemas.microsoft.com/office/drawing/2014/chart" uri="{C3380CC4-5D6E-409C-BE32-E72D297353CC}">
                <c16:uniqueId val="{0000000B-FA3E-4872-B6E1-C4ABDF5766E2}"/>
              </c:ext>
            </c:extLst>
          </c:dPt>
          <c:dPt>
            <c:idx val="5"/>
            <c:invertIfNegative val="1"/>
            <c:bubble3D val="0"/>
            <c:spPr>
              <a:solidFill>
                <a:srgbClr val="7ECAC4"/>
              </a:solidFill>
            </c:spPr>
            <c:extLst>
              <c:ext xmlns:c16="http://schemas.microsoft.com/office/drawing/2014/chart" uri="{C3380CC4-5D6E-409C-BE32-E72D297353CC}">
                <c16:uniqueId val="{0000000D-FA3E-4872-B6E1-C4ABDF5766E2}"/>
              </c:ext>
            </c:extLst>
          </c:dPt>
          <c:dPt>
            <c:idx val="6"/>
            <c:invertIfNegative val="1"/>
            <c:bubble3D val="0"/>
            <c:spPr>
              <a:solidFill>
                <a:srgbClr val="7ECAC4"/>
              </a:solidFill>
            </c:spPr>
            <c:extLst>
              <c:ext xmlns:c16="http://schemas.microsoft.com/office/drawing/2014/chart" uri="{C3380CC4-5D6E-409C-BE32-E72D297353CC}">
                <c16:uniqueId val="{0000000F-FA3E-4872-B6E1-C4ABDF5766E2}"/>
              </c:ext>
            </c:extLst>
          </c:dPt>
          <c:dPt>
            <c:idx val="7"/>
            <c:invertIfNegative val="1"/>
            <c:bubble3D val="0"/>
            <c:spPr>
              <a:solidFill>
                <a:srgbClr val="7ECAC4"/>
              </a:solidFill>
            </c:spPr>
            <c:extLst>
              <c:ext xmlns:c16="http://schemas.microsoft.com/office/drawing/2014/chart" uri="{C3380CC4-5D6E-409C-BE32-E72D297353CC}">
                <c16:uniqueId val="{00000011-FA3E-4872-B6E1-C4ABDF5766E2}"/>
              </c:ext>
            </c:extLst>
          </c:dPt>
          <c:dPt>
            <c:idx val="8"/>
            <c:invertIfNegative val="1"/>
            <c:bubble3D val="0"/>
            <c:spPr>
              <a:solidFill>
                <a:srgbClr val="7ECAC4"/>
              </a:solidFill>
            </c:spPr>
            <c:extLst>
              <c:ext xmlns:c16="http://schemas.microsoft.com/office/drawing/2014/chart" uri="{C3380CC4-5D6E-409C-BE32-E72D297353CC}">
                <c16:uniqueId val="{00000013-FA3E-4872-B6E1-C4ABDF5766E2}"/>
              </c:ext>
            </c:extLst>
          </c:dPt>
          <c:dPt>
            <c:idx val="9"/>
            <c:invertIfNegative val="1"/>
            <c:bubble3D val="0"/>
            <c:spPr>
              <a:solidFill>
                <a:srgbClr val="AEABAB"/>
              </a:solidFill>
            </c:spPr>
            <c:extLst>
              <c:ext xmlns:c16="http://schemas.microsoft.com/office/drawing/2014/chart" uri="{C3380CC4-5D6E-409C-BE32-E72D297353CC}">
                <c16:uniqueId val="{00000015-FA3E-4872-B6E1-C4ABDF5766E2}"/>
              </c:ext>
            </c:extLst>
          </c:dPt>
          <c:dPt>
            <c:idx val="10"/>
            <c:invertIfNegative val="1"/>
            <c:bubble3D val="0"/>
            <c:spPr>
              <a:solidFill>
                <a:srgbClr val="AEABAB"/>
              </a:solidFill>
            </c:spPr>
            <c:extLst>
              <c:ext xmlns:c16="http://schemas.microsoft.com/office/drawing/2014/chart" uri="{C3380CC4-5D6E-409C-BE32-E72D297353CC}">
                <c16:uniqueId val="{00000017-FA3E-4872-B6E1-C4ABDF5766E2}"/>
              </c:ext>
            </c:extLst>
          </c:dPt>
          <c:dPt>
            <c:idx val="11"/>
            <c:invertIfNegative val="1"/>
            <c:bubble3D val="0"/>
            <c:spPr>
              <a:solidFill>
                <a:srgbClr val="AEABAB"/>
              </a:solidFill>
            </c:spPr>
            <c:extLst>
              <c:ext xmlns:c16="http://schemas.microsoft.com/office/drawing/2014/chart" uri="{C3380CC4-5D6E-409C-BE32-E72D297353CC}">
                <c16:uniqueId val="{00000019-FA3E-4872-B6E1-C4ABDF5766E2}"/>
              </c:ext>
            </c:extLst>
          </c:dPt>
          <c:dPt>
            <c:idx val="12"/>
            <c:invertIfNegative val="1"/>
            <c:bubble3D val="0"/>
            <c:spPr>
              <a:solidFill>
                <a:srgbClr val="AEABAB"/>
              </a:solidFill>
            </c:spPr>
            <c:extLst>
              <c:ext xmlns:c16="http://schemas.microsoft.com/office/drawing/2014/chart" uri="{C3380CC4-5D6E-409C-BE32-E72D297353CC}">
                <c16:uniqueId val="{0000001B-FA3E-4872-B6E1-C4ABDF5766E2}"/>
              </c:ext>
            </c:extLst>
          </c:dPt>
          <c:dPt>
            <c:idx val="13"/>
            <c:invertIfNegative val="1"/>
            <c:bubble3D val="0"/>
            <c:spPr>
              <a:solidFill>
                <a:srgbClr val="AEABAB"/>
              </a:solidFill>
            </c:spPr>
            <c:extLst>
              <c:ext xmlns:c16="http://schemas.microsoft.com/office/drawing/2014/chart" uri="{C3380CC4-5D6E-409C-BE32-E72D297353CC}">
                <c16:uniqueId val="{0000001D-FA3E-4872-B6E1-C4ABDF5766E2}"/>
              </c:ext>
            </c:extLst>
          </c:dPt>
          <c:dPt>
            <c:idx val="14"/>
            <c:invertIfNegative val="1"/>
            <c:bubble3D val="0"/>
            <c:spPr>
              <a:solidFill>
                <a:srgbClr val="AEABAB"/>
              </a:solidFill>
            </c:spPr>
            <c:extLst>
              <c:ext xmlns:c16="http://schemas.microsoft.com/office/drawing/2014/chart" uri="{C3380CC4-5D6E-409C-BE32-E72D297353CC}">
                <c16:uniqueId val="{0000001F-FA3E-4872-B6E1-C4ABDF5766E2}"/>
              </c:ext>
            </c:extLst>
          </c:dPt>
          <c:dPt>
            <c:idx val="15"/>
            <c:invertIfNegative val="1"/>
            <c:bubble3D val="0"/>
            <c:spPr>
              <a:solidFill>
                <a:srgbClr val="AEABAB"/>
              </a:solidFill>
            </c:spPr>
            <c:extLst>
              <c:ext xmlns:c16="http://schemas.microsoft.com/office/drawing/2014/chart" uri="{C3380CC4-5D6E-409C-BE32-E72D297353CC}">
                <c16:uniqueId val="{00000021-FA3E-4872-B6E1-C4ABDF5766E2}"/>
              </c:ext>
            </c:extLst>
          </c:dPt>
          <c:dPt>
            <c:idx val="16"/>
            <c:invertIfNegative val="1"/>
            <c:bubble3D val="0"/>
            <c:spPr>
              <a:solidFill>
                <a:srgbClr val="AEABAB"/>
              </a:solidFill>
            </c:spPr>
            <c:extLst>
              <c:ext xmlns:c16="http://schemas.microsoft.com/office/drawing/2014/chart" uri="{C3380CC4-5D6E-409C-BE32-E72D297353CC}">
                <c16:uniqueId val="{00000023-FA3E-4872-B6E1-C4ABDF5766E2}"/>
              </c:ext>
            </c:extLst>
          </c:dPt>
          <c:dPt>
            <c:idx val="17"/>
            <c:invertIfNegative val="1"/>
            <c:bubble3D val="0"/>
            <c:spPr>
              <a:solidFill>
                <a:srgbClr val="AEABAB"/>
              </a:solidFill>
            </c:spPr>
            <c:extLst>
              <c:ext xmlns:c16="http://schemas.microsoft.com/office/drawing/2014/chart" uri="{C3380CC4-5D6E-409C-BE32-E72D297353CC}">
                <c16:uniqueId val="{00000025-FA3E-4872-B6E1-C4ABDF5766E2}"/>
              </c:ext>
            </c:extLst>
          </c:dPt>
          <c:dPt>
            <c:idx val="18"/>
            <c:invertIfNegative val="1"/>
            <c:bubble3D val="0"/>
            <c:spPr>
              <a:solidFill>
                <a:srgbClr val="AEABAB"/>
              </a:solidFill>
            </c:spPr>
            <c:extLst>
              <c:ext xmlns:c16="http://schemas.microsoft.com/office/drawing/2014/chart" uri="{C3380CC4-5D6E-409C-BE32-E72D297353CC}">
                <c16:uniqueId val="{00000027-FA3E-4872-B6E1-C4ABDF5766E2}"/>
              </c:ext>
            </c:extLst>
          </c:dPt>
          <c:dPt>
            <c:idx val="19"/>
            <c:invertIfNegative val="1"/>
            <c:bubble3D val="0"/>
            <c:spPr>
              <a:solidFill>
                <a:srgbClr val="AEABAB"/>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21</c:f>
              <c:strCache>
                <c:ptCount val="20"/>
                <c:pt idx="0">
                  <c:v>CHAMPAGNE E.NICOLAS BRUT 1CT X 750ML</c:v>
                </c:pt>
                <c:pt idx="1">
                  <c:v>CHAMPAGNE NICOLAS BLC/BLC BS 1CT X 750ML</c:v>
                </c:pt>
                <c:pt idx="2">
                  <c:v>CHAMPAGNE E.NICOLAS ROSE 1CT X 750ML</c:v>
                </c:pt>
                <c:pt idx="3">
                  <c:v>CHAMPAGNE NICOLAS 1ERE CUVEE 1CT X 750ML</c:v>
                </c:pt>
                <c:pt idx="4">
                  <c:v>1/2 CHAMPAGNE NICOLAS 1ERE CUV 1CT X 375ML</c:v>
                </c:pt>
                <c:pt idx="5">
                  <c:v>MG CHAMPAGNE E.NICOLAS BRUT 1CT X 1500ML</c:v>
                </c:pt>
                <c:pt idx="6">
                  <c:v>1/2 CHAMP NICOLAS BLC/BLC BS 1CT X 375ML</c:v>
                </c:pt>
                <c:pt idx="7">
                  <c:v>CHAMPAGNE NICOLAS BIO NAT 2017 1CT X 750ML</c:v>
                </c:pt>
                <c:pt idx="8">
                  <c:v>CHAMPAGNE NICOLAS ROSE 1ERE CU 1CT X 750ML</c:v>
                </c:pt>
                <c:pt idx="9">
                  <c:v>CHAMPAGNE NICOLAS BLC DE NOIRS 1CT X 750ML</c:v>
                </c:pt>
                <c:pt idx="10">
                  <c:v>1/2 CHAMP NICOLAS ROSE 1E C BS 1CT X 375ML</c:v>
                </c:pt>
                <c:pt idx="11">
                  <c:v>MG CHAMPAGNE NICOLAS BLC/BL BS 1CT X 1500ML</c:v>
                </c:pt>
                <c:pt idx="12">
                  <c:v>CHAMPAGNE NICOLAS 1ER CRU ETUI 1CT X 750ML</c:v>
                </c:pt>
                <c:pt idx="13">
                  <c:v>CHAMPAGNE NICOLAS 1ER CRU BS 1CT X 750ML</c:v>
                </c:pt>
                <c:pt idx="14">
                  <c:v>MG CHAMPAGNE NICOLAS 1ERE CUVE 1CT X 1500ML</c:v>
                </c:pt>
                <c:pt idx="15">
                  <c:v>CHAMPAGNE NICOLAS ROSE 1ERE ET 1CT X 750ML</c:v>
                </c:pt>
                <c:pt idx="16">
                  <c:v>CHAMPAGNE NICOLAS ROSE 1E C BS 1CT X 750ML</c:v>
                </c:pt>
                <c:pt idx="17">
                  <c:v>MG CHAMPAGNE NICOLAS 1E CRU BS 1CT X 1500ML</c:v>
                </c:pt>
                <c:pt idx="18">
                  <c:v>CHAMPAGNE NICOLAS 1ERE CUV ETU 1CT X 750ML</c:v>
                </c:pt>
                <c:pt idx="19">
                  <c:v>1/2 CHAMPAGNE NICOLAS 1E C BS 1CT X 375ML</c:v>
                </c:pt>
              </c:strCache>
            </c:strRef>
          </c:cat>
          <c:val>
            <c:numRef>
              <c:f>Sheet1!$C$2:$C$21</c:f>
              <c:numCache>
                <c:formatCode>General</c:formatCode>
                <c:ptCount val="20"/>
                <c:pt idx="0">
                  <c:v>0.72699180044831235</c:v>
                </c:pt>
                <c:pt idx="1">
                  <c:v>0.79502583941520399</c:v>
                </c:pt>
                <c:pt idx="2">
                  <c:v>0.84813564083505499</c:v>
                </c:pt>
                <c:pt idx="3">
                  <c:v>0.8779051052597695</c:v>
                </c:pt>
                <c:pt idx="4">
                  <c:v>0.89504164154907728</c:v>
                </c:pt>
                <c:pt idx="5">
                  <c:v>0.91093741769721936</c:v>
                </c:pt>
                <c:pt idx="6">
                  <c:v>0.92602552922516868</c:v>
                </c:pt>
                <c:pt idx="7">
                  <c:v>0.93834534100419631</c:v>
                </c:pt>
                <c:pt idx="8">
                  <c:v>0.94946828745837308</c:v>
                </c:pt>
                <c:pt idx="9">
                  <c:v>0.95845794583964927</c:v>
                </c:pt>
                <c:pt idx="10">
                  <c:v>0.96720179324956246</c:v>
                </c:pt>
                <c:pt idx="11">
                  <c:v>0.97556814523916813</c:v>
                </c:pt>
                <c:pt idx="12">
                  <c:v>0.98280493728893903</c:v>
                </c:pt>
                <c:pt idx="13">
                  <c:v>0.98839713688744779</c:v>
                </c:pt>
                <c:pt idx="14">
                  <c:v>0.99283051333524519</c:v>
                </c:pt>
                <c:pt idx="15">
                  <c:v>0.99644744619958681</c:v>
                </c:pt>
                <c:pt idx="16">
                  <c:v>0.99802180694474518</c:v>
                </c:pt>
                <c:pt idx="17">
                  <c:v>0.9993562093607159</c:v>
                </c:pt>
                <c:pt idx="18">
                  <c:v>0.99993854725715925</c:v>
                </c:pt>
                <c:pt idx="19">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21</c:f>
              <c:strCache>
                <c:ptCount val="20"/>
                <c:pt idx="0">
                  <c:v>CHAMPAGNE E.NICOLAS BRUT 1CT X 750ML</c:v>
                </c:pt>
                <c:pt idx="1">
                  <c:v>CHAMPAGNE NICOLAS BLC/BLC BS 1CT X 750ML</c:v>
                </c:pt>
                <c:pt idx="2">
                  <c:v>CHAMPAGNE E.NICOLAS ROSE 1CT X 750ML</c:v>
                </c:pt>
                <c:pt idx="3">
                  <c:v>CHAMPAGNE NICOLAS 1ERE CUVEE 1CT X 750ML</c:v>
                </c:pt>
                <c:pt idx="4">
                  <c:v>1/2 CHAMPAGNE NICOLAS 1ERE CUV 1CT X 375ML</c:v>
                </c:pt>
                <c:pt idx="5">
                  <c:v>MG CHAMPAGNE E.NICOLAS BRUT 1CT X 1500ML</c:v>
                </c:pt>
                <c:pt idx="6">
                  <c:v>1/2 CHAMP NICOLAS BLC/BLC BS 1CT X 375ML</c:v>
                </c:pt>
                <c:pt idx="7">
                  <c:v>CHAMPAGNE NICOLAS BIO NAT 2017 1CT X 750ML</c:v>
                </c:pt>
                <c:pt idx="8">
                  <c:v>CHAMPAGNE NICOLAS ROSE 1ERE CU 1CT X 750ML</c:v>
                </c:pt>
                <c:pt idx="9">
                  <c:v>CHAMPAGNE NICOLAS BLC DE NOIRS 1CT X 750ML</c:v>
                </c:pt>
                <c:pt idx="10">
                  <c:v>1/2 CHAMP NICOLAS ROSE 1E C BS 1CT X 375ML</c:v>
                </c:pt>
                <c:pt idx="11">
                  <c:v>MG CHAMPAGNE NICOLAS BLC/BL BS 1CT X 1500ML</c:v>
                </c:pt>
                <c:pt idx="12">
                  <c:v>CHAMPAGNE NICOLAS 1ER CRU ETUI 1CT X 750ML</c:v>
                </c:pt>
                <c:pt idx="13">
                  <c:v>CHAMPAGNE NICOLAS 1ER CRU BS 1CT X 750ML</c:v>
                </c:pt>
                <c:pt idx="14">
                  <c:v>MG CHAMPAGNE NICOLAS 1ERE CUVE 1CT X 1500ML</c:v>
                </c:pt>
                <c:pt idx="15">
                  <c:v>CHAMPAGNE NICOLAS ROSE 1ERE ET 1CT X 750ML</c:v>
                </c:pt>
                <c:pt idx="16">
                  <c:v>CHAMPAGNE NICOLAS ROSE 1E C BS 1CT X 750ML</c:v>
                </c:pt>
                <c:pt idx="17">
                  <c:v>MG CHAMPAGNE NICOLAS 1E CRU BS 1CT X 1500ML</c:v>
                </c:pt>
                <c:pt idx="18">
                  <c:v>CHAMPAGNE NICOLAS 1ERE CUV ETU 1CT X 750ML</c:v>
                </c:pt>
                <c:pt idx="19">
                  <c:v>1/2 CHAMPAGNE NICOLAS 1E C BS 1CT X 375ML</c:v>
                </c:pt>
              </c:strCache>
            </c:strRef>
          </c:cat>
          <c:val>
            <c:numRef>
              <c:f>Sheet1!$D$2:$D$21</c:f>
              <c:numCache>
                <c:formatCode>General</c:formatCode>
                <c:ptCount val="20"/>
                <c:pt idx="0">
                  <c:v>2484.3200000000002</c:v>
                </c:pt>
                <c:pt idx="1">
                  <c:v>394.05084745762713</c:v>
                </c:pt>
                <c:pt idx="2">
                  <c:v>283.578125</c:v>
                </c:pt>
                <c:pt idx="3">
                  <c:v>169.55</c:v>
                </c:pt>
                <c:pt idx="4">
                  <c:v>136.18604651162789</c:v>
                </c:pt>
                <c:pt idx="5">
                  <c:v>193.99999999999997</c:v>
                </c:pt>
                <c:pt idx="6">
                  <c:v>132.2051282051282</c:v>
                </c:pt>
                <c:pt idx="7">
                  <c:v>280.66666666666669</c:v>
                </c:pt>
                <c:pt idx="8">
                  <c:v>100.02631578947368</c:v>
                </c:pt>
                <c:pt idx="9">
                  <c:v>133.56521739130434</c:v>
                </c:pt>
                <c:pt idx="10">
                  <c:v>67.909090909090907</c:v>
                </c:pt>
                <c:pt idx="11">
                  <c:v>150.47368421052633</c:v>
                </c:pt>
                <c:pt idx="12">
                  <c:v>61.825000000000003</c:v>
                </c:pt>
                <c:pt idx="13">
                  <c:v>95.55</c:v>
                </c:pt>
                <c:pt idx="14">
                  <c:v>94.6875</c:v>
                </c:pt>
                <c:pt idx="15">
                  <c:v>123.6</c:v>
                </c:pt>
                <c:pt idx="16">
                  <c:v>26.9</c:v>
                </c:pt>
                <c:pt idx="17">
                  <c:v>57</c:v>
                </c:pt>
                <c:pt idx="18">
                  <c:v>14.214285714285712</c:v>
                </c:pt>
                <c:pt idx="19">
                  <c:v>7</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23</c:f>
              <c:strCache>
                <c:ptCount val="22"/>
                <c:pt idx="0">
                  <c:v>CHAMPAGNE E.NICOLAS BRUT 1CT X 750ML</c:v>
                </c:pt>
                <c:pt idx="1">
                  <c:v>CHAMPAGNE NICOLAS BLC/BLC BS 1CT X 750ML</c:v>
                </c:pt>
                <c:pt idx="2">
                  <c:v>CHAMPAGNE E.NICOLAS ROSE 1CT X 750ML</c:v>
                </c:pt>
                <c:pt idx="3">
                  <c:v>CHAMPAGNE NICOLAS 1ERE CUVEE 1CT X 750ML</c:v>
                </c:pt>
                <c:pt idx="4">
                  <c:v>MG CHAMPAGNE E.NICOLAS BRUT 1CT X 1500ML</c:v>
                </c:pt>
                <c:pt idx="5">
                  <c:v>MG CHAMPAGNE NICOLAS BLC/BL BS 1CT X 1500ML</c:v>
                </c:pt>
                <c:pt idx="6">
                  <c:v>1/2 CHAMP NICOLAS BLC/BLC BS 1CT X 375ML</c:v>
                </c:pt>
                <c:pt idx="7">
                  <c:v>CHAMPAGNE NICOLAS ROSE 1ERE CU 1CT X 750ML</c:v>
                </c:pt>
                <c:pt idx="8">
                  <c:v>1/2 CHAMPAGNE NICOLAS 1ERE CUV 1CT X 375ML</c:v>
                </c:pt>
                <c:pt idx="9">
                  <c:v>1/2 CHAMP NICOLAS ROSE 1E C BS 1CT X 375ML</c:v>
                </c:pt>
                <c:pt idx="10">
                  <c:v>MG CHAMPAGNE NICOLAS 1ERE CUVE 1CT X 1500ML</c:v>
                </c:pt>
                <c:pt idx="11">
                  <c:v>CHAMPAGNE NICOLAS BLC DE NOIRS 1CT X 750ML</c:v>
                </c:pt>
                <c:pt idx="12">
                  <c:v>CHAMPAGNE NICOLAS BIO NAT 2017 1CT X 750ML</c:v>
                </c:pt>
                <c:pt idx="13">
                  <c:v>CHAMPAGNE NICOLAS BLC/BL BS ET 1CT X 750ML</c:v>
                </c:pt>
                <c:pt idx="14">
                  <c:v>CHAMPAGNE NICOLAS 1ER CRU BS 1CT X 750ML</c:v>
                </c:pt>
                <c:pt idx="15">
                  <c:v>CHAMPAGNE NICOLAS 1ER CRU ETUI 1CT X 750ML</c:v>
                </c:pt>
                <c:pt idx="16">
                  <c:v>CHAMPAGNE NICOLAS ROSE 1ERE ET 1CT X 750ML</c:v>
                </c:pt>
                <c:pt idx="17">
                  <c:v>CHAMPAGNE NICOLAS ROSE 1E C BS 1CT X 750ML</c:v>
                </c:pt>
                <c:pt idx="18">
                  <c:v>CHAMPAGNE NICOLAS 1ERE CUV ETU 1CT X 750ML</c:v>
                </c:pt>
                <c:pt idx="19">
                  <c:v>MG CHAMPAGNE NICOLAS 1E CRU BS 1CT X 1500ML</c:v>
                </c:pt>
                <c:pt idx="20">
                  <c:v>1/2 CHAMPAGNE NICOLAS 1E C BS 1CT X 375ML</c:v>
                </c:pt>
                <c:pt idx="21">
                  <c:v>CHAMPAGNE NICOLAS BIO 2018 1CT X 750ML</c:v>
                </c:pt>
              </c:strCache>
            </c:strRef>
          </c:cat>
          <c:val>
            <c:numRef>
              <c:f>Sheet1!$B$2:$B$23</c:f>
              <c:numCache>
                <c:formatCode>General</c:formatCode>
                <c:ptCount val="22"/>
                <c:pt idx="0">
                  <c:v>1</c:v>
                </c:pt>
                <c:pt idx="1">
                  <c:v>0.65</c:v>
                </c:pt>
                <c:pt idx="2">
                  <c:v>0.82</c:v>
                </c:pt>
                <c:pt idx="3">
                  <c:v>0.76</c:v>
                </c:pt>
                <c:pt idx="4">
                  <c:v>0.35</c:v>
                </c:pt>
                <c:pt idx="5">
                  <c:v>0.34</c:v>
                </c:pt>
                <c:pt idx="6">
                  <c:v>0.53</c:v>
                </c:pt>
                <c:pt idx="7">
                  <c:v>0.39</c:v>
                </c:pt>
                <c:pt idx="8">
                  <c:v>0.61</c:v>
                </c:pt>
                <c:pt idx="9">
                  <c:v>0.43</c:v>
                </c:pt>
                <c:pt idx="10">
                  <c:v>0.36</c:v>
                </c:pt>
                <c:pt idx="11">
                  <c:v>0.23</c:v>
                </c:pt>
                <c:pt idx="12">
                  <c:v>0.18</c:v>
                </c:pt>
                <c:pt idx="13">
                  <c:v>0.05</c:v>
                </c:pt>
                <c:pt idx="14">
                  <c:v>0.16</c:v>
                </c:pt>
                <c:pt idx="15">
                  <c:v>0.21</c:v>
                </c:pt>
                <c:pt idx="16">
                  <c:v>0.21</c:v>
                </c:pt>
                <c:pt idx="17">
                  <c:v>0.09</c:v>
                </c:pt>
                <c:pt idx="18">
                  <c:v>0.09</c:v>
                </c:pt>
                <c:pt idx="19">
                  <c:v>0.03</c:v>
                </c:pt>
                <c:pt idx="20">
                  <c:v>0.03</c:v>
                </c:pt>
                <c:pt idx="21">
                  <c:v>0.05</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7ECAC4"/>
              </a:solidFill>
            </c:spPr>
            <c:extLst>
              <c:ext xmlns:c16="http://schemas.microsoft.com/office/drawing/2014/chart" uri="{C3380CC4-5D6E-409C-BE32-E72D297353CC}">
                <c16:uniqueId val="{00000006-E902-46E2-9A54-39A26B3DFDC1}"/>
              </c:ext>
            </c:extLst>
          </c:dPt>
          <c:dPt>
            <c:idx val="3"/>
            <c:invertIfNegative val="0"/>
            <c:bubble3D val="0"/>
            <c:spPr>
              <a:solidFill>
                <a:srgbClr val="7ECAC4"/>
              </a:solidFill>
            </c:spPr>
            <c:extLst>
              <c:ext xmlns:c16="http://schemas.microsoft.com/office/drawing/2014/chart" uri="{C3380CC4-5D6E-409C-BE32-E72D297353CC}">
                <c16:uniqueId val="{00000007-E902-46E2-9A54-39A26B3DFDC1}"/>
              </c:ext>
            </c:extLst>
          </c:dPt>
          <c:dPt>
            <c:idx val="4"/>
            <c:invertIfNegative val="1"/>
            <c:bubble3D val="0"/>
            <c:spPr>
              <a:solidFill>
                <a:srgbClr val="7ECAC4"/>
              </a:solidFill>
            </c:spPr>
            <c:extLst>
              <c:ext xmlns:c16="http://schemas.microsoft.com/office/drawing/2014/chart" uri="{C3380CC4-5D6E-409C-BE32-E72D297353CC}">
                <c16:uniqueId val="{0000000B-FA3E-4872-B6E1-C4ABDF5766E2}"/>
              </c:ext>
            </c:extLst>
          </c:dPt>
          <c:dPt>
            <c:idx val="5"/>
            <c:invertIfNegative val="1"/>
            <c:bubble3D val="0"/>
            <c:spPr>
              <a:solidFill>
                <a:srgbClr val="7ECAC4"/>
              </a:solidFill>
            </c:spPr>
            <c:extLst>
              <c:ext xmlns:c16="http://schemas.microsoft.com/office/drawing/2014/chart" uri="{C3380CC4-5D6E-409C-BE32-E72D297353CC}">
                <c16:uniqueId val="{0000000D-FA3E-4872-B6E1-C4ABDF5766E2}"/>
              </c:ext>
            </c:extLst>
          </c:dPt>
          <c:dPt>
            <c:idx val="6"/>
            <c:invertIfNegative val="1"/>
            <c:bubble3D val="0"/>
            <c:spPr>
              <a:solidFill>
                <a:srgbClr val="7ECAC4"/>
              </a:solidFill>
            </c:spPr>
            <c:extLst>
              <c:ext xmlns:c16="http://schemas.microsoft.com/office/drawing/2014/chart" uri="{C3380CC4-5D6E-409C-BE32-E72D297353CC}">
                <c16:uniqueId val="{0000000F-FA3E-4872-B6E1-C4ABDF5766E2}"/>
              </c:ext>
            </c:extLst>
          </c:dPt>
          <c:dPt>
            <c:idx val="7"/>
            <c:invertIfNegative val="1"/>
            <c:bubble3D val="0"/>
            <c:spPr>
              <a:solidFill>
                <a:srgbClr val="7ECAC4"/>
              </a:solidFill>
            </c:spPr>
            <c:extLst>
              <c:ext xmlns:c16="http://schemas.microsoft.com/office/drawing/2014/chart" uri="{C3380CC4-5D6E-409C-BE32-E72D297353CC}">
                <c16:uniqueId val="{00000011-FA3E-4872-B6E1-C4ABDF5766E2}"/>
              </c:ext>
            </c:extLst>
          </c:dPt>
          <c:dPt>
            <c:idx val="8"/>
            <c:invertIfNegative val="1"/>
            <c:bubble3D val="0"/>
            <c:spPr>
              <a:solidFill>
                <a:srgbClr val="7ECAC4"/>
              </a:solidFill>
            </c:spPr>
            <c:extLst>
              <c:ext xmlns:c16="http://schemas.microsoft.com/office/drawing/2014/chart" uri="{C3380CC4-5D6E-409C-BE32-E72D297353CC}">
                <c16:uniqueId val="{00000013-FA3E-4872-B6E1-C4ABDF5766E2}"/>
              </c:ext>
            </c:extLst>
          </c:dPt>
          <c:dPt>
            <c:idx val="9"/>
            <c:invertIfNegative val="1"/>
            <c:bubble3D val="0"/>
            <c:spPr>
              <a:solidFill>
                <a:srgbClr val="AEABAB"/>
              </a:solidFill>
            </c:spPr>
            <c:extLst>
              <c:ext xmlns:c16="http://schemas.microsoft.com/office/drawing/2014/chart" uri="{C3380CC4-5D6E-409C-BE32-E72D297353CC}">
                <c16:uniqueId val="{00000015-FA3E-4872-B6E1-C4ABDF5766E2}"/>
              </c:ext>
            </c:extLst>
          </c:dPt>
          <c:dPt>
            <c:idx val="10"/>
            <c:invertIfNegative val="1"/>
            <c:bubble3D val="0"/>
            <c:spPr>
              <a:solidFill>
                <a:srgbClr val="AEABAB"/>
              </a:solidFill>
            </c:spPr>
            <c:extLst>
              <c:ext xmlns:c16="http://schemas.microsoft.com/office/drawing/2014/chart" uri="{C3380CC4-5D6E-409C-BE32-E72D297353CC}">
                <c16:uniqueId val="{00000017-FA3E-4872-B6E1-C4ABDF5766E2}"/>
              </c:ext>
            </c:extLst>
          </c:dPt>
          <c:dPt>
            <c:idx val="11"/>
            <c:invertIfNegative val="1"/>
            <c:bubble3D val="0"/>
            <c:spPr>
              <a:solidFill>
                <a:srgbClr val="AEABAB"/>
              </a:solidFill>
            </c:spPr>
            <c:extLst>
              <c:ext xmlns:c16="http://schemas.microsoft.com/office/drawing/2014/chart" uri="{C3380CC4-5D6E-409C-BE32-E72D297353CC}">
                <c16:uniqueId val="{00000019-FA3E-4872-B6E1-C4ABDF5766E2}"/>
              </c:ext>
            </c:extLst>
          </c:dPt>
          <c:dPt>
            <c:idx val="12"/>
            <c:invertIfNegative val="1"/>
            <c:bubble3D val="0"/>
            <c:spPr>
              <a:solidFill>
                <a:srgbClr val="AEABAB"/>
              </a:solidFill>
            </c:spPr>
            <c:extLst>
              <c:ext xmlns:c16="http://schemas.microsoft.com/office/drawing/2014/chart" uri="{C3380CC4-5D6E-409C-BE32-E72D297353CC}">
                <c16:uniqueId val="{0000001B-FA3E-4872-B6E1-C4ABDF5766E2}"/>
              </c:ext>
            </c:extLst>
          </c:dPt>
          <c:dPt>
            <c:idx val="13"/>
            <c:invertIfNegative val="1"/>
            <c:bubble3D val="0"/>
            <c:spPr>
              <a:solidFill>
                <a:srgbClr val="AEABAB"/>
              </a:solidFill>
            </c:spPr>
            <c:extLst>
              <c:ext xmlns:c16="http://schemas.microsoft.com/office/drawing/2014/chart" uri="{C3380CC4-5D6E-409C-BE32-E72D297353CC}">
                <c16:uniqueId val="{0000001D-FA3E-4872-B6E1-C4ABDF5766E2}"/>
              </c:ext>
            </c:extLst>
          </c:dPt>
          <c:dPt>
            <c:idx val="14"/>
            <c:invertIfNegative val="1"/>
            <c:bubble3D val="0"/>
            <c:spPr>
              <a:solidFill>
                <a:srgbClr val="AEABAB"/>
              </a:solidFill>
            </c:spPr>
            <c:extLst>
              <c:ext xmlns:c16="http://schemas.microsoft.com/office/drawing/2014/chart" uri="{C3380CC4-5D6E-409C-BE32-E72D297353CC}">
                <c16:uniqueId val="{0000001F-FA3E-4872-B6E1-C4ABDF5766E2}"/>
              </c:ext>
            </c:extLst>
          </c:dPt>
          <c:dPt>
            <c:idx val="15"/>
            <c:invertIfNegative val="1"/>
            <c:bubble3D val="0"/>
            <c:spPr>
              <a:solidFill>
                <a:srgbClr val="AEABAB"/>
              </a:solidFill>
            </c:spPr>
            <c:extLst>
              <c:ext xmlns:c16="http://schemas.microsoft.com/office/drawing/2014/chart" uri="{C3380CC4-5D6E-409C-BE32-E72D297353CC}">
                <c16:uniqueId val="{00000021-FA3E-4872-B6E1-C4ABDF5766E2}"/>
              </c:ext>
            </c:extLst>
          </c:dPt>
          <c:dPt>
            <c:idx val="16"/>
            <c:invertIfNegative val="1"/>
            <c:bubble3D val="0"/>
            <c:spPr>
              <a:solidFill>
                <a:srgbClr val="AEABAB"/>
              </a:solidFill>
            </c:spPr>
            <c:extLst>
              <c:ext xmlns:c16="http://schemas.microsoft.com/office/drawing/2014/chart" uri="{C3380CC4-5D6E-409C-BE32-E72D297353CC}">
                <c16:uniqueId val="{00000023-FA3E-4872-B6E1-C4ABDF5766E2}"/>
              </c:ext>
            </c:extLst>
          </c:dPt>
          <c:dPt>
            <c:idx val="17"/>
            <c:invertIfNegative val="1"/>
            <c:bubble3D val="0"/>
            <c:spPr>
              <a:solidFill>
                <a:srgbClr val="AEABAB"/>
              </a:solidFill>
            </c:spPr>
            <c:extLst>
              <c:ext xmlns:c16="http://schemas.microsoft.com/office/drawing/2014/chart" uri="{C3380CC4-5D6E-409C-BE32-E72D297353CC}">
                <c16:uniqueId val="{00000025-FA3E-4872-B6E1-C4ABDF5766E2}"/>
              </c:ext>
            </c:extLst>
          </c:dPt>
          <c:dPt>
            <c:idx val="18"/>
            <c:invertIfNegative val="1"/>
            <c:bubble3D val="0"/>
            <c:spPr>
              <a:solidFill>
                <a:srgbClr val="AEABAB"/>
              </a:solidFill>
            </c:spPr>
            <c:extLst>
              <c:ext xmlns:c16="http://schemas.microsoft.com/office/drawing/2014/chart" uri="{C3380CC4-5D6E-409C-BE32-E72D297353CC}">
                <c16:uniqueId val="{00000027-FA3E-4872-B6E1-C4ABDF5766E2}"/>
              </c:ext>
            </c:extLst>
          </c:dPt>
          <c:dPt>
            <c:idx val="19"/>
            <c:invertIfNegative val="1"/>
            <c:bubble3D val="0"/>
            <c:spPr>
              <a:solidFill>
                <a:srgbClr val="AEABAB"/>
              </a:solidFill>
            </c:spPr>
            <c:extLst>
              <c:ext xmlns:c16="http://schemas.microsoft.com/office/drawing/2014/chart" uri="{C3380CC4-5D6E-409C-BE32-E72D297353CC}">
                <c16:uniqueId val="{00000029-FA3E-4872-B6E1-C4ABDF5766E2}"/>
              </c:ext>
            </c:extLst>
          </c:dPt>
          <c:dPt>
            <c:idx val="20"/>
            <c:invertIfNegative val="1"/>
            <c:bubble3D val="0"/>
            <c:spPr>
              <a:solidFill>
                <a:srgbClr val="AEABAB"/>
              </a:solidFill>
            </c:spPr>
            <c:extLst>
              <c:ext xmlns:c16="http://schemas.microsoft.com/office/drawing/2014/chart" uri="{C3380CC4-5D6E-409C-BE32-E72D297353CC}">
                <c16:uniqueId val="{0000002B-FA3E-4872-B6E1-C4ABDF5766E2}"/>
              </c:ext>
            </c:extLst>
          </c:dPt>
          <c:dPt>
            <c:idx val="21"/>
            <c:invertIfNegative val="1"/>
            <c:bubble3D val="0"/>
            <c:spPr>
              <a:solidFill>
                <a:srgbClr val="AEABAB"/>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23</c:f>
              <c:strCache>
                <c:ptCount val="22"/>
                <c:pt idx="0">
                  <c:v>CHAMPAGNE E.NICOLAS BRUT 1CT X 750ML</c:v>
                </c:pt>
                <c:pt idx="1">
                  <c:v>CHAMPAGNE NICOLAS BLC/BLC BS 1CT X 750ML</c:v>
                </c:pt>
                <c:pt idx="2">
                  <c:v>CHAMPAGNE E.NICOLAS ROSE 1CT X 750ML</c:v>
                </c:pt>
                <c:pt idx="3">
                  <c:v>CHAMPAGNE NICOLAS 1ERE CUVEE 1CT X 750ML</c:v>
                </c:pt>
                <c:pt idx="4">
                  <c:v>MG CHAMPAGNE E.NICOLAS BRUT 1CT X 1500ML</c:v>
                </c:pt>
                <c:pt idx="5">
                  <c:v>MG CHAMPAGNE NICOLAS BLC/BL BS 1CT X 1500ML</c:v>
                </c:pt>
                <c:pt idx="6">
                  <c:v>1/2 CHAMP NICOLAS BLC/BLC BS 1CT X 375ML</c:v>
                </c:pt>
                <c:pt idx="7">
                  <c:v>CHAMPAGNE NICOLAS ROSE 1ERE CU 1CT X 750ML</c:v>
                </c:pt>
                <c:pt idx="8">
                  <c:v>1/2 CHAMPAGNE NICOLAS 1ERE CUV 1CT X 375ML</c:v>
                </c:pt>
                <c:pt idx="9">
                  <c:v>1/2 CHAMP NICOLAS ROSE 1E C BS 1CT X 375ML</c:v>
                </c:pt>
                <c:pt idx="10">
                  <c:v>MG CHAMPAGNE NICOLAS 1ERE CUVE 1CT X 1500ML</c:v>
                </c:pt>
                <c:pt idx="11">
                  <c:v>CHAMPAGNE NICOLAS BLC DE NOIRS 1CT X 750ML</c:v>
                </c:pt>
                <c:pt idx="12">
                  <c:v>CHAMPAGNE NICOLAS BIO NAT 2017 1CT X 750ML</c:v>
                </c:pt>
                <c:pt idx="13">
                  <c:v>CHAMPAGNE NICOLAS BLC/BL BS ET 1CT X 750ML</c:v>
                </c:pt>
                <c:pt idx="14">
                  <c:v>CHAMPAGNE NICOLAS 1ER CRU BS 1CT X 750ML</c:v>
                </c:pt>
                <c:pt idx="15">
                  <c:v>CHAMPAGNE NICOLAS 1ER CRU ETUI 1CT X 750ML</c:v>
                </c:pt>
                <c:pt idx="16">
                  <c:v>CHAMPAGNE NICOLAS ROSE 1ERE ET 1CT X 750ML</c:v>
                </c:pt>
                <c:pt idx="17">
                  <c:v>CHAMPAGNE NICOLAS ROSE 1E C BS 1CT X 750ML</c:v>
                </c:pt>
                <c:pt idx="18">
                  <c:v>CHAMPAGNE NICOLAS 1ERE CUV ETU 1CT X 750ML</c:v>
                </c:pt>
                <c:pt idx="19">
                  <c:v>MG CHAMPAGNE NICOLAS 1E CRU BS 1CT X 1500ML</c:v>
                </c:pt>
                <c:pt idx="20">
                  <c:v>1/2 CHAMPAGNE NICOLAS 1E C BS 1CT X 375ML</c:v>
                </c:pt>
                <c:pt idx="21">
                  <c:v>CHAMPAGNE NICOLAS BIO 2018 1CT X 750ML</c:v>
                </c:pt>
              </c:strCache>
            </c:strRef>
          </c:cat>
          <c:val>
            <c:numRef>
              <c:f>Sheet1!$C$2:$C$23</c:f>
              <c:numCache>
                <c:formatCode>General</c:formatCode>
                <c:ptCount val="22"/>
                <c:pt idx="0">
                  <c:v>0.71377370455986744</c:v>
                </c:pt>
                <c:pt idx="1">
                  <c:v>0.78725937442464655</c:v>
                </c:pt>
                <c:pt idx="2">
                  <c:v>0.84197369228566166</c:v>
                </c:pt>
                <c:pt idx="3">
                  <c:v>0.88386146513102715</c:v>
                </c:pt>
                <c:pt idx="4">
                  <c:v>0.90067303561565371</c:v>
                </c:pt>
                <c:pt idx="5">
                  <c:v>0.9150870445758239</c:v>
                </c:pt>
                <c:pt idx="6">
                  <c:v>0.9259619908761737</c:v>
                </c:pt>
                <c:pt idx="7">
                  <c:v>0.93574453286418591</c:v>
                </c:pt>
                <c:pt idx="8">
                  <c:v>0.94545752101957736</c:v>
                </c:pt>
                <c:pt idx="9">
                  <c:v>0.95392672299163306</c:v>
                </c:pt>
                <c:pt idx="10">
                  <c:v>0.96199496757563974</c:v>
                </c:pt>
                <c:pt idx="11">
                  <c:v>0.96934721682384462</c:v>
                </c:pt>
                <c:pt idx="12">
                  <c:v>0.97536157764457987</c:v>
                </c:pt>
                <c:pt idx="13">
                  <c:v>0.98061084630648687</c:v>
                </c:pt>
                <c:pt idx="14">
                  <c:v>0.98578646973385431</c:v>
                </c:pt>
                <c:pt idx="15">
                  <c:v>0.9905570443712538</c:v>
                </c:pt>
                <c:pt idx="16">
                  <c:v>0.99495939283595525</c:v>
                </c:pt>
                <c:pt idx="17">
                  <c:v>0.99730785753738516</c:v>
                </c:pt>
                <c:pt idx="18">
                  <c:v>0.99882985905120392</c:v>
                </c:pt>
                <c:pt idx="19">
                  <c:v>0.99944766074095293</c:v>
                </c:pt>
                <c:pt idx="20">
                  <c:v>0.99981179551173216</c:v>
                </c:pt>
                <c:pt idx="21">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23</c:f>
              <c:strCache>
                <c:ptCount val="22"/>
                <c:pt idx="0">
                  <c:v>CHAMPAGNE E.NICOLAS BRUT 1CT X 750ML</c:v>
                </c:pt>
                <c:pt idx="1">
                  <c:v>CHAMPAGNE NICOLAS BLC/BLC BS 1CT X 750ML</c:v>
                </c:pt>
                <c:pt idx="2">
                  <c:v>CHAMPAGNE E.NICOLAS ROSE 1CT X 750ML</c:v>
                </c:pt>
                <c:pt idx="3">
                  <c:v>CHAMPAGNE NICOLAS 1ERE CUVEE 1CT X 750ML</c:v>
                </c:pt>
                <c:pt idx="4">
                  <c:v>MG CHAMPAGNE E.NICOLAS BRUT 1CT X 1500ML</c:v>
                </c:pt>
                <c:pt idx="5">
                  <c:v>MG CHAMPAGNE NICOLAS BLC/BL BS 1CT X 1500ML</c:v>
                </c:pt>
                <c:pt idx="6">
                  <c:v>1/2 CHAMP NICOLAS BLC/BLC BS 1CT X 375ML</c:v>
                </c:pt>
                <c:pt idx="7">
                  <c:v>CHAMPAGNE NICOLAS ROSE 1ERE CU 1CT X 750ML</c:v>
                </c:pt>
                <c:pt idx="8">
                  <c:v>1/2 CHAMPAGNE NICOLAS 1ERE CUV 1CT X 375ML</c:v>
                </c:pt>
                <c:pt idx="9">
                  <c:v>1/2 CHAMP NICOLAS ROSE 1E C BS 1CT X 375ML</c:v>
                </c:pt>
                <c:pt idx="10">
                  <c:v>MG CHAMPAGNE NICOLAS 1ERE CUVE 1CT X 1500ML</c:v>
                </c:pt>
                <c:pt idx="11">
                  <c:v>CHAMPAGNE NICOLAS BLC DE NOIRS 1CT X 750ML</c:v>
                </c:pt>
                <c:pt idx="12">
                  <c:v>CHAMPAGNE NICOLAS BIO NAT 2017 1CT X 750ML</c:v>
                </c:pt>
                <c:pt idx="13">
                  <c:v>CHAMPAGNE NICOLAS BLC/BL BS ET 1CT X 750ML</c:v>
                </c:pt>
                <c:pt idx="14">
                  <c:v>CHAMPAGNE NICOLAS 1ER CRU BS 1CT X 750ML</c:v>
                </c:pt>
                <c:pt idx="15">
                  <c:v>CHAMPAGNE NICOLAS 1ER CRU ETUI 1CT X 750ML</c:v>
                </c:pt>
                <c:pt idx="16">
                  <c:v>CHAMPAGNE NICOLAS ROSE 1ERE ET 1CT X 750ML</c:v>
                </c:pt>
                <c:pt idx="17">
                  <c:v>CHAMPAGNE NICOLAS ROSE 1E C BS 1CT X 750ML</c:v>
                </c:pt>
                <c:pt idx="18">
                  <c:v>CHAMPAGNE NICOLAS 1ERE CUV ETU 1CT X 750ML</c:v>
                </c:pt>
                <c:pt idx="19">
                  <c:v>MG CHAMPAGNE NICOLAS 1E CRU BS 1CT X 1500ML</c:v>
                </c:pt>
                <c:pt idx="20">
                  <c:v>1/2 CHAMPAGNE NICOLAS 1E C BS 1CT X 375ML</c:v>
                </c:pt>
                <c:pt idx="21">
                  <c:v>CHAMPAGNE NICOLAS BIO 2018 1CT X 750ML</c:v>
                </c:pt>
              </c:strCache>
            </c:strRef>
          </c:cat>
          <c:val>
            <c:numRef>
              <c:f>Sheet1!$D$2:$D$23</c:f>
              <c:numCache>
                <c:formatCode>General</c:formatCode>
                <c:ptCount val="22"/>
                <c:pt idx="0">
                  <c:v>1744.57</c:v>
                </c:pt>
                <c:pt idx="1">
                  <c:v>276.32307692307694</c:v>
                </c:pt>
                <c:pt idx="2">
                  <c:v>163.08536585365854</c:v>
                </c:pt>
                <c:pt idx="3">
                  <c:v>134.71052631578948</c:v>
                </c:pt>
                <c:pt idx="4">
                  <c:v>117.4</c:v>
                </c:pt>
                <c:pt idx="5">
                  <c:v>103.61764705882354</c:v>
                </c:pt>
                <c:pt idx="6">
                  <c:v>50.150943396226417</c:v>
                </c:pt>
                <c:pt idx="7">
                  <c:v>61.307692307692307</c:v>
                </c:pt>
                <c:pt idx="8">
                  <c:v>38.918032786885249</c:v>
                </c:pt>
                <c:pt idx="9">
                  <c:v>48.139534883720927</c:v>
                </c:pt>
                <c:pt idx="10">
                  <c:v>54.777777777777779</c:v>
                </c:pt>
                <c:pt idx="11">
                  <c:v>78.130434782608702</c:v>
                </c:pt>
                <c:pt idx="12">
                  <c:v>81.666666666666671</c:v>
                </c:pt>
                <c:pt idx="13">
                  <c:v>256.60000000000002</c:v>
                </c:pt>
                <c:pt idx="14">
                  <c:v>79.0625</c:v>
                </c:pt>
                <c:pt idx="15">
                  <c:v>55.523809523809526</c:v>
                </c:pt>
                <c:pt idx="16">
                  <c:v>51.238095238095241</c:v>
                </c:pt>
                <c:pt idx="17">
                  <c:v>63.777777777777779</c:v>
                </c:pt>
                <c:pt idx="18">
                  <c:v>41.333333333333336</c:v>
                </c:pt>
                <c:pt idx="19">
                  <c:v>50.333333333333336</c:v>
                </c:pt>
                <c:pt idx="20">
                  <c:v>29.666666666666668</c:v>
                </c:pt>
                <c:pt idx="21">
                  <c:v>9.1999999999999993</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22</c:f>
              <c:strCache>
                <c:ptCount val="21"/>
                <c:pt idx="0">
                  <c:v>CHAMPAGNE E.NICOLAS BRUT 1CT X 750ML</c:v>
                </c:pt>
                <c:pt idx="1">
                  <c:v>CHAMPAGNE NICOLAS BLC/BLC BS 1CT X 750ML</c:v>
                </c:pt>
                <c:pt idx="2">
                  <c:v>CHAMPAGNE E.NICOLAS ROSE 1CT X 750ML</c:v>
                </c:pt>
                <c:pt idx="3">
                  <c:v>CHAMPAGNE NICOLAS 1ERE CUVEE 1CT X 750ML</c:v>
                </c:pt>
                <c:pt idx="4">
                  <c:v>1/2 CHAMPAGNE NICOLAS 1ERE CUV 1CT X 375ML</c:v>
                </c:pt>
                <c:pt idx="5">
                  <c:v>MG CHAMPAGNE E.NICOLAS BRUT 1CT X 1500ML</c:v>
                </c:pt>
                <c:pt idx="6">
                  <c:v>CHAMPAGNE NICOLAS ROSE 1ERE CU 1CT X 750ML</c:v>
                </c:pt>
                <c:pt idx="7">
                  <c:v>CHAMPAGNE NICOLAS BIO NAT 2017 1CT X 750ML</c:v>
                </c:pt>
                <c:pt idx="8">
                  <c:v>1/2 CHAMP NICOLAS BLC/BLC BS 1CT X 375ML</c:v>
                </c:pt>
                <c:pt idx="9">
                  <c:v>MG CHAMPAGNE NICOLAS BLC/BL BS 1CT X 1500ML</c:v>
                </c:pt>
                <c:pt idx="10">
                  <c:v>1/2 CHAMP NICOLAS ROSE 1E C BS 1CT X 375ML</c:v>
                </c:pt>
                <c:pt idx="11">
                  <c:v>CHAMPAGNE NICOLAS BLC DE NOIRS 1CT X 750ML</c:v>
                </c:pt>
                <c:pt idx="12">
                  <c:v>CHAMPAGNE NICOLAS 1ER CRU BS 1CT X 750ML</c:v>
                </c:pt>
                <c:pt idx="13">
                  <c:v>MG CHAMPAGNE NICOLAS 1ERE CUVE 1CT X 1500ML</c:v>
                </c:pt>
                <c:pt idx="14">
                  <c:v>CHAMPAGNE NICOLAS 1ER CRU ETUI 1CT X 750ML</c:v>
                </c:pt>
                <c:pt idx="15">
                  <c:v>CHAMPAGNE NICOLAS ROSE 1ERE ET 1CT X 750ML</c:v>
                </c:pt>
                <c:pt idx="16">
                  <c:v>CHAMPAGNE NICOLAS 1ERE CUV ETU 1CT X 750ML</c:v>
                </c:pt>
                <c:pt idx="17">
                  <c:v>CHAMPAGNE NICOLAS ROSE 1E C BS 1CT X 750ML</c:v>
                </c:pt>
                <c:pt idx="18">
                  <c:v>MG CHAMPAGNE NICOLAS 1E CRU BS 1CT X 1500ML</c:v>
                </c:pt>
                <c:pt idx="19">
                  <c:v>CHAMPAGNE NICOLAS BLC/BL BS ET 1CT X 750ML</c:v>
                </c:pt>
                <c:pt idx="20">
                  <c:v>1/2 CHAMPAGNE NICOLAS 1E C BS 1CT X 375ML</c:v>
                </c:pt>
              </c:strCache>
            </c:strRef>
          </c:cat>
          <c:val>
            <c:numRef>
              <c:f>Sheet1!$B$2:$B$22</c:f>
              <c:numCache>
                <c:formatCode>General</c:formatCode>
                <c:ptCount val="21"/>
                <c:pt idx="0">
                  <c:v>0.99</c:v>
                </c:pt>
                <c:pt idx="1">
                  <c:v>0.55000000000000004</c:v>
                </c:pt>
                <c:pt idx="2">
                  <c:v>0.59</c:v>
                </c:pt>
                <c:pt idx="3">
                  <c:v>0.78</c:v>
                </c:pt>
                <c:pt idx="4">
                  <c:v>0.32</c:v>
                </c:pt>
                <c:pt idx="5">
                  <c:v>0.16</c:v>
                </c:pt>
                <c:pt idx="6">
                  <c:v>0.33</c:v>
                </c:pt>
                <c:pt idx="7">
                  <c:v>0.15</c:v>
                </c:pt>
                <c:pt idx="8">
                  <c:v>0.24</c:v>
                </c:pt>
                <c:pt idx="9">
                  <c:v>0.14000000000000001</c:v>
                </c:pt>
                <c:pt idx="10">
                  <c:v>0.27</c:v>
                </c:pt>
                <c:pt idx="11">
                  <c:v>0.18</c:v>
                </c:pt>
                <c:pt idx="12">
                  <c:v>0.32</c:v>
                </c:pt>
                <c:pt idx="13">
                  <c:v>0.18</c:v>
                </c:pt>
                <c:pt idx="14">
                  <c:v>0.18</c:v>
                </c:pt>
                <c:pt idx="15">
                  <c:v>0.09</c:v>
                </c:pt>
                <c:pt idx="16">
                  <c:v>0.11</c:v>
                </c:pt>
                <c:pt idx="17">
                  <c:v>0.05</c:v>
                </c:pt>
                <c:pt idx="18">
                  <c:v>0.04</c:v>
                </c:pt>
                <c:pt idx="19">
                  <c:v>0.02</c:v>
                </c:pt>
                <c:pt idx="20">
                  <c:v>0.01</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7ECAC4"/>
              </a:solidFill>
            </c:spPr>
            <c:extLst>
              <c:ext xmlns:c16="http://schemas.microsoft.com/office/drawing/2014/chart" uri="{C3380CC4-5D6E-409C-BE32-E72D297353CC}">
                <c16:uniqueId val="{00000006-E902-46E2-9A54-39A26B3DFDC1}"/>
              </c:ext>
            </c:extLst>
          </c:dPt>
          <c:dPt>
            <c:idx val="3"/>
            <c:invertIfNegative val="0"/>
            <c:bubble3D val="0"/>
            <c:spPr>
              <a:solidFill>
                <a:srgbClr val="7ECAC4"/>
              </a:solidFill>
            </c:spPr>
            <c:extLst>
              <c:ext xmlns:c16="http://schemas.microsoft.com/office/drawing/2014/chart" uri="{C3380CC4-5D6E-409C-BE32-E72D297353CC}">
                <c16:uniqueId val="{00000007-E902-46E2-9A54-39A26B3DFDC1}"/>
              </c:ext>
            </c:extLst>
          </c:dPt>
          <c:dPt>
            <c:idx val="4"/>
            <c:invertIfNegative val="1"/>
            <c:bubble3D val="0"/>
            <c:spPr>
              <a:solidFill>
                <a:srgbClr val="7ECAC4"/>
              </a:solidFill>
            </c:spPr>
            <c:extLst>
              <c:ext xmlns:c16="http://schemas.microsoft.com/office/drawing/2014/chart" uri="{C3380CC4-5D6E-409C-BE32-E72D297353CC}">
                <c16:uniqueId val="{0000000B-FA3E-4872-B6E1-C4ABDF5766E2}"/>
              </c:ext>
            </c:extLst>
          </c:dPt>
          <c:dPt>
            <c:idx val="5"/>
            <c:invertIfNegative val="1"/>
            <c:bubble3D val="0"/>
            <c:spPr>
              <a:solidFill>
                <a:srgbClr val="7ECAC4"/>
              </a:solidFill>
            </c:spPr>
            <c:extLst>
              <c:ext xmlns:c16="http://schemas.microsoft.com/office/drawing/2014/chart" uri="{C3380CC4-5D6E-409C-BE32-E72D297353CC}">
                <c16:uniqueId val="{0000000D-FA3E-4872-B6E1-C4ABDF5766E2}"/>
              </c:ext>
            </c:extLst>
          </c:dPt>
          <c:dPt>
            <c:idx val="6"/>
            <c:invertIfNegative val="1"/>
            <c:bubble3D val="0"/>
            <c:spPr>
              <a:solidFill>
                <a:srgbClr val="7ECAC4"/>
              </a:solidFill>
            </c:spPr>
            <c:extLst>
              <c:ext xmlns:c16="http://schemas.microsoft.com/office/drawing/2014/chart" uri="{C3380CC4-5D6E-409C-BE32-E72D297353CC}">
                <c16:uniqueId val="{0000000F-FA3E-4872-B6E1-C4ABDF5766E2}"/>
              </c:ext>
            </c:extLst>
          </c:dPt>
          <c:dPt>
            <c:idx val="7"/>
            <c:invertIfNegative val="1"/>
            <c:bubble3D val="0"/>
            <c:spPr>
              <a:solidFill>
                <a:srgbClr val="7ECAC4"/>
              </a:solidFill>
            </c:spPr>
            <c:extLst>
              <c:ext xmlns:c16="http://schemas.microsoft.com/office/drawing/2014/chart" uri="{C3380CC4-5D6E-409C-BE32-E72D297353CC}">
                <c16:uniqueId val="{00000011-FA3E-4872-B6E1-C4ABDF5766E2}"/>
              </c:ext>
            </c:extLst>
          </c:dPt>
          <c:dPt>
            <c:idx val="8"/>
            <c:invertIfNegative val="1"/>
            <c:bubble3D val="0"/>
            <c:spPr>
              <a:solidFill>
                <a:srgbClr val="7ECAC4"/>
              </a:solidFill>
            </c:spPr>
            <c:extLst>
              <c:ext xmlns:c16="http://schemas.microsoft.com/office/drawing/2014/chart" uri="{C3380CC4-5D6E-409C-BE32-E72D297353CC}">
                <c16:uniqueId val="{00000013-FA3E-4872-B6E1-C4ABDF5766E2}"/>
              </c:ext>
            </c:extLst>
          </c:dPt>
          <c:dPt>
            <c:idx val="9"/>
            <c:invertIfNegative val="1"/>
            <c:bubble3D val="0"/>
            <c:spPr>
              <a:solidFill>
                <a:srgbClr val="AEABAB"/>
              </a:solidFill>
            </c:spPr>
            <c:extLst>
              <c:ext xmlns:c16="http://schemas.microsoft.com/office/drawing/2014/chart" uri="{C3380CC4-5D6E-409C-BE32-E72D297353CC}">
                <c16:uniqueId val="{00000015-FA3E-4872-B6E1-C4ABDF5766E2}"/>
              </c:ext>
            </c:extLst>
          </c:dPt>
          <c:dPt>
            <c:idx val="10"/>
            <c:invertIfNegative val="1"/>
            <c:bubble3D val="0"/>
            <c:spPr>
              <a:solidFill>
                <a:srgbClr val="AEABAB"/>
              </a:solidFill>
            </c:spPr>
            <c:extLst>
              <c:ext xmlns:c16="http://schemas.microsoft.com/office/drawing/2014/chart" uri="{C3380CC4-5D6E-409C-BE32-E72D297353CC}">
                <c16:uniqueId val="{00000017-FA3E-4872-B6E1-C4ABDF5766E2}"/>
              </c:ext>
            </c:extLst>
          </c:dPt>
          <c:dPt>
            <c:idx val="11"/>
            <c:invertIfNegative val="1"/>
            <c:bubble3D val="0"/>
            <c:spPr>
              <a:solidFill>
                <a:srgbClr val="AEABAB"/>
              </a:solidFill>
            </c:spPr>
            <c:extLst>
              <c:ext xmlns:c16="http://schemas.microsoft.com/office/drawing/2014/chart" uri="{C3380CC4-5D6E-409C-BE32-E72D297353CC}">
                <c16:uniqueId val="{00000019-FA3E-4872-B6E1-C4ABDF5766E2}"/>
              </c:ext>
            </c:extLst>
          </c:dPt>
          <c:dPt>
            <c:idx val="12"/>
            <c:invertIfNegative val="1"/>
            <c:bubble3D val="0"/>
            <c:spPr>
              <a:solidFill>
                <a:srgbClr val="AEABAB"/>
              </a:solidFill>
            </c:spPr>
            <c:extLst>
              <c:ext xmlns:c16="http://schemas.microsoft.com/office/drawing/2014/chart" uri="{C3380CC4-5D6E-409C-BE32-E72D297353CC}">
                <c16:uniqueId val="{0000001B-FA3E-4872-B6E1-C4ABDF5766E2}"/>
              </c:ext>
            </c:extLst>
          </c:dPt>
          <c:dPt>
            <c:idx val="13"/>
            <c:invertIfNegative val="1"/>
            <c:bubble3D val="0"/>
            <c:spPr>
              <a:solidFill>
                <a:srgbClr val="AEABAB"/>
              </a:solidFill>
            </c:spPr>
            <c:extLst>
              <c:ext xmlns:c16="http://schemas.microsoft.com/office/drawing/2014/chart" uri="{C3380CC4-5D6E-409C-BE32-E72D297353CC}">
                <c16:uniqueId val="{0000001D-FA3E-4872-B6E1-C4ABDF5766E2}"/>
              </c:ext>
            </c:extLst>
          </c:dPt>
          <c:dPt>
            <c:idx val="14"/>
            <c:invertIfNegative val="1"/>
            <c:bubble3D val="0"/>
            <c:spPr>
              <a:solidFill>
                <a:srgbClr val="AEABAB"/>
              </a:solidFill>
            </c:spPr>
            <c:extLst>
              <c:ext xmlns:c16="http://schemas.microsoft.com/office/drawing/2014/chart" uri="{C3380CC4-5D6E-409C-BE32-E72D297353CC}">
                <c16:uniqueId val="{0000001F-FA3E-4872-B6E1-C4ABDF5766E2}"/>
              </c:ext>
            </c:extLst>
          </c:dPt>
          <c:dPt>
            <c:idx val="15"/>
            <c:invertIfNegative val="1"/>
            <c:bubble3D val="0"/>
            <c:spPr>
              <a:solidFill>
                <a:srgbClr val="AEABAB"/>
              </a:solidFill>
            </c:spPr>
            <c:extLst>
              <c:ext xmlns:c16="http://schemas.microsoft.com/office/drawing/2014/chart" uri="{C3380CC4-5D6E-409C-BE32-E72D297353CC}">
                <c16:uniqueId val="{00000021-FA3E-4872-B6E1-C4ABDF5766E2}"/>
              </c:ext>
            </c:extLst>
          </c:dPt>
          <c:dPt>
            <c:idx val="16"/>
            <c:invertIfNegative val="1"/>
            <c:bubble3D val="0"/>
            <c:spPr>
              <a:solidFill>
                <a:srgbClr val="AEABAB"/>
              </a:solidFill>
            </c:spPr>
            <c:extLst>
              <c:ext xmlns:c16="http://schemas.microsoft.com/office/drawing/2014/chart" uri="{C3380CC4-5D6E-409C-BE32-E72D297353CC}">
                <c16:uniqueId val="{00000023-FA3E-4872-B6E1-C4ABDF5766E2}"/>
              </c:ext>
            </c:extLst>
          </c:dPt>
          <c:dPt>
            <c:idx val="17"/>
            <c:invertIfNegative val="1"/>
            <c:bubble3D val="0"/>
            <c:spPr>
              <a:solidFill>
                <a:srgbClr val="AEABAB"/>
              </a:solidFill>
            </c:spPr>
            <c:extLst>
              <c:ext xmlns:c16="http://schemas.microsoft.com/office/drawing/2014/chart" uri="{C3380CC4-5D6E-409C-BE32-E72D297353CC}">
                <c16:uniqueId val="{00000025-FA3E-4872-B6E1-C4ABDF5766E2}"/>
              </c:ext>
            </c:extLst>
          </c:dPt>
          <c:dPt>
            <c:idx val="18"/>
            <c:invertIfNegative val="1"/>
            <c:bubble3D val="0"/>
            <c:spPr>
              <a:solidFill>
                <a:srgbClr val="AEABAB"/>
              </a:solidFill>
            </c:spPr>
            <c:extLst>
              <c:ext xmlns:c16="http://schemas.microsoft.com/office/drawing/2014/chart" uri="{C3380CC4-5D6E-409C-BE32-E72D297353CC}">
                <c16:uniqueId val="{00000027-FA3E-4872-B6E1-C4ABDF5766E2}"/>
              </c:ext>
            </c:extLst>
          </c:dPt>
          <c:dPt>
            <c:idx val="19"/>
            <c:invertIfNegative val="1"/>
            <c:bubble3D val="0"/>
            <c:spPr>
              <a:solidFill>
                <a:srgbClr val="AEABAB"/>
              </a:solidFill>
            </c:spPr>
            <c:extLst>
              <c:ext xmlns:c16="http://schemas.microsoft.com/office/drawing/2014/chart" uri="{C3380CC4-5D6E-409C-BE32-E72D297353CC}">
                <c16:uniqueId val="{00000029-FA3E-4872-B6E1-C4ABDF5766E2}"/>
              </c:ext>
            </c:extLst>
          </c:dPt>
          <c:dPt>
            <c:idx val="20"/>
            <c:invertIfNegative val="1"/>
            <c:bubble3D val="0"/>
            <c:spPr>
              <a:solidFill>
                <a:srgbClr val="AEABAB"/>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22</c:f>
              <c:strCache>
                <c:ptCount val="21"/>
                <c:pt idx="0">
                  <c:v>CHAMPAGNE E.NICOLAS BRUT 1CT X 750ML</c:v>
                </c:pt>
                <c:pt idx="1">
                  <c:v>CHAMPAGNE NICOLAS BLC/BLC BS 1CT X 750ML</c:v>
                </c:pt>
                <c:pt idx="2">
                  <c:v>CHAMPAGNE E.NICOLAS ROSE 1CT X 750ML</c:v>
                </c:pt>
                <c:pt idx="3">
                  <c:v>CHAMPAGNE NICOLAS 1ERE CUVEE 1CT X 750ML</c:v>
                </c:pt>
                <c:pt idx="4">
                  <c:v>1/2 CHAMPAGNE NICOLAS 1ERE CUV 1CT X 375ML</c:v>
                </c:pt>
                <c:pt idx="5">
                  <c:v>MG CHAMPAGNE E.NICOLAS BRUT 1CT X 1500ML</c:v>
                </c:pt>
                <c:pt idx="6">
                  <c:v>CHAMPAGNE NICOLAS ROSE 1ERE CU 1CT X 750ML</c:v>
                </c:pt>
                <c:pt idx="7">
                  <c:v>CHAMPAGNE NICOLAS BIO NAT 2017 1CT X 750ML</c:v>
                </c:pt>
                <c:pt idx="8">
                  <c:v>1/2 CHAMP NICOLAS BLC/BLC BS 1CT X 375ML</c:v>
                </c:pt>
                <c:pt idx="9">
                  <c:v>MG CHAMPAGNE NICOLAS BLC/BL BS 1CT X 1500ML</c:v>
                </c:pt>
                <c:pt idx="10">
                  <c:v>1/2 CHAMP NICOLAS ROSE 1E C BS 1CT X 375ML</c:v>
                </c:pt>
                <c:pt idx="11">
                  <c:v>CHAMPAGNE NICOLAS BLC DE NOIRS 1CT X 750ML</c:v>
                </c:pt>
                <c:pt idx="12">
                  <c:v>CHAMPAGNE NICOLAS 1ER CRU BS 1CT X 750ML</c:v>
                </c:pt>
                <c:pt idx="13">
                  <c:v>MG CHAMPAGNE NICOLAS 1ERE CUVE 1CT X 1500ML</c:v>
                </c:pt>
                <c:pt idx="14">
                  <c:v>CHAMPAGNE NICOLAS 1ER CRU ETUI 1CT X 750ML</c:v>
                </c:pt>
                <c:pt idx="15">
                  <c:v>CHAMPAGNE NICOLAS ROSE 1ERE ET 1CT X 750ML</c:v>
                </c:pt>
                <c:pt idx="16">
                  <c:v>CHAMPAGNE NICOLAS 1ERE CUV ETU 1CT X 750ML</c:v>
                </c:pt>
                <c:pt idx="17">
                  <c:v>CHAMPAGNE NICOLAS ROSE 1E C BS 1CT X 750ML</c:v>
                </c:pt>
                <c:pt idx="18">
                  <c:v>MG CHAMPAGNE NICOLAS 1E CRU BS 1CT X 1500ML</c:v>
                </c:pt>
                <c:pt idx="19">
                  <c:v>CHAMPAGNE NICOLAS BLC/BL BS ET 1CT X 750ML</c:v>
                </c:pt>
                <c:pt idx="20">
                  <c:v>1/2 CHAMPAGNE NICOLAS 1E C BS 1CT X 375ML</c:v>
                </c:pt>
              </c:strCache>
            </c:strRef>
          </c:cat>
          <c:val>
            <c:numRef>
              <c:f>Sheet1!$C$2:$C$22</c:f>
              <c:numCache>
                <c:formatCode>General</c:formatCode>
                <c:ptCount val="21"/>
                <c:pt idx="0">
                  <c:v>0.72555209223304706</c:v>
                </c:pt>
                <c:pt idx="1">
                  <c:v>0.79677212929380437</c:v>
                </c:pt>
                <c:pt idx="2">
                  <c:v>0.84344729114669392</c:v>
                </c:pt>
                <c:pt idx="3">
                  <c:v>0.88535231680037363</c:v>
                </c:pt>
                <c:pt idx="4">
                  <c:v>0.9030489740513804</c:v>
                </c:pt>
                <c:pt idx="5">
                  <c:v>0.91647906390213929</c:v>
                </c:pt>
                <c:pt idx="6">
                  <c:v>0.92786231338235414</c:v>
                </c:pt>
                <c:pt idx="7">
                  <c:v>0.93907770659624834</c:v>
                </c:pt>
                <c:pt idx="8">
                  <c:v>0.94926716442845083</c:v>
                </c:pt>
                <c:pt idx="9">
                  <c:v>0.95874257123499596</c:v>
                </c:pt>
                <c:pt idx="10">
                  <c:v>0.96768502115809718</c:v>
                </c:pt>
                <c:pt idx="11">
                  <c:v>0.97478290545429624</c:v>
                </c:pt>
                <c:pt idx="12">
                  <c:v>0.98131156108710516</c:v>
                </c:pt>
                <c:pt idx="13">
                  <c:v>0.98665569158502664</c:v>
                </c:pt>
                <c:pt idx="14">
                  <c:v>0.99090425547406036</c:v>
                </c:pt>
                <c:pt idx="15">
                  <c:v>0.99362357993995842</c:v>
                </c:pt>
                <c:pt idx="16">
                  <c:v>0.99618404989514286</c:v>
                </c:pt>
                <c:pt idx="17">
                  <c:v>0.9975409321741544</c:v>
                </c:pt>
                <c:pt idx="18">
                  <c:v>0.99884724576725548</c:v>
                </c:pt>
                <c:pt idx="19">
                  <c:v>0.99993010401528615</c:v>
                </c:pt>
                <c:pt idx="20">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22</c:f>
              <c:strCache>
                <c:ptCount val="21"/>
                <c:pt idx="0">
                  <c:v>CHAMPAGNE E.NICOLAS BRUT 1CT X 750ML</c:v>
                </c:pt>
                <c:pt idx="1">
                  <c:v>CHAMPAGNE NICOLAS BLC/BLC BS 1CT X 750ML</c:v>
                </c:pt>
                <c:pt idx="2">
                  <c:v>CHAMPAGNE E.NICOLAS ROSE 1CT X 750ML</c:v>
                </c:pt>
                <c:pt idx="3">
                  <c:v>CHAMPAGNE NICOLAS 1ERE CUVEE 1CT X 750ML</c:v>
                </c:pt>
                <c:pt idx="4">
                  <c:v>1/2 CHAMPAGNE NICOLAS 1ERE CUV 1CT X 375ML</c:v>
                </c:pt>
                <c:pt idx="5">
                  <c:v>MG CHAMPAGNE E.NICOLAS BRUT 1CT X 1500ML</c:v>
                </c:pt>
                <c:pt idx="6">
                  <c:v>CHAMPAGNE NICOLAS ROSE 1ERE CU 1CT X 750ML</c:v>
                </c:pt>
                <c:pt idx="7">
                  <c:v>CHAMPAGNE NICOLAS BIO NAT 2017 1CT X 750ML</c:v>
                </c:pt>
                <c:pt idx="8">
                  <c:v>1/2 CHAMP NICOLAS BLC/BLC BS 1CT X 375ML</c:v>
                </c:pt>
                <c:pt idx="9">
                  <c:v>MG CHAMPAGNE NICOLAS BLC/BL BS 1CT X 1500ML</c:v>
                </c:pt>
                <c:pt idx="10">
                  <c:v>1/2 CHAMP NICOLAS ROSE 1E C BS 1CT X 375ML</c:v>
                </c:pt>
                <c:pt idx="11">
                  <c:v>CHAMPAGNE NICOLAS BLC DE NOIRS 1CT X 750ML</c:v>
                </c:pt>
                <c:pt idx="12">
                  <c:v>CHAMPAGNE NICOLAS 1ER CRU BS 1CT X 750ML</c:v>
                </c:pt>
                <c:pt idx="13">
                  <c:v>MG CHAMPAGNE NICOLAS 1ERE CUVE 1CT X 1500ML</c:v>
                </c:pt>
                <c:pt idx="14">
                  <c:v>CHAMPAGNE NICOLAS 1ER CRU ETUI 1CT X 750ML</c:v>
                </c:pt>
                <c:pt idx="15">
                  <c:v>CHAMPAGNE NICOLAS ROSE 1ERE ET 1CT X 750ML</c:v>
                </c:pt>
                <c:pt idx="16">
                  <c:v>CHAMPAGNE NICOLAS 1ERE CUV ETU 1CT X 750ML</c:v>
                </c:pt>
                <c:pt idx="17">
                  <c:v>CHAMPAGNE NICOLAS ROSE 1E C BS 1CT X 750ML</c:v>
                </c:pt>
                <c:pt idx="18">
                  <c:v>MG CHAMPAGNE NICOLAS 1E CRU BS 1CT X 1500ML</c:v>
                </c:pt>
                <c:pt idx="19">
                  <c:v>CHAMPAGNE NICOLAS BLC/BL BS ET 1CT X 750ML</c:v>
                </c:pt>
                <c:pt idx="20">
                  <c:v>1/2 CHAMPAGNE NICOLAS 1E C BS 1CT X 375ML</c:v>
                </c:pt>
              </c:strCache>
            </c:strRef>
          </c:cat>
          <c:val>
            <c:numRef>
              <c:f>Sheet1!$D$2:$D$22</c:f>
              <c:numCache>
                <c:formatCode>General</c:formatCode>
                <c:ptCount val="21"/>
                <c:pt idx="0">
                  <c:v>27681.21212121212</c:v>
                </c:pt>
                <c:pt idx="1">
                  <c:v>4890.9272727272719</c:v>
                </c:pt>
                <c:pt idx="2">
                  <c:v>2988.0338983050847</c:v>
                </c:pt>
                <c:pt idx="3">
                  <c:v>2029.1923076923076</c:v>
                </c:pt>
                <c:pt idx="4">
                  <c:v>2088.78125</c:v>
                </c:pt>
                <c:pt idx="5">
                  <c:v>3170.375</c:v>
                </c:pt>
                <c:pt idx="6">
                  <c:v>1302.878787878788</c:v>
                </c:pt>
                <c:pt idx="7">
                  <c:v>2824.0666666666666</c:v>
                </c:pt>
                <c:pt idx="8">
                  <c:v>1603.5833333333333</c:v>
                </c:pt>
                <c:pt idx="9">
                  <c:v>2556.3571428571427</c:v>
                </c:pt>
                <c:pt idx="10">
                  <c:v>1250.962962962963</c:v>
                </c:pt>
                <c:pt idx="11">
                  <c:v>1489.3888888888889</c:v>
                </c:pt>
                <c:pt idx="12">
                  <c:v>770.59375</c:v>
                </c:pt>
                <c:pt idx="13">
                  <c:v>1121.3888888888889</c:v>
                </c:pt>
                <c:pt idx="14">
                  <c:v>891.5</c:v>
                </c:pt>
                <c:pt idx="15">
                  <c:v>1141.2222222222222</c:v>
                </c:pt>
                <c:pt idx="16">
                  <c:v>879.18181818181813</c:v>
                </c:pt>
                <c:pt idx="17">
                  <c:v>1025</c:v>
                </c:pt>
                <c:pt idx="18">
                  <c:v>1233.5</c:v>
                </c:pt>
                <c:pt idx="19">
                  <c:v>2045</c:v>
                </c:pt>
                <c:pt idx="20">
                  <c:v>264</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22</c:f>
              <c:strCache>
                <c:ptCount val="21"/>
                <c:pt idx="0">
                  <c:v>CHAMPAGNE E.NICOLAS BRUT 1CT X 750ML</c:v>
                </c:pt>
                <c:pt idx="1">
                  <c:v>CHAMPAGNE NICOLAS BLC/BLC BS 1CT X 750ML</c:v>
                </c:pt>
                <c:pt idx="2">
                  <c:v>CHAMPAGNE E.NICOLAS ROSE 1CT X 750ML</c:v>
                </c:pt>
                <c:pt idx="3">
                  <c:v>CHAMPAGNE NICOLAS 1ERE CUVEE 1CT X 750ML</c:v>
                </c:pt>
                <c:pt idx="4">
                  <c:v>MG CHAMPAGNE E.NICOLAS BRUT 1CT X 1500ML</c:v>
                </c:pt>
                <c:pt idx="5">
                  <c:v>1/2 CHAMPAGNE NICOLAS 1ERE CUV 1CT X 375ML</c:v>
                </c:pt>
                <c:pt idx="6">
                  <c:v>1/2 CHAMP NICOLAS BLC/BLC BS 1CT X 375ML</c:v>
                </c:pt>
                <c:pt idx="7">
                  <c:v>CHAMPAGNE NICOLAS ROSE 1ERE CU 1CT X 750ML</c:v>
                </c:pt>
                <c:pt idx="8">
                  <c:v>MG CHAMPAGNE NICOLAS BLC/BL BS 1CT X 1500ML</c:v>
                </c:pt>
                <c:pt idx="9">
                  <c:v>CHAMPAGNE NICOLAS BIO NAT 2017 1CT X 750ML</c:v>
                </c:pt>
                <c:pt idx="10">
                  <c:v>MG CHAMPAGNE NICOLAS 1ERE CUVE 1CT X 1500ML</c:v>
                </c:pt>
                <c:pt idx="11">
                  <c:v>CHAMPAGNE NICOLAS 1ER CRU BS 1CT X 750ML</c:v>
                </c:pt>
                <c:pt idx="12">
                  <c:v>1/2 CHAMP NICOLAS ROSE 1E C BS 1CT X 375ML</c:v>
                </c:pt>
                <c:pt idx="13">
                  <c:v>CHAMPAGNE NICOLAS 1ER CRU ETUI 1CT X 750ML</c:v>
                </c:pt>
                <c:pt idx="14">
                  <c:v>CHAMPAGNE NICOLAS BLC DE NOIRS 1CT X 750ML</c:v>
                </c:pt>
                <c:pt idx="15">
                  <c:v>CHAMPAGNE NICOLAS ROSE 1ERE ET 1CT X 750ML</c:v>
                </c:pt>
                <c:pt idx="16">
                  <c:v>CHAMPAGNE NICOLAS 1ERE CUV ETU 1CT X 750ML</c:v>
                </c:pt>
                <c:pt idx="17">
                  <c:v>CHAMPAGNE NICOLAS ROSE 1E C BS 1CT X 750ML</c:v>
                </c:pt>
                <c:pt idx="18">
                  <c:v>MG CHAMPAGNE NICOLAS 1E CRU BS 1CT X 1500ML</c:v>
                </c:pt>
                <c:pt idx="19">
                  <c:v>CHAMPAGNE NICOLAS BLC/BL BS ET 1CT X 750ML</c:v>
                </c:pt>
                <c:pt idx="20">
                  <c:v>CHAMPAGNE NICOLAS BIO 2018 1CT X 750ML</c:v>
                </c:pt>
              </c:strCache>
            </c:strRef>
          </c:cat>
          <c:val>
            <c:numRef>
              <c:f>Sheet1!$B$2:$B$22</c:f>
              <c:numCache>
                <c:formatCode>General</c:formatCode>
                <c:ptCount val="21"/>
                <c:pt idx="0">
                  <c:v>1</c:v>
                </c:pt>
                <c:pt idx="1">
                  <c:v>0.73</c:v>
                </c:pt>
                <c:pt idx="2">
                  <c:v>0.86</c:v>
                </c:pt>
                <c:pt idx="3">
                  <c:v>0.78</c:v>
                </c:pt>
                <c:pt idx="4">
                  <c:v>0.39</c:v>
                </c:pt>
                <c:pt idx="5">
                  <c:v>0.44</c:v>
                </c:pt>
                <c:pt idx="6">
                  <c:v>0.37</c:v>
                </c:pt>
                <c:pt idx="7">
                  <c:v>0.43</c:v>
                </c:pt>
                <c:pt idx="8">
                  <c:v>0.2</c:v>
                </c:pt>
                <c:pt idx="9">
                  <c:v>0.19</c:v>
                </c:pt>
                <c:pt idx="10">
                  <c:v>0.26</c:v>
                </c:pt>
                <c:pt idx="11">
                  <c:v>0.25</c:v>
                </c:pt>
                <c:pt idx="12">
                  <c:v>0.41</c:v>
                </c:pt>
                <c:pt idx="13">
                  <c:v>0.16</c:v>
                </c:pt>
                <c:pt idx="14">
                  <c:v>0.2</c:v>
                </c:pt>
                <c:pt idx="15">
                  <c:v>0.09</c:v>
                </c:pt>
                <c:pt idx="16">
                  <c:v>0.14000000000000001</c:v>
                </c:pt>
                <c:pt idx="17">
                  <c:v>0.08</c:v>
                </c:pt>
                <c:pt idx="18">
                  <c:v>0.04</c:v>
                </c:pt>
                <c:pt idx="19">
                  <c:v>0.03</c:v>
                </c:pt>
                <c:pt idx="20">
                  <c:v>0.02</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7ECAC4"/>
              </a:solidFill>
            </c:spPr>
            <c:extLst>
              <c:ext xmlns:c16="http://schemas.microsoft.com/office/drawing/2014/chart" uri="{C3380CC4-5D6E-409C-BE32-E72D297353CC}">
                <c16:uniqueId val="{00000006-E902-46E2-9A54-39A26B3DFDC1}"/>
              </c:ext>
            </c:extLst>
          </c:dPt>
          <c:dPt>
            <c:idx val="3"/>
            <c:invertIfNegative val="0"/>
            <c:bubble3D val="0"/>
            <c:spPr>
              <a:solidFill>
                <a:srgbClr val="7ECAC4"/>
              </a:solidFill>
            </c:spPr>
            <c:extLst>
              <c:ext xmlns:c16="http://schemas.microsoft.com/office/drawing/2014/chart" uri="{C3380CC4-5D6E-409C-BE32-E72D297353CC}">
                <c16:uniqueId val="{00000007-E902-46E2-9A54-39A26B3DFDC1}"/>
              </c:ext>
            </c:extLst>
          </c:dPt>
          <c:dPt>
            <c:idx val="4"/>
            <c:invertIfNegative val="1"/>
            <c:bubble3D val="0"/>
            <c:spPr>
              <a:solidFill>
                <a:srgbClr val="7ECAC4"/>
              </a:solidFill>
            </c:spPr>
            <c:extLst>
              <c:ext xmlns:c16="http://schemas.microsoft.com/office/drawing/2014/chart" uri="{C3380CC4-5D6E-409C-BE32-E72D297353CC}">
                <c16:uniqueId val="{0000000B-FA3E-4872-B6E1-C4ABDF5766E2}"/>
              </c:ext>
            </c:extLst>
          </c:dPt>
          <c:dPt>
            <c:idx val="5"/>
            <c:invertIfNegative val="1"/>
            <c:bubble3D val="0"/>
            <c:spPr>
              <a:solidFill>
                <a:srgbClr val="7ECAC4"/>
              </a:solidFill>
            </c:spPr>
            <c:extLst>
              <c:ext xmlns:c16="http://schemas.microsoft.com/office/drawing/2014/chart" uri="{C3380CC4-5D6E-409C-BE32-E72D297353CC}">
                <c16:uniqueId val="{0000000D-FA3E-4872-B6E1-C4ABDF5766E2}"/>
              </c:ext>
            </c:extLst>
          </c:dPt>
          <c:dPt>
            <c:idx val="6"/>
            <c:invertIfNegative val="1"/>
            <c:bubble3D val="0"/>
            <c:spPr>
              <a:solidFill>
                <a:srgbClr val="7ECAC4"/>
              </a:solidFill>
            </c:spPr>
            <c:extLst>
              <c:ext xmlns:c16="http://schemas.microsoft.com/office/drawing/2014/chart" uri="{C3380CC4-5D6E-409C-BE32-E72D297353CC}">
                <c16:uniqueId val="{0000000F-FA3E-4872-B6E1-C4ABDF5766E2}"/>
              </c:ext>
            </c:extLst>
          </c:dPt>
          <c:dPt>
            <c:idx val="7"/>
            <c:invertIfNegative val="1"/>
            <c:bubble3D val="0"/>
            <c:spPr>
              <a:solidFill>
                <a:srgbClr val="7ECAC4"/>
              </a:solidFill>
            </c:spPr>
            <c:extLst>
              <c:ext xmlns:c16="http://schemas.microsoft.com/office/drawing/2014/chart" uri="{C3380CC4-5D6E-409C-BE32-E72D297353CC}">
                <c16:uniqueId val="{00000011-FA3E-4872-B6E1-C4ABDF5766E2}"/>
              </c:ext>
            </c:extLst>
          </c:dPt>
          <c:dPt>
            <c:idx val="8"/>
            <c:invertIfNegative val="1"/>
            <c:bubble3D val="0"/>
            <c:spPr>
              <a:solidFill>
                <a:srgbClr val="AEABAB"/>
              </a:solidFill>
            </c:spPr>
            <c:extLst>
              <c:ext xmlns:c16="http://schemas.microsoft.com/office/drawing/2014/chart" uri="{C3380CC4-5D6E-409C-BE32-E72D297353CC}">
                <c16:uniqueId val="{00000013-FA3E-4872-B6E1-C4ABDF5766E2}"/>
              </c:ext>
            </c:extLst>
          </c:dPt>
          <c:dPt>
            <c:idx val="9"/>
            <c:invertIfNegative val="1"/>
            <c:bubble3D val="0"/>
            <c:spPr>
              <a:solidFill>
                <a:srgbClr val="AEABAB"/>
              </a:solidFill>
            </c:spPr>
            <c:extLst>
              <c:ext xmlns:c16="http://schemas.microsoft.com/office/drawing/2014/chart" uri="{C3380CC4-5D6E-409C-BE32-E72D297353CC}">
                <c16:uniqueId val="{00000015-FA3E-4872-B6E1-C4ABDF5766E2}"/>
              </c:ext>
            </c:extLst>
          </c:dPt>
          <c:dPt>
            <c:idx val="10"/>
            <c:invertIfNegative val="1"/>
            <c:bubble3D val="0"/>
            <c:spPr>
              <a:solidFill>
                <a:srgbClr val="AEABAB"/>
              </a:solidFill>
            </c:spPr>
            <c:extLst>
              <c:ext xmlns:c16="http://schemas.microsoft.com/office/drawing/2014/chart" uri="{C3380CC4-5D6E-409C-BE32-E72D297353CC}">
                <c16:uniqueId val="{00000017-FA3E-4872-B6E1-C4ABDF5766E2}"/>
              </c:ext>
            </c:extLst>
          </c:dPt>
          <c:dPt>
            <c:idx val="11"/>
            <c:invertIfNegative val="1"/>
            <c:bubble3D val="0"/>
            <c:spPr>
              <a:solidFill>
                <a:srgbClr val="AEABAB"/>
              </a:solidFill>
            </c:spPr>
            <c:extLst>
              <c:ext xmlns:c16="http://schemas.microsoft.com/office/drawing/2014/chart" uri="{C3380CC4-5D6E-409C-BE32-E72D297353CC}">
                <c16:uniqueId val="{00000019-FA3E-4872-B6E1-C4ABDF5766E2}"/>
              </c:ext>
            </c:extLst>
          </c:dPt>
          <c:dPt>
            <c:idx val="12"/>
            <c:invertIfNegative val="1"/>
            <c:bubble3D val="0"/>
            <c:spPr>
              <a:solidFill>
                <a:srgbClr val="AEABAB"/>
              </a:solidFill>
            </c:spPr>
            <c:extLst>
              <c:ext xmlns:c16="http://schemas.microsoft.com/office/drawing/2014/chart" uri="{C3380CC4-5D6E-409C-BE32-E72D297353CC}">
                <c16:uniqueId val="{0000001B-FA3E-4872-B6E1-C4ABDF5766E2}"/>
              </c:ext>
            </c:extLst>
          </c:dPt>
          <c:dPt>
            <c:idx val="13"/>
            <c:invertIfNegative val="1"/>
            <c:bubble3D val="0"/>
            <c:spPr>
              <a:solidFill>
                <a:srgbClr val="AEABAB"/>
              </a:solidFill>
            </c:spPr>
            <c:extLst>
              <c:ext xmlns:c16="http://schemas.microsoft.com/office/drawing/2014/chart" uri="{C3380CC4-5D6E-409C-BE32-E72D297353CC}">
                <c16:uniqueId val="{0000001D-FA3E-4872-B6E1-C4ABDF5766E2}"/>
              </c:ext>
            </c:extLst>
          </c:dPt>
          <c:dPt>
            <c:idx val="14"/>
            <c:invertIfNegative val="1"/>
            <c:bubble3D val="0"/>
            <c:spPr>
              <a:solidFill>
                <a:srgbClr val="AEABAB"/>
              </a:solidFill>
            </c:spPr>
            <c:extLst>
              <c:ext xmlns:c16="http://schemas.microsoft.com/office/drawing/2014/chart" uri="{C3380CC4-5D6E-409C-BE32-E72D297353CC}">
                <c16:uniqueId val="{0000001F-FA3E-4872-B6E1-C4ABDF5766E2}"/>
              </c:ext>
            </c:extLst>
          </c:dPt>
          <c:dPt>
            <c:idx val="15"/>
            <c:invertIfNegative val="1"/>
            <c:bubble3D val="0"/>
            <c:spPr>
              <a:solidFill>
                <a:srgbClr val="AEABAB"/>
              </a:solidFill>
            </c:spPr>
            <c:extLst>
              <c:ext xmlns:c16="http://schemas.microsoft.com/office/drawing/2014/chart" uri="{C3380CC4-5D6E-409C-BE32-E72D297353CC}">
                <c16:uniqueId val="{00000021-FA3E-4872-B6E1-C4ABDF5766E2}"/>
              </c:ext>
            </c:extLst>
          </c:dPt>
          <c:dPt>
            <c:idx val="16"/>
            <c:invertIfNegative val="1"/>
            <c:bubble3D val="0"/>
            <c:spPr>
              <a:solidFill>
                <a:srgbClr val="AEABAB"/>
              </a:solidFill>
            </c:spPr>
            <c:extLst>
              <c:ext xmlns:c16="http://schemas.microsoft.com/office/drawing/2014/chart" uri="{C3380CC4-5D6E-409C-BE32-E72D297353CC}">
                <c16:uniqueId val="{00000023-FA3E-4872-B6E1-C4ABDF5766E2}"/>
              </c:ext>
            </c:extLst>
          </c:dPt>
          <c:dPt>
            <c:idx val="17"/>
            <c:invertIfNegative val="1"/>
            <c:bubble3D val="0"/>
            <c:spPr>
              <a:solidFill>
                <a:srgbClr val="AEABAB"/>
              </a:solidFill>
            </c:spPr>
            <c:extLst>
              <c:ext xmlns:c16="http://schemas.microsoft.com/office/drawing/2014/chart" uri="{C3380CC4-5D6E-409C-BE32-E72D297353CC}">
                <c16:uniqueId val="{00000025-FA3E-4872-B6E1-C4ABDF5766E2}"/>
              </c:ext>
            </c:extLst>
          </c:dPt>
          <c:dPt>
            <c:idx val="18"/>
            <c:invertIfNegative val="1"/>
            <c:bubble3D val="0"/>
            <c:spPr>
              <a:solidFill>
                <a:srgbClr val="AEABAB"/>
              </a:solidFill>
            </c:spPr>
            <c:extLst>
              <c:ext xmlns:c16="http://schemas.microsoft.com/office/drawing/2014/chart" uri="{C3380CC4-5D6E-409C-BE32-E72D297353CC}">
                <c16:uniqueId val="{00000027-FA3E-4872-B6E1-C4ABDF5766E2}"/>
              </c:ext>
            </c:extLst>
          </c:dPt>
          <c:dPt>
            <c:idx val="19"/>
            <c:invertIfNegative val="1"/>
            <c:bubble3D val="0"/>
            <c:spPr>
              <a:solidFill>
                <a:srgbClr val="AEABAB"/>
              </a:solidFill>
            </c:spPr>
            <c:extLst>
              <c:ext xmlns:c16="http://schemas.microsoft.com/office/drawing/2014/chart" uri="{C3380CC4-5D6E-409C-BE32-E72D297353CC}">
                <c16:uniqueId val="{00000029-FA3E-4872-B6E1-C4ABDF5766E2}"/>
              </c:ext>
            </c:extLst>
          </c:dPt>
          <c:dPt>
            <c:idx val="20"/>
            <c:invertIfNegative val="1"/>
            <c:bubble3D val="0"/>
            <c:spPr>
              <a:solidFill>
                <a:srgbClr val="AEABAB"/>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22</c:f>
              <c:strCache>
                <c:ptCount val="21"/>
                <c:pt idx="0">
                  <c:v>CHAMPAGNE E.NICOLAS BRUT 1CT X 750ML</c:v>
                </c:pt>
                <c:pt idx="1">
                  <c:v>CHAMPAGNE NICOLAS BLC/BLC BS 1CT X 750ML</c:v>
                </c:pt>
                <c:pt idx="2">
                  <c:v>CHAMPAGNE E.NICOLAS ROSE 1CT X 750ML</c:v>
                </c:pt>
                <c:pt idx="3">
                  <c:v>CHAMPAGNE NICOLAS 1ERE CUVEE 1CT X 750ML</c:v>
                </c:pt>
                <c:pt idx="4">
                  <c:v>MG CHAMPAGNE E.NICOLAS BRUT 1CT X 1500ML</c:v>
                </c:pt>
                <c:pt idx="5">
                  <c:v>1/2 CHAMPAGNE NICOLAS 1ERE CUV 1CT X 375ML</c:v>
                </c:pt>
                <c:pt idx="6">
                  <c:v>1/2 CHAMP NICOLAS BLC/BLC BS 1CT X 375ML</c:v>
                </c:pt>
                <c:pt idx="7">
                  <c:v>CHAMPAGNE NICOLAS ROSE 1ERE CU 1CT X 750ML</c:v>
                </c:pt>
                <c:pt idx="8">
                  <c:v>MG CHAMPAGNE NICOLAS BLC/BL BS 1CT X 1500ML</c:v>
                </c:pt>
                <c:pt idx="9">
                  <c:v>CHAMPAGNE NICOLAS BIO NAT 2017 1CT X 750ML</c:v>
                </c:pt>
                <c:pt idx="10">
                  <c:v>MG CHAMPAGNE NICOLAS 1ERE CUVE 1CT X 1500ML</c:v>
                </c:pt>
                <c:pt idx="11">
                  <c:v>CHAMPAGNE NICOLAS 1ER CRU BS 1CT X 750ML</c:v>
                </c:pt>
                <c:pt idx="12">
                  <c:v>1/2 CHAMP NICOLAS ROSE 1E C BS 1CT X 375ML</c:v>
                </c:pt>
                <c:pt idx="13">
                  <c:v>CHAMPAGNE NICOLAS 1ER CRU ETUI 1CT X 750ML</c:v>
                </c:pt>
                <c:pt idx="14">
                  <c:v>CHAMPAGNE NICOLAS BLC DE NOIRS 1CT X 750ML</c:v>
                </c:pt>
                <c:pt idx="15">
                  <c:v>CHAMPAGNE NICOLAS ROSE 1ERE ET 1CT X 750ML</c:v>
                </c:pt>
                <c:pt idx="16">
                  <c:v>CHAMPAGNE NICOLAS 1ERE CUV ETU 1CT X 750ML</c:v>
                </c:pt>
                <c:pt idx="17">
                  <c:v>CHAMPAGNE NICOLAS ROSE 1E C BS 1CT X 750ML</c:v>
                </c:pt>
                <c:pt idx="18">
                  <c:v>MG CHAMPAGNE NICOLAS 1E CRU BS 1CT X 1500ML</c:v>
                </c:pt>
                <c:pt idx="19">
                  <c:v>CHAMPAGNE NICOLAS BLC/BL BS ET 1CT X 750ML</c:v>
                </c:pt>
                <c:pt idx="20">
                  <c:v>CHAMPAGNE NICOLAS BIO 2018 1CT X 750ML</c:v>
                </c:pt>
              </c:strCache>
            </c:strRef>
          </c:cat>
          <c:val>
            <c:numRef>
              <c:f>Sheet1!$C$2:$C$22</c:f>
              <c:numCache>
                <c:formatCode>General</c:formatCode>
                <c:ptCount val="21"/>
                <c:pt idx="0">
                  <c:v>0.73222357752744494</c:v>
                </c:pt>
                <c:pt idx="1">
                  <c:v>0.79961094767724605</c:v>
                </c:pt>
                <c:pt idx="2">
                  <c:v>0.84842425836900981</c:v>
                </c:pt>
                <c:pt idx="3">
                  <c:v>0.88375945724012028</c:v>
                </c:pt>
                <c:pt idx="4">
                  <c:v>0.90758253410187117</c:v>
                </c:pt>
                <c:pt idx="5">
                  <c:v>0.92235376655266166</c:v>
                </c:pt>
                <c:pt idx="6">
                  <c:v>0.93499796704216598</c:v>
                </c:pt>
                <c:pt idx="7">
                  <c:v>0.94691030271140775</c:v>
                </c:pt>
                <c:pt idx="8">
                  <c:v>0.95746414420447579</c:v>
                </c:pt>
                <c:pt idx="9">
                  <c:v>0.9654046383328152</c:v>
                </c:pt>
                <c:pt idx="10">
                  <c:v>0.97325424728739651</c:v>
                </c:pt>
                <c:pt idx="11">
                  <c:v>0.98021573270192064</c:v>
                </c:pt>
                <c:pt idx="12">
                  <c:v>0.98711981695407114</c:v>
                </c:pt>
                <c:pt idx="13">
                  <c:v>0.99065477187024154</c:v>
                </c:pt>
                <c:pt idx="14">
                  <c:v>0.99379589103346011</c:v>
                </c:pt>
                <c:pt idx="15">
                  <c:v>0.99601061921503908</c:v>
                </c:pt>
                <c:pt idx="16">
                  <c:v>0.99769598112139546</c:v>
                </c:pt>
                <c:pt idx="17">
                  <c:v>0.99932075291191313</c:v>
                </c:pt>
                <c:pt idx="18">
                  <c:v>0.99980228488515777</c:v>
                </c:pt>
                <c:pt idx="19">
                  <c:v>0.99992665407030046</c:v>
                </c:pt>
                <c:pt idx="20">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22</c:f>
              <c:strCache>
                <c:ptCount val="21"/>
                <c:pt idx="0">
                  <c:v>CHAMPAGNE E.NICOLAS BRUT 1CT X 750ML</c:v>
                </c:pt>
                <c:pt idx="1">
                  <c:v>CHAMPAGNE NICOLAS BLC/BLC BS 1CT X 750ML</c:v>
                </c:pt>
                <c:pt idx="2">
                  <c:v>CHAMPAGNE E.NICOLAS ROSE 1CT X 750ML</c:v>
                </c:pt>
                <c:pt idx="3">
                  <c:v>CHAMPAGNE NICOLAS 1ERE CUVEE 1CT X 750ML</c:v>
                </c:pt>
                <c:pt idx="4">
                  <c:v>MG CHAMPAGNE E.NICOLAS BRUT 1CT X 1500ML</c:v>
                </c:pt>
                <c:pt idx="5">
                  <c:v>1/2 CHAMPAGNE NICOLAS 1ERE CUV 1CT X 375ML</c:v>
                </c:pt>
                <c:pt idx="6">
                  <c:v>1/2 CHAMP NICOLAS BLC/BLC BS 1CT X 375ML</c:v>
                </c:pt>
                <c:pt idx="7">
                  <c:v>CHAMPAGNE NICOLAS ROSE 1ERE CU 1CT X 750ML</c:v>
                </c:pt>
                <c:pt idx="8">
                  <c:v>MG CHAMPAGNE NICOLAS BLC/BL BS 1CT X 1500ML</c:v>
                </c:pt>
                <c:pt idx="9">
                  <c:v>CHAMPAGNE NICOLAS BIO NAT 2017 1CT X 750ML</c:v>
                </c:pt>
                <c:pt idx="10">
                  <c:v>MG CHAMPAGNE NICOLAS 1ERE CUVE 1CT X 1500ML</c:v>
                </c:pt>
                <c:pt idx="11">
                  <c:v>CHAMPAGNE NICOLAS 1ER CRU BS 1CT X 750ML</c:v>
                </c:pt>
                <c:pt idx="12">
                  <c:v>1/2 CHAMP NICOLAS ROSE 1E C BS 1CT X 375ML</c:v>
                </c:pt>
                <c:pt idx="13">
                  <c:v>CHAMPAGNE NICOLAS 1ER CRU ETUI 1CT X 750ML</c:v>
                </c:pt>
                <c:pt idx="14">
                  <c:v>CHAMPAGNE NICOLAS BLC DE NOIRS 1CT X 750ML</c:v>
                </c:pt>
                <c:pt idx="15">
                  <c:v>CHAMPAGNE NICOLAS ROSE 1ERE ET 1CT X 750ML</c:v>
                </c:pt>
                <c:pt idx="16">
                  <c:v>CHAMPAGNE NICOLAS 1ERE CUV ETU 1CT X 750ML</c:v>
                </c:pt>
                <c:pt idx="17">
                  <c:v>CHAMPAGNE NICOLAS ROSE 1E C BS 1CT X 750ML</c:v>
                </c:pt>
                <c:pt idx="18">
                  <c:v>MG CHAMPAGNE NICOLAS 1E CRU BS 1CT X 1500ML</c:v>
                </c:pt>
                <c:pt idx="19">
                  <c:v>CHAMPAGNE NICOLAS BLC/BL BS ET 1CT X 750ML</c:v>
                </c:pt>
                <c:pt idx="20">
                  <c:v>CHAMPAGNE NICOLAS BIO 2018 1CT X 750ML</c:v>
                </c:pt>
              </c:strCache>
            </c:strRef>
          </c:cat>
          <c:val>
            <c:numRef>
              <c:f>Sheet1!$D$2:$D$22</c:f>
              <c:numCache>
                <c:formatCode>General</c:formatCode>
                <c:ptCount val="21"/>
                <c:pt idx="0">
                  <c:v>4592.25</c:v>
                </c:pt>
                <c:pt idx="1">
                  <c:v>578.94520547945206</c:v>
                </c:pt>
                <c:pt idx="2">
                  <c:v>355.97674418604652</c:v>
                </c:pt>
                <c:pt idx="3">
                  <c:v>284.11538461538464</c:v>
                </c:pt>
                <c:pt idx="4">
                  <c:v>383.10256410256409</c:v>
                </c:pt>
                <c:pt idx="5">
                  <c:v>210.54545454545453</c:v>
                </c:pt>
                <c:pt idx="6">
                  <c:v>214.32432432432432</c:v>
                </c:pt>
                <c:pt idx="7">
                  <c:v>173.74418604651163</c:v>
                </c:pt>
                <c:pt idx="8">
                  <c:v>330.95</c:v>
                </c:pt>
                <c:pt idx="9">
                  <c:v>262.10526315789474</c:v>
                </c:pt>
                <c:pt idx="10">
                  <c:v>189.34615384615384</c:v>
                </c:pt>
                <c:pt idx="11">
                  <c:v>174.64</c:v>
                </c:pt>
                <c:pt idx="12">
                  <c:v>105.60975609756098</c:v>
                </c:pt>
                <c:pt idx="13">
                  <c:v>138.5625</c:v>
                </c:pt>
                <c:pt idx="14">
                  <c:v>98.5</c:v>
                </c:pt>
                <c:pt idx="15">
                  <c:v>154.33333333333334</c:v>
                </c:pt>
                <c:pt idx="16">
                  <c:v>75.499999999999986</c:v>
                </c:pt>
                <c:pt idx="17">
                  <c:v>127.375</c:v>
                </c:pt>
                <c:pt idx="18">
                  <c:v>75.5</c:v>
                </c:pt>
                <c:pt idx="19">
                  <c:v>26</c:v>
                </c:pt>
                <c:pt idx="20">
                  <c:v>23</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22</c:f>
              <c:strCache>
                <c:ptCount val="21"/>
                <c:pt idx="0">
                  <c:v>CHAMPAGNE E.NICOLAS BRUT 1CT X 750ML</c:v>
                </c:pt>
                <c:pt idx="1">
                  <c:v>CHAMPAGNE E.NICOLAS ROSE 1CT X 750ML</c:v>
                </c:pt>
                <c:pt idx="2">
                  <c:v>CHAMPAGNE NICOLAS BLC/BLC BS 1CT X 750ML</c:v>
                </c:pt>
                <c:pt idx="3">
                  <c:v>CHAMPAGNE NICOLAS 1ERE CUVEE 1CT X 750ML</c:v>
                </c:pt>
                <c:pt idx="4">
                  <c:v>MG CHAMPAGNE E.NICOLAS BRUT 1CT X 1500ML</c:v>
                </c:pt>
                <c:pt idx="5">
                  <c:v>1/2 CHAMPAGNE NICOLAS 1ERE CUV 1CT X 375ML</c:v>
                </c:pt>
                <c:pt idx="6">
                  <c:v>MG CHAMPAGNE NICOLAS BLC/BL BS 1CT X 1500ML</c:v>
                </c:pt>
                <c:pt idx="7">
                  <c:v>CHAMPAGNE NICOLAS ROSE 1ERE CU 1CT X 750ML</c:v>
                </c:pt>
                <c:pt idx="8">
                  <c:v>CHAMPAGNE NICOLAS BIO NAT 2017 1CT X 750ML</c:v>
                </c:pt>
                <c:pt idx="9">
                  <c:v>1/2 CHAMP NICOLAS ROSE 1E C BS 1CT X 375ML</c:v>
                </c:pt>
                <c:pt idx="10">
                  <c:v>1/2 CHAMP NICOLAS BLC/BLC BS 1CT X 375ML</c:v>
                </c:pt>
                <c:pt idx="11">
                  <c:v>CHAMPAGNE NICOLAS BLC DE NOIRS 1CT X 750ML</c:v>
                </c:pt>
                <c:pt idx="12">
                  <c:v>MG CHAMPAGNE NICOLAS 1ERE CUVE 1CT X 1500ML</c:v>
                </c:pt>
                <c:pt idx="13">
                  <c:v>CHAMPAGNE NICOLAS 1ER CRU BS 1CT X 750ML</c:v>
                </c:pt>
                <c:pt idx="14">
                  <c:v>CHAMPAGNE NICOLAS 1ER CRU ETUI 1CT X 750ML</c:v>
                </c:pt>
                <c:pt idx="15">
                  <c:v>CHAMPAGNE NICOLAS ROSE 1ERE ET 1CT X 750ML</c:v>
                </c:pt>
                <c:pt idx="16">
                  <c:v>CHAMPAGNE NICOLAS ROSE 1E C BS 1CT X 750ML</c:v>
                </c:pt>
                <c:pt idx="17">
                  <c:v>CHAMPAGNE NICOLAS 1ERE CUV ETU 1CT X 750ML</c:v>
                </c:pt>
                <c:pt idx="18">
                  <c:v>CHAMPAGNE NICOLAS BLC/BL BS ET 1CT X 750ML</c:v>
                </c:pt>
                <c:pt idx="19">
                  <c:v>MG CHAMPAGNE NICOLAS 1E CRU BS 1CT X 1500ML</c:v>
                </c:pt>
                <c:pt idx="20">
                  <c:v>1/2 CHAMPAGNE NICOLAS 1E C BS 1CT X 375ML</c:v>
                </c:pt>
              </c:strCache>
            </c:strRef>
          </c:cat>
          <c:val>
            <c:numRef>
              <c:f>Sheet1!$B$2:$B$22</c:f>
              <c:numCache>
                <c:formatCode>General</c:formatCode>
                <c:ptCount val="21"/>
                <c:pt idx="0">
                  <c:v>1</c:v>
                </c:pt>
                <c:pt idx="1">
                  <c:v>0.72</c:v>
                </c:pt>
                <c:pt idx="2">
                  <c:v>0.63</c:v>
                </c:pt>
                <c:pt idx="3">
                  <c:v>0.72</c:v>
                </c:pt>
                <c:pt idx="4">
                  <c:v>0.4</c:v>
                </c:pt>
                <c:pt idx="5">
                  <c:v>0.56000000000000005</c:v>
                </c:pt>
                <c:pt idx="6">
                  <c:v>0.27</c:v>
                </c:pt>
                <c:pt idx="7">
                  <c:v>0.5</c:v>
                </c:pt>
                <c:pt idx="8">
                  <c:v>0.26</c:v>
                </c:pt>
                <c:pt idx="9">
                  <c:v>0.47</c:v>
                </c:pt>
                <c:pt idx="10">
                  <c:v>0.33</c:v>
                </c:pt>
                <c:pt idx="11">
                  <c:v>0.33</c:v>
                </c:pt>
                <c:pt idx="12">
                  <c:v>0.14000000000000001</c:v>
                </c:pt>
                <c:pt idx="13">
                  <c:v>0.33</c:v>
                </c:pt>
                <c:pt idx="14">
                  <c:v>0.22</c:v>
                </c:pt>
                <c:pt idx="15">
                  <c:v>0.12</c:v>
                </c:pt>
                <c:pt idx="16">
                  <c:v>0.13</c:v>
                </c:pt>
                <c:pt idx="17">
                  <c:v>0.09</c:v>
                </c:pt>
                <c:pt idx="18">
                  <c:v>0.05</c:v>
                </c:pt>
                <c:pt idx="19">
                  <c:v>0.06</c:v>
                </c:pt>
                <c:pt idx="20">
                  <c:v>0.01</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7ECAC4"/>
              </a:solidFill>
            </c:spPr>
            <c:extLst>
              <c:ext xmlns:c16="http://schemas.microsoft.com/office/drawing/2014/chart" uri="{C3380CC4-5D6E-409C-BE32-E72D297353CC}">
                <c16:uniqueId val="{00000007-E902-46E2-9A54-39A26B3DFDC1}"/>
              </c:ext>
            </c:extLst>
          </c:dPt>
          <c:dPt>
            <c:idx val="4"/>
            <c:invertIfNegative val="1"/>
            <c:bubble3D val="0"/>
            <c:spPr>
              <a:solidFill>
                <a:srgbClr val="7ECAC4"/>
              </a:solidFill>
            </c:spPr>
            <c:extLst>
              <c:ext xmlns:c16="http://schemas.microsoft.com/office/drawing/2014/chart" uri="{C3380CC4-5D6E-409C-BE32-E72D297353CC}">
                <c16:uniqueId val="{0000000B-FA3E-4872-B6E1-C4ABDF5766E2}"/>
              </c:ext>
            </c:extLst>
          </c:dPt>
          <c:dPt>
            <c:idx val="5"/>
            <c:invertIfNegative val="1"/>
            <c:bubble3D val="0"/>
            <c:spPr>
              <a:solidFill>
                <a:srgbClr val="7ECAC4"/>
              </a:solidFill>
            </c:spPr>
            <c:extLst>
              <c:ext xmlns:c16="http://schemas.microsoft.com/office/drawing/2014/chart" uri="{C3380CC4-5D6E-409C-BE32-E72D297353CC}">
                <c16:uniqueId val="{0000000D-FA3E-4872-B6E1-C4ABDF5766E2}"/>
              </c:ext>
            </c:extLst>
          </c:dPt>
          <c:dPt>
            <c:idx val="6"/>
            <c:invertIfNegative val="1"/>
            <c:bubble3D val="0"/>
            <c:spPr>
              <a:solidFill>
                <a:srgbClr val="7ECAC4"/>
              </a:solidFill>
            </c:spPr>
            <c:extLst>
              <c:ext xmlns:c16="http://schemas.microsoft.com/office/drawing/2014/chart" uri="{C3380CC4-5D6E-409C-BE32-E72D297353CC}">
                <c16:uniqueId val="{0000000F-FA3E-4872-B6E1-C4ABDF5766E2}"/>
              </c:ext>
            </c:extLst>
          </c:dPt>
          <c:dPt>
            <c:idx val="7"/>
            <c:invertIfNegative val="1"/>
            <c:bubble3D val="0"/>
            <c:spPr>
              <a:solidFill>
                <a:srgbClr val="7ECAC4"/>
              </a:solidFill>
            </c:spPr>
            <c:extLst>
              <c:ext xmlns:c16="http://schemas.microsoft.com/office/drawing/2014/chart" uri="{C3380CC4-5D6E-409C-BE32-E72D297353CC}">
                <c16:uniqueId val="{00000011-FA3E-4872-B6E1-C4ABDF5766E2}"/>
              </c:ext>
            </c:extLst>
          </c:dPt>
          <c:dPt>
            <c:idx val="8"/>
            <c:invertIfNegative val="1"/>
            <c:bubble3D val="0"/>
            <c:spPr>
              <a:solidFill>
                <a:srgbClr val="7ECAC4"/>
              </a:solidFill>
            </c:spPr>
            <c:extLst>
              <c:ext xmlns:c16="http://schemas.microsoft.com/office/drawing/2014/chart" uri="{C3380CC4-5D6E-409C-BE32-E72D297353CC}">
                <c16:uniqueId val="{00000013-FA3E-4872-B6E1-C4ABDF5766E2}"/>
              </c:ext>
            </c:extLst>
          </c:dPt>
          <c:dPt>
            <c:idx val="9"/>
            <c:invertIfNegative val="1"/>
            <c:bubble3D val="0"/>
            <c:spPr>
              <a:solidFill>
                <a:srgbClr val="7ECAC4"/>
              </a:solidFill>
            </c:spPr>
            <c:extLst>
              <c:ext xmlns:c16="http://schemas.microsoft.com/office/drawing/2014/chart" uri="{C3380CC4-5D6E-409C-BE32-E72D297353CC}">
                <c16:uniqueId val="{00000015-FA3E-4872-B6E1-C4ABDF5766E2}"/>
              </c:ext>
            </c:extLst>
          </c:dPt>
          <c:dPt>
            <c:idx val="10"/>
            <c:invertIfNegative val="1"/>
            <c:bubble3D val="0"/>
            <c:spPr>
              <a:solidFill>
                <a:srgbClr val="AEABAB"/>
              </a:solidFill>
            </c:spPr>
            <c:extLst>
              <c:ext xmlns:c16="http://schemas.microsoft.com/office/drawing/2014/chart" uri="{C3380CC4-5D6E-409C-BE32-E72D297353CC}">
                <c16:uniqueId val="{00000017-FA3E-4872-B6E1-C4ABDF5766E2}"/>
              </c:ext>
            </c:extLst>
          </c:dPt>
          <c:dPt>
            <c:idx val="11"/>
            <c:invertIfNegative val="1"/>
            <c:bubble3D val="0"/>
            <c:spPr>
              <a:solidFill>
                <a:srgbClr val="AEABAB"/>
              </a:solidFill>
            </c:spPr>
            <c:extLst>
              <c:ext xmlns:c16="http://schemas.microsoft.com/office/drawing/2014/chart" uri="{C3380CC4-5D6E-409C-BE32-E72D297353CC}">
                <c16:uniqueId val="{00000019-FA3E-4872-B6E1-C4ABDF5766E2}"/>
              </c:ext>
            </c:extLst>
          </c:dPt>
          <c:dPt>
            <c:idx val="12"/>
            <c:invertIfNegative val="1"/>
            <c:bubble3D val="0"/>
            <c:spPr>
              <a:solidFill>
                <a:srgbClr val="AEABAB"/>
              </a:solidFill>
            </c:spPr>
            <c:extLst>
              <c:ext xmlns:c16="http://schemas.microsoft.com/office/drawing/2014/chart" uri="{C3380CC4-5D6E-409C-BE32-E72D297353CC}">
                <c16:uniqueId val="{0000001B-FA3E-4872-B6E1-C4ABDF5766E2}"/>
              </c:ext>
            </c:extLst>
          </c:dPt>
          <c:dPt>
            <c:idx val="13"/>
            <c:invertIfNegative val="1"/>
            <c:bubble3D val="0"/>
            <c:spPr>
              <a:solidFill>
                <a:srgbClr val="AEABAB"/>
              </a:solidFill>
            </c:spPr>
            <c:extLst>
              <c:ext xmlns:c16="http://schemas.microsoft.com/office/drawing/2014/chart" uri="{C3380CC4-5D6E-409C-BE32-E72D297353CC}">
                <c16:uniqueId val="{0000001D-FA3E-4872-B6E1-C4ABDF5766E2}"/>
              </c:ext>
            </c:extLst>
          </c:dPt>
          <c:dPt>
            <c:idx val="14"/>
            <c:invertIfNegative val="1"/>
            <c:bubble3D val="0"/>
            <c:spPr>
              <a:solidFill>
                <a:srgbClr val="AEABAB"/>
              </a:solidFill>
            </c:spPr>
            <c:extLst>
              <c:ext xmlns:c16="http://schemas.microsoft.com/office/drawing/2014/chart" uri="{C3380CC4-5D6E-409C-BE32-E72D297353CC}">
                <c16:uniqueId val="{0000001F-FA3E-4872-B6E1-C4ABDF5766E2}"/>
              </c:ext>
            </c:extLst>
          </c:dPt>
          <c:dPt>
            <c:idx val="15"/>
            <c:invertIfNegative val="1"/>
            <c:bubble3D val="0"/>
            <c:spPr>
              <a:solidFill>
                <a:srgbClr val="AEABAB"/>
              </a:solidFill>
            </c:spPr>
            <c:extLst>
              <c:ext xmlns:c16="http://schemas.microsoft.com/office/drawing/2014/chart" uri="{C3380CC4-5D6E-409C-BE32-E72D297353CC}">
                <c16:uniqueId val="{00000021-FA3E-4872-B6E1-C4ABDF5766E2}"/>
              </c:ext>
            </c:extLst>
          </c:dPt>
          <c:dPt>
            <c:idx val="16"/>
            <c:invertIfNegative val="1"/>
            <c:bubble3D val="0"/>
            <c:spPr>
              <a:solidFill>
                <a:srgbClr val="AEABAB"/>
              </a:solidFill>
            </c:spPr>
            <c:extLst>
              <c:ext xmlns:c16="http://schemas.microsoft.com/office/drawing/2014/chart" uri="{C3380CC4-5D6E-409C-BE32-E72D297353CC}">
                <c16:uniqueId val="{00000023-FA3E-4872-B6E1-C4ABDF5766E2}"/>
              </c:ext>
            </c:extLst>
          </c:dPt>
          <c:dPt>
            <c:idx val="17"/>
            <c:invertIfNegative val="1"/>
            <c:bubble3D val="0"/>
            <c:spPr>
              <a:solidFill>
                <a:srgbClr val="AEABAB"/>
              </a:solidFill>
            </c:spPr>
            <c:extLst>
              <c:ext xmlns:c16="http://schemas.microsoft.com/office/drawing/2014/chart" uri="{C3380CC4-5D6E-409C-BE32-E72D297353CC}">
                <c16:uniqueId val="{00000025-FA3E-4872-B6E1-C4ABDF5766E2}"/>
              </c:ext>
            </c:extLst>
          </c:dPt>
          <c:dPt>
            <c:idx val="18"/>
            <c:invertIfNegative val="1"/>
            <c:bubble3D val="0"/>
            <c:spPr>
              <a:solidFill>
                <a:srgbClr val="AEABAB"/>
              </a:solidFill>
            </c:spPr>
            <c:extLst>
              <c:ext xmlns:c16="http://schemas.microsoft.com/office/drawing/2014/chart" uri="{C3380CC4-5D6E-409C-BE32-E72D297353CC}">
                <c16:uniqueId val="{00000027-FA3E-4872-B6E1-C4ABDF5766E2}"/>
              </c:ext>
            </c:extLst>
          </c:dPt>
          <c:dPt>
            <c:idx val="19"/>
            <c:invertIfNegative val="1"/>
            <c:bubble3D val="0"/>
            <c:spPr>
              <a:solidFill>
                <a:srgbClr val="AEABAB"/>
              </a:solidFill>
            </c:spPr>
            <c:extLst>
              <c:ext xmlns:c16="http://schemas.microsoft.com/office/drawing/2014/chart" uri="{C3380CC4-5D6E-409C-BE32-E72D297353CC}">
                <c16:uniqueId val="{00000029-FA3E-4872-B6E1-C4ABDF5766E2}"/>
              </c:ext>
            </c:extLst>
          </c:dPt>
          <c:dPt>
            <c:idx val="20"/>
            <c:invertIfNegative val="1"/>
            <c:bubble3D val="0"/>
            <c:spPr>
              <a:solidFill>
                <a:srgbClr val="AEABAB"/>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22</c:f>
              <c:strCache>
                <c:ptCount val="21"/>
                <c:pt idx="0">
                  <c:v>CHAMPAGNE E.NICOLAS BRUT 1CT X 750ML</c:v>
                </c:pt>
                <c:pt idx="1">
                  <c:v>CHAMPAGNE E.NICOLAS ROSE 1CT X 750ML</c:v>
                </c:pt>
                <c:pt idx="2">
                  <c:v>CHAMPAGNE NICOLAS BLC/BLC BS 1CT X 750ML</c:v>
                </c:pt>
                <c:pt idx="3">
                  <c:v>CHAMPAGNE NICOLAS 1ERE CUVEE 1CT X 750ML</c:v>
                </c:pt>
                <c:pt idx="4">
                  <c:v>MG CHAMPAGNE E.NICOLAS BRUT 1CT X 1500ML</c:v>
                </c:pt>
                <c:pt idx="5">
                  <c:v>1/2 CHAMPAGNE NICOLAS 1ERE CUV 1CT X 375ML</c:v>
                </c:pt>
                <c:pt idx="6">
                  <c:v>MG CHAMPAGNE NICOLAS BLC/BL BS 1CT X 1500ML</c:v>
                </c:pt>
                <c:pt idx="7">
                  <c:v>CHAMPAGNE NICOLAS ROSE 1ERE CU 1CT X 750ML</c:v>
                </c:pt>
                <c:pt idx="8">
                  <c:v>CHAMPAGNE NICOLAS BIO NAT 2017 1CT X 750ML</c:v>
                </c:pt>
                <c:pt idx="9">
                  <c:v>1/2 CHAMP NICOLAS ROSE 1E C BS 1CT X 375ML</c:v>
                </c:pt>
                <c:pt idx="10">
                  <c:v>1/2 CHAMP NICOLAS BLC/BLC BS 1CT X 375ML</c:v>
                </c:pt>
                <c:pt idx="11">
                  <c:v>CHAMPAGNE NICOLAS BLC DE NOIRS 1CT X 750ML</c:v>
                </c:pt>
                <c:pt idx="12">
                  <c:v>MG CHAMPAGNE NICOLAS 1ERE CUVE 1CT X 1500ML</c:v>
                </c:pt>
                <c:pt idx="13">
                  <c:v>CHAMPAGNE NICOLAS 1ER CRU BS 1CT X 750ML</c:v>
                </c:pt>
                <c:pt idx="14">
                  <c:v>CHAMPAGNE NICOLAS 1ER CRU ETUI 1CT X 750ML</c:v>
                </c:pt>
                <c:pt idx="15">
                  <c:v>CHAMPAGNE NICOLAS ROSE 1ERE ET 1CT X 750ML</c:v>
                </c:pt>
                <c:pt idx="16">
                  <c:v>CHAMPAGNE NICOLAS ROSE 1E C BS 1CT X 750ML</c:v>
                </c:pt>
                <c:pt idx="17">
                  <c:v>CHAMPAGNE NICOLAS 1ERE CUV ETU 1CT X 750ML</c:v>
                </c:pt>
                <c:pt idx="18">
                  <c:v>CHAMPAGNE NICOLAS BLC/BL BS ET 1CT X 750ML</c:v>
                </c:pt>
                <c:pt idx="19">
                  <c:v>MG CHAMPAGNE NICOLAS 1E CRU BS 1CT X 1500ML</c:v>
                </c:pt>
                <c:pt idx="20">
                  <c:v>1/2 CHAMPAGNE NICOLAS 1E C BS 1CT X 375ML</c:v>
                </c:pt>
              </c:strCache>
            </c:strRef>
          </c:cat>
          <c:val>
            <c:numRef>
              <c:f>Sheet1!$C$2:$C$22</c:f>
              <c:numCache>
                <c:formatCode>General</c:formatCode>
                <c:ptCount val="21"/>
                <c:pt idx="0">
                  <c:v>0.64727987449735835</c:v>
                </c:pt>
                <c:pt idx="1">
                  <c:v>0.70919090466487555</c:v>
                </c:pt>
                <c:pt idx="2">
                  <c:v>0.76955118380006138</c:v>
                </c:pt>
                <c:pt idx="3">
                  <c:v>0.8269686423715672</c:v>
                </c:pt>
                <c:pt idx="4">
                  <c:v>0.86152153921055952</c:v>
                </c:pt>
                <c:pt idx="5">
                  <c:v>0.8828533818994897</c:v>
                </c:pt>
                <c:pt idx="6">
                  <c:v>0.90052112447481836</c:v>
                </c:pt>
                <c:pt idx="7">
                  <c:v>0.91597814522963739</c:v>
                </c:pt>
                <c:pt idx="8">
                  <c:v>0.92845988784102995</c:v>
                </c:pt>
                <c:pt idx="9">
                  <c:v>0.93965414645581258</c:v>
                </c:pt>
                <c:pt idx="10">
                  <c:v>0.95072578754710857</c:v>
                </c:pt>
                <c:pt idx="11">
                  <c:v>0.96175054546765959</c:v>
                </c:pt>
                <c:pt idx="12">
                  <c:v>0.97269596263771929</c:v>
                </c:pt>
                <c:pt idx="13">
                  <c:v>0.98245848134590763</c:v>
                </c:pt>
                <c:pt idx="14">
                  <c:v>0.98733793750112697</c:v>
                </c:pt>
                <c:pt idx="15">
                  <c:v>0.9911715383089601</c:v>
                </c:pt>
                <c:pt idx="16">
                  <c:v>0.99437041311286223</c:v>
                </c:pt>
                <c:pt idx="17">
                  <c:v>0.99715094577780983</c:v>
                </c:pt>
                <c:pt idx="18">
                  <c:v>0.99855022810465766</c:v>
                </c:pt>
                <c:pt idx="19">
                  <c:v>0.99992065924950857</c:v>
                </c:pt>
                <c:pt idx="20">
                  <c:v>0.99999999999999989</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22</c:f>
              <c:strCache>
                <c:ptCount val="21"/>
                <c:pt idx="0">
                  <c:v>CHAMPAGNE E.NICOLAS BRUT 1CT X 750ML</c:v>
                </c:pt>
                <c:pt idx="1">
                  <c:v>CHAMPAGNE E.NICOLAS ROSE 1CT X 750ML</c:v>
                </c:pt>
                <c:pt idx="2">
                  <c:v>CHAMPAGNE NICOLAS BLC/BLC BS 1CT X 750ML</c:v>
                </c:pt>
                <c:pt idx="3">
                  <c:v>CHAMPAGNE NICOLAS 1ERE CUVEE 1CT X 750ML</c:v>
                </c:pt>
                <c:pt idx="4">
                  <c:v>MG CHAMPAGNE E.NICOLAS BRUT 1CT X 1500ML</c:v>
                </c:pt>
                <c:pt idx="5">
                  <c:v>1/2 CHAMPAGNE NICOLAS 1ERE CUV 1CT X 375ML</c:v>
                </c:pt>
                <c:pt idx="6">
                  <c:v>MG CHAMPAGNE NICOLAS BLC/BL BS 1CT X 1500ML</c:v>
                </c:pt>
                <c:pt idx="7">
                  <c:v>CHAMPAGNE NICOLAS ROSE 1ERE CU 1CT X 750ML</c:v>
                </c:pt>
                <c:pt idx="8">
                  <c:v>CHAMPAGNE NICOLAS BIO NAT 2017 1CT X 750ML</c:v>
                </c:pt>
                <c:pt idx="9">
                  <c:v>1/2 CHAMP NICOLAS ROSE 1E C BS 1CT X 375ML</c:v>
                </c:pt>
                <c:pt idx="10">
                  <c:v>1/2 CHAMP NICOLAS BLC/BLC BS 1CT X 375ML</c:v>
                </c:pt>
                <c:pt idx="11">
                  <c:v>CHAMPAGNE NICOLAS BLC DE NOIRS 1CT X 750ML</c:v>
                </c:pt>
                <c:pt idx="12">
                  <c:v>MG CHAMPAGNE NICOLAS 1ERE CUVE 1CT X 1500ML</c:v>
                </c:pt>
                <c:pt idx="13">
                  <c:v>CHAMPAGNE NICOLAS 1ER CRU BS 1CT X 750ML</c:v>
                </c:pt>
                <c:pt idx="14">
                  <c:v>CHAMPAGNE NICOLAS 1ER CRU ETUI 1CT X 750ML</c:v>
                </c:pt>
                <c:pt idx="15">
                  <c:v>CHAMPAGNE NICOLAS ROSE 1ERE ET 1CT X 750ML</c:v>
                </c:pt>
                <c:pt idx="16">
                  <c:v>CHAMPAGNE NICOLAS ROSE 1E C BS 1CT X 750ML</c:v>
                </c:pt>
                <c:pt idx="17">
                  <c:v>CHAMPAGNE NICOLAS 1ERE CUV ETU 1CT X 750ML</c:v>
                </c:pt>
                <c:pt idx="18">
                  <c:v>CHAMPAGNE NICOLAS BLC/BL BS ET 1CT X 750ML</c:v>
                </c:pt>
                <c:pt idx="19">
                  <c:v>MG CHAMPAGNE NICOLAS 1E CRU BS 1CT X 1500ML</c:v>
                </c:pt>
                <c:pt idx="20">
                  <c:v>1/2 CHAMPAGNE NICOLAS 1E C BS 1CT X 375ML</c:v>
                </c:pt>
              </c:strCache>
            </c:strRef>
          </c:cat>
          <c:val>
            <c:numRef>
              <c:f>Sheet1!$D$2:$D$22</c:f>
              <c:numCache>
                <c:formatCode>General</c:formatCode>
                <c:ptCount val="21"/>
                <c:pt idx="0">
                  <c:v>1794.81</c:v>
                </c:pt>
                <c:pt idx="1">
                  <c:v>238.43055555555554</c:v>
                </c:pt>
                <c:pt idx="2">
                  <c:v>265.66666666666669</c:v>
                </c:pt>
                <c:pt idx="3">
                  <c:v>221.125</c:v>
                </c:pt>
                <c:pt idx="4">
                  <c:v>239.52500000000001</c:v>
                </c:pt>
                <c:pt idx="5">
                  <c:v>105.62499999999999</c:v>
                </c:pt>
                <c:pt idx="6">
                  <c:v>181.44444444444446</c:v>
                </c:pt>
                <c:pt idx="7">
                  <c:v>85.72</c:v>
                </c:pt>
                <c:pt idx="8">
                  <c:v>133.11538461538461</c:v>
                </c:pt>
                <c:pt idx="9">
                  <c:v>66.042553191489361</c:v>
                </c:pt>
                <c:pt idx="10">
                  <c:v>93.030303030303031</c:v>
                </c:pt>
                <c:pt idx="11">
                  <c:v>92.63636363636364</c:v>
                </c:pt>
                <c:pt idx="12">
                  <c:v>216.78571428571425</c:v>
                </c:pt>
                <c:pt idx="13">
                  <c:v>82.030303030303031</c:v>
                </c:pt>
                <c:pt idx="14">
                  <c:v>61.5</c:v>
                </c:pt>
                <c:pt idx="15">
                  <c:v>88.583333333333329</c:v>
                </c:pt>
                <c:pt idx="16">
                  <c:v>68.230769230769226</c:v>
                </c:pt>
                <c:pt idx="17">
                  <c:v>85.666666666666671</c:v>
                </c:pt>
                <c:pt idx="18">
                  <c:v>77.599999999999994</c:v>
                </c:pt>
                <c:pt idx="19">
                  <c:v>63.333333333333336</c:v>
                </c:pt>
                <c:pt idx="20">
                  <c:v>22</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22</c:f>
              <c:strCache>
                <c:ptCount val="21"/>
                <c:pt idx="0">
                  <c:v>CHAMPAGNE E.NICOLAS BRUT 1CT X 750ML</c:v>
                </c:pt>
                <c:pt idx="1">
                  <c:v>CHAMPAGNE E.NICOLAS ROSE 1CT X 750ML</c:v>
                </c:pt>
                <c:pt idx="2">
                  <c:v>CHAMPAGNE NICOLAS 1ERE CUVEE 1CT X 750ML</c:v>
                </c:pt>
                <c:pt idx="3">
                  <c:v>CHAMPAGNE NICOLAS BLC/BLC BS 1CT X 750ML</c:v>
                </c:pt>
                <c:pt idx="4">
                  <c:v>1/2 CHAMPAGNE NICOLAS 1ERE CUV 1CT X 375ML</c:v>
                </c:pt>
                <c:pt idx="5">
                  <c:v>MG CHAMPAGNE E.NICOLAS BRUT 1CT X 1500ML</c:v>
                </c:pt>
                <c:pt idx="6">
                  <c:v>CHAMPAGNE NICOLAS ROSE 1ERE CU 1CT X 750ML</c:v>
                </c:pt>
                <c:pt idx="7">
                  <c:v>CHAMPAGNE NICOLAS 1ER CRU BS 1CT X 750ML</c:v>
                </c:pt>
                <c:pt idx="8">
                  <c:v>CHAMPAGNE NICOLAS BIO NAT 2017 1CT X 750ML</c:v>
                </c:pt>
                <c:pt idx="9">
                  <c:v>MG CHAMPAGNE NICOLAS BLC/BL BS 1CT X 1500ML</c:v>
                </c:pt>
                <c:pt idx="10">
                  <c:v>MG CHAMPAGNE NICOLAS 1ERE CUVE 1CT X 1500ML</c:v>
                </c:pt>
                <c:pt idx="11">
                  <c:v>1/2 CHAMP NICOLAS BLC/BLC BS 1CT X 375ML</c:v>
                </c:pt>
                <c:pt idx="12">
                  <c:v>1/2 CHAMP NICOLAS ROSE 1E C BS 1CT X 375ML</c:v>
                </c:pt>
                <c:pt idx="13">
                  <c:v>CHAMPAGNE NICOLAS ROSE 1E C BS 1CT X 750ML</c:v>
                </c:pt>
                <c:pt idx="14">
                  <c:v>MG CHAMPAGNE NICOLAS 1E CRU BS 1CT X 1500ML</c:v>
                </c:pt>
                <c:pt idx="15">
                  <c:v>CHAMPAGNE NICOLAS 1ER CRU ETUI 1CT X 750ML</c:v>
                </c:pt>
                <c:pt idx="16">
                  <c:v>CHAMPAGNE NICOLAS BLC DE NOIRS 1CT X 750ML</c:v>
                </c:pt>
                <c:pt idx="17">
                  <c:v>CHAMPAGNE NICOLAS 1ERE CUV ETU 1CT X 750ML</c:v>
                </c:pt>
                <c:pt idx="18">
                  <c:v>CHAMPAGNE NICOLAS ROSE 1ERE ET 1CT X 750ML</c:v>
                </c:pt>
                <c:pt idx="19">
                  <c:v>1/2 CHAMPAGNE NICOLAS 1E C BS 1CT X 375ML</c:v>
                </c:pt>
                <c:pt idx="20">
                  <c:v>CHAMPAGNE NICOLAS BLC/BL BS ET 1CT X 750ML</c:v>
                </c:pt>
              </c:strCache>
            </c:strRef>
          </c:cat>
          <c:val>
            <c:numRef>
              <c:f>Sheet1!$B$2:$B$22</c:f>
              <c:numCache>
                <c:formatCode>General</c:formatCode>
                <c:ptCount val="21"/>
                <c:pt idx="0">
                  <c:v>1</c:v>
                </c:pt>
                <c:pt idx="1">
                  <c:v>0.68</c:v>
                </c:pt>
                <c:pt idx="2">
                  <c:v>0.83</c:v>
                </c:pt>
                <c:pt idx="3">
                  <c:v>0.56000000000000005</c:v>
                </c:pt>
                <c:pt idx="4">
                  <c:v>0.51</c:v>
                </c:pt>
                <c:pt idx="5">
                  <c:v>0.36</c:v>
                </c:pt>
                <c:pt idx="6">
                  <c:v>0.47</c:v>
                </c:pt>
                <c:pt idx="7">
                  <c:v>0.38</c:v>
                </c:pt>
                <c:pt idx="8">
                  <c:v>0.28000000000000003</c:v>
                </c:pt>
                <c:pt idx="9">
                  <c:v>0.16</c:v>
                </c:pt>
                <c:pt idx="10">
                  <c:v>0.18</c:v>
                </c:pt>
                <c:pt idx="11">
                  <c:v>0.32</c:v>
                </c:pt>
                <c:pt idx="12">
                  <c:v>0.46</c:v>
                </c:pt>
                <c:pt idx="13">
                  <c:v>0.13</c:v>
                </c:pt>
                <c:pt idx="14">
                  <c:v>0.13</c:v>
                </c:pt>
                <c:pt idx="15">
                  <c:v>0.13</c:v>
                </c:pt>
                <c:pt idx="16">
                  <c:v>0.05</c:v>
                </c:pt>
                <c:pt idx="17">
                  <c:v>0.22</c:v>
                </c:pt>
                <c:pt idx="18">
                  <c:v>0.1</c:v>
                </c:pt>
                <c:pt idx="19">
                  <c:v>0.08</c:v>
                </c:pt>
                <c:pt idx="20">
                  <c:v>0.03</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7ECAC4"/>
              </a:solidFill>
            </c:spPr>
            <c:extLst>
              <c:ext xmlns:c16="http://schemas.microsoft.com/office/drawing/2014/chart" uri="{C3380CC4-5D6E-409C-BE32-E72D297353CC}">
                <c16:uniqueId val="{00000008-D8F4-40C6-A5E0-DB4B53CFB1F3}"/>
              </c:ext>
            </c:extLst>
          </c:dPt>
          <c:dPt>
            <c:idx val="2"/>
            <c:invertIfNegative val="0"/>
            <c:bubble3D val="0"/>
            <c:spPr>
              <a:solidFill>
                <a:srgbClr val="7ECAC4"/>
              </a:solidFill>
            </c:spPr>
            <c:extLst>
              <c:ext xmlns:c16="http://schemas.microsoft.com/office/drawing/2014/chart" uri="{C3380CC4-5D6E-409C-BE32-E72D297353CC}">
                <c16:uniqueId val="{00000006-E902-46E2-9A54-39A26B3DFDC1}"/>
              </c:ext>
            </c:extLst>
          </c:dPt>
          <c:dPt>
            <c:idx val="3"/>
            <c:invertIfNegative val="0"/>
            <c:bubble3D val="0"/>
            <c:spPr>
              <a:solidFill>
                <a:srgbClr val="7ECAC4"/>
              </a:solidFill>
            </c:spPr>
            <c:extLst>
              <c:ext xmlns:c16="http://schemas.microsoft.com/office/drawing/2014/chart" uri="{C3380CC4-5D6E-409C-BE32-E72D297353CC}">
                <c16:uniqueId val="{00000007-E902-46E2-9A54-39A26B3DFDC1}"/>
              </c:ext>
            </c:extLst>
          </c:dPt>
          <c:dPt>
            <c:idx val="4"/>
            <c:invertIfNegative val="1"/>
            <c:bubble3D val="0"/>
            <c:spPr>
              <a:solidFill>
                <a:srgbClr val="7ECAC4"/>
              </a:solidFill>
            </c:spPr>
            <c:extLst>
              <c:ext xmlns:c16="http://schemas.microsoft.com/office/drawing/2014/chart" uri="{C3380CC4-5D6E-409C-BE32-E72D297353CC}">
                <c16:uniqueId val="{0000000B-FA3E-4872-B6E1-C4ABDF5766E2}"/>
              </c:ext>
            </c:extLst>
          </c:dPt>
          <c:dPt>
            <c:idx val="5"/>
            <c:invertIfNegative val="1"/>
            <c:bubble3D val="0"/>
            <c:spPr>
              <a:solidFill>
                <a:srgbClr val="7ECAC4"/>
              </a:solidFill>
            </c:spPr>
            <c:extLst>
              <c:ext xmlns:c16="http://schemas.microsoft.com/office/drawing/2014/chart" uri="{C3380CC4-5D6E-409C-BE32-E72D297353CC}">
                <c16:uniqueId val="{0000000D-FA3E-4872-B6E1-C4ABDF5766E2}"/>
              </c:ext>
            </c:extLst>
          </c:dPt>
          <c:dPt>
            <c:idx val="6"/>
            <c:invertIfNegative val="1"/>
            <c:bubble3D val="0"/>
            <c:spPr>
              <a:solidFill>
                <a:srgbClr val="7ECAC4"/>
              </a:solidFill>
            </c:spPr>
            <c:extLst>
              <c:ext xmlns:c16="http://schemas.microsoft.com/office/drawing/2014/chart" uri="{C3380CC4-5D6E-409C-BE32-E72D297353CC}">
                <c16:uniqueId val="{0000000F-FA3E-4872-B6E1-C4ABDF5766E2}"/>
              </c:ext>
            </c:extLst>
          </c:dPt>
          <c:dPt>
            <c:idx val="7"/>
            <c:invertIfNegative val="1"/>
            <c:bubble3D val="0"/>
            <c:spPr>
              <a:solidFill>
                <a:srgbClr val="AEABAB"/>
              </a:solidFill>
            </c:spPr>
            <c:extLst>
              <c:ext xmlns:c16="http://schemas.microsoft.com/office/drawing/2014/chart" uri="{C3380CC4-5D6E-409C-BE32-E72D297353CC}">
                <c16:uniqueId val="{00000011-FA3E-4872-B6E1-C4ABDF5766E2}"/>
              </c:ext>
            </c:extLst>
          </c:dPt>
          <c:dPt>
            <c:idx val="8"/>
            <c:invertIfNegative val="1"/>
            <c:bubble3D val="0"/>
            <c:spPr>
              <a:solidFill>
                <a:srgbClr val="AEABAB"/>
              </a:solidFill>
            </c:spPr>
            <c:extLst>
              <c:ext xmlns:c16="http://schemas.microsoft.com/office/drawing/2014/chart" uri="{C3380CC4-5D6E-409C-BE32-E72D297353CC}">
                <c16:uniqueId val="{00000013-FA3E-4872-B6E1-C4ABDF5766E2}"/>
              </c:ext>
            </c:extLst>
          </c:dPt>
          <c:dPt>
            <c:idx val="9"/>
            <c:invertIfNegative val="1"/>
            <c:bubble3D val="0"/>
            <c:spPr>
              <a:solidFill>
                <a:srgbClr val="AEABAB"/>
              </a:solidFill>
            </c:spPr>
            <c:extLst>
              <c:ext xmlns:c16="http://schemas.microsoft.com/office/drawing/2014/chart" uri="{C3380CC4-5D6E-409C-BE32-E72D297353CC}">
                <c16:uniqueId val="{00000015-FA3E-4872-B6E1-C4ABDF5766E2}"/>
              </c:ext>
            </c:extLst>
          </c:dPt>
          <c:dPt>
            <c:idx val="10"/>
            <c:invertIfNegative val="1"/>
            <c:bubble3D val="0"/>
            <c:spPr>
              <a:solidFill>
                <a:srgbClr val="AEABAB"/>
              </a:solidFill>
            </c:spPr>
            <c:extLst>
              <c:ext xmlns:c16="http://schemas.microsoft.com/office/drawing/2014/chart" uri="{C3380CC4-5D6E-409C-BE32-E72D297353CC}">
                <c16:uniqueId val="{00000017-FA3E-4872-B6E1-C4ABDF5766E2}"/>
              </c:ext>
            </c:extLst>
          </c:dPt>
          <c:dPt>
            <c:idx val="11"/>
            <c:invertIfNegative val="1"/>
            <c:bubble3D val="0"/>
            <c:spPr>
              <a:solidFill>
                <a:srgbClr val="AEABAB"/>
              </a:solidFill>
            </c:spPr>
            <c:extLst>
              <c:ext xmlns:c16="http://schemas.microsoft.com/office/drawing/2014/chart" uri="{C3380CC4-5D6E-409C-BE32-E72D297353CC}">
                <c16:uniqueId val="{00000019-FA3E-4872-B6E1-C4ABDF5766E2}"/>
              </c:ext>
            </c:extLst>
          </c:dPt>
          <c:dPt>
            <c:idx val="12"/>
            <c:invertIfNegative val="1"/>
            <c:bubble3D val="0"/>
            <c:spPr>
              <a:solidFill>
                <a:srgbClr val="AEABAB"/>
              </a:solidFill>
            </c:spPr>
            <c:extLst>
              <c:ext xmlns:c16="http://schemas.microsoft.com/office/drawing/2014/chart" uri="{C3380CC4-5D6E-409C-BE32-E72D297353CC}">
                <c16:uniqueId val="{0000001B-FA3E-4872-B6E1-C4ABDF5766E2}"/>
              </c:ext>
            </c:extLst>
          </c:dPt>
          <c:dPt>
            <c:idx val="13"/>
            <c:invertIfNegative val="1"/>
            <c:bubble3D val="0"/>
            <c:spPr>
              <a:solidFill>
                <a:srgbClr val="AEABAB"/>
              </a:solidFill>
            </c:spPr>
            <c:extLst>
              <c:ext xmlns:c16="http://schemas.microsoft.com/office/drawing/2014/chart" uri="{C3380CC4-5D6E-409C-BE32-E72D297353CC}">
                <c16:uniqueId val="{0000001D-FA3E-4872-B6E1-C4ABDF5766E2}"/>
              </c:ext>
            </c:extLst>
          </c:dPt>
          <c:dPt>
            <c:idx val="14"/>
            <c:invertIfNegative val="1"/>
            <c:bubble3D val="0"/>
            <c:spPr>
              <a:solidFill>
                <a:srgbClr val="AEABAB"/>
              </a:solidFill>
            </c:spPr>
            <c:extLst>
              <c:ext xmlns:c16="http://schemas.microsoft.com/office/drawing/2014/chart" uri="{C3380CC4-5D6E-409C-BE32-E72D297353CC}">
                <c16:uniqueId val="{0000001F-FA3E-4872-B6E1-C4ABDF5766E2}"/>
              </c:ext>
            </c:extLst>
          </c:dPt>
          <c:dPt>
            <c:idx val="15"/>
            <c:invertIfNegative val="1"/>
            <c:bubble3D val="0"/>
            <c:spPr>
              <a:solidFill>
                <a:srgbClr val="AEABAB"/>
              </a:solidFill>
            </c:spPr>
            <c:extLst>
              <c:ext xmlns:c16="http://schemas.microsoft.com/office/drawing/2014/chart" uri="{C3380CC4-5D6E-409C-BE32-E72D297353CC}">
                <c16:uniqueId val="{00000021-FA3E-4872-B6E1-C4ABDF5766E2}"/>
              </c:ext>
            </c:extLst>
          </c:dPt>
          <c:dPt>
            <c:idx val="16"/>
            <c:invertIfNegative val="1"/>
            <c:bubble3D val="0"/>
            <c:spPr>
              <a:solidFill>
                <a:srgbClr val="AEABAB"/>
              </a:solidFill>
            </c:spPr>
            <c:extLst>
              <c:ext xmlns:c16="http://schemas.microsoft.com/office/drawing/2014/chart" uri="{C3380CC4-5D6E-409C-BE32-E72D297353CC}">
                <c16:uniqueId val="{00000023-FA3E-4872-B6E1-C4ABDF5766E2}"/>
              </c:ext>
            </c:extLst>
          </c:dPt>
          <c:dPt>
            <c:idx val="17"/>
            <c:invertIfNegative val="1"/>
            <c:bubble3D val="0"/>
            <c:spPr>
              <a:solidFill>
                <a:srgbClr val="AEABAB"/>
              </a:solidFill>
            </c:spPr>
            <c:extLst>
              <c:ext xmlns:c16="http://schemas.microsoft.com/office/drawing/2014/chart" uri="{C3380CC4-5D6E-409C-BE32-E72D297353CC}">
                <c16:uniqueId val="{00000025-FA3E-4872-B6E1-C4ABDF5766E2}"/>
              </c:ext>
            </c:extLst>
          </c:dPt>
          <c:dPt>
            <c:idx val="18"/>
            <c:invertIfNegative val="1"/>
            <c:bubble3D val="0"/>
            <c:spPr>
              <a:solidFill>
                <a:srgbClr val="AEABAB"/>
              </a:solidFill>
            </c:spPr>
            <c:extLst>
              <c:ext xmlns:c16="http://schemas.microsoft.com/office/drawing/2014/chart" uri="{C3380CC4-5D6E-409C-BE32-E72D297353CC}">
                <c16:uniqueId val="{00000027-FA3E-4872-B6E1-C4ABDF5766E2}"/>
              </c:ext>
            </c:extLst>
          </c:dPt>
          <c:dPt>
            <c:idx val="19"/>
            <c:invertIfNegative val="1"/>
            <c:bubble3D val="0"/>
            <c:spPr>
              <a:solidFill>
                <a:srgbClr val="AEABAB"/>
              </a:solidFill>
            </c:spPr>
            <c:extLst>
              <c:ext xmlns:c16="http://schemas.microsoft.com/office/drawing/2014/chart" uri="{C3380CC4-5D6E-409C-BE32-E72D297353CC}">
                <c16:uniqueId val="{00000029-FA3E-4872-B6E1-C4ABDF5766E2}"/>
              </c:ext>
            </c:extLst>
          </c:dPt>
          <c:dPt>
            <c:idx val="20"/>
            <c:invertIfNegative val="1"/>
            <c:bubble3D val="0"/>
            <c:spPr>
              <a:solidFill>
                <a:srgbClr val="AEABAB"/>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22</c:f>
              <c:strCache>
                <c:ptCount val="21"/>
                <c:pt idx="0">
                  <c:v>CHAMPAGNE E.NICOLAS BRUT 1CT X 750ML</c:v>
                </c:pt>
                <c:pt idx="1">
                  <c:v>CHAMPAGNE E.NICOLAS ROSE 1CT X 750ML</c:v>
                </c:pt>
                <c:pt idx="2">
                  <c:v>CHAMPAGNE NICOLAS 1ERE CUVEE 1CT X 750ML</c:v>
                </c:pt>
                <c:pt idx="3">
                  <c:v>CHAMPAGNE NICOLAS BLC/BLC BS 1CT X 750ML</c:v>
                </c:pt>
                <c:pt idx="4">
                  <c:v>1/2 CHAMPAGNE NICOLAS 1ERE CUV 1CT X 375ML</c:v>
                </c:pt>
                <c:pt idx="5">
                  <c:v>MG CHAMPAGNE E.NICOLAS BRUT 1CT X 1500ML</c:v>
                </c:pt>
                <c:pt idx="6">
                  <c:v>CHAMPAGNE NICOLAS ROSE 1ERE CU 1CT X 750ML</c:v>
                </c:pt>
                <c:pt idx="7">
                  <c:v>CHAMPAGNE NICOLAS 1ER CRU BS 1CT X 750ML</c:v>
                </c:pt>
                <c:pt idx="8">
                  <c:v>CHAMPAGNE NICOLAS BIO NAT 2017 1CT X 750ML</c:v>
                </c:pt>
                <c:pt idx="9">
                  <c:v>MG CHAMPAGNE NICOLAS BLC/BL BS 1CT X 1500ML</c:v>
                </c:pt>
                <c:pt idx="10">
                  <c:v>MG CHAMPAGNE NICOLAS 1ERE CUVE 1CT X 1500ML</c:v>
                </c:pt>
                <c:pt idx="11">
                  <c:v>1/2 CHAMP NICOLAS BLC/BLC BS 1CT X 375ML</c:v>
                </c:pt>
                <c:pt idx="12">
                  <c:v>1/2 CHAMP NICOLAS ROSE 1E C BS 1CT X 375ML</c:v>
                </c:pt>
                <c:pt idx="13">
                  <c:v>CHAMPAGNE NICOLAS ROSE 1E C BS 1CT X 750ML</c:v>
                </c:pt>
                <c:pt idx="14">
                  <c:v>MG CHAMPAGNE NICOLAS 1E CRU BS 1CT X 1500ML</c:v>
                </c:pt>
                <c:pt idx="15">
                  <c:v>CHAMPAGNE NICOLAS 1ER CRU ETUI 1CT X 750ML</c:v>
                </c:pt>
                <c:pt idx="16">
                  <c:v>CHAMPAGNE NICOLAS BLC DE NOIRS 1CT X 750ML</c:v>
                </c:pt>
                <c:pt idx="17">
                  <c:v>CHAMPAGNE NICOLAS 1ERE CUV ETU 1CT X 750ML</c:v>
                </c:pt>
                <c:pt idx="18">
                  <c:v>CHAMPAGNE NICOLAS ROSE 1ERE ET 1CT X 750ML</c:v>
                </c:pt>
                <c:pt idx="19">
                  <c:v>1/2 CHAMPAGNE NICOLAS 1E C BS 1CT X 375ML</c:v>
                </c:pt>
                <c:pt idx="20">
                  <c:v>CHAMPAGNE NICOLAS BLC/BL BS ET 1CT X 750ML</c:v>
                </c:pt>
              </c:strCache>
            </c:strRef>
          </c:cat>
          <c:val>
            <c:numRef>
              <c:f>Sheet1!$C$2:$C$22</c:f>
              <c:numCache>
                <c:formatCode>General</c:formatCode>
                <c:ptCount val="21"/>
                <c:pt idx="0">
                  <c:v>0.76326008582099925</c:v>
                </c:pt>
                <c:pt idx="1">
                  <c:v>0.81535973456658539</c:v>
                </c:pt>
                <c:pt idx="2">
                  <c:v>0.86466046951315578</c:v>
                </c:pt>
                <c:pt idx="3">
                  <c:v>0.90558299891565253</c:v>
                </c:pt>
                <c:pt idx="4">
                  <c:v>0.92289085162976481</c:v>
                </c:pt>
                <c:pt idx="5">
                  <c:v>0.9383590209362459</c:v>
                </c:pt>
                <c:pt idx="6">
                  <c:v>0.94707087183384453</c:v>
                </c:pt>
                <c:pt idx="7">
                  <c:v>0.95506445842871568</c:v>
                </c:pt>
                <c:pt idx="8">
                  <c:v>0.96274293552303536</c:v>
                </c:pt>
                <c:pt idx="9">
                  <c:v>0.96951315582164799</c:v>
                </c:pt>
                <c:pt idx="10">
                  <c:v>0.97548170047915173</c:v>
                </c:pt>
                <c:pt idx="11">
                  <c:v>0.98135756587178746</c:v>
                </c:pt>
                <c:pt idx="12">
                  <c:v>0.98678393682981302</c:v>
                </c:pt>
                <c:pt idx="13">
                  <c:v>0.99020843566668826</c:v>
                </c:pt>
                <c:pt idx="14">
                  <c:v>0.99335489670895927</c:v>
                </c:pt>
                <c:pt idx="15">
                  <c:v>0.99573211985282528</c:v>
                </c:pt>
                <c:pt idx="16">
                  <c:v>0.99755790137072631</c:v>
                </c:pt>
                <c:pt idx="17">
                  <c:v>0.99894809034374732</c:v>
                </c:pt>
                <c:pt idx="18">
                  <c:v>0.99951806782268593</c:v>
                </c:pt>
                <c:pt idx="19">
                  <c:v>0.99982390939675059</c:v>
                </c:pt>
                <c:pt idx="20">
                  <c:v>0.99999999999999989</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22</c:f>
              <c:strCache>
                <c:ptCount val="21"/>
                <c:pt idx="0">
                  <c:v>CHAMPAGNE E.NICOLAS BRUT 1CT X 750ML</c:v>
                </c:pt>
                <c:pt idx="1">
                  <c:v>CHAMPAGNE E.NICOLAS ROSE 1CT X 750ML</c:v>
                </c:pt>
                <c:pt idx="2">
                  <c:v>CHAMPAGNE NICOLAS 1ERE CUVEE 1CT X 750ML</c:v>
                </c:pt>
                <c:pt idx="3">
                  <c:v>CHAMPAGNE NICOLAS BLC/BLC BS 1CT X 750ML</c:v>
                </c:pt>
                <c:pt idx="4">
                  <c:v>1/2 CHAMPAGNE NICOLAS 1ERE CUV 1CT X 375ML</c:v>
                </c:pt>
                <c:pt idx="5">
                  <c:v>MG CHAMPAGNE E.NICOLAS BRUT 1CT X 1500ML</c:v>
                </c:pt>
                <c:pt idx="6">
                  <c:v>CHAMPAGNE NICOLAS ROSE 1ERE CU 1CT X 750ML</c:v>
                </c:pt>
                <c:pt idx="7">
                  <c:v>CHAMPAGNE NICOLAS 1ER CRU BS 1CT X 750ML</c:v>
                </c:pt>
                <c:pt idx="8">
                  <c:v>CHAMPAGNE NICOLAS BIO NAT 2017 1CT X 750ML</c:v>
                </c:pt>
                <c:pt idx="9">
                  <c:v>MG CHAMPAGNE NICOLAS BLC/BL BS 1CT X 1500ML</c:v>
                </c:pt>
                <c:pt idx="10">
                  <c:v>MG CHAMPAGNE NICOLAS 1ERE CUVE 1CT X 1500ML</c:v>
                </c:pt>
                <c:pt idx="11">
                  <c:v>1/2 CHAMP NICOLAS BLC/BLC BS 1CT X 375ML</c:v>
                </c:pt>
                <c:pt idx="12">
                  <c:v>1/2 CHAMP NICOLAS ROSE 1E C BS 1CT X 375ML</c:v>
                </c:pt>
                <c:pt idx="13">
                  <c:v>CHAMPAGNE NICOLAS ROSE 1E C BS 1CT X 750ML</c:v>
                </c:pt>
                <c:pt idx="14">
                  <c:v>MG CHAMPAGNE NICOLAS 1E CRU BS 1CT X 1500ML</c:v>
                </c:pt>
                <c:pt idx="15">
                  <c:v>CHAMPAGNE NICOLAS 1ER CRU ETUI 1CT X 750ML</c:v>
                </c:pt>
                <c:pt idx="16">
                  <c:v>CHAMPAGNE NICOLAS BLC DE NOIRS 1CT X 750ML</c:v>
                </c:pt>
                <c:pt idx="17">
                  <c:v>CHAMPAGNE NICOLAS 1ERE CUV ETU 1CT X 750ML</c:v>
                </c:pt>
                <c:pt idx="18">
                  <c:v>CHAMPAGNE NICOLAS ROSE 1ERE ET 1CT X 750ML</c:v>
                </c:pt>
                <c:pt idx="19">
                  <c:v>1/2 CHAMPAGNE NICOLAS 1E C BS 1CT X 375ML</c:v>
                </c:pt>
                <c:pt idx="20">
                  <c:v>CHAMPAGNE NICOLAS BLC/BL BS ET 1CT X 750ML</c:v>
                </c:pt>
              </c:strCache>
            </c:strRef>
          </c:cat>
          <c:val>
            <c:numRef>
              <c:f>Sheet1!$D$2:$D$22</c:f>
              <c:numCache>
                <c:formatCode>General</c:formatCode>
                <c:ptCount val="21"/>
                <c:pt idx="0">
                  <c:v>1647.1</c:v>
                </c:pt>
                <c:pt idx="1">
                  <c:v>165.33823529411765</c:v>
                </c:pt>
                <c:pt idx="2">
                  <c:v>128.18072289156626</c:v>
                </c:pt>
                <c:pt idx="3">
                  <c:v>157.69642857142856</c:v>
                </c:pt>
                <c:pt idx="4">
                  <c:v>73.235294117647058</c:v>
                </c:pt>
                <c:pt idx="5">
                  <c:v>92.722222222222229</c:v>
                </c:pt>
                <c:pt idx="6">
                  <c:v>40</c:v>
                </c:pt>
                <c:pt idx="7">
                  <c:v>45.39473684210526</c:v>
                </c:pt>
                <c:pt idx="8">
                  <c:v>59.178571428571423</c:v>
                </c:pt>
                <c:pt idx="9">
                  <c:v>91.3125</c:v>
                </c:pt>
                <c:pt idx="10">
                  <c:v>71.555555555555557</c:v>
                </c:pt>
                <c:pt idx="11">
                  <c:v>39.625</c:v>
                </c:pt>
                <c:pt idx="12">
                  <c:v>25.456521739130434</c:v>
                </c:pt>
                <c:pt idx="13">
                  <c:v>56.846153846153847</c:v>
                </c:pt>
                <c:pt idx="14">
                  <c:v>52.230769230769234</c:v>
                </c:pt>
                <c:pt idx="15">
                  <c:v>39.46153846153846</c:v>
                </c:pt>
                <c:pt idx="16">
                  <c:v>78.8</c:v>
                </c:pt>
                <c:pt idx="17">
                  <c:v>13.636363636363637</c:v>
                </c:pt>
                <c:pt idx="18">
                  <c:v>12.3</c:v>
                </c:pt>
                <c:pt idx="19">
                  <c:v>8.25</c:v>
                </c:pt>
                <c:pt idx="20">
                  <c:v>12.666666666666666</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22</c:f>
              <c:strCache>
                <c:ptCount val="21"/>
                <c:pt idx="0">
                  <c:v>CHAMPAGNE E.NICOLAS BRUT 1CT X 750ML</c:v>
                </c:pt>
                <c:pt idx="1">
                  <c:v>CHAMPAGNE E.NICOLAS ROSE 1CT X 750ML</c:v>
                </c:pt>
                <c:pt idx="2">
                  <c:v>CHAMPAGNE NICOLAS BLC/BLC BS 1CT X 750ML</c:v>
                </c:pt>
                <c:pt idx="3">
                  <c:v>CHAMPAGNE NICOLAS 1ERE CUVEE 1CT X 750ML</c:v>
                </c:pt>
                <c:pt idx="4">
                  <c:v>CHAMPAGNE NICOLAS BIO NAT 2017 1CT X 750ML</c:v>
                </c:pt>
                <c:pt idx="5">
                  <c:v>CHAMPAGNE NICOLAS BLC DE NOIRS 1CT X 750ML</c:v>
                </c:pt>
                <c:pt idx="6">
                  <c:v>MG CHAMPAGNE E.NICOLAS BRUT 1CT X 1500ML</c:v>
                </c:pt>
                <c:pt idx="7">
                  <c:v>1/2 CHAMP NICOLAS BLC/BLC BS 1CT X 375ML</c:v>
                </c:pt>
                <c:pt idx="8">
                  <c:v>1/2 CHAMP NICOLAS ROSE 1E C BS 1CT X 375ML</c:v>
                </c:pt>
                <c:pt idx="9">
                  <c:v>1/2 CHAMPAGNE NICOLAS 1ERE CUV 1CT X 375ML</c:v>
                </c:pt>
                <c:pt idx="10">
                  <c:v>CHAMPAGNE NICOLAS ROSE 1ERE CU 1CT X 750ML</c:v>
                </c:pt>
                <c:pt idx="11">
                  <c:v>MG CHAMPAGNE NICOLAS BLC/BL BS 1CT X 1500ML</c:v>
                </c:pt>
                <c:pt idx="12">
                  <c:v>CHAMPAGNE NICOLAS 1ER CRU BS 1CT X 750ML</c:v>
                </c:pt>
                <c:pt idx="13">
                  <c:v>CHAMPAGNE NICOLAS 1ERE CUV ETU 1CT X 750ML</c:v>
                </c:pt>
                <c:pt idx="14">
                  <c:v>CHAMPAGNE NICOLAS ROSE 1ERE ET 1CT X 750ML</c:v>
                </c:pt>
                <c:pt idx="15">
                  <c:v>CHAMPAGNE NICOLAS BLC/BL BS ET 1CT X 750ML</c:v>
                </c:pt>
                <c:pt idx="16">
                  <c:v>MG CHAMPAGNE NICOLAS 1ERE CUVE 1CT X 1500ML</c:v>
                </c:pt>
                <c:pt idx="17">
                  <c:v>CHAMPAGNE NICOLAS ROSE 1E C BS 1CT X 750ML</c:v>
                </c:pt>
                <c:pt idx="18">
                  <c:v>MG CHAMPAGNE NICOLAS 1E CRU BS 1CT X 1500ML</c:v>
                </c:pt>
                <c:pt idx="19">
                  <c:v>CHAMPAGNE NICOLAS 1ER CRU ETUI 1CT X 750ML</c:v>
                </c:pt>
                <c:pt idx="20">
                  <c:v>1/2 CHAMPAGNE NICOLAS 1E C BS 1CT X 375ML</c:v>
                </c:pt>
              </c:strCache>
            </c:strRef>
          </c:cat>
          <c:val>
            <c:numRef>
              <c:f>Sheet1!$B$2:$B$22</c:f>
              <c:numCache>
                <c:formatCode>General</c:formatCode>
                <c:ptCount val="21"/>
                <c:pt idx="0">
                  <c:v>1</c:v>
                </c:pt>
                <c:pt idx="1">
                  <c:v>0.74</c:v>
                </c:pt>
                <c:pt idx="2">
                  <c:v>0.43</c:v>
                </c:pt>
                <c:pt idx="3">
                  <c:v>0.56999999999999995</c:v>
                </c:pt>
                <c:pt idx="4">
                  <c:v>0.27</c:v>
                </c:pt>
                <c:pt idx="5">
                  <c:v>0.42</c:v>
                </c:pt>
                <c:pt idx="6">
                  <c:v>0.32</c:v>
                </c:pt>
                <c:pt idx="7">
                  <c:v>0.33</c:v>
                </c:pt>
                <c:pt idx="8">
                  <c:v>0.34</c:v>
                </c:pt>
                <c:pt idx="9">
                  <c:v>0.5</c:v>
                </c:pt>
                <c:pt idx="10">
                  <c:v>0.25</c:v>
                </c:pt>
                <c:pt idx="11">
                  <c:v>0.34</c:v>
                </c:pt>
                <c:pt idx="12">
                  <c:v>0.41</c:v>
                </c:pt>
                <c:pt idx="13">
                  <c:v>0.28000000000000003</c:v>
                </c:pt>
                <c:pt idx="14">
                  <c:v>0.23</c:v>
                </c:pt>
                <c:pt idx="15">
                  <c:v>0.13</c:v>
                </c:pt>
                <c:pt idx="16">
                  <c:v>0.15</c:v>
                </c:pt>
                <c:pt idx="17">
                  <c:v>0.03</c:v>
                </c:pt>
                <c:pt idx="18">
                  <c:v>0.02</c:v>
                </c:pt>
                <c:pt idx="19">
                  <c:v>0.08</c:v>
                </c:pt>
                <c:pt idx="20">
                  <c:v>0.05</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7ECAC4"/>
              </a:solidFill>
            </c:spPr>
            <c:extLst>
              <c:ext xmlns:c16="http://schemas.microsoft.com/office/drawing/2014/chart" uri="{C3380CC4-5D6E-409C-BE32-E72D297353CC}">
                <c16:uniqueId val="{00000006-E902-46E2-9A54-39A26B3DFDC1}"/>
              </c:ext>
            </c:extLst>
          </c:dPt>
          <c:dPt>
            <c:idx val="3"/>
            <c:invertIfNegative val="0"/>
            <c:bubble3D val="0"/>
            <c:spPr>
              <a:solidFill>
                <a:srgbClr val="7ECAC4"/>
              </a:solidFill>
            </c:spPr>
            <c:extLst>
              <c:ext xmlns:c16="http://schemas.microsoft.com/office/drawing/2014/chart" uri="{C3380CC4-5D6E-409C-BE32-E72D297353CC}">
                <c16:uniqueId val="{00000007-E902-46E2-9A54-39A26B3DFDC1}"/>
              </c:ext>
            </c:extLst>
          </c:dPt>
          <c:dPt>
            <c:idx val="4"/>
            <c:invertIfNegative val="1"/>
            <c:bubble3D val="0"/>
            <c:spPr>
              <a:solidFill>
                <a:srgbClr val="7ECAC4"/>
              </a:solidFill>
            </c:spPr>
            <c:extLst>
              <c:ext xmlns:c16="http://schemas.microsoft.com/office/drawing/2014/chart" uri="{C3380CC4-5D6E-409C-BE32-E72D297353CC}">
                <c16:uniqueId val="{0000000B-FA3E-4872-B6E1-C4ABDF5766E2}"/>
              </c:ext>
            </c:extLst>
          </c:dPt>
          <c:dPt>
            <c:idx val="5"/>
            <c:invertIfNegative val="1"/>
            <c:bubble3D val="0"/>
            <c:spPr>
              <a:solidFill>
                <a:srgbClr val="7ECAC4"/>
              </a:solidFill>
            </c:spPr>
            <c:extLst>
              <c:ext xmlns:c16="http://schemas.microsoft.com/office/drawing/2014/chart" uri="{C3380CC4-5D6E-409C-BE32-E72D297353CC}">
                <c16:uniqueId val="{0000000D-FA3E-4872-B6E1-C4ABDF5766E2}"/>
              </c:ext>
            </c:extLst>
          </c:dPt>
          <c:dPt>
            <c:idx val="6"/>
            <c:invertIfNegative val="1"/>
            <c:bubble3D val="0"/>
            <c:spPr>
              <a:solidFill>
                <a:srgbClr val="7ECAC4"/>
              </a:solidFill>
            </c:spPr>
            <c:extLst>
              <c:ext xmlns:c16="http://schemas.microsoft.com/office/drawing/2014/chart" uri="{C3380CC4-5D6E-409C-BE32-E72D297353CC}">
                <c16:uniqueId val="{0000000F-FA3E-4872-B6E1-C4ABDF5766E2}"/>
              </c:ext>
            </c:extLst>
          </c:dPt>
          <c:dPt>
            <c:idx val="7"/>
            <c:invertIfNegative val="1"/>
            <c:bubble3D val="0"/>
            <c:spPr>
              <a:solidFill>
                <a:srgbClr val="7ECAC4"/>
              </a:solidFill>
            </c:spPr>
            <c:extLst>
              <c:ext xmlns:c16="http://schemas.microsoft.com/office/drawing/2014/chart" uri="{C3380CC4-5D6E-409C-BE32-E72D297353CC}">
                <c16:uniqueId val="{00000011-FA3E-4872-B6E1-C4ABDF5766E2}"/>
              </c:ext>
            </c:extLst>
          </c:dPt>
          <c:dPt>
            <c:idx val="8"/>
            <c:invertIfNegative val="1"/>
            <c:bubble3D val="0"/>
            <c:spPr>
              <a:solidFill>
                <a:srgbClr val="7ECAC4"/>
              </a:solidFill>
            </c:spPr>
            <c:extLst>
              <c:ext xmlns:c16="http://schemas.microsoft.com/office/drawing/2014/chart" uri="{C3380CC4-5D6E-409C-BE32-E72D297353CC}">
                <c16:uniqueId val="{00000013-FA3E-4872-B6E1-C4ABDF5766E2}"/>
              </c:ext>
            </c:extLst>
          </c:dPt>
          <c:dPt>
            <c:idx val="9"/>
            <c:invertIfNegative val="1"/>
            <c:bubble3D val="0"/>
            <c:spPr>
              <a:solidFill>
                <a:srgbClr val="AEABAB"/>
              </a:solidFill>
            </c:spPr>
            <c:extLst>
              <c:ext xmlns:c16="http://schemas.microsoft.com/office/drawing/2014/chart" uri="{C3380CC4-5D6E-409C-BE32-E72D297353CC}">
                <c16:uniqueId val="{00000015-FA3E-4872-B6E1-C4ABDF5766E2}"/>
              </c:ext>
            </c:extLst>
          </c:dPt>
          <c:dPt>
            <c:idx val="10"/>
            <c:invertIfNegative val="1"/>
            <c:bubble3D val="0"/>
            <c:spPr>
              <a:solidFill>
                <a:srgbClr val="AEABAB"/>
              </a:solidFill>
            </c:spPr>
            <c:extLst>
              <c:ext xmlns:c16="http://schemas.microsoft.com/office/drawing/2014/chart" uri="{C3380CC4-5D6E-409C-BE32-E72D297353CC}">
                <c16:uniqueId val="{00000017-FA3E-4872-B6E1-C4ABDF5766E2}"/>
              </c:ext>
            </c:extLst>
          </c:dPt>
          <c:dPt>
            <c:idx val="11"/>
            <c:invertIfNegative val="1"/>
            <c:bubble3D val="0"/>
            <c:spPr>
              <a:solidFill>
                <a:srgbClr val="AEABAB"/>
              </a:solidFill>
            </c:spPr>
            <c:extLst>
              <c:ext xmlns:c16="http://schemas.microsoft.com/office/drawing/2014/chart" uri="{C3380CC4-5D6E-409C-BE32-E72D297353CC}">
                <c16:uniqueId val="{00000019-FA3E-4872-B6E1-C4ABDF5766E2}"/>
              </c:ext>
            </c:extLst>
          </c:dPt>
          <c:dPt>
            <c:idx val="12"/>
            <c:invertIfNegative val="1"/>
            <c:bubble3D val="0"/>
            <c:spPr>
              <a:solidFill>
                <a:srgbClr val="AEABAB"/>
              </a:solidFill>
            </c:spPr>
            <c:extLst>
              <c:ext xmlns:c16="http://schemas.microsoft.com/office/drawing/2014/chart" uri="{C3380CC4-5D6E-409C-BE32-E72D297353CC}">
                <c16:uniqueId val="{0000001B-FA3E-4872-B6E1-C4ABDF5766E2}"/>
              </c:ext>
            </c:extLst>
          </c:dPt>
          <c:dPt>
            <c:idx val="13"/>
            <c:invertIfNegative val="1"/>
            <c:bubble3D val="0"/>
            <c:spPr>
              <a:solidFill>
                <a:srgbClr val="AEABAB"/>
              </a:solidFill>
            </c:spPr>
            <c:extLst>
              <c:ext xmlns:c16="http://schemas.microsoft.com/office/drawing/2014/chart" uri="{C3380CC4-5D6E-409C-BE32-E72D297353CC}">
                <c16:uniqueId val="{0000001D-FA3E-4872-B6E1-C4ABDF5766E2}"/>
              </c:ext>
            </c:extLst>
          </c:dPt>
          <c:dPt>
            <c:idx val="14"/>
            <c:invertIfNegative val="1"/>
            <c:bubble3D val="0"/>
            <c:spPr>
              <a:solidFill>
                <a:srgbClr val="AEABAB"/>
              </a:solidFill>
            </c:spPr>
            <c:extLst>
              <c:ext xmlns:c16="http://schemas.microsoft.com/office/drawing/2014/chart" uri="{C3380CC4-5D6E-409C-BE32-E72D297353CC}">
                <c16:uniqueId val="{0000001F-FA3E-4872-B6E1-C4ABDF5766E2}"/>
              </c:ext>
            </c:extLst>
          </c:dPt>
          <c:dPt>
            <c:idx val="15"/>
            <c:invertIfNegative val="1"/>
            <c:bubble3D val="0"/>
            <c:spPr>
              <a:solidFill>
                <a:srgbClr val="AEABAB"/>
              </a:solidFill>
            </c:spPr>
            <c:extLst>
              <c:ext xmlns:c16="http://schemas.microsoft.com/office/drawing/2014/chart" uri="{C3380CC4-5D6E-409C-BE32-E72D297353CC}">
                <c16:uniqueId val="{00000021-FA3E-4872-B6E1-C4ABDF5766E2}"/>
              </c:ext>
            </c:extLst>
          </c:dPt>
          <c:dPt>
            <c:idx val="16"/>
            <c:invertIfNegative val="1"/>
            <c:bubble3D val="0"/>
            <c:spPr>
              <a:solidFill>
                <a:srgbClr val="AEABAB"/>
              </a:solidFill>
            </c:spPr>
            <c:extLst>
              <c:ext xmlns:c16="http://schemas.microsoft.com/office/drawing/2014/chart" uri="{C3380CC4-5D6E-409C-BE32-E72D297353CC}">
                <c16:uniqueId val="{00000023-FA3E-4872-B6E1-C4ABDF5766E2}"/>
              </c:ext>
            </c:extLst>
          </c:dPt>
          <c:dPt>
            <c:idx val="17"/>
            <c:invertIfNegative val="1"/>
            <c:bubble3D val="0"/>
            <c:spPr>
              <a:solidFill>
                <a:srgbClr val="AEABAB"/>
              </a:solidFill>
            </c:spPr>
            <c:extLst>
              <c:ext xmlns:c16="http://schemas.microsoft.com/office/drawing/2014/chart" uri="{C3380CC4-5D6E-409C-BE32-E72D297353CC}">
                <c16:uniqueId val="{00000025-FA3E-4872-B6E1-C4ABDF5766E2}"/>
              </c:ext>
            </c:extLst>
          </c:dPt>
          <c:dPt>
            <c:idx val="18"/>
            <c:invertIfNegative val="1"/>
            <c:bubble3D val="0"/>
            <c:spPr>
              <a:solidFill>
                <a:srgbClr val="AEABAB"/>
              </a:solidFill>
            </c:spPr>
            <c:extLst>
              <c:ext xmlns:c16="http://schemas.microsoft.com/office/drawing/2014/chart" uri="{C3380CC4-5D6E-409C-BE32-E72D297353CC}">
                <c16:uniqueId val="{00000027-FA3E-4872-B6E1-C4ABDF5766E2}"/>
              </c:ext>
            </c:extLst>
          </c:dPt>
          <c:dPt>
            <c:idx val="19"/>
            <c:invertIfNegative val="1"/>
            <c:bubble3D val="0"/>
            <c:spPr>
              <a:solidFill>
                <a:srgbClr val="AEABAB"/>
              </a:solidFill>
            </c:spPr>
            <c:extLst>
              <c:ext xmlns:c16="http://schemas.microsoft.com/office/drawing/2014/chart" uri="{C3380CC4-5D6E-409C-BE32-E72D297353CC}">
                <c16:uniqueId val="{00000029-FA3E-4872-B6E1-C4ABDF5766E2}"/>
              </c:ext>
            </c:extLst>
          </c:dPt>
          <c:dPt>
            <c:idx val="20"/>
            <c:invertIfNegative val="1"/>
            <c:bubble3D val="0"/>
            <c:spPr>
              <a:solidFill>
                <a:srgbClr val="AEABAB"/>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22</c:f>
              <c:strCache>
                <c:ptCount val="21"/>
                <c:pt idx="0">
                  <c:v>CHAMPAGNE E.NICOLAS BRUT 1CT X 750ML</c:v>
                </c:pt>
                <c:pt idx="1">
                  <c:v>CHAMPAGNE E.NICOLAS ROSE 1CT X 750ML</c:v>
                </c:pt>
                <c:pt idx="2">
                  <c:v>CHAMPAGNE NICOLAS BLC/BLC BS 1CT X 750ML</c:v>
                </c:pt>
                <c:pt idx="3">
                  <c:v>CHAMPAGNE NICOLAS 1ERE CUVEE 1CT X 750ML</c:v>
                </c:pt>
                <c:pt idx="4">
                  <c:v>CHAMPAGNE NICOLAS BIO NAT 2017 1CT X 750ML</c:v>
                </c:pt>
                <c:pt idx="5">
                  <c:v>CHAMPAGNE NICOLAS BLC DE NOIRS 1CT X 750ML</c:v>
                </c:pt>
                <c:pt idx="6">
                  <c:v>MG CHAMPAGNE E.NICOLAS BRUT 1CT X 1500ML</c:v>
                </c:pt>
                <c:pt idx="7">
                  <c:v>1/2 CHAMP NICOLAS BLC/BLC BS 1CT X 375ML</c:v>
                </c:pt>
                <c:pt idx="8">
                  <c:v>1/2 CHAMP NICOLAS ROSE 1E C BS 1CT X 375ML</c:v>
                </c:pt>
                <c:pt idx="9">
                  <c:v>1/2 CHAMPAGNE NICOLAS 1ERE CUV 1CT X 375ML</c:v>
                </c:pt>
                <c:pt idx="10">
                  <c:v>CHAMPAGNE NICOLAS ROSE 1ERE CU 1CT X 750ML</c:v>
                </c:pt>
                <c:pt idx="11">
                  <c:v>MG CHAMPAGNE NICOLAS BLC/BL BS 1CT X 1500ML</c:v>
                </c:pt>
                <c:pt idx="12">
                  <c:v>CHAMPAGNE NICOLAS 1ER CRU BS 1CT X 750ML</c:v>
                </c:pt>
                <c:pt idx="13">
                  <c:v>CHAMPAGNE NICOLAS 1ERE CUV ETU 1CT X 750ML</c:v>
                </c:pt>
                <c:pt idx="14">
                  <c:v>CHAMPAGNE NICOLAS ROSE 1ERE ET 1CT X 750ML</c:v>
                </c:pt>
                <c:pt idx="15">
                  <c:v>CHAMPAGNE NICOLAS BLC/BL BS ET 1CT X 750ML</c:v>
                </c:pt>
                <c:pt idx="16">
                  <c:v>MG CHAMPAGNE NICOLAS 1ERE CUVE 1CT X 1500ML</c:v>
                </c:pt>
                <c:pt idx="17">
                  <c:v>CHAMPAGNE NICOLAS ROSE 1E C BS 1CT X 750ML</c:v>
                </c:pt>
                <c:pt idx="18">
                  <c:v>MG CHAMPAGNE NICOLAS 1E CRU BS 1CT X 1500ML</c:v>
                </c:pt>
                <c:pt idx="19">
                  <c:v>CHAMPAGNE NICOLAS 1ER CRU ETUI 1CT X 750ML</c:v>
                </c:pt>
                <c:pt idx="20">
                  <c:v>1/2 CHAMPAGNE NICOLAS 1E C BS 1CT X 375ML</c:v>
                </c:pt>
              </c:strCache>
            </c:strRef>
          </c:cat>
          <c:val>
            <c:numRef>
              <c:f>Sheet1!$C$2:$C$22</c:f>
              <c:numCache>
                <c:formatCode>General</c:formatCode>
                <c:ptCount val="21"/>
                <c:pt idx="0">
                  <c:v>0.70061256249793047</c:v>
                </c:pt>
                <c:pt idx="1">
                  <c:v>0.79740405946822945</c:v>
                </c:pt>
                <c:pt idx="2">
                  <c:v>0.85221019171550605</c:v>
                </c:pt>
                <c:pt idx="3">
                  <c:v>0.87259362272772423</c:v>
                </c:pt>
                <c:pt idx="4">
                  <c:v>0.88834144564749506</c:v>
                </c:pt>
                <c:pt idx="5">
                  <c:v>0.90378464289261939</c:v>
                </c:pt>
                <c:pt idx="6">
                  <c:v>0.9184662759511274</c:v>
                </c:pt>
                <c:pt idx="7">
                  <c:v>0.93133339955630601</c:v>
                </c:pt>
                <c:pt idx="8">
                  <c:v>0.94408794410781094</c:v>
                </c:pt>
                <c:pt idx="9">
                  <c:v>0.95578292109532792</c:v>
                </c:pt>
                <c:pt idx="10">
                  <c:v>0.96512698255024665</c:v>
                </c:pt>
                <c:pt idx="11">
                  <c:v>0.97401410549319556</c:v>
                </c:pt>
                <c:pt idx="12">
                  <c:v>0.98160325817025929</c:v>
                </c:pt>
                <c:pt idx="13">
                  <c:v>0.98722558855667031</c:v>
                </c:pt>
                <c:pt idx="14">
                  <c:v>0.99181484056819313</c:v>
                </c:pt>
                <c:pt idx="15">
                  <c:v>0.99516572298930506</c:v>
                </c:pt>
                <c:pt idx="16">
                  <c:v>0.99762921757557699</c:v>
                </c:pt>
                <c:pt idx="17">
                  <c:v>0.99871527432866458</c:v>
                </c:pt>
                <c:pt idx="18">
                  <c:v>0.9992185689215588</c:v>
                </c:pt>
                <c:pt idx="19">
                  <c:v>0.99970199662262826</c:v>
                </c:pt>
                <c:pt idx="20">
                  <c:v>0.99999999999999989</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22</c:f>
              <c:strCache>
                <c:ptCount val="21"/>
                <c:pt idx="0">
                  <c:v>CHAMPAGNE E.NICOLAS BRUT 1CT X 750ML</c:v>
                </c:pt>
                <c:pt idx="1">
                  <c:v>CHAMPAGNE E.NICOLAS ROSE 1CT X 750ML</c:v>
                </c:pt>
                <c:pt idx="2">
                  <c:v>CHAMPAGNE NICOLAS BLC/BLC BS 1CT X 750ML</c:v>
                </c:pt>
                <c:pt idx="3">
                  <c:v>CHAMPAGNE NICOLAS 1ERE CUVEE 1CT X 750ML</c:v>
                </c:pt>
                <c:pt idx="4">
                  <c:v>CHAMPAGNE NICOLAS BIO NAT 2017 1CT X 750ML</c:v>
                </c:pt>
                <c:pt idx="5">
                  <c:v>CHAMPAGNE NICOLAS BLC DE NOIRS 1CT X 750ML</c:v>
                </c:pt>
                <c:pt idx="6">
                  <c:v>MG CHAMPAGNE E.NICOLAS BRUT 1CT X 1500ML</c:v>
                </c:pt>
                <c:pt idx="7">
                  <c:v>1/2 CHAMP NICOLAS BLC/BLC BS 1CT X 375ML</c:v>
                </c:pt>
                <c:pt idx="8">
                  <c:v>1/2 CHAMP NICOLAS ROSE 1E C BS 1CT X 375ML</c:v>
                </c:pt>
                <c:pt idx="9">
                  <c:v>1/2 CHAMPAGNE NICOLAS 1ERE CUV 1CT X 375ML</c:v>
                </c:pt>
                <c:pt idx="10">
                  <c:v>CHAMPAGNE NICOLAS ROSE 1ERE CU 1CT X 750ML</c:v>
                </c:pt>
                <c:pt idx="11">
                  <c:v>MG CHAMPAGNE NICOLAS BLC/BL BS 1CT X 1500ML</c:v>
                </c:pt>
                <c:pt idx="12">
                  <c:v>CHAMPAGNE NICOLAS 1ER CRU BS 1CT X 750ML</c:v>
                </c:pt>
                <c:pt idx="13">
                  <c:v>CHAMPAGNE NICOLAS 1ERE CUV ETU 1CT X 750ML</c:v>
                </c:pt>
                <c:pt idx="14">
                  <c:v>CHAMPAGNE NICOLAS ROSE 1ERE ET 1CT X 750ML</c:v>
                </c:pt>
                <c:pt idx="15">
                  <c:v>CHAMPAGNE NICOLAS BLC/BL BS ET 1CT X 750ML</c:v>
                </c:pt>
                <c:pt idx="16">
                  <c:v>MG CHAMPAGNE NICOLAS 1ERE CUVE 1CT X 1500ML</c:v>
                </c:pt>
                <c:pt idx="17">
                  <c:v>CHAMPAGNE NICOLAS ROSE 1E C BS 1CT X 750ML</c:v>
                </c:pt>
                <c:pt idx="18">
                  <c:v>MG CHAMPAGNE NICOLAS 1E CRU BS 1CT X 1500ML</c:v>
                </c:pt>
                <c:pt idx="19">
                  <c:v>CHAMPAGNE NICOLAS 1ER CRU ETUI 1CT X 750ML</c:v>
                </c:pt>
                <c:pt idx="20">
                  <c:v>1/2 CHAMPAGNE NICOLAS 1E C BS 1CT X 375ML</c:v>
                </c:pt>
              </c:strCache>
            </c:strRef>
          </c:cat>
          <c:val>
            <c:numRef>
              <c:f>Sheet1!$D$2:$D$22</c:f>
              <c:numCache>
                <c:formatCode>General</c:formatCode>
                <c:ptCount val="21"/>
                <c:pt idx="0">
                  <c:v>1057.96</c:v>
                </c:pt>
                <c:pt idx="1">
                  <c:v>197.51351351351352</c:v>
                </c:pt>
                <c:pt idx="2">
                  <c:v>192.46511627906978</c:v>
                </c:pt>
                <c:pt idx="3">
                  <c:v>54.000000000000007</c:v>
                </c:pt>
                <c:pt idx="4">
                  <c:v>88.074074074074076</c:v>
                </c:pt>
                <c:pt idx="5">
                  <c:v>55.523809523809526</c:v>
                </c:pt>
                <c:pt idx="6">
                  <c:v>69.28125</c:v>
                </c:pt>
                <c:pt idx="7">
                  <c:v>58.878787878787875</c:v>
                </c:pt>
                <c:pt idx="8">
                  <c:v>56.647058823529413</c:v>
                </c:pt>
                <c:pt idx="9">
                  <c:v>35.32</c:v>
                </c:pt>
                <c:pt idx="10">
                  <c:v>56.44</c:v>
                </c:pt>
                <c:pt idx="11">
                  <c:v>39.470588235294116</c:v>
                </c:pt>
                <c:pt idx="12">
                  <c:v>27.951219512195124</c:v>
                </c:pt>
                <c:pt idx="13">
                  <c:v>30.321428571428566</c:v>
                </c:pt>
                <c:pt idx="14">
                  <c:v>30.130434782608695</c:v>
                </c:pt>
                <c:pt idx="15">
                  <c:v>38.92307692307692</c:v>
                </c:pt>
                <c:pt idx="16">
                  <c:v>24.8</c:v>
                </c:pt>
                <c:pt idx="17">
                  <c:v>54.666666666666664</c:v>
                </c:pt>
                <c:pt idx="18">
                  <c:v>38</c:v>
                </c:pt>
                <c:pt idx="19">
                  <c:v>9.125</c:v>
                </c:pt>
                <c:pt idx="20">
                  <c:v>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22</c:f>
              <c:strCache>
                <c:ptCount val="21"/>
                <c:pt idx="0">
                  <c:v>CHAMPAGNE E.NICOLAS BRUT 1CT X 750ML</c:v>
                </c:pt>
                <c:pt idx="1">
                  <c:v>CHAMPAGNE NICOLAS BLC/BLC BS 1CT X 750ML</c:v>
                </c:pt>
                <c:pt idx="2">
                  <c:v>CHAMPAGNE E.NICOLAS ROSE 1CT X 750ML</c:v>
                </c:pt>
                <c:pt idx="3">
                  <c:v>CHAMPAGNE NICOLAS 1ERE CUVEE 1CT X 750ML</c:v>
                </c:pt>
                <c:pt idx="4">
                  <c:v>MG CHAMPAGNE E.NICOLAS BRUT 1CT X 1500ML</c:v>
                </c:pt>
                <c:pt idx="5">
                  <c:v>1/2 CHAMPAGNE NICOLAS 1ERE CUV 1CT X 375ML</c:v>
                </c:pt>
                <c:pt idx="6">
                  <c:v>MG CHAMPAGNE NICOLAS BLC/BL BS 1CT X 1500ML</c:v>
                </c:pt>
                <c:pt idx="7">
                  <c:v>1/2 CHAMP NICOLAS BLC/BLC BS 1CT X 375ML</c:v>
                </c:pt>
                <c:pt idx="8">
                  <c:v>CHAMPAGNE NICOLAS ROSE 1ERE CU 1CT X 750ML</c:v>
                </c:pt>
                <c:pt idx="9">
                  <c:v>CHAMPAGNE NICOLAS BIO NAT 2017 1CT X 750ML</c:v>
                </c:pt>
                <c:pt idx="10">
                  <c:v>1/2 CHAMP NICOLAS ROSE 1E C BS 1CT X 375ML</c:v>
                </c:pt>
                <c:pt idx="11">
                  <c:v>CHAMPAGNE NICOLAS BLC DE NOIRS 1CT X 750ML</c:v>
                </c:pt>
                <c:pt idx="12">
                  <c:v>MG CHAMPAGNE NICOLAS 1ERE CUVE 1CT X 1500ML</c:v>
                </c:pt>
                <c:pt idx="13">
                  <c:v>CHAMPAGNE NICOLAS ROSE 1ERE ET 1CT X 750ML</c:v>
                </c:pt>
                <c:pt idx="14">
                  <c:v>CHAMPAGNE NICOLAS 1ER CRU BS 1CT X 750ML</c:v>
                </c:pt>
                <c:pt idx="15">
                  <c:v>CHAMPAGNE NICOLAS 1ER CRU ETUI 1CT X 750ML</c:v>
                </c:pt>
                <c:pt idx="16">
                  <c:v>MG CHAMPAGNE NICOLAS 1E CRU BS 1CT X 1500ML</c:v>
                </c:pt>
                <c:pt idx="17">
                  <c:v>CHAMPAGNE NICOLAS ROSE 1E C BS 1CT X 750ML</c:v>
                </c:pt>
                <c:pt idx="18">
                  <c:v>CHAMPAGNE NICOLAS 1ERE CUV ETU 1CT X 750ML</c:v>
                </c:pt>
                <c:pt idx="19">
                  <c:v>CHAMPAGNE NICOLAS BLC/BL BS ET 1CT X 750ML</c:v>
                </c:pt>
                <c:pt idx="20">
                  <c:v>1/2 CHAMPAGNE NICOLAS 1E C BS 1CT X 375ML</c:v>
                </c:pt>
              </c:strCache>
            </c:strRef>
          </c:cat>
          <c:val>
            <c:numRef>
              <c:f>Sheet1!$B$2:$B$22</c:f>
              <c:numCache>
                <c:formatCode>General</c:formatCode>
                <c:ptCount val="21"/>
                <c:pt idx="0">
                  <c:v>1</c:v>
                </c:pt>
                <c:pt idx="1">
                  <c:v>0.7</c:v>
                </c:pt>
                <c:pt idx="2">
                  <c:v>0.73</c:v>
                </c:pt>
                <c:pt idx="3">
                  <c:v>0.9</c:v>
                </c:pt>
                <c:pt idx="4">
                  <c:v>0.34</c:v>
                </c:pt>
                <c:pt idx="5">
                  <c:v>0.43</c:v>
                </c:pt>
                <c:pt idx="6">
                  <c:v>0.23</c:v>
                </c:pt>
                <c:pt idx="7">
                  <c:v>0.35</c:v>
                </c:pt>
                <c:pt idx="8">
                  <c:v>0.42</c:v>
                </c:pt>
                <c:pt idx="9">
                  <c:v>0.28000000000000003</c:v>
                </c:pt>
                <c:pt idx="10">
                  <c:v>0.42</c:v>
                </c:pt>
                <c:pt idx="11">
                  <c:v>0.25</c:v>
                </c:pt>
                <c:pt idx="12">
                  <c:v>0.24</c:v>
                </c:pt>
                <c:pt idx="13">
                  <c:v>0.14000000000000001</c:v>
                </c:pt>
                <c:pt idx="14">
                  <c:v>0.31</c:v>
                </c:pt>
                <c:pt idx="15">
                  <c:v>0.21</c:v>
                </c:pt>
                <c:pt idx="16">
                  <c:v>7.0000000000000007E-2</c:v>
                </c:pt>
                <c:pt idx="17">
                  <c:v>7.0000000000000007E-2</c:v>
                </c:pt>
                <c:pt idx="18">
                  <c:v>7.0000000000000007E-2</c:v>
                </c:pt>
                <c:pt idx="19">
                  <c:v>0.02</c:v>
                </c:pt>
                <c:pt idx="20">
                  <c:v>0.02</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7ECAC4"/>
              </a:solidFill>
            </c:spPr>
            <c:extLst>
              <c:ext xmlns:c16="http://schemas.microsoft.com/office/drawing/2014/chart" uri="{C3380CC4-5D6E-409C-BE32-E72D297353CC}">
                <c16:uniqueId val="{00000006-E902-46E2-9A54-39A26B3DFDC1}"/>
              </c:ext>
            </c:extLst>
          </c:dPt>
          <c:dPt>
            <c:idx val="3"/>
            <c:invertIfNegative val="0"/>
            <c:bubble3D val="0"/>
            <c:spPr>
              <a:solidFill>
                <a:srgbClr val="7ECAC4"/>
              </a:solidFill>
            </c:spPr>
            <c:extLst>
              <c:ext xmlns:c16="http://schemas.microsoft.com/office/drawing/2014/chart" uri="{C3380CC4-5D6E-409C-BE32-E72D297353CC}">
                <c16:uniqueId val="{00000007-E902-46E2-9A54-39A26B3DFDC1}"/>
              </c:ext>
            </c:extLst>
          </c:dPt>
          <c:dPt>
            <c:idx val="4"/>
            <c:invertIfNegative val="1"/>
            <c:bubble3D val="0"/>
            <c:spPr>
              <a:solidFill>
                <a:srgbClr val="7ECAC4"/>
              </a:solidFill>
            </c:spPr>
            <c:extLst>
              <c:ext xmlns:c16="http://schemas.microsoft.com/office/drawing/2014/chart" uri="{C3380CC4-5D6E-409C-BE32-E72D297353CC}">
                <c16:uniqueId val="{0000000B-FA3E-4872-B6E1-C4ABDF5766E2}"/>
              </c:ext>
            </c:extLst>
          </c:dPt>
          <c:dPt>
            <c:idx val="5"/>
            <c:invertIfNegative val="1"/>
            <c:bubble3D val="0"/>
            <c:spPr>
              <a:solidFill>
                <a:srgbClr val="7ECAC4"/>
              </a:solidFill>
            </c:spPr>
            <c:extLst>
              <c:ext xmlns:c16="http://schemas.microsoft.com/office/drawing/2014/chart" uri="{C3380CC4-5D6E-409C-BE32-E72D297353CC}">
                <c16:uniqueId val="{0000000D-FA3E-4872-B6E1-C4ABDF5766E2}"/>
              </c:ext>
            </c:extLst>
          </c:dPt>
          <c:dPt>
            <c:idx val="6"/>
            <c:invertIfNegative val="1"/>
            <c:bubble3D val="0"/>
            <c:spPr>
              <a:solidFill>
                <a:srgbClr val="7ECAC4"/>
              </a:solidFill>
            </c:spPr>
            <c:extLst>
              <c:ext xmlns:c16="http://schemas.microsoft.com/office/drawing/2014/chart" uri="{C3380CC4-5D6E-409C-BE32-E72D297353CC}">
                <c16:uniqueId val="{0000000F-FA3E-4872-B6E1-C4ABDF5766E2}"/>
              </c:ext>
            </c:extLst>
          </c:dPt>
          <c:dPt>
            <c:idx val="7"/>
            <c:invertIfNegative val="1"/>
            <c:bubble3D val="0"/>
            <c:spPr>
              <a:solidFill>
                <a:srgbClr val="7ECAC4"/>
              </a:solidFill>
            </c:spPr>
            <c:extLst>
              <c:ext xmlns:c16="http://schemas.microsoft.com/office/drawing/2014/chart" uri="{C3380CC4-5D6E-409C-BE32-E72D297353CC}">
                <c16:uniqueId val="{00000011-FA3E-4872-B6E1-C4ABDF5766E2}"/>
              </c:ext>
            </c:extLst>
          </c:dPt>
          <c:dPt>
            <c:idx val="8"/>
            <c:invertIfNegative val="1"/>
            <c:bubble3D val="0"/>
            <c:spPr>
              <a:solidFill>
                <a:srgbClr val="AEABAB"/>
              </a:solidFill>
            </c:spPr>
            <c:extLst>
              <c:ext xmlns:c16="http://schemas.microsoft.com/office/drawing/2014/chart" uri="{C3380CC4-5D6E-409C-BE32-E72D297353CC}">
                <c16:uniqueId val="{00000013-FA3E-4872-B6E1-C4ABDF5766E2}"/>
              </c:ext>
            </c:extLst>
          </c:dPt>
          <c:dPt>
            <c:idx val="9"/>
            <c:invertIfNegative val="1"/>
            <c:bubble3D val="0"/>
            <c:spPr>
              <a:solidFill>
                <a:srgbClr val="AEABAB"/>
              </a:solidFill>
            </c:spPr>
            <c:extLst>
              <c:ext xmlns:c16="http://schemas.microsoft.com/office/drawing/2014/chart" uri="{C3380CC4-5D6E-409C-BE32-E72D297353CC}">
                <c16:uniqueId val="{00000015-FA3E-4872-B6E1-C4ABDF5766E2}"/>
              </c:ext>
            </c:extLst>
          </c:dPt>
          <c:dPt>
            <c:idx val="10"/>
            <c:invertIfNegative val="1"/>
            <c:bubble3D val="0"/>
            <c:spPr>
              <a:solidFill>
                <a:srgbClr val="AEABAB"/>
              </a:solidFill>
            </c:spPr>
            <c:extLst>
              <c:ext xmlns:c16="http://schemas.microsoft.com/office/drawing/2014/chart" uri="{C3380CC4-5D6E-409C-BE32-E72D297353CC}">
                <c16:uniqueId val="{00000017-FA3E-4872-B6E1-C4ABDF5766E2}"/>
              </c:ext>
            </c:extLst>
          </c:dPt>
          <c:dPt>
            <c:idx val="11"/>
            <c:invertIfNegative val="1"/>
            <c:bubble3D val="0"/>
            <c:spPr>
              <a:solidFill>
                <a:srgbClr val="AEABAB"/>
              </a:solidFill>
            </c:spPr>
            <c:extLst>
              <c:ext xmlns:c16="http://schemas.microsoft.com/office/drawing/2014/chart" uri="{C3380CC4-5D6E-409C-BE32-E72D297353CC}">
                <c16:uniqueId val="{00000019-FA3E-4872-B6E1-C4ABDF5766E2}"/>
              </c:ext>
            </c:extLst>
          </c:dPt>
          <c:dPt>
            <c:idx val="12"/>
            <c:invertIfNegative val="1"/>
            <c:bubble3D val="0"/>
            <c:spPr>
              <a:solidFill>
                <a:srgbClr val="AEABAB"/>
              </a:solidFill>
            </c:spPr>
            <c:extLst>
              <c:ext xmlns:c16="http://schemas.microsoft.com/office/drawing/2014/chart" uri="{C3380CC4-5D6E-409C-BE32-E72D297353CC}">
                <c16:uniqueId val="{0000001B-FA3E-4872-B6E1-C4ABDF5766E2}"/>
              </c:ext>
            </c:extLst>
          </c:dPt>
          <c:dPt>
            <c:idx val="13"/>
            <c:invertIfNegative val="1"/>
            <c:bubble3D val="0"/>
            <c:spPr>
              <a:solidFill>
                <a:srgbClr val="AEABAB"/>
              </a:solidFill>
            </c:spPr>
            <c:extLst>
              <c:ext xmlns:c16="http://schemas.microsoft.com/office/drawing/2014/chart" uri="{C3380CC4-5D6E-409C-BE32-E72D297353CC}">
                <c16:uniqueId val="{0000001D-FA3E-4872-B6E1-C4ABDF5766E2}"/>
              </c:ext>
            </c:extLst>
          </c:dPt>
          <c:dPt>
            <c:idx val="14"/>
            <c:invertIfNegative val="1"/>
            <c:bubble3D val="0"/>
            <c:spPr>
              <a:solidFill>
                <a:srgbClr val="AEABAB"/>
              </a:solidFill>
            </c:spPr>
            <c:extLst>
              <c:ext xmlns:c16="http://schemas.microsoft.com/office/drawing/2014/chart" uri="{C3380CC4-5D6E-409C-BE32-E72D297353CC}">
                <c16:uniqueId val="{0000001F-FA3E-4872-B6E1-C4ABDF5766E2}"/>
              </c:ext>
            </c:extLst>
          </c:dPt>
          <c:dPt>
            <c:idx val="15"/>
            <c:invertIfNegative val="1"/>
            <c:bubble3D val="0"/>
            <c:spPr>
              <a:solidFill>
                <a:srgbClr val="AEABAB"/>
              </a:solidFill>
            </c:spPr>
            <c:extLst>
              <c:ext xmlns:c16="http://schemas.microsoft.com/office/drawing/2014/chart" uri="{C3380CC4-5D6E-409C-BE32-E72D297353CC}">
                <c16:uniqueId val="{00000021-FA3E-4872-B6E1-C4ABDF5766E2}"/>
              </c:ext>
            </c:extLst>
          </c:dPt>
          <c:dPt>
            <c:idx val="16"/>
            <c:invertIfNegative val="1"/>
            <c:bubble3D val="0"/>
            <c:spPr>
              <a:solidFill>
                <a:srgbClr val="AEABAB"/>
              </a:solidFill>
            </c:spPr>
            <c:extLst>
              <c:ext xmlns:c16="http://schemas.microsoft.com/office/drawing/2014/chart" uri="{C3380CC4-5D6E-409C-BE32-E72D297353CC}">
                <c16:uniqueId val="{00000023-FA3E-4872-B6E1-C4ABDF5766E2}"/>
              </c:ext>
            </c:extLst>
          </c:dPt>
          <c:dPt>
            <c:idx val="17"/>
            <c:invertIfNegative val="1"/>
            <c:bubble3D val="0"/>
            <c:spPr>
              <a:solidFill>
                <a:srgbClr val="AEABAB"/>
              </a:solidFill>
            </c:spPr>
            <c:extLst>
              <c:ext xmlns:c16="http://schemas.microsoft.com/office/drawing/2014/chart" uri="{C3380CC4-5D6E-409C-BE32-E72D297353CC}">
                <c16:uniqueId val="{00000025-FA3E-4872-B6E1-C4ABDF5766E2}"/>
              </c:ext>
            </c:extLst>
          </c:dPt>
          <c:dPt>
            <c:idx val="18"/>
            <c:invertIfNegative val="1"/>
            <c:bubble3D val="0"/>
            <c:spPr>
              <a:solidFill>
                <a:srgbClr val="AEABAB"/>
              </a:solidFill>
            </c:spPr>
            <c:extLst>
              <c:ext xmlns:c16="http://schemas.microsoft.com/office/drawing/2014/chart" uri="{C3380CC4-5D6E-409C-BE32-E72D297353CC}">
                <c16:uniqueId val="{00000027-FA3E-4872-B6E1-C4ABDF5766E2}"/>
              </c:ext>
            </c:extLst>
          </c:dPt>
          <c:dPt>
            <c:idx val="19"/>
            <c:invertIfNegative val="1"/>
            <c:bubble3D val="0"/>
            <c:spPr>
              <a:solidFill>
                <a:srgbClr val="AEABAB"/>
              </a:solidFill>
            </c:spPr>
            <c:extLst>
              <c:ext xmlns:c16="http://schemas.microsoft.com/office/drawing/2014/chart" uri="{C3380CC4-5D6E-409C-BE32-E72D297353CC}">
                <c16:uniqueId val="{00000029-FA3E-4872-B6E1-C4ABDF5766E2}"/>
              </c:ext>
            </c:extLst>
          </c:dPt>
          <c:dPt>
            <c:idx val="20"/>
            <c:invertIfNegative val="1"/>
            <c:bubble3D val="0"/>
            <c:spPr>
              <a:solidFill>
                <a:srgbClr val="AEABAB"/>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22</c:f>
              <c:strCache>
                <c:ptCount val="21"/>
                <c:pt idx="0">
                  <c:v>CHAMPAGNE E.NICOLAS BRUT 1CT X 750ML</c:v>
                </c:pt>
                <c:pt idx="1">
                  <c:v>CHAMPAGNE NICOLAS BLC/BLC BS 1CT X 750ML</c:v>
                </c:pt>
                <c:pt idx="2">
                  <c:v>CHAMPAGNE E.NICOLAS ROSE 1CT X 750ML</c:v>
                </c:pt>
                <c:pt idx="3">
                  <c:v>CHAMPAGNE NICOLAS 1ERE CUVEE 1CT X 750ML</c:v>
                </c:pt>
                <c:pt idx="4">
                  <c:v>MG CHAMPAGNE E.NICOLAS BRUT 1CT X 1500ML</c:v>
                </c:pt>
                <c:pt idx="5">
                  <c:v>1/2 CHAMPAGNE NICOLAS 1ERE CUV 1CT X 375ML</c:v>
                </c:pt>
                <c:pt idx="6">
                  <c:v>MG CHAMPAGNE NICOLAS BLC/BL BS 1CT X 1500ML</c:v>
                </c:pt>
                <c:pt idx="7">
                  <c:v>1/2 CHAMP NICOLAS BLC/BLC BS 1CT X 375ML</c:v>
                </c:pt>
                <c:pt idx="8">
                  <c:v>CHAMPAGNE NICOLAS ROSE 1ERE CU 1CT X 750ML</c:v>
                </c:pt>
                <c:pt idx="9">
                  <c:v>CHAMPAGNE NICOLAS BIO NAT 2017 1CT X 750ML</c:v>
                </c:pt>
                <c:pt idx="10">
                  <c:v>1/2 CHAMP NICOLAS ROSE 1E C BS 1CT X 375ML</c:v>
                </c:pt>
                <c:pt idx="11">
                  <c:v>CHAMPAGNE NICOLAS BLC DE NOIRS 1CT X 750ML</c:v>
                </c:pt>
                <c:pt idx="12">
                  <c:v>MG CHAMPAGNE NICOLAS 1ERE CUVE 1CT X 1500ML</c:v>
                </c:pt>
                <c:pt idx="13">
                  <c:v>CHAMPAGNE NICOLAS ROSE 1ERE ET 1CT X 750ML</c:v>
                </c:pt>
                <c:pt idx="14">
                  <c:v>CHAMPAGNE NICOLAS 1ER CRU BS 1CT X 750ML</c:v>
                </c:pt>
                <c:pt idx="15">
                  <c:v>CHAMPAGNE NICOLAS 1ER CRU ETUI 1CT X 750ML</c:v>
                </c:pt>
                <c:pt idx="16">
                  <c:v>MG CHAMPAGNE NICOLAS 1E CRU BS 1CT X 1500ML</c:v>
                </c:pt>
                <c:pt idx="17">
                  <c:v>CHAMPAGNE NICOLAS ROSE 1E C BS 1CT X 750ML</c:v>
                </c:pt>
                <c:pt idx="18">
                  <c:v>CHAMPAGNE NICOLAS 1ERE CUV ETU 1CT X 750ML</c:v>
                </c:pt>
                <c:pt idx="19">
                  <c:v>CHAMPAGNE NICOLAS BLC/BL BS ET 1CT X 750ML</c:v>
                </c:pt>
                <c:pt idx="20">
                  <c:v>1/2 CHAMPAGNE NICOLAS 1E C BS 1CT X 375ML</c:v>
                </c:pt>
              </c:strCache>
            </c:strRef>
          </c:cat>
          <c:val>
            <c:numRef>
              <c:f>Sheet1!$C$2:$C$22</c:f>
              <c:numCache>
                <c:formatCode>General</c:formatCode>
                <c:ptCount val="21"/>
                <c:pt idx="0">
                  <c:v>0.71819214546303201</c:v>
                </c:pt>
                <c:pt idx="1">
                  <c:v>0.79243169408284242</c:v>
                </c:pt>
                <c:pt idx="2">
                  <c:v>0.84258596369601868</c:v>
                </c:pt>
                <c:pt idx="3">
                  <c:v>0.88940224385924593</c:v>
                </c:pt>
                <c:pt idx="4">
                  <c:v>0.90770867582102688</c:v>
                </c:pt>
                <c:pt idx="5">
                  <c:v>0.92281989065562031</c:v>
                </c:pt>
                <c:pt idx="6">
                  <c:v>0.93383738369718561</c:v>
                </c:pt>
                <c:pt idx="7">
                  <c:v>0.94449725952644914</c:v>
                </c:pt>
                <c:pt idx="8">
                  <c:v>0.9549992621141975</c:v>
                </c:pt>
                <c:pt idx="9">
                  <c:v>0.96466453652191542</c:v>
                </c:pt>
                <c:pt idx="10">
                  <c:v>0.97404769831109972</c:v>
                </c:pt>
                <c:pt idx="11">
                  <c:v>0.98144714850037595</c:v>
                </c:pt>
                <c:pt idx="12">
                  <c:v>0.98753007313649532</c:v>
                </c:pt>
                <c:pt idx="13">
                  <c:v>0.99115566644816111</c:v>
                </c:pt>
                <c:pt idx="14">
                  <c:v>0.99431724971085189</c:v>
                </c:pt>
                <c:pt idx="15">
                  <c:v>0.9973079180294675</c:v>
                </c:pt>
                <c:pt idx="16">
                  <c:v>0.99824486139759017</c:v>
                </c:pt>
                <c:pt idx="17">
                  <c:v>0.99911522344211734</c:v>
                </c:pt>
                <c:pt idx="18">
                  <c:v>0.99987370140678811</c:v>
                </c:pt>
                <c:pt idx="19">
                  <c:v>0.99995401083834146</c:v>
                </c:pt>
                <c:pt idx="20">
                  <c:v>1.000000000000000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22</c:f>
              <c:strCache>
                <c:ptCount val="21"/>
                <c:pt idx="0">
                  <c:v>CHAMPAGNE E.NICOLAS BRUT 1CT X 750ML</c:v>
                </c:pt>
                <c:pt idx="1">
                  <c:v>CHAMPAGNE NICOLAS BLC/BLC BS 1CT X 750ML</c:v>
                </c:pt>
                <c:pt idx="2">
                  <c:v>CHAMPAGNE E.NICOLAS ROSE 1CT X 750ML</c:v>
                </c:pt>
                <c:pt idx="3">
                  <c:v>CHAMPAGNE NICOLAS 1ERE CUVEE 1CT X 750ML</c:v>
                </c:pt>
                <c:pt idx="4">
                  <c:v>MG CHAMPAGNE E.NICOLAS BRUT 1CT X 1500ML</c:v>
                </c:pt>
                <c:pt idx="5">
                  <c:v>1/2 CHAMPAGNE NICOLAS 1ERE CUV 1CT X 375ML</c:v>
                </c:pt>
                <c:pt idx="6">
                  <c:v>MG CHAMPAGNE NICOLAS BLC/BL BS 1CT X 1500ML</c:v>
                </c:pt>
                <c:pt idx="7">
                  <c:v>1/2 CHAMP NICOLAS BLC/BLC BS 1CT X 375ML</c:v>
                </c:pt>
                <c:pt idx="8">
                  <c:v>CHAMPAGNE NICOLAS ROSE 1ERE CU 1CT X 750ML</c:v>
                </c:pt>
                <c:pt idx="9">
                  <c:v>CHAMPAGNE NICOLAS BIO NAT 2017 1CT X 750ML</c:v>
                </c:pt>
                <c:pt idx="10">
                  <c:v>1/2 CHAMP NICOLAS ROSE 1E C BS 1CT X 375ML</c:v>
                </c:pt>
                <c:pt idx="11">
                  <c:v>CHAMPAGNE NICOLAS BLC DE NOIRS 1CT X 750ML</c:v>
                </c:pt>
                <c:pt idx="12">
                  <c:v>MG CHAMPAGNE NICOLAS 1ERE CUVE 1CT X 1500ML</c:v>
                </c:pt>
                <c:pt idx="13">
                  <c:v>CHAMPAGNE NICOLAS ROSE 1ERE ET 1CT X 750ML</c:v>
                </c:pt>
                <c:pt idx="14">
                  <c:v>CHAMPAGNE NICOLAS 1ER CRU BS 1CT X 750ML</c:v>
                </c:pt>
                <c:pt idx="15">
                  <c:v>CHAMPAGNE NICOLAS 1ER CRU ETUI 1CT X 750ML</c:v>
                </c:pt>
                <c:pt idx="16">
                  <c:v>MG CHAMPAGNE NICOLAS 1E CRU BS 1CT X 1500ML</c:v>
                </c:pt>
                <c:pt idx="17">
                  <c:v>CHAMPAGNE NICOLAS ROSE 1E C BS 1CT X 750ML</c:v>
                </c:pt>
                <c:pt idx="18">
                  <c:v>CHAMPAGNE NICOLAS 1ERE CUV ETU 1CT X 750ML</c:v>
                </c:pt>
                <c:pt idx="19">
                  <c:v>CHAMPAGNE NICOLAS BLC/BL BS ET 1CT X 750ML</c:v>
                </c:pt>
                <c:pt idx="20">
                  <c:v>1/2 CHAMPAGNE NICOLAS 1E C BS 1CT X 375ML</c:v>
                </c:pt>
              </c:strCache>
            </c:strRef>
          </c:cat>
          <c:val>
            <c:numRef>
              <c:f>Sheet1!$D$2:$D$22</c:f>
              <c:numCache>
                <c:formatCode>General</c:formatCode>
                <c:ptCount val="21"/>
                <c:pt idx="0">
                  <c:v>10463.09</c:v>
                </c:pt>
                <c:pt idx="1">
                  <c:v>1545.1</c:v>
                </c:pt>
                <c:pt idx="2">
                  <c:v>1000.931506849315</c:v>
                </c:pt>
                <c:pt idx="3">
                  <c:v>757.83333333333337</c:v>
                </c:pt>
                <c:pt idx="4">
                  <c:v>784.41176470588232</c:v>
                </c:pt>
                <c:pt idx="5">
                  <c:v>511.97674418604652</c:v>
                </c:pt>
                <c:pt idx="6">
                  <c:v>697.86956521739125</c:v>
                </c:pt>
                <c:pt idx="7">
                  <c:v>443.71428571428572</c:v>
                </c:pt>
                <c:pt idx="8">
                  <c:v>364.28571428571428</c:v>
                </c:pt>
                <c:pt idx="9">
                  <c:v>502.89285714285705</c:v>
                </c:pt>
                <c:pt idx="10">
                  <c:v>325.47619047619048</c:v>
                </c:pt>
                <c:pt idx="11">
                  <c:v>431.2</c:v>
                </c:pt>
                <c:pt idx="12">
                  <c:v>369.25</c:v>
                </c:pt>
                <c:pt idx="13">
                  <c:v>377.28571428571422</c:v>
                </c:pt>
                <c:pt idx="14">
                  <c:v>148.58064516129033</c:v>
                </c:pt>
                <c:pt idx="15">
                  <c:v>207.47619047619048</c:v>
                </c:pt>
                <c:pt idx="16">
                  <c:v>194.99999999999997</c:v>
                </c:pt>
                <c:pt idx="17">
                  <c:v>181.14285714285711</c:v>
                </c:pt>
                <c:pt idx="18">
                  <c:v>157.85714285714283</c:v>
                </c:pt>
                <c:pt idx="19">
                  <c:v>58.5</c:v>
                </c:pt>
                <c:pt idx="20">
                  <c:v>33.5</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23</c:f>
              <c:strCache>
                <c:ptCount val="22"/>
                <c:pt idx="0">
                  <c:v>CHAMPAGNE E.NICOLAS BRUT 1CT X 750ML</c:v>
                </c:pt>
                <c:pt idx="1">
                  <c:v>CHAMPAGNE NICOLAS BLC/BLC BS 1CT X 750ML</c:v>
                </c:pt>
                <c:pt idx="2">
                  <c:v>CHAMPAGNE E.NICOLAS ROSE 1CT X 750ML</c:v>
                </c:pt>
                <c:pt idx="3">
                  <c:v>CHAMPAGNE NICOLAS 1ERE CUVEE 1CT X 750ML</c:v>
                </c:pt>
                <c:pt idx="4">
                  <c:v>1/2 CHAMPAGNE NICOLAS 1ERE CUV 1CT X 375ML</c:v>
                </c:pt>
                <c:pt idx="5">
                  <c:v>MG CHAMPAGNE E.NICOLAS BRUT 1CT X 1500ML</c:v>
                </c:pt>
                <c:pt idx="6">
                  <c:v>CHAMPAGNE NICOLAS ROSE 1ERE CU 1CT X 750ML</c:v>
                </c:pt>
                <c:pt idx="7">
                  <c:v>MG CHAMPAGNE NICOLAS BLC/BL BS 1CT X 1500ML</c:v>
                </c:pt>
                <c:pt idx="8">
                  <c:v>CHAMPAGNE NICOLAS BIO NAT 2017 1CT X 750ML</c:v>
                </c:pt>
                <c:pt idx="9">
                  <c:v>1/2 CHAMP NICOLAS BLC/BLC BS 1CT X 375ML</c:v>
                </c:pt>
                <c:pt idx="10">
                  <c:v>1/2 CHAMP NICOLAS ROSE 1E C BS 1CT X 375ML</c:v>
                </c:pt>
                <c:pt idx="11">
                  <c:v>CHAMPAGNE NICOLAS BLC DE NOIRS 1CT X 750ML</c:v>
                </c:pt>
                <c:pt idx="12">
                  <c:v>MG CHAMPAGNE NICOLAS 1ERE CUVE 1CT X 1500ML</c:v>
                </c:pt>
                <c:pt idx="13">
                  <c:v>CHAMPAGNE NICOLAS 1ER CRU ETUI 1CT X 750ML</c:v>
                </c:pt>
                <c:pt idx="14">
                  <c:v>CHAMPAGNE NICOLAS 1ER CRU BS 1CT X 750ML</c:v>
                </c:pt>
                <c:pt idx="15">
                  <c:v>CHAMPAGNE NICOLAS ROSE 1ERE ET 1CT X 750ML</c:v>
                </c:pt>
                <c:pt idx="16">
                  <c:v>CHAMPAGNE NICOLAS 1ERE CUV ETU 1CT X 750ML</c:v>
                </c:pt>
                <c:pt idx="17">
                  <c:v>MG CHAMPAGNE NICOLAS 1E CRU BS 1CT X 1500ML</c:v>
                </c:pt>
                <c:pt idx="18">
                  <c:v>CHAMPAGNE NICOLAS ROSE 1E C BS 1CT X 750ML</c:v>
                </c:pt>
                <c:pt idx="19">
                  <c:v>CHAMPAGNE NICOLAS BLC/BL BS ET 1CT X 750ML</c:v>
                </c:pt>
                <c:pt idx="20">
                  <c:v>MG CHAMPAGNE NICOLAS BRUT 1CT X 1500ML</c:v>
                </c:pt>
                <c:pt idx="21">
                  <c:v>1/2 CHAMPAGNE NICOLAS 1E C BS 1CT X 375ML</c:v>
                </c:pt>
              </c:strCache>
            </c:strRef>
          </c:cat>
          <c:val>
            <c:numRef>
              <c:f>Sheet1!$B$2:$B$23</c:f>
              <c:numCache>
                <c:formatCode>General</c:formatCode>
                <c:ptCount val="22"/>
                <c:pt idx="0">
                  <c:v>1</c:v>
                </c:pt>
                <c:pt idx="1">
                  <c:v>0.69</c:v>
                </c:pt>
                <c:pt idx="2">
                  <c:v>0.75</c:v>
                </c:pt>
                <c:pt idx="3">
                  <c:v>0.91</c:v>
                </c:pt>
                <c:pt idx="4">
                  <c:v>0.45</c:v>
                </c:pt>
                <c:pt idx="5">
                  <c:v>0.21</c:v>
                </c:pt>
                <c:pt idx="6">
                  <c:v>0.32</c:v>
                </c:pt>
                <c:pt idx="7">
                  <c:v>0.19</c:v>
                </c:pt>
                <c:pt idx="8">
                  <c:v>0.21</c:v>
                </c:pt>
                <c:pt idx="9">
                  <c:v>0.3</c:v>
                </c:pt>
                <c:pt idx="10">
                  <c:v>0.32</c:v>
                </c:pt>
                <c:pt idx="11">
                  <c:v>0.21</c:v>
                </c:pt>
                <c:pt idx="12">
                  <c:v>0.12</c:v>
                </c:pt>
                <c:pt idx="13">
                  <c:v>0.23</c:v>
                </c:pt>
                <c:pt idx="14">
                  <c:v>0.44</c:v>
                </c:pt>
                <c:pt idx="15">
                  <c:v>0.16</c:v>
                </c:pt>
                <c:pt idx="16">
                  <c:v>0.12</c:v>
                </c:pt>
                <c:pt idx="17">
                  <c:v>0.04</c:v>
                </c:pt>
                <c:pt idx="18">
                  <c:v>0.04</c:v>
                </c:pt>
                <c:pt idx="19">
                  <c:v>0.05</c:v>
                </c:pt>
                <c:pt idx="20">
                  <c:v>0.01</c:v>
                </c:pt>
                <c:pt idx="21">
                  <c:v>0.01</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7ECAC4"/>
              </a:solidFill>
            </c:spPr>
            <c:extLst>
              <c:ext xmlns:c16="http://schemas.microsoft.com/office/drawing/2014/chart" uri="{C3380CC4-5D6E-409C-BE32-E72D297353CC}">
                <c16:uniqueId val="{00000008-D8F4-40C6-A5E0-DB4B53CFB1F3}"/>
              </c:ext>
            </c:extLst>
          </c:dPt>
          <c:dPt>
            <c:idx val="2"/>
            <c:invertIfNegative val="0"/>
            <c:bubble3D val="0"/>
            <c:spPr>
              <a:solidFill>
                <a:srgbClr val="7ECAC4"/>
              </a:solidFill>
            </c:spPr>
            <c:extLst>
              <c:ext xmlns:c16="http://schemas.microsoft.com/office/drawing/2014/chart" uri="{C3380CC4-5D6E-409C-BE32-E72D297353CC}">
                <c16:uniqueId val="{00000006-E902-46E2-9A54-39A26B3DFDC1}"/>
              </c:ext>
            </c:extLst>
          </c:dPt>
          <c:dPt>
            <c:idx val="3"/>
            <c:invertIfNegative val="0"/>
            <c:bubble3D val="0"/>
            <c:spPr>
              <a:solidFill>
                <a:srgbClr val="7ECAC4"/>
              </a:solidFill>
            </c:spPr>
            <c:extLst>
              <c:ext xmlns:c16="http://schemas.microsoft.com/office/drawing/2014/chart" uri="{C3380CC4-5D6E-409C-BE32-E72D297353CC}">
                <c16:uniqueId val="{00000007-E902-46E2-9A54-39A26B3DFDC1}"/>
              </c:ext>
            </c:extLst>
          </c:dPt>
          <c:dPt>
            <c:idx val="4"/>
            <c:invertIfNegative val="1"/>
            <c:bubble3D val="0"/>
            <c:spPr>
              <a:solidFill>
                <a:srgbClr val="7ECAC4"/>
              </a:solidFill>
            </c:spPr>
            <c:extLst>
              <c:ext xmlns:c16="http://schemas.microsoft.com/office/drawing/2014/chart" uri="{C3380CC4-5D6E-409C-BE32-E72D297353CC}">
                <c16:uniqueId val="{0000000B-FA3E-4872-B6E1-C4ABDF5766E2}"/>
              </c:ext>
            </c:extLst>
          </c:dPt>
          <c:dPt>
            <c:idx val="5"/>
            <c:invertIfNegative val="1"/>
            <c:bubble3D val="0"/>
            <c:spPr>
              <a:solidFill>
                <a:srgbClr val="7ECAC4"/>
              </a:solidFill>
            </c:spPr>
            <c:extLst>
              <c:ext xmlns:c16="http://schemas.microsoft.com/office/drawing/2014/chart" uri="{C3380CC4-5D6E-409C-BE32-E72D297353CC}">
                <c16:uniqueId val="{0000000D-FA3E-4872-B6E1-C4ABDF5766E2}"/>
              </c:ext>
            </c:extLst>
          </c:dPt>
          <c:dPt>
            <c:idx val="6"/>
            <c:invertIfNegative val="1"/>
            <c:bubble3D val="0"/>
            <c:spPr>
              <a:solidFill>
                <a:srgbClr val="7ECAC4"/>
              </a:solidFill>
            </c:spPr>
            <c:extLst>
              <c:ext xmlns:c16="http://schemas.microsoft.com/office/drawing/2014/chart" uri="{C3380CC4-5D6E-409C-BE32-E72D297353CC}">
                <c16:uniqueId val="{0000000F-FA3E-4872-B6E1-C4ABDF5766E2}"/>
              </c:ext>
            </c:extLst>
          </c:dPt>
          <c:dPt>
            <c:idx val="7"/>
            <c:invertIfNegative val="1"/>
            <c:bubble3D val="0"/>
            <c:spPr>
              <a:solidFill>
                <a:srgbClr val="7ECAC4"/>
              </a:solidFill>
            </c:spPr>
            <c:extLst>
              <c:ext xmlns:c16="http://schemas.microsoft.com/office/drawing/2014/chart" uri="{C3380CC4-5D6E-409C-BE32-E72D297353CC}">
                <c16:uniqueId val="{00000011-FA3E-4872-B6E1-C4ABDF5766E2}"/>
              </c:ext>
            </c:extLst>
          </c:dPt>
          <c:dPt>
            <c:idx val="8"/>
            <c:invertIfNegative val="1"/>
            <c:bubble3D val="0"/>
            <c:spPr>
              <a:solidFill>
                <a:srgbClr val="AEABAB"/>
              </a:solidFill>
            </c:spPr>
            <c:extLst>
              <c:ext xmlns:c16="http://schemas.microsoft.com/office/drawing/2014/chart" uri="{C3380CC4-5D6E-409C-BE32-E72D297353CC}">
                <c16:uniqueId val="{00000013-FA3E-4872-B6E1-C4ABDF5766E2}"/>
              </c:ext>
            </c:extLst>
          </c:dPt>
          <c:dPt>
            <c:idx val="9"/>
            <c:invertIfNegative val="1"/>
            <c:bubble3D val="0"/>
            <c:spPr>
              <a:solidFill>
                <a:srgbClr val="AEABAB"/>
              </a:solidFill>
            </c:spPr>
            <c:extLst>
              <c:ext xmlns:c16="http://schemas.microsoft.com/office/drawing/2014/chart" uri="{C3380CC4-5D6E-409C-BE32-E72D297353CC}">
                <c16:uniqueId val="{00000015-FA3E-4872-B6E1-C4ABDF5766E2}"/>
              </c:ext>
            </c:extLst>
          </c:dPt>
          <c:dPt>
            <c:idx val="10"/>
            <c:invertIfNegative val="1"/>
            <c:bubble3D val="0"/>
            <c:spPr>
              <a:solidFill>
                <a:srgbClr val="AEABAB"/>
              </a:solidFill>
            </c:spPr>
            <c:extLst>
              <c:ext xmlns:c16="http://schemas.microsoft.com/office/drawing/2014/chart" uri="{C3380CC4-5D6E-409C-BE32-E72D297353CC}">
                <c16:uniqueId val="{00000017-FA3E-4872-B6E1-C4ABDF5766E2}"/>
              </c:ext>
            </c:extLst>
          </c:dPt>
          <c:dPt>
            <c:idx val="11"/>
            <c:invertIfNegative val="1"/>
            <c:bubble3D val="0"/>
            <c:spPr>
              <a:solidFill>
                <a:srgbClr val="AEABAB"/>
              </a:solidFill>
            </c:spPr>
            <c:extLst>
              <c:ext xmlns:c16="http://schemas.microsoft.com/office/drawing/2014/chart" uri="{C3380CC4-5D6E-409C-BE32-E72D297353CC}">
                <c16:uniqueId val="{00000019-FA3E-4872-B6E1-C4ABDF5766E2}"/>
              </c:ext>
            </c:extLst>
          </c:dPt>
          <c:dPt>
            <c:idx val="12"/>
            <c:invertIfNegative val="1"/>
            <c:bubble3D val="0"/>
            <c:spPr>
              <a:solidFill>
                <a:srgbClr val="AEABAB"/>
              </a:solidFill>
            </c:spPr>
            <c:extLst>
              <c:ext xmlns:c16="http://schemas.microsoft.com/office/drawing/2014/chart" uri="{C3380CC4-5D6E-409C-BE32-E72D297353CC}">
                <c16:uniqueId val="{0000001B-FA3E-4872-B6E1-C4ABDF5766E2}"/>
              </c:ext>
            </c:extLst>
          </c:dPt>
          <c:dPt>
            <c:idx val="13"/>
            <c:invertIfNegative val="1"/>
            <c:bubble3D val="0"/>
            <c:spPr>
              <a:solidFill>
                <a:srgbClr val="AEABAB"/>
              </a:solidFill>
            </c:spPr>
            <c:extLst>
              <c:ext xmlns:c16="http://schemas.microsoft.com/office/drawing/2014/chart" uri="{C3380CC4-5D6E-409C-BE32-E72D297353CC}">
                <c16:uniqueId val="{0000001D-FA3E-4872-B6E1-C4ABDF5766E2}"/>
              </c:ext>
            </c:extLst>
          </c:dPt>
          <c:dPt>
            <c:idx val="14"/>
            <c:invertIfNegative val="1"/>
            <c:bubble3D val="0"/>
            <c:spPr>
              <a:solidFill>
                <a:srgbClr val="AEABAB"/>
              </a:solidFill>
            </c:spPr>
            <c:extLst>
              <c:ext xmlns:c16="http://schemas.microsoft.com/office/drawing/2014/chart" uri="{C3380CC4-5D6E-409C-BE32-E72D297353CC}">
                <c16:uniqueId val="{0000001F-FA3E-4872-B6E1-C4ABDF5766E2}"/>
              </c:ext>
            </c:extLst>
          </c:dPt>
          <c:dPt>
            <c:idx val="15"/>
            <c:invertIfNegative val="1"/>
            <c:bubble3D val="0"/>
            <c:spPr>
              <a:solidFill>
                <a:srgbClr val="AEABAB"/>
              </a:solidFill>
            </c:spPr>
            <c:extLst>
              <c:ext xmlns:c16="http://schemas.microsoft.com/office/drawing/2014/chart" uri="{C3380CC4-5D6E-409C-BE32-E72D297353CC}">
                <c16:uniqueId val="{00000021-FA3E-4872-B6E1-C4ABDF5766E2}"/>
              </c:ext>
            </c:extLst>
          </c:dPt>
          <c:dPt>
            <c:idx val="16"/>
            <c:invertIfNegative val="1"/>
            <c:bubble3D val="0"/>
            <c:spPr>
              <a:solidFill>
                <a:srgbClr val="AEABAB"/>
              </a:solidFill>
            </c:spPr>
            <c:extLst>
              <c:ext xmlns:c16="http://schemas.microsoft.com/office/drawing/2014/chart" uri="{C3380CC4-5D6E-409C-BE32-E72D297353CC}">
                <c16:uniqueId val="{00000023-FA3E-4872-B6E1-C4ABDF5766E2}"/>
              </c:ext>
            </c:extLst>
          </c:dPt>
          <c:dPt>
            <c:idx val="17"/>
            <c:invertIfNegative val="1"/>
            <c:bubble3D val="0"/>
            <c:spPr>
              <a:solidFill>
                <a:srgbClr val="AEABAB"/>
              </a:solidFill>
            </c:spPr>
            <c:extLst>
              <c:ext xmlns:c16="http://schemas.microsoft.com/office/drawing/2014/chart" uri="{C3380CC4-5D6E-409C-BE32-E72D297353CC}">
                <c16:uniqueId val="{00000025-FA3E-4872-B6E1-C4ABDF5766E2}"/>
              </c:ext>
            </c:extLst>
          </c:dPt>
          <c:dPt>
            <c:idx val="18"/>
            <c:invertIfNegative val="1"/>
            <c:bubble3D val="0"/>
            <c:spPr>
              <a:solidFill>
                <a:srgbClr val="AEABAB"/>
              </a:solidFill>
            </c:spPr>
            <c:extLst>
              <c:ext xmlns:c16="http://schemas.microsoft.com/office/drawing/2014/chart" uri="{C3380CC4-5D6E-409C-BE32-E72D297353CC}">
                <c16:uniqueId val="{00000027-FA3E-4872-B6E1-C4ABDF5766E2}"/>
              </c:ext>
            </c:extLst>
          </c:dPt>
          <c:dPt>
            <c:idx val="19"/>
            <c:invertIfNegative val="1"/>
            <c:bubble3D val="0"/>
            <c:spPr>
              <a:solidFill>
                <a:srgbClr val="AEABAB"/>
              </a:solidFill>
            </c:spPr>
            <c:extLst>
              <c:ext xmlns:c16="http://schemas.microsoft.com/office/drawing/2014/chart" uri="{C3380CC4-5D6E-409C-BE32-E72D297353CC}">
                <c16:uniqueId val="{00000029-FA3E-4872-B6E1-C4ABDF5766E2}"/>
              </c:ext>
            </c:extLst>
          </c:dPt>
          <c:dPt>
            <c:idx val="20"/>
            <c:invertIfNegative val="1"/>
            <c:bubble3D val="0"/>
            <c:spPr>
              <a:solidFill>
                <a:srgbClr val="AEABAB"/>
              </a:solidFill>
            </c:spPr>
            <c:extLst>
              <c:ext xmlns:c16="http://schemas.microsoft.com/office/drawing/2014/chart" uri="{C3380CC4-5D6E-409C-BE32-E72D297353CC}">
                <c16:uniqueId val="{0000002B-FA3E-4872-B6E1-C4ABDF5766E2}"/>
              </c:ext>
            </c:extLst>
          </c:dPt>
          <c:dPt>
            <c:idx val="21"/>
            <c:invertIfNegative val="1"/>
            <c:bubble3D val="0"/>
            <c:spPr>
              <a:solidFill>
                <a:srgbClr val="AEABAB"/>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23</c:f>
              <c:strCache>
                <c:ptCount val="22"/>
                <c:pt idx="0">
                  <c:v>CHAMPAGNE E.NICOLAS BRUT 1CT X 750ML</c:v>
                </c:pt>
                <c:pt idx="1">
                  <c:v>CHAMPAGNE NICOLAS BLC/BLC BS 1CT X 750ML</c:v>
                </c:pt>
                <c:pt idx="2">
                  <c:v>CHAMPAGNE E.NICOLAS ROSE 1CT X 750ML</c:v>
                </c:pt>
                <c:pt idx="3">
                  <c:v>CHAMPAGNE NICOLAS 1ERE CUVEE 1CT X 750ML</c:v>
                </c:pt>
                <c:pt idx="4">
                  <c:v>1/2 CHAMPAGNE NICOLAS 1ERE CUV 1CT X 375ML</c:v>
                </c:pt>
                <c:pt idx="5">
                  <c:v>MG CHAMPAGNE E.NICOLAS BRUT 1CT X 1500ML</c:v>
                </c:pt>
                <c:pt idx="6">
                  <c:v>CHAMPAGNE NICOLAS ROSE 1ERE CU 1CT X 750ML</c:v>
                </c:pt>
                <c:pt idx="7">
                  <c:v>MG CHAMPAGNE NICOLAS BLC/BL BS 1CT X 1500ML</c:v>
                </c:pt>
                <c:pt idx="8">
                  <c:v>CHAMPAGNE NICOLAS BIO NAT 2017 1CT X 750ML</c:v>
                </c:pt>
                <c:pt idx="9">
                  <c:v>1/2 CHAMP NICOLAS BLC/BLC BS 1CT X 375ML</c:v>
                </c:pt>
                <c:pt idx="10">
                  <c:v>1/2 CHAMP NICOLAS ROSE 1E C BS 1CT X 375ML</c:v>
                </c:pt>
                <c:pt idx="11">
                  <c:v>CHAMPAGNE NICOLAS BLC DE NOIRS 1CT X 750ML</c:v>
                </c:pt>
                <c:pt idx="12">
                  <c:v>MG CHAMPAGNE NICOLAS 1ERE CUVE 1CT X 1500ML</c:v>
                </c:pt>
                <c:pt idx="13">
                  <c:v>CHAMPAGNE NICOLAS 1ER CRU ETUI 1CT X 750ML</c:v>
                </c:pt>
                <c:pt idx="14">
                  <c:v>CHAMPAGNE NICOLAS 1ER CRU BS 1CT X 750ML</c:v>
                </c:pt>
                <c:pt idx="15">
                  <c:v>CHAMPAGNE NICOLAS ROSE 1ERE ET 1CT X 750ML</c:v>
                </c:pt>
                <c:pt idx="16">
                  <c:v>CHAMPAGNE NICOLAS 1ERE CUV ETU 1CT X 750ML</c:v>
                </c:pt>
                <c:pt idx="17">
                  <c:v>MG CHAMPAGNE NICOLAS 1E CRU BS 1CT X 1500ML</c:v>
                </c:pt>
                <c:pt idx="18">
                  <c:v>CHAMPAGNE NICOLAS ROSE 1E C BS 1CT X 750ML</c:v>
                </c:pt>
                <c:pt idx="19">
                  <c:v>CHAMPAGNE NICOLAS BLC/BL BS ET 1CT X 750ML</c:v>
                </c:pt>
                <c:pt idx="20">
                  <c:v>MG CHAMPAGNE NICOLAS BRUT 1CT X 1500ML</c:v>
                </c:pt>
                <c:pt idx="21">
                  <c:v>1/2 CHAMPAGNE NICOLAS 1E C BS 1CT X 375ML</c:v>
                </c:pt>
              </c:strCache>
            </c:strRef>
          </c:cat>
          <c:val>
            <c:numRef>
              <c:f>Sheet1!$C$2:$C$23</c:f>
              <c:numCache>
                <c:formatCode>General</c:formatCode>
                <c:ptCount val="22"/>
                <c:pt idx="0">
                  <c:v>0.74290128597195593</c:v>
                </c:pt>
                <c:pt idx="1">
                  <c:v>0.80744321087837534</c:v>
                </c:pt>
                <c:pt idx="2">
                  <c:v>0.85323713644154175</c:v>
                </c:pt>
                <c:pt idx="3">
                  <c:v>0.89204426663453795</c:v>
                </c:pt>
                <c:pt idx="4">
                  <c:v>0.9114431069328145</c:v>
                </c:pt>
                <c:pt idx="5">
                  <c:v>0.92288538702594025</c:v>
                </c:pt>
                <c:pt idx="6">
                  <c:v>0.93317363515344365</c:v>
                </c:pt>
                <c:pt idx="7">
                  <c:v>0.94342644729428515</c:v>
                </c:pt>
                <c:pt idx="8">
                  <c:v>0.95282525215657499</c:v>
                </c:pt>
                <c:pt idx="9">
                  <c:v>0.96084559713771711</c:v>
                </c:pt>
                <c:pt idx="10">
                  <c:v>0.96880688214108945</c:v>
                </c:pt>
                <c:pt idx="11">
                  <c:v>0.97516646054734413</c:v>
                </c:pt>
                <c:pt idx="12">
                  <c:v>0.98097205636211782</c:v>
                </c:pt>
                <c:pt idx="13">
                  <c:v>0.98669142460934756</c:v>
                </c:pt>
                <c:pt idx="14">
                  <c:v>0.99208123818062177</c:v>
                </c:pt>
                <c:pt idx="15">
                  <c:v>0.99541103972728451</c:v>
                </c:pt>
                <c:pt idx="16">
                  <c:v>0.99725843583192464</c:v>
                </c:pt>
                <c:pt idx="17">
                  <c:v>0.99832860262911383</c:v>
                </c:pt>
                <c:pt idx="18">
                  <c:v>0.99923694508721372</c:v>
                </c:pt>
                <c:pt idx="19">
                  <c:v>0.99992676562756522</c:v>
                </c:pt>
                <c:pt idx="20">
                  <c:v>0.9999751948093365</c:v>
                </c:pt>
                <c:pt idx="21">
                  <c:v>0.99999999999999978</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23</c:f>
              <c:strCache>
                <c:ptCount val="22"/>
                <c:pt idx="0">
                  <c:v>CHAMPAGNE E.NICOLAS BRUT 1CT X 750ML</c:v>
                </c:pt>
                <c:pt idx="1">
                  <c:v>CHAMPAGNE NICOLAS BLC/BLC BS 1CT X 750ML</c:v>
                </c:pt>
                <c:pt idx="2">
                  <c:v>CHAMPAGNE E.NICOLAS ROSE 1CT X 750ML</c:v>
                </c:pt>
                <c:pt idx="3">
                  <c:v>CHAMPAGNE NICOLAS 1ERE CUVEE 1CT X 750ML</c:v>
                </c:pt>
                <c:pt idx="4">
                  <c:v>1/2 CHAMPAGNE NICOLAS 1ERE CUV 1CT X 375ML</c:v>
                </c:pt>
                <c:pt idx="5">
                  <c:v>MG CHAMPAGNE E.NICOLAS BRUT 1CT X 1500ML</c:v>
                </c:pt>
                <c:pt idx="6">
                  <c:v>CHAMPAGNE NICOLAS ROSE 1ERE CU 1CT X 750ML</c:v>
                </c:pt>
                <c:pt idx="7">
                  <c:v>MG CHAMPAGNE NICOLAS BLC/BL BS 1CT X 1500ML</c:v>
                </c:pt>
                <c:pt idx="8">
                  <c:v>CHAMPAGNE NICOLAS BIO NAT 2017 1CT X 750ML</c:v>
                </c:pt>
                <c:pt idx="9">
                  <c:v>1/2 CHAMP NICOLAS BLC/BLC BS 1CT X 375ML</c:v>
                </c:pt>
                <c:pt idx="10">
                  <c:v>1/2 CHAMP NICOLAS ROSE 1E C BS 1CT X 375ML</c:v>
                </c:pt>
                <c:pt idx="11">
                  <c:v>CHAMPAGNE NICOLAS BLC DE NOIRS 1CT X 750ML</c:v>
                </c:pt>
                <c:pt idx="12">
                  <c:v>MG CHAMPAGNE NICOLAS 1ERE CUVE 1CT X 1500ML</c:v>
                </c:pt>
                <c:pt idx="13">
                  <c:v>CHAMPAGNE NICOLAS 1ER CRU ETUI 1CT X 750ML</c:v>
                </c:pt>
                <c:pt idx="14">
                  <c:v>CHAMPAGNE NICOLAS 1ER CRU BS 1CT X 750ML</c:v>
                </c:pt>
                <c:pt idx="15">
                  <c:v>CHAMPAGNE NICOLAS ROSE 1ERE ET 1CT X 750ML</c:v>
                </c:pt>
                <c:pt idx="16">
                  <c:v>CHAMPAGNE NICOLAS 1ERE CUV ETU 1CT X 750ML</c:v>
                </c:pt>
                <c:pt idx="17">
                  <c:v>MG CHAMPAGNE NICOLAS 1E CRU BS 1CT X 1500ML</c:v>
                </c:pt>
                <c:pt idx="18">
                  <c:v>CHAMPAGNE NICOLAS ROSE 1E C BS 1CT X 750ML</c:v>
                </c:pt>
                <c:pt idx="19">
                  <c:v>CHAMPAGNE NICOLAS BLC/BL BS ET 1CT X 750ML</c:v>
                </c:pt>
                <c:pt idx="20">
                  <c:v>MG CHAMPAGNE NICOLAS BRUT 1CT X 1500ML</c:v>
                </c:pt>
                <c:pt idx="21">
                  <c:v>1/2 CHAMPAGNE NICOLAS 1E C BS 1CT X 375ML</c:v>
                </c:pt>
              </c:strCache>
            </c:strRef>
          </c:cat>
          <c:val>
            <c:numRef>
              <c:f>Sheet1!$D$2:$D$23</c:f>
              <c:numCache>
                <c:formatCode>General</c:formatCode>
                <c:ptCount val="22"/>
                <c:pt idx="0">
                  <c:v>6289.38</c:v>
                </c:pt>
                <c:pt idx="1">
                  <c:v>791.89855072463763</c:v>
                </c:pt>
                <c:pt idx="2">
                  <c:v>516.91999999999996</c:v>
                </c:pt>
                <c:pt idx="3">
                  <c:v>361.03296703296701</c:v>
                </c:pt>
                <c:pt idx="4">
                  <c:v>364.95555555555558</c:v>
                </c:pt>
                <c:pt idx="5">
                  <c:v>461.28571428571428</c:v>
                </c:pt>
                <c:pt idx="6">
                  <c:v>272.1875</c:v>
                </c:pt>
                <c:pt idx="7">
                  <c:v>456.84210526315792</c:v>
                </c:pt>
                <c:pt idx="8">
                  <c:v>378.90476190476193</c:v>
                </c:pt>
                <c:pt idx="9">
                  <c:v>226.33333333333334</c:v>
                </c:pt>
                <c:pt idx="10">
                  <c:v>210.625</c:v>
                </c:pt>
                <c:pt idx="11">
                  <c:v>256.38095238095241</c:v>
                </c:pt>
                <c:pt idx="12">
                  <c:v>409.58333333333331</c:v>
                </c:pt>
                <c:pt idx="13">
                  <c:v>210.52173913043478</c:v>
                </c:pt>
                <c:pt idx="14">
                  <c:v>103.70454545454545</c:v>
                </c:pt>
                <c:pt idx="15">
                  <c:v>176.1875</c:v>
                </c:pt>
                <c:pt idx="16">
                  <c:v>130.33333333333334</c:v>
                </c:pt>
                <c:pt idx="17">
                  <c:v>226.5</c:v>
                </c:pt>
                <c:pt idx="18">
                  <c:v>192.25</c:v>
                </c:pt>
                <c:pt idx="19">
                  <c:v>116.8</c:v>
                </c:pt>
                <c:pt idx="20">
                  <c:v>41</c:v>
                </c:pt>
                <c:pt idx="21">
                  <c:v>21</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23</c:f>
              <c:strCache>
                <c:ptCount val="22"/>
                <c:pt idx="0">
                  <c:v>CHAMPAGNE E.NICOLAS BRUT 1CT X 750ML</c:v>
                </c:pt>
                <c:pt idx="1">
                  <c:v>CHAMPAGNE NICOLAS BLC/BLC BS 1CT X 750ML</c:v>
                </c:pt>
                <c:pt idx="2">
                  <c:v>CHAMPAGNE E.NICOLAS ROSE 1CT X 750ML</c:v>
                </c:pt>
                <c:pt idx="3">
                  <c:v>CHAMPAGNE NICOLAS 1ERE CUVEE 1CT X 750ML</c:v>
                </c:pt>
                <c:pt idx="4">
                  <c:v>1/2 CHAMPAGNE NICOLAS 1ERE CUV 1CT X 375ML</c:v>
                </c:pt>
                <c:pt idx="5">
                  <c:v>MG CHAMPAGNE E.NICOLAS BRUT 1CT X 1500ML</c:v>
                </c:pt>
                <c:pt idx="6">
                  <c:v>CHAMPAGNE NICOLAS ROSE 1ERE CU 1CT X 750ML</c:v>
                </c:pt>
                <c:pt idx="7">
                  <c:v>1/2 CHAMP NICOLAS BLC/BLC BS 1CT X 375ML</c:v>
                </c:pt>
                <c:pt idx="8">
                  <c:v>CHAMPAGNE NICOLAS BIO NAT 2017 1CT X 750ML</c:v>
                </c:pt>
                <c:pt idx="9">
                  <c:v>MG CHAMPAGNE NICOLAS BLC/BL BS 1CT X 1500ML</c:v>
                </c:pt>
                <c:pt idx="10">
                  <c:v>1/2 CHAMP NICOLAS ROSE 1E C BS 1CT X 375ML</c:v>
                </c:pt>
                <c:pt idx="11">
                  <c:v>CHAMPAGNE NICOLAS BLC DE NOIRS 1CT X 750ML</c:v>
                </c:pt>
                <c:pt idx="12">
                  <c:v>MG CHAMPAGNE NICOLAS 1ERE CUVE 1CT X 1500ML</c:v>
                </c:pt>
                <c:pt idx="13">
                  <c:v>CHAMPAGNE NICOLAS 1ER CRU BS 1CT X 750ML</c:v>
                </c:pt>
                <c:pt idx="14">
                  <c:v>CHAMPAGNE NICOLAS 1ER CRU ETUI 1CT X 750ML</c:v>
                </c:pt>
                <c:pt idx="15">
                  <c:v>CHAMPAGNE NICOLAS ROSE 1ERE ET 1CT X 750ML</c:v>
                </c:pt>
                <c:pt idx="16">
                  <c:v>CHAMPAGNE NICOLAS 1ERE CUV ETU 1CT X 750ML</c:v>
                </c:pt>
                <c:pt idx="17">
                  <c:v>CHAMPAGNE NICOLAS ROSE 1E C BS 1CT X 750ML</c:v>
                </c:pt>
                <c:pt idx="18">
                  <c:v>CHAMPAGNE NICOLAS BLC/BL BS ET 1CT X 750ML</c:v>
                </c:pt>
                <c:pt idx="19">
                  <c:v>MG CHAMPAGNE NICOLAS 1E CRU BS 1CT X 1500ML</c:v>
                </c:pt>
                <c:pt idx="20">
                  <c:v>CHAMPAGNE NICOLAS BIO 2018 1CT X 750ML</c:v>
                </c:pt>
                <c:pt idx="21">
                  <c:v>1/2 CHAMPAGNE NICOLAS 1E C BS 1CT X 375ML</c:v>
                </c:pt>
              </c:strCache>
            </c:strRef>
          </c:cat>
          <c:val>
            <c:numRef>
              <c:f>Sheet1!$B$2:$B$23</c:f>
              <c:numCache>
                <c:formatCode>General</c:formatCode>
                <c:ptCount val="22"/>
                <c:pt idx="0">
                  <c:v>1</c:v>
                </c:pt>
                <c:pt idx="1">
                  <c:v>0.51</c:v>
                </c:pt>
                <c:pt idx="2">
                  <c:v>0.56000000000000005</c:v>
                </c:pt>
                <c:pt idx="3">
                  <c:v>0.77</c:v>
                </c:pt>
                <c:pt idx="4">
                  <c:v>0.36</c:v>
                </c:pt>
                <c:pt idx="5">
                  <c:v>0.17</c:v>
                </c:pt>
                <c:pt idx="6">
                  <c:v>0.32</c:v>
                </c:pt>
                <c:pt idx="7">
                  <c:v>0.25</c:v>
                </c:pt>
                <c:pt idx="8">
                  <c:v>0.18</c:v>
                </c:pt>
                <c:pt idx="9">
                  <c:v>0.13</c:v>
                </c:pt>
                <c:pt idx="10">
                  <c:v>0.23</c:v>
                </c:pt>
                <c:pt idx="11">
                  <c:v>0.17</c:v>
                </c:pt>
                <c:pt idx="12">
                  <c:v>0.06</c:v>
                </c:pt>
                <c:pt idx="13">
                  <c:v>0.28000000000000003</c:v>
                </c:pt>
                <c:pt idx="14">
                  <c:v>0.19</c:v>
                </c:pt>
                <c:pt idx="15">
                  <c:v>0.09</c:v>
                </c:pt>
                <c:pt idx="16">
                  <c:v>0.16</c:v>
                </c:pt>
                <c:pt idx="17">
                  <c:v>0.06</c:v>
                </c:pt>
                <c:pt idx="18">
                  <c:v>0.03</c:v>
                </c:pt>
                <c:pt idx="19">
                  <c:v>0.05</c:v>
                </c:pt>
                <c:pt idx="20">
                  <c:v>0.02</c:v>
                </c:pt>
                <c:pt idx="21">
                  <c:v>0.01</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7ECAC4"/>
              </a:solidFill>
            </c:spPr>
            <c:extLst>
              <c:ext xmlns:c16="http://schemas.microsoft.com/office/drawing/2014/chart" uri="{C3380CC4-5D6E-409C-BE32-E72D297353CC}">
                <c16:uniqueId val="{00000006-E902-46E2-9A54-39A26B3DFDC1}"/>
              </c:ext>
            </c:extLst>
          </c:dPt>
          <c:dPt>
            <c:idx val="3"/>
            <c:invertIfNegative val="0"/>
            <c:bubble3D val="0"/>
            <c:spPr>
              <a:solidFill>
                <a:srgbClr val="7ECAC4"/>
              </a:solidFill>
            </c:spPr>
            <c:extLst>
              <c:ext xmlns:c16="http://schemas.microsoft.com/office/drawing/2014/chart" uri="{C3380CC4-5D6E-409C-BE32-E72D297353CC}">
                <c16:uniqueId val="{00000007-E902-46E2-9A54-39A26B3DFDC1}"/>
              </c:ext>
            </c:extLst>
          </c:dPt>
          <c:dPt>
            <c:idx val="4"/>
            <c:invertIfNegative val="1"/>
            <c:bubble3D val="0"/>
            <c:spPr>
              <a:solidFill>
                <a:srgbClr val="7ECAC4"/>
              </a:solidFill>
            </c:spPr>
            <c:extLst>
              <c:ext xmlns:c16="http://schemas.microsoft.com/office/drawing/2014/chart" uri="{C3380CC4-5D6E-409C-BE32-E72D297353CC}">
                <c16:uniqueId val="{0000000B-FA3E-4872-B6E1-C4ABDF5766E2}"/>
              </c:ext>
            </c:extLst>
          </c:dPt>
          <c:dPt>
            <c:idx val="5"/>
            <c:invertIfNegative val="1"/>
            <c:bubble3D val="0"/>
            <c:spPr>
              <a:solidFill>
                <a:srgbClr val="7ECAC4"/>
              </a:solidFill>
            </c:spPr>
            <c:extLst>
              <c:ext xmlns:c16="http://schemas.microsoft.com/office/drawing/2014/chart" uri="{C3380CC4-5D6E-409C-BE32-E72D297353CC}">
                <c16:uniqueId val="{0000000D-FA3E-4872-B6E1-C4ABDF5766E2}"/>
              </c:ext>
            </c:extLst>
          </c:dPt>
          <c:dPt>
            <c:idx val="6"/>
            <c:invertIfNegative val="1"/>
            <c:bubble3D val="0"/>
            <c:spPr>
              <a:solidFill>
                <a:srgbClr val="7ECAC4"/>
              </a:solidFill>
            </c:spPr>
            <c:extLst>
              <c:ext xmlns:c16="http://schemas.microsoft.com/office/drawing/2014/chart" uri="{C3380CC4-5D6E-409C-BE32-E72D297353CC}">
                <c16:uniqueId val="{0000000F-FA3E-4872-B6E1-C4ABDF5766E2}"/>
              </c:ext>
            </c:extLst>
          </c:dPt>
          <c:dPt>
            <c:idx val="7"/>
            <c:invertIfNegative val="1"/>
            <c:bubble3D val="0"/>
            <c:spPr>
              <a:solidFill>
                <a:srgbClr val="7ECAC4"/>
              </a:solidFill>
            </c:spPr>
            <c:extLst>
              <c:ext xmlns:c16="http://schemas.microsoft.com/office/drawing/2014/chart" uri="{C3380CC4-5D6E-409C-BE32-E72D297353CC}">
                <c16:uniqueId val="{00000011-FA3E-4872-B6E1-C4ABDF5766E2}"/>
              </c:ext>
            </c:extLst>
          </c:dPt>
          <c:dPt>
            <c:idx val="8"/>
            <c:invertIfNegative val="1"/>
            <c:bubble3D val="0"/>
            <c:spPr>
              <a:solidFill>
                <a:srgbClr val="7ECAC4"/>
              </a:solidFill>
            </c:spPr>
            <c:extLst>
              <c:ext xmlns:c16="http://schemas.microsoft.com/office/drawing/2014/chart" uri="{C3380CC4-5D6E-409C-BE32-E72D297353CC}">
                <c16:uniqueId val="{00000013-FA3E-4872-B6E1-C4ABDF5766E2}"/>
              </c:ext>
            </c:extLst>
          </c:dPt>
          <c:dPt>
            <c:idx val="9"/>
            <c:invertIfNegative val="1"/>
            <c:bubble3D val="0"/>
            <c:spPr>
              <a:solidFill>
                <a:srgbClr val="AEABAB"/>
              </a:solidFill>
            </c:spPr>
            <c:extLst>
              <c:ext xmlns:c16="http://schemas.microsoft.com/office/drawing/2014/chart" uri="{C3380CC4-5D6E-409C-BE32-E72D297353CC}">
                <c16:uniqueId val="{00000015-FA3E-4872-B6E1-C4ABDF5766E2}"/>
              </c:ext>
            </c:extLst>
          </c:dPt>
          <c:dPt>
            <c:idx val="10"/>
            <c:invertIfNegative val="1"/>
            <c:bubble3D val="0"/>
            <c:spPr>
              <a:solidFill>
                <a:srgbClr val="AEABAB"/>
              </a:solidFill>
            </c:spPr>
            <c:extLst>
              <c:ext xmlns:c16="http://schemas.microsoft.com/office/drawing/2014/chart" uri="{C3380CC4-5D6E-409C-BE32-E72D297353CC}">
                <c16:uniqueId val="{00000017-FA3E-4872-B6E1-C4ABDF5766E2}"/>
              </c:ext>
            </c:extLst>
          </c:dPt>
          <c:dPt>
            <c:idx val="11"/>
            <c:invertIfNegative val="1"/>
            <c:bubble3D val="0"/>
            <c:spPr>
              <a:solidFill>
                <a:srgbClr val="AEABAB"/>
              </a:solidFill>
            </c:spPr>
            <c:extLst>
              <c:ext xmlns:c16="http://schemas.microsoft.com/office/drawing/2014/chart" uri="{C3380CC4-5D6E-409C-BE32-E72D297353CC}">
                <c16:uniqueId val="{00000019-FA3E-4872-B6E1-C4ABDF5766E2}"/>
              </c:ext>
            </c:extLst>
          </c:dPt>
          <c:dPt>
            <c:idx val="12"/>
            <c:invertIfNegative val="1"/>
            <c:bubble3D val="0"/>
            <c:spPr>
              <a:solidFill>
                <a:srgbClr val="AEABAB"/>
              </a:solidFill>
            </c:spPr>
            <c:extLst>
              <c:ext xmlns:c16="http://schemas.microsoft.com/office/drawing/2014/chart" uri="{C3380CC4-5D6E-409C-BE32-E72D297353CC}">
                <c16:uniqueId val="{0000001B-FA3E-4872-B6E1-C4ABDF5766E2}"/>
              </c:ext>
            </c:extLst>
          </c:dPt>
          <c:dPt>
            <c:idx val="13"/>
            <c:invertIfNegative val="1"/>
            <c:bubble3D val="0"/>
            <c:spPr>
              <a:solidFill>
                <a:srgbClr val="AEABAB"/>
              </a:solidFill>
            </c:spPr>
            <c:extLst>
              <c:ext xmlns:c16="http://schemas.microsoft.com/office/drawing/2014/chart" uri="{C3380CC4-5D6E-409C-BE32-E72D297353CC}">
                <c16:uniqueId val="{0000001D-FA3E-4872-B6E1-C4ABDF5766E2}"/>
              </c:ext>
            </c:extLst>
          </c:dPt>
          <c:dPt>
            <c:idx val="14"/>
            <c:invertIfNegative val="1"/>
            <c:bubble3D val="0"/>
            <c:spPr>
              <a:solidFill>
                <a:srgbClr val="AEABAB"/>
              </a:solidFill>
            </c:spPr>
            <c:extLst>
              <c:ext xmlns:c16="http://schemas.microsoft.com/office/drawing/2014/chart" uri="{C3380CC4-5D6E-409C-BE32-E72D297353CC}">
                <c16:uniqueId val="{0000001F-FA3E-4872-B6E1-C4ABDF5766E2}"/>
              </c:ext>
            </c:extLst>
          </c:dPt>
          <c:dPt>
            <c:idx val="15"/>
            <c:invertIfNegative val="1"/>
            <c:bubble3D val="0"/>
            <c:spPr>
              <a:solidFill>
                <a:srgbClr val="AEABAB"/>
              </a:solidFill>
            </c:spPr>
            <c:extLst>
              <c:ext xmlns:c16="http://schemas.microsoft.com/office/drawing/2014/chart" uri="{C3380CC4-5D6E-409C-BE32-E72D297353CC}">
                <c16:uniqueId val="{00000021-FA3E-4872-B6E1-C4ABDF5766E2}"/>
              </c:ext>
            </c:extLst>
          </c:dPt>
          <c:dPt>
            <c:idx val="16"/>
            <c:invertIfNegative val="1"/>
            <c:bubble3D val="0"/>
            <c:spPr>
              <a:solidFill>
                <a:srgbClr val="AEABAB"/>
              </a:solidFill>
            </c:spPr>
            <c:extLst>
              <c:ext xmlns:c16="http://schemas.microsoft.com/office/drawing/2014/chart" uri="{C3380CC4-5D6E-409C-BE32-E72D297353CC}">
                <c16:uniqueId val="{00000023-FA3E-4872-B6E1-C4ABDF5766E2}"/>
              </c:ext>
            </c:extLst>
          </c:dPt>
          <c:dPt>
            <c:idx val="17"/>
            <c:invertIfNegative val="1"/>
            <c:bubble3D val="0"/>
            <c:spPr>
              <a:solidFill>
                <a:srgbClr val="AEABAB"/>
              </a:solidFill>
            </c:spPr>
            <c:extLst>
              <c:ext xmlns:c16="http://schemas.microsoft.com/office/drawing/2014/chart" uri="{C3380CC4-5D6E-409C-BE32-E72D297353CC}">
                <c16:uniqueId val="{00000025-FA3E-4872-B6E1-C4ABDF5766E2}"/>
              </c:ext>
            </c:extLst>
          </c:dPt>
          <c:dPt>
            <c:idx val="18"/>
            <c:invertIfNegative val="1"/>
            <c:bubble3D val="0"/>
            <c:spPr>
              <a:solidFill>
                <a:srgbClr val="AEABAB"/>
              </a:solidFill>
            </c:spPr>
            <c:extLst>
              <c:ext xmlns:c16="http://schemas.microsoft.com/office/drawing/2014/chart" uri="{C3380CC4-5D6E-409C-BE32-E72D297353CC}">
                <c16:uniqueId val="{00000027-FA3E-4872-B6E1-C4ABDF5766E2}"/>
              </c:ext>
            </c:extLst>
          </c:dPt>
          <c:dPt>
            <c:idx val="19"/>
            <c:invertIfNegative val="1"/>
            <c:bubble3D val="0"/>
            <c:spPr>
              <a:solidFill>
                <a:srgbClr val="AEABAB"/>
              </a:solidFill>
            </c:spPr>
            <c:extLst>
              <c:ext xmlns:c16="http://schemas.microsoft.com/office/drawing/2014/chart" uri="{C3380CC4-5D6E-409C-BE32-E72D297353CC}">
                <c16:uniqueId val="{00000029-FA3E-4872-B6E1-C4ABDF5766E2}"/>
              </c:ext>
            </c:extLst>
          </c:dPt>
          <c:dPt>
            <c:idx val="20"/>
            <c:invertIfNegative val="1"/>
            <c:bubble3D val="0"/>
            <c:spPr>
              <a:solidFill>
                <a:srgbClr val="AEABAB"/>
              </a:solidFill>
            </c:spPr>
            <c:extLst>
              <c:ext xmlns:c16="http://schemas.microsoft.com/office/drawing/2014/chart" uri="{C3380CC4-5D6E-409C-BE32-E72D297353CC}">
                <c16:uniqueId val="{0000002B-FA3E-4872-B6E1-C4ABDF5766E2}"/>
              </c:ext>
            </c:extLst>
          </c:dPt>
          <c:dPt>
            <c:idx val="21"/>
            <c:invertIfNegative val="1"/>
            <c:bubble3D val="0"/>
            <c:spPr>
              <a:solidFill>
                <a:srgbClr val="AEABAB"/>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23</c:f>
              <c:strCache>
                <c:ptCount val="22"/>
                <c:pt idx="0">
                  <c:v>CHAMPAGNE E.NICOLAS BRUT 1CT X 750ML</c:v>
                </c:pt>
                <c:pt idx="1">
                  <c:v>CHAMPAGNE NICOLAS BLC/BLC BS 1CT X 750ML</c:v>
                </c:pt>
                <c:pt idx="2">
                  <c:v>CHAMPAGNE E.NICOLAS ROSE 1CT X 750ML</c:v>
                </c:pt>
                <c:pt idx="3">
                  <c:v>CHAMPAGNE NICOLAS 1ERE CUVEE 1CT X 750ML</c:v>
                </c:pt>
                <c:pt idx="4">
                  <c:v>1/2 CHAMPAGNE NICOLAS 1ERE CUV 1CT X 375ML</c:v>
                </c:pt>
                <c:pt idx="5">
                  <c:v>MG CHAMPAGNE E.NICOLAS BRUT 1CT X 1500ML</c:v>
                </c:pt>
                <c:pt idx="6">
                  <c:v>CHAMPAGNE NICOLAS ROSE 1ERE CU 1CT X 750ML</c:v>
                </c:pt>
                <c:pt idx="7">
                  <c:v>1/2 CHAMP NICOLAS BLC/BLC BS 1CT X 375ML</c:v>
                </c:pt>
                <c:pt idx="8">
                  <c:v>CHAMPAGNE NICOLAS BIO NAT 2017 1CT X 750ML</c:v>
                </c:pt>
                <c:pt idx="9">
                  <c:v>MG CHAMPAGNE NICOLAS BLC/BL BS 1CT X 1500ML</c:v>
                </c:pt>
                <c:pt idx="10">
                  <c:v>1/2 CHAMP NICOLAS ROSE 1E C BS 1CT X 375ML</c:v>
                </c:pt>
                <c:pt idx="11">
                  <c:v>CHAMPAGNE NICOLAS BLC DE NOIRS 1CT X 750ML</c:v>
                </c:pt>
                <c:pt idx="12">
                  <c:v>MG CHAMPAGNE NICOLAS 1ERE CUVE 1CT X 1500ML</c:v>
                </c:pt>
                <c:pt idx="13">
                  <c:v>CHAMPAGNE NICOLAS 1ER CRU BS 1CT X 750ML</c:v>
                </c:pt>
                <c:pt idx="14">
                  <c:v>CHAMPAGNE NICOLAS 1ER CRU ETUI 1CT X 750ML</c:v>
                </c:pt>
                <c:pt idx="15">
                  <c:v>CHAMPAGNE NICOLAS ROSE 1ERE ET 1CT X 750ML</c:v>
                </c:pt>
                <c:pt idx="16">
                  <c:v>CHAMPAGNE NICOLAS 1ERE CUV ETU 1CT X 750ML</c:v>
                </c:pt>
                <c:pt idx="17">
                  <c:v>CHAMPAGNE NICOLAS ROSE 1E C BS 1CT X 750ML</c:v>
                </c:pt>
                <c:pt idx="18">
                  <c:v>CHAMPAGNE NICOLAS BLC/BL BS ET 1CT X 750ML</c:v>
                </c:pt>
                <c:pt idx="19">
                  <c:v>MG CHAMPAGNE NICOLAS 1E CRU BS 1CT X 1500ML</c:v>
                </c:pt>
                <c:pt idx="20">
                  <c:v>CHAMPAGNE NICOLAS BIO 2018 1CT X 750ML</c:v>
                </c:pt>
                <c:pt idx="21">
                  <c:v>1/2 CHAMPAGNE NICOLAS 1E C BS 1CT X 375ML</c:v>
                </c:pt>
              </c:strCache>
            </c:strRef>
          </c:cat>
          <c:val>
            <c:numRef>
              <c:f>Sheet1!$C$2:$C$23</c:f>
              <c:numCache>
                <c:formatCode>General</c:formatCode>
                <c:ptCount val="22"/>
                <c:pt idx="0">
                  <c:v>0.72450292558138119</c:v>
                </c:pt>
                <c:pt idx="1">
                  <c:v>0.78862560180992713</c:v>
                </c:pt>
                <c:pt idx="2">
                  <c:v>0.83437611481572949</c:v>
                </c:pt>
                <c:pt idx="3">
                  <c:v>0.88010909567672546</c:v>
                </c:pt>
                <c:pt idx="4">
                  <c:v>0.89758025910985484</c:v>
                </c:pt>
                <c:pt idx="5">
                  <c:v>0.91439358597916265</c:v>
                </c:pt>
                <c:pt idx="6">
                  <c:v>0.92702282837707217</c:v>
                </c:pt>
                <c:pt idx="7">
                  <c:v>0.93892563016626562</c:v>
                </c:pt>
                <c:pt idx="8">
                  <c:v>0.94909656095545603</c:v>
                </c:pt>
                <c:pt idx="9">
                  <c:v>0.95847930749552535</c:v>
                </c:pt>
                <c:pt idx="10">
                  <c:v>0.96725071576886823</c:v>
                </c:pt>
                <c:pt idx="11">
                  <c:v>0.97467062435778973</c:v>
                </c:pt>
                <c:pt idx="12">
                  <c:v>0.98155008552637579</c:v>
                </c:pt>
                <c:pt idx="13">
                  <c:v>0.98726175339742461</c:v>
                </c:pt>
                <c:pt idx="14">
                  <c:v>0.99177513728431632</c:v>
                </c:pt>
                <c:pt idx="15">
                  <c:v>0.99446517811134572</c:v>
                </c:pt>
                <c:pt idx="16">
                  <c:v>0.99660791111355018</c:v>
                </c:pt>
                <c:pt idx="17">
                  <c:v>0.99839923895246174</c:v>
                </c:pt>
                <c:pt idx="18">
                  <c:v>0.99919885720906532</c:v>
                </c:pt>
                <c:pt idx="19">
                  <c:v>0.99994892809991176</c:v>
                </c:pt>
                <c:pt idx="20">
                  <c:v>0.99998399238952451</c:v>
                </c:pt>
                <c:pt idx="21">
                  <c:v>0.99999999999999989</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23</c:f>
              <c:strCache>
                <c:ptCount val="22"/>
                <c:pt idx="0">
                  <c:v>CHAMPAGNE E.NICOLAS BRUT 1CT X 750ML</c:v>
                </c:pt>
                <c:pt idx="1">
                  <c:v>CHAMPAGNE NICOLAS BLC/BLC BS 1CT X 750ML</c:v>
                </c:pt>
                <c:pt idx="2">
                  <c:v>CHAMPAGNE E.NICOLAS ROSE 1CT X 750ML</c:v>
                </c:pt>
                <c:pt idx="3">
                  <c:v>CHAMPAGNE NICOLAS 1ERE CUVEE 1CT X 750ML</c:v>
                </c:pt>
                <c:pt idx="4">
                  <c:v>1/2 CHAMPAGNE NICOLAS 1ERE CUV 1CT X 375ML</c:v>
                </c:pt>
                <c:pt idx="5">
                  <c:v>MG CHAMPAGNE E.NICOLAS BRUT 1CT X 1500ML</c:v>
                </c:pt>
                <c:pt idx="6">
                  <c:v>CHAMPAGNE NICOLAS ROSE 1ERE CU 1CT X 750ML</c:v>
                </c:pt>
                <c:pt idx="7">
                  <c:v>1/2 CHAMP NICOLAS BLC/BLC BS 1CT X 375ML</c:v>
                </c:pt>
                <c:pt idx="8">
                  <c:v>CHAMPAGNE NICOLAS BIO NAT 2017 1CT X 750ML</c:v>
                </c:pt>
                <c:pt idx="9">
                  <c:v>MG CHAMPAGNE NICOLAS BLC/BL BS 1CT X 1500ML</c:v>
                </c:pt>
                <c:pt idx="10">
                  <c:v>1/2 CHAMP NICOLAS ROSE 1E C BS 1CT X 375ML</c:v>
                </c:pt>
                <c:pt idx="11">
                  <c:v>CHAMPAGNE NICOLAS BLC DE NOIRS 1CT X 750ML</c:v>
                </c:pt>
                <c:pt idx="12">
                  <c:v>MG CHAMPAGNE NICOLAS 1ERE CUVE 1CT X 1500ML</c:v>
                </c:pt>
                <c:pt idx="13">
                  <c:v>CHAMPAGNE NICOLAS 1ER CRU BS 1CT X 750ML</c:v>
                </c:pt>
                <c:pt idx="14">
                  <c:v>CHAMPAGNE NICOLAS 1ER CRU ETUI 1CT X 750ML</c:v>
                </c:pt>
                <c:pt idx="15">
                  <c:v>CHAMPAGNE NICOLAS ROSE 1ERE ET 1CT X 750ML</c:v>
                </c:pt>
                <c:pt idx="16">
                  <c:v>CHAMPAGNE NICOLAS 1ERE CUV ETU 1CT X 750ML</c:v>
                </c:pt>
                <c:pt idx="17">
                  <c:v>CHAMPAGNE NICOLAS ROSE 1E C BS 1CT X 750ML</c:v>
                </c:pt>
                <c:pt idx="18">
                  <c:v>CHAMPAGNE NICOLAS BLC/BL BS ET 1CT X 750ML</c:v>
                </c:pt>
                <c:pt idx="19">
                  <c:v>MG CHAMPAGNE NICOLAS 1E CRU BS 1CT X 1500ML</c:v>
                </c:pt>
                <c:pt idx="20">
                  <c:v>CHAMPAGNE NICOLAS BIO 2018 1CT X 750ML</c:v>
                </c:pt>
                <c:pt idx="21">
                  <c:v>1/2 CHAMPAGNE NICOLAS 1E C BS 1CT X 375ML</c:v>
                </c:pt>
              </c:strCache>
            </c:strRef>
          </c:cat>
          <c:val>
            <c:numRef>
              <c:f>Sheet1!$D$2:$D$23</c:f>
              <c:numCache>
                <c:formatCode>General</c:formatCode>
                <c:ptCount val="22"/>
                <c:pt idx="0">
                  <c:v>9504.58</c:v>
                </c:pt>
                <c:pt idx="1">
                  <c:v>1649.4313725490197</c:v>
                </c:pt>
                <c:pt idx="2">
                  <c:v>1071.7678571428571</c:v>
                </c:pt>
                <c:pt idx="3">
                  <c:v>779.16883116883116</c:v>
                </c:pt>
                <c:pt idx="4">
                  <c:v>636.66666666666663</c:v>
                </c:pt>
                <c:pt idx="5">
                  <c:v>1297.4705882352941</c:v>
                </c:pt>
                <c:pt idx="6">
                  <c:v>517.75</c:v>
                </c:pt>
                <c:pt idx="7">
                  <c:v>624.6</c:v>
                </c:pt>
                <c:pt idx="8">
                  <c:v>741.27777777777783</c:v>
                </c:pt>
                <c:pt idx="9">
                  <c:v>946.84615384615381</c:v>
                </c:pt>
                <c:pt idx="10">
                  <c:v>500.30434782608694</c:v>
                </c:pt>
                <c:pt idx="11">
                  <c:v>572.58823529411768</c:v>
                </c:pt>
                <c:pt idx="12">
                  <c:v>1504.1666666666667</c:v>
                </c:pt>
                <c:pt idx="13">
                  <c:v>267.60714285714283</c:v>
                </c:pt>
                <c:pt idx="14">
                  <c:v>311.63157894736844</c:v>
                </c:pt>
                <c:pt idx="15">
                  <c:v>392.11111111111109</c:v>
                </c:pt>
                <c:pt idx="16">
                  <c:v>175.6875</c:v>
                </c:pt>
                <c:pt idx="17">
                  <c:v>391.66666666666669</c:v>
                </c:pt>
                <c:pt idx="18">
                  <c:v>349.66666666666669</c:v>
                </c:pt>
                <c:pt idx="19">
                  <c:v>196.8</c:v>
                </c:pt>
                <c:pt idx="20">
                  <c:v>23</c:v>
                </c:pt>
                <c:pt idx="21">
                  <c:v>21</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22</c:f>
              <c:strCache>
                <c:ptCount val="21"/>
                <c:pt idx="0">
                  <c:v>CHAMPAGNE E.NICOLAS BRUT 1CT X 750ML</c:v>
                </c:pt>
                <c:pt idx="1">
                  <c:v>CHAMPAGNE NICOLAS BLC/BLC BS 1CT X 750ML</c:v>
                </c:pt>
                <c:pt idx="2">
                  <c:v>CHAMPAGNE E.NICOLAS ROSE 1CT X 750ML</c:v>
                </c:pt>
                <c:pt idx="3">
                  <c:v>CHAMPAGNE NICOLAS 1ERE CUVEE 1CT X 750ML</c:v>
                </c:pt>
                <c:pt idx="4">
                  <c:v>1/2 CHAMPAGNE NICOLAS 1ERE CUV 1CT X 375ML</c:v>
                </c:pt>
                <c:pt idx="5">
                  <c:v>MG CHAMPAGNE E.NICOLAS BRUT 1CT X 1500ML</c:v>
                </c:pt>
                <c:pt idx="6">
                  <c:v>CHAMPAGNE NICOLAS ROSE 1ERE CU 1CT X 750ML</c:v>
                </c:pt>
                <c:pt idx="7">
                  <c:v>CHAMPAGNE NICOLAS BIO NAT 2017 1CT X 750ML</c:v>
                </c:pt>
                <c:pt idx="8">
                  <c:v>1/2 CHAMP NICOLAS BLC/BLC BS 1CT X 375ML</c:v>
                </c:pt>
                <c:pt idx="9">
                  <c:v>CHAMPAGNE NICOLAS 1ER CRU BS 1CT X 750ML</c:v>
                </c:pt>
                <c:pt idx="10">
                  <c:v>MG CHAMPAGNE NICOLAS BLC/BL BS 1CT X 1500ML</c:v>
                </c:pt>
                <c:pt idx="11">
                  <c:v>1/2 CHAMP NICOLAS ROSE 1E C BS 1CT X 375ML</c:v>
                </c:pt>
                <c:pt idx="12">
                  <c:v>MG CHAMPAGNE NICOLAS 1ERE CUVE 1CT X 1500ML</c:v>
                </c:pt>
                <c:pt idx="13">
                  <c:v>CHAMPAGNE NICOLAS BLC DE NOIRS 1CT X 750ML</c:v>
                </c:pt>
                <c:pt idx="14">
                  <c:v>CHAMPAGNE NICOLAS 1ER CRU ETUI 1CT X 750ML</c:v>
                </c:pt>
                <c:pt idx="15">
                  <c:v>CHAMPAGNE NICOLAS 1ERE CUV ETU 1CT X 750ML</c:v>
                </c:pt>
                <c:pt idx="16">
                  <c:v>CHAMPAGNE NICOLAS ROSE 1ERE ET 1CT X 750ML</c:v>
                </c:pt>
                <c:pt idx="17">
                  <c:v>CHAMPAGNE NICOLAS ROSE 1E C BS 1CT X 750ML</c:v>
                </c:pt>
                <c:pt idx="18">
                  <c:v>MG CHAMPAGNE NICOLAS 1E CRU BS 1CT X 1500ML</c:v>
                </c:pt>
                <c:pt idx="19">
                  <c:v>CHAMPAGNE NICOLAS BLC/BL BS ET 1CT X 750ML</c:v>
                </c:pt>
                <c:pt idx="20">
                  <c:v>1/2 CHAMPAGNE NICOLAS 1E C BS 1CT X 375ML</c:v>
                </c:pt>
              </c:strCache>
            </c:strRef>
          </c:cat>
          <c:val>
            <c:numRef>
              <c:f>Sheet1!$B$2:$B$22</c:f>
              <c:numCache>
                <c:formatCode>General</c:formatCode>
                <c:ptCount val="21"/>
                <c:pt idx="0">
                  <c:v>0.99</c:v>
                </c:pt>
                <c:pt idx="1">
                  <c:v>0.51</c:v>
                </c:pt>
                <c:pt idx="2">
                  <c:v>0.53</c:v>
                </c:pt>
                <c:pt idx="3">
                  <c:v>0.62</c:v>
                </c:pt>
                <c:pt idx="4">
                  <c:v>0.25</c:v>
                </c:pt>
                <c:pt idx="5">
                  <c:v>0.15</c:v>
                </c:pt>
                <c:pt idx="6">
                  <c:v>0.28000000000000003</c:v>
                </c:pt>
                <c:pt idx="7">
                  <c:v>0.18</c:v>
                </c:pt>
                <c:pt idx="8">
                  <c:v>0.15</c:v>
                </c:pt>
                <c:pt idx="9">
                  <c:v>0.28000000000000003</c:v>
                </c:pt>
                <c:pt idx="10">
                  <c:v>0.08</c:v>
                </c:pt>
                <c:pt idx="11">
                  <c:v>0.18</c:v>
                </c:pt>
                <c:pt idx="12">
                  <c:v>0.06</c:v>
                </c:pt>
                <c:pt idx="13">
                  <c:v>0.13</c:v>
                </c:pt>
                <c:pt idx="14">
                  <c:v>0.1</c:v>
                </c:pt>
                <c:pt idx="15">
                  <c:v>0.15</c:v>
                </c:pt>
                <c:pt idx="16">
                  <c:v>0.05</c:v>
                </c:pt>
                <c:pt idx="17">
                  <c:v>7.0000000000000007E-2</c:v>
                </c:pt>
                <c:pt idx="18">
                  <c:v>0.03</c:v>
                </c:pt>
                <c:pt idx="19">
                  <c:v>0.04</c:v>
                </c:pt>
                <c:pt idx="20">
                  <c:v>0.01</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7ECAC4"/>
              </a:solidFill>
            </c:spPr>
            <c:extLst>
              <c:ext xmlns:c16="http://schemas.microsoft.com/office/drawing/2014/chart" uri="{C3380CC4-5D6E-409C-BE32-E72D297353CC}">
                <c16:uniqueId val="{00000006-E902-46E2-9A54-39A26B3DFDC1}"/>
              </c:ext>
            </c:extLst>
          </c:dPt>
          <c:dPt>
            <c:idx val="3"/>
            <c:invertIfNegative val="0"/>
            <c:bubble3D val="0"/>
            <c:spPr>
              <a:solidFill>
                <a:srgbClr val="7ECAC4"/>
              </a:solidFill>
            </c:spPr>
            <c:extLst>
              <c:ext xmlns:c16="http://schemas.microsoft.com/office/drawing/2014/chart" uri="{C3380CC4-5D6E-409C-BE32-E72D297353CC}">
                <c16:uniqueId val="{00000007-E902-46E2-9A54-39A26B3DFDC1}"/>
              </c:ext>
            </c:extLst>
          </c:dPt>
          <c:dPt>
            <c:idx val="4"/>
            <c:invertIfNegative val="1"/>
            <c:bubble3D val="0"/>
            <c:spPr>
              <a:solidFill>
                <a:srgbClr val="7ECAC4"/>
              </a:solidFill>
            </c:spPr>
            <c:extLst>
              <c:ext xmlns:c16="http://schemas.microsoft.com/office/drawing/2014/chart" uri="{C3380CC4-5D6E-409C-BE32-E72D297353CC}">
                <c16:uniqueId val="{0000000B-FA3E-4872-B6E1-C4ABDF5766E2}"/>
              </c:ext>
            </c:extLst>
          </c:dPt>
          <c:dPt>
            <c:idx val="5"/>
            <c:invertIfNegative val="1"/>
            <c:bubble3D val="0"/>
            <c:spPr>
              <a:solidFill>
                <a:srgbClr val="7ECAC4"/>
              </a:solidFill>
            </c:spPr>
            <c:extLst>
              <c:ext xmlns:c16="http://schemas.microsoft.com/office/drawing/2014/chart" uri="{C3380CC4-5D6E-409C-BE32-E72D297353CC}">
                <c16:uniqueId val="{0000000D-FA3E-4872-B6E1-C4ABDF5766E2}"/>
              </c:ext>
            </c:extLst>
          </c:dPt>
          <c:dPt>
            <c:idx val="6"/>
            <c:invertIfNegative val="1"/>
            <c:bubble3D val="0"/>
            <c:spPr>
              <a:solidFill>
                <a:srgbClr val="7ECAC4"/>
              </a:solidFill>
            </c:spPr>
            <c:extLst>
              <c:ext xmlns:c16="http://schemas.microsoft.com/office/drawing/2014/chart" uri="{C3380CC4-5D6E-409C-BE32-E72D297353CC}">
                <c16:uniqueId val="{0000000F-FA3E-4872-B6E1-C4ABDF5766E2}"/>
              </c:ext>
            </c:extLst>
          </c:dPt>
          <c:dPt>
            <c:idx val="7"/>
            <c:invertIfNegative val="1"/>
            <c:bubble3D val="0"/>
            <c:spPr>
              <a:solidFill>
                <a:srgbClr val="7ECAC4"/>
              </a:solidFill>
            </c:spPr>
            <c:extLst>
              <c:ext xmlns:c16="http://schemas.microsoft.com/office/drawing/2014/chart" uri="{C3380CC4-5D6E-409C-BE32-E72D297353CC}">
                <c16:uniqueId val="{00000011-FA3E-4872-B6E1-C4ABDF5766E2}"/>
              </c:ext>
            </c:extLst>
          </c:dPt>
          <c:dPt>
            <c:idx val="8"/>
            <c:invertIfNegative val="1"/>
            <c:bubble3D val="0"/>
            <c:spPr>
              <a:solidFill>
                <a:srgbClr val="7ECAC4"/>
              </a:solidFill>
            </c:spPr>
            <c:extLst>
              <c:ext xmlns:c16="http://schemas.microsoft.com/office/drawing/2014/chart" uri="{C3380CC4-5D6E-409C-BE32-E72D297353CC}">
                <c16:uniqueId val="{00000013-FA3E-4872-B6E1-C4ABDF5766E2}"/>
              </c:ext>
            </c:extLst>
          </c:dPt>
          <c:dPt>
            <c:idx val="9"/>
            <c:invertIfNegative val="1"/>
            <c:bubble3D val="0"/>
            <c:spPr>
              <a:solidFill>
                <a:srgbClr val="AEABAB"/>
              </a:solidFill>
            </c:spPr>
            <c:extLst>
              <c:ext xmlns:c16="http://schemas.microsoft.com/office/drawing/2014/chart" uri="{C3380CC4-5D6E-409C-BE32-E72D297353CC}">
                <c16:uniqueId val="{00000015-FA3E-4872-B6E1-C4ABDF5766E2}"/>
              </c:ext>
            </c:extLst>
          </c:dPt>
          <c:dPt>
            <c:idx val="10"/>
            <c:invertIfNegative val="1"/>
            <c:bubble3D val="0"/>
            <c:spPr>
              <a:solidFill>
                <a:srgbClr val="AEABAB"/>
              </a:solidFill>
            </c:spPr>
            <c:extLst>
              <c:ext xmlns:c16="http://schemas.microsoft.com/office/drawing/2014/chart" uri="{C3380CC4-5D6E-409C-BE32-E72D297353CC}">
                <c16:uniqueId val="{00000017-FA3E-4872-B6E1-C4ABDF5766E2}"/>
              </c:ext>
            </c:extLst>
          </c:dPt>
          <c:dPt>
            <c:idx val="11"/>
            <c:invertIfNegative val="1"/>
            <c:bubble3D val="0"/>
            <c:spPr>
              <a:solidFill>
                <a:srgbClr val="AEABAB"/>
              </a:solidFill>
            </c:spPr>
            <c:extLst>
              <c:ext xmlns:c16="http://schemas.microsoft.com/office/drawing/2014/chart" uri="{C3380CC4-5D6E-409C-BE32-E72D297353CC}">
                <c16:uniqueId val="{00000019-FA3E-4872-B6E1-C4ABDF5766E2}"/>
              </c:ext>
            </c:extLst>
          </c:dPt>
          <c:dPt>
            <c:idx val="12"/>
            <c:invertIfNegative val="1"/>
            <c:bubble3D val="0"/>
            <c:spPr>
              <a:solidFill>
                <a:srgbClr val="AEABAB"/>
              </a:solidFill>
            </c:spPr>
            <c:extLst>
              <c:ext xmlns:c16="http://schemas.microsoft.com/office/drawing/2014/chart" uri="{C3380CC4-5D6E-409C-BE32-E72D297353CC}">
                <c16:uniqueId val="{0000001B-FA3E-4872-B6E1-C4ABDF5766E2}"/>
              </c:ext>
            </c:extLst>
          </c:dPt>
          <c:dPt>
            <c:idx val="13"/>
            <c:invertIfNegative val="1"/>
            <c:bubble3D val="0"/>
            <c:spPr>
              <a:solidFill>
                <a:srgbClr val="AEABAB"/>
              </a:solidFill>
            </c:spPr>
            <c:extLst>
              <c:ext xmlns:c16="http://schemas.microsoft.com/office/drawing/2014/chart" uri="{C3380CC4-5D6E-409C-BE32-E72D297353CC}">
                <c16:uniqueId val="{0000001D-FA3E-4872-B6E1-C4ABDF5766E2}"/>
              </c:ext>
            </c:extLst>
          </c:dPt>
          <c:dPt>
            <c:idx val="14"/>
            <c:invertIfNegative val="1"/>
            <c:bubble3D val="0"/>
            <c:spPr>
              <a:solidFill>
                <a:srgbClr val="AEABAB"/>
              </a:solidFill>
            </c:spPr>
            <c:extLst>
              <c:ext xmlns:c16="http://schemas.microsoft.com/office/drawing/2014/chart" uri="{C3380CC4-5D6E-409C-BE32-E72D297353CC}">
                <c16:uniqueId val="{0000001F-FA3E-4872-B6E1-C4ABDF5766E2}"/>
              </c:ext>
            </c:extLst>
          </c:dPt>
          <c:dPt>
            <c:idx val="15"/>
            <c:invertIfNegative val="1"/>
            <c:bubble3D val="0"/>
            <c:spPr>
              <a:solidFill>
                <a:srgbClr val="AEABAB"/>
              </a:solidFill>
            </c:spPr>
            <c:extLst>
              <c:ext xmlns:c16="http://schemas.microsoft.com/office/drawing/2014/chart" uri="{C3380CC4-5D6E-409C-BE32-E72D297353CC}">
                <c16:uniqueId val="{00000021-FA3E-4872-B6E1-C4ABDF5766E2}"/>
              </c:ext>
            </c:extLst>
          </c:dPt>
          <c:dPt>
            <c:idx val="16"/>
            <c:invertIfNegative val="1"/>
            <c:bubble3D val="0"/>
            <c:spPr>
              <a:solidFill>
                <a:srgbClr val="AEABAB"/>
              </a:solidFill>
            </c:spPr>
            <c:extLst>
              <c:ext xmlns:c16="http://schemas.microsoft.com/office/drawing/2014/chart" uri="{C3380CC4-5D6E-409C-BE32-E72D297353CC}">
                <c16:uniqueId val="{00000023-FA3E-4872-B6E1-C4ABDF5766E2}"/>
              </c:ext>
            </c:extLst>
          </c:dPt>
          <c:dPt>
            <c:idx val="17"/>
            <c:invertIfNegative val="1"/>
            <c:bubble3D val="0"/>
            <c:spPr>
              <a:solidFill>
                <a:srgbClr val="AEABAB"/>
              </a:solidFill>
            </c:spPr>
            <c:extLst>
              <c:ext xmlns:c16="http://schemas.microsoft.com/office/drawing/2014/chart" uri="{C3380CC4-5D6E-409C-BE32-E72D297353CC}">
                <c16:uniqueId val="{00000025-FA3E-4872-B6E1-C4ABDF5766E2}"/>
              </c:ext>
            </c:extLst>
          </c:dPt>
          <c:dPt>
            <c:idx val="18"/>
            <c:invertIfNegative val="1"/>
            <c:bubble3D val="0"/>
            <c:spPr>
              <a:solidFill>
                <a:srgbClr val="AEABAB"/>
              </a:solidFill>
            </c:spPr>
            <c:extLst>
              <c:ext xmlns:c16="http://schemas.microsoft.com/office/drawing/2014/chart" uri="{C3380CC4-5D6E-409C-BE32-E72D297353CC}">
                <c16:uniqueId val="{00000027-FA3E-4872-B6E1-C4ABDF5766E2}"/>
              </c:ext>
            </c:extLst>
          </c:dPt>
          <c:dPt>
            <c:idx val="19"/>
            <c:invertIfNegative val="1"/>
            <c:bubble3D val="0"/>
            <c:spPr>
              <a:solidFill>
                <a:srgbClr val="AEABAB"/>
              </a:solidFill>
            </c:spPr>
            <c:extLst>
              <c:ext xmlns:c16="http://schemas.microsoft.com/office/drawing/2014/chart" uri="{C3380CC4-5D6E-409C-BE32-E72D297353CC}">
                <c16:uniqueId val="{00000029-FA3E-4872-B6E1-C4ABDF5766E2}"/>
              </c:ext>
            </c:extLst>
          </c:dPt>
          <c:dPt>
            <c:idx val="20"/>
            <c:invertIfNegative val="1"/>
            <c:bubble3D val="0"/>
            <c:spPr>
              <a:solidFill>
                <a:srgbClr val="AEABAB"/>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22</c:f>
              <c:strCache>
                <c:ptCount val="21"/>
                <c:pt idx="0">
                  <c:v>CHAMPAGNE E.NICOLAS BRUT 1CT X 750ML</c:v>
                </c:pt>
                <c:pt idx="1">
                  <c:v>CHAMPAGNE NICOLAS BLC/BLC BS 1CT X 750ML</c:v>
                </c:pt>
                <c:pt idx="2">
                  <c:v>CHAMPAGNE E.NICOLAS ROSE 1CT X 750ML</c:v>
                </c:pt>
                <c:pt idx="3">
                  <c:v>CHAMPAGNE NICOLAS 1ERE CUVEE 1CT X 750ML</c:v>
                </c:pt>
                <c:pt idx="4">
                  <c:v>1/2 CHAMPAGNE NICOLAS 1ERE CUV 1CT X 375ML</c:v>
                </c:pt>
                <c:pt idx="5">
                  <c:v>MG CHAMPAGNE E.NICOLAS BRUT 1CT X 1500ML</c:v>
                </c:pt>
                <c:pt idx="6">
                  <c:v>CHAMPAGNE NICOLAS ROSE 1ERE CU 1CT X 750ML</c:v>
                </c:pt>
                <c:pt idx="7">
                  <c:v>CHAMPAGNE NICOLAS BIO NAT 2017 1CT X 750ML</c:v>
                </c:pt>
                <c:pt idx="8">
                  <c:v>1/2 CHAMP NICOLAS BLC/BLC BS 1CT X 375ML</c:v>
                </c:pt>
                <c:pt idx="9">
                  <c:v>CHAMPAGNE NICOLAS 1ER CRU BS 1CT X 750ML</c:v>
                </c:pt>
                <c:pt idx="10">
                  <c:v>MG CHAMPAGNE NICOLAS BLC/BL BS 1CT X 1500ML</c:v>
                </c:pt>
                <c:pt idx="11">
                  <c:v>1/2 CHAMP NICOLAS ROSE 1E C BS 1CT X 375ML</c:v>
                </c:pt>
                <c:pt idx="12">
                  <c:v>MG CHAMPAGNE NICOLAS 1ERE CUVE 1CT X 1500ML</c:v>
                </c:pt>
                <c:pt idx="13">
                  <c:v>CHAMPAGNE NICOLAS BLC DE NOIRS 1CT X 750ML</c:v>
                </c:pt>
                <c:pt idx="14">
                  <c:v>CHAMPAGNE NICOLAS 1ER CRU ETUI 1CT X 750ML</c:v>
                </c:pt>
                <c:pt idx="15">
                  <c:v>CHAMPAGNE NICOLAS 1ERE CUV ETU 1CT X 750ML</c:v>
                </c:pt>
                <c:pt idx="16">
                  <c:v>CHAMPAGNE NICOLAS ROSE 1ERE ET 1CT X 750ML</c:v>
                </c:pt>
                <c:pt idx="17">
                  <c:v>CHAMPAGNE NICOLAS ROSE 1E C BS 1CT X 750ML</c:v>
                </c:pt>
                <c:pt idx="18">
                  <c:v>MG CHAMPAGNE NICOLAS 1E CRU BS 1CT X 1500ML</c:v>
                </c:pt>
                <c:pt idx="19">
                  <c:v>CHAMPAGNE NICOLAS BLC/BL BS ET 1CT X 750ML</c:v>
                </c:pt>
                <c:pt idx="20">
                  <c:v>1/2 CHAMPAGNE NICOLAS 1E C BS 1CT X 375ML</c:v>
                </c:pt>
              </c:strCache>
            </c:strRef>
          </c:cat>
          <c:val>
            <c:numRef>
              <c:f>Sheet1!$C$2:$C$22</c:f>
              <c:numCache>
                <c:formatCode>General</c:formatCode>
                <c:ptCount val="21"/>
                <c:pt idx="0">
                  <c:v>0.71599817572836</c:v>
                </c:pt>
                <c:pt idx="1">
                  <c:v>0.77928863213954691</c:v>
                </c:pt>
                <c:pt idx="2">
                  <c:v>0.83123133431739382</c:v>
                </c:pt>
                <c:pt idx="3">
                  <c:v>0.87465684567740798</c:v>
                </c:pt>
                <c:pt idx="4">
                  <c:v>0.89329874409686294</c:v>
                </c:pt>
                <c:pt idx="5">
                  <c:v>0.91024779689775737</c:v>
                </c:pt>
                <c:pt idx="6">
                  <c:v>0.9238288127032076</c:v>
                </c:pt>
                <c:pt idx="7">
                  <c:v>0.93699691541166252</c:v>
                </c:pt>
                <c:pt idx="8">
                  <c:v>0.94661161158706719</c:v>
                </c:pt>
                <c:pt idx="9">
                  <c:v>0.95478160231859033</c:v>
                </c:pt>
                <c:pt idx="10">
                  <c:v>0.96270443366663883</c:v>
                </c:pt>
                <c:pt idx="11">
                  <c:v>0.97052330114703522</c:v>
                </c:pt>
                <c:pt idx="12">
                  <c:v>0.97729272203886863</c:v>
                </c:pt>
                <c:pt idx="13">
                  <c:v>0.98334420376918052</c:v>
                </c:pt>
                <c:pt idx="14">
                  <c:v>0.98859143671199545</c:v>
                </c:pt>
                <c:pt idx="15">
                  <c:v>0.99233707832108153</c:v>
                </c:pt>
                <c:pt idx="16">
                  <c:v>0.99541676270247204</c:v>
                </c:pt>
                <c:pt idx="17">
                  <c:v>0.99712628177150497</c:v>
                </c:pt>
                <c:pt idx="18">
                  <c:v>0.99876322229142234</c:v>
                </c:pt>
                <c:pt idx="19">
                  <c:v>0.99987053556103689</c:v>
                </c:pt>
                <c:pt idx="20">
                  <c:v>0.99999999999999978</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22</c:f>
              <c:strCache>
                <c:ptCount val="21"/>
                <c:pt idx="0">
                  <c:v>CHAMPAGNE E.NICOLAS BRUT 1CT X 750ML</c:v>
                </c:pt>
                <c:pt idx="1">
                  <c:v>CHAMPAGNE NICOLAS BLC/BLC BS 1CT X 750ML</c:v>
                </c:pt>
                <c:pt idx="2">
                  <c:v>CHAMPAGNE E.NICOLAS ROSE 1CT X 750ML</c:v>
                </c:pt>
                <c:pt idx="3">
                  <c:v>CHAMPAGNE NICOLAS 1ERE CUVEE 1CT X 750ML</c:v>
                </c:pt>
                <c:pt idx="4">
                  <c:v>1/2 CHAMPAGNE NICOLAS 1ERE CUV 1CT X 375ML</c:v>
                </c:pt>
                <c:pt idx="5">
                  <c:v>MG CHAMPAGNE E.NICOLAS BRUT 1CT X 1500ML</c:v>
                </c:pt>
                <c:pt idx="6">
                  <c:v>CHAMPAGNE NICOLAS ROSE 1ERE CU 1CT X 750ML</c:v>
                </c:pt>
                <c:pt idx="7">
                  <c:v>CHAMPAGNE NICOLAS BIO NAT 2017 1CT X 750ML</c:v>
                </c:pt>
                <c:pt idx="8">
                  <c:v>1/2 CHAMP NICOLAS BLC/BLC BS 1CT X 375ML</c:v>
                </c:pt>
                <c:pt idx="9">
                  <c:v>CHAMPAGNE NICOLAS 1ER CRU BS 1CT X 750ML</c:v>
                </c:pt>
                <c:pt idx="10">
                  <c:v>MG CHAMPAGNE NICOLAS BLC/BL BS 1CT X 1500ML</c:v>
                </c:pt>
                <c:pt idx="11">
                  <c:v>1/2 CHAMP NICOLAS ROSE 1E C BS 1CT X 375ML</c:v>
                </c:pt>
                <c:pt idx="12">
                  <c:v>MG CHAMPAGNE NICOLAS 1ERE CUVE 1CT X 1500ML</c:v>
                </c:pt>
                <c:pt idx="13">
                  <c:v>CHAMPAGNE NICOLAS BLC DE NOIRS 1CT X 750ML</c:v>
                </c:pt>
                <c:pt idx="14">
                  <c:v>CHAMPAGNE NICOLAS 1ER CRU ETUI 1CT X 750ML</c:v>
                </c:pt>
                <c:pt idx="15">
                  <c:v>CHAMPAGNE NICOLAS 1ERE CUV ETU 1CT X 750ML</c:v>
                </c:pt>
                <c:pt idx="16">
                  <c:v>CHAMPAGNE NICOLAS ROSE 1ERE ET 1CT X 750ML</c:v>
                </c:pt>
                <c:pt idx="17">
                  <c:v>CHAMPAGNE NICOLAS ROSE 1E C BS 1CT X 750ML</c:v>
                </c:pt>
                <c:pt idx="18">
                  <c:v>MG CHAMPAGNE NICOLAS 1E CRU BS 1CT X 1500ML</c:v>
                </c:pt>
                <c:pt idx="19">
                  <c:v>CHAMPAGNE NICOLAS BLC/BL BS ET 1CT X 750ML</c:v>
                </c:pt>
                <c:pt idx="20">
                  <c:v>1/2 CHAMPAGNE NICOLAS 1E C BS 1CT X 375ML</c:v>
                </c:pt>
              </c:strCache>
            </c:strRef>
          </c:cat>
          <c:val>
            <c:numRef>
              <c:f>Sheet1!$D$2:$D$22</c:f>
              <c:numCache>
                <c:formatCode>General</c:formatCode>
                <c:ptCount val="21"/>
                <c:pt idx="0">
                  <c:v>7373.9494949494947</c:v>
                </c:pt>
                <c:pt idx="1">
                  <c:v>1265.2941176470588</c:v>
                </c:pt>
                <c:pt idx="2">
                  <c:v>999.24528301886789</c:v>
                </c:pt>
                <c:pt idx="3">
                  <c:v>714.12903225806451</c:v>
                </c:pt>
                <c:pt idx="4">
                  <c:v>760.28</c:v>
                </c:pt>
                <c:pt idx="5">
                  <c:v>1152.0666666666666</c:v>
                </c:pt>
                <c:pt idx="6">
                  <c:v>494.53571428571422</c:v>
                </c:pt>
                <c:pt idx="7">
                  <c:v>745.88888888888891</c:v>
                </c:pt>
                <c:pt idx="8">
                  <c:v>653.5333333333333</c:v>
                </c:pt>
                <c:pt idx="9">
                  <c:v>297.49999999999994</c:v>
                </c:pt>
                <c:pt idx="10">
                  <c:v>1009.75</c:v>
                </c:pt>
                <c:pt idx="11">
                  <c:v>442.88888888888891</c:v>
                </c:pt>
                <c:pt idx="12">
                  <c:v>1150.3333333333333</c:v>
                </c:pt>
                <c:pt idx="13">
                  <c:v>474.61538461538464</c:v>
                </c:pt>
                <c:pt idx="14">
                  <c:v>535</c:v>
                </c:pt>
                <c:pt idx="15">
                  <c:v>254.6</c:v>
                </c:pt>
                <c:pt idx="16">
                  <c:v>628</c:v>
                </c:pt>
                <c:pt idx="17">
                  <c:v>248.99999999999997</c:v>
                </c:pt>
                <c:pt idx="18">
                  <c:v>556.33333333333337</c:v>
                </c:pt>
                <c:pt idx="19">
                  <c:v>282.25</c:v>
                </c:pt>
                <c:pt idx="20">
                  <c:v>132</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22</c:f>
              <c:strCache>
                <c:ptCount val="21"/>
                <c:pt idx="0">
                  <c:v>CHAMPAGNE E.NICOLAS BRUT 1CT X 750ML</c:v>
                </c:pt>
                <c:pt idx="1">
                  <c:v>CHAMPAGNE NICOLAS BLC/BLC BS 1CT X 750ML</c:v>
                </c:pt>
                <c:pt idx="2">
                  <c:v>CHAMPAGNE E.NICOLAS ROSE 1CT X 750ML</c:v>
                </c:pt>
                <c:pt idx="3">
                  <c:v>CHAMPAGNE NICOLAS 1ERE CUVEE 1CT X 750ML</c:v>
                </c:pt>
                <c:pt idx="4">
                  <c:v>MG CHAMPAGNE E.NICOLAS BRUT 1CT X 1500ML</c:v>
                </c:pt>
                <c:pt idx="5">
                  <c:v>1/2 CHAMPAGNE NICOLAS 1ERE CUV 1CT X 375ML</c:v>
                </c:pt>
                <c:pt idx="6">
                  <c:v>CHAMPAGNE NICOLAS 1ER CRU BS 1CT X 750ML</c:v>
                </c:pt>
                <c:pt idx="7">
                  <c:v>MG CHAMPAGNE NICOLAS BLC/BL BS 1CT X 1500ML</c:v>
                </c:pt>
                <c:pt idx="8">
                  <c:v>CHAMPAGNE NICOLAS BIO NAT 2017 1CT X 750ML</c:v>
                </c:pt>
                <c:pt idx="9">
                  <c:v>1/2 CHAMP NICOLAS BLC/BLC BS 1CT X 375ML</c:v>
                </c:pt>
                <c:pt idx="10">
                  <c:v>1/2 CHAMP NICOLAS ROSE 1E C BS 1CT X 375ML</c:v>
                </c:pt>
                <c:pt idx="11">
                  <c:v>CHAMPAGNE NICOLAS ROSE 1ERE CU 1CT X 750ML</c:v>
                </c:pt>
                <c:pt idx="12">
                  <c:v>MG CHAMPAGNE NICOLAS 1ERE CUVE 1CT X 1500ML</c:v>
                </c:pt>
                <c:pt idx="13">
                  <c:v>CHAMPAGNE NICOLAS BLC DE NOIRS 1CT X 750ML</c:v>
                </c:pt>
                <c:pt idx="14">
                  <c:v>CHAMPAGNE NICOLAS 1ERE CUV ETU 1CT X 750ML</c:v>
                </c:pt>
                <c:pt idx="15">
                  <c:v>CHAMPAGNE NICOLAS ROSE 1E C BS 1CT X 750ML</c:v>
                </c:pt>
                <c:pt idx="16">
                  <c:v>CHAMPAGNE NICOLAS BLC/BL BS ET 1CT X 750ML</c:v>
                </c:pt>
                <c:pt idx="17">
                  <c:v>MG CHAMPAGNE NICOLAS 1E CRU BS 1CT X 1500ML</c:v>
                </c:pt>
                <c:pt idx="18">
                  <c:v>CHAMPAGNE NICOLAS 1ER CRU ETUI 1CT X 750ML</c:v>
                </c:pt>
                <c:pt idx="19">
                  <c:v>CHAMPAGNE NICOLAS ROSE 1ERE ET 1CT X 750ML</c:v>
                </c:pt>
                <c:pt idx="20">
                  <c:v>1/2 CHAMPAGNE NICOLAS 1E C BS 1CT X 375ML</c:v>
                </c:pt>
              </c:strCache>
            </c:strRef>
          </c:cat>
          <c:val>
            <c:numRef>
              <c:f>Sheet1!$B$2:$B$22</c:f>
              <c:numCache>
                <c:formatCode>General</c:formatCode>
                <c:ptCount val="21"/>
                <c:pt idx="0">
                  <c:v>0.97</c:v>
                </c:pt>
                <c:pt idx="1">
                  <c:v>0.34</c:v>
                </c:pt>
                <c:pt idx="2">
                  <c:v>0.45</c:v>
                </c:pt>
                <c:pt idx="3">
                  <c:v>0.55000000000000004</c:v>
                </c:pt>
                <c:pt idx="4">
                  <c:v>0.15</c:v>
                </c:pt>
                <c:pt idx="5">
                  <c:v>0.22</c:v>
                </c:pt>
                <c:pt idx="6">
                  <c:v>0.43</c:v>
                </c:pt>
                <c:pt idx="7">
                  <c:v>0.1</c:v>
                </c:pt>
                <c:pt idx="8">
                  <c:v>0.1</c:v>
                </c:pt>
                <c:pt idx="9">
                  <c:v>0.17</c:v>
                </c:pt>
                <c:pt idx="10">
                  <c:v>0.2</c:v>
                </c:pt>
                <c:pt idx="11">
                  <c:v>0.17</c:v>
                </c:pt>
                <c:pt idx="12">
                  <c:v>0.06</c:v>
                </c:pt>
                <c:pt idx="13">
                  <c:v>7.0000000000000007E-2</c:v>
                </c:pt>
                <c:pt idx="14">
                  <c:v>0.13</c:v>
                </c:pt>
                <c:pt idx="15">
                  <c:v>0.04</c:v>
                </c:pt>
                <c:pt idx="16">
                  <c:v>0.04</c:v>
                </c:pt>
                <c:pt idx="17">
                  <c:v>0.04</c:v>
                </c:pt>
                <c:pt idx="18">
                  <c:v>0.02</c:v>
                </c:pt>
                <c:pt idx="19">
                  <c:v>0.03</c:v>
                </c:pt>
                <c:pt idx="20">
                  <c:v>0.01</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7ECAC4"/>
              </a:solidFill>
            </c:spPr>
            <c:extLst>
              <c:ext xmlns:c16="http://schemas.microsoft.com/office/drawing/2014/chart" uri="{C3380CC4-5D6E-409C-BE32-E72D297353CC}">
                <c16:uniqueId val="{00000006-E902-46E2-9A54-39A26B3DFDC1}"/>
              </c:ext>
            </c:extLst>
          </c:dPt>
          <c:dPt>
            <c:idx val="3"/>
            <c:invertIfNegative val="0"/>
            <c:bubble3D val="0"/>
            <c:spPr>
              <a:solidFill>
                <a:srgbClr val="7ECAC4"/>
              </a:solidFill>
            </c:spPr>
            <c:extLst>
              <c:ext xmlns:c16="http://schemas.microsoft.com/office/drawing/2014/chart" uri="{C3380CC4-5D6E-409C-BE32-E72D297353CC}">
                <c16:uniqueId val="{00000007-E902-46E2-9A54-39A26B3DFDC1}"/>
              </c:ext>
            </c:extLst>
          </c:dPt>
          <c:dPt>
            <c:idx val="4"/>
            <c:invertIfNegative val="1"/>
            <c:bubble3D val="0"/>
            <c:spPr>
              <a:solidFill>
                <a:srgbClr val="7ECAC4"/>
              </a:solidFill>
            </c:spPr>
            <c:extLst>
              <c:ext xmlns:c16="http://schemas.microsoft.com/office/drawing/2014/chart" uri="{C3380CC4-5D6E-409C-BE32-E72D297353CC}">
                <c16:uniqueId val="{0000000B-FA3E-4872-B6E1-C4ABDF5766E2}"/>
              </c:ext>
            </c:extLst>
          </c:dPt>
          <c:dPt>
            <c:idx val="5"/>
            <c:invertIfNegative val="1"/>
            <c:bubble3D val="0"/>
            <c:spPr>
              <a:solidFill>
                <a:srgbClr val="7ECAC4"/>
              </a:solidFill>
            </c:spPr>
            <c:extLst>
              <c:ext xmlns:c16="http://schemas.microsoft.com/office/drawing/2014/chart" uri="{C3380CC4-5D6E-409C-BE32-E72D297353CC}">
                <c16:uniqueId val="{0000000D-FA3E-4872-B6E1-C4ABDF5766E2}"/>
              </c:ext>
            </c:extLst>
          </c:dPt>
          <c:dPt>
            <c:idx val="6"/>
            <c:invertIfNegative val="1"/>
            <c:bubble3D val="0"/>
            <c:spPr>
              <a:solidFill>
                <a:srgbClr val="7ECAC4"/>
              </a:solidFill>
            </c:spPr>
            <c:extLst>
              <c:ext xmlns:c16="http://schemas.microsoft.com/office/drawing/2014/chart" uri="{C3380CC4-5D6E-409C-BE32-E72D297353CC}">
                <c16:uniqueId val="{0000000F-FA3E-4872-B6E1-C4ABDF5766E2}"/>
              </c:ext>
            </c:extLst>
          </c:dPt>
          <c:dPt>
            <c:idx val="7"/>
            <c:invertIfNegative val="1"/>
            <c:bubble3D val="0"/>
            <c:spPr>
              <a:solidFill>
                <a:srgbClr val="7ECAC4"/>
              </a:solidFill>
            </c:spPr>
            <c:extLst>
              <c:ext xmlns:c16="http://schemas.microsoft.com/office/drawing/2014/chart" uri="{C3380CC4-5D6E-409C-BE32-E72D297353CC}">
                <c16:uniqueId val="{00000011-FA3E-4872-B6E1-C4ABDF5766E2}"/>
              </c:ext>
            </c:extLst>
          </c:dPt>
          <c:dPt>
            <c:idx val="8"/>
            <c:invertIfNegative val="1"/>
            <c:bubble3D val="0"/>
            <c:spPr>
              <a:solidFill>
                <a:srgbClr val="7ECAC4"/>
              </a:solidFill>
            </c:spPr>
            <c:extLst>
              <c:ext xmlns:c16="http://schemas.microsoft.com/office/drawing/2014/chart" uri="{C3380CC4-5D6E-409C-BE32-E72D297353CC}">
                <c16:uniqueId val="{00000013-FA3E-4872-B6E1-C4ABDF5766E2}"/>
              </c:ext>
            </c:extLst>
          </c:dPt>
          <c:dPt>
            <c:idx val="9"/>
            <c:invertIfNegative val="1"/>
            <c:bubble3D val="0"/>
            <c:spPr>
              <a:solidFill>
                <a:srgbClr val="AEABAB"/>
              </a:solidFill>
            </c:spPr>
            <c:extLst>
              <c:ext xmlns:c16="http://schemas.microsoft.com/office/drawing/2014/chart" uri="{C3380CC4-5D6E-409C-BE32-E72D297353CC}">
                <c16:uniqueId val="{00000015-FA3E-4872-B6E1-C4ABDF5766E2}"/>
              </c:ext>
            </c:extLst>
          </c:dPt>
          <c:dPt>
            <c:idx val="10"/>
            <c:invertIfNegative val="1"/>
            <c:bubble3D val="0"/>
            <c:spPr>
              <a:solidFill>
                <a:srgbClr val="AEABAB"/>
              </a:solidFill>
            </c:spPr>
            <c:extLst>
              <c:ext xmlns:c16="http://schemas.microsoft.com/office/drawing/2014/chart" uri="{C3380CC4-5D6E-409C-BE32-E72D297353CC}">
                <c16:uniqueId val="{00000017-FA3E-4872-B6E1-C4ABDF5766E2}"/>
              </c:ext>
            </c:extLst>
          </c:dPt>
          <c:dPt>
            <c:idx val="11"/>
            <c:invertIfNegative val="1"/>
            <c:bubble3D val="0"/>
            <c:spPr>
              <a:solidFill>
                <a:srgbClr val="AEABAB"/>
              </a:solidFill>
            </c:spPr>
            <c:extLst>
              <c:ext xmlns:c16="http://schemas.microsoft.com/office/drawing/2014/chart" uri="{C3380CC4-5D6E-409C-BE32-E72D297353CC}">
                <c16:uniqueId val="{00000019-FA3E-4872-B6E1-C4ABDF5766E2}"/>
              </c:ext>
            </c:extLst>
          </c:dPt>
          <c:dPt>
            <c:idx val="12"/>
            <c:invertIfNegative val="1"/>
            <c:bubble3D val="0"/>
            <c:spPr>
              <a:solidFill>
                <a:srgbClr val="AEABAB"/>
              </a:solidFill>
            </c:spPr>
            <c:extLst>
              <c:ext xmlns:c16="http://schemas.microsoft.com/office/drawing/2014/chart" uri="{C3380CC4-5D6E-409C-BE32-E72D297353CC}">
                <c16:uniqueId val="{0000001B-FA3E-4872-B6E1-C4ABDF5766E2}"/>
              </c:ext>
            </c:extLst>
          </c:dPt>
          <c:dPt>
            <c:idx val="13"/>
            <c:invertIfNegative val="1"/>
            <c:bubble3D val="0"/>
            <c:spPr>
              <a:solidFill>
                <a:srgbClr val="AEABAB"/>
              </a:solidFill>
            </c:spPr>
            <c:extLst>
              <c:ext xmlns:c16="http://schemas.microsoft.com/office/drawing/2014/chart" uri="{C3380CC4-5D6E-409C-BE32-E72D297353CC}">
                <c16:uniqueId val="{0000001D-FA3E-4872-B6E1-C4ABDF5766E2}"/>
              </c:ext>
            </c:extLst>
          </c:dPt>
          <c:dPt>
            <c:idx val="14"/>
            <c:invertIfNegative val="1"/>
            <c:bubble3D val="0"/>
            <c:spPr>
              <a:solidFill>
                <a:srgbClr val="AEABAB"/>
              </a:solidFill>
            </c:spPr>
            <c:extLst>
              <c:ext xmlns:c16="http://schemas.microsoft.com/office/drawing/2014/chart" uri="{C3380CC4-5D6E-409C-BE32-E72D297353CC}">
                <c16:uniqueId val="{0000001F-FA3E-4872-B6E1-C4ABDF5766E2}"/>
              </c:ext>
            </c:extLst>
          </c:dPt>
          <c:dPt>
            <c:idx val="15"/>
            <c:invertIfNegative val="1"/>
            <c:bubble3D val="0"/>
            <c:spPr>
              <a:solidFill>
                <a:srgbClr val="AEABAB"/>
              </a:solidFill>
            </c:spPr>
            <c:extLst>
              <c:ext xmlns:c16="http://schemas.microsoft.com/office/drawing/2014/chart" uri="{C3380CC4-5D6E-409C-BE32-E72D297353CC}">
                <c16:uniqueId val="{00000021-FA3E-4872-B6E1-C4ABDF5766E2}"/>
              </c:ext>
            </c:extLst>
          </c:dPt>
          <c:dPt>
            <c:idx val="16"/>
            <c:invertIfNegative val="1"/>
            <c:bubble3D val="0"/>
            <c:spPr>
              <a:solidFill>
                <a:srgbClr val="AEABAB"/>
              </a:solidFill>
            </c:spPr>
            <c:extLst>
              <c:ext xmlns:c16="http://schemas.microsoft.com/office/drawing/2014/chart" uri="{C3380CC4-5D6E-409C-BE32-E72D297353CC}">
                <c16:uniqueId val="{00000023-FA3E-4872-B6E1-C4ABDF5766E2}"/>
              </c:ext>
            </c:extLst>
          </c:dPt>
          <c:dPt>
            <c:idx val="17"/>
            <c:invertIfNegative val="1"/>
            <c:bubble3D val="0"/>
            <c:spPr>
              <a:solidFill>
                <a:srgbClr val="AEABAB"/>
              </a:solidFill>
            </c:spPr>
            <c:extLst>
              <c:ext xmlns:c16="http://schemas.microsoft.com/office/drawing/2014/chart" uri="{C3380CC4-5D6E-409C-BE32-E72D297353CC}">
                <c16:uniqueId val="{00000025-FA3E-4872-B6E1-C4ABDF5766E2}"/>
              </c:ext>
            </c:extLst>
          </c:dPt>
          <c:dPt>
            <c:idx val="18"/>
            <c:invertIfNegative val="1"/>
            <c:bubble3D val="0"/>
            <c:spPr>
              <a:solidFill>
                <a:srgbClr val="AEABAB"/>
              </a:solidFill>
            </c:spPr>
            <c:extLst>
              <c:ext xmlns:c16="http://schemas.microsoft.com/office/drawing/2014/chart" uri="{C3380CC4-5D6E-409C-BE32-E72D297353CC}">
                <c16:uniqueId val="{00000027-FA3E-4872-B6E1-C4ABDF5766E2}"/>
              </c:ext>
            </c:extLst>
          </c:dPt>
          <c:dPt>
            <c:idx val="19"/>
            <c:invertIfNegative val="1"/>
            <c:bubble3D val="0"/>
            <c:spPr>
              <a:solidFill>
                <a:srgbClr val="AEABAB"/>
              </a:solidFill>
            </c:spPr>
            <c:extLst>
              <c:ext xmlns:c16="http://schemas.microsoft.com/office/drawing/2014/chart" uri="{C3380CC4-5D6E-409C-BE32-E72D297353CC}">
                <c16:uniqueId val="{00000029-FA3E-4872-B6E1-C4ABDF5766E2}"/>
              </c:ext>
            </c:extLst>
          </c:dPt>
          <c:dPt>
            <c:idx val="20"/>
            <c:invertIfNegative val="1"/>
            <c:bubble3D val="0"/>
            <c:spPr>
              <a:solidFill>
                <a:srgbClr val="AEABAB"/>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22</c:f>
              <c:strCache>
                <c:ptCount val="21"/>
                <c:pt idx="0">
                  <c:v>CHAMPAGNE E.NICOLAS BRUT 1CT X 750ML</c:v>
                </c:pt>
                <c:pt idx="1">
                  <c:v>CHAMPAGNE NICOLAS BLC/BLC BS 1CT X 750ML</c:v>
                </c:pt>
                <c:pt idx="2">
                  <c:v>CHAMPAGNE E.NICOLAS ROSE 1CT X 750ML</c:v>
                </c:pt>
                <c:pt idx="3">
                  <c:v>CHAMPAGNE NICOLAS 1ERE CUVEE 1CT X 750ML</c:v>
                </c:pt>
                <c:pt idx="4">
                  <c:v>MG CHAMPAGNE E.NICOLAS BRUT 1CT X 1500ML</c:v>
                </c:pt>
                <c:pt idx="5">
                  <c:v>1/2 CHAMPAGNE NICOLAS 1ERE CUV 1CT X 375ML</c:v>
                </c:pt>
                <c:pt idx="6">
                  <c:v>CHAMPAGNE NICOLAS 1ER CRU BS 1CT X 750ML</c:v>
                </c:pt>
                <c:pt idx="7">
                  <c:v>MG CHAMPAGNE NICOLAS BLC/BL BS 1CT X 1500ML</c:v>
                </c:pt>
                <c:pt idx="8">
                  <c:v>CHAMPAGNE NICOLAS BIO NAT 2017 1CT X 750ML</c:v>
                </c:pt>
                <c:pt idx="9">
                  <c:v>1/2 CHAMP NICOLAS BLC/BLC BS 1CT X 375ML</c:v>
                </c:pt>
                <c:pt idx="10">
                  <c:v>1/2 CHAMP NICOLAS ROSE 1E C BS 1CT X 375ML</c:v>
                </c:pt>
                <c:pt idx="11">
                  <c:v>CHAMPAGNE NICOLAS ROSE 1ERE CU 1CT X 750ML</c:v>
                </c:pt>
                <c:pt idx="12">
                  <c:v>MG CHAMPAGNE NICOLAS 1ERE CUVE 1CT X 1500ML</c:v>
                </c:pt>
                <c:pt idx="13">
                  <c:v>CHAMPAGNE NICOLAS BLC DE NOIRS 1CT X 750ML</c:v>
                </c:pt>
                <c:pt idx="14">
                  <c:v>CHAMPAGNE NICOLAS 1ERE CUV ETU 1CT X 750ML</c:v>
                </c:pt>
                <c:pt idx="15">
                  <c:v>CHAMPAGNE NICOLAS ROSE 1E C BS 1CT X 750ML</c:v>
                </c:pt>
                <c:pt idx="16">
                  <c:v>CHAMPAGNE NICOLAS BLC/BL BS ET 1CT X 750ML</c:v>
                </c:pt>
                <c:pt idx="17">
                  <c:v>MG CHAMPAGNE NICOLAS 1E CRU BS 1CT X 1500ML</c:v>
                </c:pt>
                <c:pt idx="18">
                  <c:v>CHAMPAGNE NICOLAS 1ER CRU ETUI 1CT X 750ML</c:v>
                </c:pt>
                <c:pt idx="19">
                  <c:v>CHAMPAGNE NICOLAS ROSE 1ERE ET 1CT X 750ML</c:v>
                </c:pt>
                <c:pt idx="20">
                  <c:v>1/2 CHAMPAGNE NICOLAS 1E C BS 1CT X 375ML</c:v>
                </c:pt>
              </c:strCache>
            </c:strRef>
          </c:cat>
          <c:val>
            <c:numRef>
              <c:f>Sheet1!$C$2:$C$22</c:f>
              <c:numCache>
                <c:formatCode>General</c:formatCode>
                <c:ptCount val="21"/>
                <c:pt idx="0">
                  <c:v>0.71373581944355613</c:v>
                </c:pt>
                <c:pt idx="1">
                  <c:v>0.78711050308695318</c:v>
                </c:pt>
                <c:pt idx="2">
                  <c:v>0.83815143683894489</c:v>
                </c:pt>
                <c:pt idx="3">
                  <c:v>0.87270793614728026</c:v>
                </c:pt>
                <c:pt idx="4">
                  <c:v>0.8896630271138255</c:v>
                </c:pt>
                <c:pt idx="5">
                  <c:v>0.90646918822728617</c:v>
                </c:pt>
                <c:pt idx="6">
                  <c:v>0.9211368693990204</c:v>
                </c:pt>
                <c:pt idx="7">
                  <c:v>0.9331963687846847</c:v>
                </c:pt>
                <c:pt idx="8">
                  <c:v>0.94467733297182843</c:v>
                </c:pt>
                <c:pt idx="9">
                  <c:v>0.95509669461647229</c:v>
                </c:pt>
                <c:pt idx="10">
                  <c:v>0.96396852233900066</c:v>
                </c:pt>
                <c:pt idx="11">
                  <c:v>0.97176347266230256</c:v>
                </c:pt>
                <c:pt idx="12">
                  <c:v>0.97856746665546512</c:v>
                </c:pt>
                <c:pt idx="13">
                  <c:v>0.9838029237985132</c:v>
                </c:pt>
                <c:pt idx="14">
                  <c:v>0.98855913231176362</c:v>
                </c:pt>
                <c:pt idx="15">
                  <c:v>0.9917658975458078</c:v>
                </c:pt>
                <c:pt idx="16">
                  <c:v>0.99489056042494639</c:v>
                </c:pt>
                <c:pt idx="17">
                  <c:v>0.99742523196301947</c:v>
                </c:pt>
                <c:pt idx="18">
                  <c:v>0.99901477174113307</c:v>
                </c:pt>
                <c:pt idx="19">
                  <c:v>0.99981192832655341</c:v>
                </c:pt>
                <c:pt idx="20">
                  <c:v>0.99999999999999989</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22</c:f>
              <c:strCache>
                <c:ptCount val="21"/>
                <c:pt idx="0">
                  <c:v>CHAMPAGNE E.NICOLAS BRUT 1CT X 750ML</c:v>
                </c:pt>
                <c:pt idx="1">
                  <c:v>CHAMPAGNE NICOLAS BLC/BLC BS 1CT X 750ML</c:v>
                </c:pt>
                <c:pt idx="2">
                  <c:v>CHAMPAGNE E.NICOLAS ROSE 1CT X 750ML</c:v>
                </c:pt>
                <c:pt idx="3">
                  <c:v>CHAMPAGNE NICOLAS 1ERE CUVEE 1CT X 750ML</c:v>
                </c:pt>
                <c:pt idx="4">
                  <c:v>MG CHAMPAGNE E.NICOLAS BRUT 1CT X 1500ML</c:v>
                </c:pt>
                <c:pt idx="5">
                  <c:v>1/2 CHAMPAGNE NICOLAS 1ERE CUV 1CT X 375ML</c:v>
                </c:pt>
                <c:pt idx="6">
                  <c:v>CHAMPAGNE NICOLAS 1ER CRU BS 1CT X 750ML</c:v>
                </c:pt>
                <c:pt idx="7">
                  <c:v>MG CHAMPAGNE NICOLAS BLC/BL BS 1CT X 1500ML</c:v>
                </c:pt>
                <c:pt idx="8">
                  <c:v>CHAMPAGNE NICOLAS BIO NAT 2017 1CT X 750ML</c:v>
                </c:pt>
                <c:pt idx="9">
                  <c:v>1/2 CHAMP NICOLAS BLC/BLC BS 1CT X 375ML</c:v>
                </c:pt>
                <c:pt idx="10">
                  <c:v>1/2 CHAMP NICOLAS ROSE 1E C BS 1CT X 375ML</c:v>
                </c:pt>
                <c:pt idx="11">
                  <c:v>CHAMPAGNE NICOLAS ROSE 1ERE CU 1CT X 750ML</c:v>
                </c:pt>
                <c:pt idx="12">
                  <c:v>MG CHAMPAGNE NICOLAS 1ERE CUVE 1CT X 1500ML</c:v>
                </c:pt>
                <c:pt idx="13">
                  <c:v>CHAMPAGNE NICOLAS BLC DE NOIRS 1CT X 750ML</c:v>
                </c:pt>
                <c:pt idx="14">
                  <c:v>CHAMPAGNE NICOLAS 1ERE CUV ETU 1CT X 750ML</c:v>
                </c:pt>
                <c:pt idx="15">
                  <c:v>CHAMPAGNE NICOLAS ROSE 1E C BS 1CT X 750ML</c:v>
                </c:pt>
                <c:pt idx="16">
                  <c:v>CHAMPAGNE NICOLAS BLC/BL BS ET 1CT X 750ML</c:v>
                </c:pt>
                <c:pt idx="17">
                  <c:v>MG CHAMPAGNE NICOLAS 1E CRU BS 1CT X 1500ML</c:v>
                </c:pt>
                <c:pt idx="18">
                  <c:v>CHAMPAGNE NICOLAS 1ER CRU ETUI 1CT X 750ML</c:v>
                </c:pt>
                <c:pt idx="19">
                  <c:v>CHAMPAGNE NICOLAS ROSE 1ERE ET 1CT X 750ML</c:v>
                </c:pt>
                <c:pt idx="20">
                  <c:v>1/2 CHAMPAGNE NICOLAS 1E C BS 1CT X 375ML</c:v>
                </c:pt>
              </c:strCache>
            </c:strRef>
          </c:cat>
          <c:val>
            <c:numRef>
              <c:f>Sheet1!$D$2:$D$22</c:f>
              <c:numCache>
                <c:formatCode>General</c:formatCode>
                <c:ptCount val="21"/>
                <c:pt idx="0">
                  <c:v>7707.4123711340208</c:v>
                </c:pt>
                <c:pt idx="1">
                  <c:v>2260.5294117647059</c:v>
                </c:pt>
                <c:pt idx="2">
                  <c:v>1188.088888888889</c:v>
                </c:pt>
                <c:pt idx="3">
                  <c:v>658.12727272727261</c:v>
                </c:pt>
                <c:pt idx="4">
                  <c:v>1184</c:v>
                </c:pt>
                <c:pt idx="5">
                  <c:v>800.18181818181813</c:v>
                </c:pt>
                <c:pt idx="6">
                  <c:v>357.30232558139534</c:v>
                </c:pt>
                <c:pt idx="7">
                  <c:v>1263.2</c:v>
                </c:pt>
                <c:pt idx="8">
                  <c:v>1202.5999999999999</c:v>
                </c:pt>
                <c:pt idx="9">
                  <c:v>642</c:v>
                </c:pt>
                <c:pt idx="10">
                  <c:v>464.65</c:v>
                </c:pt>
                <c:pt idx="11">
                  <c:v>480.29411764705884</c:v>
                </c:pt>
                <c:pt idx="12">
                  <c:v>1187.8333333333333</c:v>
                </c:pt>
                <c:pt idx="13">
                  <c:v>783.42857142857133</c:v>
                </c:pt>
                <c:pt idx="14">
                  <c:v>383.23076923076923</c:v>
                </c:pt>
                <c:pt idx="15">
                  <c:v>839.75</c:v>
                </c:pt>
                <c:pt idx="16">
                  <c:v>818.25</c:v>
                </c:pt>
                <c:pt idx="17">
                  <c:v>663.75</c:v>
                </c:pt>
                <c:pt idx="18">
                  <c:v>832.5</c:v>
                </c:pt>
                <c:pt idx="19">
                  <c:v>278.33333333333331</c:v>
                </c:pt>
                <c:pt idx="20">
                  <c:v>197</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24</c:f>
              <c:strCache>
                <c:ptCount val="23"/>
                <c:pt idx="0">
                  <c:v>CHAMPAGNE E.NICOLAS BRUT 1CT X 750ML</c:v>
                </c:pt>
                <c:pt idx="1">
                  <c:v>CHAMPAGNE NICOLAS BLC/BLC BS 1CT X 750ML</c:v>
                </c:pt>
                <c:pt idx="2">
                  <c:v>CHAMPAGNE E.NICOLAS ROSE 1CT X 750ML</c:v>
                </c:pt>
                <c:pt idx="3">
                  <c:v>CHAMPAGNE NICOLAS 1ERE CUVEE 1CT X 750ML</c:v>
                </c:pt>
                <c:pt idx="4">
                  <c:v>1/2 CHAMPAGNE NICOLAS 1ERE CUV 1CT X 375ML</c:v>
                </c:pt>
                <c:pt idx="5">
                  <c:v>MG CHAMPAGNE E.NICOLAS BRUT 1CT X 1500ML</c:v>
                </c:pt>
                <c:pt idx="6">
                  <c:v>CHAMPAGNE NICOLAS ROSE 1ERE CU 1CT X 750ML</c:v>
                </c:pt>
                <c:pt idx="7">
                  <c:v>CHAMPAGNE NICOLAS BIO NAT 2017 1CT X 750ML</c:v>
                </c:pt>
                <c:pt idx="8">
                  <c:v>1/2 CHAMP NICOLAS BLC/BLC BS 1CT X 375ML</c:v>
                </c:pt>
                <c:pt idx="9">
                  <c:v>MG CHAMPAGNE NICOLAS BLC/BL BS 1CT X 1500ML</c:v>
                </c:pt>
                <c:pt idx="10">
                  <c:v>1/2 CHAMP NICOLAS ROSE 1E C BS 1CT X 375ML</c:v>
                </c:pt>
                <c:pt idx="11">
                  <c:v>CHAMPAGNE NICOLAS 1ER CRU BS 1CT X 750ML</c:v>
                </c:pt>
                <c:pt idx="12">
                  <c:v>CHAMPAGNE NICOLAS BLC DE NOIRS 1CT X 750ML</c:v>
                </c:pt>
                <c:pt idx="13">
                  <c:v>MG CHAMPAGNE NICOLAS 1ERE CUVE 1CT X 1500ML</c:v>
                </c:pt>
                <c:pt idx="14">
                  <c:v>CHAMPAGNE NICOLAS 1ER CRU ETUI 1CT X 750ML</c:v>
                </c:pt>
                <c:pt idx="15">
                  <c:v>CHAMPAGNE NICOLAS ROSE 1ERE ET 1CT X 750ML</c:v>
                </c:pt>
                <c:pt idx="16">
                  <c:v>CHAMPAGNE NICOLAS 1ERE CUV ETU 1CT X 750ML</c:v>
                </c:pt>
                <c:pt idx="17">
                  <c:v>CHAMPAGNE NICOLAS ROSE 1E C BS 1CT X 750ML</c:v>
                </c:pt>
                <c:pt idx="18">
                  <c:v>MG CHAMPAGNE NICOLAS 1E CRU BS 1CT X 1500ML</c:v>
                </c:pt>
                <c:pt idx="19">
                  <c:v>CHAMPAGNE NICOLAS BLC/BL BS ET 1CT X 750ML</c:v>
                </c:pt>
                <c:pt idx="20">
                  <c:v>1/2 CHAMPAGNE NICOLAS 1E C BS 1CT X 375ML</c:v>
                </c:pt>
                <c:pt idx="21">
                  <c:v>CHAMPAGNE NICOLAS BIO 2018 1CT X 750ML</c:v>
                </c:pt>
                <c:pt idx="22">
                  <c:v>MG CHAMPAGNE NICOLAS BRUT 1CT X 1500ML</c:v>
                </c:pt>
              </c:strCache>
            </c:strRef>
          </c:cat>
          <c:val>
            <c:numRef>
              <c:f>Sheet1!$B$2:$B$24</c:f>
              <c:numCache>
                <c:formatCode>General</c:formatCode>
                <c:ptCount val="23"/>
                <c:pt idx="0">
                  <c:v>0.998</c:v>
                </c:pt>
                <c:pt idx="1">
                  <c:v>0.58499999999999996</c:v>
                </c:pt>
                <c:pt idx="2">
                  <c:v>0.628</c:v>
                </c:pt>
                <c:pt idx="3">
                  <c:v>0.76700000000000002</c:v>
                </c:pt>
                <c:pt idx="4">
                  <c:v>0.38800000000000001</c:v>
                </c:pt>
                <c:pt idx="5">
                  <c:v>0.254</c:v>
                </c:pt>
                <c:pt idx="6">
                  <c:v>0.34899999999999998</c:v>
                </c:pt>
                <c:pt idx="7">
                  <c:v>0.2</c:v>
                </c:pt>
                <c:pt idx="8">
                  <c:v>0.315</c:v>
                </c:pt>
                <c:pt idx="9">
                  <c:v>0.17100000000000001</c:v>
                </c:pt>
                <c:pt idx="10">
                  <c:v>0.29699999999999999</c:v>
                </c:pt>
                <c:pt idx="11">
                  <c:v>0.34699999999999998</c:v>
                </c:pt>
                <c:pt idx="12">
                  <c:v>0.20699999999999999</c:v>
                </c:pt>
                <c:pt idx="13">
                  <c:v>0.23599999999999999</c:v>
                </c:pt>
                <c:pt idx="14">
                  <c:v>0.189</c:v>
                </c:pt>
                <c:pt idx="15">
                  <c:v>0.105</c:v>
                </c:pt>
                <c:pt idx="16">
                  <c:v>0.13600000000000001</c:v>
                </c:pt>
                <c:pt idx="17">
                  <c:v>8.1000000000000003E-2</c:v>
                </c:pt>
                <c:pt idx="18">
                  <c:v>5.7000000000000002E-2</c:v>
                </c:pt>
                <c:pt idx="19">
                  <c:v>2.7E-2</c:v>
                </c:pt>
                <c:pt idx="20">
                  <c:v>0.01</c:v>
                </c:pt>
                <c:pt idx="21">
                  <c:v>2E-3</c:v>
                </c:pt>
                <c:pt idx="22">
                  <c:v>2E-3</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7ECAC4"/>
              </a:solidFill>
            </c:spPr>
            <c:extLst>
              <c:ext xmlns:c16="http://schemas.microsoft.com/office/drawing/2014/chart" uri="{C3380CC4-5D6E-409C-BE32-E72D297353CC}">
                <c16:uniqueId val="{00000006-E902-46E2-9A54-39A26B3DFDC1}"/>
              </c:ext>
            </c:extLst>
          </c:dPt>
          <c:dPt>
            <c:idx val="3"/>
            <c:invertIfNegative val="0"/>
            <c:bubble3D val="0"/>
            <c:spPr>
              <a:solidFill>
                <a:srgbClr val="7ECAC4"/>
              </a:solidFill>
            </c:spPr>
            <c:extLst>
              <c:ext xmlns:c16="http://schemas.microsoft.com/office/drawing/2014/chart" uri="{C3380CC4-5D6E-409C-BE32-E72D297353CC}">
                <c16:uniqueId val="{00000007-E902-46E2-9A54-39A26B3DFDC1}"/>
              </c:ext>
            </c:extLst>
          </c:dPt>
          <c:dPt>
            <c:idx val="4"/>
            <c:invertIfNegative val="1"/>
            <c:bubble3D val="0"/>
            <c:spPr>
              <a:solidFill>
                <a:srgbClr val="7ECAC4"/>
              </a:solidFill>
            </c:spPr>
            <c:extLst>
              <c:ext xmlns:c16="http://schemas.microsoft.com/office/drawing/2014/chart" uri="{C3380CC4-5D6E-409C-BE32-E72D297353CC}">
                <c16:uniqueId val="{0000000B-FA3E-4872-B6E1-C4ABDF5766E2}"/>
              </c:ext>
            </c:extLst>
          </c:dPt>
          <c:dPt>
            <c:idx val="5"/>
            <c:invertIfNegative val="1"/>
            <c:bubble3D val="0"/>
            <c:spPr>
              <a:solidFill>
                <a:srgbClr val="7ECAC4"/>
              </a:solidFill>
            </c:spPr>
            <c:extLst>
              <c:ext xmlns:c16="http://schemas.microsoft.com/office/drawing/2014/chart" uri="{C3380CC4-5D6E-409C-BE32-E72D297353CC}">
                <c16:uniqueId val="{0000000D-FA3E-4872-B6E1-C4ABDF5766E2}"/>
              </c:ext>
            </c:extLst>
          </c:dPt>
          <c:dPt>
            <c:idx val="6"/>
            <c:invertIfNegative val="1"/>
            <c:bubble3D val="0"/>
            <c:spPr>
              <a:solidFill>
                <a:srgbClr val="7ECAC4"/>
              </a:solidFill>
            </c:spPr>
            <c:extLst>
              <c:ext xmlns:c16="http://schemas.microsoft.com/office/drawing/2014/chart" uri="{C3380CC4-5D6E-409C-BE32-E72D297353CC}">
                <c16:uniqueId val="{0000000F-FA3E-4872-B6E1-C4ABDF5766E2}"/>
              </c:ext>
            </c:extLst>
          </c:dPt>
          <c:dPt>
            <c:idx val="7"/>
            <c:invertIfNegative val="1"/>
            <c:bubble3D val="0"/>
            <c:spPr>
              <a:solidFill>
                <a:srgbClr val="7ECAC4"/>
              </a:solidFill>
            </c:spPr>
            <c:extLst>
              <c:ext xmlns:c16="http://schemas.microsoft.com/office/drawing/2014/chart" uri="{C3380CC4-5D6E-409C-BE32-E72D297353CC}">
                <c16:uniqueId val="{00000011-FA3E-4872-B6E1-C4ABDF5766E2}"/>
              </c:ext>
            </c:extLst>
          </c:dPt>
          <c:dPt>
            <c:idx val="8"/>
            <c:invertIfNegative val="1"/>
            <c:bubble3D val="0"/>
            <c:spPr>
              <a:solidFill>
                <a:srgbClr val="7ECAC4"/>
              </a:solidFill>
            </c:spPr>
            <c:extLst>
              <c:ext xmlns:c16="http://schemas.microsoft.com/office/drawing/2014/chart" uri="{C3380CC4-5D6E-409C-BE32-E72D297353CC}">
                <c16:uniqueId val="{00000013-FA3E-4872-B6E1-C4ABDF5766E2}"/>
              </c:ext>
            </c:extLst>
          </c:dPt>
          <c:dPt>
            <c:idx val="9"/>
            <c:invertIfNegative val="1"/>
            <c:bubble3D val="0"/>
            <c:spPr>
              <a:solidFill>
                <a:srgbClr val="AEABAB"/>
              </a:solidFill>
            </c:spPr>
            <c:extLst>
              <c:ext xmlns:c16="http://schemas.microsoft.com/office/drawing/2014/chart" uri="{C3380CC4-5D6E-409C-BE32-E72D297353CC}">
                <c16:uniqueId val="{00000015-FA3E-4872-B6E1-C4ABDF5766E2}"/>
              </c:ext>
            </c:extLst>
          </c:dPt>
          <c:dPt>
            <c:idx val="10"/>
            <c:invertIfNegative val="1"/>
            <c:bubble3D val="0"/>
            <c:spPr>
              <a:solidFill>
                <a:srgbClr val="AEABAB"/>
              </a:solidFill>
            </c:spPr>
            <c:extLst>
              <c:ext xmlns:c16="http://schemas.microsoft.com/office/drawing/2014/chart" uri="{C3380CC4-5D6E-409C-BE32-E72D297353CC}">
                <c16:uniqueId val="{00000017-FA3E-4872-B6E1-C4ABDF5766E2}"/>
              </c:ext>
            </c:extLst>
          </c:dPt>
          <c:dPt>
            <c:idx val="11"/>
            <c:invertIfNegative val="1"/>
            <c:bubble3D val="0"/>
            <c:spPr>
              <a:solidFill>
                <a:srgbClr val="AEABAB"/>
              </a:solidFill>
            </c:spPr>
            <c:extLst>
              <c:ext xmlns:c16="http://schemas.microsoft.com/office/drawing/2014/chart" uri="{C3380CC4-5D6E-409C-BE32-E72D297353CC}">
                <c16:uniqueId val="{00000019-FA3E-4872-B6E1-C4ABDF5766E2}"/>
              </c:ext>
            </c:extLst>
          </c:dPt>
          <c:dPt>
            <c:idx val="12"/>
            <c:invertIfNegative val="1"/>
            <c:bubble3D val="0"/>
            <c:spPr>
              <a:solidFill>
                <a:srgbClr val="AEABAB"/>
              </a:solidFill>
            </c:spPr>
            <c:extLst>
              <c:ext xmlns:c16="http://schemas.microsoft.com/office/drawing/2014/chart" uri="{C3380CC4-5D6E-409C-BE32-E72D297353CC}">
                <c16:uniqueId val="{0000001B-FA3E-4872-B6E1-C4ABDF5766E2}"/>
              </c:ext>
            </c:extLst>
          </c:dPt>
          <c:dPt>
            <c:idx val="13"/>
            <c:invertIfNegative val="1"/>
            <c:bubble3D val="0"/>
            <c:spPr>
              <a:solidFill>
                <a:srgbClr val="AEABAB"/>
              </a:solidFill>
            </c:spPr>
            <c:extLst>
              <c:ext xmlns:c16="http://schemas.microsoft.com/office/drawing/2014/chart" uri="{C3380CC4-5D6E-409C-BE32-E72D297353CC}">
                <c16:uniqueId val="{0000001D-FA3E-4872-B6E1-C4ABDF5766E2}"/>
              </c:ext>
            </c:extLst>
          </c:dPt>
          <c:dPt>
            <c:idx val="14"/>
            <c:invertIfNegative val="1"/>
            <c:bubble3D val="0"/>
            <c:spPr>
              <a:solidFill>
                <a:srgbClr val="AEABAB"/>
              </a:solidFill>
            </c:spPr>
            <c:extLst>
              <c:ext xmlns:c16="http://schemas.microsoft.com/office/drawing/2014/chart" uri="{C3380CC4-5D6E-409C-BE32-E72D297353CC}">
                <c16:uniqueId val="{0000001F-FA3E-4872-B6E1-C4ABDF5766E2}"/>
              </c:ext>
            </c:extLst>
          </c:dPt>
          <c:dPt>
            <c:idx val="15"/>
            <c:invertIfNegative val="1"/>
            <c:bubble3D val="0"/>
            <c:spPr>
              <a:solidFill>
                <a:srgbClr val="AEABAB"/>
              </a:solidFill>
            </c:spPr>
            <c:extLst>
              <c:ext xmlns:c16="http://schemas.microsoft.com/office/drawing/2014/chart" uri="{C3380CC4-5D6E-409C-BE32-E72D297353CC}">
                <c16:uniqueId val="{00000021-FA3E-4872-B6E1-C4ABDF5766E2}"/>
              </c:ext>
            </c:extLst>
          </c:dPt>
          <c:dPt>
            <c:idx val="16"/>
            <c:invertIfNegative val="1"/>
            <c:bubble3D val="0"/>
            <c:spPr>
              <a:solidFill>
                <a:srgbClr val="AEABAB"/>
              </a:solidFill>
            </c:spPr>
            <c:extLst>
              <c:ext xmlns:c16="http://schemas.microsoft.com/office/drawing/2014/chart" uri="{C3380CC4-5D6E-409C-BE32-E72D297353CC}">
                <c16:uniqueId val="{00000023-FA3E-4872-B6E1-C4ABDF5766E2}"/>
              </c:ext>
            </c:extLst>
          </c:dPt>
          <c:dPt>
            <c:idx val="17"/>
            <c:invertIfNegative val="1"/>
            <c:bubble3D val="0"/>
            <c:spPr>
              <a:solidFill>
                <a:srgbClr val="AEABAB"/>
              </a:solidFill>
            </c:spPr>
            <c:extLst>
              <c:ext xmlns:c16="http://schemas.microsoft.com/office/drawing/2014/chart" uri="{C3380CC4-5D6E-409C-BE32-E72D297353CC}">
                <c16:uniqueId val="{00000025-FA3E-4872-B6E1-C4ABDF5766E2}"/>
              </c:ext>
            </c:extLst>
          </c:dPt>
          <c:dPt>
            <c:idx val="18"/>
            <c:invertIfNegative val="1"/>
            <c:bubble3D val="0"/>
            <c:spPr>
              <a:solidFill>
                <a:srgbClr val="AEABAB"/>
              </a:solidFill>
            </c:spPr>
            <c:extLst>
              <c:ext xmlns:c16="http://schemas.microsoft.com/office/drawing/2014/chart" uri="{C3380CC4-5D6E-409C-BE32-E72D297353CC}">
                <c16:uniqueId val="{00000027-FA3E-4872-B6E1-C4ABDF5766E2}"/>
              </c:ext>
            </c:extLst>
          </c:dPt>
          <c:dPt>
            <c:idx val="19"/>
            <c:invertIfNegative val="1"/>
            <c:bubble3D val="0"/>
            <c:spPr>
              <a:solidFill>
                <a:srgbClr val="AEABAB"/>
              </a:solidFill>
            </c:spPr>
            <c:extLst>
              <c:ext xmlns:c16="http://schemas.microsoft.com/office/drawing/2014/chart" uri="{C3380CC4-5D6E-409C-BE32-E72D297353CC}">
                <c16:uniqueId val="{00000029-FA3E-4872-B6E1-C4ABDF5766E2}"/>
              </c:ext>
            </c:extLst>
          </c:dPt>
          <c:dPt>
            <c:idx val="20"/>
            <c:invertIfNegative val="1"/>
            <c:bubble3D val="0"/>
            <c:spPr>
              <a:solidFill>
                <a:srgbClr val="AEABAB"/>
              </a:solidFill>
            </c:spPr>
            <c:extLst>
              <c:ext xmlns:c16="http://schemas.microsoft.com/office/drawing/2014/chart" uri="{C3380CC4-5D6E-409C-BE32-E72D297353CC}">
                <c16:uniqueId val="{0000002B-FA3E-4872-B6E1-C4ABDF5766E2}"/>
              </c:ext>
            </c:extLst>
          </c:dPt>
          <c:dPt>
            <c:idx val="21"/>
            <c:invertIfNegative val="1"/>
            <c:bubble3D val="0"/>
            <c:spPr>
              <a:solidFill>
                <a:srgbClr val="AEABAB"/>
              </a:solidFill>
            </c:spPr>
            <c:extLst>
              <c:ext xmlns:c16="http://schemas.microsoft.com/office/drawing/2014/chart" uri="{C3380CC4-5D6E-409C-BE32-E72D297353CC}">
                <c16:uniqueId val="{0000002D-FA3E-4872-B6E1-C4ABDF5766E2}"/>
              </c:ext>
            </c:extLst>
          </c:dPt>
          <c:dPt>
            <c:idx val="22"/>
            <c:invertIfNegative val="1"/>
            <c:bubble3D val="0"/>
            <c:spPr>
              <a:solidFill>
                <a:srgbClr val="AEABAB"/>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24</c:f>
              <c:strCache>
                <c:ptCount val="23"/>
                <c:pt idx="0">
                  <c:v>CHAMPAGNE E.NICOLAS BRUT 1CT X 750ML</c:v>
                </c:pt>
                <c:pt idx="1">
                  <c:v>CHAMPAGNE NICOLAS BLC/BLC BS 1CT X 750ML</c:v>
                </c:pt>
                <c:pt idx="2">
                  <c:v>CHAMPAGNE E.NICOLAS ROSE 1CT X 750ML</c:v>
                </c:pt>
                <c:pt idx="3">
                  <c:v>CHAMPAGNE NICOLAS 1ERE CUVEE 1CT X 750ML</c:v>
                </c:pt>
                <c:pt idx="4">
                  <c:v>1/2 CHAMPAGNE NICOLAS 1ERE CUV 1CT X 375ML</c:v>
                </c:pt>
                <c:pt idx="5">
                  <c:v>MG CHAMPAGNE E.NICOLAS BRUT 1CT X 1500ML</c:v>
                </c:pt>
                <c:pt idx="6">
                  <c:v>CHAMPAGNE NICOLAS ROSE 1ERE CU 1CT X 750ML</c:v>
                </c:pt>
                <c:pt idx="7">
                  <c:v>CHAMPAGNE NICOLAS BIO NAT 2017 1CT X 750ML</c:v>
                </c:pt>
                <c:pt idx="8">
                  <c:v>1/2 CHAMP NICOLAS BLC/BLC BS 1CT X 375ML</c:v>
                </c:pt>
                <c:pt idx="9">
                  <c:v>MG CHAMPAGNE NICOLAS BLC/BL BS 1CT X 1500ML</c:v>
                </c:pt>
                <c:pt idx="10">
                  <c:v>1/2 CHAMP NICOLAS ROSE 1E C BS 1CT X 375ML</c:v>
                </c:pt>
                <c:pt idx="11">
                  <c:v>CHAMPAGNE NICOLAS 1ER CRU BS 1CT X 750ML</c:v>
                </c:pt>
                <c:pt idx="12">
                  <c:v>CHAMPAGNE NICOLAS BLC DE NOIRS 1CT X 750ML</c:v>
                </c:pt>
                <c:pt idx="13">
                  <c:v>MG CHAMPAGNE NICOLAS 1ERE CUVE 1CT X 1500ML</c:v>
                </c:pt>
                <c:pt idx="14">
                  <c:v>CHAMPAGNE NICOLAS 1ER CRU ETUI 1CT X 750ML</c:v>
                </c:pt>
                <c:pt idx="15">
                  <c:v>CHAMPAGNE NICOLAS ROSE 1ERE ET 1CT X 750ML</c:v>
                </c:pt>
                <c:pt idx="16">
                  <c:v>CHAMPAGNE NICOLAS 1ERE CUV ETU 1CT X 750ML</c:v>
                </c:pt>
                <c:pt idx="17">
                  <c:v>CHAMPAGNE NICOLAS ROSE 1E C BS 1CT X 750ML</c:v>
                </c:pt>
                <c:pt idx="18">
                  <c:v>MG CHAMPAGNE NICOLAS 1E CRU BS 1CT X 1500ML</c:v>
                </c:pt>
                <c:pt idx="19">
                  <c:v>CHAMPAGNE NICOLAS BLC/BL BS ET 1CT X 750ML</c:v>
                </c:pt>
                <c:pt idx="20">
                  <c:v>1/2 CHAMPAGNE NICOLAS 1E C BS 1CT X 375ML</c:v>
                </c:pt>
                <c:pt idx="21">
                  <c:v>CHAMPAGNE NICOLAS BIO 2018 1CT X 750ML</c:v>
                </c:pt>
                <c:pt idx="22">
                  <c:v>MG CHAMPAGNE NICOLAS BRUT 1CT X 1500ML</c:v>
                </c:pt>
              </c:strCache>
            </c:strRef>
          </c:cat>
          <c:val>
            <c:numRef>
              <c:f>Sheet1!$C$2:$C$24</c:f>
              <c:numCache>
                <c:formatCode>General</c:formatCode>
                <c:ptCount val="23"/>
                <c:pt idx="0">
                  <c:v>0.7221360662644517</c:v>
                </c:pt>
                <c:pt idx="1">
                  <c:v>0.7904687302563338</c:v>
                </c:pt>
                <c:pt idx="2">
                  <c:v>0.83943971016869878</c:v>
                </c:pt>
                <c:pt idx="3">
                  <c:v>0.88194295098977482</c:v>
                </c:pt>
                <c:pt idx="4">
                  <c:v>0.89918274640711482</c:v>
                </c:pt>
                <c:pt idx="5">
                  <c:v>0.91562725154790359</c:v>
                </c:pt>
                <c:pt idx="6">
                  <c:v>0.92663988362258165</c:v>
                </c:pt>
                <c:pt idx="7">
                  <c:v>0.93734400853753541</c:v>
                </c:pt>
                <c:pt idx="8">
                  <c:v>0.94766359942853151</c:v>
                </c:pt>
                <c:pt idx="9">
                  <c:v>0.95782620892393489</c:v>
                </c:pt>
                <c:pt idx="10">
                  <c:v>0.966478840421372</c:v>
                </c:pt>
                <c:pt idx="11">
                  <c:v>0.97357890479782327</c:v>
                </c:pt>
                <c:pt idx="12">
                  <c:v>0.98018761036654467</c:v>
                </c:pt>
                <c:pt idx="13">
                  <c:v>0.98666907653054237</c:v>
                </c:pt>
                <c:pt idx="14">
                  <c:v>0.99056298948893418</c:v>
                </c:pt>
                <c:pt idx="15">
                  <c:v>0.99330752409013279</c:v>
                </c:pt>
                <c:pt idx="16">
                  <c:v>0.99582063432451029</c:v>
                </c:pt>
                <c:pt idx="17">
                  <c:v>0.99749058551596737</c:v>
                </c:pt>
                <c:pt idx="18">
                  <c:v>0.9988252793547292</c:v>
                </c:pt>
                <c:pt idx="19">
                  <c:v>0.99990760624138331</c:v>
                </c:pt>
                <c:pt idx="20">
                  <c:v>0.9999846890342865</c:v>
                </c:pt>
                <c:pt idx="21">
                  <c:v>0.99999278448742246</c:v>
                </c:pt>
                <c:pt idx="22">
                  <c:v>1.000000000000000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24</c:f>
              <c:strCache>
                <c:ptCount val="23"/>
                <c:pt idx="0">
                  <c:v>CHAMPAGNE E.NICOLAS BRUT 1CT X 750ML</c:v>
                </c:pt>
                <c:pt idx="1">
                  <c:v>CHAMPAGNE NICOLAS BLC/BLC BS 1CT X 750ML</c:v>
                </c:pt>
                <c:pt idx="2">
                  <c:v>CHAMPAGNE E.NICOLAS ROSE 1CT X 750ML</c:v>
                </c:pt>
                <c:pt idx="3">
                  <c:v>CHAMPAGNE NICOLAS 1ERE CUVEE 1CT X 750ML</c:v>
                </c:pt>
                <c:pt idx="4">
                  <c:v>1/2 CHAMPAGNE NICOLAS 1ERE CUV 1CT X 375ML</c:v>
                </c:pt>
                <c:pt idx="5">
                  <c:v>MG CHAMPAGNE E.NICOLAS BRUT 1CT X 1500ML</c:v>
                </c:pt>
                <c:pt idx="6">
                  <c:v>CHAMPAGNE NICOLAS ROSE 1ERE CU 1CT X 750ML</c:v>
                </c:pt>
                <c:pt idx="7">
                  <c:v>CHAMPAGNE NICOLAS BIO NAT 2017 1CT X 750ML</c:v>
                </c:pt>
                <c:pt idx="8">
                  <c:v>1/2 CHAMP NICOLAS BLC/BLC BS 1CT X 375ML</c:v>
                </c:pt>
                <c:pt idx="9">
                  <c:v>MG CHAMPAGNE NICOLAS BLC/BL BS 1CT X 1500ML</c:v>
                </c:pt>
                <c:pt idx="10">
                  <c:v>1/2 CHAMP NICOLAS ROSE 1E C BS 1CT X 375ML</c:v>
                </c:pt>
                <c:pt idx="11">
                  <c:v>CHAMPAGNE NICOLAS 1ER CRU BS 1CT X 750ML</c:v>
                </c:pt>
                <c:pt idx="12">
                  <c:v>CHAMPAGNE NICOLAS BLC DE NOIRS 1CT X 750ML</c:v>
                </c:pt>
                <c:pt idx="13">
                  <c:v>MG CHAMPAGNE NICOLAS 1ERE CUVE 1CT X 1500ML</c:v>
                </c:pt>
                <c:pt idx="14">
                  <c:v>CHAMPAGNE NICOLAS 1ER CRU ETUI 1CT X 750ML</c:v>
                </c:pt>
                <c:pt idx="15">
                  <c:v>CHAMPAGNE NICOLAS ROSE 1ERE ET 1CT X 750ML</c:v>
                </c:pt>
                <c:pt idx="16">
                  <c:v>CHAMPAGNE NICOLAS 1ERE CUV ETU 1CT X 750ML</c:v>
                </c:pt>
                <c:pt idx="17">
                  <c:v>CHAMPAGNE NICOLAS ROSE 1E C BS 1CT X 750ML</c:v>
                </c:pt>
                <c:pt idx="18">
                  <c:v>MG CHAMPAGNE NICOLAS 1E CRU BS 1CT X 1500ML</c:v>
                </c:pt>
                <c:pt idx="19">
                  <c:v>CHAMPAGNE NICOLAS BLC/BL BS ET 1CT X 750ML</c:v>
                </c:pt>
                <c:pt idx="20">
                  <c:v>1/2 CHAMPAGNE NICOLAS 1E C BS 1CT X 375ML</c:v>
                </c:pt>
                <c:pt idx="21">
                  <c:v>CHAMPAGNE NICOLAS BIO 2018 1CT X 750ML</c:v>
                </c:pt>
                <c:pt idx="22">
                  <c:v>MG CHAMPAGNE NICOLAS BRUT 1CT X 1500ML</c:v>
                </c:pt>
              </c:strCache>
            </c:strRef>
          </c:cat>
          <c:val>
            <c:numRef>
              <c:f>Sheet1!$D$2:$D$24</c:f>
              <c:numCache>
                <c:formatCode>General</c:formatCode>
                <c:ptCount val="23"/>
                <c:pt idx="0">
                  <c:v>41115.460921843689</c:v>
                </c:pt>
                <c:pt idx="1">
                  <c:v>6637.264957264957</c:v>
                </c:pt>
                <c:pt idx="2">
                  <c:v>4430.9394904458604</c:v>
                </c:pt>
                <c:pt idx="3">
                  <c:v>3148.787483702738</c:v>
                </c:pt>
                <c:pt idx="4">
                  <c:v>2524.7422680412369</c:v>
                </c:pt>
                <c:pt idx="5">
                  <c:v>3678.7795275590552</c:v>
                </c:pt>
                <c:pt idx="6">
                  <c:v>1793.0085959885387</c:v>
                </c:pt>
                <c:pt idx="7">
                  <c:v>3041.15</c:v>
                </c:pt>
                <c:pt idx="8">
                  <c:v>1861.5238095238096</c:v>
                </c:pt>
                <c:pt idx="9">
                  <c:v>3376.9590643274851</c:v>
                </c:pt>
                <c:pt idx="10">
                  <c:v>1655.4208754208755</c:v>
                </c:pt>
                <c:pt idx="11">
                  <c:v>1162.6512968299712</c:v>
                </c:pt>
                <c:pt idx="12">
                  <c:v>1814.1062801932367</c:v>
                </c:pt>
                <c:pt idx="13">
                  <c:v>1560.5508474576272</c:v>
                </c:pt>
                <c:pt idx="14">
                  <c:v>1170.6878306878307</c:v>
                </c:pt>
                <c:pt idx="15">
                  <c:v>1485.2380952380952</c:v>
                </c:pt>
                <c:pt idx="16">
                  <c:v>1050</c:v>
                </c:pt>
                <c:pt idx="17">
                  <c:v>1171.4814814814815</c:v>
                </c:pt>
                <c:pt idx="18">
                  <c:v>1330.5263157894738</c:v>
                </c:pt>
                <c:pt idx="19">
                  <c:v>2277.7777777777778</c:v>
                </c:pt>
                <c:pt idx="20">
                  <c:v>438</c:v>
                </c:pt>
                <c:pt idx="21">
                  <c:v>230</c:v>
                </c:pt>
                <c:pt idx="22">
                  <c:v>205</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22</c:f>
              <c:strCache>
                <c:ptCount val="21"/>
                <c:pt idx="0">
                  <c:v>CHAMPAGNE E.NICOLAS BRUT 1CT X 750ML</c:v>
                </c:pt>
                <c:pt idx="1">
                  <c:v>CHAMPAGNE NICOLAS BLC/BLC BS 1CT X 750ML</c:v>
                </c:pt>
                <c:pt idx="2">
                  <c:v>CHAMPAGNE E.NICOLAS ROSE 1CT X 750ML</c:v>
                </c:pt>
                <c:pt idx="3">
                  <c:v>CHAMPAGNE NICOLAS 1ERE CUVEE 1CT X 750ML</c:v>
                </c:pt>
                <c:pt idx="4">
                  <c:v>1/2 CHAMPAGNE NICOLAS 1ERE CUV 1CT X 375ML</c:v>
                </c:pt>
                <c:pt idx="5">
                  <c:v>MG CHAMPAGNE E.NICOLAS BRUT 1CT X 1500ML</c:v>
                </c:pt>
                <c:pt idx="6">
                  <c:v>CHAMPAGNE NICOLAS BIO NAT 2017 1CT X 750ML</c:v>
                </c:pt>
                <c:pt idx="7">
                  <c:v>CHAMPAGNE NICOLAS ROSE 1ERE CU 1CT X 750ML</c:v>
                </c:pt>
                <c:pt idx="8">
                  <c:v>MG CHAMPAGNE NICOLAS BLC/BL BS 1CT X 1500ML</c:v>
                </c:pt>
                <c:pt idx="9">
                  <c:v>1/2 CHAMP NICOLAS BLC/BLC BS 1CT X 375ML</c:v>
                </c:pt>
                <c:pt idx="10">
                  <c:v>1/2 CHAMP NICOLAS ROSE 1E C BS 1CT X 375ML</c:v>
                </c:pt>
                <c:pt idx="11">
                  <c:v>CHAMPAGNE NICOLAS BLC DE NOIRS 1CT X 750ML</c:v>
                </c:pt>
                <c:pt idx="12">
                  <c:v>CHAMPAGNE NICOLAS 1ER CRU BS 1CT X 750ML</c:v>
                </c:pt>
                <c:pt idx="13">
                  <c:v>MG CHAMPAGNE NICOLAS 1ERE CUVE 1CT X 1500ML</c:v>
                </c:pt>
                <c:pt idx="14">
                  <c:v>CHAMPAGNE NICOLAS 1ER CRU ETUI 1CT X 750ML</c:v>
                </c:pt>
                <c:pt idx="15">
                  <c:v>CHAMPAGNE NICOLAS ROSE 1ERE ET 1CT X 750ML</c:v>
                </c:pt>
                <c:pt idx="16">
                  <c:v>CHAMPAGNE NICOLAS 1ERE CUV ETU 1CT X 750ML</c:v>
                </c:pt>
                <c:pt idx="17">
                  <c:v>MG CHAMPAGNE NICOLAS 1E CRU BS 1CT X 1500ML</c:v>
                </c:pt>
                <c:pt idx="18">
                  <c:v>CHAMPAGNE NICOLAS ROSE 1E C BS 1CT X 750ML</c:v>
                </c:pt>
                <c:pt idx="19">
                  <c:v>CHAMPAGNE NICOLAS BLC/BL BS ET 1CT X 750ML</c:v>
                </c:pt>
                <c:pt idx="20">
                  <c:v>1/2 CHAMPAGNE NICOLAS 1E C BS 1CT X 375ML</c:v>
                </c:pt>
              </c:strCache>
            </c:strRef>
          </c:cat>
          <c:val>
            <c:numRef>
              <c:f>Sheet1!$B$2:$B$22</c:f>
              <c:numCache>
                <c:formatCode>General</c:formatCode>
                <c:ptCount val="21"/>
                <c:pt idx="0">
                  <c:v>1</c:v>
                </c:pt>
                <c:pt idx="1">
                  <c:v>0.56999999999999995</c:v>
                </c:pt>
                <c:pt idx="2">
                  <c:v>0.6</c:v>
                </c:pt>
                <c:pt idx="3">
                  <c:v>0.83</c:v>
                </c:pt>
                <c:pt idx="4">
                  <c:v>0.37</c:v>
                </c:pt>
                <c:pt idx="5">
                  <c:v>0.18</c:v>
                </c:pt>
                <c:pt idx="6">
                  <c:v>0.19</c:v>
                </c:pt>
                <c:pt idx="7">
                  <c:v>0.32</c:v>
                </c:pt>
                <c:pt idx="8">
                  <c:v>0.12</c:v>
                </c:pt>
                <c:pt idx="9">
                  <c:v>0.28000000000000003</c:v>
                </c:pt>
                <c:pt idx="10">
                  <c:v>0.25</c:v>
                </c:pt>
                <c:pt idx="11">
                  <c:v>0.17</c:v>
                </c:pt>
                <c:pt idx="12">
                  <c:v>0.32</c:v>
                </c:pt>
                <c:pt idx="13">
                  <c:v>0.27</c:v>
                </c:pt>
                <c:pt idx="14">
                  <c:v>0.18</c:v>
                </c:pt>
                <c:pt idx="15">
                  <c:v>0.08</c:v>
                </c:pt>
                <c:pt idx="16">
                  <c:v>0.14000000000000001</c:v>
                </c:pt>
                <c:pt idx="17">
                  <c:v>0.04</c:v>
                </c:pt>
                <c:pt idx="18">
                  <c:v>0.04</c:v>
                </c:pt>
                <c:pt idx="19">
                  <c:v>0.02</c:v>
                </c:pt>
                <c:pt idx="20">
                  <c:v>0.01</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7ECAC4"/>
              </a:solidFill>
            </c:spPr>
            <c:extLst>
              <c:ext xmlns:c16="http://schemas.microsoft.com/office/drawing/2014/chart" uri="{C3380CC4-5D6E-409C-BE32-E72D297353CC}">
                <c16:uniqueId val="{00000006-E902-46E2-9A54-39A26B3DFDC1}"/>
              </c:ext>
            </c:extLst>
          </c:dPt>
          <c:dPt>
            <c:idx val="3"/>
            <c:invertIfNegative val="0"/>
            <c:bubble3D val="0"/>
            <c:spPr>
              <a:solidFill>
                <a:srgbClr val="7ECAC4"/>
              </a:solidFill>
            </c:spPr>
            <c:extLst>
              <c:ext xmlns:c16="http://schemas.microsoft.com/office/drawing/2014/chart" uri="{C3380CC4-5D6E-409C-BE32-E72D297353CC}">
                <c16:uniqueId val="{00000007-E902-46E2-9A54-39A26B3DFDC1}"/>
              </c:ext>
            </c:extLst>
          </c:dPt>
          <c:dPt>
            <c:idx val="4"/>
            <c:invertIfNegative val="1"/>
            <c:bubble3D val="0"/>
            <c:spPr>
              <a:solidFill>
                <a:srgbClr val="7ECAC4"/>
              </a:solidFill>
            </c:spPr>
            <c:extLst>
              <c:ext xmlns:c16="http://schemas.microsoft.com/office/drawing/2014/chart" uri="{C3380CC4-5D6E-409C-BE32-E72D297353CC}">
                <c16:uniqueId val="{0000000B-FA3E-4872-B6E1-C4ABDF5766E2}"/>
              </c:ext>
            </c:extLst>
          </c:dPt>
          <c:dPt>
            <c:idx val="5"/>
            <c:invertIfNegative val="1"/>
            <c:bubble3D val="0"/>
            <c:spPr>
              <a:solidFill>
                <a:srgbClr val="7ECAC4"/>
              </a:solidFill>
            </c:spPr>
            <c:extLst>
              <c:ext xmlns:c16="http://schemas.microsoft.com/office/drawing/2014/chart" uri="{C3380CC4-5D6E-409C-BE32-E72D297353CC}">
                <c16:uniqueId val="{0000000D-FA3E-4872-B6E1-C4ABDF5766E2}"/>
              </c:ext>
            </c:extLst>
          </c:dPt>
          <c:dPt>
            <c:idx val="6"/>
            <c:invertIfNegative val="1"/>
            <c:bubble3D val="0"/>
            <c:spPr>
              <a:solidFill>
                <a:srgbClr val="7ECAC4"/>
              </a:solidFill>
            </c:spPr>
            <c:extLst>
              <c:ext xmlns:c16="http://schemas.microsoft.com/office/drawing/2014/chart" uri="{C3380CC4-5D6E-409C-BE32-E72D297353CC}">
                <c16:uniqueId val="{0000000F-FA3E-4872-B6E1-C4ABDF5766E2}"/>
              </c:ext>
            </c:extLst>
          </c:dPt>
          <c:dPt>
            <c:idx val="7"/>
            <c:invertIfNegative val="1"/>
            <c:bubble3D val="0"/>
            <c:spPr>
              <a:solidFill>
                <a:srgbClr val="7ECAC4"/>
              </a:solidFill>
            </c:spPr>
            <c:extLst>
              <c:ext xmlns:c16="http://schemas.microsoft.com/office/drawing/2014/chart" uri="{C3380CC4-5D6E-409C-BE32-E72D297353CC}">
                <c16:uniqueId val="{00000011-FA3E-4872-B6E1-C4ABDF5766E2}"/>
              </c:ext>
            </c:extLst>
          </c:dPt>
          <c:dPt>
            <c:idx val="8"/>
            <c:invertIfNegative val="1"/>
            <c:bubble3D val="0"/>
            <c:spPr>
              <a:solidFill>
                <a:srgbClr val="7ECAC4"/>
              </a:solidFill>
            </c:spPr>
            <c:extLst>
              <c:ext xmlns:c16="http://schemas.microsoft.com/office/drawing/2014/chart" uri="{C3380CC4-5D6E-409C-BE32-E72D297353CC}">
                <c16:uniqueId val="{00000013-FA3E-4872-B6E1-C4ABDF5766E2}"/>
              </c:ext>
            </c:extLst>
          </c:dPt>
          <c:dPt>
            <c:idx val="9"/>
            <c:invertIfNegative val="1"/>
            <c:bubble3D val="0"/>
            <c:spPr>
              <a:solidFill>
                <a:srgbClr val="AEABAB"/>
              </a:solidFill>
            </c:spPr>
            <c:extLst>
              <c:ext xmlns:c16="http://schemas.microsoft.com/office/drawing/2014/chart" uri="{C3380CC4-5D6E-409C-BE32-E72D297353CC}">
                <c16:uniqueId val="{00000015-FA3E-4872-B6E1-C4ABDF5766E2}"/>
              </c:ext>
            </c:extLst>
          </c:dPt>
          <c:dPt>
            <c:idx val="10"/>
            <c:invertIfNegative val="1"/>
            <c:bubble3D val="0"/>
            <c:spPr>
              <a:solidFill>
                <a:srgbClr val="AEABAB"/>
              </a:solidFill>
            </c:spPr>
            <c:extLst>
              <c:ext xmlns:c16="http://schemas.microsoft.com/office/drawing/2014/chart" uri="{C3380CC4-5D6E-409C-BE32-E72D297353CC}">
                <c16:uniqueId val="{00000017-FA3E-4872-B6E1-C4ABDF5766E2}"/>
              </c:ext>
            </c:extLst>
          </c:dPt>
          <c:dPt>
            <c:idx val="11"/>
            <c:invertIfNegative val="1"/>
            <c:bubble3D val="0"/>
            <c:spPr>
              <a:solidFill>
                <a:srgbClr val="AEABAB"/>
              </a:solidFill>
            </c:spPr>
            <c:extLst>
              <c:ext xmlns:c16="http://schemas.microsoft.com/office/drawing/2014/chart" uri="{C3380CC4-5D6E-409C-BE32-E72D297353CC}">
                <c16:uniqueId val="{00000019-FA3E-4872-B6E1-C4ABDF5766E2}"/>
              </c:ext>
            </c:extLst>
          </c:dPt>
          <c:dPt>
            <c:idx val="12"/>
            <c:invertIfNegative val="1"/>
            <c:bubble3D val="0"/>
            <c:spPr>
              <a:solidFill>
                <a:srgbClr val="AEABAB"/>
              </a:solidFill>
            </c:spPr>
            <c:extLst>
              <c:ext xmlns:c16="http://schemas.microsoft.com/office/drawing/2014/chart" uri="{C3380CC4-5D6E-409C-BE32-E72D297353CC}">
                <c16:uniqueId val="{0000001B-FA3E-4872-B6E1-C4ABDF5766E2}"/>
              </c:ext>
            </c:extLst>
          </c:dPt>
          <c:dPt>
            <c:idx val="13"/>
            <c:invertIfNegative val="1"/>
            <c:bubble3D val="0"/>
            <c:spPr>
              <a:solidFill>
                <a:srgbClr val="AEABAB"/>
              </a:solidFill>
            </c:spPr>
            <c:extLst>
              <c:ext xmlns:c16="http://schemas.microsoft.com/office/drawing/2014/chart" uri="{C3380CC4-5D6E-409C-BE32-E72D297353CC}">
                <c16:uniqueId val="{0000001D-FA3E-4872-B6E1-C4ABDF5766E2}"/>
              </c:ext>
            </c:extLst>
          </c:dPt>
          <c:dPt>
            <c:idx val="14"/>
            <c:invertIfNegative val="1"/>
            <c:bubble3D val="0"/>
            <c:spPr>
              <a:solidFill>
                <a:srgbClr val="AEABAB"/>
              </a:solidFill>
            </c:spPr>
            <c:extLst>
              <c:ext xmlns:c16="http://schemas.microsoft.com/office/drawing/2014/chart" uri="{C3380CC4-5D6E-409C-BE32-E72D297353CC}">
                <c16:uniqueId val="{0000001F-FA3E-4872-B6E1-C4ABDF5766E2}"/>
              </c:ext>
            </c:extLst>
          </c:dPt>
          <c:dPt>
            <c:idx val="15"/>
            <c:invertIfNegative val="1"/>
            <c:bubble3D val="0"/>
            <c:spPr>
              <a:solidFill>
                <a:srgbClr val="AEABAB"/>
              </a:solidFill>
            </c:spPr>
            <c:extLst>
              <c:ext xmlns:c16="http://schemas.microsoft.com/office/drawing/2014/chart" uri="{C3380CC4-5D6E-409C-BE32-E72D297353CC}">
                <c16:uniqueId val="{00000021-FA3E-4872-B6E1-C4ABDF5766E2}"/>
              </c:ext>
            </c:extLst>
          </c:dPt>
          <c:dPt>
            <c:idx val="16"/>
            <c:invertIfNegative val="1"/>
            <c:bubble3D val="0"/>
            <c:spPr>
              <a:solidFill>
                <a:srgbClr val="AEABAB"/>
              </a:solidFill>
            </c:spPr>
            <c:extLst>
              <c:ext xmlns:c16="http://schemas.microsoft.com/office/drawing/2014/chart" uri="{C3380CC4-5D6E-409C-BE32-E72D297353CC}">
                <c16:uniqueId val="{00000023-FA3E-4872-B6E1-C4ABDF5766E2}"/>
              </c:ext>
            </c:extLst>
          </c:dPt>
          <c:dPt>
            <c:idx val="17"/>
            <c:invertIfNegative val="1"/>
            <c:bubble3D val="0"/>
            <c:spPr>
              <a:solidFill>
                <a:srgbClr val="AEABAB"/>
              </a:solidFill>
            </c:spPr>
            <c:extLst>
              <c:ext xmlns:c16="http://schemas.microsoft.com/office/drawing/2014/chart" uri="{C3380CC4-5D6E-409C-BE32-E72D297353CC}">
                <c16:uniqueId val="{00000025-FA3E-4872-B6E1-C4ABDF5766E2}"/>
              </c:ext>
            </c:extLst>
          </c:dPt>
          <c:dPt>
            <c:idx val="18"/>
            <c:invertIfNegative val="1"/>
            <c:bubble3D val="0"/>
            <c:spPr>
              <a:solidFill>
                <a:srgbClr val="AEABAB"/>
              </a:solidFill>
            </c:spPr>
            <c:extLst>
              <c:ext xmlns:c16="http://schemas.microsoft.com/office/drawing/2014/chart" uri="{C3380CC4-5D6E-409C-BE32-E72D297353CC}">
                <c16:uniqueId val="{00000027-FA3E-4872-B6E1-C4ABDF5766E2}"/>
              </c:ext>
            </c:extLst>
          </c:dPt>
          <c:dPt>
            <c:idx val="19"/>
            <c:invertIfNegative val="1"/>
            <c:bubble3D val="0"/>
            <c:spPr>
              <a:solidFill>
                <a:srgbClr val="AEABAB"/>
              </a:solidFill>
            </c:spPr>
            <c:extLst>
              <c:ext xmlns:c16="http://schemas.microsoft.com/office/drawing/2014/chart" uri="{C3380CC4-5D6E-409C-BE32-E72D297353CC}">
                <c16:uniqueId val="{00000029-FA3E-4872-B6E1-C4ABDF5766E2}"/>
              </c:ext>
            </c:extLst>
          </c:dPt>
          <c:dPt>
            <c:idx val="20"/>
            <c:invertIfNegative val="1"/>
            <c:bubble3D val="0"/>
            <c:spPr>
              <a:solidFill>
                <a:srgbClr val="AEABAB"/>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22</c:f>
              <c:strCache>
                <c:ptCount val="21"/>
                <c:pt idx="0">
                  <c:v>CHAMPAGNE E.NICOLAS BRUT 1CT X 750ML</c:v>
                </c:pt>
                <c:pt idx="1">
                  <c:v>CHAMPAGNE NICOLAS BLC/BLC BS 1CT X 750ML</c:v>
                </c:pt>
                <c:pt idx="2">
                  <c:v>CHAMPAGNE E.NICOLAS ROSE 1CT X 750ML</c:v>
                </c:pt>
                <c:pt idx="3">
                  <c:v>CHAMPAGNE NICOLAS 1ERE CUVEE 1CT X 750ML</c:v>
                </c:pt>
                <c:pt idx="4">
                  <c:v>1/2 CHAMPAGNE NICOLAS 1ERE CUV 1CT X 375ML</c:v>
                </c:pt>
                <c:pt idx="5">
                  <c:v>MG CHAMPAGNE E.NICOLAS BRUT 1CT X 1500ML</c:v>
                </c:pt>
                <c:pt idx="6">
                  <c:v>CHAMPAGNE NICOLAS BIO NAT 2017 1CT X 750ML</c:v>
                </c:pt>
                <c:pt idx="7">
                  <c:v>CHAMPAGNE NICOLAS ROSE 1ERE CU 1CT X 750ML</c:v>
                </c:pt>
                <c:pt idx="8">
                  <c:v>MG CHAMPAGNE NICOLAS BLC/BL BS 1CT X 1500ML</c:v>
                </c:pt>
                <c:pt idx="9">
                  <c:v>1/2 CHAMP NICOLAS BLC/BLC BS 1CT X 375ML</c:v>
                </c:pt>
                <c:pt idx="10">
                  <c:v>1/2 CHAMP NICOLAS ROSE 1E C BS 1CT X 375ML</c:v>
                </c:pt>
                <c:pt idx="11">
                  <c:v>CHAMPAGNE NICOLAS BLC DE NOIRS 1CT X 750ML</c:v>
                </c:pt>
                <c:pt idx="12">
                  <c:v>CHAMPAGNE NICOLAS 1ER CRU BS 1CT X 750ML</c:v>
                </c:pt>
                <c:pt idx="13">
                  <c:v>MG CHAMPAGNE NICOLAS 1ERE CUVE 1CT X 1500ML</c:v>
                </c:pt>
                <c:pt idx="14">
                  <c:v>CHAMPAGNE NICOLAS 1ER CRU ETUI 1CT X 750ML</c:v>
                </c:pt>
                <c:pt idx="15">
                  <c:v>CHAMPAGNE NICOLAS ROSE 1ERE ET 1CT X 750ML</c:v>
                </c:pt>
                <c:pt idx="16">
                  <c:v>CHAMPAGNE NICOLAS 1ERE CUV ETU 1CT X 750ML</c:v>
                </c:pt>
                <c:pt idx="17">
                  <c:v>MG CHAMPAGNE NICOLAS 1E CRU BS 1CT X 1500ML</c:v>
                </c:pt>
                <c:pt idx="18">
                  <c:v>CHAMPAGNE NICOLAS ROSE 1E C BS 1CT X 750ML</c:v>
                </c:pt>
                <c:pt idx="19">
                  <c:v>CHAMPAGNE NICOLAS BLC/BL BS ET 1CT X 750ML</c:v>
                </c:pt>
                <c:pt idx="20">
                  <c:v>1/2 CHAMPAGNE NICOLAS 1E C BS 1CT X 375ML</c:v>
                </c:pt>
              </c:strCache>
            </c:strRef>
          </c:cat>
          <c:val>
            <c:numRef>
              <c:f>Sheet1!$C$2:$C$22</c:f>
              <c:numCache>
                <c:formatCode>General</c:formatCode>
                <c:ptCount val="21"/>
                <c:pt idx="0">
                  <c:v>0.7224942371613049</c:v>
                </c:pt>
                <c:pt idx="1">
                  <c:v>0.79039980279304722</c:v>
                </c:pt>
                <c:pt idx="2">
                  <c:v>0.83760940817571206</c:v>
                </c:pt>
                <c:pt idx="3">
                  <c:v>0.88184056631582397</c:v>
                </c:pt>
                <c:pt idx="4">
                  <c:v>0.90016597454099734</c:v>
                </c:pt>
                <c:pt idx="5">
                  <c:v>0.91576901736769412</c:v>
                </c:pt>
                <c:pt idx="6">
                  <c:v>0.92736090906661361</c:v>
                </c:pt>
                <c:pt idx="7">
                  <c:v>0.9387641298741809</c:v>
                </c:pt>
                <c:pt idx="8">
                  <c:v>0.94895036360031937</c:v>
                </c:pt>
                <c:pt idx="9">
                  <c:v>0.95885658259975737</c:v>
                </c:pt>
                <c:pt idx="10">
                  <c:v>0.96808589990231408</c:v>
                </c:pt>
                <c:pt idx="11">
                  <c:v>0.97506472847546355</c:v>
                </c:pt>
                <c:pt idx="12">
                  <c:v>0.98139138599710984</c:v>
                </c:pt>
                <c:pt idx="13">
                  <c:v>0.98720149213545549</c:v>
                </c:pt>
                <c:pt idx="14">
                  <c:v>0.99076908717193524</c:v>
                </c:pt>
                <c:pt idx="15">
                  <c:v>0.99333509107060181</c:v>
                </c:pt>
                <c:pt idx="16">
                  <c:v>0.99587875761215272</c:v>
                </c:pt>
                <c:pt idx="17">
                  <c:v>0.99751337349536984</c:v>
                </c:pt>
                <c:pt idx="18">
                  <c:v>0.99904627462743512</c:v>
                </c:pt>
                <c:pt idx="19">
                  <c:v>0.99994774653960461</c:v>
                </c:pt>
                <c:pt idx="20">
                  <c:v>1.000000000000000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22</c:f>
              <c:strCache>
                <c:ptCount val="21"/>
                <c:pt idx="0">
                  <c:v>CHAMPAGNE E.NICOLAS BRUT 1CT X 750ML</c:v>
                </c:pt>
                <c:pt idx="1">
                  <c:v>CHAMPAGNE NICOLAS BLC/BLC BS 1CT X 750ML</c:v>
                </c:pt>
                <c:pt idx="2">
                  <c:v>CHAMPAGNE E.NICOLAS ROSE 1CT X 750ML</c:v>
                </c:pt>
                <c:pt idx="3">
                  <c:v>CHAMPAGNE NICOLAS 1ERE CUVEE 1CT X 750ML</c:v>
                </c:pt>
                <c:pt idx="4">
                  <c:v>1/2 CHAMPAGNE NICOLAS 1ERE CUV 1CT X 375ML</c:v>
                </c:pt>
                <c:pt idx="5">
                  <c:v>MG CHAMPAGNE E.NICOLAS BRUT 1CT X 1500ML</c:v>
                </c:pt>
                <c:pt idx="6">
                  <c:v>CHAMPAGNE NICOLAS BIO NAT 2017 1CT X 750ML</c:v>
                </c:pt>
                <c:pt idx="7">
                  <c:v>CHAMPAGNE NICOLAS ROSE 1ERE CU 1CT X 750ML</c:v>
                </c:pt>
                <c:pt idx="8">
                  <c:v>MG CHAMPAGNE NICOLAS BLC/BL BS 1CT X 1500ML</c:v>
                </c:pt>
                <c:pt idx="9">
                  <c:v>1/2 CHAMP NICOLAS BLC/BLC BS 1CT X 375ML</c:v>
                </c:pt>
                <c:pt idx="10">
                  <c:v>1/2 CHAMP NICOLAS ROSE 1E C BS 1CT X 375ML</c:v>
                </c:pt>
                <c:pt idx="11">
                  <c:v>CHAMPAGNE NICOLAS BLC DE NOIRS 1CT X 750ML</c:v>
                </c:pt>
                <c:pt idx="12">
                  <c:v>CHAMPAGNE NICOLAS 1ER CRU BS 1CT X 750ML</c:v>
                </c:pt>
                <c:pt idx="13">
                  <c:v>MG CHAMPAGNE NICOLAS 1ERE CUVE 1CT X 1500ML</c:v>
                </c:pt>
                <c:pt idx="14">
                  <c:v>CHAMPAGNE NICOLAS 1ER CRU ETUI 1CT X 750ML</c:v>
                </c:pt>
                <c:pt idx="15">
                  <c:v>CHAMPAGNE NICOLAS ROSE 1ERE ET 1CT X 750ML</c:v>
                </c:pt>
                <c:pt idx="16">
                  <c:v>CHAMPAGNE NICOLAS 1ERE CUV ETU 1CT X 750ML</c:v>
                </c:pt>
                <c:pt idx="17">
                  <c:v>MG CHAMPAGNE NICOLAS 1E CRU BS 1CT X 1500ML</c:v>
                </c:pt>
                <c:pt idx="18">
                  <c:v>CHAMPAGNE NICOLAS ROSE 1E C BS 1CT X 750ML</c:v>
                </c:pt>
                <c:pt idx="19">
                  <c:v>CHAMPAGNE NICOLAS BLC/BL BS ET 1CT X 750ML</c:v>
                </c:pt>
                <c:pt idx="20">
                  <c:v>1/2 CHAMPAGNE NICOLAS 1E C BS 1CT X 375ML</c:v>
                </c:pt>
              </c:strCache>
            </c:strRef>
          </c:cat>
          <c:val>
            <c:numRef>
              <c:f>Sheet1!$D$2:$D$22</c:f>
              <c:numCache>
                <c:formatCode>General</c:formatCode>
                <c:ptCount val="21"/>
                <c:pt idx="0">
                  <c:v>18113.009999999998</c:v>
                </c:pt>
                <c:pt idx="1">
                  <c:v>2986.666666666667</c:v>
                </c:pt>
                <c:pt idx="2">
                  <c:v>1972.5833333333333</c:v>
                </c:pt>
                <c:pt idx="3">
                  <c:v>1336</c:v>
                </c:pt>
                <c:pt idx="4">
                  <c:v>1241.6756756756756</c:v>
                </c:pt>
                <c:pt idx="5">
                  <c:v>2173.1666666666665</c:v>
                </c:pt>
                <c:pt idx="6">
                  <c:v>1529.5263157894738</c:v>
                </c:pt>
                <c:pt idx="7">
                  <c:v>893.375</c:v>
                </c:pt>
                <c:pt idx="8">
                  <c:v>2128.0833333333335</c:v>
                </c:pt>
                <c:pt idx="9">
                  <c:v>886.96428571428555</c:v>
                </c:pt>
                <c:pt idx="10">
                  <c:v>925.52</c:v>
                </c:pt>
                <c:pt idx="11">
                  <c:v>1029.1764705882354</c:v>
                </c:pt>
                <c:pt idx="12">
                  <c:v>495.65625</c:v>
                </c:pt>
                <c:pt idx="13">
                  <c:v>539.48148148148152</c:v>
                </c:pt>
                <c:pt idx="14">
                  <c:v>496.88888888888891</c:v>
                </c:pt>
                <c:pt idx="15">
                  <c:v>804.125</c:v>
                </c:pt>
                <c:pt idx="16">
                  <c:v>455.49999999999994</c:v>
                </c:pt>
                <c:pt idx="17">
                  <c:v>1024.5</c:v>
                </c:pt>
                <c:pt idx="18">
                  <c:v>960.75</c:v>
                </c:pt>
                <c:pt idx="19">
                  <c:v>1130</c:v>
                </c:pt>
                <c:pt idx="20">
                  <c:v>131</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22</c:f>
              <c:strCache>
                <c:ptCount val="21"/>
                <c:pt idx="0">
                  <c:v>CHAMPAGNE E.NICOLAS BRUT 1CT X 750ML</c:v>
                </c:pt>
                <c:pt idx="1">
                  <c:v>CHAMPAGNE NICOLAS BLC/BLC BS 1CT X 750ML</c:v>
                </c:pt>
                <c:pt idx="2">
                  <c:v>CHAMPAGNE E.NICOLAS ROSE 1CT X 750ML</c:v>
                </c:pt>
                <c:pt idx="3">
                  <c:v>CHAMPAGNE NICOLAS 1ERE CUVEE 1CT X 750ML</c:v>
                </c:pt>
                <c:pt idx="4">
                  <c:v>MG CHAMPAGNE E.NICOLAS BRUT 1CT X 1500ML</c:v>
                </c:pt>
                <c:pt idx="5">
                  <c:v>1/2 CHAMPAGNE NICOLAS 1ERE CUV 1CT X 375ML</c:v>
                </c:pt>
                <c:pt idx="6">
                  <c:v>MG CHAMPAGNE NICOLAS BLC/BL BS 1CT X 1500ML</c:v>
                </c:pt>
                <c:pt idx="7">
                  <c:v>CHAMPAGNE NICOLAS ROSE 1ERE CU 1CT X 750ML</c:v>
                </c:pt>
                <c:pt idx="8">
                  <c:v>CHAMPAGNE NICOLAS 1ER CRU BS 1CT X 750ML</c:v>
                </c:pt>
                <c:pt idx="9">
                  <c:v>1/2 CHAMP NICOLAS BLC/BLC BS 1CT X 375ML</c:v>
                </c:pt>
                <c:pt idx="10">
                  <c:v>CHAMPAGNE NICOLAS BIO NAT 2017 1CT X 750ML</c:v>
                </c:pt>
                <c:pt idx="11">
                  <c:v>CHAMPAGNE NICOLAS BLC DE NOIRS 1CT X 750ML</c:v>
                </c:pt>
                <c:pt idx="12">
                  <c:v>1/2 CHAMP NICOLAS ROSE 1E C BS 1CT X 375ML</c:v>
                </c:pt>
                <c:pt idx="13">
                  <c:v>MG CHAMPAGNE NICOLAS 1ERE CUVE 1CT X 1500ML</c:v>
                </c:pt>
                <c:pt idx="14">
                  <c:v>CHAMPAGNE NICOLAS ROSE 1ERE ET 1CT X 750ML</c:v>
                </c:pt>
                <c:pt idx="15">
                  <c:v>CHAMPAGNE NICOLAS 1ERE CUV ETU 1CT X 750ML</c:v>
                </c:pt>
                <c:pt idx="16">
                  <c:v>CHAMPAGNE NICOLAS 1ER CRU ETUI 1CT X 750ML</c:v>
                </c:pt>
                <c:pt idx="17">
                  <c:v>CHAMPAGNE NICOLAS ROSE 1E C BS 1CT X 750ML</c:v>
                </c:pt>
                <c:pt idx="18">
                  <c:v>MG CHAMPAGNE NICOLAS 1E CRU BS 1CT X 1500ML</c:v>
                </c:pt>
                <c:pt idx="19">
                  <c:v>CHAMPAGNE NICOLAS BLC/BL BS ET 1CT X 750ML</c:v>
                </c:pt>
                <c:pt idx="20">
                  <c:v>1/2 CHAMPAGNE NICOLAS 1E C BS 1CT X 375ML</c:v>
                </c:pt>
              </c:strCache>
            </c:strRef>
          </c:cat>
          <c:val>
            <c:numRef>
              <c:f>Sheet1!$B$2:$B$22</c:f>
              <c:numCache>
                <c:formatCode>General</c:formatCode>
                <c:ptCount val="21"/>
                <c:pt idx="0">
                  <c:v>0.99</c:v>
                </c:pt>
                <c:pt idx="1">
                  <c:v>0.56999999999999995</c:v>
                </c:pt>
                <c:pt idx="2">
                  <c:v>0.61</c:v>
                </c:pt>
                <c:pt idx="3">
                  <c:v>0.74</c:v>
                </c:pt>
                <c:pt idx="4">
                  <c:v>0.24</c:v>
                </c:pt>
                <c:pt idx="5">
                  <c:v>0.26</c:v>
                </c:pt>
                <c:pt idx="6">
                  <c:v>0.16</c:v>
                </c:pt>
                <c:pt idx="7">
                  <c:v>0.28000000000000003</c:v>
                </c:pt>
                <c:pt idx="8">
                  <c:v>0.46</c:v>
                </c:pt>
                <c:pt idx="9">
                  <c:v>0.28000000000000003</c:v>
                </c:pt>
                <c:pt idx="10">
                  <c:v>0.14000000000000001</c:v>
                </c:pt>
                <c:pt idx="11">
                  <c:v>0.19</c:v>
                </c:pt>
                <c:pt idx="12">
                  <c:v>0.25</c:v>
                </c:pt>
                <c:pt idx="13">
                  <c:v>0.11</c:v>
                </c:pt>
                <c:pt idx="14">
                  <c:v>0.09</c:v>
                </c:pt>
                <c:pt idx="15">
                  <c:v>0.11</c:v>
                </c:pt>
                <c:pt idx="16">
                  <c:v>0.11</c:v>
                </c:pt>
                <c:pt idx="17">
                  <c:v>0.08</c:v>
                </c:pt>
                <c:pt idx="18">
                  <c:v>0.09</c:v>
                </c:pt>
                <c:pt idx="19">
                  <c:v>0.04</c:v>
                </c:pt>
                <c:pt idx="20">
                  <c:v>0.01</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7ECAC4"/>
              </a:solidFill>
            </c:spPr>
            <c:extLst>
              <c:ext xmlns:c16="http://schemas.microsoft.com/office/drawing/2014/chart" uri="{C3380CC4-5D6E-409C-BE32-E72D297353CC}">
                <c16:uniqueId val="{00000006-E902-46E2-9A54-39A26B3DFDC1}"/>
              </c:ext>
            </c:extLst>
          </c:dPt>
          <c:dPt>
            <c:idx val="3"/>
            <c:invertIfNegative val="0"/>
            <c:bubble3D val="0"/>
            <c:spPr>
              <a:solidFill>
                <a:srgbClr val="7ECAC4"/>
              </a:solidFill>
            </c:spPr>
            <c:extLst>
              <c:ext xmlns:c16="http://schemas.microsoft.com/office/drawing/2014/chart" uri="{C3380CC4-5D6E-409C-BE32-E72D297353CC}">
                <c16:uniqueId val="{00000007-E902-46E2-9A54-39A26B3DFDC1}"/>
              </c:ext>
            </c:extLst>
          </c:dPt>
          <c:dPt>
            <c:idx val="4"/>
            <c:invertIfNegative val="1"/>
            <c:bubble3D val="0"/>
            <c:spPr>
              <a:solidFill>
                <a:srgbClr val="7ECAC4"/>
              </a:solidFill>
            </c:spPr>
            <c:extLst>
              <c:ext xmlns:c16="http://schemas.microsoft.com/office/drawing/2014/chart" uri="{C3380CC4-5D6E-409C-BE32-E72D297353CC}">
                <c16:uniqueId val="{0000000B-FA3E-4872-B6E1-C4ABDF5766E2}"/>
              </c:ext>
            </c:extLst>
          </c:dPt>
          <c:dPt>
            <c:idx val="5"/>
            <c:invertIfNegative val="1"/>
            <c:bubble3D val="0"/>
            <c:spPr>
              <a:solidFill>
                <a:srgbClr val="7ECAC4"/>
              </a:solidFill>
            </c:spPr>
            <c:extLst>
              <c:ext xmlns:c16="http://schemas.microsoft.com/office/drawing/2014/chart" uri="{C3380CC4-5D6E-409C-BE32-E72D297353CC}">
                <c16:uniqueId val="{0000000D-FA3E-4872-B6E1-C4ABDF5766E2}"/>
              </c:ext>
            </c:extLst>
          </c:dPt>
          <c:dPt>
            <c:idx val="6"/>
            <c:invertIfNegative val="1"/>
            <c:bubble3D val="0"/>
            <c:spPr>
              <a:solidFill>
                <a:srgbClr val="7ECAC4"/>
              </a:solidFill>
            </c:spPr>
            <c:extLst>
              <c:ext xmlns:c16="http://schemas.microsoft.com/office/drawing/2014/chart" uri="{C3380CC4-5D6E-409C-BE32-E72D297353CC}">
                <c16:uniqueId val="{0000000F-FA3E-4872-B6E1-C4ABDF5766E2}"/>
              </c:ext>
            </c:extLst>
          </c:dPt>
          <c:dPt>
            <c:idx val="7"/>
            <c:invertIfNegative val="1"/>
            <c:bubble3D val="0"/>
            <c:spPr>
              <a:solidFill>
                <a:srgbClr val="7ECAC4"/>
              </a:solidFill>
            </c:spPr>
            <c:extLst>
              <c:ext xmlns:c16="http://schemas.microsoft.com/office/drawing/2014/chart" uri="{C3380CC4-5D6E-409C-BE32-E72D297353CC}">
                <c16:uniqueId val="{00000011-FA3E-4872-B6E1-C4ABDF5766E2}"/>
              </c:ext>
            </c:extLst>
          </c:dPt>
          <c:dPt>
            <c:idx val="8"/>
            <c:invertIfNegative val="1"/>
            <c:bubble3D val="0"/>
            <c:spPr>
              <a:solidFill>
                <a:srgbClr val="7ECAC4"/>
              </a:solidFill>
            </c:spPr>
            <c:extLst>
              <c:ext xmlns:c16="http://schemas.microsoft.com/office/drawing/2014/chart" uri="{C3380CC4-5D6E-409C-BE32-E72D297353CC}">
                <c16:uniqueId val="{00000013-FA3E-4872-B6E1-C4ABDF5766E2}"/>
              </c:ext>
            </c:extLst>
          </c:dPt>
          <c:dPt>
            <c:idx val="9"/>
            <c:invertIfNegative val="1"/>
            <c:bubble3D val="0"/>
            <c:spPr>
              <a:solidFill>
                <a:srgbClr val="AEABAB"/>
              </a:solidFill>
            </c:spPr>
            <c:extLst>
              <c:ext xmlns:c16="http://schemas.microsoft.com/office/drawing/2014/chart" uri="{C3380CC4-5D6E-409C-BE32-E72D297353CC}">
                <c16:uniqueId val="{00000015-FA3E-4872-B6E1-C4ABDF5766E2}"/>
              </c:ext>
            </c:extLst>
          </c:dPt>
          <c:dPt>
            <c:idx val="10"/>
            <c:invertIfNegative val="1"/>
            <c:bubble3D val="0"/>
            <c:spPr>
              <a:solidFill>
                <a:srgbClr val="AEABAB"/>
              </a:solidFill>
            </c:spPr>
            <c:extLst>
              <c:ext xmlns:c16="http://schemas.microsoft.com/office/drawing/2014/chart" uri="{C3380CC4-5D6E-409C-BE32-E72D297353CC}">
                <c16:uniqueId val="{00000017-FA3E-4872-B6E1-C4ABDF5766E2}"/>
              </c:ext>
            </c:extLst>
          </c:dPt>
          <c:dPt>
            <c:idx val="11"/>
            <c:invertIfNegative val="1"/>
            <c:bubble3D val="0"/>
            <c:spPr>
              <a:solidFill>
                <a:srgbClr val="AEABAB"/>
              </a:solidFill>
            </c:spPr>
            <c:extLst>
              <c:ext xmlns:c16="http://schemas.microsoft.com/office/drawing/2014/chart" uri="{C3380CC4-5D6E-409C-BE32-E72D297353CC}">
                <c16:uniqueId val="{00000019-FA3E-4872-B6E1-C4ABDF5766E2}"/>
              </c:ext>
            </c:extLst>
          </c:dPt>
          <c:dPt>
            <c:idx val="12"/>
            <c:invertIfNegative val="1"/>
            <c:bubble3D val="0"/>
            <c:spPr>
              <a:solidFill>
                <a:srgbClr val="AEABAB"/>
              </a:solidFill>
            </c:spPr>
            <c:extLst>
              <c:ext xmlns:c16="http://schemas.microsoft.com/office/drawing/2014/chart" uri="{C3380CC4-5D6E-409C-BE32-E72D297353CC}">
                <c16:uniqueId val="{0000001B-FA3E-4872-B6E1-C4ABDF5766E2}"/>
              </c:ext>
            </c:extLst>
          </c:dPt>
          <c:dPt>
            <c:idx val="13"/>
            <c:invertIfNegative val="1"/>
            <c:bubble3D val="0"/>
            <c:spPr>
              <a:solidFill>
                <a:srgbClr val="AEABAB"/>
              </a:solidFill>
            </c:spPr>
            <c:extLst>
              <c:ext xmlns:c16="http://schemas.microsoft.com/office/drawing/2014/chart" uri="{C3380CC4-5D6E-409C-BE32-E72D297353CC}">
                <c16:uniqueId val="{0000001D-FA3E-4872-B6E1-C4ABDF5766E2}"/>
              </c:ext>
            </c:extLst>
          </c:dPt>
          <c:dPt>
            <c:idx val="14"/>
            <c:invertIfNegative val="1"/>
            <c:bubble3D val="0"/>
            <c:spPr>
              <a:solidFill>
                <a:srgbClr val="AEABAB"/>
              </a:solidFill>
            </c:spPr>
            <c:extLst>
              <c:ext xmlns:c16="http://schemas.microsoft.com/office/drawing/2014/chart" uri="{C3380CC4-5D6E-409C-BE32-E72D297353CC}">
                <c16:uniqueId val="{0000001F-FA3E-4872-B6E1-C4ABDF5766E2}"/>
              </c:ext>
            </c:extLst>
          </c:dPt>
          <c:dPt>
            <c:idx val="15"/>
            <c:invertIfNegative val="1"/>
            <c:bubble3D val="0"/>
            <c:spPr>
              <a:solidFill>
                <a:srgbClr val="AEABAB"/>
              </a:solidFill>
            </c:spPr>
            <c:extLst>
              <c:ext xmlns:c16="http://schemas.microsoft.com/office/drawing/2014/chart" uri="{C3380CC4-5D6E-409C-BE32-E72D297353CC}">
                <c16:uniqueId val="{00000021-FA3E-4872-B6E1-C4ABDF5766E2}"/>
              </c:ext>
            </c:extLst>
          </c:dPt>
          <c:dPt>
            <c:idx val="16"/>
            <c:invertIfNegative val="1"/>
            <c:bubble3D val="0"/>
            <c:spPr>
              <a:solidFill>
                <a:srgbClr val="AEABAB"/>
              </a:solidFill>
            </c:spPr>
            <c:extLst>
              <c:ext xmlns:c16="http://schemas.microsoft.com/office/drawing/2014/chart" uri="{C3380CC4-5D6E-409C-BE32-E72D297353CC}">
                <c16:uniqueId val="{00000023-FA3E-4872-B6E1-C4ABDF5766E2}"/>
              </c:ext>
            </c:extLst>
          </c:dPt>
          <c:dPt>
            <c:idx val="17"/>
            <c:invertIfNegative val="1"/>
            <c:bubble3D val="0"/>
            <c:spPr>
              <a:solidFill>
                <a:srgbClr val="AEABAB"/>
              </a:solidFill>
            </c:spPr>
            <c:extLst>
              <c:ext xmlns:c16="http://schemas.microsoft.com/office/drawing/2014/chart" uri="{C3380CC4-5D6E-409C-BE32-E72D297353CC}">
                <c16:uniqueId val="{00000025-FA3E-4872-B6E1-C4ABDF5766E2}"/>
              </c:ext>
            </c:extLst>
          </c:dPt>
          <c:dPt>
            <c:idx val="18"/>
            <c:invertIfNegative val="1"/>
            <c:bubble3D val="0"/>
            <c:spPr>
              <a:solidFill>
                <a:srgbClr val="AEABAB"/>
              </a:solidFill>
            </c:spPr>
            <c:extLst>
              <c:ext xmlns:c16="http://schemas.microsoft.com/office/drawing/2014/chart" uri="{C3380CC4-5D6E-409C-BE32-E72D297353CC}">
                <c16:uniqueId val="{00000027-FA3E-4872-B6E1-C4ABDF5766E2}"/>
              </c:ext>
            </c:extLst>
          </c:dPt>
          <c:dPt>
            <c:idx val="19"/>
            <c:invertIfNegative val="1"/>
            <c:bubble3D val="0"/>
            <c:spPr>
              <a:solidFill>
                <a:srgbClr val="AEABAB"/>
              </a:solidFill>
            </c:spPr>
            <c:extLst>
              <c:ext xmlns:c16="http://schemas.microsoft.com/office/drawing/2014/chart" uri="{C3380CC4-5D6E-409C-BE32-E72D297353CC}">
                <c16:uniqueId val="{00000029-FA3E-4872-B6E1-C4ABDF5766E2}"/>
              </c:ext>
            </c:extLst>
          </c:dPt>
          <c:dPt>
            <c:idx val="20"/>
            <c:invertIfNegative val="1"/>
            <c:bubble3D val="0"/>
            <c:spPr>
              <a:solidFill>
                <a:srgbClr val="AEABAB"/>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22</c:f>
              <c:strCache>
                <c:ptCount val="21"/>
                <c:pt idx="0">
                  <c:v>CHAMPAGNE E.NICOLAS BRUT 1CT X 750ML</c:v>
                </c:pt>
                <c:pt idx="1">
                  <c:v>CHAMPAGNE NICOLAS BLC/BLC BS 1CT X 750ML</c:v>
                </c:pt>
                <c:pt idx="2">
                  <c:v>CHAMPAGNE E.NICOLAS ROSE 1CT X 750ML</c:v>
                </c:pt>
                <c:pt idx="3">
                  <c:v>CHAMPAGNE NICOLAS 1ERE CUVEE 1CT X 750ML</c:v>
                </c:pt>
                <c:pt idx="4">
                  <c:v>MG CHAMPAGNE E.NICOLAS BRUT 1CT X 1500ML</c:v>
                </c:pt>
                <c:pt idx="5">
                  <c:v>1/2 CHAMPAGNE NICOLAS 1ERE CUV 1CT X 375ML</c:v>
                </c:pt>
                <c:pt idx="6">
                  <c:v>MG CHAMPAGNE NICOLAS BLC/BL BS 1CT X 1500ML</c:v>
                </c:pt>
                <c:pt idx="7">
                  <c:v>CHAMPAGNE NICOLAS ROSE 1ERE CU 1CT X 750ML</c:v>
                </c:pt>
                <c:pt idx="8">
                  <c:v>CHAMPAGNE NICOLAS 1ER CRU BS 1CT X 750ML</c:v>
                </c:pt>
                <c:pt idx="9">
                  <c:v>1/2 CHAMP NICOLAS BLC/BLC BS 1CT X 375ML</c:v>
                </c:pt>
                <c:pt idx="10">
                  <c:v>CHAMPAGNE NICOLAS BIO NAT 2017 1CT X 750ML</c:v>
                </c:pt>
                <c:pt idx="11">
                  <c:v>CHAMPAGNE NICOLAS BLC DE NOIRS 1CT X 750ML</c:v>
                </c:pt>
                <c:pt idx="12">
                  <c:v>1/2 CHAMP NICOLAS ROSE 1E C BS 1CT X 375ML</c:v>
                </c:pt>
                <c:pt idx="13">
                  <c:v>MG CHAMPAGNE NICOLAS 1ERE CUVE 1CT X 1500ML</c:v>
                </c:pt>
                <c:pt idx="14">
                  <c:v>CHAMPAGNE NICOLAS ROSE 1ERE ET 1CT X 750ML</c:v>
                </c:pt>
                <c:pt idx="15">
                  <c:v>CHAMPAGNE NICOLAS 1ERE CUV ETU 1CT X 750ML</c:v>
                </c:pt>
                <c:pt idx="16">
                  <c:v>CHAMPAGNE NICOLAS 1ER CRU ETUI 1CT X 750ML</c:v>
                </c:pt>
                <c:pt idx="17">
                  <c:v>CHAMPAGNE NICOLAS ROSE 1E C BS 1CT X 750ML</c:v>
                </c:pt>
                <c:pt idx="18">
                  <c:v>MG CHAMPAGNE NICOLAS 1E CRU BS 1CT X 1500ML</c:v>
                </c:pt>
                <c:pt idx="19">
                  <c:v>CHAMPAGNE NICOLAS BLC/BL BS ET 1CT X 750ML</c:v>
                </c:pt>
                <c:pt idx="20">
                  <c:v>1/2 CHAMPAGNE NICOLAS 1E C BS 1CT X 375ML</c:v>
                </c:pt>
              </c:strCache>
            </c:strRef>
          </c:cat>
          <c:val>
            <c:numRef>
              <c:f>Sheet1!$C$2:$C$22</c:f>
              <c:numCache>
                <c:formatCode>General</c:formatCode>
                <c:ptCount val="21"/>
                <c:pt idx="0">
                  <c:v>0.70852285551120986</c:v>
                </c:pt>
                <c:pt idx="1">
                  <c:v>0.78500454210665394</c:v>
                </c:pt>
                <c:pt idx="2">
                  <c:v>0.83828734868680499</c:v>
                </c:pt>
                <c:pt idx="3">
                  <c:v>0.88436061515625886</c:v>
                </c:pt>
                <c:pt idx="4">
                  <c:v>0.8994752682091891</c:v>
                </c:pt>
                <c:pt idx="5">
                  <c:v>0.91368631914263021</c:v>
                </c:pt>
                <c:pt idx="6">
                  <c:v>0.92387895105046758</c:v>
                </c:pt>
                <c:pt idx="7">
                  <c:v>0.93401455562454172</c:v>
                </c:pt>
                <c:pt idx="8">
                  <c:v>0.94378630974516819</c:v>
                </c:pt>
                <c:pt idx="9">
                  <c:v>0.95331148088740958</c:v>
                </c:pt>
                <c:pt idx="10">
                  <c:v>0.96185272972176283</c:v>
                </c:pt>
                <c:pt idx="11">
                  <c:v>0.97011366109860342</c:v>
                </c:pt>
                <c:pt idx="12">
                  <c:v>0.9783255971605207</c:v>
                </c:pt>
                <c:pt idx="13">
                  <c:v>0.98574959217424341</c:v>
                </c:pt>
                <c:pt idx="14">
                  <c:v>0.98879774332398673</c:v>
                </c:pt>
                <c:pt idx="15">
                  <c:v>0.99179930876445865</c:v>
                </c:pt>
                <c:pt idx="16">
                  <c:v>0.99479605499362656</c:v>
                </c:pt>
                <c:pt idx="17">
                  <c:v>0.997007269780252</c:v>
                </c:pt>
                <c:pt idx="18">
                  <c:v>0.99852773094664571</c:v>
                </c:pt>
                <c:pt idx="19">
                  <c:v>0.99984176922885393</c:v>
                </c:pt>
                <c:pt idx="20">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22</c:f>
              <c:strCache>
                <c:ptCount val="21"/>
                <c:pt idx="0">
                  <c:v>CHAMPAGNE E.NICOLAS BRUT 1CT X 750ML</c:v>
                </c:pt>
                <c:pt idx="1">
                  <c:v>CHAMPAGNE NICOLAS BLC/BLC BS 1CT X 750ML</c:v>
                </c:pt>
                <c:pt idx="2">
                  <c:v>CHAMPAGNE E.NICOLAS ROSE 1CT X 750ML</c:v>
                </c:pt>
                <c:pt idx="3">
                  <c:v>CHAMPAGNE NICOLAS 1ERE CUVEE 1CT X 750ML</c:v>
                </c:pt>
                <c:pt idx="4">
                  <c:v>MG CHAMPAGNE E.NICOLAS BRUT 1CT X 1500ML</c:v>
                </c:pt>
                <c:pt idx="5">
                  <c:v>1/2 CHAMPAGNE NICOLAS 1ERE CUV 1CT X 375ML</c:v>
                </c:pt>
                <c:pt idx="6">
                  <c:v>MG CHAMPAGNE NICOLAS BLC/BL BS 1CT X 1500ML</c:v>
                </c:pt>
                <c:pt idx="7">
                  <c:v>CHAMPAGNE NICOLAS ROSE 1ERE CU 1CT X 750ML</c:v>
                </c:pt>
                <c:pt idx="8">
                  <c:v>CHAMPAGNE NICOLAS 1ER CRU BS 1CT X 750ML</c:v>
                </c:pt>
                <c:pt idx="9">
                  <c:v>1/2 CHAMP NICOLAS BLC/BLC BS 1CT X 375ML</c:v>
                </c:pt>
                <c:pt idx="10">
                  <c:v>CHAMPAGNE NICOLAS BIO NAT 2017 1CT X 750ML</c:v>
                </c:pt>
                <c:pt idx="11">
                  <c:v>CHAMPAGNE NICOLAS BLC DE NOIRS 1CT X 750ML</c:v>
                </c:pt>
                <c:pt idx="12">
                  <c:v>1/2 CHAMP NICOLAS ROSE 1E C BS 1CT X 375ML</c:v>
                </c:pt>
                <c:pt idx="13">
                  <c:v>MG CHAMPAGNE NICOLAS 1ERE CUVE 1CT X 1500ML</c:v>
                </c:pt>
                <c:pt idx="14">
                  <c:v>CHAMPAGNE NICOLAS ROSE 1ERE ET 1CT X 750ML</c:v>
                </c:pt>
                <c:pt idx="15">
                  <c:v>CHAMPAGNE NICOLAS 1ERE CUV ETU 1CT X 750ML</c:v>
                </c:pt>
                <c:pt idx="16">
                  <c:v>CHAMPAGNE NICOLAS 1ER CRU ETUI 1CT X 750ML</c:v>
                </c:pt>
                <c:pt idx="17">
                  <c:v>CHAMPAGNE NICOLAS ROSE 1E C BS 1CT X 750ML</c:v>
                </c:pt>
                <c:pt idx="18">
                  <c:v>MG CHAMPAGNE NICOLAS 1E CRU BS 1CT X 1500ML</c:v>
                </c:pt>
                <c:pt idx="19">
                  <c:v>CHAMPAGNE NICOLAS BLC/BL BS ET 1CT X 750ML</c:v>
                </c:pt>
                <c:pt idx="20">
                  <c:v>1/2 CHAMPAGNE NICOLAS 1E C BS 1CT X 375ML</c:v>
                </c:pt>
              </c:strCache>
            </c:strRef>
          </c:cat>
          <c:val>
            <c:numRef>
              <c:f>Sheet1!$D$2:$D$22</c:f>
              <c:numCache>
                <c:formatCode>General</c:formatCode>
                <c:ptCount val="21"/>
                <c:pt idx="0">
                  <c:v>8910.3333333333339</c:v>
                </c:pt>
                <c:pt idx="1">
                  <c:v>1670.5438596491231</c:v>
                </c:pt>
                <c:pt idx="2">
                  <c:v>1087.5081967213114</c:v>
                </c:pt>
                <c:pt idx="3">
                  <c:v>775.16216216216219</c:v>
                </c:pt>
                <c:pt idx="4">
                  <c:v>784.08333333333337</c:v>
                </c:pt>
                <c:pt idx="5">
                  <c:v>680.5</c:v>
                </c:pt>
                <c:pt idx="6">
                  <c:v>793.125</c:v>
                </c:pt>
                <c:pt idx="7">
                  <c:v>450.67857142857139</c:v>
                </c:pt>
                <c:pt idx="8">
                  <c:v>264.47826086956519</c:v>
                </c:pt>
                <c:pt idx="9">
                  <c:v>423.53571428571422</c:v>
                </c:pt>
                <c:pt idx="10">
                  <c:v>759.57142857142844</c:v>
                </c:pt>
                <c:pt idx="11">
                  <c:v>541.31578947368416</c:v>
                </c:pt>
                <c:pt idx="12">
                  <c:v>408.96</c:v>
                </c:pt>
                <c:pt idx="13">
                  <c:v>840.27272727272725</c:v>
                </c:pt>
                <c:pt idx="14">
                  <c:v>421.66666666666669</c:v>
                </c:pt>
                <c:pt idx="15">
                  <c:v>339.72727272727275</c:v>
                </c:pt>
                <c:pt idx="16">
                  <c:v>339.18181818181819</c:v>
                </c:pt>
                <c:pt idx="17">
                  <c:v>344.125</c:v>
                </c:pt>
                <c:pt idx="18">
                  <c:v>210.33333333333334</c:v>
                </c:pt>
                <c:pt idx="19">
                  <c:v>409</c:v>
                </c:pt>
                <c:pt idx="20">
                  <c:v>197</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Deutz</c:v>
                </c:pt>
                <c:pt idx="2">
                  <c:v>Laurent Perrier</c:v>
                </c:pt>
                <c:pt idx="3">
                  <c:v>Nicolas</c:v>
                </c:pt>
                <c:pt idx="4">
                  <c:v>Roederer</c:v>
                </c:pt>
                <c:pt idx="5">
                  <c:v>Malard</c:v>
                </c:pt>
                <c:pt idx="6">
                  <c:v>Nicolas Feuillatte</c:v>
                </c:pt>
                <c:pt idx="7">
                  <c:v>Dom Perignon</c:v>
                </c:pt>
                <c:pt idx="8">
                  <c:v>Veuve Clicquot</c:v>
                </c:pt>
                <c:pt idx="9">
                  <c:v>Others</c:v>
                </c:pt>
              </c:strCache>
            </c:strRef>
          </c:cat>
          <c:val>
            <c:numRef>
              <c:f>Sheet1!$B$2:$B$11</c:f>
              <c:numCache>
                <c:formatCode>General</c:formatCode>
                <c:ptCount val="10"/>
                <c:pt idx="0">
                  <c:v>0.28155609801863296</c:v>
                </c:pt>
                <c:pt idx="1">
                  <c:v>7.6294048818136603E-2</c:v>
                </c:pt>
                <c:pt idx="2">
                  <c:v>6.4899550904298539E-2</c:v>
                </c:pt>
                <c:pt idx="3">
                  <c:v>6.0747053086050419E-2</c:v>
                </c:pt>
                <c:pt idx="4">
                  <c:v>4.0374535547951632E-2</c:v>
                </c:pt>
                <c:pt idx="5">
                  <c:v>3.7318135712932785E-2</c:v>
                </c:pt>
                <c:pt idx="6">
                  <c:v>3.5226663220708318E-2</c:v>
                </c:pt>
                <c:pt idx="7">
                  <c:v>3.2421806543662474E-2</c:v>
                </c:pt>
                <c:pt idx="8">
                  <c:v>3.1391736426671007E-2</c:v>
                </c:pt>
                <c:pt idx="9">
                  <c:v>0.33977037172095526</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Deutz</c:v>
                </c:pt>
                <c:pt idx="2">
                  <c:v>Laurent Perrier</c:v>
                </c:pt>
                <c:pt idx="3">
                  <c:v>Nicolas</c:v>
                </c:pt>
                <c:pt idx="4">
                  <c:v>Roederer</c:v>
                </c:pt>
                <c:pt idx="5">
                  <c:v>Malard</c:v>
                </c:pt>
                <c:pt idx="6">
                  <c:v>Nicolas Feuillatte</c:v>
                </c:pt>
                <c:pt idx="7">
                  <c:v>Dom Perignon</c:v>
                </c:pt>
                <c:pt idx="8">
                  <c:v>Veuve Clicquot</c:v>
                </c:pt>
                <c:pt idx="9">
                  <c:v>Others</c:v>
                </c:pt>
              </c:strCache>
            </c:strRef>
          </c:cat>
          <c:val>
            <c:numRef>
              <c:f>Sheet1!$C$2:$C$11</c:f>
              <c:numCache>
                <c:formatCode>General</c:formatCode>
                <c:ptCount val="10"/>
                <c:pt idx="0">
                  <c:v>9.9465339233038311E-2</c:v>
                </c:pt>
                <c:pt idx="1">
                  <c:v>4.8303834808259574E-2</c:v>
                </c:pt>
                <c:pt idx="2">
                  <c:v>4.4616519174041275E-2</c:v>
                </c:pt>
                <c:pt idx="3">
                  <c:v>6.369837758112093E-2</c:v>
                </c:pt>
                <c:pt idx="4">
                  <c:v>5.6508112094395269E-2</c:v>
                </c:pt>
                <c:pt idx="5">
                  <c:v>3.9730825958702053E-2</c:v>
                </c:pt>
                <c:pt idx="6">
                  <c:v>3.2632743362831847E-2</c:v>
                </c:pt>
                <c:pt idx="7">
                  <c:v>2.3598820058997043E-2</c:v>
                </c:pt>
                <c:pt idx="8">
                  <c:v>3.383112094395279E-2</c:v>
                </c:pt>
                <c:pt idx="9">
                  <c:v>0.557614306784660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Deutz</c:v>
                </c:pt>
                <c:pt idx="2">
                  <c:v>Laurent Perrier</c:v>
                </c:pt>
                <c:pt idx="3">
                  <c:v>Nicolas</c:v>
                </c:pt>
                <c:pt idx="4">
                  <c:v>Roederer</c:v>
                </c:pt>
                <c:pt idx="5">
                  <c:v>Malard</c:v>
                </c:pt>
                <c:pt idx="6">
                  <c:v>Nicolas Feuillatte</c:v>
                </c:pt>
                <c:pt idx="7">
                  <c:v>Dom Perignon</c:v>
                </c:pt>
                <c:pt idx="8">
                  <c:v>Veuve Clicquot</c:v>
                </c:pt>
                <c:pt idx="9">
                  <c:v>Others</c:v>
                </c:pt>
              </c:strCache>
            </c:strRef>
          </c:cat>
          <c:val>
            <c:numRef>
              <c:f>Sheet1!$D$2:$D$11</c:f>
              <c:numCache>
                <c:formatCode>General</c:formatCode>
                <c:ptCount val="10"/>
                <c:pt idx="0">
                  <c:v>35.327005855314788</c:v>
                </c:pt>
                <c:pt idx="1">
                  <c:v>63.31271646547718</c:v>
                </c:pt>
                <c:pt idx="2">
                  <c:v>68.747038388344464</c:v>
                </c:pt>
                <c:pt idx="3">
                  <c:v>104.85838299166521</c:v>
                </c:pt>
                <c:pt idx="4">
                  <c:v>139.95978239126063</c:v>
                </c:pt>
                <c:pt idx="5">
                  <c:v>106.46519500418972</c:v>
                </c:pt>
                <c:pt idx="6">
                  <c:v>92.636487192600143</c:v>
                </c:pt>
                <c:pt idx="7">
                  <c:v>72.78687579366219</c:v>
                </c:pt>
                <c:pt idx="8">
                  <c:v>107.77078554727299</c:v>
                </c:pt>
                <c:pt idx="9">
                  <c:v>164.11504745405375</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21</c:f>
              <c:strCache>
                <c:ptCount val="20"/>
                <c:pt idx="0">
                  <c:v>CHAMPAGNE E.NICOLAS BRUT 1CT X 750ML</c:v>
                </c:pt>
                <c:pt idx="1">
                  <c:v>CHAMPAGNE NICOLAS BLC/BLC BS 1CT X 750ML</c:v>
                </c:pt>
                <c:pt idx="2">
                  <c:v>CHAMPAGNE E.NICOLAS ROSE 1CT X 750ML</c:v>
                </c:pt>
                <c:pt idx="3">
                  <c:v>CHAMPAGNE NICOLAS 1ERE CUVEE 1CT X 750ML</c:v>
                </c:pt>
                <c:pt idx="4">
                  <c:v>1/2 CHAMPAGNE NICOLAS 1ERE CUV 1CT X 375ML</c:v>
                </c:pt>
                <c:pt idx="5">
                  <c:v>CHAMPAGNE NICOLAS BIO NAT 2017 1CT X 750ML</c:v>
                </c:pt>
                <c:pt idx="6">
                  <c:v>MG CHAMPAGNE E.NICOLAS BRUT 1CT X 1500ML</c:v>
                </c:pt>
                <c:pt idx="7">
                  <c:v>CHAMPAGNE NICOLAS ROSE 1ERE CU 1CT X 750ML</c:v>
                </c:pt>
                <c:pt idx="8">
                  <c:v>1/2 CHAMP NICOLAS BLC/BLC BS 1CT X 375ML</c:v>
                </c:pt>
                <c:pt idx="9">
                  <c:v>1/2 CHAMP NICOLAS ROSE 1E C BS 1CT X 375ML</c:v>
                </c:pt>
                <c:pt idx="10">
                  <c:v>MG CHAMPAGNE NICOLAS BLC/BL BS 1CT X 1500ML</c:v>
                </c:pt>
                <c:pt idx="11">
                  <c:v>MG CHAMPAGNE NICOLAS 1ERE CUVE 1CT X 1500ML</c:v>
                </c:pt>
                <c:pt idx="12">
                  <c:v>CHAMPAGNE NICOLAS 1ER CRU BS 1CT X 750ML</c:v>
                </c:pt>
                <c:pt idx="13">
                  <c:v>CHAMPAGNE NICOLAS 1ER CRU ETUI 1CT X 750ML</c:v>
                </c:pt>
                <c:pt idx="14">
                  <c:v>CHAMPAGNE NICOLAS BLC DE NOIRS 1CT X 750ML</c:v>
                </c:pt>
                <c:pt idx="15">
                  <c:v>CHAMPAGNE NICOLAS 1ERE CUV ETU 1CT X 750ML</c:v>
                </c:pt>
                <c:pt idx="16">
                  <c:v>CHAMPAGNE NICOLAS ROSE 1ERE ET 1CT X 750ML</c:v>
                </c:pt>
                <c:pt idx="17">
                  <c:v>CHAMPAGNE NICOLAS ROSE 1E C BS 1CT X 750ML</c:v>
                </c:pt>
                <c:pt idx="18">
                  <c:v>CHAMPAGNE NICOLAS BLC/BL BS ET 1CT X 750ML</c:v>
                </c:pt>
                <c:pt idx="19">
                  <c:v>MG CHAMPAGNE NICOLAS 1E CRU BS 1CT X 1500ML</c:v>
                </c:pt>
              </c:strCache>
            </c:strRef>
          </c:cat>
          <c:val>
            <c:numRef>
              <c:f>Sheet1!$B$2:$B$21</c:f>
              <c:numCache>
                <c:formatCode>General</c:formatCode>
                <c:ptCount val="20"/>
                <c:pt idx="0">
                  <c:v>1</c:v>
                </c:pt>
                <c:pt idx="1">
                  <c:v>0.51</c:v>
                </c:pt>
                <c:pt idx="2">
                  <c:v>0.56000000000000005</c:v>
                </c:pt>
                <c:pt idx="3">
                  <c:v>0.77</c:v>
                </c:pt>
                <c:pt idx="4">
                  <c:v>0.49</c:v>
                </c:pt>
                <c:pt idx="5">
                  <c:v>0.3</c:v>
                </c:pt>
                <c:pt idx="6">
                  <c:v>0.28000000000000003</c:v>
                </c:pt>
                <c:pt idx="7">
                  <c:v>0.42</c:v>
                </c:pt>
                <c:pt idx="8">
                  <c:v>0.33</c:v>
                </c:pt>
                <c:pt idx="9">
                  <c:v>0.35</c:v>
                </c:pt>
                <c:pt idx="10">
                  <c:v>0.2</c:v>
                </c:pt>
                <c:pt idx="11">
                  <c:v>0.19</c:v>
                </c:pt>
                <c:pt idx="12">
                  <c:v>0.39</c:v>
                </c:pt>
                <c:pt idx="13">
                  <c:v>0.16</c:v>
                </c:pt>
                <c:pt idx="14">
                  <c:v>0.37</c:v>
                </c:pt>
                <c:pt idx="15">
                  <c:v>0.18</c:v>
                </c:pt>
                <c:pt idx="16">
                  <c:v>0.1</c:v>
                </c:pt>
                <c:pt idx="17">
                  <c:v>0.11</c:v>
                </c:pt>
                <c:pt idx="18">
                  <c:v>0.03</c:v>
                </c:pt>
                <c:pt idx="19">
                  <c:v>0.08</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7ECAC4"/>
              </a:solidFill>
            </c:spPr>
            <c:extLst>
              <c:ext xmlns:c16="http://schemas.microsoft.com/office/drawing/2014/chart" uri="{C3380CC4-5D6E-409C-BE32-E72D297353CC}">
                <c16:uniqueId val="{00000006-E902-46E2-9A54-39A26B3DFDC1}"/>
              </c:ext>
            </c:extLst>
          </c:dPt>
          <c:dPt>
            <c:idx val="3"/>
            <c:invertIfNegative val="0"/>
            <c:bubble3D val="0"/>
            <c:spPr>
              <a:solidFill>
                <a:srgbClr val="7ECAC4"/>
              </a:solidFill>
            </c:spPr>
            <c:extLst>
              <c:ext xmlns:c16="http://schemas.microsoft.com/office/drawing/2014/chart" uri="{C3380CC4-5D6E-409C-BE32-E72D297353CC}">
                <c16:uniqueId val="{00000007-E902-46E2-9A54-39A26B3DFDC1}"/>
              </c:ext>
            </c:extLst>
          </c:dPt>
          <c:dPt>
            <c:idx val="4"/>
            <c:invertIfNegative val="1"/>
            <c:bubble3D val="0"/>
            <c:spPr>
              <a:solidFill>
                <a:srgbClr val="7ECAC4"/>
              </a:solidFill>
            </c:spPr>
            <c:extLst>
              <c:ext xmlns:c16="http://schemas.microsoft.com/office/drawing/2014/chart" uri="{C3380CC4-5D6E-409C-BE32-E72D297353CC}">
                <c16:uniqueId val="{0000000B-FA3E-4872-B6E1-C4ABDF5766E2}"/>
              </c:ext>
            </c:extLst>
          </c:dPt>
          <c:dPt>
            <c:idx val="5"/>
            <c:invertIfNegative val="1"/>
            <c:bubble3D val="0"/>
            <c:spPr>
              <a:solidFill>
                <a:srgbClr val="7ECAC4"/>
              </a:solidFill>
            </c:spPr>
            <c:extLst>
              <c:ext xmlns:c16="http://schemas.microsoft.com/office/drawing/2014/chart" uri="{C3380CC4-5D6E-409C-BE32-E72D297353CC}">
                <c16:uniqueId val="{0000000D-FA3E-4872-B6E1-C4ABDF5766E2}"/>
              </c:ext>
            </c:extLst>
          </c:dPt>
          <c:dPt>
            <c:idx val="6"/>
            <c:invertIfNegative val="1"/>
            <c:bubble3D val="0"/>
            <c:spPr>
              <a:solidFill>
                <a:srgbClr val="7ECAC4"/>
              </a:solidFill>
            </c:spPr>
            <c:extLst>
              <c:ext xmlns:c16="http://schemas.microsoft.com/office/drawing/2014/chart" uri="{C3380CC4-5D6E-409C-BE32-E72D297353CC}">
                <c16:uniqueId val="{0000000F-FA3E-4872-B6E1-C4ABDF5766E2}"/>
              </c:ext>
            </c:extLst>
          </c:dPt>
          <c:dPt>
            <c:idx val="7"/>
            <c:invertIfNegative val="1"/>
            <c:bubble3D val="0"/>
            <c:spPr>
              <a:solidFill>
                <a:srgbClr val="7ECAC4"/>
              </a:solidFill>
            </c:spPr>
            <c:extLst>
              <c:ext xmlns:c16="http://schemas.microsoft.com/office/drawing/2014/chart" uri="{C3380CC4-5D6E-409C-BE32-E72D297353CC}">
                <c16:uniqueId val="{00000011-FA3E-4872-B6E1-C4ABDF5766E2}"/>
              </c:ext>
            </c:extLst>
          </c:dPt>
          <c:dPt>
            <c:idx val="8"/>
            <c:invertIfNegative val="1"/>
            <c:bubble3D val="0"/>
            <c:spPr>
              <a:solidFill>
                <a:srgbClr val="7ECAC4"/>
              </a:solidFill>
            </c:spPr>
            <c:extLst>
              <c:ext xmlns:c16="http://schemas.microsoft.com/office/drawing/2014/chart" uri="{C3380CC4-5D6E-409C-BE32-E72D297353CC}">
                <c16:uniqueId val="{00000013-FA3E-4872-B6E1-C4ABDF5766E2}"/>
              </c:ext>
            </c:extLst>
          </c:dPt>
          <c:dPt>
            <c:idx val="9"/>
            <c:invertIfNegative val="1"/>
            <c:bubble3D val="0"/>
            <c:spPr>
              <a:solidFill>
                <a:srgbClr val="AEABAB"/>
              </a:solidFill>
            </c:spPr>
            <c:extLst>
              <c:ext xmlns:c16="http://schemas.microsoft.com/office/drawing/2014/chart" uri="{C3380CC4-5D6E-409C-BE32-E72D297353CC}">
                <c16:uniqueId val="{00000015-FA3E-4872-B6E1-C4ABDF5766E2}"/>
              </c:ext>
            </c:extLst>
          </c:dPt>
          <c:dPt>
            <c:idx val="10"/>
            <c:invertIfNegative val="1"/>
            <c:bubble3D val="0"/>
            <c:spPr>
              <a:solidFill>
                <a:srgbClr val="AEABAB"/>
              </a:solidFill>
            </c:spPr>
            <c:extLst>
              <c:ext xmlns:c16="http://schemas.microsoft.com/office/drawing/2014/chart" uri="{C3380CC4-5D6E-409C-BE32-E72D297353CC}">
                <c16:uniqueId val="{00000017-FA3E-4872-B6E1-C4ABDF5766E2}"/>
              </c:ext>
            </c:extLst>
          </c:dPt>
          <c:dPt>
            <c:idx val="11"/>
            <c:invertIfNegative val="1"/>
            <c:bubble3D val="0"/>
            <c:spPr>
              <a:solidFill>
                <a:srgbClr val="AEABAB"/>
              </a:solidFill>
            </c:spPr>
            <c:extLst>
              <c:ext xmlns:c16="http://schemas.microsoft.com/office/drawing/2014/chart" uri="{C3380CC4-5D6E-409C-BE32-E72D297353CC}">
                <c16:uniqueId val="{00000019-FA3E-4872-B6E1-C4ABDF5766E2}"/>
              </c:ext>
            </c:extLst>
          </c:dPt>
          <c:dPt>
            <c:idx val="12"/>
            <c:invertIfNegative val="1"/>
            <c:bubble3D val="0"/>
            <c:spPr>
              <a:solidFill>
                <a:srgbClr val="AEABAB"/>
              </a:solidFill>
            </c:spPr>
            <c:extLst>
              <c:ext xmlns:c16="http://schemas.microsoft.com/office/drawing/2014/chart" uri="{C3380CC4-5D6E-409C-BE32-E72D297353CC}">
                <c16:uniqueId val="{0000001B-FA3E-4872-B6E1-C4ABDF5766E2}"/>
              </c:ext>
            </c:extLst>
          </c:dPt>
          <c:dPt>
            <c:idx val="13"/>
            <c:invertIfNegative val="1"/>
            <c:bubble3D val="0"/>
            <c:spPr>
              <a:solidFill>
                <a:srgbClr val="AEABAB"/>
              </a:solidFill>
            </c:spPr>
            <c:extLst>
              <c:ext xmlns:c16="http://schemas.microsoft.com/office/drawing/2014/chart" uri="{C3380CC4-5D6E-409C-BE32-E72D297353CC}">
                <c16:uniqueId val="{0000001D-FA3E-4872-B6E1-C4ABDF5766E2}"/>
              </c:ext>
            </c:extLst>
          </c:dPt>
          <c:dPt>
            <c:idx val="14"/>
            <c:invertIfNegative val="1"/>
            <c:bubble3D val="0"/>
            <c:spPr>
              <a:solidFill>
                <a:srgbClr val="AEABAB"/>
              </a:solidFill>
            </c:spPr>
            <c:extLst>
              <c:ext xmlns:c16="http://schemas.microsoft.com/office/drawing/2014/chart" uri="{C3380CC4-5D6E-409C-BE32-E72D297353CC}">
                <c16:uniqueId val="{0000001F-FA3E-4872-B6E1-C4ABDF5766E2}"/>
              </c:ext>
            </c:extLst>
          </c:dPt>
          <c:dPt>
            <c:idx val="15"/>
            <c:invertIfNegative val="1"/>
            <c:bubble3D val="0"/>
            <c:spPr>
              <a:solidFill>
                <a:srgbClr val="AEABAB"/>
              </a:solidFill>
            </c:spPr>
            <c:extLst>
              <c:ext xmlns:c16="http://schemas.microsoft.com/office/drawing/2014/chart" uri="{C3380CC4-5D6E-409C-BE32-E72D297353CC}">
                <c16:uniqueId val="{00000021-FA3E-4872-B6E1-C4ABDF5766E2}"/>
              </c:ext>
            </c:extLst>
          </c:dPt>
          <c:dPt>
            <c:idx val="16"/>
            <c:invertIfNegative val="1"/>
            <c:bubble3D val="0"/>
            <c:spPr>
              <a:solidFill>
                <a:srgbClr val="AEABAB"/>
              </a:solidFill>
            </c:spPr>
            <c:extLst>
              <c:ext xmlns:c16="http://schemas.microsoft.com/office/drawing/2014/chart" uri="{C3380CC4-5D6E-409C-BE32-E72D297353CC}">
                <c16:uniqueId val="{00000023-FA3E-4872-B6E1-C4ABDF5766E2}"/>
              </c:ext>
            </c:extLst>
          </c:dPt>
          <c:dPt>
            <c:idx val="17"/>
            <c:invertIfNegative val="1"/>
            <c:bubble3D val="0"/>
            <c:spPr>
              <a:solidFill>
                <a:srgbClr val="AEABAB"/>
              </a:solidFill>
            </c:spPr>
            <c:extLst>
              <c:ext xmlns:c16="http://schemas.microsoft.com/office/drawing/2014/chart" uri="{C3380CC4-5D6E-409C-BE32-E72D297353CC}">
                <c16:uniqueId val="{00000025-FA3E-4872-B6E1-C4ABDF5766E2}"/>
              </c:ext>
            </c:extLst>
          </c:dPt>
          <c:dPt>
            <c:idx val="18"/>
            <c:invertIfNegative val="1"/>
            <c:bubble3D val="0"/>
            <c:spPr>
              <a:solidFill>
                <a:srgbClr val="AEABAB"/>
              </a:solidFill>
            </c:spPr>
            <c:extLst>
              <c:ext xmlns:c16="http://schemas.microsoft.com/office/drawing/2014/chart" uri="{C3380CC4-5D6E-409C-BE32-E72D297353CC}">
                <c16:uniqueId val="{00000027-FA3E-4872-B6E1-C4ABDF5766E2}"/>
              </c:ext>
            </c:extLst>
          </c:dPt>
          <c:dPt>
            <c:idx val="19"/>
            <c:invertIfNegative val="1"/>
            <c:bubble3D val="0"/>
            <c:spPr>
              <a:solidFill>
                <a:srgbClr val="AEABAB"/>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21</c:f>
              <c:strCache>
                <c:ptCount val="20"/>
                <c:pt idx="0">
                  <c:v>CHAMPAGNE E.NICOLAS BRUT 1CT X 750ML</c:v>
                </c:pt>
                <c:pt idx="1">
                  <c:v>CHAMPAGNE NICOLAS BLC/BLC BS 1CT X 750ML</c:v>
                </c:pt>
                <c:pt idx="2">
                  <c:v>CHAMPAGNE E.NICOLAS ROSE 1CT X 750ML</c:v>
                </c:pt>
                <c:pt idx="3">
                  <c:v>CHAMPAGNE NICOLAS 1ERE CUVEE 1CT X 750ML</c:v>
                </c:pt>
                <c:pt idx="4">
                  <c:v>1/2 CHAMPAGNE NICOLAS 1ERE CUV 1CT X 375ML</c:v>
                </c:pt>
                <c:pt idx="5">
                  <c:v>CHAMPAGNE NICOLAS BIO NAT 2017 1CT X 750ML</c:v>
                </c:pt>
                <c:pt idx="6">
                  <c:v>MG CHAMPAGNE E.NICOLAS BRUT 1CT X 1500ML</c:v>
                </c:pt>
                <c:pt idx="7">
                  <c:v>CHAMPAGNE NICOLAS ROSE 1ERE CU 1CT X 750ML</c:v>
                </c:pt>
                <c:pt idx="8">
                  <c:v>1/2 CHAMP NICOLAS BLC/BLC BS 1CT X 375ML</c:v>
                </c:pt>
                <c:pt idx="9">
                  <c:v>1/2 CHAMP NICOLAS ROSE 1E C BS 1CT X 375ML</c:v>
                </c:pt>
                <c:pt idx="10">
                  <c:v>MG CHAMPAGNE NICOLAS BLC/BL BS 1CT X 1500ML</c:v>
                </c:pt>
                <c:pt idx="11">
                  <c:v>MG CHAMPAGNE NICOLAS 1ERE CUVE 1CT X 1500ML</c:v>
                </c:pt>
                <c:pt idx="12">
                  <c:v>CHAMPAGNE NICOLAS 1ER CRU BS 1CT X 750ML</c:v>
                </c:pt>
                <c:pt idx="13">
                  <c:v>CHAMPAGNE NICOLAS 1ER CRU ETUI 1CT X 750ML</c:v>
                </c:pt>
                <c:pt idx="14">
                  <c:v>CHAMPAGNE NICOLAS BLC DE NOIRS 1CT X 750ML</c:v>
                </c:pt>
                <c:pt idx="15">
                  <c:v>CHAMPAGNE NICOLAS 1ERE CUV ETU 1CT X 750ML</c:v>
                </c:pt>
                <c:pt idx="16">
                  <c:v>CHAMPAGNE NICOLAS ROSE 1ERE ET 1CT X 750ML</c:v>
                </c:pt>
                <c:pt idx="17">
                  <c:v>CHAMPAGNE NICOLAS ROSE 1E C BS 1CT X 750ML</c:v>
                </c:pt>
                <c:pt idx="18">
                  <c:v>CHAMPAGNE NICOLAS BLC/BL BS ET 1CT X 750ML</c:v>
                </c:pt>
                <c:pt idx="19">
                  <c:v>MG CHAMPAGNE NICOLAS 1E CRU BS 1CT X 1500ML</c:v>
                </c:pt>
              </c:strCache>
            </c:strRef>
          </c:cat>
          <c:val>
            <c:numRef>
              <c:f>Sheet1!$C$2:$C$21</c:f>
              <c:numCache>
                <c:formatCode>General</c:formatCode>
                <c:ptCount val="20"/>
                <c:pt idx="0">
                  <c:v>0.74037118733561313</c:v>
                </c:pt>
                <c:pt idx="1">
                  <c:v>0.79335001258345794</c:v>
                </c:pt>
                <c:pt idx="2">
                  <c:v>0.83653018960721515</c:v>
                </c:pt>
                <c:pt idx="3">
                  <c:v>0.87211752456241642</c:v>
                </c:pt>
                <c:pt idx="4">
                  <c:v>0.89481051615206086</c:v>
                </c:pt>
                <c:pt idx="5">
                  <c:v>0.91037452647543105</c:v>
                </c:pt>
                <c:pt idx="6">
                  <c:v>0.92591057355894735</c:v>
                </c:pt>
                <c:pt idx="7">
                  <c:v>0.93800385234751404</c:v>
                </c:pt>
                <c:pt idx="8">
                  <c:v>0.94979775997999816</c:v>
                </c:pt>
                <c:pt idx="9">
                  <c:v>0.96155054520093242</c:v>
                </c:pt>
                <c:pt idx="10">
                  <c:v>0.96973883978872955</c:v>
                </c:pt>
                <c:pt idx="11">
                  <c:v>0.97733826144313352</c:v>
                </c:pt>
                <c:pt idx="12">
                  <c:v>0.98390304322294442</c:v>
                </c:pt>
                <c:pt idx="13">
                  <c:v>0.98870943068488559</c:v>
                </c:pt>
                <c:pt idx="14">
                  <c:v>0.9931687449933464</c:v>
                </c:pt>
                <c:pt idx="15">
                  <c:v>0.99555384486323506</c:v>
                </c:pt>
                <c:pt idx="16">
                  <c:v>0.99730072490587074</c:v>
                </c:pt>
                <c:pt idx="17">
                  <c:v>0.99867256855517228</c:v>
                </c:pt>
                <c:pt idx="18">
                  <c:v>0.99937493934444299</c:v>
                </c:pt>
                <c:pt idx="19">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21</c:f>
              <c:strCache>
                <c:ptCount val="20"/>
                <c:pt idx="0">
                  <c:v>CHAMPAGNE E.NICOLAS BRUT 1CT X 750ML</c:v>
                </c:pt>
                <c:pt idx="1">
                  <c:v>CHAMPAGNE NICOLAS BLC/BLC BS 1CT X 750ML</c:v>
                </c:pt>
                <c:pt idx="2">
                  <c:v>CHAMPAGNE E.NICOLAS ROSE 1CT X 750ML</c:v>
                </c:pt>
                <c:pt idx="3">
                  <c:v>CHAMPAGNE NICOLAS 1ERE CUVEE 1CT X 750ML</c:v>
                </c:pt>
                <c:pt idx="4">
                  <c:v>1/2 CHAMPAGNE NICOLAS 1ERE CUV 1CT X 375ML</c:v>
                </c:pt>
                <c:pt idx="5">
                  <c:v>CHAMPAGNE NICOLAS BIO NAT 2017 1CT X 750ML</c:v>
                </c:pt>
                <c:pt idx="6">
                  <c:v>MG CHAMPAGNE E.NICOLAS BRUT 1CT X 1500ML</c:v>
                </c:pt>
                <c:pt idx="7">
                  <c:v>CHAMPAGNE NICOLAS ROSE 1ERE CU 1CT X 750ML</c:v>
                </c:pt>
                <c:pt idx="8">
                  <c:v>1/2 CHAMP NICOLAS BLC/BLC BS 1CT X 375ML</c:v>
                </c:pt>
                <c:pt idx="9">
                  <c:v>1/2 CHAMP NICOLAS ROSE 1E C BS 1CT X 375ML</c:v>
                </c:pt>
                <c:pt idx="10">
                  <c:v>MG CHAMPAGNE NICOLAS BLC/BL BS 1CT X 1500ML</c:v>
                </c:pt>
                <c:pt idx="11">
                  <c:v>MG CHAMPAGNE NICOLAS 1ERE CUVE 1CT X 1500ML</c:v>
                </c:pt>
                <c:pt idx="12">
                  <c:v>CHAMPAGNE NICOLAS 1ER CRU BS 1CT X 750ML</c:v>
                </c:pt>
                <c:pt idx="13">
                  <c:v>CHAMPAGNE NICOLAS 1ER CRU ETUI 1CT X 750ML</c:v>
                </c:pt>
                <c:pt idx="14">
                  <c:v>CHAMPAGNE NICOLAS BLC DE NOIRS 1CT X 750ML</c:v>
                </c:pt>
                <c:pt idx="15">
                  <c:v>CHAMPAGNE NICOLAS 1ERE CUV ETU 1CT X 750ML</c:v>
                </c:pt>
                <c:pt idx="16">
                  <c:v>CHAMPAGNE NICOLAS ROSE 1ERE ET 1CT X 750ML</c:v>
                </c:pt>
                <c:pt idx="17">
                  <c:v>CHAMPAGNE NICOLAS ROSE 1E C BS 1CT X 750ML</c:v>
                </c:pt>
                <c:pt idx="18">
                  <c:v>CHAMPAGNE NICOLAS BLC/BL BS ET 1CT X 750ML</c:v>
                </c:pt>
                <c:pt idx="19">
                  <c:v>MG CHAMPAGNE NICOLAS 1E CRU BS 1CT X 1500ML</c:v>
                </c:pt>
              </c:strCache>
            </c:strRef>
          </c:cat>
          <c:val>
            <c:numRef>
              <c:f>Sheet1!$D$2:$D$21</c:f>
              <c:numCache>
                <c:formatCode>General</c:formatCode>
                <c:ptCount val="20"/>
                <c:pt idx="0">
                  <c:v>4501.0200000000004</c:v>
                </c:pt>
                <c:pt idx="1">
                  <c:v>631.52941176470586</c:v>
                </c:pt>
                <c:pt idx="2">
                  <c:v>468.76785714285711</c:v>
                </c:pt>
                <c:pt idx="3">
                  <c:v>280.97402597402595</c:v>
                </c:pt>
                <c:pt idx="4">
                  <c:v>281.55102040816325</c:v>
                </c:pt>
                <c:pt idx="5">
                  <c:v>315.39999999999998</c:v>
                </c:pt>
                <c:pt idx="6">
                  <c:v>337.32142857142856</c:v>
                </c:pt>
                <c:pt idx="7">
                  <c:v>175.04761904761904</c:v>
                </c:pt>
                <c:pt idx="8">
                  <c:v>217.27272727272728</c:v>
                </c:pt>
                <c:pt idx="9">
                  <c:v>204.14285714285714</c:v>
                </c:pt>
                <c:pt idx="10">
                  <c:v>248.9</c:v>
                </c:pt>
                <c:pt idx="11">
                  <c:v>243.15789473684211</c:v>
                </c:pt>
                <c:pt idx="12">
                  <c:v>102.33333333333333</c:v>
                </c:pt>
                <c:pt idx="13">
                  <c:v>182.625</c:v>
                </c:pt>
                <c:pt idx="14">
                  <c:v>73.270270270270274</c:v>
                </c:pt>
                <c:pt idx="15">
                  <c:v>80.555555555555557</c:v>
                </c:pt>
                <c:pt idx="16">
                  <c:v>106.2</c:v>
                </c:pt>
                <c:pt idx="17">
                  <c:v>75.818181818181813</c:v>
                </c:pt>
                <c:pt idx="18">
                  <c:v>142.33333333333334</c:v>
                </c:pt>
                <c:pt idx="19">
                  <c:v>47.5</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21</c:f>
              <c:strCache>
                <c:ptCount val="20"/>
                <c:pt idx="0">
                  <c:v>CHAMPAGNE E.NICOLAS BRUT 1CT X 750ML</c:v>
                </c:pt>
                <c:pt idx="1">
                  <c:v>CHAMPAGNE NICOLAS BLC/BLC BS 1CT X 750ML</c:v>
                </c:pt>
                <c:pt idx="2">
                  <c:v>CHAMPAGNE E.NICOLAS ROSE 1CT X 750ML</c:v>
                </c:pt>
                <c:pt idx="3">
                  <c:v>CHAMPAGNE NICOLAS 1ERE CUVEE 1CT X 750ML</c:v>
                </c:pt>
                <c:pt idx="4">
                  <c:v>1/2 CHAMPAGNE NICOLAS 1ERE CUV 1CT X 375ML</c:v>
                </c:pt>
                <c:pt idx="5">
                  <c:v>MG CHAMPAGNE E.NICOLAS BRUT 1CT X 1500ML</c:v>
                </c:pt>
                <c:pt idx="6">
                  <c:v>1/2 CHAMP NICOLAS BLC/BLC BS 1CT X 375ML</c:v>
                </c:pt>
                <c:pt idx="7">
                  <c:v>CHAMPAGNE NICOLAS BIO NAT 2017 1CT X 750ML</c:v>
                </c:pt>
                <c:pt idx="8">
                  <c:v>CHAMPAGNE NICOLAS ROSE 1ERE CU 1CT X 750ML</c:v>
                </c:pt>
                <c:pt idx="9">
                  <c:v>CHAMPAGNE NICOLAS BLC DE NOIRS 1CT X 750ML</c:v>
                </c:pt>
                <c:pt idx="10">
                  <c:v>1/2 CHAMP NICOLAS ROSE 1E C BS 1CT X 375ML</c:v>
                </c:pt>
                <c:pt idx="11">
                  <c:v>MG CHAMPAGNE NICOLAS BLC/BL BS 1CT X 1500ML</c:v>
                </c:pt>
                <c:pt idx="12">
                  <c:v>CHAMPAGNE NICOLAS 1ER CRU ETUI 1CT X 750ML</c:v>
                </c:pt>
                <c:pt idx="13">
                  <c:v>CHAMPAGNE NICOLAS 1ER CRU BS 1CT X 750ML</c:v>
                </c:pt>
                <c:pt idx="14">
                  <c:v>MG CHAMPAGNE NICOLAS 1ERE CUVE 1CT X 1500ML</c:v>
                </c:pt>
                <c:pt idx="15">
                  <c:v>CHAMPAGNE NICOLAS ROSE 1ERE ET 1CT X 750ML</c:v>
                </c:pt>
                <c:pt idx="16">
                  <c:v>CHAMPAGNE NICOLAS ROSE 1E C BS 1CT X 750ML</c:v>
                </c:pt>
                <c:pt idx="17">
                  <c:v>MG CHAMPAGNE NICOLAS 1E CRU BS 1CT X 1500ML</c:v>
                </c:pt>
                <c:pt idx="18">
                  <c:v>CHAMPAGNE NICOLAS 1ERE CUV ETU 1CT X 750ML</c:v>
                </c:pt>
                <c:pt idx="19">
                  <c:v>1/2 CHAMPAGNE NICOLAS 1E C BS 1CT X 375ML</c:v>
                </c:pt>
              </c:strCache>
            </c:strRef>
          </c:cat>
          <c:val>
            <c:numRef>
              <c:f>Sheet1!$B$2:$B$21</c:f>
              <c:numCache>
                <c:formatCode>General</c:formatCode>
                <c:ptCount val="20"/>
                <c:pt idx="0">
                  <c:v>1</c:v>
                </c:pt>
                <c:pt idx="1">
                  <c:v>0.59</c:v>
                </c:pt>
                <c:pt idx="2">
                  <c:v>0.64</c:v>
                </c:pt>
                <c:pt idx="3">
                  <c:v>0.6</c:v>
                </c:pt>
                <c:pt idx="4">
                  <c:v>0.43</c:v>
                </c:pt>
                <c:pt idx="5">
                  <c:v>0.28000000000000003</c:v>
                </c:pt>
                <c:pt idx="6">
                  <c:v>0.39</c:v>
                </c:pt>
                <c:pt idx="7">
                  <c:v>0.15</c:v>
                </c:pt>
                <c:pt idx="8">
                  <c:v>0.38</c:v>
                </c:pt>
                <c:pt idx="9">
                  <c:v>0.23</c:v>
                </c:pt>
                <c:pt idx="10">
                  <c:v>0.44</c:v>
                </c:pt>
                <c:pt idx="11">
                  <c:v>0.19</c:v>
                </c:pt>
                <c:pt idx="12">
                  <c:v>0.4</c:v>
                </c:pt>
                <c:pt idx="13">
                  <c:v>0.2</c:v>
                </c:pt>
                <c:pt idx="14">
                  <c:v>0.16</c:v>
                </c:pt>
                <c:pt idx="15">
                  <c:v>0.1</c:v>
                </c:pt>
                <c:pt idx="16">
                  <c:v>0.2</c:v>
                </c:pt>
                <c:pt idx="17">
                  <c:v>0.08</c:v>
                </c:pt>
                <c:pt idx="18">
                  <c:v>0.14000000000000001</c:v>
                </c:pt>
                <c:pt idx="19">
                  <c:v>0.03</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7ECAC4"/>
              </a:solidFill>
            </c:spPr>
            <c:extLst>
              <c:ext xmlns:c16="http://schemas.microsoft.com/office/drawing/2014/chart" uri="{C3380CC4-5D6E-409C-BE32-E72D297353CC}">
                <c16:uniqueId val="{00000006-E902-46E2-9A54-39A26B3DFDC1}"/>
              </c:ext>
            </c:extLst>
          </c:dPt>
          <c:dPt>
            <c:idx val="3"/>
            <c:invertIfNegative val="0"/>
            <c:bubble3D val="0"/>
            <c:spPr>
              <a:solidFill>
                <a:srgbClr val="7ECAC4"/>
              </a:solidFill>
            </c:spPr>
            <c:extLst>
              <c:ext xmlns:c16="http://schemas.microsoft.com/office/drawing/2014/chart" uri="{C3380CC4-5D6E-409C-BE32-E72D297353CC}">
                <c16:uniqueId val="{00000007-E902-46E2-9A54-39A26B3DFDC1}"/>
              </c:ext>
            </c:extLst>
          </c:dPt>
          <c:dPt>
            <c:idx val="4"/>
            <c:invertIfNegative val="1"/>
            <c:bubble3D val="0"/>
            <c:spPr>
              <a:solidFill>
                <a:srgbClr val="7ECAC4"/>
              </a:solidFill>
            </c:spPr>
            <c:extLst>
              <c:ext xmlns:c16="http://schemas.microsoft.com/office/drawing/2014/chart" uri="{C3380CC4-5D6E-409C-BE32-E72D297353CC}">
                <c16:uniqueId val="{0000000B-FA3E-4872-B6E1-C4ABDF5766E2}"/>
              </c:ext>
            </c:extLst>
          </c:dPt>
          <c:dPt>
            <c:idx val="5"/>
            <c:invertIfNegative val="1"/>
            <c:bubble3D val="0"/>
            <c:spPr>
              <a:solidFill>
                <a:srgbClr val="7ECAC4"/>
              </a:solidFill>
            </c:spPr>
            <c:extLst>
              <c:ext xmlns:c16="http://schemas.microsoft.com/office/drawing/2014/chart" uri="{C3380CC4-5D6E-409C-BE32-E72D297353CC}">
                <c16:uniqueId val="{0000000D-FA3E-4872-B6E1-C4ABDF5766E2}"/>
              </c:ext>
            </c:extLst>
          </c:dPt>
          <c:dPt>
            <c:idx val="6"/>
            <c:invertIfNegative val="1"/>
            <c:bubble3D val="0"/>
            <c:spPr>
              <a:solidFill>
                <a:srgbClr val="7ECAC4"/>
              </a:solidFill>
            </c:spPr>
            <c:extLst>
              <c:ext xmlns:c16="http://schemas.microsoft.com/office/drawing/2014/chart" uri="{C3380CC4-5D6E-409C-BE32-E72D297353CC}">
                <c16:uniqueId val="{0000000F-FA3E-4872-B6E1-C4ABDF5766E2}"/>
              </c:ext>
            </c:extLst>
          </c:dPt>
          <c:dPt>
            <c:idx val="7"/>
            <c:invertIfNegative val="1"/>
            <c:bubble3D val="0"/>
            <c:spPr>
              <a:solidFill>
                <a:srgbClr val="7ECAC4"/>
              </a:solidFill>
            </c:spPr>
            <c:extLst>
              <c:ext xmlns:c16="http://schemas.microsoft.com/office/drawing/2014/chart" uri="{C3380CC4-5D6E-409C-BE32-E72D297353CC}">
                <c16:uniqueId val="{00000011-FA3E-4872-B6E1-C4ABDF5766E2}"/>
              </c:ext>
            </c:extLst>
          </c:dPt>
          <c:dPt>
            <c:idx val="8"/>
            <c:invertIfNegative val="1"/>
            <c:bubble3D val="0"/>
            <c:spPr>
              <a:solidFill>
                <a:srgbClr val="7ECAC4"/>
              </a:solidFill>
            </c:spPr>
            <c:extLst>
              <c:ext xmlns:c16="http://schemas.microsoft.com/office/drawing/2014/chart" uri="{C3380CC4-5D6E-409C-BE32-E72D297353CC}">
                <c16:uniqueId val="{00000013-FA3E-4872-B6E1-C4ABDF5766E2}"/>
              </c:ext>
            </c:extLst>
          </c:dPt>
          <c:dPt>
            <c:idx val="9"/>
            <c:invertIfNegative val="1"/>
            <c:bubble3D val="0"/>
            <c:spPr>
              <a:solidFill>
                <a:srgbClr val="AEABAB"/>
              </a:solidFill>
            </c:spPr>
            <c:extLst>
              <c:ext xmlns:c16="http://schemas.microsoft.com/office/drawing/2014/chart" uri="{C3380CC4-5D6E-409C-BE32-E72D297353CC}">
                <c16:uniqueId val="{00000015-FA3E-4872-B6E1-C4ABDF5766E2}"/>
              </c:ext>
            </c:extLst>
          </c:dPt>
          <c:dPt>
            <c:idx val="10"/>
            <c:invertIfNegative val="1"/>
            <c:bubble3D val="0"/>
            <c:spPr>
              <a:solidFill>
                <a:srgbClr val="AEABAB"/>
              </a:solidFill>
            </c:spPr>
            <c:extLst>
              <c:ext xmlns:c16="http://schemas.microsoft.com/office/drawing/2014/chart" uri="{C3380CC4-5D6E-409C-BE32-E72D297353CC}">
                <c16:uniqueId val="{00000017-FA3E-4872-B6E1-C4ABDF5766E2}"/>
              </c:ext>
            </c:extLst>
          </c:dPt>
          <c:dPt>
            <c:idx val="11"/>
            <c:invertIfNegative val="1"/>
            <c:bubble3D val="0"/>
            <c:spPr>
              <a:solidFill>
                <a:srgbClr val="AEABAB"/>
              </a:solidFill>
            </c:spPr>
            <c:extLst>
              <c:ext xmlns:c16="http://schemas.microsoft.com/office/drawing/2014/chart" uri="{C3380CC4-5D6E-409C-BE32-E72D297353CC}">
                <c16:uniqueId val="{00000019-FA3E-4872-B6E1-C4ABDF5766E2}"/>
              </c:ext>
            </c:extLst>
          </c:dPt>
          <c:dPt>
            <c:idx val="12"/>
            <c:invertIfNegative val="1"/>
            <c:bubble3D val="0"/>
            <c:spPr>
              <a:solidFill>
                <a:srgbClr val="AEABAB"/>
              </a:solidFill>
            </c:spPr>
            <c:extLst>
              <c:ext xmlns:c16="http://schemas.microsoft.com/office/drawing/2014/chart" uri="{C3380CC4-5D6E-409C-BE32-E72D297353CC}">
                <c16:uniqueId val="{0000001B-FA3E-4872-B6E1-C4ABDF5766E2}"/>
              </c:ext>
            </c:extLst>
          </c:dPt>
          <c:dPt>
            <c:idx val="13"/>
            <c:invertIfNegative val="1"/>
            <c:bubble3D val="0"/>
            <c:spPr>
              <a:solidFill>
                <a:srgbClr val="AEABAB"/>
              </a:solidFill>
            </c:spPr>
            <c:extLst>
              <c:ext xmlns:c16="http://schemas.microsoft.com/office/drawing/2014/chart" uri="{C3380CC4-5D6E-409C-BE32-E72D297353CC}">
                <c16:uniqueId val="{0000001D-FA3E-4872-B6E1-C4ABDF5766E2}"/>
              </c:ext>
            </c:extLst>
          </c:dPt>
          <c:dPt>
            <c:idx val="14"/>
            <c:invertIfNegative val="1"/>
            <c:bubble3D val="0"/>
            <c:spPr>
              <a:solidFill>
                <a:srgbClr val="AEABAB"/>
              </a:solidFill>
            </c:spPr>
            <c:extLst>
              <c:ext xmlns:c16="http://schemas.microsoft.com/office/drawing/2014/chart" uri="{C3380CC4-5D6E-409C-BE32-E72D297353CC}">
                <c16:uniqueId val="{0000001F-FA3E-4872-B6E1-C4ABDF5766E2}"/>
              </c:ext>
            </c:extLst>
          </c:dPt>
          <c:dPt>
            <c:idx val="15"/>
            <c:invertIfNegative val="1"/>
            <c:bubble3D val="0"/>
            <c:spPr>
              <a:solidFill>
                <a:srgbClr val="AEABAB"/>
              </a:solidFill>
            </c:spPr>
            <c:extLst>
              <c:ext xmlns:c16="http://schemas.microsoft.com/office/drawing/2014/chart" uri="{C3380CC4-5D6E-409C-BE32-E72D297353CC}">
                <c16:uniqueId val="{00000021-FA3E-4872-B6E1-C4ABDF5766E2}"/>
              </c:ext>
            </c:extLst>
          </c:dPt>
          <c:dPt>
            <c:idx val="16"/>
            <c:invertIfNegative val="1"/>
            <c:bubble3D val="0"/>
            <c:spPr>
              <a:solidFill>
                <a:srgbClr val="AEABAB"/>
              </a:solidFill>
            </c:spPr>
            <c:extLst>
              <c:ext xmlns:c16="http://schemas.microsoft.com/office/drawing/2014/chart" uri="{C3380CC4-5D6E-409C-BE32-E72D297353CC}">
                <c16:uniqueId val="{00000023-FA3E-4872-B6E1-C4ABDF5766E2}"/>
              </c:ext>
            </c:extLst>
          </c:dPt>
          <c:dPt>
            <c:idx val="17"/>
            <c:invertIfNegative val="1"/>
            <c:bubble3D val="0"/>
            <c:spPr>
              <a:solidFill>
                <a:srgbClr val="AEABAB"/>
              </a:solidFill>
            </c:spPr>
            <c:extLst>
              <c:ext xmlns:c16="http://schemas.microsoft.com/office/drawing/2014/chart" uri="{C3380CC4-5D6E-409C-BE32-E72D297353CC}">
                <c16:uniqueId val="{00000025-FA3E-4872-B6E1-C4ABDF5766E2}"/>
              </c:ext>
            </c:extLst>
          </c:dPt>
          <c:dPt>
            <c:idx val="18"/>
            <c:invertIfNegative val="1"/>
            <c:bubble3D val="0"/>
            <c:spPr>
              <a:solidFill>
                <a:srgbClr val="AEABAB"/>
              </a:solidFill>
            </c:spPr>
            <c:extLst>
              <c:ext xmlns:c16="http://schemas.microsoft.com/office/drawing/2014/chart" uri="{C3380CC4-5D6E-409C-BE32-E72D297353CC}">
                <c16:uniqueId val="{00000027-FA3E-4872-B6E1-C4ABDF5766E2}"/>
              </c:ext>
            </c:extLst>
          </c:dPt>
          <c:dPt>
            <c:idx val="19"/>
            <c:invertIfNegative val="1"/>
            <c:bubble3D val="0"/>
            <c:spPr>
              <a:solidFill>
                <a:srgbClr val="AEABAB"/>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21</c:f>
              <c:strCache>
                <c:ptCount val="20"/>
                <c:pt idx="0">
                  <c:v>CHAMPAGNE E.NICOLAS BRUT 1CT X 750ML</c:v>
                </c:pt>
                <c:pt idx="1">
                  <c:v>CHAMPAGNE NICOLAS BLC/BLC BS 1CT X 750ML</c:v>
                </c:pt>
                <c:pt idx="2">
                  <c:v>CHAMPAGNE E.NICOLAS ROSE 1CT X 750ML</c:v>
                </c:pt>
                <c:pt idx="3">
                  <c:v>CHAMPAGNE NICOLAS 1ERE CUVEE 1CT X 750ML</c:v>
                </c:pt>
                <c:pt idx="4">
                  <c:v>1/2 CHAMPAGNE NICOLAS 1ERE CUV 1CT X 375ML</c:v>
                </c:pt>
                <c:pt idx="5">
                  <c:v>MG CHAMPAGNE E.NICOLAS BRUT 1CT X 1500ML</c:v>
                </c:pt>
                <c:pt idx="6">
                  <c:v>1/2 CHAMP NICOLAS BLC/BLC BS 1CT X 375ML</c:v>
                </c:pt>
                <c:pt idx="7">
                  <c:v>CHAMPAGNE NICOLAS BIO NAT 2017 1CT X 750ML</c:v>
                </c:pt>
                <c:pt idx="8">
                  <c:v>CHAMPAGNE NICOLAS ROSE 1ERE CU 1CT X 750ML</c:v>
                </c:pt>
                <c:pt idx="9">
                  <c:v>CHAMPAGNE NICOLAS BLC DE NOIRS 1CT X 750ML</c:v>
                </c:pt>
                <c:pt idx="10">
                  <c:v>1/2 CHAMP NICOLAS ROSE 1E C BS 1CT X 375ML</c:v>
                </c:pt>
                <c:pt idx="11">
                  <c:v>MG CHAMPAGNE NICOLAS BLC/BL BS 1CT X 1500ML</c:v>
                </c:pt>
                <c:pt idx="12">
                  <c:v>CHAMPAGNE NICOLAS 1ER CRU ETUI 1CT X 750ML</c:v>
                </c:pt>
                <c:pt idx="13">
                  <c:v>CHAMPAGNE NICOLAS 1ER CRU BS 1CT X 750ML</c:v>
                </c:pt>
                <c:pt idx="14">
                  <c:v>MG CHAMPAGNE NICOLAS 1ERE CUVE 1CT X 1500ML</c:v>
                </c:pt>
                <c:pt idx="15">
                  <c:v>CHAMPAGNE NICOLAS ROSE 1ERE ET 1CT X 750ML</c:v>
                </c:pt>
                <c:pt idx="16">
                  <c:v>CHAMPAGNE NICOLAS ROSE 1E C BS 1CT X 750ML</c:v>
                </c:pt>
                <c:pt idx="17">
                  <c:v>MG CHAMPAGNE NICOLAS 1E CRU BS 1CT X 1500ML</c:v>
                </c:pt>
                <c:pt idx="18">
                  <c:v>CHAMPAGNE NICOLAS 1ERE CUV ETU 1CT X 750ML</c:v>
                </c:pt>
                <c:pt idx="19">
                  <c:v>1/2 CHAMPAGNE NICOLAS 1E C BS 1CT X 375ML</c:v>
                </c:pt>
              </c:strCache>
            </c:strRef>
          </c:cat>
          <c:val>
            <c:numRef>
              <c:f>Sheet1!$C$2:$C$21</c:f>
              <c:numCache>
                <c:formatCode>General</c:formatCode>
                <c:ptCount val="20"/>
                <c:pt idx="0">
                  <c:v>0.72699180044831235</c:v>
                </c:pt>
                <c:pt idx="1">
                  <c:v>0.79502583941520399</c:v>
                </c:pt>
                <c:pt idx="2">
                  <c:v>0.84813564083505499</c:v>
                </c:pt>
                <c:pt idx="3">
                  <c:v>0.8779051052597695</c:v>
                </c:pt>
                <c:pt idx="4">
                  <c:v>0.89504164154907728</c:v>
                </c:pt>
                <c:pt idx="5">
                  <c:v>0.91093741769721936</c:v>
                </c:pt>
                <c:pt idx="6">
                  <c:v>0.92602552922516868</c:v>
                </c:pt>
                <c:pt idx="7">
                  <c:v>0.93834534100419631</c:v>
                </c:pt>
                <c:pt idx="8">
                  <c:v>0.94946828745837308</c:v>
                </c:pt>
                <c:pt idx="9">
                  <c:v>0.95845794583964927</c:v>
                </c:pt>
                <c:pt idx="10">
                  <c:v>0.96720179324956246</c:v>
                </c:pt>
                <c:pt idx="11">
                  <c:v>0.97556814523916813</c:v>
                </c:pt>
                <c:pt idx="12">
                  <c:v>0.98280493728893903</c:v>
                </c:pt>
                <c:pt idx="13">
                  <c:v>0.98839713688744779</c:v>
                </c:pt>
                <c:pt idx="14">
                  <c:v>0.99283051333524519</c:v>
                </c:pt>
                <c:pt idx="15">
                  <c:v>0.99644744619958681</c:v>
                </c:pt>
                <c:pt idx="16">
                  <c:v>0.99802180694474518</c:v>
                </c:pt>
                <c:pt idx="17">
                  <c:v>0.9993562093607159</c:v>
                </c:pt>
                <c:pt idx="18">
                  <c:v>0.99993854725715925</c:v>
                </c:pt>
                <c:pt idx="19">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21</c:f>
              <c:strCache>
                <c:ptCount val="20"/>
                <c:pt idx="0">
                  <c:v>CHAMPAGNE E.NICOLAS BRUT 1CT X 750ML</c:v>
                </c:pt>
                <c:pt idx="1">
                  <c:v>CHAMPAGNE NICOLAS BLC/BLC BS 1CT X 750ML</c:v>
                </c:pt>
                <c:pt idx="2">
                  <c:v>CHAMPAGNE E.NICOLAS ROSE 1CT X 750ML</c:v>
                </c:pt>
                <c:pt idx="3">
                  <c:v>CHAMPAGNE NICOLAS 1ERE CUVEE 1CT X 750ML</c:v>
                </c:pt>
                <c:pt idx="4">
                  <c:v>1/2 CHAMPAGNE NICOLAS 1ERE CUV 1CT X 375ML</c:v>
                </c:pt>
                <c:pt idx="5">
                  <c:v>MG CHAMPAGNE E.NICOLAS BRUT 1CT X 1500ML</c:v>
                </c:pt>
                <c:pt idx="6">
                  <c:v>1/2 CHAMP NICOLAS BLC/BLC BS 1CT X 375ML</c:v>
                </c:pt>
                <c:pt idx="7">
                  <c:v>CHAMPAGNE NICOLAS BIO NAT 2017 1CT X 750ML</c:v>
                </c:pt>
                <c:pt idx="8">
                  <c:v>CHAMPAGNE NICOLAS ROSE 1ERE CU 1CT X 750ML</c:v>
                </c:pt>
                <c:pt idx="9">
                  <c:v>CHAMPAGNE NICOLAS BLC DE NOIRS 1CT X 750ML</c:v>
                </c:pt>
                <c:pt idx="10">
                  <c:v>1/2 CHAMP NICOLAS ROSE 1E C BS 1CT X 375ML</c:v>
                </c:pt>
                <c:pt idx="11">
                  <c:v>MG CHAMPAGNE NICOLAS BLC/BL BS 1CT X 1500ML</c:v>
                </c:pt>
                <c:pt idx="12">
                  <c:v>CHAMPAGNE NICOLAS 1ER CRU ETUI 1CT X 750ML</c:v>
                </c:pt>
                <c:pt idx="13">
                  <c:v>CHAMPAGNE NICOLAS 1ER CRU BS 1CT X 750ML</c:v>
                </c:pt>
                <c:pt idx="14">
                  <c:v>MG CHAMPAGNE NICOLAS 1ERE CUVE 1CT X 1500ML</c:v>
                </c:pt>
                <c:pt idx="15">
                  <c:v>CHAMPAGNE NICOLAS ROSE 1ERE ET 1CT X 750ML</c:v>
                </c:pt>
                <c:pt idx="16">
                  <c:v>CHAMPAGNE NICOLAS ROSE 1E C BS 1CT X 750ML</c:v>
                </c:pt>
                <c:pt idx="17">
                  <c:v>MG CHAMPAGNE NICOLAS 1E CRU BS 1CT X 1500ML</c:v>
                </c:pt>
                <c:pt idx="18">
                  <c:v>CHAMPAGNE NICOLAS 1ERE CUV ETU 1CT X 750ML</c:v>
                </c:pt>
                <c:pt idx="19">
                  <c:v>1/2 CHAMPAGNE NICOLAS 1E C BS 1CT X 375ML</c:v>
                </c:pt>
              </c:strCache>
            </c:strRef>
          </c:cat>
          <c:val>
            <c:numRef>
              <c:f>Sheet1!$D$2:$D$21</c:f>
              <c:numCache>
                <c:formatCode>General</c:formatCode>
                <c:ptCount val="20"/>
                <c:pt idx="0">
                  <c:v>2484.3200000000002</c:v>
                </c:pt>
                <c:pt idx="1">
                  <c:v>394.05084745762713</c:v>
                </c:pt>
                <c:pt idx="2">
                  <c:v>283.578125</c:v>
                </c:pt>
                <c:pt idx="3">
                  <c:v>169.55</c:v>
                </c:pt>
                <c:pt idx="4">
                  <c:v>136.18604651162789</c:v>
                </c:pt>
                <c:pt idx="5">
                  <c:v>193.99999999999997</c:v>
                </c:pt>
                <c:pt idx="6">
                  <c:v>132.2051282051282</c:v>
                </c:pt>
                <c:pt idx="7">
                  <c:v>280.66666666666669</c:v>
                </c:pt>
                <c:pt idx="8">
                  <c:v>100.02631578947368</c:v>
                </c:pt>
                <c:pt idx="9">
                  <c:v>133.56521739130434</c:v>
                </c:pt>
                <c:pt idx="10">
                  <c:v>67.909090909090907</c:v>
                </c:pt>
                <c:pt idx="11">
                  <c:v>150.47368421052633</c:v>
                </c:pt>
                <c:pt idx="12">
                  <c:v>61.825000000000003</c:v>
                </c:pt>
                <c:pt idx="13">
                  <c:v>95.55</c:v>
                </c:pt>
                <c:pt idx="14">
                  <c:v>94.6875</c:v>
                </c:pt>
                <c:pt idx="15">
                  <c:v>123.6</c:v>
                </c:pt>
                <c:pt idx="16">
                  <c:v>26.9</c:v>
                </c:pt>
                <c:pt idx="17">
                  <c:v>57</c:v>
                </c:pt>
                <c:pt idx="18">
                  <c:v>14.214285714285712</c:v>
                </c:pt>
                <c:pt idx="19">
                  <c:v>7</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23</c:f>
              <c:strCache>
                <c:ptCount val="22"/>
                <c:pt idx="0">
                  <c:v>CHAMPAGNE E.NICOLAS BRUT 1CT X 750ML</c:v>
                </c:pt>
                <c:pt idx="1">
                  <c:v>CHAMPAGNE NICOLAS BLC/BLC BS 1CT X 750ML</c:v>
                </c:pt>
                <c:pt idx="2">
                  <c:v>CHAMPAGNE E.NICOLAS ROSE 1CT X 750ML</c:v>
                </c:pt>
                <c:pt idx="3">
                  <c:v>CHAMPAGNE NICOLAS 1ERE CUVEE 1CT X 750ML</c:v>
                </c:pt>
                <c:pt idx="4">
                  <c:v>MG CHAMPAGNE E.NICOLAS BRUT 1CT X 1500ML</c:v>
                </c:pt>
                <c:pt idx="5">
                  <c:v>MG CHAMPAGNE NICOLAS BLC/BL BS 1CT X 1500ML</c:v>
                </c:pt>
                <c:pt idx="6">
                  <c:v>1/2 CHAMP NICOLAS BLC/BLC BS 1CT X 375ML</c:v>
                </c:pt>
                <c:pt idx="7">
                  <c:v>CHAMPAGNE NICOLAS ROSE 1ERE CU 1CT X 750ML</c:v>
                </c:pt>
                <c:pt idx="8">
                  <c:v>1/2 CHAMPAGNE NICOLAS 1ERE CUV 1CT X 375ML</c:v>
                </c:pt>
                <c:pt idx="9">
                  <c:v>1/2 CHAMP NICOLAS ROSE 1E C BS 1CT X 375ML</c:v>
                </c:pt>
                <c:pt idx="10">
                  <c:v>MG CHAMPAGNE NICOLAS 1ERE CUVE 1CT X 1500ML</c:v>
                </c:pt>
                <c:pt idx="11">
                  <c:v>CHAMPAGNE NICOLAS BLC DE NOIRS 1CT X 750ML</c:v>
                </c:pt>
                <c:pt idx="12">
                  <c:v>CHAMPAGNE NICOLAS BIO NAT 2017 1CT X 750ML</c:v>
                </c:pt>
                <c:pt idx="13">
                  <c:v>CHAMPAGNE NICOLAS BLC/BL BS ET 1CT X 750ML</c:v>
                </c:pt>
                <c:pt idx="14">
                  <c:v>CHAMPAGNE NICOLAS 1ER CRU BS 1CT X 750ML</c:v>
                </c:pt>
                <c:pt idx="15">
                  <c:v>CHAMPAGNE NICOLAS 1ER CRU ETUI 1CT X 750ML</c:v>
                </c:pt>
                <c:pt idx="16">
                  <c:v>CHAMPAGNE NICOLAS ROSE 1ERE ET 1CT X 750ML</c:v>
                </c:pt>
                <c:pt idx="17">
                  <c:v>CHAMPAGNE NICOLAS ROSE 1E C BS 1CT X 750ML</c:v>
                </c:pt>
                <c:pt idx="18">
                  <c:v>CHAMPAGNE NICOLAS 1ERE CUV ETU 1CT X 750ML</c:v>
                </c:pt>
                <c:pt idx="19">
                  <c:v>MG CHAMPAGNE NICOLAS 1E CRU BS 1CT X 1500ML</c:v>
                </c:pt>
                <c:pt idx="20">
                  <c:v>1/2 CHAMPAGNE NICOLAS 1E C BS 1CT X 375ML</c:v>
                </c:pt>
                <c:pt idx="21">
                  <c:v>CHAMPAGNE NICOLAS BIO 2018 1CT X 750ML</c:v>
                </c:pt>
              </c:strCache>
            </c:strRef>
          </c:cat>
          <c:val>
            <c:numRef>
              <c:f>Sheet1!$B$2:$B$23</c:f>
              <c:numCache>
                <c:formatCode>General</c:formatCode>
                <c:ptCount val="22"/>
                <c:pt idx="0">
                  <c:v>1</c:v>
                </c:pt>
                <c:pt idx="1">
                  <c:v>0.65</c:v>
                </c:pt>
                <c:pt idx="2">
                  <c:v>0.82</c:v>
                </c:pt>
                <c:pt idx="3">
                  <c:v>0.76</c:v>
                </c:pt>
                <c:pt idx="4">
                  <c:v>0.35</c:v>
                </c:pt>
                <c:pt idx="5">
                  <c:v>0.34</c:v>
                </c:pt>
                <c:pt idx="6">
                  <c:v>0.53</c:v>
                </c:pt>
                <c:pt idx="7">
                  <c:v>0.39</c:v>
                </c:pt>
                <c:pt idx="8">
                  <c:v>0.61</c:v>
                </c:pt>
                <c:pt idx="9">
                  <c:v>0.43</c:v>
                </c:pt>
                <c:pt idx="10">
                  <c:v>0.36</c:v>
                </c:pt>
                <c:pt idx="11">
                  <c:v>0.23</c:v>
                </c:pt>
                <c:pt idx="12">
                  <c:v>0.18</c:v>
                </c:pt>
                <c:pt idx="13">
                  <c:v>0.05</c:v>
                </c:pt>
                <c:pt idx="14">
                  <c:v>0.16</c:v>
                </c:pt>
                <c:pt idx="15">
                  <c:v>0.21</c:v>
                </c:pt>
                <c:pt idx="16">
                  <c:v>0.21</c:v>
                </c:pt>
                <c:pt idx="17">
                  <c:v>0.09</c:v>
                </c:pt>
                <c:pt idx="18">
                  <c:v>0.09</c:v>
                </c:pt>
                <c:pt idx="19">
                  <c:v>0.03</c:v>
                </c:pt>
                <c:pt idx="20">
                  <c:v>0.03</c:v>
                </c:pt>
                <c:pt idx="21">
                  <c:v>0.05</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7ECAC4"/>
              </a:solidFill>
            </c:spPr>
            <c:extLst>
              <c:ext xmlns:c16="http://schemas.microsoft.com/office/drawing/2014/chart" uri="{C3380CC4-5D6E-409C-BE32-E72D297353CC}">
                <c16:uniqueId val="{00000006-E902-46E2-9A54-39A26B3DFDC1}"/>
              </c:ext>
            </c:extLst>
          </c:dPt>
          <c:dPt>
            <c:idx val="3"/>
            <c:invertIfNegative val="0"/>
            <c:bubble3D val="0"/>
            <c:spPr>
              <a:solidFill>
                <a:srgbClr val="7ECAC4"/>
              </a:solidFill>
            </c:spPr>
            <c:extLst>
              <c:ext xmlns:c16="http://schemas.microsoft.com/office/drawing/2014/chart" uri="{C3380CC4-5D6E-409C-BE32-E72D297353CC}">
                <c16:uniqueId val="{00000007-E902-46E2-9A54-39A26B3DFDC1}"/>
              </c:ext>
            </c:extLst>
          </c:dPt>
          <c:dPt>
            <c:idx val="4"/>
            <c:invertIfNegative val="1"/>
            <c:bubble3D val="0"/>
            <c:spPr>
              <a:solidFill>
                <a:srgbClr val="7ECAC4"/>
              </a:solidFill>
            </c:spPr>
            <c:extLst>
              <c:ext xmlns:c16="http://schemas.microsoft.com/office/drawing/2014/chart" uri="{C3380CC4-5D6E-409C-BE32-E72D297353CC}">
                <c16:uniqueId val="{0000000B-FA3E-4872-B6E1-C4ABDF5766E2}"/>
              </c:ext>
            </c:extLst>
          </c:dPt>
          <c:dPt>
            <c:idx val="5"/>
            <c:invertIfNegative val="1"/>
            <c:bubble3D val="0"/>
            <c:spPr>
              <a:solidFill>
                <a:srgbClr val="7ECAC4"/>
              </a:solidFill>
            </c:spPr>
            <c:extLst>
              <c:ext xmlns:c16="http://schemas.microsoft.com/office/drawing/2014/chart" uri="{C3380CC4-5D6E-409C-BE32-E72D297353CC}">
                <c16:uniqueId val="{0000000D-FA3E-4872-B6E1-C4ABDF5766E2}"/>
              </c:ext>
            </c:extLst>
          </c:dPt>
          <c:dPt>
            <c:idx val="6"/>
            <c:invertIfNegative val="1"/>
            <c:bubble3D val="0"/>
            <c:spPr>
              <a:solidFill>
                <a:srgbClr val="7ECAC4"/>
              </a:solidFill>
            </c:spPr>
            <c:extLst>
              <c:ext xmlns:c16="http://schemas.microsoft.com/office/drawing/2014/chart" uri="{C3380CC4-5D6E-409C-BE32-E72D297353CC}">
                <c16:uniqueId val="{0000000F-FA3E-4872-B6E1-C4ABDF5766E2}"/>
              </c:ext>
            </c:extLst>
          </c:dPt>
          <c:dPt>
            <c:idx val="7"/>
            <c:invertIfNegative val="1"/>
            <c:bubble3D val="0"/>
            <c:spPr>
              <a:solidFill>
                <a:srgbClr val="7ECAC4"/>
              </a:solidFill>
            </c:spPr>
            <c:extLst>
              <c:ext xmlns:c16="http://schemas.microsoft.com/office/drawing/2014/chart" uri="{C3380CC4-5D6E-409C-BE32-E72D297353CC}">
                <c16:uniqueId val="{00000011-FA3E-4872-B6E1-C4ABDF5766E2}"/>
              </c:ext>
            </c:extLst>
          </c:dPt>
          <c:dPt>
            <c:idx val="8"/>
            <c:invertIfNegative val="1"/>
            <c:bubble3D val="0"/>
            <c:spPr>
              <a:solidFill>
                <a:srgbClr val="7ECAC4"/>
              </a:solidFill>
            </c:spPr>
            <c:extLst>
              <c:ext xmlns:c16="http://schemas.microsoft.com/office/drawing/2014/chart" uri="{C3380CC4-5D6E-409C-BE32-E72D297353CC}">
                <c16:uniqueId val="{00000013-FA3E-4872-B6E1-C4ABDF5766E2}"/>
              </c:ext>
            </c:extLst>
          </c:dPt>
          <c:dPt>
            <c:idx val="9"/>
            <c:invertIfNegative val="1"/>
            <c:bubble3D val="0"/>
            <c:spPr>
              <a:solidFill>
                <a:srgbClr val="AEABAB"/>
              </a:solidFill>
            </c:spPr>
            <c:extLst>
              <c:ext xmlns:c16="http://schemas.microsoft.com/office/drawing/2014/chart" uri="{C3380CC4-5D6E-409C-BE32-E72D297353CC}">
                <c16:uniqueId val="{00000015-FA3E-4872-B6E1-C4ABDF5766E2}"/>
              </c:ext>
            </c:extLst>
          </c:dPt>
          <c:dPt>
            <c:idx val="10"/>
            <c:invertIfNegative val="1"/>
            <c:bubble3D val="0"/>
            <c:spPr>
              <a:solidFill>
                <a:srgbClr val="AEABAB"/>
              </a:solidFill>
            </c:spPr>
            <c:extLst>
              <c:ext xmlns:c16="http://schemas.microsoft.com/office/drawing/2014/chart" uri="{C3380CC4-5D6E-409C-BE32-E72D297353CC}">
                <c16:uniqueId val="{00000017-FA3E-4872-B6E1-C4ABDF5766E2}"/>
              </c:ext>
            </c:extLst>
          </c:dPt>
          <c:dPt>
            <c:idx val="11"/>
            <c:invertIfNegative val="1"/>
            <c:bubble3D val="0"/>
            <c:spPr>
              <a:solidFill>
                <a:srgbClr val="AEABAB"/>
              </a:solidFill>
            </c:spPr>
            <c:extLst>
              <c:ext xmlns:c16="http://schemas.microsoft.com/office/drawing/2014/chart" uri="{C3380CC4-5D6E-409C-BE32-E72D297353CC}">
                <c16:uniqueId val="{00000019-FA3E-4872-B6E1-C4ABDF5766E2}"/>
              </c:ext>
            </c:extLst>
          </c:dPt>
          <c:dPt>
            <c:idx val="12"/>
            <c:invertIfNegative val="1"/>
            <c:bubble3D val="0"/>
            <c:spPr>
              <a:solidFill>
                <a:srgbClr val="AEABAB"/>
              </a:solidFill>
            </c:spPr>
            <c:extLst>
              <c:ext xmlns:c16="http://schemas.microsoft.com/office/drawing/2014/chart" uri="{C3380CC4-5D6E-409C-BE32-E72D297353CC}">
                <c16:uniqueId val="{0000001B-FA3E-4872-B6E1-C4ABDF5766E2}"/>
              </c:ext>
            </c:extLst>
          </c:dPt>
          <c:dPt>
            <c:idx val="13"/>
            <c:invertIfNegative val="1"/>
            <c:bubble3D val="0"/>
            <c:spPr>
              <a:solidFill>
                <a:srgbClr val="AEABAB"/>
              </a:solidFill>
            </c:spPr>
            <c:extLst>
              <c:ext xmlns:c16="http://schemas.microsoft.com/office/drawing/2014/chart" uri="{C3380CC4-5D6E-409C-BE32-E72D297353CC}">
                <c16:uniqueId val="{0000001D-FA3E-4872-B6E1-C4ABDF5766E2}"/>
              </c:ext>
            </c:extLst>
          </c:dPt>
          <c:dPt>
            <c:idx val="14"/>
            <c:invertIfNegative val="1"/>
            <c:bubble3D val="0"/>
            <c:spPr>
              <a:solidFill>
                <a:srgbClr val="AEABAB"/>
              </a:solidFill>
            </c:spPr>
            <c:extLst>
              <c:ext xmlns:c16="http://schemas.microsoft.com/office/drawing/2014/chart" uri="{C3380CC4-5D6E-409C-BE32-E72D297353CC}">
                <c16:uniqueId val="{0000001F-FA3E-4872-B6E1-C4ABDF5766E2}"/>
              </c:ext>
            </c:extLst>
          </c:dPt>
          <c:dPt>
            <c:idx val="15"/>
            <c:invertIfNegative val="1"/>
            <c:bubble3D val="0"/>
            <c:spPr>
              <a:solidFill>
                <a:srgbClr val="AEABAB"/>
              </a:solidFill>
            </c:spPr>
            <c:extLst>
              <c:ext xmlns:c16="http://schemas.microsoft.com/office/drawing/2014/chart" uri="{C3380CC4-5D6E-409C-BE32-E72D297353CC}">
                <c16:uniqueId val="{00000021-FA3E-4872-B6E1-C4ABDF5766E2}"/>
              </c:ext>
            </c:extLst>
          </c:dPt>
          <c:dPt>
            <c:idx val="16"/>
            <c:invertIfNegative val="1"/>
            <c:bubble3D val="0"/>
            <c:spPr>
              <a:solidFill>
                <a:srgbClr val="AEABAB"/>
              </a:solidFill>
            </c:spPr>
            <c:extLst>
              <c:ext xmlns:c16="http://schemas.microsoft.com/office/drawing/2014/chart" uri="{C3380CC4-5D6E-409C-BE32-E72D297353CC}">
                <c16:uniqueId val="{00000023-FA3E-4872-B6E1-C4ABDF5766E2}"/>
              </c:ext>
            </c:extLst>
          </c:dPt>
          <c:dPt>
            <c:idx val="17"/>
            <c:invertIfNegative val="1"/>
            <c:bubble3D val="0"/>
            <c:spPr>
              <a:solidFill>
                <a:srgbClr val="AEABAB"/>
              </a:solidFill>
            </c:spPr>
            <c:extLst>
              <c:ext xmlns:c16="http://schemas.microsoft.com/office/drawing/2014/chart" uri="{C3380CC4-5D6E-409C-BE32-E72D297353CC}">
                <c16:uniqueId val="{00000025-FA3E-4872-B6E1-C4ABDF5766E2}"/>
              </c:ext>
            </c:extLst>
          </c:dPt>
          <c:dPt>
            <c:idx val="18"/>
            <c:invertIfNegative val="1"/>
            <c:bubble3D val="0"/>
            <c:spPr>
              <a:solidFill>
                <a:srgbClr val="AEABAB"/>
              </a:solidFill>
            </c:spPr>
            <c:extLst>
              <c:ext xmlns:c16="http://schemas.microsoft.com/office/drawing/2014/chart" uri="{C3380CC4-5D6E-409C-BE32-E72D297353CC}">
                <c16:uniqueId val="{00000027-FA3E-4872-B6E1-C4ABDF5766E2}"/>
              </c:ext>
            </c:extLst>
          </c:dPt>
          <c:dPt>
            <c:idx val="19"/>
            <c:invertIfNegative val="1"/>
            <c:bubble3D val="0"/>
            <c:spPr>
              <a:solidFill>
                <a:srgbClr val="AEABAB"/>
              </a:solidFill>
            </c:spPr>
            <c:extLst>
              <c:ext xmlns:c16="http://schemas.microsoft.com/office/drawing/2014/chart" uri="{C3380CC4-5D6E-409C-BE32-E72D297353CC}">
                <c16:uniqueId val="{00000029-FA3E-4872-B6E1-C4ABDF5766E2}"/>
              </c:ext>
            </c:extLst>
          </c:dPt>
          <c:dPt>
            <c:idx val="20"/>
            <c:invertIfNegative val="1"/>
            <c:bubble3D val="0"/>
            <c:spPr>
              <a:solidFill>
                <a:srgbClr val="AEABAB"/>
              </a:solidFill>
            </c:spPr>
            <c:extLst>
              <c:ext xmlns:c16="http://schemas.microsoft.com/office/drawing/2014/chart" uri="{C3380CC4-5D6E-409C-BE32-E72D297353CC}">
                <c16:uniqueId val="{0000002B-FA3E-4872-B6E1-C4ABDF5766E2}"/>
              </c:ext>
            </c:extLst>
          </c:dPt>
          <c:dPt>
            <c:idx val="21"/>
            <c:invertIfNegative val="1"/>
            <c:bubble3D val="0"/>
            <c:spPr>
              <a:solidFill>
                <a:srgbClr val="AEABAB"/>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23</c:f>
              <c:strCache>
                <c:ptCount val="22"/>
                <c:pt idx="0">
                  <c:v>CHAMPAGNE E.NICOLAS BRUT 1CT X 750ML</c:v>
                </c:pt>
                <c:pt idx="1">
                  <c:v>CHAMPAGNE NICOLAS BLC/BLC BS 1CT X 750ML</c:v>
                </c:pt>
                <c:pt idx="2">
                  <c:v>CHAMPAGNE E.NICOLAS ROSE 1CT X 750ML</c:v>
                </c:pt>
                <c:pt idx="3">
                  <c:v>CHAMPAGNE NICOLAS 1ERE CUVEE 1CT X 750ML</c:v>
                </c:pt>
                <c:pt idx="4">
                  <c:v>MG CHAMPAGNE E.NICOLAS BRUT 1CT X 1500ML</c:v>
                </c:pt>
                <c:pt idx="5">
                  <c:v>MG CHAMPAGNE NICOLAS BLC/BL BS 1CT X 1500ML</c:v>
                </c:pt>
                <c:pt idx="6">
                  <c:v>1/2 CHAMP NICOLAS BLC/BLC BS 1CT X 375ML</c:v>
                </c:pt>
                <c:pt idx="7">
                  <c:v>CHAMPAGNE NICOLAS ROSE 1ERE CU 1CT X 750ML</c:v>
                </c:pt>
                <c:pt idx="8">
                  <c:v>1/2 CHAMPAGNE NICOLAS 1ERE CUV 1CT X 375ML</c:v>
                </c:pt>
                <c:pt idx="9">
                  <c:v>1/2 CHAMP NICOLAS ROSE 1E C BS 1CT X 375ML</c:v>
                </c:pt>
                <c:pt idx="10">
                  <c:v>MG CHAMPAGNE NICOLAS 1ERE CUVE 1CT X 1500ML</c:v>
                </c:pt>
                <c:pt idx="11">
                  <c:v>CHAMPAGNE NICOLAS BLC DE NOIRS 1CT X 750ML</c:v>
                </c:pt>
                <c:pt idx="12">
                  <c:v>CHAMPAGNE NICOLAS BIO NAT 2017 1CT X 750ML</c:v>
                </c:pt>
                <c:pt idx="13">
                  <c:v>CHAMPAGNE NICOLAS BLC/BL BS ET 1CT X 750ML</c:v>
                </c:pt>
                <c:pt idx="14">
                  <c:v>CHAMPAGNE NICOLAS 1ER CRU BS 1CT X 750ML</c:v>
                </c:pt>
                <c:pt idx="15">
                  <c:v>CHAMPAGNE NICOLAS 1ER CRU ETUI 1CT X 750ML</c:v>
                </c:pt>
                <c:pt idx="16">
                  <c:v>CHAMPAGNE NICOLAS ROSE 1ERE ET 1CT X 750ML</c:v>
                </c:pt>
                <c:pt idx="17">
                  <c:v>CHAMPAGNE NICOLAS ROSE 1E C BS 1CT X 750ML</c:v>
                </c:pt>
                <c:pt idx="18">
                  <c:v>CHAMPAGNE NICOLAS 1ERE CUV ETU 1CT X 750ML</c:v>
                </c:pt>
                <c:pt idx="19">
                  <c:v>MG CHAMPAGNE NICOLAS 1E CRU BS 1CT X 1500ML</c:v>
                </c:pt>
                <c:pt idx="20">
                  <c:v>1/2 CHAMPAGNE NICOLAS 1E C BS 1CT X 375ML</c:v>
                </c:pt>
                <c:pt idx="21">
                  <c:v>CHAMPAGNE NICOLAS BIO 2018 1CT X 750ML</c:v>
                </c:pt>
              </c:strCache>
            </c:strRef>
          </c:cat>
          <c:val>
            <c:numRef>
              <c:f>Sheet1!$C$2:$C$23</c:f>
              <c:numCache>
                <c:formatCode>General</c:formatCode>
                <c:ptCount val="22"/>
                <c:pt idx="0">
                  <c:v>0.71377370455986744</c:v>
                </c:pt>
                <c:pt idx="1">
                  <c:v>0.78725937442464655</c:v>
                </c:pt>
                <c:pt idx="2">
                  <c:v>0.84197369228566166</c:v>
                </c:pt>
                <c:pt idx="3">
                  <c:v>0.88386146513102715</c:v>
                </c:pt>
                <c:pt idx="4">
                  <c:v>0.90067303561565371</c:v>
                </c:pt>
                <c:pt idx="5">
                  <c:v>0.9150870445758239</c:v>
                </c:pt>
                <c:pt idx="6">
                  <c:v>0.9259619908761737</c:v>
                </c:pt>
                <c:pt idx="7">
                  <c:v>0.93574453286418591</c:v>
                </c:pt>
                <c:pt idx="8">
                  <c:v>0.94545752101957736</c:v>
                </c:pt>
                <c:pt idx="9">
                  <c:v>0.95392672299163306</c:v>
                </c:pt>
                <c:pt idx="10">
                  <c:v>0.96199496757563974</c:v>
                </c:pt>
                <c:pt idx="11">
                  <c:v>0.96934721682384462</c:v>
                </c:pt>
                <c:pt idx="12">
                  <c:v>0.97536157764457987</c:v>
                </c:pt>
                <c:pt idx="13">
                  <c:v>0.98061084630648687</c:v>
                </c:pt>
                <c:pt idx="14">
                  <c:v>0.98578646973385431</c:v>
                </c:pt>
                <c:pt idx="15">
                  <c:v>0.9905570443712538</c:v>
                </c:pt>
                <c:pt idx="16">
                  <c:v>0.99495939283595525</c:v>
                </c:pt>
                <c:pt idx="17">
                  <c:v>0.99730785753738516</c:v>
                </c:pt>
                <c:pt idx="18">
                  <c:v>0.99882985905120392</c:v>
                </c:pt>
                <c:pt idx="19">
                  <c:v>0.99944766074095293</c:v>
                </c:pt>
                <c:pt idx="20">
                  <c:v>0.99981179551173216</c:v>
                </c:pt>
                <c:pt idx="21">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23</c:f>
              <c:strCache>
                <c:ptCount val="22"/>
                <c:pt idx="0">
                  <c:v>CHAMPAGNE E.NICOLAS BRUT 1CT X 750ML</c:v>
                </c:pt>
                <c:pt idx="1">
                  <c:v>CHAMPAGNE NICOLAS BLC/BLC BS 1CT X 750ML</c:v>
                </c:pt>
                <c:pt idx="2">
                  <c:v>CHAMPAGNE E.NICOLAS ROSE 1CT X 750ML</c:v>
                </c:pt>
                <c:pt idx="3">
                  <c:v>CHAMPAGNE NICOLAS 1ERE CUVEE 1CT X 750ML</c:v>
                </c:pt>
                <c:pt idx="4">
                  <c:v>MG CHAMPAGNE E.NICOLAS BRUT 1CT X 1500ML</c:v>
                </c:pt>
                <c:pt idx="5">
                  <c:v>MG CHAMPAGNE NICOLAS BLC/BL BS 1CT X 1500ML</c:v>
                </c:pt>
                <c:pt idx="6">
                  <c:v>1/2 CHAMP NICOLAS BLC/BLC BS 1CT X 375ML</c:v>
                </c:pt>
                <c:pt idx="7">
                  <c:v>CHAMPAGNE NICOLAS ROSE 1ERE CU 1CT X 750ML</c:v>
                </c:pt>
                <c:pt idx="8">
                  <c:v>1/2 CHAMPAGNE NICOLAS 1ERE CUV 1CT X 375ML</c:v>
                </c:pt>
                <c:pt idx="9">
                  <c:v>1/2 CHAMP NICOLAS ROSE 1E C BS 1CT X 375ML</c:v>
                </c:pt>
                <c:pt idx="10">
                  <c:v>MG CHAMPAGNE NICOLAS 1ERE CUVE 1CT X 1500ML</c:v>
                </c:pt>
                <c:pt idx="11">
                  <c:v>CHAMPAGNE NICOLAS BLC DE NOIRS 1CT X 750ML</c:v>
                </c:pt>
                <c:pt idx="12">
                  <c:v>CHAMPAGNE NICOLAS BIO NAT 2017 1CT X 750ML</c:v>
                </c:pt>
                <c:pt idx="13">
                  <c:v>CHAMPAGNE NICOLAS BLC/BL BS ET 1CT X 750ML</c:v>
                </c:pt>
                <c:pt idx="14">
                  <c:v>CHAMPAGNE NICOLAS 1ER CRU BS 1CT X 750ML</c:v>
                </c:pt>
                <c:pt idx="15">
                  <c:v>CHAMPAGNE NICOLAS 1ER CRU ETUI 1CT X 750ML</c:v>
                </c:pt>
                <c:pt idx="16">
                  <c:v>CHAMPAGNE NICOLAS ROSE 1ERE ET 1CT X 750ML</c:v>
                </c:pt>
                <c:pt idx="17">
                  <c:v>CHAMPAGNE NICOLAS ROSE 1E C BS 1CT X 750ML</c:v>
                </c:pt>
                <c:pt idx="18">
                  <c:v>CHAMPAGNE NICOLAS 1ERE CUV ETU 1CT X 750ML</c:v>
                </c:pt>
                <c:pt idx="19">
                  <c:v>MG CHAMPAGNE NICOLAS 1E CRU BS 1CT X 1500ML</c:v>
                </c:pt>
                <c:pt idx="20">
                  <c:v>1/2 CHAMPAGNE NICOLAS 1E C BS 1CT X 375ML</c:v>
                </c:pt>
                <c:pt idx="21">
                  <c:v>CHAMPAGNE NICOLAS BIO 2018 1CT X 750ML</c:v>
                </c:pt>
              </c:strCache>
            </c:strRef>
          </c:cat>
          <c:val>
            <c:numRef>
              <c:f>Sheet1!$D$2:$D$23</c:f>
              <c:numCache>
                <c:formatCode>General</c:formatCode>
                <c:ptCount val="22"/>
                <c:pt idx="0">
                  <c:v>1744.57</c:v>
                </c:pt>
                <c:pt idx="1">
                  <c:v>276.32307692307694</c:v>
                </c:pt>
                <c:pt idx="2">
                  <c:v>163.08536585365854</c:v>
                </c:pt>
                <c:pt idx="3">
                  <c:v>134.71052631578948</c:v>
                </c:pt>
                <c:pt idx="4">
                  <c:v>117.4</c:v>
                </c:pt>
                <c:pt idx="5">
                  <c:v>103.61764705882354</c:v>
                </c:pt>
                <c:pt idx="6">
                  <c:v>50.150943396226417</c:v>
                </c:pt>
                <c:pt idx="7">
                  <c:v>61.307692307692307</c:v>
                </c:pt>
                <c:pt idx="8">
                  <c:v>38.918032786885249</c:v>
                </c:pt>
                <c:pt idx="9">
                  <c:v>48.139534883720927</c:v>
                </c:pt>
                <c:pt idx="10">
                  <c:v>54.777777777777779</c:v>
                </c:pt>
                <c:pt idx="11">
                  <c:v>78.130434782608702</c:v>
                </c:pt>
                <c:pt idx="12">
                  <c:v>81.666666666666671</c:v>
                </c:pt>
                <c:pt idx="13">
                  <c:v>256.60000000000002</c:v>
                </c:pt>
                <c:pt idx="14">
                  <c:v>79.0625</c:v>
                </c:pt>
                <c:pt idx="15">
                  <c:v>55.523809523809526</c:v>
                </c:pt>
                <c:pt idx="16">
                  <c:v>51.238095238095241</c:v>
                </c:pt>
                <c:pt idx="17">
                  <c:v>63.777777777777779</c:v>
                </c:pt>
                <c:pt idx="18">
                  <c:v>41.333333333333336</c:v>
                </c:pt>
                <c:pt idx="19">
                  <c:v>50.333333333333336</c:v>
                </c:pt>
                <c:pt idx="20">
                  <c:v>29.666666666666668</c:v>
                </c:pt>
                <c:pt idx="21">
                  <c:v>9.1999999999999993</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22</c:f>
              <c:strCache>
                <c:ptCount val="21"/>
                <c:pt idx="0">
                  <c:v>CHAMPAGNE E.NICOLAS BRUT 1CT X 750ML</c:v>
                </c:pt>
                <c:pt idx="1">
                  <c:v>CHAMPAGNE NICOLAS BLC/BLC BS 1CT X 750ML</c:v>
                </c:pt>
                <c:pt idx="2">
                  <c:v>CHAMPAGNE E.NICOLAS ROSE 1CT X 750ML</c:v>
                </c:pt>
                <c:pt idx="3">
                  <c:v>CHAMPAGNE NICOLAS 1ERE CUVEE 1CT X 750ML</c:v>
                </c:pt>
                <c:pt idx="4">
                  <c:v>1/2 CHAMPAGNE NICOLAS 1ERE CUV 1CT X 375ML</c:v>
                </c:pt>
                <c:pt idx="5">
                  <c:v>MG CHAMPAGNE E.NICOLAS BRUT 1CT X 1500ML</c:v>
                </c:pt>
                <c:pt idx="6">
                  <c:v>CHAMPAGNE NICOLAS ROSE 1ERE CU 1CT X 750ML</c:v>
                </c:pt>
                <c:pt idx="7">
                  <c:v>CHAMPAGNE NICOLAS BIO NAT 2017 1CT X 750ML</c:v>
                </c:pt>
                <c:pt idx="8">
                  <c:v>1/2 CHAMP NICOLAS BLC/BLC BS 1CT X 375ML</c:v>
                </c:pt>
                <c:pt idx="9">
                  <c:v>MG CHAMPAGNE NICOLAS BLC/BL BS 1CT X 1500ML</c:v>
                </c:pt>
                <c:pt idx="10">
                  <c:v>1/2 CHAMP NICOLAS ROSE 1E C BS 1CT X 375ML</c:v>
                </c:pt>
                <c:pt idx="11">
                  <c:v>CHAMPAGNE NICOLAS BLC DE NOIRS 1CT X 750ML</c:v>
                </c:pt>
                <c:pt idx="12">
                  <c:v>CHAMPAGNE NICOLAS 1ER CRU BS 1CT X 750ML</c:v>
                </c:pt>
                <c:pt idx="13">
                  <c:v>MG CHAMPAGNE NICOLAS 1ERE CUVE 1CT X 1500ML</c:v>
                </c:pt>
                <c:pt idx="14">
                  <c:v>CHAMPAGNE NICOLAS 1ER CRU ETUI 1CT X 750ML</c:v>
                </c:pt>
                <c:pt idx="15">
                  <c:v>CHAMPAGNE NICOLAS ROSE 1ERE ET 1CT X 750ML</c:v>
                </c:pt>
                <c:pt idx="16">
                  <c:v>CHAMPAGNE NICOLAS 1ERE CUV ETU 1CT X 750ML</c:v>
                </c:pt>
                <c:pt idx="17">
                  <c:v>CHAMPAGNE NICOLAS ROSE 1E C BS 1CT X 750ML</c:v>
                </c:pt>
                <c:pt idx="18">
                  <c:v>MG CHAMPAGNE NICOLAS 1E CRU BS 1CT X 1500ML</c:v>
                </c:pt>
                <c:pt idx="19">
                  <c:v>CHAMPAGNE NICOLAS BLC/BL BS ET 1CT X 750ML</c:v>
                </c:pt>
                <c:pt idx="20">
                  <c:v>1/2 CHAMPAGNE NICOLAS 1E C BS 1CT X 375ML</c:v>
                </c:pt>
              </c:strCache>
            </c:strRef>
          </c:cat>
          <c:val>
            <c:numRef>
              <c:f>Sheet1!$B$2:$B$22</c:f>
              <c:numCache>
                <c:formatCode>General</c:formatCode>
                <c:ptCount val="21"/>
                <c:pt idx="0">
                  <c:v>0.99</c:v>
                </c:pt>
                <c:pt idx="1">
                  <c:v>0.55000000000000004</c:v>
                </c:pt>
                <c:pt idx="2">
                  <c:v>0.59</c:v>
                </c:pt>
                <c:pt idx="3">
                  <c:v>0.78</c:v>
                </c:pt>
                <c:pt idx="4">
                  <c:v>0.32</c:v>
                </c:pt>
                <c:pt idx="5">
                  <c:v>0.16</c:v>
                </c:pt>
                <c:pt idx="6">
                  <c:v>0.33</c:v>
                </c:pt>
                <c:pt idx="7">
                  <c:v>0.15</c:v>
                </c:pt>
                <c:pt idx="8">
                  <c:v>0.24</c:v>
                </c:pt>
                <c:pt idx="9">
                  <c:v>0.14000000000000001</c:v>
                </c:pt>
                <c:pt idx="10">
                  <c:v>0.27</c:v>
                </c:pt>
                <c:pt idx="11">
                  <c:v>0.18</c:v>
                </c:pt>
                <c:pt idx="12">
                  <c:v>0.32</c:v>
                </c:pt>
                <c:pt idx="13">
                  <c:v>0.18</c:v>
                </c:pt>
                <c:pt idx="14">
                  <c:v>0.18</c:v>
                </c:pt>
                <c:pt idx="15">
                  <c:v>0.09</c:v>
                </c:pt>
                <c:pt idx="16">
                  <c:v>0.11</c:v>
                </c:pt>
                <c:pt idx="17">
                  <c:v>0.05</c:v>
                </c:pt>
                <c:pt idx="18">
                  <c:v>0.04</c:v>
                </c:pt>
                <c:pt idx="19">
                  <c:v>0.02</c:v>
                </c:pt>
                <c:pt idx="20">
                  <c:v>0.01</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7ECAC4"/>
              </a:solidFill>
            </c:spPr>
            <c:extLst>
              <c:ext xmlns:c16="http://schemas.microsoft.com/office/drawing/2014/chart" uri="{C3380CC4-5D6E-409C-BE32-E72D297353CC}">
                <c16:uniqueId val="{00000006-E902-46E2-9A54-39A26B3DFDC1}"/>
              </c:ext>
            </c:extLst>
          </c:dPt>
          <c:dPt>
            <c:idx val="3"/>
            <c:invertIfNegative val="0"/>
            <c:bubble3D val="0"/>
            <c:spPr>
              <a:solidFill>
                <a:srgbClr val="7ECAC4"/>
              </a:solidFill>
            </c:spPr>
            <c:extLst>
              <c:ext xmlns:c16="http://schemas.microsoft.com/office/drawing/2014/chart" uri="{C3380CC4-5D6E-409C-BE32-E72D297353CC}">
                <c16:uniqueId val="{00000007-E902-46E2-9A54-39A26B3DFDC1}"/>
              </c:ext>
            </c:extLst>
          </c:dPt>
          <c:dPt>
            <c:idx val="4"/>
            <c:invertIfNegative val="1"/>
            <c:bubble3D val="0"/>
            <c:spPr>
              <a:solidFill>
                <a:srgbClr val="7ECAC4"/>
              </a:solidFill>
            </c:spPr>
            <c:extLst>
              <c:ext xmlns:c16="http://schemas.microsoft.com/office/drawing/2014/chart" uri="{C3380CC4-5D6E-409C-BE32-E72D297353CC}">
                <c16:uniqueId val="{0000000B-FA3E-4872-B6E1-C4ABDF5766E2}"/>
              </c:ext>
            </c:extLst>
          </c:dPt>
          <c:dPt>
            <c:idx val="5"/>
            <c:invertIfNegative val="1"/>
            <c:bubble3D val="0"/>
            <c:spPr>
              <a:solidFill>
                <a:srgbClr val="7ECAC4"/>
              </a:solidFill>
            </c:spPr>
            <c:extLst>
              <c:ext xmlns:c16="http://schemas.microsoft.com/office/drawing/2014/chart" uri="{C3380CC4-5D6E-409C-BE32-E72D297353CC}">
                <c16:uniqueId val="{0000000D-FA3E-4872-B6E1-C4ABDF5766E2}"/>
              </c:ext>
            </c:extLst>
          </c:dPt>
          <c:dPt>
            <c:idx val="6"/>
            <c:invertIfNegative val="1"/>
            <c:bubble3D val="0"/>
            <c:spPr>
              <a:solidFill>
                <a:srgbClr val="7ECAC4"/>
              </a:solidFill>
            </c:spPr>
            <c:extLst>
              <c:ext xmlns:c16="http://schemas.microsoft.com/office/drawing/2014/chart" uri="{C3380CC4-5D6E-409C-BE32-E72D297353CC}">
                <c16:uniqueId val="{0000000F-FA3E-4872-B6E1-C4ABDF5766E2}"/>
              </c:ext>
            </c:extLst>
          </c:dPt>
          <c:dPt>
            <c:idx val="7"/>
            <c:invertIfNegative val="1"/>
            <c:bubble3D val="0"/>
            <c:spPr>
              <a:solidFill>
                <a:srgbClr val="7ECAC4"/>
              </a:solidFill>
            </c:spPr>
            <c:extLst>
              <c:ext xmlns:c16="http://schemas.microsoft.com/office/drawing/2014/chart" uri="{C3380CC4-5D6E-409C-BE32-E72D297353CC}">
                <c16:uniqueId val="{00000011-FA3E-4872-B6E1-C4ABDF5766E2}"/>
              </c:ext>
            </c:extLst>
          </c:dPt>
          <c:dPt>
            <c:idx val="8"/>
            <c:invertIfNegative val="1"/>
            <c:bubble3D val="0"/>
            <c:spPr>
              <a:solidFill>
                <a:srgbClr val="7ECAC4"/>
              </a:solidFill>
            </c:spPr>
            <c:extLst>
              <c:ext xmlns:c16="http://schemas.microsoft.com/office/drawing/2014/chart" uri="{C3380CC4-5D6E-409C-BE32-E72D297353CC}">
                <c16:uniqueId val="{00000013-FA3E-4872-B6E1-C4ABDF5766E2}"/>
              </c:ext>
            </c:extLst>
          </c:dPt>
          <c:dPt>
            <c:idx val="9"/>
            <c:invertIfNegative val="1"/>
            <c:bubble3D val="0"/>
            <c:spPr>
              <a:solidFill>
                <a:srgbClr val="AEABAB"/>
              </a:solidFill>
            </c:spPr>
            <c:extLst>
              <c:ext xmlns:c16="http://schemas.microsoft.com/office/drawing/2014/chart" uri="{C3380CC4-5D6E-409C-BE32-E72D297353CC}">
                <c16:uniqueId val="{00000015-FA3E-4872-B6E1-C4ABDF5766E2}"/>
              </c:ext>
            </c:extLst>
          </c:dPt>
          <c:dPt>
            <c:idx val="10"/>
            <c:invertIfNegative val="1"/>
            <c:bubble3D val="0"/>
            <c:spPr>
              <a:solidFill>
                <a:srgbClr val="AEABAB"/>
              </a:solidFill>
            </c:spPr>
            <c:extLst>
              <c:ext xmlns:c16="http://schemas.microsoft.com/office/drawing/2014/chart" uri="{C3380CC4-5D6E-409C-BE32-E72D297353CC}">
                <c16:uniqueId val="{00000017-FA3E-4872-B6E1-C4ABDF5766E2}"/>
              </c:ext>
            </c:extLst>
          </c:dPt>
          <c:dPt>
            <c:idx val="11"/>
            <c:invertIfNegative val="1"/>
            <c:bubble3D val="0"/>
            <c:spPr>
              <a:solidFill>
                <a:srgbClr val="AEABAB"/>
              </a:solidFill>
            </c:spPr>
            <c:extLst>
              <c:ext xmlns:c16="http://schemas.microsoft.com/office/drawing/2014/chart" uri="{C3380CC4-5D6E-409C-BE32-E72D297353CC}">
                <c16:uniqueId val="{00000019-FA3E-4872-B6E1-C4ABDF5766E2}"/>
              </c:ext>
            </c:extLst>
          </c:dPt>
          <c:dPt>
            <c:idx val="12"/>
            <c:invertIfNegative val="1"/>
            <c:bubble3D val="0"/>
            <c:spPr>
              <a:solidFill>
                <a:srgbClr val="AEABAB"/>
              </a:solidFill>
            </c:spPr>
            <c:extLst>
              <c:ext xmlns:c16="http://schemas.microsoft.com/office/drawing/2014/chart" uri="{C3380CC4-5D6E-409C-BE32-E72D297353CC}">
                <c16:uniqueId val="{0000001B-FA3E-4872-B6E1-C4ABDF5766E2}"/>
              </c:ext>
            </c:extLst>
          </c:dPt>
          <c:dPt>
            <c:idx val="13"/>
            <c:invertIfNegative val="1"/>
            <c:bubble3D val="0"/>
            <c:spPr>
              <a:solidFill>
                <a:srgbClr val="AEABAB"/>
              </a:solidFill>
            </c:spPr>
            <c:extLst>
              <c:ext xmlns:c16="http://schemas.microsoft.com/office/drawing/2014/chart" uri="{C3380CC4-5D6E-409C-BE32-E72D297353CC}">
                <c16:uniqueId val="{0000001D-FA3E-4872-B6E1-C4ABDF5766E2}"/>
              </c:ext>
            </c:extLst>
          </c:dPt>
          <c:dPt>
            <c:idx val="14"/>
            <c:invertIfNegative val="1"/>
            <c:bubble3D val="0"/>
            <c:spPr>
              <a:solidFill>
                <a:srgbClr val="AEABAB"/>
              </a:solidFill>
            </c:spPr>
            <c:extLst>
              <c:ext xmlns:c16="http://schemas.microsoft.com/office/drawing/2014/chart" uri="{C3380CC4-5D6E-409C-BE32-E72D297353CC}">
                <c16:uniqueId val="{0000001F-FA3E-4872-B6E1-C4ABDF5766E2}"/>
              </c:ext>
            </c:extLst>
          </c:dPt>
          <c:dPt>
            <c:idx val="15"/>
            <c:invertIfNegative val="1"/>
            <c:bubble3D val="0"/>
            <c:spPr>
              <a:solidFill>
                <a:srgbClr val="AEABAB"/>
              </a:solidFill>
            </c:spPr>
            <c:extLst>
              <c:ext xmlns:c16="http://schemas.microsoft.com/office/drawing/2014/chart" uri="{C3380CC4-5D6E-409C-BE32-E72D297353CC}">
                <c16:uniqueId val="{00000021-FA3E-4872-B6E1-C4ABDF5766E2}"/>
              </c:ext>
            </c:extLst>
          </c:dPt>
          <c:dPt>
            <c:idx val="16"/>
            <c:invertIfNegative val="1"/>
            <c:bubble3D val="0"/>
            <c:spPr>
              <a:solidFill>
                <a:srgbClr val="AEABAB"/>
              </a:solidFill>
            </c:spPr>
            <c:extLst>
              <c:ext xmlns:c16="http://schemas.microsoft.com/office/drawing/2014/chart" uri="{C3380CC4-5D6E-409C-BE32-E72D297353CC}">
                <c16:uniqueId val="{00000023-FA3E-4872-B6E1-C4ABDF5766E2}"/>
              </c:ext>
            </c:extLst>
          </c:dPt>
          <c:dPt>
            <c:idx val="17"/>
            <c:invertIfNegative val="1"/>
            <c:bubble3D val="0"/>
            <c:spPr>
              <a:solidFill>
                <a:srgbClr val="AEABAB"/>
              </a:solidFill>
            </c:spPr>
            <c:extLst>
              <c:ext xmlns:c16="http://schemas.microsoft.com/office/drawing/2014/chart" uri="{C3380CC4-5D6E-409C-BE32-E72D297353CC}">
                <c16:uniqueId val="{00000025-FA3E-4872-B6E1-C4ABDF5766E2}"/>
              </c:ext>
            </c:extLst>
          </c:dPt>
          <c:dPt>
            <c:idx val="18"/>
            <c:invertIfNegative val="1"/>
            <c:bubble3D val="0"/>
            <c:spPr>
              <a:solidFill>
                <a:srgbClr val="AEABAB"/>
              </a:solidFill>
            </c:spPr>
            <c:extLst>
              <c:ext xmlns:c16="http://schemas.microsoft.com/office/drawing/2014/chart" uri="{C3380CC4-5D6E-409C-BE32-E72D297353CC}">
                <c16:uniqueId val="{00000027-FA3E-4872-B6E1-C4ABDF5766E2}"/>
              </c:ext>
            </c:extLst>
          </c:dPt>
          <c:dPt>
            <c:idx val="19"/>
            <c:invertIfNegative val="1"/>
            <c:bubble3D val="0"/>
            <c:spPr>
              <a:solidFill>
                <a:srgbClr val="AEABAB"/>
              </a:solidFill>
            </c:spPr>
            <c:extLst>
              <c:ext xmlns:c16="http://schemas.microsoft.com/office/drawing/2014/chart" uri="{C3380CC4-5D6E-409C-BE32-E72D297353CC}">
                <c16:uniqueId val="{00000029-FA3E-4872-B6E1-C4ABDF5766E2}"/>
              </c:ext>
            </c:extLst>
          </c:dPt>
          <c:dPt>
            <c:idx val="20"/>
            <c:invertIfNegative val="1"/>
            <c:bubble3D val="0"/>
            <c:spPr>
              <a:solidFill>
                <a:srgbClr val="AEABAB"/>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22</c:f>
              <c:strCache>
                <c:ptCount val="21"/>
                <c:pt idx="0">
                  <c:v>CHAMPAGNE E.NICOLAS BRUT 1CT X 750ML</c:v>
                </c:pt>
                <c:pt idx="1">
                  <c:v>CHAMPAGNE NICOLAS BLC/BLC BS 1CT X 750ML</c:v>
                </c:pt>
                <c:pt idx="2">
                  <c:v>CHAMPAGNE E.NICOLAS ROSE 1CT X 750ML</c:v>
                </c:pt>
                <c:pt idx="3">
                  <c:v>CHAMPAGNE NICOLAS 1ERE CUVEE 1CT X 750ML</c:v>
                </c:pt>
                <c:pt idx="4">
                  <c:v>1/2 CHAMPAGNE NICOLAS 1ERE CUV 1CT X 375ML</c:v>
                </c:pt>
                <c:pt idx="5">
                  <c:v>MG CHAMPAGNE E.NICOLAS BRUT 1CT X 1500ML</c:v>
                </c:pt>
                <c:pt idx="6">
                  <c:v>CHAMPAGNE NICOLAS ROSE 1ERE CU 1CT X 750ML</c:v>
                </c:pt>
                <c:pt idx="7">
                  <c:v>CHAMPAGNE NICOLAS BIO NAT 2017 1CT X 750ML</c:v>
                </c:pt>
                <c:pt idx="8">
                  <c:v>1/2 CHAMP NICOLAS BLC/BLC BS 1CT X 375ML</c:v>
                </c:pt>
                <c:pt idx="9">
                  <c:v>MG CHAMPAGNE NICOLAS BLC/BL BS 1CT X 1500ML</c:v>
                </c:pt>
                <c:pt idx="10">
                  <c:v>1/2 CHAMP NICOLAS ROSE 1E C BS 1CT X 375ML</c:v>
                </c:pt>
                <c:pt idx="11">
                  <c:v>CHAMPAGNE NICOLAS BLC DE NOIRS 1CT X 750ML</c:v>
                </c:pt>
                <c:pt idx="12">
                  <c:v>CHAMPAGNE NICOLAS 1ER CRU BS 1CT X 750ML</c:v>
                </c:pt>
                <c:pt idx="13">
                  <c:v>MG CHAMPAGNE NICOLAS 1ERE CUVE 1CT X 1500ML</c:v>
                </c:pt>
                <c:pt idx="14">
                  <c:v>CHAMPAGNE NICOLAS 1ER CRU ETUI 1CT X 750ML</c:v>
                </c:pt>
                <c:pt idx="15">
                  <c:v>CHAMPAGNE NICOLAS ROSE 1ERE ET 1CT X 750ML</c:v>
                </c:pt>
                <c:pt idx="16">
                  <c:v>CHAMPAGNE NICOLAS 1ERE CUV ETU 1CT X 750ML</c:v>
                </c:pt>
                <c:pt idx="17">
                  <c:v>CHAMPAGNE NICOLAS ROSE 1E C BS 1CT X 750ML</c:v>
                </c:pt>
                <c:pt idx="18">
                  <c:v>MG CHAMPAGNE NICOLAS 1E CRU BS 1CT X 1500ML</c:v>
                </c:pt>
                <c:pt idx="19">
                  <c:v>CHAMPAGNE NICOLAS BLC/BL BS ET 1CT X 750ML</c:v>
                </c:pt>
                <c:pt idx="20">
                  <c:v>1/2 CHAMPAGNE NICOLAS 1E C BS 1CT X 375ML</c:v>
                </c:pt>
              </c:strCache>
            </c:strRef>
          </c:cat>
          <c:val>
            <c:numRef>
              <c:f>Sheet1!$C$2:$C$22</c:f>
              <c:numCache>
                <c:formatCode>General</c:formatCode>
                <c:ptCount val="21"/>
                <c:pt idx="0">
                  <c:v>0.72555209223304695</c:v>
                </c:pt>
                <c:pt idx="1">
                  <c:v>0.79677212929380425</c:v>
                </c:pt>
                <c:pt idx="2">
                  <c:v>0.84344729114669381</c:v>
                </c:pt>
                <c:pt idx="3">
                  <c:v>0.88535231680037352</c:v>
                </c:pt>
                <c:pt idx="4">
                  <c:v>0.90304897405138029</c:v>
                </c:pt>
                <c:pt idx="5">
                  <c:v>0.91647906390213918</c:v>
                </c:pt>
                <c:pt idx="6">
                  <c:v>0.92786231338235403</c:v>
                </c:pt>
                <c:pt idx="7">
                  <c:v>0.93907770659624823</c:v>
                </c:pt>
                <c:pt idx="8">
                  <c:v>0.94926716442845072</c:v>
                </c:pt>
                <c:pt idx="9">
                  <c:v>0.95874257123499584</c:v>
                </c:pt>
                <c:pt idx="10">
                  <c:v>0.96768502115809707</c:v>
                </c:pt>
                <c:pt idx="11">
                  <c:v>0.97478290545429613</c:v>
                </c:pt>
                <c:pt idx="12">
                  <c:v>0.98131156108710504</c:v>
                </c:pt>
                <c:pt idx="13">
                  <c:v>0.98665569158502653</c:v>
                </c:pt>
                <c:pt idx="14">
                  <c:v>0.99090425547406025</c:v>
                </c:pt>
                <c:pt idx="15">
                  <c:v>0.99362357993995831</c:v>
                </c:pt>
                <c:pt idx="16">
                  <c:v>0.99618404989514275</c:v>
                </c:pt>
                <c:pt idx="17">
                  <c:v>0.99754093217415429</c:v>
                </c:pt>
                <c:pt idx="18">
                  <c:v>0.99884724576725537</c:v>
                </c:pt>
                <c:pt idx="19">
                  <c:v>0.99993010401528604</c:v>
                </c:pt>
                <c:pt idx="20">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22</c:f>
              <c:strCache>
                <c:ptCount val="21"/>
                <c:pt idx="0">
                  <c:v>CHAMPAGNE E.NICOLAS BRUT 1CT X 750ML</c:v>
                </c:pt>
                <c:pt idx="1">
                  <c:v>CHAMPAGNE NICOLAS BLC/BLC BS 1CT X 750ML</c:v>
                </c:pt>
                <c:pt idx="2">
                  <c:v>CHAMPAGNE E.NICOLAS ROSE 1CT X 750ML</c:v>
                </c:pt>
                <c:pt idx="3">
                  <c:v>CHAMPAGNE NICOLAS 1ERE CUVEE 1CT X 750ML</c:v>
                </c:pt>
                <c:pt idx="4">
                  <c:v>1/2 CHAMPAGNE NICOLAS 1ERE CUV 1CT X 375ML</c:v>
                </c:pt>
                <c:pt idx="5">
                  <c:v>MG CHAMPAGNE E.NICOLAS BRUT 1CT X 1500ML</c:v>
                </c:pt>
                <c:pt idx="6">
                  <c:v>CHAMPAGNE NICOLAS ROSE 1ERE CU 1CT X 750ML</c:v>
                </c:pt>
                <c:pt idx="7">
                  <c:v>CHAMPAGNE NICOLAS BIO NAT 2017 1CT X 750ML</c:v>
                </c:pt>
                <c:pt idx="8">
                  <c:v>1/2 CHAMP NICOLAS BLC/BLC BS 1CT X 375ML</c:v>
                </c:pt>
                <c:pt idx="9">
                  <c:v>MG CHAMPAGNE NICOLAS BLC/BL BS 1CT X 1500ML</c:v>
                </c:pt>
                <c:pt idx="10">
                  <c:v>1/2 CHAMP NICOLAS ROSE 1E C BS 1CT X 375ML</c:v>
                </c:pt>
                <c:pt idx="11">
                  <c:v>CHAMPAGNE NICOLAS BLC DE NOIRS 1CT X 750ML</c:v>
                </c:pt>
                <c:pt idx="12">
                  <c:v>CHAMPAGNE NICOLAS 1ER CRU BS 1CT X 750ML</c:v>
                </c:pt>
                <c:pt idx="13">
                  <c:v>MG CHAMPAGNE NICOLAS 1ERE CUVE 1CT X 1500ML</c:v>
                </c:pt>
                <c:pt idx="14">
                  <c:v>CHAMPAGNE NICOLAS 1ER CRU ETUI 1CT X 750ML</c:v>
                </c:pt>
                <c:pt idx="15">
                  <c:v>CHAMPAGNE NICOLAS ROSE 1ERE ET 1CT X 750ML</c:v>
                </c:pt>
                <c:pt idx="16">
                  <c:v>CHAMPAGNE NICOLAS 1ERE CUV ETU 1CT X 750ML</c:v>
                </c:pt>
                <c:pt idx="17">
                  <c:v>CHAMPAGNE NICOLAS ROSE 1E C BS 1CT X 750ML</c:v>
                </c:pt>
                <c:pt idx="18">
                  <c:v>MG CHAMPAGNE NICOLAS 1E CRU BS 1CT X 1500ML</c:v>
                </c:pt>
                <c:pt idx="19">
                  <c:v>CHAMPAGNE NICOLAS BLC/BL BS ET 1CT X 750ML</c:v>
                </c:pt>
                <c:pt idx="20">
                  <c:v>1/2 CHAMPAGNE NICOLAS 1E C BS 1CT X 375ML</c:v>
                </c:pt>
              </c:strCache>
            </c:strRef>
          </c:cat>
          <c:val>
            <c:numRef>
              <c:f>Sheet1!$D$2:$D$22</c:f>
              <c:numCache>
                <c:formatCode>General</c:formatCode>
                <c:ptCount val="21"/>
                <c:pt idx="0">
                  <c:v>27681.21212121212</c:v>
                </c:pt>
                <c:pt idx="1">
                  <c:v>4890.9272727272719</c:v>
                </c:pt>
                <c:pt idx="2">
                  <c:v>2988.0338983050847</c:v>
                </c:pt>
                <c:pt idx="3">
                  <c:v>2029.1923076923076</c:v>
                </c:pt>
                <c:pt idx="4">
                  <c:v>2088.78125</c:v>
                </c:pt>
                <c:pt idx="5">
                  <c:v>3170.375</c:v>
                </c:pt>
                <c:pt idx="6">
                  <c:v>1302.878787878788</c:v>
                </c:pt>
                <c:pt idx="7">
                  <c:v>2824.0666666666666</c:v>
                </c:pt>
                <c:pt idx="8">
                  <c:v>1603.5833333333333</c:v>
                </c:pt>
                <c:pt idx="9">
                  <c:v>2556.3571428571427</c:v>
                </c:pt>
                <c:pt idx="10">
                  <c:v>1250.962962962963</c:v>
                </c:pt>
                <c:pt idx="11">
                  <c:v>1489.3888888888889</c:v>
                </c:pt>
                <c:pt idx="12">
                  <c:v>770.59375</c:v>
                </c:pt>
                <c:pt idx="13">
                  <c:v>1121.3888888888889</c:v>
                </c:pt>
                <c:pt idx="14">
                  <c:v>891.5</c:v>
                </c:pt>
                <c:pt idx="15">
                  <c:v>1141.2222222222222</c:v>
                </c:pt>
                <c:pt idx="16">
                  <c:v>879.18181818181813</c:v>
                </c:pt>
                <c:pt idx="17">
                  <c:v>1025</c:v>
                </c:pt>
                <c:pt idx="18">
                  <c:v>1233.5</c:v>
                </c:pt>
                <c:pt idx="19">
                  <c:v>2045</c:v>
                </c:pt>
                <c:pt idx="20">
                  <c:v>264</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22</c:f>
              <c:strCache>
                <c:ptCount val="21"/>
                <c:pt idx="0">
                  <c:v>CHAMPAGNE E.NICOLAS BRUT 1CT X 750ML</c:v>
                </c:pt>
                <c:pt idx="1">
                  <c:v>CHAMPAGNE NICOLAS BLC/BLC BS 1CT X 750ML</c:v>
                </c:pt>
                <c:pt idx="2">
                  <c:v>CHAMPAGNE E.NICOLAS ROSE 1CT X 750ML</c:v>
                </c:pt>
                <c:pt idx="3">
                  <c:v>CHAMPAGNE NICOLAS 1ERE CUVEE 1CT X 750ML</c:v>
                </c:pt>
                <c:pt idx="4">
                  <c:v>MG CHAMPAGNE E.NICOLAS BRUT 1CT X 1500ML</c:v>
                </c:pt>
                <c:pt idx="5">
                  <c:v>1/2 CHAMPAGNE NICOLAS 1ERE CUV 1CT X 375ML</c:v>
                </c:pt>
                <c:pt idx="6">
                  <c:v>1/2 CHAMP NICOLAS BLC/BLC BS 1CT X 375ML</c:v>
                </c:pt>
                <c:pt idx="7">
                  <c:v>CHAMPAGNE NICOLAS ROSE 1ERE CU 1CT X 750ML</c:v>
                </c:pt>
                <c:pt idx="8">
                  <c:v>MG CHAMPAGNE NICOLAS BLC/BL BS 1CT X 1500ML</c:v>
                </c:pt>
                <c:pt idx="9">
                  <c:v>CHAMPAGNE NICOLAS BIO NAT 2017 1CT X 750ML</c:v>
                </c:pt>
                <c:pt idx="10">
                  <c:v>MG CHAMPAGNE NICOLAS 1ERE CUVE 1CT X 1500ML</c:v>
                </c:pt>
                <c:pt idx="11">
                  <c:v>CHAMPAGNE NICOLAS 1ER CRU BS 1CT X 750ML</c:v>
                </c:pt>
                <c:pt idx="12">
                  <c:v>1/2 CHAMP NICOLAS ROSE 1E C BS 1CT X 375ML</c:v>
                </c:pt>
                <c:pt idx="13">
                  <c:v>CHAMPAGNE NICOLAS 1ER CRU ETUI 1CT X 750ML</c:v>
                </c:pt>
                <c:pt idx="14">
                  <c:v>CHAMPAGNE NICOLAS BLC DE NOIRS 1CT X 750ML</c:v>
                </c:pt>
                <c:pt idx="15">
                  <c:v>CHAMPAGNE NICOLAS ROSE 1ERE ET 1CT X 750ML</c:v>
                </c:pt>
                <c:pt idx="16">
                  <c:v>CHAMPAGNE NICOLAS 1ERE CUV ETU 1CT X 750ML</c:v>
                </c:pt>
                <c:pt idx="17">
                  <c:v>CHAMPAGNE NICOLAS ROSE 1E C BS 1CT X 750ML</c:v>
                </c:pt>
                <c:pt idx="18">
                  <c:v>MG CHAMPAGNE NICOLAS 1E CRU BS 1CT X 1500ML</c:v>
                </c:pt>
                <c:pt idx="19">
                  <c:v>CHAMPAGNE NICOLAS BLC/BL BS ET 1CT X 750ML</c:v>
                </c:pt>
                <c:pt idx="20">
                  <c:v>CHAMPAGNE NICOLAS BIO 2018 1CT X 750ML</c:v>
                </c:pt>
              </c:strCache>
            </c:strRef>
          </c:cat>
          <c:val>
            <c:numRef>
              <c:f>Sheet1!$B$2:$B$22</c:f>
              <c:numCache>
                <c:formatCode>General</c:formatCode>
                <c:ptCount val="21"/>
                <c:pt idx="0">
                  <c:v>1</c:v>
                </c:pt>
                <c:pt idx="1">
                  <c:v>0.73</c:v>
                </c:pt>
                <c:pt idx="2">
                  <c:v>0.86</c:v>
                </c:pt>
                <c:pt idx="3">
                  <c:v>0.78</c:v>
                </c:pt>
                <c:pt idx="4">
                  <c:v>0.39</c:v>
                </c:pt>
                <c:pt idx="5">
                  <c:v>0.44</c:v>
                </c:pt>
                <c:pt idx="6">
                  <c:v>0.37</c:v>
                </c:pt>
                <c:pt idx="7">
                  <c:v>0.43</c:v>
                </c:pt>
                <c:pt idx="8">
                  <c:v>0.2</c:v>
                </c:pt>
                <c:pt idx="9">
                  <c:v>0.19</c:v>
                </c:pt>
                <c:pt idx="10">
                  <c:v>0.26</c:v>
                </c:pt>
                <c:pt idx="11">
                  <c:v>0.25</c:v>
                </c:pt>
                <c:pt idx="12">
                  <c:v>0.41</c:v>
                </c:pt>
                <c:pt idx="13">
                  <c:v>0.16</c:v>
                </c:pt>
                <c:pt idx="14">
                  <c:v>0.2</c:v>
                </c:pt>
                <c:pt idx="15">
                  <c:v>0.09</c:v>
                </c:pt>
                <c:pt idx="16">
                  <c:v>0.14000000000000001</c:v>
                </c:pt>
                <c:pt idx="17">
                  <c:v>0.08</c:v>
                </c:pt>
                <c:pt idx="18">
                  <c:v>0.04</c:v>
                </c:pt>
                <c:pt idx="19">
                  <c:v>0.03</c:v>
                </c:pt>
                <c:pt idx="20">
                  <c:v>0.02</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7ECAC4"/>
              </a:solidFill>
            </c:spPr>
            <c:extLst>
              <c:ext xmlns:c16="http://schemas.microsoft.com/office/drawing/2014/chart" uri="{C3380CC4-5D6E-409C-BE32-E72D297353CC}">
                <c16:uniqueId val="{00000006-E902-46E2-9A54-39A26B3DFDC1}"/>
              </c:ext>
            </c:extLst>
          </c:dPt>
          <c:dPt>
            <c:idx val="3"/>
            <c:invertIfNegative val="0"/>
            <c:bubble3D val="0"/>
            <c:spPr>
              <a:solidFill>
                <a:srgbClr val="7ECAC4"/>
              </a:solidFill>
            </c:spPr>
            <c:extLst>
              <c:ext xmlns:c16="http://schemas.microsoft.com/office/drawing/2014/chart" uri="{C3380CC4-5D6E-409C-BE32-E72D297353CC}">
                <c16:uniqueId val="{00000007-E902-46E2-9A54-39A26B3DFDC1}"/>
              </c:ext>
            </c:extLst>
          </c:dPt>
          <c:dPt>
            <c:idx val="4"/>
            <c:invertIfNegative val="1"/>
            <c:bubble3D val="0"/>
            <c:spPr>
              <a:solidFill>
                <a:srgbClr val="7ECAC4"/>
              </a:solidFill>
            </c:spPr>
            <c:extLst>
              <c:ext xmlns:c16="http://schemas.microsoft.com/office/drawing/2014/chart" uri="{C3380CC4-5D6E-409C-BE32-E72D297353CC}">
                <c16:uniqueId val="{0000000B-FA3E-4872-B6E1-C4ABDF5766E2}"/>
              </c:ext>
            </c:extLst>
          </c:dPt>
          <c:dPt>
            <c:idx val="5"/>
            <c:invertIfNegative val="1"/>
            <c:bubble3D val="0"/>
            <c:spPr>
              <a:solidFill>
                <a:srgbClr val="7ECAC4"/>
              </a:solidFill>
            </c:spPr>
            <c:extLst>
              <c:ext xmlns:c16="http://schemas.microsoft.com/office/drawing/2014/chart" uri="{C3380CC4-5D6E-409C-BE32-E72D297353CC}">
                <c16:uniqueId val="{0000000D-FA3E-4872-B6E1-C4ABDF5766E2}"/>
              </c:ext>
            </c:extLst>
          </c:dPt>
          <c:dPt>
            <c:idx val="6"/>
            <c:invertIfNegative val="1"/>
            <c:bubble3D val="0"/>
            <c:spPr>
              <a:solidFill>
                <a:srgbClr val="7ECAC4"/>
              </a:solidFill>
            </c:spPr>
            <c:extLst>
              <c:ext xmlns:c16="http://schemas.microsoft.com/office/drawing/2014/chart" uri="{C3380CC4-5D6E-409C-BE32-E72D297353CC}">
                <c16:uniqueId val="{0000000F-FA3E-4872-B6E1-C4ABDF5766E2}"/>
              </c:ext>
            </c:extLst>
          </c:dPt>
          <c:dPt>
            <c:idx val="7"/>
            <c:invertIfNegative val="1"/>
            <c:bubble3D val="0"/>
            <c:spPr>
              <a:solidFill>
                <a:srgbClr val="7ECAC4"/>
              </a:solidFill>
            </c:spPr>
            <c:extLst>
              <c:ext xmlns:c16="http://schemas.microsoft.com/office/drawing/2014/chart" uri="{C3380CC4-5D6E-409C-BE32-E72D297353CC}">
                <c16:uniqueId val="{00000011-FA3E-4872-B6E1-C4ABDF5766E2}"/>
              </c:ext>
            </c:extLst>
          </c:dPt>
          <c:dPt>
            <c:idx val="8"/>
            <c:invertIfNegative val="1"/>
            <c:bubble3D val="0"/>
            <c:spPr>
              <a:solidFill>
                <a:srgbClr val="AEABAB"/>
              </a:solidFill>
            </c:spPr>
            <c:extLst>
              <c:ext xmlns:c16="http://schemas.microsoft.com/office/drawing/2014/chart" uri="{C3380CC4-5D6E-409C-BE32-E72D297353CC}">
                <c16:uniqueId val="{00000013-FA3E-4872-B6E1-C4ABDF5766E2}"/>
              </c:ext>
            </c:extLst>
          </c:dPt>
          <c:dPt>
            <c:idx val="9"/>
            <c:invertIfNegative val="1"/>
            <c:bubble3D val="0"/>
            <c:spPr>
              <a:solidFill>
                <a:srgbClr val="AEABAB"/>
              </a:solidFill>
            </c:spPr>
            <c:extLst>
              <c:ext xmlns:c16="http://schemas.microsoft.com/office/drawing/2014/chart" uri="{C3380CC4-5D6E-409C-BE32-E72D297353CC}">
                <c16:uniqueId val="{00000015-FA3E-4872-B6E1-C4ABDF5766E2}"/>
              </c:ext>
            </c:extLst>
          </c:dPt>
          <c:dPt>
            <c:idx val="10"/>
            <c:invertIfNegative val="1"/>
            <c:bubble3D val="0"/>
            <c:spPr>
              <a:solidFill>
                <a:srgbClr val="AEABAB"/>
              </a:solidFill>
            </c:spPr>
            <c:extLst>
              <c:ext xmlns:c16="http://schemas.microsoft.com/office/drawing/2014/chart" uri="{C3380CC4-5D6E-409C-BE32-E72D297353CC}">
                <c16:uniqueId val="{00000017-FA3E-4872-B6E1-C4ABDF5766E2}"/>
              </c:ext>
            </c:extLst>
          </c:dPt>
          <c:dPt>
            <c:idx val="11"/>
            <c:invertIfNegative val="1"/>
            <c:bubble3D val="0"/>
            <c:spPr>
              <a:solidFill>
                <a:srgbClr val="AEABAB"/>
              </a:solidFill>
            </c:spPr>
            <c:extLst>
              <c:ext xmlns:c16="http://schemas.microsoft.com/office/drawing/2014/chart" uri="{C3380CC4-5D6E-409C-BE32-E72D297353CC}">
                <c16:uniqueId val="{00000019-FA3E-4872-B6E1-C4ABDF5766E2}"/>
              </c:ext>
            </c:extLst>
          </c:dPt>
          <c:dPt>
            <c:idx val="12"/>
            <c:invertIfNegative val="1"/>
            <c:bubble3D val="0"/>
            <c:spPr>
              <a:solidFill>
                <a:srgbClr val="AEABAB"/>
              </a:solidFill>
            </c:spPr>
            <c:extLst>
              <c:ext xmlns:c16="http://schemas.microsoft.com/office/drawing/2014/chart" uri="{C3380CC4-5D6E-409C-BE32-E72D297353CC}">
                <c16:uniqueId val="{0000001B-FA3E-4872-B6E1-C4ABDF5766E2}"/>
              </c:ext>
            </c:extLst>
          </c:dPt>
          <c:dPt>
            <c:idx val="13"/>
            <c:invertIfNegative val="1"/>
            <c:bubble3D val="0"/>
            <c:spPr>
              <a:solidFill>
                <a:srgbClr val="AEABAB"/>
              </a:solidFill>
            </c:spPr>
            <c:extLst>
              <c:ext xmlns:c16="http://schemas.microsoft.com/office/drawing/2014/chart" uri="{C3380CC4-5D6E-409C-BE32-E72D297353CC}">
                <c16:uniqueId val="{0000001D-FA3E-4872-B6E1-C4ABDF5766E2}"/>
              </c:ext>
            </c:extLst>
          </c:dPt>
          <c:dPt>
            <c:idx val="14"/>
            <c:invertIfNegative val="1"/>
            <c:bubble3D val="0"/>
            <c:spPr>
              <a:solidFill>
                <a:srgbClr val="AEABAB"/>
              </a:solidFill>
            </c:spPr>
            <c:extLst>
              <c:ext xmlns:c16="http://schemas.microsoft.com/office/drawing/2014/chart" uri="{C3380CC4-5D6E-409C-BE32-E72D297353CC}">
                <c16:uniqueId val="{0000001F-FA3E-4872-B6E1-C4ABDF5766E2}"/>
              </c:ext>
            </c:extLst>
          </c:dPt>
          <c:dPt>
            <c:idx val="15"/>
            <c:invertIfNegative val="1"/>
            <c:bubble3D val="0"/>
            <c:spPr>
              <a:solidFill>
                <a:srgbClr val="AEABAB"/>
              </a:solidFill>
            </c:spPr>
            <c:extLst>
              <c:ext xmlns:c16="http://schemas.microsoft.com/office/drawing/2014/chart" uri="{C3380CC4-5D6E-409C-BE32-E72D297353CC}">
                <c16:uniqueId val="{00000021-FA3E-4872-B6E1-C4ABDF5766E2}"/>
              </c:ext>
            </c:extLst>
          </c:dPt>
          <c:dPt>
            <c:idx val="16"/>
            <c:invertIfNegative val="1"/>
            <c:bubble3D val="0"/>
            <c:spPr>
              <a:solidFill>
                <a:srgbClr val="AEABAB"/>
              </a:solidFill>
            </c:spPr>
            <c:extLst>
              <c:ext xmlns:c16="http://schemas.microsoft.com/office/drawing/2014/chart" uri="{C3380CC4-5D6E-409C-BE32-E72D297353CC}">
                <c16:uniqueId val="{00000023-FA3E-4872-B6E1-C4ABDF5766E2}"/>
              </c:ext>
            </c:extLst>
          </c:dPt>
          <c:dPt>
            <c:idx val="17"/>
            <c:invertIfNegative val="1"/>
            <c:bubble3D val="0"/>
            <c:spPr>
              <a:solidFill>
                <a:srgbClr val="AEABAB"/>
              </a:solidFill>
            </c:spPr>
            <c:extLst>
              <c:ext xmlns:c16="http://schemas.microsoft.com/office/drawing/2014/chart" uri="{C3380CC4-5D6E-409C-BE32-E72D297353CC}">
                <c16:uniqueId val="{00000025-FA3E-4872-B6E1-C4ABDF5766E2}"/>
              </c:ext>
            </c:extLst>
          </c:dPt>
          <c:dPt>
            <c:idx val="18"/>
            <c:invertIfNegative val="1"/>
            <c:bubble3D val="0"/>
            <c:spPr>
              <a:solidFill>
                <a:srgbClr val="AEABAB"/>
              </a:solidFill>
            </c:spPr>
            <c:extLst>
              <c:ext xmlns:c16="http://schemas.microsoft.com/office/drawing/2014/chart" uri="{C3380CC4-5D6E-409C-BE32-E72D297353CC}">
                <c16:uniqueId val="{00000027-FA3E-4872-B6E1-C4ABDF5766E2}"/>
              </c:ext>
            </c:extLst>
          </c:dPt>
          <c:dPt>
            <c:idx val="19"/>
            <c:invertIfNegative val="1"/>
            <c:bubble3D val="0"/>
            <c:spPr>
              <a:solidFill>
                <a:srgbClr val="AEABAB"/>
              </a:solidFill>
            </c:spPr>
            <c:extLst>
              <c:ext xmlns:c16="http://schemas.microsoft.com/office/drawing/2014/chart" uri="{C3380CC4-5D6E-409C-BE32-E72D297353CC}">
                <c16:uniqueId val="{00000029-FA3E-4872-B6E1-C4ABDF5766E2}"/>
              </c:ext>
            </c:extLst>
          </c:dPt>
          <c:dPt>
            <c:idx val="20"/>
            <c:invertIfNegative val="1"/>
            <c:bubble3D val="0"/>
            <c:spPr>
              <a:solidFill>
                <a:srgbClr val="AEABAB"/>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22</c:f>
              <c:strCache>
                <c:ptCount val="21"/>
                <c:pt idx="0">
                  <c:v>CHAMPAGNE E.NICOLAS BRUT 1CT X 750ML</c:v>
                </c:pt>
                <c:pt idx="1">
                  <c:v>CHAMPAGNE NICOLAS BLC/BLC BS 1CT X 750ML</c:v>
                </c:pt>
                <c:pt idx="2">
                  <c:v>CHAMPAGNE E.NICOLAS ROSE 1CT X 750ML</c:v>
                </c:pt>
                <c:pt idx="3">
                  <c:v>CHAMPAGNE NICOLAS 1ERE CUVEE 1CT X 750ML</c:v>
                </c:pt>
                <c:pt idx="4">
                  <c:v>MG CHAMPAGNE E.NICOLAS BRUT 1CT X 1500ML</c:v>
                </c:pt>
                <c:pt idx="5">
                  <c:v>1/2 CHAMPAGNE NICOLAS 1ERE CUV 1CT X 375ML</c:v>
                </c:pt>
                <c:pt idx="6">
                  <c:v>1/2 CHAMP NICOLAS BLC/BLC BS 1CT X 375ML</c:v>
                </c:pt>
                <c:pt idx="7">
                  <c:v>CHAMPAGNE NICOLAS ROSE 1ERE CU 1CT X 750ML</c:v>
                </c:pt>
                <c:pt idx="8">
                  <c:v>MG CHAMPAGNE NICOLAS BLC/BL BS 1CT X 1500ML</c:v>
                </c:pt>
                <c:pt idx="9">
                  <c:v>CHAMPAGNE NICOLAS BIO NAT 2017 1CT X 750ML</c:v>
                </c:pt>
                <c:pt idx="10">
                  <c:v>MG CHAMPAGNE NICOLAS 1ERE CUVE 1CT X 1500ML</c:v>
                </c:pt>
                <c:pt idx="11">
                  <c:v>CHAMPAGNE NICOLAS 1ER CRU BS 1CT X 750ML</c:v>
                </c:pt>
                <c:pt idx="12">
                  <c:v>1/2 CHAMP NICOLAS ROSE 1E C BS 1CT X 375ML</c:v>
                </c:pt>
                <c:pt idx="13">
                  <c:v>CHAMPAGNE NICOLAS 1ER CRU ETUI 1CT X 750ML</c:v>
                </c:pt>
                <c:pt idx="14">
                  <c:v>CHAMPAGNE NICOLAS BLC DE NOIRS 1CT X 750ML</c:v>
                </c:pt>
                <c:pt idx="15">
                  <c:v>CHAMPAGNE NICOLAS ROSE 1ERE ET 1CT X 750ML</c:v>
                </c:pt>
                <c:pt idx="16">
                  <c:v>CHAMPAGNE NICOLAS 1ERE CUV ETU 1CT X 750ML</c:v>
                </c:pt>
                <c:pt idx="17">
                  <c:v>CHAMPAGNE NICOLAS ROSE 1E C BS 1CT X 750ML</c:v>
                </c:pt>
                <c:pt idx="18">
                  <c:v>MG CHAMPAGNE NICOLAS 1E CRU BS 1CT X 1500ML</c:v>
                </c:pt>
                <c:pt idx="19">
                  <c:v>CHAMPAGNE NICOLAS BLC/BL BS ET 1CT X 750ML</c:v>
                </c:pt>
                <c:pt idx="20">
                  <c:v>CHAMPAGNE NICOLAS BIO 2018 1CT X 750ML</c:v>
                </c:pt>
              </c:strCache>
            </c:strRef>
          </c:cat>
          <c:val>
            <c:numRef>
              <c:f>Sheet1!$C$2:$C$22</c:f>
              <c:numCache>
                <c:formatCode>General</c:formatCode>
                <c:ptCount val="21"/>
                <c:pt idx="0">
                  <c:v>0.73222357752744494</c:v>
                </c:pt>
                <c:pt idx="1">
                  <c:v>0.79961094767724605</c:v>
                </c:pt>
                <c:pt idx="2">
                  <c:v>0.84842425836900981</c:v>
                </c:pt>
                <c:pt idx="3">
                  <c:v>0.88375945724012028</c:v>
                </c:pt>
                <c:pt idx="4">
                  <c:v>0.90758253410187117</c:v>
                </c:pt>
                <c:pt idx="5">
                  <c:v>0.92235376655266166</c:v>
                </c:pt>
                <c:pt idx="6">
                  <c:v>0.93499796704216598</c:v>
                </c:pt>
                <c:pt idx="7">
                  <c:v>0.94691030271140775</c:v>
                </c:pt>
                <c:pt idx="8">
                  <c:v>0.95746414420447579</c:v>
                </c:pt>
                <c:pt idx="9">
                  <c:v>0.9654046383328152</c:v>
                </c:pt>
                <c:pt idx="10">
                  <c:v>0.97325424728739651</c:v>
                </c:pt>
                <c:pt idx="11">
                  <c:v>0.98021573270192064</c:v>
                </c:pt>
                <c:pt idx="12">
                  <c:v>0.98711981695407114</c:v>
                </c:pt>
                <c:pt idx="13">
                  <c:v>0.99065477187024154</c:v>
                </c:pt>
                <c:pt idx="14">
                  <c:v>0.99379589103346011</c:v>
                </c:pt>
                <c:pt idx="15">
                  <c:v>0.99601061921503908</c:v>
                </c:pt>
                <c:pt idx="16">
                  <c:v>0.99769598112139546</c:v>
                </c:pt>
                <c:pt idx="17">
                  <c:v>0.99932075291191313</c:v>
                </c:pt>
                <c:pt idx="18">
                  <c:v>0.99980228488515777</c:v>
                </c:pt>
                <c:pt idx="19">
                  <c:v>0.99992665407030046</c:v>
                </c:pt>
                <c:pt idx="20">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22</c:f>
              <c:strCache>
                <c:ptCount val="21"/>
                <c:pt idx="0">
                  <c:v>CHAMPAGNE E.NICOLAS BRUT 1CT X 750ML</c:v>
                </c:pt>
                <c:pt idx="1">
                  <c:v>CHAMPAGNE NICOLAS BLC/BLC BS 1CT X 750ML</c:v>
                </c:pt>
                <c:pt idx="2">
                  <c:v>CHAMPAGNE E.NICOLAS ROSE 1CT X 750ML</c:v>
                </c:pt>
                <c:pt idx="3">
                  <c:v>CHAMPAGNE NICOLAS 1ERE CUVEE 1CT X 750ML</c:v>
                </c:pt>
                <c:pt idx="4">
                  <c:v>MG CHAMPAGNE E.NICOLAS BRUT 1CT X 1500ML</c:v>
                </c:pt>
                <c:pt idx="5">
                  <c:v>1/2 CHAMPAGNE NICOLAS 1ERE CUV 1CT X 375ML</c:v>
                </c:pt>
                <c:pt idx="6">
                  <c:v>1/2 CHAMP NICOLAS BLC/BLC BS 1CT X 375ML</c:v>
                </c:pt>
                <c:pt idx="7">
                  <c:v>CHAMPAGNE NICOLAS ROSE 1ERE CU 1CT X 750ML</c:v>
                </c:pt>
                <c:pt idx="8">
                  <c:v>MG CHAMPAGNE NICOLAS BLC/BL BS 1CT X 1500ML</c:v>
                </c:pt>
                <c:pt idx="9">
                  <c:v>CHAMPAGNE NICOLAS BIO NAT 2017 1CT X 750ML</c:v>
                </c:pt>
                <c:pt idx="10">
                  <c:v>MG CHAMPAGNE NICOLAS 1ERE CUVE 1CT X 1500ML</c:v>
                </c:pt>
                <c:pt idx="11">
                  <c:v>CHAMPAGNE NICOLAS 1ER CRU BS 1CT X 750ML</c:v>
                </c:pt>
                <c:pt idx="12">
                  <c:v>1/2 CHAMP NICOLAS ROSE 1E C BS 1CT X 375ML</c:v>
                </c:pt>
                <c:pt idx="13">
                  <c:v>CHAMPAGNE NICOLAS 1ER CRU ETUI 1CT X 750ML</c:v>
                </c:pt>
                <c:pt idx="14">
                  <c:v>CHAMPAGNE NICOLAS BLC DE NOIRS 1CT X 750ML</c:v>
                </c:pt>
                <c:pt idx="15">
                  <c:v>CHAMPAGNE NICOLAS ROSE 1ERE ET 1CT X 750ML</c:v>
                </c:pt>
                <c:pt idx="16">
                  <c:v>CHAMPAGNE NICOLAS 1ERE CUV ETU 1CT X 750ML</c:v>
                </c:pt>
                <c:pt idx="17">
                  <c:v>CHAMPAGNE NICOLAS ROSE 1E C BS 1CT X 750ML</c:v>
                </c:pt>
                <c:pt idx="18">
                  <c:v>MG CHAMPAGNE NICOLAS 1E CRU BS 1CT X 1500ML</c:v>
                </c:pt>
                <c:pt idx="19">
                  <c:v>CHAMPAGNE NICOLAS BLC/BL BS ET 1CT X 750ML</c:v>
                </c:pt>
                <c:pt idx="20">
                  <c:v>CHAMPAGNE NICOLAS BIO 2018 1CT X 750ML</c:v>
                </c:pt>
              </c:strCache>
            </c:strRef>
          </c:cat>
          <c:val>
            <c:numRef>
              <c:f>Sheet1!$D$2:$D$22</c:f>
              <c:numCache>
                <c:formatCode>General</c:formatCode>
                <c:ptCount val="21"/>
                <c:pt idx="0">
                  <c:v>4592.25</c:v>
                </c:pt>
                <c:pt idx="1">
                  <c:v>578.94520547945206</c:v>
                </c:pt>
                <c:pt idx="2">
                  <c:v>355.97674418604652</c:v>
                </c:pt>
                <c:pt idx="3">
                  <c:v>284.11538461538464</c:v>
                </c:pt>
                <c:pt idx="4">
                  <c:v>383.10256410256409</c:v>
                </c:pt>
                <c:pt idx="5">
                  <c:v>210.54545454545453</c:v>
                </c:pt>
                <c:pt idx="6">
                  <c:v>214.32432432432432</c:v>
                </c:pt>
                <c:pt idx="7">
                  <c:v>173.74418604651163</c:v>
                </c:pt>
                <c:pt idx="8">
                  <c:v>330.95</c:v>
                </c:pt>
                <c:pt idx="9">
                  <c:v>262.10526315789474</c:v>
                </c:pt>
                <c:pt idx="10">
                  <c:v>189.34615384615384</c:v>
                </c:pt>
                <c:pt idx="11">
                  <c:v>174.64</c:v>
                </c:pt>
                <c:pt idx="12">
                  <c:v>105.60975609756098</c:v>
                </c:pt>
                <c:pt idx="13">
                  <c:v>138.5625</c:v>
                </c:pt>
                <c:pt idx="14">
                  <c:v>98.5</c:v>
                </c:pt>
                <c:pt idx="15">
                  <c:v>154.33333333333334</c:v>
                </c:pt>
                <c:pt idx="16">
                  <c:v>75.499999999999986</c:v>
                </c:pt>
                <c:pt idx="17">
                  <c:v>127.375</c:v>
                </c:pt>
                <c:pt idx="18">
                  <c:v>75.5</c:v>
                </c:pt>
                <c:pt idx="19">
                  <c:v>26</c:v>
                </c:pt>
                <c:pt idx="20">
                  <c:v>23</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22</c:f>
              <c:strCache>
                <c:ptCount val="21"/>
                <c:pt idx="0">
                  <c:v>CHAMPAGNE E.NICOLAS BRUT 1CT X 750ML</c:v>
                </c:pt>
                <c:pt idx="1">
                  <c:v>CHAMPAGNE E.NICOLAS ROSE 1CT X 750ML</c:v>
                </c:pt>
                <c:pt idx="2">
                  <c:v>CHAMPAGNE NICOLAS BLC/BLC BS 1CT X 750ML</c:v>
                </c:pt>
                <c:pt idx="3">
                  <c:v>CHAMPAGNE NICOLAS 1ERE CUVEE 1CT X 750ML</c:v>
                </c:pt>
                <c:pt idx="4">
                  <c:v>MG CHAMPAGNE E.NICOLAS BRUT 1CT X 1500ML</c:v>
                </c:pt>
                <c:pt idx="5">
                  <c:v>1/2 CHAMPAGNE NICOLAS 1ERE CUV 1CT X 375ML</c:v>
                </c:pt>
                <c:pt idx="6">
                  <c:v>MG CHAMPAGNE NICOLAS BLC/BL BS 1CT X 1500ML</c:v>
                </c:pt>
                <c:pt idx="7">
                  <c:v>CHAMPAGNE NICOLAS ROSE 1ERE CU 1CT X 750ML</c:v>
                </c:pt>
                <c:pt idx="8">
                  <c:v>CHAMPAGNE NICOLAS BIO NAT 2017 1CT X 750ML</c:v>
                </c:pt>
                <c:pt idx="9">
                  <c:v>1/2 CHAMP NICOLAS ROSE 1E C BS 1CT X 375ML</c:v>
                </c:pt>
                <c:pt idx="10">
                  <c:v>1/2 CHAMP NICOLAS BLC/BLC BS 1CT X 375ML</c:v>
                </c:pt>
                <c:pt idx="11">
                  <c:v>CHAMPAGNE NICOLAS BLC DE NOIRS 1CT X 750ML</c:v>
                </c:pt>
                <c:pt idx="12">
                  <c:v>MG CHAMPAGNE NICOLAS 1ERE CUVE 1CT X 1500ML</c:v>
                </c:pt>
                <c:pt idx="13">
                  <c:v>CHAMPAGNE NICOLAS 1ER CRU BS 1CT X 750ML</c:v>
                </c:pt>
                <c:pt idx="14">
                  <c:v>CHAMPAGNE NICOLAS 1ER CRU ETUI 1CT X 750ML</c:v>
                </c:pt>
                <c:pt idx="15">
                  <c:v>CHAMPAGNE NICOLAS ROSE 1ERE ET 1CT X 750ML</c:v>
                </c:pt>
                <c:pt idx="16">
                  <c:v>CHAMPAGNE NICOLAS ROSE 1E C BS 1CT X 750ML</c:v>
                </c:pt>
                <c:pt idx="17">
                  <c:v>CHAMPAGNE NICOLAS 1ERE CUV ETU 1CT X 750ML</c:v>
                </c:pt>
                <c:pt idx="18">
                  <c:v>CHAMPAGNE NICOLAS BLC/BL BS ET 1CT X 750ML</c:v>
                </c:pt>
                <c:pt idx="19">
                  <c:v>MG CHAMPAGNE NICOLAS 1E CRU BS 1CT X 1500ML</c:v>
                </c:pt>
                <c:pt idx="20">
                  <c:v>1/2 CHAMPAGNE NICOLAS 1E C BS 1CT X 375ML</c:v>
                </c:pt>
              </c:strCache>
            </c:strRef>
          </c:cat>
          <c:val>
            <c:numRef>
              <c:f>Sheet1!$B$2:$B$22</c:f>
              <c:numCache>
                <c:formatCode>General</c:formatCode>
                <c:ptCount val="21"/>
                <c:pt idx="0">
                  <c:v>1</c:v>
                </c:pt>
                <c:pt idx="1">
                  <c:v>0.72</c:v>
                </c:pt>
                <c:pt idx="2">
                  <c:v>0.63</c:v>
                </c:pt>
                <c:pt idx="3">
                  <c:v>0.72</c:v>
                </c:pt>
                <c:pt idx="4">
                  <c:v>0.4</c:v>
                </c:pt>
                <c:pt idx="5">
                  <c:v>0.56000000000000005</c:v>
                </c:pt>
                <c:pt idx="6">
                  <c:v>0.27</c:v>
                </c:pt>
                <c:pt idx="7">
                  <c:v>0.5</c:v>
                </c:pt>
                <c:pt idx="8">
                  <c:v>0.26</c:v>
                </c:pt>
                <c:pt idx="9">
                  <c:v>0.47</c:v>
                </c:pt>
                <c:pt idx="10">
                  <c:v>0.33</c:v>
                </c:pt>
                <c:pt idx="11">
                  <c:v>0.33</c:v>
                </c:pt>
                <c:pt idx="12">
                  <c:v>0.14000000000000001</c:v>
                </c:pt>
                <c:pt idx="13">
                  <c:v>0.33</c:v>
                </c:pt>
                <c:pt idx="14">
                  <c:v>0.22</c:v>
                </c:pt>
                <c:pt idx="15">
                  <c:v>0.12</c:v>
                </c:pt>
                <c:pt idx="16">
                  <c:v>0.13</c:v>
                </c:pt>
                <c:pt idx="17">
                  <c:v>0.09</c:v>
                </c:pt>
                <c:pt idx="18">
                  <c:v>0.05</c:v>
                </c:pt>
                <c:pt idx="19">
                  <c:v>0.06</c:v>
                </c:pt>
                <c:pt idx="20">
                  <c:v>0.01</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7ECAC4"/>
              </a:solidFill>
            </c:spPr>
            <c:extLst>
              <c:ext xmlns:c16="http://schemas.microsoft.com/office/drawing/2014/chart" uri="{C3380CC4-5D6E-409C-BE32-E72D297353CC}">
                <c16:uniqueId val="{00000007-E902-46E2-9A54-39A26B3DFDC1}"/>
              </c:ext>
            </c:extLst>
          </c:dPt>
          <c:dPt>
            <c:idx val="4"/>
            <c:invertIfNegative val="1"/>
            <c:bubble3D val="0"/>
            <c:spPr>
              <a:solidFill>
                <a:srgbClr val="7ECAC4"/>
              </a:solidFill>
            </c:spPr>
            <c:extLst>
              <c:ext xmlns:c16="http://schemas.microsoft.com/office/drawing/2014/chart" uri="{C3380CC4-5D6E-409C-BE32-E72D297353CC}">
                <c16:uniqueId val="{0000000B-FA3E-4872-B6E1-C4ABDF5766E2}"/>
              </c:ext>
            </c:extLst>
          </c:dPt>
          <c:dPt>
            <c:idx val="5"/>
            <c:invertIfNegative val="1"/>
            <c:bubble3D val="0"/>
            <c:spPr>
              <a:solidFill>
                <a:srgbClr val="7ECAC4"/>
              </a:solidFill>
            </c:spPr>
            <c:extLst>
              <c:ext xmlns:c16="http://schemas.microsoft.com/office/drawing/2014/chart" uri="{C3380CC4-5D6E-409C-BE32-E72D297353CC}">
                <c16:uniqueId val="{0000000D-FA3E-4872-B6E1-C4ABDF5766E2}"/>
              </c:ext>
            </c:extLst>
          </c:dPt>
          <c:dPt>
            <c:idx val="6"/>
            <c:invertIfNegative val="1"/>
            <c:bubble3D val="0"/>
            <c:spPr>
              <a:solidFill>
                <a:srgbClr val="7ECAC4"/>
              </a:solidFill>
            </c:spPr>
            <c:extLst>
              <c:ext xmlns:c16="http://schemas.microsoft.com/office/drawing/2014/chart" uri="{C3380CC4-5D6E-409C-BE32-E72D297353CC}">
                <c16:uniqueId val="{0000000F-FA3E-4872-B6E1-C4ABDF5766E2}"/>
              </c:ext>
            </c:extLst>
          </c:dPt>
          <c:dPt>
            <c:idx val="7"/>
            <c:invertIfNegative val="1"/>
            <c:bubble3D val="0"/>
            <c:spPr>
              <a:solidFill>
                <a:srgbClr val="7ECAC4"/>
              </a:solidFill>
            </c:spPr>
            <c:extLst>
              <c:ext xmlns:c16="http://schemas.microsoft.com/office/drawing/2014/chart" uri="{C3380CC4-5D6E-409C-BE32-E72D297353CC}">
                <c16:uniqueId val="{00000011-FA3E-4872-B6E1-C4ABDF5766E2}"/>
              </c:ext>
            </c:extLst>
          </c:dPt>
          <c:dPt>
            <c:idx val="8"/>
            <c:invertIfNegative val="1"/>
            <c:bubble3D val="0"/>
            <c:spPr>
              <a:solidFill>
                <a:srgbClr val="7ECAC4"/>
              </a:solidFill>
            </c:spPr>
            <c:extLst>
              <c:ext xmlns:c16="http://schemas.microsoft.com/office/drawing/2014/chart" uri="{C3380CC4-5D6E-409C-BE32-E72D297353CC}">
                <c16:uniqueId val="{00000013-FA3E-4872-B6E1-C4ABDF5766E2}"/>
              </c:ext>
            </c:extLst>
          </c:dPt>
          <c:dPt>
            <c:idx val="9"/>
            <c:invertIfNegative val="1"/>
            <c:bubble3D val="0"/>
            <c:spPr>
              <a:solidFill>
                <a:srgbClr val="7ECAC4"/>
              </a:solidFill>
            </c:spPr>
            <c:extLst>
              <c:ext xmlns:c16="http://schemas.microsoft.com/office/drawing/2014/chart" uri="{C3380CC4-5D6E-409C-BE32-E72D297353CC}">
                <c16:uniqueId val="{00000015-FA3E-4872-B6E1-C4ABDF5766E2}"/>
              </c:ext>
            </c:extLst>
          </c:dPt>
          <c:dPt>
            <c:idx val="10"/>
            <c:invertIfNegative val="1"/>
            <c:bubble3D val="0"/>
            <c:spPr>
              <a:solidFill>
                <a:srgbClr val="AEABAB"/>
              </a:solidFill>
            </c:spPr>
            <c:extLst>
              <c:ext xmlns:c16="http://schemas.microsoft.com/office/drawing/2014/chart" uri="{C3380CC4-5D6E-409C-BE32-E72D297353CC}">
                <c16:uniqueId val="{00000017-FA3E-4872-B6E1-C4ABDF5766E2}"/>
              </c:ext>
            </c:extLst>
          </c:dPt>
          <c:dPt>
            <c:idx val="11"/>
            <c:invertIfNegative val="1"/>
            <c:bubble3D val="0"/>
            <c:spPr>
              <a:solidFill>
                <a:srgbClr val="AEABAB"/>
              </a:solidFill>
            </c:spPr>
            <c:extLst>
              <c:ext xmlns:c16="http://schemas.microsoft.com/office/drawing/2014/chart" uri="{C3380CC4-5D6E-409C-BE32-E72D297353CC}">
                <c16:uniqueId val="{00000019-FA3E-4872-B6E1-C4ABDF5766E2}"/>
              </c:ext>
            </c:extLst>
          </c:dPt>
          <c:dPt>
            <c:idx val="12"/>
            <c:invertIfNegative val="1"/>
            <c:bubble3D val="0"/>
            <c:spPr>
              <a:solidFill>
                <a:srgbClr val="AEABAB"/>
              </a:solidFill>
            </c:spPr>
            <c:extLst>
              <c:ext xmlns:c16="http://schemas.microsoft.com/office/drawing/2014/chart" uri="{C3380CC4-5D6E-409C-BE32-E72D297353CC}">
                <c16:uniqueId val="{0000001B-FA3E-4872-B6E1-C4ABDF5766E2}"/>
              </c:ext>
            </c:extLst>
          </c:dPt>
          <c:dPt>
            <c:idx val="13"/>
            <c:invertIfNegative val="1"/>
            <c:bubble3D val="0"/>
            <c:spPr>
              <a:solidFill>
                <a:srgbClr val="AEABAB"/>
              </a:solidFill>
            </c:spPr>
            <c:extLst>
              <c:ext xmlns:c16="http://schemas.microsoft.com/office/drawing/2014/chart" uri="{C3380CC4-5D6E-409C-BE32-E72D297353CC}">
                <c16:uniqueId val="{0000001D-FA3E-4872-B6E1-C4ABDF5766E2}"/>
              </c:ext>
            </c:extLst>
          </c:dPt>
          <c:dPt>
            <c:idx val="14"/>
            <c:invertIfNegative val="1"/>
            <c:bubble3D val="0"/>
            <c:spPr>
              <a:solidFill>
                <a:srgbClr val="AEABAB"/>
              </a:solidFill>
            </c:spPr>
            <c:extLst>
              <c:ext xmlns:c16="http://schemas.microsoft.com/office/drawing/2014/chart" uri="{C3380CC4-5D6E-409C-BE32-E72D297353CC}">
                <c16:uniqueId val="{0000001F-FA3E-4872-B6E1-C4ABDF5766E2}"/>
              </c:ext>
            </c:extLst>
          </c:dPt>
          <c:dPt>
            <c:idx val="15"/>
            <c:invertIfNegative val="1"/>
            <c:bubble3D val="0"/>
            <c:spPr>
              <a:solidFill>
                <a:srgbClr val="AEABAB"/>
              </a:solidFill>
            </c:spPr>
            <c:extLst>
              <c:ext xmlns:c16="http://schemas.microsoft.com/office/drawing/2014/chart" uri="{C3380CC4-5D6E-409C-BE32-E72D297353CC}">
                <c16:uniqueId val="{00000021-FA3E-4872-B6E1-C4ABDF5766E2}"/>
              </c:ext>
            </c:extLst>
          </c:dPt>
          <c:dPt>
            <c:idx val="16"/>
            <c:invertIfNegative val="1"/>
            <c:bubble3D val="0"/>
            <c:spPr>
              <a:solidFill>
                <a:srgbClr val="AEABAB"/>
              </a:solidFill>
            </c:spPr>
            <c:extLst>
              <c:ext xmlns:c16="http://schemas.microsoft.com/office/drawing/2014/chart" uri="{C3380CC4-5D6E-409C-BE32-E72D297353CC}">
                <c16:uniqueId val="{00000023-FA3E-4872-B6E1-C4ABDF5766E2}"/>
              </c:ext>
            </c:extLst>
          </c:dPt>
          <c:dPt>
            <c:idx val="17"/>
            <c:invertIfNegative val="1"/>
            <c:bubble3D val="0"/>
            <c:spPr>
              <a:solidFill>
                <a:srgbClr val="AEABAB"/>
              </a:solidFill>
            </c:spPr>
            <c:extLst>
              <c:ext xmlns:c16="http://schemas.microsoft.com/office/drawing/2014/chart" uri="{C3380CC4-5D6E-409C-BE32-E72D297353CC}">
                <c16:uniqueId val="{00000025-FA3E-4872-B6E1-C4ABDF5766E2}"/>
              </c:ext>
            </c:extLst>
          </c:dPt>
          <c:dPt>
            <c:idx val="18"/>
            <c:invertIfNegative val="1"/>
            <c:bubble3D val="0"/>
            <c:spPr>
              <a:solidFill>
                <a:srgbClr val="AEABAB"/>
              </a:solidFill>
            </c:spPr>
            <c:extLst>
              <c:ext xmlns:c16="http://schemas.microsoft.com/office/drawing/2014/chart" uri="{C3380CC4-5D6E-409C-BE32-E72D297353CC}">
                <c16:uniqueId val="{00000027-FA3E-4872-B6E1-C4ABDF5766E2}"/>
              </c:ext>
            </c:extLst>
          </c:dPt>
          <c:dPt>
            <c:idx val="19"/>
            <c:invertIfNegative val="1"/>
            <c:bubble3D val="0"/>
            <c:spPr>
              <a:solidFill>
                <a:srgbClr val="AEABAB"/>
              </a:solidFill>
            </c:spPr>
            <c:extLst>
              <c:ext xmlns:c16="http://schemas.microsoft.com/office/drawing/2014/chart" uri="{C3380CC4-5D6E-409C-BE32-E72D297353CC}">
                <c16:uniqueId val="{00000029-FA3E-4872-B6E1-C4ABDF5766E2}"/>
              </c:ext>
            </c:extLst>
          </c:dPt>
          <c:dPt>
            <c:idx val="20"/>
            <c:invertIfNegative val="1"/>
            <c:bubble3D val="0"/>
            <c:spPr>
              <a:solidFill>
                <a:srgbClr val="AEABAB"/>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22</c:f>
              <c:strCache>
                <c:ptCount val="21"/>
                <c:pt idx="0">
                  <c:v>CHAMPAGNE E.NICOLAS BRUT 1CT X 750ML</c:v>
                </c:pt>
                <c:pt idx="1">
                  <c:v>CHAMPAGNE E.NICOLAS ROSE 1CT X 750ML</c:v>
                </c:pt>
                <c:pt idx="2">
                  <c:v>CHAMPAGNE NICOLAS BLC/BLC BS 1CT X 750ML</c:v>
                </c:pt>
                <c:pt idx="3">
                  <c:v>CHAMPAGNE NICOLAS 1ERE CUVEE 1CT X 750ML</c:v>
                </c:pt>
                <c:pt idx="4">
                  <c:v>MG CHAMPAGNE E.NICOLAS BRUT 1CT X 1500ML</c:v>
                </c:pt>
                <c:pt idx="5">
                  <c:v>1/2 CHAMPAGNE NICOLAS 1ERE CUV 1CT X 375ML</c:v>
                </c:pt>
                <c:pt idx="6">
                  <c:v>MG CHAMPAGNE NICOLAS BLC/BL BS 1CT X 1500ML</c:v>
                </c:pt>
                <c:pt idx="7">
                  <c:v>CHAMPAGNE NICOLAS ROSE 1ERE CU 1CT X 750ML</c:v>
                </c:pt>
                <c:pt idx="8">
                  <c:v>CHAMPAGNE NICOLAS BIO NAT 2017 1CT X 750ML</c:v>
                </c:pt>
                <c:pt idx="9">
                  <c:v>1/2 CHAMP NICOLAS ROSE 1E C BS 1CT X 375ML</c:v>
                </c:pt>
                <c:pt idx="10">
                  <c:v>1/2 CHAMP NICOLAS BLC/BLC BS 1CT X 375ML</c:v>
                </c:pt>
                <c:pt idx="11">
                  <c:v>CHAMPAGNE NICOLAS BLC DE NOIRS 1CT X 750ML</c:v>
                </c:pt>
                <c:pt idx="12">
                  <c:v>MG CHAMPAGNE NICOLAS 1ERE CUVE 1CT X 1500ML</c:v>
                </c:pt>
                <c:pt idx="13">
                  <c:v>CHAMPAGNE NICOLAS 1ER CRU BS 1CT X 750ML</c:v>
                </c:pt>
                <c:pt idx="14">
                  <c:v>CHAMPAGNE NICOLAS 1ER CRU ETUI 1CT X 750ML</c:v>
                </c:pt>
                <c:pt idx="15">
                  <c:v>CHAMPAGNE NICOLAS ROSE 1ERE ET 1CT X 750ML</c:v>
                </c:pt>
                <c:pt idx="16">
                  <c:v>CHAMPAGNE NICOLAS ROSE 1E C BS 1CT X 750ML</c:v>
                </c:pt>
                <c:pt idx="17">
                  <c:v>CHAMPAGNE NICOLAS 1ERE CUV ETU 1CT X 750ML</c:v>
                </c:pt>
                <c:pt idx="18">
                  <c:v>CHAMPAGNE NICOLAS BLC/BL BS ET 1CT X 750ML</c:v>
                </c:pt>
                <c:pt idx="19">
                  <c:v>MG CHAMPAGNE NICOLAS 1E CRU BS 1CT X 1500ML</c:v>
                </c:pt>
                <c:pt idx="20">
                  <c:v>1/2 CHAMPAGNE NICOLAS 1E C BS 1CT X 375ML</c:v>
                </c:pt>
              </c:strCache>
            </c:strRef>
          </c:cat>
          <c:val>
            <c:numRef>
              <c:f>Sheet1!$C$2:$C$22</c:f>
              <c:numCache>
                <c:formatCode>General</c:formatCode>
                <c:ptCount val="21"/>
                <c:pt idx="0">
                  <c:v>0.64727987449735835</c:v>
                </c:pt>
                <c:pt idx="1">
                  <c:v>0.70919090466487555</c:v>
                </c:pt>
                <c:pt idx="2">
                  <c:v>0.76955118380006138</c:v>
                </c:pt>
                <c:pt idx="3">
                  <c:v>0.8269686423715672</c:v>
                </c:pt>
                <c:pt idx="4">
                  <c:v>0.86152153921055952</c:v>
                </c:pt>
                <c:pt idx="5">
                  <c:v>0.8828533818994897</c:v>
                </c:pt>
                <c:pt idx="6">
                  <c:v>0.90052112447481836</c:v>
                </c:pt>
                <c:pt idx="7">
                  <c:v>0.91597814522963739</c:v>
                </c:pt>
                <c:pt idx="8">
                  <c:v>0.92845988784102995</c:v>
                </c:pt>
                <c:pt idx="9">
                  <c:v>0.93965414645581258</c:v>
                </c:pt>
                <c:pt idx="10">
                  <c:v>0.95072578754710857</c:v>
                </c:pt>
                <c:pt idx="11">
                  <c:v>0.96175054546765959</c:v>
                </c:pt>
                <c:pt idx="12">
                  <c:v>0.97269596263771929</c:v>
                </c:pt>
                <c:pt idx="13">
                  <c:v>0.98245848134590763</c:v>
                </c:pt>
                <c:pt idx="14">
                  <c:v>0.98733793750112697</c:v>
                </c:pt>
                <c:pt idx="15">
                  <c:v>0.9911715383089601</c:v>
                </c:pt>
                <c:pt idx="16">
                  <c:v>0.99437041311286223</c:v>
                </c:pt>
                <c:pt idx="17">
                  <c:v>0.99715094577780983</c:v>
                </c:pt>
                <c:pt idx="18">
                  <c:v>0.99855022810465766</c:v>
                </c:pt>
                <c:pt idx="19">
                  <c:v>0.99992065924950857</c:v>
                </c:pt>
                <c:pt idx="20">
                  <c:v>0.99999999999999989</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22</c:f>
              <c:strCache>
                <c:ptCount val="21"/>
                <c:pt idx="0">
                  <c:v>CHAMPAGNE E.NICOLAS BRUT 1CT X 750ML</c:v>
                </c:pt>
                <c:pt idx="1">
                  <c:v>CHAMPAGNE E.NICOLAS ROSE 1CT X 750ML</c:v>
                </c:pt>
                <c:pt idx="2">
                  <c:v>CHAMPAGNE NICOLAS BLC/BLC BS 1CT X 750ML</c:v>
                </c:pt>
                <c:pt idx="3">
                  <c:v>CHAMPAGNE NICOLAS 1ERE CUVEE 1CT X 750ML</c:v>
                </c:pt>
                <c:pt idx="4">
                  <c:v>MG CHAMPAGNE E.NICOLAS BRUT 1CT X 1500ML</c:v>
                </c:pt>
                <c:pt idx="5">
                  <c:v>1/2 CHAMPAGNE NICOLAS 1ERE CUV 1CT X 375ML</c:v>
                </c:pt>
                <c:pt idx="6">
                  <c:v>MG CHAMPAGNE NICOLAS BLC/BL BS 1CT X 1500ML</c:v>
                </c:pt>
                <c:pt idx="7">
                  <c:v>CHAMPAGNE NICOLAS ROSE 1ERE CU 1CT X 750ML</c:v>
                </c:pt>
                <c:pt idx="8">
                  <c:v>CHAMPAGNE NICOLAS BIO NAT 2017 1CT X 750ML</c:v>
                </c:pt>
                <c:pt idx="9">
                  <c:v>1/2 CHAMP NICOLAS ROSE 1E C BS 1CT X 375ML</c:v>
                </c:pt>
                <c:pt idx="10">
                  <c:v>1/2 CHAMP NICOLAS BLC/BLC BS 1CT X 375ML</c:v>
                </c:pt>
                <c:pt idx="11">
                  <c:v>CHAMPAGNE NICOLAS BLC DE NOIRS 1CT X 750ML</c:v>
                </c:pt>
                <c:pt idx="12">
                  <c:v>MG CHAMPAGNE NICOLAS 1ERE CUVE 1CT X 1500ML</c:v>
                </c:pt>
                <c:pt idx="13">
                  <c:v>CHAMPAGNE NICOLAS 1ER CRU BS 1CT X 750ML</c:v>
                </c:pt>
                <c:pt idx="14">
                  <c:v>CHAMPAGNE NICOLAS 1ER CRU ETUI 1CT X 750ML</c:v>
                </c:pt>
                <c:pt idx="15">
                  <c:v>CHAMPAGNE NICOLAS ROSE 1ERE ET 1CT X 750ML</c:v>
                </c:pt>
                <c:pt idx="16">
                  <c:v>CHAMPAGNE NICOLAS ROSE 1E C BS 1CT X 750ML</c:v>
                </c:pt>
                <c:pt idx="17">
                  <c:v>CHAMPAGNE NICOLAS 1ERE CUV ETU 1CT X 750ML</c:v>
                </c:pt>
                <c:pt idx="18">
                  <c:v>CHAMPAGNE NICOLAS BLC/BL BS ET 1CT X 750ML</c:v>
                </c:pt>
                <c:pt idx="19">
                  <c:v>MG CHAMPAGNE NICOLAS 1E CRU BS 1CT X 1500ML</c:v>
                </c:pt>
                <c:pt idx="20">
                  <c:v>1/2 CHAMPAGNE NICOLAS 1E C BS 1CT X 375ML</c:v>
                </c:pt>
              </c:strCache>
            </c:strRef>
          </c:cat>
          <c:val>
            <c:numRef>
              <c:f>Sheet1!$D$2:$D$22</c:f>
              <c:numCache>
                <c:formatCode>General</c:formatCode>
                <c:ptCount val="21"/>
                <c:pt idx="0">
                  <c:v>1794.81</c:v>
                </c:pt>
                <c:pt idx="1">
                  <c:v>238.43055555555554</c:v>
                </c:pt>
                <c:pt idx="2">
                  <c:v>265.66666666666669</c:v>
                </c:pt>
                <c:pt idx="3">
                  <c:v>221.125</c:v>
                </c:pt>
                <c:pt idx="4">
                  <c:v>239.52500000000001</c:v>
                </c:pt>
                <c:pt idx="5">
                  <c:v>105.62499999999999</c:v>
                </c:pt>
                <c:pt idx="6">
                  <c:v>181.44444444444446</c:v>
                </c:pt>
                <c:pt idx="7">
                  <c:v>85.72</c:v>
                </c:pt>
                <c:pt idx="8">
                  <c:v>133.11538461538461</c:v>
                </c:pt>
                <c:pt idx="9">
                  <c:v>66.042553191489361</c:v>
                </c:pt>
                <c:pt idx="10">
                  <c:v>93.030303030303031</c:v>
                </c:pt>
                <c:pt idx="11">
                  <c:v>92.63636363636364</c:v>
                </c:pt>
                <c:pt idx="12">
                  <c:v>216.78571428571425</c:v>
                </c:pt>
                <c:pt idx="13">
                  <c:v>82.030303030303031</c:v>
                </c:pt>
                <c:pt idx="14">
                  <c:v>61.5</c:v>
                </c:pt>
                <c:pt idx="15">
                  <c:v>88.583333333333329</c:v>
                </c:pt>
                <c:pt idx="16">
                  <c:v>68.230769230769226</c:v>
                </c:pt>
                <c:pt idx="17">
                  <c:v>85.666666666666671</c:v>
                </c:pt>
                <c:pt idx="18">
                  <c:v>77.599999999999994</c:v>
                </c:pt>
                <c:pt idx="19">
                  <c:v>63.333333333333336</c:v>
                </c:pt>
                <c:pt idx="20">
                  <c:v>22</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22</c:f>
              <c:strCache>
                <c:ptCount val="21"/>
                <c:pt idx="0">
                  <c:v>CHAMPAGNE E.NICOLAS BRUT 1CT X 750ML</c:v>
                </c:pt>
                <c:pt idx="1">
                  <c:v>CHAMPAGNE E.NICOLAS ROSE 1CT X 750ML</c:v>
                </c:pt>
                <c:pt idx="2">
                  <c:v>CHAMPAGNE NICOLAS 1ERE CUVEE 1CT X 750ML</c:v>
                </c:pt>
                <c:pt idx="3">
                  <c:v>CHAMPAGNE NICOLAS BLC/BLC BS 1CT X 750ML</c:v>
                </c:pt>
                <c:pt idx="4">
                  <c:v>1/2 CHAMPAGNE NICOLAS 1ERE CUV 1CT X 375ML</c:v>
                </c:pt>
                <c:pt idx="5">
                  <c:v>MG CHAMPAGNE E.NICOLAS BRUT 1CT X 1500ML</c:v>
                </c:pt>
                <c:pt idx="6">
                  <c:v>CHAMPAGNE NICOLAS ROSE 1ERE CU 1CT X 750ML</c:v>
                </c:pt>
                <c:pt idx="7">
                  <c:v>CHAMPAGNE NICOLAS 1ER CRU BS 1CT X 750ML</c:v>
                </c:pt>
                <c:pt idx="8">
                  <c:v>CHAMPAGNE NICOLAS BIO NAT 2017 1CT X 750ML</c:v>
                </c:pt>
                <c:pt idx="9">
                  <c:v>MG CHAMPAGNE NICOLAS BLC/BL BS 1CT X 1500ML</c:v>
                </c:pt>
                <c:pt idx="10">
                  <c:v>MG CHAMPAGNE NICOLAS 1ERE CUVE 1CT X 1500ML</c:v>
                </c:pt>
                <c:pt idx="11">
                  <c:v>1/2 CHAMP NICOLAS BLC/BLC BS 1CT X 375ML</c:v>
                </c:pt>
                <c:pt idx="12">
                  <c:v>1/2 CHAMP NICOLAS ROSE 1E C BS 1CT X 375ML</c:v>
                </c:pt>
                <c:pt idx="13">
                  <c:v>CHAMPAGNE NICOLAS ROSE 1E C BS 1CT X 750ML</c:v>
                </c:pt>
                <c:pt idx="14">
                  <c:v>MG CHAMPAGNE NICOLAS 1E CRU BS 1CT X 1500ML</c:v>
                </c:pt>
                <c:pt idx="15">
                  <c:v>CHAMPAGNE NICOLAS 1ER CRU ETUI 1CT X 750ML</c:v>
                </c:pt>
                <c:pt idx="16">
                  <c:v>CHAMPAGNE NICOLAS BLC DE NOIRS 1CT X 750ML</c:v>
                </c:pt>
                <c:pt idx="17">
                  <c:v>CHAMPAGNE NICOLAS 1ERE CUV ETU 1CT X 750ML</c:v>
                </c:pt>
                <c:pt idx="18">
                  <c:v>CHAMPAGNE NICOLAS ROSE 1ERE ET 1CT X 750ML</c:v>
                </c:pt>
                <c:pt idx="19">
                  <c:v>1/2 CHAMPAGNE NICOLAS 1E C BS 1CT X 375ML</c:v>
                </c:pt>
                <c:pt idx="20">
                  <c:v>CHAMPAGNE NICOLAS BLC/BL BS ET 1CT X 750ML</c:v>
                </c:pt>
              </c:strCache>
            </c:strRef>
          </c:cat>
          <c:val>
            <c:numRef>
              <c:f>Sheet1!$B$2:$B$22</c:f>
              <c:numCache>
                <c:formatCode>General</c:formatCode>
                <c:ptCount val="21"/>
                <c:pt idx="0">
                  <c:v>1</c:v>
                </c:pt>
                <c:pt idx="1">
                  <c:v>0.68</c:v>
                </c:pt>
                <c:pt idx="2">
                  <c:v>0.83</c:v>
                </c:pt>
                <c:pt idx="3">
                  <c:v>0.56000000000000005</c:v>
                </c:pt>
                <c:pt idx="4">
                  <c:v>0.51</c:v>
                </c:pt>
                <c:pt idx="5">
                  <c:v>0.36</c:v>
                </c:pt>
                <c:pt idx="6">
                  <c:v>0.47</c:v>
                </c:pt>
                <c:pt idx="7">
                  <c:v>0.38</c:v>
                </c:pt>
                <c:pt idx="8">
                  <c:v>0.28000000000000003</c:v>
                </c:pt>
                <c:pt idx="9">
                  <c:v>0.16</c:v>
                </c:pt>
                <c:pt idx="10">
                  <c:v>0.18</c:v>
                </c:pt>
                <c:pt idx="11">
                  <c:v>0.32</c:v>
                </c:pt>
                <c:pt idx="12">
                  <c:v>0.46</c:v>
                </c:pt>
                <c:pt idx="13">
                  <c:v>0.13</c:v>
                </c:pt>
                <c:pt idx="14">
                  <c:v>0.13</c:v>
                </c:pt>
                <c:pt idx="15">
                  <c:v>0.13</c:v>
                </c:pt>
                <c:pt idx="16">
                  <c:v>0.05</c:v>
                </c:pt>
                <c:pt idx="17">
                  <c:v>0.22</c:v>
                </c:pt>
                <c:pt idx="18">
                  <c:v>0.1</c:v>
                </c:pt>
                <c:pt idx="19">
                  <c:v>0.08</c:v>
                </c:pt>
                <c:pt idx="20">
                  <c:v>0.03</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7ECAC4"/>
              </a:solidFill>
            </c:spPr>
            <c:extLst>
              <c:ext xmlns:c16="http://schemas.microsoft.com/office/drawing/2014/chart" uri="{C3380CC4-5D6E-409C-BE32-E72D297353CC}">
                <c16:uniqueId val="{00000008-D8F4-40C6-A5E0-DB4B53CFB1F3}"/>
              </c:ext>
            </c:extLst>
          </c:dPt>
          <c:dPt>
            <c:idx val="2"/>
            <c:invertIfNegative val="0"/>
            <c:bubble3D val="0"/>
            <c:spPr>
              <a:solidFill>
                <a:srgbClr val="7ECAC4"/>
              </a:solidFill>
            </c:spPr>
            <c:extLst>
              <c:ext xmlns:c16="http://schemas.microsoft.com/office/drawing/2014/chart" uri="{C3380CC4-5D6E-409C-BE32-E72D297353CC}">
                <c16:uniqueId val="{00000006-E902-46E2-9A54-39A26B3DFDC1}"/>
              </c:ext>
            </c:extLst>
          </c:dPt>
          <c:dPt>
            <c:idx val="3"/>
            <c:invertIfNegative val="0"/>
            <c:bubble3D val="0"/>
            <c:spPr>
              <a:solidFill>
                <a:srgbClr val="7ECAC4"/>
              </a:solidFill>
            </c:spPr>
            <c:extLst>
              <c:ext xmlns:c16="http://schemas.microsoft.com/office/drawing/2014/chart" uri="{C3380CC4-5D6E-409C-BE32-E72D297353CC}">
                <c16:uniqueId val="{00000007-E902-46E2-9A54-39A26B3DFDC1}"/>
              </c:ext>
            </c:extLst>
          </c:dPt>
          <c:dPt>
            <c:idx val="4"/>
            <c:invertIfNegative val="1"/>
            <c:bubble3D val="0"/>
            <c:spPr>
              <a:solidFill>
                <a:srgbClr val="7ECAC4"/>
              </a:solidFill>
            </c:spPr>
            <c:extLst>
              <c:ext xmlns:c16="http://schemas.microsoft.com/office/drawing/2014/chart" uri="{C3380CC4-5D6E-409C-BE32-E72D297353CC}">
                <c16:uniqueId val="{0000000B-FA3E-4872-B6E1-C4ABDF5766E2}"/>
              </c:ext>
            </c:extLst>
          </c:dPt>
          <c:dPt>
            <c:idx val="5"/>
            <c:invertIfNegative val="1"/>
            <c:bubble3D val="0"/>
            <c:spPr>
              <a:solidFill>
                <a:srgbClr val="7ECAC4"/>
              </a:solidFill>
            </c:spPr>
            <c:extLst>
              <c:ext xmlns:c16="http://schemas.microsoft.com/office/drawing/2014/chart" uri="{C3380CC4-5D6E-409C-BE32-E72D297353CC}">
                <c16:uniqueId val="{0000000D-FA3E-4872-B6E1-C4ABDF5766E2}"/>
              </c:ext>
            </c:extLst>
          </c:dPt>
          <c:dPt>
            <c:idx val="6"/>
            <c:invertIfNegative val="1"/>
            <c:bubble3D val="0"/>
            <c:spPr>
              <a:solidFill>
                <a:srgbClr val="7ECAC4"/>
              </a:solidFill>
            </c:spPr>
            <c:extLst>
              <c:ext xmlns:c16="http://schemas.microsoft.com/office/drawing/2014/chart" uri="{C3380CC4-5D6E-409C-BE32-E72D297353CC}">
                <c16:uniqueId val="{0000000F-FA3E-4872-B6E1-C4ABDF5766E2}"/>
              </c:ext>
            </c:extLst>
          </c:dPt>
          <c:dPt>
            <c:idx val="7"/>
            <c:invertIfNegative val="1"/>
            <c:bubble3D val="0"/>
            <c:spPr>
              <a:solidFill>
                <a:srgbClr val="AEABAB"/>
              </a:solidFill>
            </c:spPr>
            <c:extLst>
              <c:ext xmlns:c16="http://schemas.microsoft.com/office/drawing/2014/chart" uri="{C3380CC4-5D6E-409C-BE32-E72D297353CC}">
                <c16:uniqueId val="{00000011-FA3E-4872-B6E1-C4ABDF5766E2}"/>
              </c:ext>
            </c:extLst>
          </c:dPt>
          <c:dPt>
            <c:idx val="8"/>
            <c:invertIfNegative val="1"/>
            <c:bubble3D val="0"/>
            <c:spPr>
              <a:solidFill>
                <a:srgbClr val="AEABAB"/>
              </a:solidFill>
            </c:spPr>
            <c:extLst>
              <c:ext xmlns:c16="http://schemas.microsoft.com/office/drawing/2014/chart" uri="{C3380CC4-5D6E-409C-BE32-E72D297353CC}">
                <c16:uniqueId val="{00000013-FA3E-4872-B6E1-C4ABDF5766E2}"/>
              </c:ext>
            </c:extLst>
          </c:dPt>
          <c:dPt>
            <c:idx val="9"/>
            <c:invertIfNegative val="1"/>
            <c:bubble3D val="0"/>
            <c:spPr>
              <a:solidFill>
                <a:srgbClr val="AEABAB"/>
              </a:solidFill>
            </c:spPr>
            <c:extLst>
              <c:ext xmlns:c16="http://schemas.microsoft.com/office/drawing/2014/chart" uri="{C3380CC4-5D6E-409C-BE32-E72D297353CC}">
                <c16:uniqueId val="{00000015-FA3E-4872-B6E1-C4ABDF5766E2}"/>
              </c:ext>
            </c:extLst>
          </c:dPt>
          <c:dPt>
            <c:idx val="10"/>
            <c:invertIfNegative val="1"/>
            <c:bubble3D val="0"/>
            <c:spPr>
              <a:solidFill>
                <a:srgbClr val="AEABAB"/>
              </a:solidFill>
            </c:spPr>
            <c:extLst>
              <c:ext xmlns:c16="http://schemas.microsoft.com/office/drawing/2014/chart" uri="{C3380CC4-5D6E-409C-BE32-E72D297353CC}">
                <c16:uniqueId val="{00000017-FA3E-4872-B6E1-C4ABDF5766E2}"/>
              </c:ext>
            </c:extLst>
          </c:dPt>
          <c:dPt>
            <c:idx val="11"/>
            <c:invertIfNegative val="1"/>
            <c:bubble3D val="0"/>
            <c:spPr>
              <a:solidFill>
                <a:srgbClr val="AEABAB"/>
              </a:solidFill>
            </c:spPr>
            <c:extLst>
              <c:ext xmlns:c16="http://schemas.microsoft.com/office/drawing/2014/chart" uri="{C3380CC4-5D6E-409C-BE32-E72D297353CC}">
                <c16:uniqueId val="{00000019-FA3E-4872-B6E1-C4ABDF5766E2}"/>
              </c:ext>
            </c:extLst>
          </c:dPt>
          <c:dPt>
            <c:idx val="12"/>
            <c:invertIfNegative val="1"/>
            <c:bubble3D val="0"/>
            <c:spPr>
              <a:solidFill>
                <a:srgbClr val="AEABAB"/>
              </a:solidFill>
            </c:spPr>
            <c:extLst>
              <c:ext xmlns:c16="http://schemas.microsoft.com/office/drawing/2014/chart" uri="{C3380CC4-5D6E-409C-BE32-E72D297353CC}">
                <c16:uniqueId val="{0000001B-FA3E-4872-B6E1-C4ABDF5766E2}"/>
              </c:ext>
            </c:extLst>
          </c:dPt>
          <c:dPt>
            <c:idx val="13"/>
            <c:invertIfNegative val="1"/>
            <c:bubble3D val="0"/>
            <c:spPr>
              <a:solidFill>
                <a:srgbClr val="AEABAB"/>
              </a:solidFill>
            </c:spPr>
            <c:extLst>
              <c:ext xmlns:c16="http://schemas.microsoft.com/office/drawing/2014/chart" uri="{C3380CC4-5D6E-409C-BE32-E72D297353CC}">
                <c16:uniqueId val="{0000001D-FA3E-4872-B6E1-C4ABDF5766E2}"/>
              </c:ext>
            </c:extLst>
          </c:dPt>
          <c:dPt>
            <c:idx val="14"/>
            <c:invertIfNegative val="1"/>
            <c:bubble3D val="0"/>
            <c:spPr>
              <a:solidFill>
                <a:srgbClr val="AEABAB"/>
              </a:solidFill>
            </c:spPr>
            <c:extLst>
              <c:ext xmlns:c16="http://schemas.microsoft.com/office/drawing/2014/chart" uri="{C3380CC4-5D6E-409C-BE32-E72D297353CC}">
                <c16:uniqueId val="{0000001F-FA3E-4872-B6E1-C4ABDF5766E2}"/>
              </c:ext>
            </c:extLst>
          </c:dPt>
          <c:dPt>
            <c:idx val="15"/>
            <c:invertIfNegative val="1"/>
            <c:bubble3D val="0"/>
            <c:spPr>
              <a:solidFill>
                <a:srgbClr val="AEABAB"/>
              </a:solidFill>
            </c:spPr>
            <c:extLst>
              <c:ext xmlns:c16="http://schemas.microsoft.com/office/drawing/2014/chart" uri="{C3380CC4-5D6E-409C-BE32-E72D297353CC}">
                <c16:uniqueId val="{00000021-FA3E-4872-B6E1-C4ABDF5766E2}"/>
              </c:ext>
            </c:extLst>
          </c:dPt>
          <c:dPt>
            <c:idx val="16"/>
            <c:invertIfNegative val="1"/>
            <c:bubble3D val="0"/>
            <c:spPr>
              <a:solidFill>
                <a:srgbClr val="AEABAB"/>
              </a:solidFill>
            </c:spPr>
            <c:extLst>
              <c:ext xmlns:c16="http://schemas.microsoft.com/office/drawing/2014/chart" uri="{C3380CC4-5D6E-409C-BE32-E72D297353CC}">
                <c16:uniqueId val="{00000023-FA3E-4872-B6E1-C4ABDF5766E2}"/>
              </c:ext>
            </c:extLst>
          </c:dPt>
          <c:dPt>
            <c:idx val="17"/>
            <c:invertIfNegative val="1"/>
            <c:bubble3D val="0"/>
            <c:spPr>
              <a:solidFill>
                <a:srgbClr val="AEABAB"/>
              </a:solidFill>
            </c:spPr>
            <c:extLst>
              <c:ext xmlns:c16="http://schemas.microsoft.com/office/drawing/2014/chart" uri="{C3380CC4-5D6E-409C-BE32-E72D297353CC}">
                <c16:uniqueId val="{00000025-FA3E-4872-B6E1-C4ABDF5766E2}"/>
              </c:ext>
            </c:extLst>
          </c:dPt>
          <c:dPt>
            <c:idx val="18"/>
            <c:invertIfNegative val="1"/>
            <c:bubble3D val="0"/>
            <c:spPr>
              <a:solidFill>
                <a:srgbClr val="AEABAB"/>
              </a:solidFill>
            </c:spPr>
            <c:extLst>
              <c:ext xmlns:c16="http://schemas.microsoft.com/office/drawing/2014/chart" uri="{C3380CC4-5D6E-409C-BE32-E72D297353CC}">
                <c16:uniqueId val="{00000027-FA3E-4872-B6E1-C4ABDF5766E2}"/>
              </c:ext>
            </c:extLst>
          </c:dPt>
          <c:dPt>
            <c:idx val="19"/>
            <c:invertIfNegative val="1"/>
            <c:bubble3D val="0"/>
            <c:spPr>
              <a:solidFill>
                <a:srgbClr val="AEABAB"/>
              </a:solidFill>
            </c:spPr>
            <c:extLst>
              <c:ext xmlns:c16="http://schemas.microsoft.com/office/drawing/2014/chart" uri="{C3380CC4-5D6E-409C-BE32-E72D297353CC}">
                <c16:uniqueId val="{00000029-FA3E-4872-B6E1-C4ABDF5766E2}"/>
              </c:ext>
            </c:extLst>
          </c:dPt>
          <c:dPt>
            <c:idx val="20"/>
            <c:invertIfNegative val="1"/>
            <c:bubble3D val="0"/>
            <c:spPr>
              <a:solidFill>
                <a:srgbClr val="AEABAB"/>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22</c:f>
              <c:strCache>
                <c:ptCount val="21"/>
                <c:pt idx="0">
                  <c:v>CHAMPAGNE E.NICOLAS BRUT 1CT X 750ML</c:v>
                </c:pt>
                <c:pt idx="1">
                  <c:v>CHAMPAGNE E.NICOLAS ROSE 1CT X 750ML</c:v>
                </c:pt>
                <c:pt idx="2">
                  <c:v>CHAMPAGNE NICOLAS 1ERE CUVEE 1CT X 750ML</c:v>
                </c:pt>
                <c:pt idx="3">
                  <c:v>CHAMPAGNE NICOLAS BLC/BLC BS 1CT X 750ML</c:v>
                </c:pt>
                <c:pt idx="4">
                  <c:v>1/2 CHAMPAGNE NICOLAS 1ERE CUV 1CT X 375ML</c:v>
                </c:pt>
                <c:pt idx="5">
                  <c:v>MG CHAMPAGNE E.NICOLAS BRUT 1CT X 1500ML</c:v>
                </c:pt>
                <c:pt idx="6">
                  <c:v>CHAMPAGNE NICOLAS ROSE 1ERE CU 1CT X 750ML</c:v>
                </c:pt>
                <c:pt idx="7">
                  <c:v>CHAMPAGNE NICOLAS 1ER CRU BS 1CT X 750ML</c:v>
                </c:pt>
                <c:pt idx="8">
                  <c:v>CHAMPAGNE NICOLAS BIO NAT 2017 1CT X 750ML</c:v>
                </c:pt>
                <c:pt idx="9">
                  <c:v>MG CHAMPAGNE NICOLAS BLC/BL BS 1CT X 1500ML</c:v>
                </c:pt>
                <c:pt idx="10">
                  <c:v>MG CHAMPAGNE NICOLAS 1ERE CUVE 1CT X 1500ML</c:v>
                </c:pt>
                <c:pt idx="11">
                  <c:v>1/2 CHAMP NICOLAS BLC/BLC BS 1CT X 375ML</c:v>
                </c:pt>
                <c:pt idx="12">
                  <c:v>1/2 CHAMP NICOLAS ROSE 1E C BS 1CT X 375ML</c:v>
                </c:pt>
                <c:pt idx="13">
                  <c:v>CHAMPAGNE NICOLAS ROSE 1E C BS 1CT X 750ML</c:v>
                </c:pt>
                <c:pt idx="14">
                  <c:v>MG CHAMPAGNE NICOLAS 1E CRU BS 1CT X 1500ML</c:v>
                </c:pt>
                <c:pt idx="15">
                  <c:v>CHAMPAGNE NICOLAS 1ER CRU ETUI 1CT X 750ML</c:v>
                </c:pt>
                <c:pt idx="16">
                  <c:v>CHAMPAGNE NICOLAS BLC DE NOIRS 1CT X 750ML</c:v>
                </c:pt>
                <c:pt idx="17">
                  <c:v>CHAMPAGNE NICOLAS 1ERE CUV ETU 1CT X 750ML</c:v>
                </c:pt>
                <c:pt idx="18">
                  <c:v>CHAMPAGNE NICOLAS ROSE 1ERE ET 1CT X 750ML</c:v>
                </c:pt>
                <c:pt idx="19">
                  <c:v>1/2 CHAMPAGNE NICOLAS 1E C BS 1CT X 375ML</c:v>
                </c:pt>
                <c:pt idx="20">
                  <c:v>CHAMPAGNE NICOLAS BLC/BL BS ET 1CT X 750ML</c:v>
                </c:pt>
              </c:strCache>
            </c:strRef>
          </c:cat>
          <c:val>
            <c:numRef>
              <c:f>Sheet1!$C$2:$C$22</c:f>
              <c:numCache>
                <c:formatCode>General</c:formatCode>
                <c:ptCount val="21"/>
                <c:pt idx="0">
                  <c:v>0.76326008582099925</c:v>
                </c:pt>
                <c:pt idx="1">
                  <c:v>0.81535973456658539</c:v>
                </c:pt>
                <c:pt idx="2">
                  <c:v>0.86466046951315578</c:v>
                </c:pt>
                <c:pt idx="3">
                  <c:v>0.90558299891565253</c:v>
                </c:pt>
                <c:pt idx="4">
                  <c:v>0.92289085162976481</c:v>
                </c:pt>
                <c:pt idx="5">
                  <c:v>0.9383590209362459</c:v>
                </c:pt>
                <c:pt idx="6">
                  <c:v>0.94707087183384453</c:v>
                </c:pt>
                <c:pt idx="7">
                  <c:v>0.95506445842871568</c:v>
                </c:pt>
                <c:pt idx="8">
                  <c:v>0.96274293552303536</c:v>
                </c:pt>
                <c:pt idx="9">
                  <c:v>0.96951315582164799</c:v>
                </c:pt>
                <c:pt idx="10">
                  <c:v>0.97548170047915173</c:v>
                </c:pt>
                <c:pt idx="11">
                  <c:v>0.98135756587178746</c:v>
                </c:pt>
                <c:pt idx="12">
                  <c:v>0.98678393682981302</c:v>
                </c:pt>
                <c:pt idx="13">
                  <c:v>0.99020843566668826</c:v>
                </c:pt>
                <c:pt idx="14">
                  <c:v>0.99335489670895927</c:v>
                </c:pt>
                <c:pt idx="15">
                  <c:v>0.99573211985282528</c:v>
                </c:pt>
                <c:pt idx="16">
                  <c:v>0.99755790137072631</c:v>
                </c:pt>
                <c:pt idx="17">
                  <c:v>0.99894809034374732</c:v>
                </c:pt>
                <c:pt idx="18">
                  <c:v>0.99951806782268593</c:v>
                </c:pt>
                <c:pt idx="19">
                  <c:v>0.99982390939675059</c:v>
                </c:pt>
                <c:pt idx="20">
                  <c:v>0.99999999999999989</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22</c:f>
              <c:strCache>
                <c:ptCount val="21"/>
                <c:pt idx="0">
                  <c:v>CHAMPAGNE E.NICOLAS BRUT 1CT X 750ML</c:v>
                </c:pt>
                <c:pt idx="1">
                  <c:v>CHAMPAGNE E.NICOLAS ROSE 1CT X 750ML</c:v>
                </c:pt>
                <c:pt idx="2">
                  <c:v>CHAMPAGNE NICOLAS 1ERE CUVEE 1CT X 750ML</c:v>
                </c:pt>
                <c:pt idx="3">
                  <c:v>CHAMPAGNE NICOLAS BLC/BLC BS 1CT X 750ML</c:v>
                </c:pt>
                <c:pt idx="4">
                  <c:v>1/2 CHAMPAGNE NICOLAS 1ERE CUV 1CT X 375ML</c:v>
                </c:pt>
                <c:pt idx="5">
                  <c:v>MG CHAMPAGNE E.NICOLAS BRUT 1CT X 1500ML</c:v>
                </c:pt>
                <c:pt idx="6">
                  <c:v>CHAMPAGNE NICOLAS ROSE 1ERE CU 1CT X 750ML</c:v>
                </c:pt>
                <c:pt idx="7">
                  <c:v>CHAMPAGNE NICOLAS 1ER CRU BS 1CT X 750ML</c:v>
                </c:pt>
                <c:pt idx="8">
                  <c:v>CHAMPAGNE NICOLAS BIO NAT 2017 1CT X 750ML</c:v>
                </c:pt>
                <c:pt idx="9">
                  <c:v>MG CHAMPAGNE NICOLAS BLC/BL BS 1CT X 1500ML</c:v>
                </c:pt>
                <c:pt idx="10">
                  <c:v>MG CHAMPAGNE NICOLAS 1ERE CUVE 1CT X 1500ML</c:v>
                </c:pt>
                <c:pt idx="11">
                  <c:v>1/2 CHAMP NICOLAS BLC/BLC BS 1CT X 375ML</c:v>
                </c:pt>
                <c:pt idx="12">
                  <c:v>1/2 CHAMP NICOLAS ROSE 1E C BS 1CT X 375ML</c:v>
                </c:pt>
                <c:pt idx="13">
                  <c:v>CHAMPAGNE NICOLAS ROSE 1E C BS 1CT X 750ML</c:v>
                </c:pt>
                <c:pt idx="14">
                  <c:v>MG CHAMPAGNE NICOLAS 1E CRU BS 1CT X 1500ML</c:v>
                </c:pt>
                <c:pt idx="15">
                  <c:v>CHAMPAGNE NICOLAS 1ER CRU ETUI 1CT X 750ML</c:v>
                </c:pt>
                <c:pt idx="16">
                  <c:v>CHAMPAGNE NICOLAS BLC DE NOIRS 1CT X 750ML</c:v>
                </c:pt>
                <c:pt idx="17">
                  <c:v>CHAMPAGNE NICOLAS 1ERE CUV ETU 1CT X 750ML</c:v>
                </c:pt>
                <c:pt idx="18">
                  <c:v>CHAMPAGNE NICOLAS ROSE 1ERE ET 1CT X 750ML</c:v>
                </c:pt>
                <c:pt idx="19">
                  <c:v>1/2 CHAMPAGNE NICOLAS 1E C BS 1CT X 375ML</c:v>
                </c:pt>
                <c:pt idx="20">
                  <c:v>CHAMPAGNE NICOLAS BLC/BL BS ET 1CT X 750ML</c:v>
                </c:pt>
              </c:strCache>
            </c:strRef>
          </c:cat>
          <c:val>
            <c:numRef>
              <c:f>Sheet1!$D$2:$D$22</c:f>
              <c:numCache>
                <c:formatCode>General</c:formatCode>
                <c:ptCount val="21"/>
                <c:pt idx="0">
                  <c:v>1647.1</c:v>
                </c:pt>
                <c:pt idx="1">
                  <c:v>165.33823529411765</c:v>
                </c:pt>
                <c:pt idx="2">
                  <c:v>128.18072289156626</c:v>
                </c:pt>
                <c:pt idx="3">
                  <c:v>157.69642857142856</c:v>
                </c:pt>
                <c:pt idx="4">
                  <c:v>73.235294117647058</c:v>
                </c:pt>
                <c:pt idx="5">
                  <c:v>92.722222222222229</c:v>
                </c:pt>
                <c:pt idx="6">
                  <c:v>40</c:v>
                </c:pt>
                <c:pt idx="7">
                  <c:v>45.39473684210526</c:v>
                </c:pt>
                <c:pt idx="8">
                  <c:v>59.178571428571423</c:v>
                </c:pt>
                <c:pt idx="9">
                  <c:v>91.3125</c:v>
                </c:pt>
                <c:pt idx="10">
                  <c:v>71.555555555555557</c:v>
                </c:pt>
                <c:pt idx="11">
                  <c:v>39.625</c:v>
                </c:pt>
                <c:pt idx="12">
                  <c:v>25.456521739130434</c:v>
                </c:pt>
                <c:pt idx="13">
                  <c:v>56.846153846153847</c:v>
                </c:pt>
                <c:pt idx="14">
                  <c:v>52.230769230769234</c:v>
                </c:pt>
                <c:pt idx="15">
                  <c:v>39.46153846153846</c:v>
                </c:pt>
                <c:pt idx="16">
                  <c:v>78.8</c:v>
                </c:pt>
                <c:pt idx="17">
                  <c:v>13.636363636363637</c:v>
                </c:pt>
                <c:pt idx="18">
                  <c:v>12.3</c:v>
                </c:pt>
                <c:pt idx="19">
                  <c:v>8.25</c:v>
                </c:pt>
                <c:pt idx="20">
                  <c:v>12.666666666666666</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22</c:f>
              <c:strCache>
                <c:ptCount val="21"/>
                <c:pt idx="0">
                  <c:v>CHAMPAGNE E.NICOLAS BRUT 1CT X 750ML</c:v>
                </c:pt>
                <c:pt idx="1">
                  <c:v>CHAMPAGNE E.NICOLAS ROSE 1CT X 750ML</c:v>
                </c:pt>
                <c:pt idx="2">
                  <c:v>CHAMPAGNE NICOLAS BLC/BLC BS 1CT X 750ML</c:v>
                </c:pt>
                <c:pt idx="3">
                  <c:v>CHAMPAGNE NICOLAS 1ERE CUVEE 1CT X 750ML</c:v>
                </c:pt>
                <c:pt idx="4">
                  <c:v>CHAMPAGNE NICOLAS BIO NAT 2017 1CT X 750ML</c:v>
                </c:pt>
                <c:pt idx="5">
                  <c:v>CHAMPAGNE NICOLAS BLC DE NOIRS 1CT X 750ML</c:v>
                </c:pt>
                <c:pt idx="6">
                  <c:v>MG CHAMPAGNE E.NICOLAS BRUT 1CT X 1500ML</c:v>
                </c:pt>
                <c:pt idx="7">
                  <c:v>1/2 CHAMP NICOLAS BLC/BLC BS 1CT X 375ML</c:v>
                </c:pt>
                <c:pt idx="8">
                  <c:v>1/2 CHAMP NICOLAS ROSE 1E C BS 1CT X 375ML</c:v>
                </c:pt>
                <c:pt idx="9">
                  <c:v>1/2 CHAMPAGNE NICOLAS 1ERE CUV 1CT X 375ML</c:v>
                </c:pt>
                <c:pt idx="10">
                  <c:v>CHAMPAGNE NICOLAS ROSE 1ERE CU 1CT X 750ML</c:v>
                </c:pt>
                <c:pt idx="11">
                  <c:v>MG CHAMPAGNE NICOLAS BLC/BL BS 1CT X 1500ML</c:v>
                </c:pt>
                <c:pt idx="12">
                  <c:v>CHAMPAGNE NICOLAS 1ER CRU BS 1CT X 750ML</c:v>
                </c:pt>
                <c:pt idx="13">
                  <c:v>CHAMPAGNE NICOLAS 1ERE CUV ETU 1CT X 750ML</c:v>
                </c:pt>
                <c:pt idx="14">
                  <c:v>CHAMPAGNE NICOLAS ROSE 1ERE ET 1CT X 750ML</c:v>
                </c:pt>
                <c:pt idx="15">
                  <c:v>CHAMPAGNE NICOLAS BLC/BL BS ET 1CT X 750ML</c:v>
                </c:pt>
                <c:pt idx="16">
                  <c:v>MG CHAMPAGNE NICOLAS 1ERE CUVE 1CT X 1500ML</c:v>
                </c:pt>
                <c:pt idx="17">
                  <c:v>CHAMPAGNE NICOLAS ROSE 1E C BS 1CT X 750ML</c:v>
                </c:pt>
                <c:pt idx="18">
                  <c:v>MG CHAMPAGNE NICOLAS 1E CRU BS 1CT X 1500ML</c:v>
                </c:pt>
                <c:pt idx="19">
                  <c:v>CHAMPAGNE NICOLAS 1ER CRU ETUI 1CT X 750ML</c:v>
                </c:pt>
                <c:pt idx="20">
                  <c:v>1/2 CHAMPAGNE NICOLAS 1E C BS 1CT X 375ML</c:v>
                </c:pt>
              </c:strCache>
            </c:strRef>
          </c:cat>
          <c:val>
            <c:numRef>
              <c:f>Sheet1!$B$2:$B$22</c:f>
              <c:numCache>
                <c:formatCode>General</c:formatCode>
                <c:ptCount val="21"/>
                <c:pt idx="0">
                  <c:v>1</c:v>
                </c:pt>
                <c:pt idx="1">
                  <c:v>0.74</c:v>
                </c:pt>
                <c:pt idx="2">
                  <c:v>0.43</c:v>
                </c:pt>
                <c:pt idx="3">
                  <c:v>0.56999999999999995</c:v>
                </c:pt>
                <c:pt idx="4">
                  <c:v>0.27</c:v>
                </c:pt>
                <c:pt idx="5">
                  <c:v>0.42</c:v>
                </c:pt>
                <c:pt idx="6">
                  <c:v>0.32</c:v>
                </c:pt>
                <c:pt idx="7">
                  <c:v>0.33</c:v>
                </c:pt>
                <c:pt idx="8">
                  <c:v>0.34</c:v>
                </c:pt>
                <c:pt idx="9">
                  <c:v>0.5</c:v>
                </c:pt>
                <c:pt idx="10">
                  <c:v>0.25</c:v>
                </c:pt>
                <c:pt idx="11">
                  <c:v>0.34</c:v>
                </c:pt>
                <c:pt idx="12">
                  <c:v>0.41</c:v>
                </c:pt>
                <c:pt idx="13">
                  <c:v>0.28000000000000003</c:v>
                </c:pt>
                <c:pt idx="14">
                  <c:v>0.23</c:v>
                </c:pt>
                <c:pt idx="15">
                  <c:v>0.13</c:v>
                </c:pt>
                <c:pt idx="16">
                  <c:v>0.15</c:v>
                </c:pt>
                <c:pt idx="17">
                  <c:v>0.03</c:v>
                </c:pt>
                <c:pt idx="18">
                  <c:v>0.02</c:v>
                </c:pt>
                <c:pt idx="19">
                  <c:v>0.08</c:v>
                </c:pt>
                <c:pt idx="20">
                  <c:v>0.05</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7ECAC4"/>
              </a:solidFill>
            </c:spPr>
            <c:extLst>
              <c:ext xmlns:c16="http://schemas.microsoft.com/office/drawing/2014/chart" uri="{C3380CC4-5D6E-409C-BE32-E72D297353CC}">
                <c16:uniqueId val="{00000006-E902-46E2-9A54-39A26B3DFDC1}"/>
              </c:ext>
            </c:extLst>
          </c:dPt>
          <c:dPt>
            <c:idx val="3"/>
            <c:invertIfNegative val="0"/>
            <c:bubble3D val="0"/>
            <c:spPr>
              <a:solidFill>
                <a:srgbClr val="7ECAC4"/>
              </a:solidFill>
            </c:spPr>
            <c:extLst>
              <c:ext xmlns:c16="http://schemas.microsoft.com/office/drawing/2014/chart" uri="{C3380CC4-5D6E-409C-BE32-E72D297353CC}">
                <c16:uniqueId val="{00000007-E902-46E2-9A54-39A26B3DFDC1}"/>
              </c:ext>
            </c:extLst>
          </c:dPt>
          <c:dPt>
            <c:idx val="4"/>
            <c:invertIfNegative val="1"/>
            <c:bubble3D val="0"/>
            <c:spPr>
              <a:solidFill>
                <a:srgbClr val="7ECAC4"/>
              </a:solidFill>
            </c:spPr>
            <c:extLst>
              <c:ext xmlns:c16="http://schemas.microsoft.com/office/drawing/2014/chart" uri="{C3380CC4-5D6E-409C-BE32-E72D297353CC}">
                <c16:uniqueId val="{0000000B-FA3E-4872-B6E1-C4ABDF5766E2}"/>
              </c:ext>
            </c:extLst>
          </c:dPt>
          <c:dPt>
            <c:idx val="5"/>
            <c:invertIfNegative val="1"/>
            <c:bubble3D val="0"/>
            <c:spPr>
              <a:solidFill>
                <a:srgbClr val="7ECAC4"/>
              </a:solidFill>
            </c:spPr>
            <c:extLst>
              <c:ext xmlns:c16="http://schemas.microsoft.com/office/drawing/2014/chart" uri="{C3380CC4-5D6E-409C-BE32-E72D297353CC}">
                <c16:uniqueId val="{0000000D-FA3E-4872-B6E1-C4ABDF5766E2}"/>
              </c:ext>
            </c:extLst>
          </c:dPt>
          <c:dPt>
            <c:idx val="6"/>
            <c:invertIfNegative val="1"/>
            <c:bubble3D val="0"/>
            <c:spPr>
              <a:solidFill>
                <a:srgbClr val="7ECAC4"/>
              </a:solidFill>
            </c:spPr>
            <c:extLst>
              <c:ext xmlns:c16="http://schemas.microsoft.com/office/drawing/2014/chart" uri="{C3380CC4-5D6E-409C-BE32-E72D297353CC}">
                <c16:uniqueId val="{0000000F-FA3E-4872-B6E1-C4ABDF5766E2}"/>
              </c:ext>
            </c:extLst>
          </c:dPt>
          <c:dPt>
            <c:idx val="7"/>
            <c:invertIfNegative val="1"/>
            <c:bubble3D val="0"/>
            <c:spPr>
              <a:solidFill>
                <a:srgbClr val="7ECAC4"/>
              </a:solidFill>
            </c:spPr>
            <c:extLst>
              <c:ext xmlns:c16="http://schemas.microsoft.com/office/drawing/2014/chart" uri="{C3380CC4-5D6E-409C-BE32-E72D297353CC}">
                <c16:uniqueId val="{00000011-FA3E-4872-B6E1-C4ABDF5766E2}"/>
              </c:ext>
            </c:extLst>
          </c:dPt>
          <c:dPt>
            <c:idx val="8"/>
            <c:invertIfNegative val="1"/>
            <c:bubble3D val="0"/>
            <c:spPr>
              <a:solidFill>
                <a:srgbClr val="7ECAC4"/>
              </a:solidFill>
            </c:spPr>
            <c:extLst>
              <c:ext xmlns:c16="http://schemas.microsoft.com/office/drawing/2014/chart" uri="{C3380CC4-5D6E-409C-BE32-E72D297353CC}">
                <c16:uniqueId val="{00000013-FA3E-4872-B6E1-C4ABDF5766E2}"/>
              </c:ext>
            </c:extLst>
          </c:dPt>
          <c:dPt>
            <c:idx val="9"/>
            <c:invertIfNegative val="1"/>
            <c:bubble3D val="0"/>
            <c:spPr>
              <a:solidFill>
                <a:srgbClr val="AEABAB"/>
              </a:solidFill>
            </c:spPr>
            <c:extLst>
              <c:ext xmlns:c16="http://schemas.microsoft.com/office/drawing/2014/chart" uri="{C3380CC4-5D6E-409C-BE32-E72D297353CC}">
                <c16:uniqueId val="{00000015-FA3E-4872-B6E1-C4ABDF5766E2}"/>
              </c:ext>
            </c:extLst>
          </c:dPt>
          <c:dPt>
            <c:idx val="10"/>
            <c:invertIfNegative val="1"/>
            <c:bubble3D val="0"/>
            <c:spPr>
              <a:solidFill>
                <a:srgbClr val="AEABAB"/>
              </a:solidFill>
            </c:spPr>
            <c:extLst>
              <c:ext xmlns:c16="http://schemas.microsoft.com/office/drawing/2014/chart" uri="{C3380CC4-5D6E-409C-BE32-E72D297353CC}">
                <c16:uniqueId val="{00000017-FA3E-4872-B6E1-C4ABDF5766E2}"/>
              </c:ext>
            </c:extLst>
          </c:dPt>
          <c:dPt>
            <c:idx val="11"/>
            <c:invertIfNegative val="1"/>
            <c:bubble3D val="0"/>
            <c:spPr>
              <a:solidFill>
                <a:srgbClr val="AEABAB"/>
              </a:solidFill>
            </c:spPr>
            <c:extLst>
              <c:ext xmlns:c16="http://schemas.microsoft.com/office/drawing/2014/chart" uri="{C3380CC4-5D6E-409C-BE32-E72D297353CC}">
                <c16:uniqueId val="{00000019-FA3E-4872-B6E1-C4ABDF5766E2}"/>
              </c:ext>
            </c:extLst>
          </c:dPt>
          <c:dPt>
            <c:idx val="12"/>
            <c:invertIfNegative val="1"/>
            <c:bubble3D val="0"/>
            <c:spPr>
              <a:solidFill>
                <a:srgbClr val="AEABAB"/>
              </a:solidFill>
            </c:spPr>
            <c:extLst>
              <c:ext xmlns:c16="http://schemas.microsoft.com/office/drawing/2014/chart" uri="{C3380CC4-5D6E-409C-BE32-E72D297353CC}">
                <c16:uniqueId val="{0000001B-FA3E-4872-B6E1-C4ABDF5766E2}"/>
              </c:ext>
            </c:extLst>
          </c:dPt>
          <c:dPt>
            <c:idx val="13"/>
            <c:invertIfNegative val="1"/>
            <c:bubble3D val="0"/>
            <c:spPr>
              <a:solidFill>
                <a:srgbClr val="AEABAB"/>
              </a:solidFill>
            </c:spPr>
            <c:extLst>
              <c:ext xmlns:c16="http://schemas.microsoft.com/office/drawing/2014/chart" uri="{C3380CC4-5D6E-409C-BE32-E72D297353CC}">
                <c16:uniqueId val="{0000001D-FA3E-4872-B6E1-C4ABDF5766E2}"/>
              </c:ext>
            </c:extLst>
          </c:dPt>
          <c:dPt>
            <c:idx val="14"/>
            <c:invertIfNegative val="1"/>
            <c:bubble3D val="0"/>
            <c:spPr>
              <a:solidFill>
                <a:srgbClr val="AEABAB"/>
              </a:solidFill>
            </c:spPr>
            <c:extLst>
              <c:ext xmlns:c16="http://schemas.microsoft.com/office/drawing/2014/chart" uri="{C3380CC4-5D6E-409C-BE32-E72D297353CC}">
                <c16:uniqueId val="{0000001F-FA3E-4872-B6E1-C4ABDF5766E2}"/>
              </c:ext>
            </c:extLst>
          </c:dPt>
          <c:dPt>
            <c:idx val="15"/>
            <c:invertIfNegative val="1"/>
            <c:bubble3D val="0"/>
            <c:spPr>
              <a:solidFill>
                <a:srgbClr val="AEABAB"/>
              </a:solidFill>
            </c:spPr>
            <c:extLst>
              <c:ext xmlns:c16="http://schemas.microsoft.com/office/drawing/2014/chart" uri="{C3380CC4-5D6E-409C-BE32-E72D297353CC}">
                <c16:uniqueId val="{00000021-FA3E-4872-B6E1-C4ABDF5766E2}"/>
              </c:ext>
            </c:extLst>
          </c:dPt>
          <c:dPt>
            <c:idx val="16"/>
            <c:invertIfNegative val="1"/>
            <c:bubble3D val="0"/>
            <c:spPr>
              <a:solidFill>
                <a:srgbClr val="AEABAB"/>
              </a:solidFill>
            </c:spPr>
            <c:extLst>
              <c:ext xmlns:c16="http://schemas.microsoft.com/office/drawing/2014/chart" uri="{C3380CC4-5D6E-409C-BE32-E72D297353CC}">
                <c16:uniqueId val="{00000023-FA3E-4872-B6E1-C4ABDF5766E2}"/>
              </c:ext>
            </c:extLst>
          </c:dPt>
          <c:dPt>
            <c:idx val="17"/>
            <c:invertIfNegative val="1"/>
            <c:bubble3D val="0"/>
            <c:spPr>
              <a:solidFill>
                <a:srgbClr val="AEABAB"/>
              </a:solidFill>
            </c:spPr>
            <c:extLst>
              <c:ext xmlns:c16="http://schemas.microsoft.com/office/drawing/2014/chart" uri="{C3380CC4-5D6E-409C-BE32-E72D297353CC}">
                <c16:uniqueId val="{00000025-FA3E-4872-B6E1-C4ABDF5766E2}"/>
              </c:ext>
            </c:extLst>
          </c:dPt>
          <c:dPt>
            <c:idx val="18"/>
            <c:invertIfNegative val="1"/>
            <c:bubble3D val="0"/>
            <c:spPr>
              <a:solidFill>
                <a:srgbClr val="AEABAB"/>
              </a:solidFill>
            </c:spPr>
            <c:extLst>
              <c:ext xmlns:c16="http://schemas.microsoft.com/office/drawing/2014/chart" uri="{C3380CC4-5D6E-409C-BE32-E72D297353CC}">
                <c16:uniqueId val="{00000027-FA3E-4872-B6E1-C4ABDF5766E2}"/>
              </c:ext>
            </c:extLst>
          </c:dPt>
          <c:dPt>
            <c:idx val="19"/>
            <c:invertIfNegative val="1"/>
            <c:bubble3D val="0"/>
            <c:spPr>
              <a:solidFill>
                <a:srgbClr val="AEABAB"/>
              </a:solidFill>
            </c:spPr>
            <c:extLst>
              <c:ext xmlns:c16="http://schemas.microsoft.com/office/drawing/2014/chart" uri="{C3380CC4-5D6E-409C-BE32-E72D297353CC}">
                <c16:uniqueId val="{00000029-FA3E-4872-B6E1-C4ABDF5766E2}"/>
              </c:ext>
            </c:extLst>
          </c:dPt>
          <c:dPt>
            <c:idx val="20"/>
            <c:invertIfNegative val="1"/>
            <c:bubble3D val="0"/>
            <c:spPr>
              <a:solidFill>
                <a:srgbClr val="AEABAB"/>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22</c:f>
              <c:strCache>
                <c:ptCount val="21"/>
                <c:pt idx="0">
                  <c:v>CHAMPAGNE E.NICOLAS BRUT 1CT X 750ML</c:v>
                </c:pt>
                <c:pt idx="1">
                  <c:v>CHAMPAGNE E.NICOLAS ROSE 1CT X 750ML</c:v>
                </c:pt>
                <c:pt idx="2">
                  <c:v>CHAMPAGNE NICOLAS BLC/BLC BS 1CT X 750ML</c:v>
                </c:pt>
                <c:pt idx="3">
                  <c:v>CHAMPAGNE NICOLAS 1ERE CUVEE 1CT X 750ML</c:v>
                </c:pt>
                <c:pt idx="4">
                  <c:v>CHAMPAGNE NICOLAS BIO NAT 2017 1CT X 750ML</c:v>
                </c:pt>
                <c:pt idx="5">
                  <c:v>CHAMPAGNE NICOLAS BLC DE NOIRS 1CT X 750ML</c:v>
                </c:pt>
                <c:pt idx="6">
                  <c:v>MG CHAMPAGNE E.NICOLAS BRUT 1CT X 1500ML</c:v>
                </c:pt>
                <c:pt idx="7">
                  <c:v>1/2 CHAMP NICOLAS BLC/BLC BS 1CT X 375ML</c:v>
                </c:pt>
                <c:pt idx="8">
                  <c:v>1/2 CHAMP NICOLAS ROSE 1E C BS 1CT X 375ML</c:v>
                </c:pt>
                <c:pt idx="9">
                  <c:v>1/2 CHAMPAGNE NICOLAS 1ERE CUV 1CT X 375ML</c:v>
                </c:pt>
                <c:pt idx="10">
                  <c:v>CHAMPAGNE NICOLAS ROSE 1ERE CU 1CT X 750ML</c:v>
                </c:pt>
                <c:pt idx="11">
                  <c:v>MG CHAMPAGNE NICOLAS BLC/BL BS 1CT X 1500ML</c:v>
                </c:pt>
                <c:pt idx="12">
                  <c:v>CHAMPAGNE NICOLAS 1ER CRU BS 1CT X 750ML</c:v>
                </c:pt>
                <c:pt idx="13">
                  <c:v>CHAMPAGNE NICOLAS 1ERE CUV ETU 1CT X 750ML</c:v>
                </c:pt>
                <c:pt idx="14">
                  <c:v>CHAMPAGNE NICOLAS ROSE 1ERE ET 1CT X 750ML</c:v>
                </c:pt>
                <c:pt idx="15">
                  <c:v>CHAMPAGNE NICOLAS BLC/BL BS ET 1CT X 750ML</c:v>
                </c:pt>
                <c:pt idx="16">
                  <c:v>MG CHAMPAGNE NICOLAS 1ERE CUVE 1CT X 1500ML</c:v>
                </c:pt>
                <c:pt idx="17">
                  <c:v>CHAMPAGNE NICOLAS ROSE 1E C BS 1CT X 750ML</c:v>
                </c:pt>
                <c:pt idx="18">
                  <c:v>MG CHAMPAGNE NICOLAS 1E CRU BS 1CT X 1500ML</c:v>
                </c:pt>
                <c:pt idx="19">
                  <c:v>CHAMPAGNE NICOLAS 1ER CRU ETUI 1CT X 750ML</c:v>
                </c:pt>
                <c:pt idx="20">
                  <c:v>1/2 CHAMPAGNE NICOLAS 1E C BS 1CT X 375ML</c:v>
                </c:pt>
              </c:strCache>
            </c:strRef>
          </c:cat>
          <c:val>
            <c:numRef>
              <c:f>Sheet1!$C$2:$C$22</c:f>
              <c:numCache>
                <c:formatCode>General</c:formatCode>
                <c:ptCount val="21"/>
                <c:pt idx="0">
                  <c:v>0.70061256249793058</c:v>
                </c:pt>
                <c:pt idx="1">
                  <c:v>0.79740405946822956</c:v>
                </c:pt>
                <c:pt idx="2">
                  <c:v>0.85221019171550616</c:v>
                </c:pt>
                <c:pt idx="3">
                  <c:v>0.87259362272772434</c:v>
                </c:pt>
                <c:pt idx="4">
                  <c:v>0.88834144564749518</c:v>
                </c:pt>
                <c:pt idx="5">
                  <c:v>0.90378464289261951</c:v>
                </c:pt>
                <c:pt idx="6">
                  <c:v>0.91846627595112751</c:v>
                </c:pt>
                <c:pt idx="7">
                  <c:v>0.93133339955630612</c:v>
                </c:pt>
                <c:pt idx="8">
                  <c:v>0.94408794410781105</c:v>
                </c:pt>
                <c:pt idx="9">
                  <c:v>0.95578292109532803</c:v>
                </c:pt>
                <c:pt idx="10">
                  <c:v>0.96512698255024676</c:v>
                </c:pt>
                <c:pt idx="11">
                  <c:v>0.97401410549319567</c:v>
                </c:pt>
                <c:pt idx="12">
                  <c:v>0.9816032581702594</c:v>
                </c:pt>
                <c:pt idx="13">
                  <c:v>0.98722558855667042</c:v>
                </c:pt>
                <c:pt idx="14">
                  <c:v>0.99181484056819325</c:v>
                </c:pt>
                <c:pt idx="15">
                  <c:v>0.99516572298930517</c:v>
                </c:pt>
                <c:pt idx="16">
                  <c:v>0.9976292175755771</c:v>
                </c:pt>
                <c:pt idx="17">
                  <c:v>0.99871527432866469</c:v>
                </c:pt>
                <c:pt idx="18">
                  <c:v>0.99921856892155891</c:v>
                </c:pt>
                <c:pt idx="19">
                  <c:v>0.99970199662262837</c:v>
                </c:pt>
                <c:pt idx="20">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22</c:f>
              <c:strCache>
                <c:ptCount val="21"/>
                <c:pt idx="0">
                  <c:v>CHAMPAGNE E.NICOLAS BRUT 1CT X 750ML</c:v>
                </c:pt>
                <c:pt idx="1">
                  <c:v>CHAMPAGNE E.NICOLAS ROSE 1CT X 750ML</c:v>
                </c:pt>
                <c:pt idx="2">
                  <c:v>CHAMPAGNE NICOLAS BLC/BLC BS 1CT X 750ML</c:v>
                </c:pt>
                <c:pt idx="3">
                  <c:v>CHAMPAGNE NICOLAS 1ERE CUVEE 1CT X 750ML</c:v>
                </c:pt>
                <c:pt idx="4">
                  <c:v>CHAMPAGNE NICOLAS BIO NAT 2017 1CT X 750ML</c:v>
                </c:pt>
                <c:pt idx="5">
                  <c:v>CHAMPAGNE NICOLAS BLC DE NOIRS 1CT X 750ML</c:v>
                </c:pt>
                <c:pt idx="6">
                  <c:v>MG CHAMPAGNE E.NICOLAS BRUT 1CT X 1500ML</c:v>
                </c:pt>
                <c:pt idx="7">
                  <c:v>1/2 CHAMP NICOLAS BLC/BLC BS 1CT X 375ML</c:v>
                </c:pt>
                <c:pt idx="8">
                  <c:v>1/2 CHAMP NICOLAS ROSE 1E C BS 1CT X 375ML</c:v>
                </c:pt>
                <c:pt idx="9">
                  <c:v>1/2 CHAMPAGNE NICOLAS 1ERE CUV 1CT X 375ML</c:v>
                </c:pt>
                <c:pt idx="10">
                  <c:v>CHAMPAGNE NICOLAS ROSE 1ERE CU 1CT X 750ML</c:v>
                </c:pt>
                <c:pt idx="11">
                  <c:v>MG CHAMPAGNE NICOLAS BLC/BL BS 1CT X 1500ML</c:v>
                </c:pt>
                <c:pt idx="12">
                  <c:v>CHAMPAGNE NICOLAS 1ER CRU BS 1CT X 750ML</c:v>
                </c:pt>
                <c:pt idx="13">
                  <c:v>CHAMPAGNE NICOLAS 1ERE CUV ETU 1CT X 750ML</c:v>
                </c:pt>
                <c:pt idx="14">
                  <c:v>CHAMPAGNE NICOLAS ROSE 1ERE ET 1CT X 750ML</c:v>
                </c:pt>
                <c:pt idx="15">
                  <c:v>CHAMPAGNE NICOLAS BLC/BL BS ET 1CT X 750ML</c:v>
                </c:pt>
                <c:pt idx="16">
                  <c:v>MG CHAMPAGNE NICOLAS 1ERE CUVE 1CT X 1500ML</c:v>
                </c:pt>
                <c:pt idx="17">
                  <c:v>CHAMPAGNE NICOLAS ROSE 1E C BS 1CT X 750ML</c:v>
                </c:pt>
                <c:pt idx="18">
                  <c:v>MG CHAMPAGNE NICOLAS 1E CRU BS 1CT X 1500ML</c:v>
                </c:pt>
                <c:pt idx="19">
                  <c:v>CHAMPAGNE NICOLAS 1ER CRU ETUI 1CT X 750ML</c:v>
                </c:pt>
                <c:pt idx="20">
                  <c:v>1/2 CHAMPAGNE NICOLAS 1E C BS 1CT X 375ML</c:v>
                </c:pt>
              </c:strCache>
            </c:strRef>
          </c:cat>
          <c:val>
            <c:numRef>
              <c:f>Sheet1!$D$2:$D$22</c:f>
              <c:numCache>
                <c:formatCode>General</c:formatCode>
                <c:ptCount val="21"/>
                <c:pt idx="0">
                  <c:v>1057.96</c:v>
                </c:pt>
                <c:pt idx="1">
                  <c:v>197.51351351351352</c:v>
                </c:pt>
                <c:pt idx="2">
                  <c:v>192.46511627906978</c:v>
                </c:pt>
                <c:pt idx="3">
                  <c:v>54.000000000000007</c:v>
                </c:pt>
                <c:pt idx="4">
                  <c:v>88.074074074074076</c:v>
                </c:pt>
                <c:pt idx="5">
                  <c:v>55.523809523809526</c:v>
                </c:pt>
                <c:pt idx="6">
                  <c:v>69.28125</c:v>
                </c:pt>
                <c:pt idx="7">
                  <c:v>58.878787878787875</c:v>
                </c:pt>
                <c:pt idx="8">
                  <c:v>56.647058823529413</c:v>
                </c:pt>
                <c:pt idx="9">
                  <c:v>35.32</c:v>
                </c:pt>
                <c:pt idx="10">
                  <c:v>56.44</c:v>
                </c:pt>
                <c:pt idx="11">
                  <c:v>39.470588235294116</c:v>
                </c:pt>
                <c:pt idx="12">
                  <c:v>27.951219512195124</c:v>
                </c:pt>
                <c:pt idx="13">
                  <c:v>30.321428571428566</c:v>
                </c:pt>
                <c:pt idx="14">
                  <c:v>30.130434782608695</c:v>
                </c:pt>
                <c:pt idx="15">
                  <c:v>38.92307692307692</c:v>
                </c:pt>
                <c:pt idx="16">
                  <c:v>24.8</c:v>
                </c:pt>
                <c:pt idx="17">
                  <c:v>54.666666666666664</c:v>
                </c:pt>
                <c:pt idx="18">
                  <c:v>38</c:v>
                </c:pt>
                <c:pt idx="19">
                  <c:v>9.125</c:v>
                </c:pt>
                <c:pt idx="20">
                  <c:v>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22</c:f>
              <c:strCache>
                <c:ptCount val="21"/>
                <c:pt idx="0">
                  <c:v>CHAMPAGNE E.NICOLAS BRUT 1CT X 750ML</c:v>
                </c:pt>
                <c:pt idx="1">
                  <c:v>CHAMPAGNE NICOLAS BLC/BLC BS 1CT X 750ML</c:v>
                </c:pt>
                <c:pt idx="2">
                  <c:v>CHAMPAGNE E.NICOLAS ROSE 1CT X 750ML</c:v>
                </c:pt>
                <c:pt idx="3">
                  <c:v>CHAMPAGNE NICOLAS 1ERE CUVEE 1CT X 750ML</c:v>
                </c:pt>
                <c:pt idx="4">
                  <c:v>MG CHAMPAGNE E.NICOLAS BRUT 1CT X 1500ML</c:v>
                </c:pt>
                <c:pt idx="5">
                  <c:v>1/2 CHAMPAGNE NICOLAS 1ERE CUV 1CT X 375ML</c:v>
                </c:pt>
                <c:pt idx="6">
                  <c:v>MG CHAMPAGNE NICOLAS BLC/BL BS 1CT X 1500ML</c:v>
                </c:pt>
                <c:pt idx="7">
                  <c:v>1/2 CHAMP NICOLAS BLC/BLC BS 1CT X 375ML</c:v>
                </c:pt>
                <c:pt idx="8">
                  <c:v>CHAMPAGNE NICOLAS ROSE 1ERE CU 1CT X 750ML</c:v>
                </c:pt>
                <c:pt idx="9">
                  <c:v>CHAMPAGNE NICOLAS BIO NAT 2017 1CT X 750ML</c:v>
                </c:pt>
                <c:pt idx="10">
                  <c:v>1/2 CHAMP NICOLAS ROSE 1E C BS 1CT X 375ML</c:v>
                </c:pt>
                <c:pt idx="11">
                  <c:v>CHAMPAGNE NICOLAS BLC DE NOIRS 1CT X 750ML</c:v>
                </c:pt>
                <c:pt idx="12">
                  <c:v>MG CHAMPAGNE NICOLAS 1ERE CUVE 1CT X 1500ML</c:v>
                </c:pt>
                <c:pt idx="13">
                  <c:v>CHAMPAGNE NICOLAS ROSE 1ERE ET 1CT X 750ML</c:v>
                </c:pt>
                <c:pt idx="14">
                  <c:v>CHAMPAGNE NICOLAS 1ER CRU BS 1CT X 750ML</c:v>
                </c:pt>
                <c:pt idx="15">
                  <c:v>CHAMPAGNE NICOLAS 1ER CRU ETUI 1CT X 750ML</c:v>
                </c:pt>
                <c:pt idx="16">
                  <c:v>MG CHAMPAGNE NICOLAS 1E CRU BS 1CT X 1500ML</c:v>
                </c:pt>
                <c:pt idx="17">
                  <c:v>CHAMPAGNE NICOLAS ROSE 1E C BS 1CT X 750ML</c:v>
                </c:pt>
                <c:pt idx="18">
                  <c:v>CHAMPAGNE NICOLAS 1ERE CUV ETU 1CT X 750ML</c:v>
                </c:pt>
                <c:pt idx="19">
                  <c:v>CHAMPAGNE NICOLAS BLC/BL BS ET 1CT X 750ML</c:v>
                </c:pt>
                <c:pt idx="20">
                  <c:v>1/2 CHAMPAGNE NICOLAS 1E C BS 1CT X 375ML</c:v>
                </c:pt>
              </c:strCache>
            </c:strRef>
          </c:cat>
          <c:val>
            <c:numRef>
              <c:f>Sheet1!$B$2:$B$22</c:f>
              <c:numCache>
                <c:formatCode>General</c:formatCode>
                <c:ptCount val="21"/>
                <c:pt idx="0">
                  <c:v>1</c:v>
                </c:pt>
                <c:pt idx="1">
                  <c:v>0.7</c:v>
                </c:pt>
                <c:pt idx="2">
                  <c:v>0.73</c:v>
                </c:pt>
                <c:pt idx="3">
                  <c:v>0.9</c:v>
                </c:pt>
                <c:pt idx="4">
                  <c:v>0.34</c:v>
                </c:pt>
                <c:pt idx="5">
                  <c:v>0.43</c:v>
                </c:pt>
                <c:pt idx="6">
                  <c:v>0.23</c:v>
                </c:pt>
                <c:pt idx="7">
                  <c:v>0.35</c:v>
                </c:pt>
                <c:pt idx="8">
                  <c:v>0.42</c:v>
                </c:pt>
                <c:pt idx="9">
                  <c:v>0.28000000000000003</c:v>
                </c:pt>
                <c:pt idx="10">
                  <c:v>0.42</c:v>
                </c:pt>
                <c:pt idx="11">
                  <c:v>0.25</c:v>
                </c:pt>
                <c:pt idx="12">
                  <c:v>0.24</c:v>
                </c:pt>
                <c:pt idx="13">
                  <c:v>0.14000000000000001</c:v>
                </c:pt>
                <c:pt idx="14">
                  <c:v>0.31</c:v>
                </c:pt>
                <c:pt idx="15">
                  <c:v>0.21</c:v>
                </c:pt>
                <c:pt idx="16">
                  <c:v>7.0000000000000007E-2</c:v>
                </c:pt>
                <c:pt idx="17">
                  <c:v>7.0000000000000007E-2</c:v>
                </c:pt>
                <c:pt idx="18">
                  <c:v>7.0000000000000007E-2</c:v>
                </c:pt>
                <c:pt idx="19">
                  <c:v>0.02</c:v>
                </c:pt>
                <c:pt idx="20">
                  <c:v>0.02</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7ECAC4"/>
              </a:solidFill>
            </c:spPr>
            <c:extLst>
              <c:ext xmlns:c16="http://schemas.microsoft.com/office/drawing/2014/chart" uri="{C3380CC4-5D6E-409C-BE32-E72D297353CC}">
                <c16:uniqueId val="{00000006-E902-46E2-9A54-39A26B3DFDC1}"/>
              </c:ext>
            </c:extLst>
          </c:dPt>
          <c:dPt>
            <c:idx val="3"/>
            <c:invertIfNegative val="0"/>
            <c:bubble3D val="0"/>
            <c:spPr>
              <a:solidFill>
                <a:srgbClr val="7ECAC4"/>
              </a:solidFill>
            </c:spPr>
            <c:extLst>
              <c:ext xmlns:c16="http://schemas.microsoft.com/office/drawing/2014/chart" uri="{C3380CC4-5D6E-409C-BE32-E72D297353CC}">
                <c16:uniqueId val="{00000007-E902-46E2-9A54-39A26B3DFDC1}"/>
              </c:ext>
            </c:extLst>
          </c:dPt>
          <c:dPt>
            <c:idx val="4"/>
            <c:invertIfNegative val="1"/>
            <c:bubble3D val="0"/>
            <c:spPr>
              <a:solidFill>
                <a:srgbClr val="7ECAC4"/>
              </a:solidFill>
            </c:spPr>
            <c:extLst>
              <c:ext xmlns:c16="http://schemas.microsoft.com/office/drawing/2014/chart" uri="{C3380CC4-5D6E-409C-BE32-E72D297353CC}">
                <c16:uniqueId val="{0000000B-FA3E-4872-B6E1-C4ABDF5766E2}"/>
              </c:ext>
            </c:extLst>
          </c:dPt>
          <c:dPt>
            <c:idx val="5"/>
            <c:invertIfNegative val="1"/>
            <c:bubble3D val="0"/>
            <c:spPr>
              <a:solidFill>
                <a:srgbClr val="7ECAC4"/>
              </a:solidFill>
            </c:spPr>
            <c:extLst>
              <c:ext xmlns:c16="http://schemas.microsoft.com/office/drawing/2014/chart" uri="{C3380CC4-5D6E-409C-BE32-E72D297353CC}">
                <c16:uniqueId val="{0000000D-FA3E-4872-B6E1-C4ABDF5766E2}"/>
              </c:ext>
            </c:extLst>
          </c:dPt>
          <c:dPt>
            <c:idx val="6"/>
            <c:invertIfNegative val="1"/>
            <c:bubble3D val="0"/>
            <c:spPr>
              <a:solidFill>
                <a:srgbClr val="7ECAC4"/>
              </a:solidFill>
            </c:spPr>
            <c:extLst>
              <c:ext xmlns:c16="http://schemas.microsoft.com/office/drawing/2014/chart" uri="{C3380CC4-5D6E-409C-BE32-E72D297353CC}">
                <c16:uniqueId val="{0000000F-FA3E-4872-B6E1-C4ABDF5766E2}"/>
              </c:ext>
            </c:extLst>
          </c:dPt>
          <c:dPt>
            <c:idx val="7"/>
            <c:invertIfNegative val="1"/>
            <c:bubble3D val="0"/>
            <c:spPr>
              <a:solidFill>
                <a:srgbClr val="7ECAC4"/>
              </a:solidFill>
            </c:spPr>
            <c:extLst>
              <c:ext xmlns:c16="http://schemas.microsoft.com/office/drawing/2014/chart" uri="{C3380CC4-5D6E-409C-BE32-E72D297353CC}">
                <c16:uniqueId val="{00000011-FA3E-4872-B6E1-C4ABDF5766E2}"/>
              </c:ext>
            </c:extLst>
          </c:dPt>
          <c:dPt>
            <c:idx val="8"/>
            <c:invertIfNegative val="1"/>
            <c:bubble3D val="0"/>
            <c:spPr>
              <a:solidFill>
                <a:srgbClr val="AEABAB"/>
              </a:solidFill>
            </c:spPr>
            <c:extLst>
              <c:ext xmlns:c16="http://schemas.microsoft.com/office/drawing/2014/chart" uri="{C3380CC4-5D6E-409C-BE32-E72D297353CC}">
                <c16:uniqueId val="{00000013-FA3E-4872-B6E1-C4ABDF5766E2}"/>
              </c:ext>
            </c:extLst>
          </c:dPt>
          <c:dPt>
            <c:idx val="9"/>
            <c:invertIfNegative val="1"/>
            <c:bubble3D val="0"/>
            <c:spPr>
              <a:solidFill>
                <a:srgbClr val="AEABAB"/>
              </a:solidFill>
            </c:spPr>
            <c:extLst>
              <c:ext xmlns:c16="http://schemas.microsoft.com/office/drawing/2014/chart" uri="{C3380CC4-5D6E-409C-BE32-E72D297353CC}">
                <c16:uniqueId val="{00000015-FA3E-4872-B6E1-C4ABDF5766E2}"/>
              </c:ext>
            </c:extLst>
          </c:dPt>
          <c:dPt>
            <c:idx val="10"/>
            <c:invertIfNegative val="1"/>
            <c:bubble3D val="0"/>
            <c:spPr>
              <a:solidFill>
                <a:srgbClr val="AEABAB"/>
              </a:solidFill>
            </c:spPr>
            <c:extLst>
              <c:ext xmlns:c16="http://schemas.microsoft.com/office/drawing/2014/chart" uri="{C3380CC4-5D6E-409C-BE32-E72D297353CC}">
                <c16:uniqueId val="{00000017-FA3E-4872-B6E1-C4ABDF5766E2}"/>
              </c:ext>
            </c:extLst>
          </c:dPt>
          <c:dPt>
            <c:idx val="11"/>
            <c:invertIfNegative val="1"/>
            <c:bubble3D val="0"/>
            <c:spPr>
              <a:solidFill>
                <a:srgbClr val="AEABAB"/>
              </a:solidFill>
            </c:spPr>
            <c:extLst>
              <c:ext xmlns:c16="http://schemas.microsoft.com/office/drawing/2014/chart" uri="{C3380CC4-5D6E-409C-BE32-E72D297353CC}">
                <c16:uniqueId val="{00000019-FA3E-4872-B6E1-C4ABDF5766E2}"/>
              </c:ext>
            </c:extLst>
          </c:dPt>
          <c:dPt>
            <c:idx val="12"/>
            <c:invertIfNegative val="1"/>
            <c:bubble3D val="0"/>
            <c:spPr>
              <a:solidFill>
                <a:srgbClr val="AEABAB"/>
              </a:solidFill>
            </c:spPr>
            <c:extLst>
              <c:ext xmlns:c16="http://schemas.microsoft.com/office/drawing/2014/chart" uri="{C3380CC4-5D6E-409C-BE32-E72D297353CC}">
                <c16:uniqueId val="{0000001B-FA3E-4872-B6E1-C4ABDF5766E2}"/>
              </c:ext>
            </c:extLst>
          </c:dPt>
          <c:dPt>
            <c:idx val="13"/>
            <c:invertIfNegative val="1"/>
            <c:bubble3D val="0"/>
            <c:spPr>
              <a:solidFill>
                <a:srgbClr val="AEABAB"/>
              </a:solidFill>
            </c:spPr>
            <c:extLst>
              <c:ext xmlns:c16="http://schemas.microsoft.com/office/drawing/2014/chart" uri="{C3380CC4-5D6E-409C-BE32-E72D297353CC}">
                <c16:uniqueId val="{0000001D-FA3E-4872-B6E1-C4ABDF5766E2}"/>
              </c:ext>
            </c:extLst>
          </c:dPt>
          <c:dPt>
            <c:idx val="14"/>
            <c:invertIfNegative val="1"/>
            <c:bubble3D val="0"/>
            <c:spPr>
              <a:solidFill>
                <a:srgbClr val="AEABAB"/>
              </a:solidFill>
            </c:spPr>
            <c:extLst>
              <c:ext xmlns:c16="http://schemas.microsoft.com/office/drawing/2014/chart" uri="{C3380CC4-5D6E-409C-BE32-E72D297353CC}">
                <c16:uniqueId val="{0000001F-FA3E-4872-B6E1-C4ABDF5766E2}"/>
              </c:ext>
            </c:extLst>
          </c:dPt>
          <c:dPt>
            <c:idx val="15"/>
            <c:invertIfNegative val="1"/>
            <c:bubble3D val="0"/>
            <c:spPr>
              <a:solidFill>
                <a:srgbClr val="AEABAB"/>
              </a:solidFill>
            </c:spPr>
            <c:extLst>
              <c:ext xmlns:c16="http://schemas.microsoft.com/office/drawing/2014/chart" uri="{C3380CC4-5D6E-409C-BE32-E72D297353CC}">
                <c16:uniqueId val="{00000021-FA3E-4872-B6E1-C4ABDF5766E2}"/>
              </c:ext>
            </c:extLst>
          </c:dPt>
          <c:dPt>
            <c:idx val="16"/>
            <c:invertIfNegative val="1"/>
            <c:bubble3D val="0"/>
            <c:spPr>
              <a:solidFill>
                <a:srgbClr val="AEABAB"/>
              </a:solidFill>
            </c:spPr>
            <c:extLst>
              <c:ext xmlns:c16="http://schemas.microsoft.com/office/drawing/2014/chart" uri="{C3380CC4-5D6E-409C-BE32-E72D297353CC}">
                <c16:uniqueId val="{00000023-FA3E-4872-B6E1-C4ABDF5766E2}"/>
              </c:ext>
            </c:extLst>
          </c:dPt>
          <c:dPt>
            <c:idx val="17"/>
            <c:invertIfNegative val="1"/>
            <c:bubble3D val="0"/>
            <c:spPr>
              <a:solidFill>
                <a:srgbClr val="AEABAB"/>
              </a:solidFill>
            </c:spPr>
            <c:extLst>
              <c:ext xmlns:c16="http://schemas.microsoft.com/office/drawing/2014/chart" uri="{C3380CC4-5D6E-409C-BE32-E72D297353CC}">
                <c16:uniqueId val="{00000025-FA3E-4872-B6E1-C4ABDF5766E2}"/>
              </c:ext>
            </c:extLst>
          </c:dPt>
          <c:dPt>
            <c:idx val="18"/>
            <c:invertIfNegative val="1"/>
            <c:bubble3D val="0"/>
            <c:spPr>
              <a:solidFill>
                <a:srgbClr val="AEABAB"/>
              </a:solidFill>
            </c:spPr>
            <c:extLst>
              <c:ext xmlns:c16="http://schemas.microsoft.com/office/drawing/2014/chart" uri="{C3380CC4-5D6E-409C-BE32-E72D297353CC}">
                <c16:uniqueId val="{00000027-FA3E-4872-B6E1-C4ABDF5766E2}"/>
              </c:ext>
            </c:extLst>
          </c:dPt>
          <c:dPt>
            <c:idx val="19"/>
            <c:invertIfNegative val="1"/>
            <c:bubble3D val="0"/>
            <c:spPr>
              <a:solidFill>
                <a:srgbClr val="AEABAB"/>
              </a:solidFill>
            </c:spPr>
            <c:extLst>
              <c:ext xmlns:c16="http://schemas.microsoft.com/office/drawing/2014/chart" uri="{C3380CC4-5D6E-409C-BE32-E72D297353CC}">
                <c16:uniqueId val="{00000029-FA3E-4872-B6E1-C4ABDF5766E2}"/>
              </c:ext>
            </c:extLst>
          </c:dPt>
          <c:dPt>
            <c:idx val="20"/>
            <c:invertIfNegative val="1"/>
            <c:bubble3D val="0"/>
            <c:spPr>
              <a:solidFill>
                <a:srgbClr val="AEABAB"/>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22</c:f>
              <c:strCache>
                <c:ptCount val="21"/>
                <c:pt idx="0">
                  <c:v>CHAMPAGNE E.NICOLAS BRUT 1CT X 750ML</c:v>
                </c:pt>
                <c:pt idx="1">
                  <c:v>CHAMPAGNE NICOLAS BLC/BLC BS 1CT X 750ML</c:v>
                </c:pt>
                <c:pt idx="2">
                  <c:v>CHAMPAGNE E.NICOLAS ROSE 1CT X 750ML</c:v>
                </c:pt>
                <c:pt idx="3">
                  <c:v>CHAMPAGNE NICOLAS 1ERE CUVEE 1CT X 750ML</c:v>
                </c:pt>
                <c:pt idx="4">
                  <c:v>MG CHAMPAGNE E.NICOLAS BRUT 1CT X 1500ML</c:v>
                </c:pt>
                <c:pt idx="5">
                  <c:v>1/2 CHAMPAGNE NICOLAS 1ERE CUV 1CT X 375ML</c:v>
                </c:pt>
                <c:pt idx="6">
                  <c:v>MG CHAMPAGNE NICOLAS BLC/BL BS 1CT X 1500ML</c:v>
                </c:pt>
                <c:pt idx="7">
                  <c:v>1/2 CHAMP NICOLAS BLC/BLC BS 1CT X 375ML</c:v>
                </c:pt>
                <c:pt idx="8">
                  <c:v>CHAMPAGNE NICOLAS ROSE 1ERE CU 1CT X 750ML</c:v>
                </c:pt>
                <c:pt idx="9">
                  <c:v>CHAMPAGNE NICOLAS BIO NAT 2017 1CT X 750ML</c:v>
                </c:pt>
                <c:pt idx="10">
                  <c:v>1/2 CHAMP NICOLAS ROSE 1E C BS 1CT X 375ML</c:v>
                </c:pt>
                <c:pt idx="11">
                  <c:v>CHAMPAGNE NICOLAS BLC DE NOIRS 1CT X 750ML</c:v>
                </c:pt>
                <c:pt idx="12">
                  <c:v>MG CHAMPAGNE NICOLAS 1ERE CUVE 1CT X 1500ML</c:v>
                </c:pt>
                <c:pt idx="13">
                  <c:v>CHAMPAGNE NICOLAS ROSE 1ERE ET 1CT X 750ML</c:v>
                </c:pt>
                <c:pt idx="14">
                  <c:v>CHAMPAGNE NICOLAS 1ER CRU BS 1CT X 750ML</c:v>
                </c:pt>
                <c:pt idx="15">
                  <c:v>CHAMPAGNE NICOLAS 1ER CRU ETUI 1CT X 750ML</c:v>
                </c:pt>
                <c:pt idx="16">
                  <c:v>MG CHAMPAGNE NICOLAS 1E CRU BS 1CT X 1500ML</c:v>
                </c:pt>
                <c:pt idx="17">
                  <c:v>CHAMPAGNE NICOLAS ROSE 1E C BS 1CT X 750ML</c:v>
                </c:pt>
                <c:pt idx="18">
                  <c:v>CHAMPAGNE NICOLAS 1ERE CUV ETU 1CT X 750ML</c:v>
                </c:pt>
                <c:pt idx="19">
                  <c:v>CHAMPAGNE NICOLAS BLC/BL BS ET 1CT X 750ML</c:v>
                </c:pt>
                <c:pt idx="20">
                  <c:v>1/2 CHAMPAGNE NICOLAS 1E C BS 1CT X 375ML</c:v>
                </c:pt>
              </c:strCache>
            </c:strRef>
          </c:cat>
          <c:val>
            <c:numRef>
              <c:f>Sheet1!$C$2:$C$22</c:f>
              <c:numCache>
                <c:formatCode>General</c:formatCode>
                <c:ptCount val="21"/>
                <c:pt idx="0">
                  <c:v>0.71819214546303189</c:v>
                </c:pt>
                <c:pt idx="1">
                  <c:v>0.7924316940828422</c:v>
                </c:pt>
                <c:pt idx="2">
                  <c:v>0.84258596369601846</c:v>
                </c:pt>
                <c:pt idx="3">
                  <c:v>0.88940224385924571</c:v>
                </c:pt>
                <c:pt idx="4">
                  <c:v>0.90770867582102666</c:v>
                </c:pt>
                <c:pt idx="5">
                  <c:v>0.92281989065562009</c:v>
                </c:pt>
                <c:pt idx="6">
                  <c:v>0.93383738369718539</c:v>
                </c:pt>
                <c:pt idx="7">
                  <c:v>0.94449725952644892</c:v>
                </c:pt>
                <c:pt idx="8">
                  <c:v>0.95499926211419728</c:v>
                </c:pt>
                <c:pt idx="9">
                  <c:v>0.96466453652191519</c:v>
                </c:pt>
                <c:pt idx="10">
                  <c:v>0.9740476983110995</c:v>
                </c:pt>
                <c:pt idx="11">
                  <c:v>0.98144714850037573</c:v>
                </c:pt>
                <c:pt idx="12">
                  <c:v>0.9875300731364951</c:v>
                </c:pt>
                <c:pt idx="13">
                  <c:v>0.99115566644816089</c:v>
                </c:pt>
                <c:pt idx="14">
                  <c:v>0.99431724971085167</c:v>
                </c:pt>
                <c:pt idx="15">
                  <c:v>0.99730791802946728</c:v>
                </c:pt>
                <c:pt idx="16">
                  <c:v>0.99824486139758994</c:v>
                </c:pt>
                <c:pt idx="17">
                  <c:v>0.99911522344211712</c:v>
                </c:pt>
                <c:pt idx="18">
                  <c:v>0.99987370140678788</c:v>
                </c:pt>
                <c:pt idx="19">
                  <c:v>0.99995401083834123</c:v>
                </c:pt>
                <c:pt idx="20">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22</c:f>
              <c:strCache>
                <c:ptCount val="21"/>
                <c:pt idx="0">
                  <c:v>CHAMPAGNE E.NICOLAS BRUT 1CT X 750ML</c:v>
                </c:pt>
                <c:pt idx="1">
                  <c:v>CHAMPAGNE NICOLAS BLC/BLC BS 1CT X 750ML</c:v>
                </c:pt>
                <c:pt idx="2">
                  <c:v>CHAMPAGNE E.NICOLAS ROSE 1CT X 750ML</c:v>
                </c:pt>
                <c:pt idx="3">
                  <c:v>CHAMPAGNE NICOLAS 1ERE CUVEE 1CT X 750ML</c:v>
                </c:pt>
                <c:pt idx="4">
                  <c:v>MG CHAMPAGNE E.NICOLAS BRUT 1CT X 1500ML</c:v>
                </c:pt>
                <c:pt idx="5">
                  <c:v>1/2 CHAMPAGNE NICOLAS 1ERE CUV 1CT X 375ML</c:v>
                </c:pt>
                <c:pt idx="6">
                  <c:v>MG CHAMPAGNE NICOLAS BLC/BL BS 1CT X 1500ML</c:v>
                </c:pt>
                <c:pt idx="7">
                  <c:v>1/2 CHAMP NICOLAS BLC/BLC BS 1CT X 375ML</c:v>
                </c:pt>
                <c:pt idx="8">
                  <c:v>CHAMPAGNE NICOLAS ROSE 1ERE CU 1CT X 750ML</c:v>
                </c:pt>
                <c:pt idx="9">
                  <c:v>CHAMPAGNE NICOLAS BIO NAT 2017 1CT X 750ML</c:v>
                </c:pt>
                <c:pt idx="10">
                  <c:v>1/2 CHAMP NICOLAS ROSE 1E C BS 1CT X 375ML</c:v>
                </c:pt>
                <c:pt idx="11">
                  <c:v>CHAMPAGNE NICOLAS BLC DE NOIRS 1CT X 750ML</c:v>
                </c:pt>
                <c:pt idx="12">
                  <c:v>MG CHAMPAGNE NICOLAS 1ERE CUVE 1CT X 1500ML</c:v>
                </c:pt>
                <c:pt idx="13">
                  <c:v>CHAMPAGNE NICOLAS ROSE 1ERE ET 1CT X 750ML</c:v>
                </c:pt>
                <c:pt idx="14">
                  <c:v>CHAMPAGNE NICOLAS 1ER CRU BS 1CT X 750ML</c:v>
                </c:pt>
                <c:pt idx="15">
                  <c:v>CHAMPAGNE NICOLAS 1ER CRU ETUI 1CT X 750ML</c:v>
                </c:pt>
                <c:pt idx="16">
                  <c:v>MG CHAMPAGNE NICOLAS 1E CRU BS 1CT X 1500ML</c:v>
                </c:pt>
                <c:pt idx="17">
                  <c:v>CHAMPAGNE NICOLAS ROSE 1E C BS 1CT X 750ML</c:v>
                </c:pt>
                <c:pt idx="18">
                  <c:v>CHAMPAGNE NICOLAS 1ERE CUV ETU 1CT X 750ML</c:v>
                </c:pt>
                <c:pt idx="19">
                  <c:v>CHAMPAGNE NICOLAS BLC/BL BS ET 1CT X 750ML</c:v>
                </c:pt>
                <c:pt idx="20">
                  <c:v>1/2 CHAMPAGNE NICOLAS 1E C BS 1CT X 375ML</c:v>
                </c:pt>
              </c:strCache>
            </c:strRef>
          </c:cat>
          <c:val>
            <c:numRef>
              <c:f>Sheet1!$D$2:$D$22</c:f>
              <c:numCache>
                <c:formatCode>General</c:formatCode>
                <c:ptCount val="21"/>
                <c:pt idx="0">
                  <c:v>10463.09</c:v>
                </c:pt>
                <c:pt idx="1">
                  <c:v>1545.1</c:v>
                </c:pt>
                <c:pt idx="2">
                  <c:v>1000.931506849315</c:v>
                </c:pt>
                <c:pt idx="3">
                  <c:v>757.83333333333337</c:v>
                </c:pt>
                <c:pt idx="4">
                  <c:v>784.41176470588232</c:v>
                </c:pt>
                <c:pt idx="5">
                  <c:v>511.97674418604652</c:v>
                </c:pt>
                <c:pt idx="6">
                  <c:v>697.86956521739125</c:v>
                </c:pt>
                <c:pt idx="7">
                  <c:v>443.71428571428572</c:v>
                </c:pt>
                <c:pt idx="8">
                  <c:v>364.28571428571428</c:v>
                </c:pt>
                <c:pt idx="9">
                  <c:v>502.89285714285705</c:v>
                </c:pt>
                <c:pt idx="10">
                  <c:v>325.47619047619048</c:v>
                </c:pt>
                <c:pt idx="11">
                  <c:v>431.2</c:v>
                </c:pt>
                <c:pt idx="12">
                  <c:v>369.25</c:v>
                </c:pt>
                <c:pt idx="13">
                  <c:v>377.28571428571422</c:v>
                </c:pt>
                <c:pt idx="14">
                  <c:v>148.58064516129033</c:v>
                </c:pt>
                <c:pt idx="15">
                  <c:v>207.47619047619048</c:v>
                </c:pt>
                <c:pt idx="16">
                  <c:v>194.99999999999997</c:v>
                </c:pt>
                <c:pt idx="17">
                  <c:v>181.14285714285711</c:v>
                </c:pt>
                <c:pt idx="18">
                  <c:v>157.85714285714283</c:v>
                </c:pt>
                <c:pt idx="19">
                  <c:v>58.5</c:v>
                </c:pt>
                <c:pt idx="20">
                  <c:v>33.5</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23</c:f>
              <c:strCache>
                <c:ptCount val="22"/>
                <c:pt idx="0">
                  <c:v>CHAMPAGNE E.NICOLAS BRUT 1CT X 750ML</c:v>
                </c:pt>
                <c:pt idx="1">
                  <c:v>CHAMPAGNE NICOLAS BLC/BLC BS 1CT X 750ML</c:v>
                </c:pt>
                <c:pt idx="2">
                  <c:v>CHAMPAGNE E.NICOLAS ROSE 1CT X 750ML</c:v>
                </c:pt>
                <c:pt idx="3">
                  <c:v>CHAMPAGNE NICOLAS 1ERE CUVEE 1CT X 750ML</c:v>
                </c:pt>
                <c:pt idx="4">
                  <c:v>1/2 CHAMPAGNE NICOLAS 1ERE CUV 1CT X 375ML</c:v>
                </c:pt>
                <c:pt idx="5">
                  <c:v>MG CHAMPAGNE E.NICOLAS BRUT 1CT X 1500ML</c:v>
                </c:pt>
                <c:pt idx="6">
                  <c:v>CHAMPAGNE NICOLAS ROSE 1ERE CU 1CT X 750ML</c:v>
                </c:pt>
                <c:pt idx="7">
                  <c:v>MG CHAMPAGNE NICOLAS BLC/BL BS 1CT X 1500ML</c:v>
                </c:pt>
                <c:pt idx="8">
                  <c:v>CHAMPAGNE NICOLAS BIO NAT 2017 1CT X 750ML</c:v>
                </c:pt>
                <c:pt idx="9">
                  <c:v>1/2 CHAMP NICOLAS BLC/BLC BS 1CT X 375ML</c:v>
                </c:pt>
                <c:pt idx="10">
                  <c:v>1/2 CHAMP NICOLAS ROSE 1E C BS 1CT X 375ML</c:v>
                </c:pt>
                <c:pt idx="11">
                  <c:v>CHAMPAGNE NICOLAS BLC DE NOIRS 1CT X 750ML</c:v>
                </c:pt>
                <c:pt idx="12">
                  <c:v>MG CHAMPAGNE NICOLAS 1ERE CUVE 1CT X 1500ML</c:v>
                </c:pt>
                <c:pt idx="13">
                  <c:v>CHAMPAGNE NICOLAS 1ER CRU ETUI 1CT X 750ML</c:v>
                </c:pt>
                <c:pt idx="14">
                  <c:v>CHAMPAGNE NICOLAS 1ER CRU BS 1CT X 750ML</c:v>
                </c:pt>
                <c:pt idx="15">
                  <c:v>CHAMPAGNE NICOLAS ROSE 1ERE ET 1CT X 750ML</c:v>
                </c:pt>
                <c:pt idx="16">
                  <c:v>CHAMPAGNE NICOLAS 1ERE CUV ETU 1CT X 750ML</c:v>
                </c:pt>
                <c:pt idx="17">
                  <c:v>MG CHAMPAGNE NICOLAS 1E CRU BS 1CT X 1500ML</c:v>
                </c:pt>
                <c:pt idx="18">
                  <c:v>CHAMPAGNE NICOLAS ROSE 1E C BS 1CT X 750ML</c:v>
                </c:pt>
                <c:pt idx="19">
                  <c:v>CHAMPAGNE NICOLAS BLC/BL BS ET 1CT X 750ML</c:v>
                </c:pt>
                <c:pt idx="20">
                  <c:v>MG CHAMPAGNE NICOLAS BRUT 1CT X 1500ML</c:v>
                </c:pt>
                <c:pt idx="21">
                  <c:v>1/2 CHAMPAGNE NICOLAS 1E C BS 1CT X 375ML</c:v>
                </c:pt>
              </c:strCache>
            </c:strRef>
          </c:cat>
          <c:val>
            <c:numRef>
              <c:f>Sheet1!$B$2:$B$23</c:f>
              <c:numCache>
                <c:formatCode>General</c:formatCode>
                <c:ptCount val="22"/>
                <c:pt idx="0">
                  <c:v>1</c:v>
                </c:pt>
                <c:pt idx="1">
                  <c:v>0.69</c:v>
                </c:pt>
                <c:pt idx="2">
                  <c:v>0.75</c:v>
                </c:pt>
                <c:pt idx="3">
                  <c:v>0.91</c:v>
                </c:pt>
                <c:pt idx="4">
                  <c:v>0.45</c:v>
                </c:pt>
                <c:pt idx="5">
                  <c:v>0.21</c:v>
                </c:pt>
                <c:pt idx="6">
                  <c:v>0.32</c:v>
                </c:pt>
                <c:pt idx="7">
                  <c:v>0.19</c:v>
                </c:pt>
                <c:pt idx="8">
                  <c:v>0.21</c:v>
                </c:pt>
                <c:pt idx="9">
                  <c:v>0.3</c:v>
                </c:pt>
                <c:pt idx="10">
                  <c:v>0.32</c:v>
                </c:pt>
                <c:pt idx="11">
                  <c:v>0.21</c:v>
                </c:pt>
                <c:pt idx="12">
                  <c:v>0.12</c:v>
                </c:pt>
                <c:pt idx="13">
                  <c:v>0.23</c:v>
                </c:pt>
                <c:pt idx="14">
                  <c:v>0.44</c:v>
                </c:pt>
                <c:pt idx="15">
                  <c:v>0.16</c:v>
                </c:pt>
                <c:pt idx="16">
                  <c:v>0.12</c:v>
                </c:pt>
                <c:pt idx="17">
                  <c:v>0.04</c:v>
                </c:pt>
                <c:pt idx="18">
                  <c:v>0.04</c:v>
                </c:pt>
                <c:pt idx="19">
                  <c:v>0.05</c:v>
                </c:pt>
                <c:pt idx="20">
                  <c:v>0.01</c:v>
                </c:pt>
                <c:pt idx="21">
                  <c:v>0.01</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7ECAC4"/>
              </a:solidFill>
            </c:spPr>
            <c:extLst>
              <c:ext xmlns:c16="http://schemas.microsoft.com/office/drawing/2014/chart" uri="{C3380CC4-5D6E-409C-BE32-E72D297353CC}">
                <c16:uniqueId val="{00000008-D8F4-40C6-A5E0-DB4B53CFB1F3}"/>
              </c:ext>
            </c:extLst>
          </c:dPt>
          <c:dPt>
            <c:idx val="2"/>
            <c:invertIfNegative val="0"/>
            <c:bubble3D val="0"/>
            <c:spPr>
              <a:solidFill>
                <a:srgbClr val="7ECAC4"/>
              </a:solidFill>
            </c:spPr>
            <c:extLst>
              <c:ext xmlns:c16="http://schemas.microsoft.com/office/drawing/2014/chart" uri="{C3380CC4-5D6E-409C-BE32-E72D297353CC}">
                <c16:uniqueId val="{00000006-E902-46E2-9A54-39A26B3DFDC1}"/>
              </c:ext>
            </c:extLst>
          </c:dPt>
          <c:dPt>
            <c:idx val="3"/>
            <c:invertIfNegative val="0"/>
            <c:bubble3D val="0"/>
            <c:spPr>
              <a:solidFill>
                <a:srgbClr val="7ECAC4"/>
              </a:solidFill>
            </c:spPr>
            <c:extLst>
              <c:ext xmlns:c16="http://schemas.microsoft.com/office/drawing/2014/chart" uri="{C3380CC4-5D6E-409C-BE32-E72D297353CC}">
                <c16:uniqueId val="{00000007-E902-46E2-9A54-39A26B3DFDC1}"/>
              </c:ext>
            </c:extLst>
          </c:dPt>
          <c:dPt>
            <c:idx val="4"/>
            <c:invertIfNegative val="1"/>
            <c:bubble3D val="0"/>
            <c:spPr>
              <a:solidFill>
                <a:srgbClr val="7ECAC4"/>
              </a:solidFill>
            </c:spPr>
            <c:extLst>
              <c:ext xmlns:c16="http://schemas.microsoft.com/office/drawing/2014/chart" uri="{C3380CC4-5D6E-409C-BE32-E72D297353CC}">
                <c16:uniqueId val="{0000000B-FA3E-4872-B6E1-C4ABDF5766E2}"/>
              </c:ext>
            </c:extLst>
          </c:dPt>
          <c:dPt>
            <c:idx val="5"/>
            <c:invertIfNegative val="1"/>
            <c:bubble3D val="0"/>
            <c:spPr>
              <a:solidFill>
                <a:srgbClr val="7ECAC4"/>
              </a:solidFill>
            </c:spPr>
            <c:extLst>
              <c:ext xmlns:c16="http://schemas.microsoft.com/office/drawing/2014/chart" uri="{C3380CC4-5D6E-409C-BE32-E72D297353CC}">
                <c16:uniqueId val="{0000000D-FA3E-4872-B6E1-C4ABDF5766E2}"/>
              </c:ext>
            </c:extLst>
          </c:dPt>
          <c:dPt>
            <c:idx val="6"/>
            <c:invertIfNegative val="1"/>
            <c:bubble3D val="0"/>
            <c:spPr>
              <a:solidFill>
                <a:srgbClr val="7ECAC4"/>
              </a:solidFill>
            </c:spPr>
            <c:extLst>
              <c:ext xmlns:c16="http://schemas.microsoft.com/office/drawing/2014/chart" uri="{C3380CC4-5D6E-409C-BE32-E72D297353CC}">
                <c16:uniqueId val="{0000000F-FA3E-4872-B6E1-C4ABDF5766E2}"/>
              </c:ext>
            </c:extLst>
          </c:dPt>
          <c:dPt>
            <c:idx val="7"/>
            <c:invertIfNegative val="1"/>
            <c:bubble3D val="0"/>
            <c:spPr>
              <a:solidFill>
                <a:srgbClr val="7ECAC4"/>
              </a:solidFill>
            </c:spPr>
            <c:extLst>
              <c:ext xmlns:c16="http://schemas.microsoft.com/office/drawing/2014/chart" uri="{C3380CC4-5D6E-409C-BE32-E72D297353CC}">
                <c16:uniqueId val="{00000011-FA3E-4872-B6E1-C4ABDF5766E2}"/>
              </c:ext>
            </c:extLst>
          </c:dPt>
          <c:dPt>
            <c:idx val="8"/>
            <c:invertIfNegative val="1"/>
            <c:bubble3D val="0"/>
            <c:spPr>
              <a:solidFill>
                <a:srgbClr val="AEABAB"/>
              </a:solidFill>
            </c:spPr>
            <c:extLst>
              <c:ext xmlns:c16="http://schemas.microsoft.com/office/drawing/2014/chart" uri="{C3380CC4-5D6E-409C-BE32-E72D297353CC}">
                <c16:uniqueId val="{00000013-FA3E-4872-B6E1-C4ABDF5766E2}"/>
              </c:ext>
            </c:extLst>
          </c:dPt>
          <c:dPt>
            <c:idx val="9"/>
            <c:invertIfNegative val="1"/>
            <c:bubble3D val="0"/>
            <c:spPr>
              <a:solidFill>
                <a:srgbClr val="AEABAB"/>
              </a:solidFill>
            </c:spPr>
            <c:extLst>
              <c:ext xmlns:c16="http://schemas.microsoft.com/office/drawing/2014/chart" uri="{C3380CC4-5D6E-409C-BE32-E72D297353CC}">
                <c16:uniqueId val="{00000015-FA3E-4872-B6E1-C4ABDF5766E2}"/>
              </c:ext>
            </c:extLst>
          </c:dPt>
          <c:dPt>
            <c:idx val="10"/>
            <c:invertIfNegative val="1"/>
            <c:bubble3D val="0"/>
            <c:spPr>
              <a:solidFill>
                <a:srgbClr val="AEABAB"/>
              </a:solidFill>
            </c:spPr>
            <c:extLst>
              <c:ext xmlns:c16="http://schemas.microsoft.com/office/drawing/2014/chart" uri="{C3380CC4-5D6E-409C-BE32-E72D297353CC}">
                <c16:uniqueId val="{00000017-FA3E-4872-B6E1-C4ABDF5766E2}"/>
              </c:ext>
            </c:extLst>
          </c:dPt>
          <c:dPt>
            <c:idx val="11"/>
            <c:invertIfNegative val="1"/>
            <c:bubble3D val="0"/>
            <c:spPr>
              <a:solidFill>
                <a:srgbClr val="AEABAB"/>
              </a:solidFill>
            </c:spPr>
            <c:extLst>
              <c:ext xmlns:c16="http://schemas.microsoft.com/office/drawing/2014/chart" uri="{C3380CC4-5D6E-409C-BE32-E72D297353CC}">
                <c16:uniqueId val="{00000019-FA3E-4872-B6E1-C4ABDF5766E2}"/>
              </c:ext>
            </c:extLst>
          </c:dPt>
          <c:dPt>
            <c:idx val="12"/>
            <c:invertIfNegative val="1"/>
            <c:bubble3D val="0"/>
            <c:spPr>
              <a:solidFill>
                <a:srgbClr val="AEABAB"/>
              </a:solidFill>
            </c:spPr>
            <c:extLst>
              <c:ext xmlns:c16="http://schemas.microsoft.com/office/drawing/2014/chart" uri="{C3380CC4-5D6E-409C-BE32-E72D297353CC}">
                <c16:uniqueId val="{0000001B-FA3E-4872-B6E1-C4ABDF5766E2}"/>
              </c:ext>
            </c:extLst>
          </c:dPt>
          <c:dPt>
            <c:idx val="13"/>
            <c:invertIfNegative val="1"/>
            <c:bubble3D val="0"/>
            <c:spPr>
              <a:solidFill>
                <a:srgbClr val="AEABAB"/>
              </a:solidFill>
            </c:spPr>
            <c:extLst>
              <c:ext xmlns:c16="http://schemas.microsoft.com/office/drawing/2014/chart" uri="{C3380CC4-5D6E-409C-BE32-E72D297353CC}">
                <c16:uniqueId val="{0000001D-FA3E-4872-B6E1-C4ABDF5766E2}"/>
              </c:ext>
            </c:extLst>
          </c:dPt>
          <c:dPt>
            <c:idx val="14"/>
            <c:invertIfNegative val="1"/>
            <c:bubble3D val="0"/>
            <c:spPr>
              <a:solidFill>
                <a:srgbClr val="AEABAB"/>
              </a:solidFill>
            </c:spPr>
            <c:extLst>
              <c:ext xmlns:c16="http://schemas.microsoft.com/office/drawing/2014/chart" uri="{C3380CC4-5D6E-409C-BE32-E72D297353CC}">
                <c16:uniqueId val="{0000001F-FA3E-4872-B6E1-C4ABDF5766E2}"/>
              </c:ext>
            </c:extLst>
          </c:dPt>
          <c:dPt>
            <c:idx val="15"/>
            <c:invertIfNegative val="1"/>
            <c:bubble3D val="0"/>
            <c:spPr>
              <a:solidFill>
                <a:srgbClr val="AEABAB"/>
              </a:solidFill>
            </c:spPr>
            <c:extLst>
              <c:ext xmlns:c16="http://schemas.microsoft.com/office/drawing/2014/chart" uri="{C3380CC4-5D6E-409C-BE32-E72D297353CC}">
                <c16:uniqueId val="{00000021-FA3E-4872-B6E1-C4ABDF5766E2}"/>
              </c:ext>
            </c:extLst>
          </c:dPt>
          <c:dPt>
            <c:idx val="16"/>
            <c:invertIfNegative val="1"/>
            <c:bubble3D val="0"/>
            <c:spPr>
              <a:solidFill>
                <a:srgbClr val="AEABAB"/>
              </a:solidFill>
            </c:spPr>
            <c:extLst>
              <c:ext xmlns:c16="http://schemas.microsoft.com/office/drawing/2014/chart" uri="{C3380CC4-5D6E-409C-BE32-E72D297353CC}">
                <c16:uniqueId val="{00000023-FA3E-4872-B6E1-C4ABDF5766E2}"/>
              </c:ext>
            </c:extLst>
          </c:dPt>
          <c:dPt>
            <c:idx val="17"/>
            <c:invertIfNegative val="1"/>
            <c:bubble3D val="0"/>
            <c:spPr>
              <a:solidFill>
                <a:srgbClr val="AEABAB"/>
              </a:solidFill>
            </c:spPr>
            <c:extLst>
              <c:ext xmlns:c16="http://schemas.microsoft.com/office/drawing/2014/chart" uri="{C3380CC4-5D6E-409C-BE32-E72D297353CC}">
                <c16:uniqueId val="{00000025-FA3E-4872-B6E1-C4ABDF5766E2}"/>
              </c:ext>
            </c:extLst>
          </c:dPt>
          <c:dPt>
            <c:idx val="18"/>
            <c:invertIfNegative val="1"/>
            <c:bubble3D val="0"/>
            <c:spPr>
              <a:solidFill>
                <a:srgbClr val="AEABAB"/>
              </a:solidFill>
            </c:spPr>
            <c:extLst>
              <c:ext xmlns:c16="http://schemas.microsoft.com/office/drawing/2014/chart" uri="{C3380CC4-5D6E-409C-BE32-E72D297353CC}">
                <c16:uniqueId val="{00000027-FA3E-4872-B6E1-C4ABDF5766E2}"/>
              </c:ext>
            </c:extLst>
          </c:dPt>
          <c:dPt>
            <c:idx val="19"/>
            <c:invertIfNegative val="1"/>
            <c:bubble3D val="0"/>
            <c:spPr>
              <a:solidFill>
                <a:srgbClr val="AEABAB"/>
              </a:solidFill>
            </c:spPr>
            <c:extLst>
              <c:ext xmlns:c16="http://schemas.microsoft.com/office/drawing/2014/chart" uri="{C3380CC4-5D6E-409C-BE32-E72D297353CC}">
                <c16:uniqueId val="{00000029-FA3E-4872-B6E1-C4ABDF5766E2}"/>
              </c:ext>
            </c:extLst>
          </c:dPt>
          <c:dPt>
            <c:idx val="20"/>
            <c:invertIfNegative val="1"/>
            <c:bubble3D val="0"/>
            <c:spPr>
              <a:solidFill>
                <a:srgbClr val="AEABAB"/>
              </a:solidFill>
            </c:spPr>
            <c:extLst>
              <c:ext xmlns:c16="http://schemas.microsoft.com/office/drawing/2014/chart" uri="{C3380CC4-5D6E-409C-BE32-E72D297353CC}">
                <c16:uniqueId val="{0000002B-FA3E-4872-B6E1-C4ABDF5766E2}"/>
              </c:ext>
            </c:extLst>
          </c:dPt>
          <c:dPt>
            <c:idx val="21"/>
            <c:invertIfNegative val="1"/>
            <c:bubble3D val="0"/>
            <c:spPr>
              <a:solidFill>
                <a:srgbClr val="AEABAB"/>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23</c:f>
              <c:strCache>
                <c:ptCount val="22"/>
                <c:pt idx="0">
                  <c:v>CHAMPAGNE E.NICOLAS BRUT 1CT X 750ML</c:v>
                </c:pt>
                <c:pt idx="1">
                  <c:v>CHAMPAGNE NICOLAS BLC/BLC BS 1CT X 750ML</c:v>
                </c:pt>
                <c:pt idx="2">
                  <c:v>CHAMPAGNE E.NICOLAS ROSE 1CT X 750ML</c:v>
                </c:pt>
                <c:pt idx="3">
                  <c:v>CHAMPAGNE NICOLAS 1ERE CUVEE 1CT X 750ML</c:v>
                </c:pt>
                <c:pt idx="4">
                  <c:v>1/2 CHAMPAGNE NICOLAS 1ERE CUV 1CT X 375ML</c:v>
                </c:pt>
                <c:pt idx="5">
                  <c:v>MG CHAMPAGNE E.NICOLAS BRUT 1CT X 1500ML</c:v>
                </c:pt>
                <c:pt idx="6">
                  <c:v>CHAMPAGNE NICOLAS ROSE 1ERE CU 1CT X 750ML</c:v>
                </c:pt>
                <c:pt idx="7">
                  <c:v>MG CHAMPAGNE NICOLAS BLC/BL BS 1CT X 1500ML</c:v>
                </c:pt>
                <c:pt idx="8">
                  <c:v>CHAMPAGNE NICOLAS BIO NAT 2017 1CT X 750ML</c:v>
                </c:pt>
                <c:pt idx="9">
                  <c:v>1/2 CHAMP NICOLAS BLC/BLC BS 1CT X 375ML</c:v>
                </c:pt>
                <c:pt idx="10">
                  <c:v>1/2 CHAMP NICOLAS ROSE 1E C BS 1CT X 375ML</c:v>
                </c:pt>
                <c:pt idx="11">
                  <c:v>CHAMPAGNE NICOLAS BLC DE NOIRS 1CT X 750ML</c:v>
                </c:pt>
                <c:pt idx="12">
                  <c:v>MG CHAMPAGNE NICOLAS 1ERE CUVE 1CT X 1500ML</c:v>
                </c:pt>
                <c:pt idx="13">
                  <c:v>CHAMPAGNE NICOLAS 1ER CRU ETUI 1CT X 750ML</c:v>
                </c:pt>
                <c:pt idx="14">
                  <c:v>CHAMPAGNE NICOLAS 1ER CRU BS 1CT X 750ML</c:v>
                </c:pt>
                <c:pt idx="15">
                  <c:v>CHAMPAGNE NICOLAS ROSE 1ERE ET 1CT X 750ML</c:v>
                </c:pt>
                <c:pt idx="16">
                  <c:v>CHAMPAGNE NICOLAS 1ERE CUV ETU 1CT X 750ML</c:v>
                </c:pt>
                <c:pt idx="17">
                  <c:v>MG CHAMPAGNE NICOLAS 1E CRU BS 1CT X 1500ML</c:v>
                </c:pt>
                <c:pt idx="18">
                  <c:v>CHAMPAGNE NICOLAS ROSE 1E C BS 1CT X 750ML</c:v>
                </c:pt>
                <c:pt idx="19">
                  <c:v>CHAMPAGNE NICOLAS BLC/BL BS ET 1CT X 750ML</c:v>
                </c:pt>
                <c:pt idx="20">
                  <c:v>MG CHAMPAGNE NICOLAS BRUT 1CT X 1500ML</c:v>
                </c:pt>
                <c:pt idx="21">
                  <c:v>1/2 CHAMPAGNE NICOLAS 1E C BS 1CT X 375ML</c:v>
                </c:pt>
              </c:strCache>
            </c:strRef>
          </c:cat>
          <c:val>
            <c:numRef>
              <c:f>Sheet1!$C$2:$C$23</c:f>
              <c:numCache>
                <c:formatCode>General</c:formatCode>
                <c:ptCount val="22"/>
                <c:pt idx="0">
                  <c:v>0.74290128597195604</c:v>
                </c:pt>
                <c:pt idx="1">
                  <c:v>0.80744321087837556</c:v>
                </c:pt>
                <c:pt idx="2">
                  <c:v>0.85323713644154198</c:v>
                </c:pt>
                <c:pt idx="3">
                  <c:v>0.89204426663453817</c:v>
                </c:pt>
                <c:pt idx="4">
                  <c:v>0.91144310693281472</c:v>
                </c:pt>
                <c:pt idx="5">
                  <c:v>0.92288538702594047</c:v>
                </c:pt>
                <c:pt idx="6">
                  <c:v>0.93317363515344387</c:v>
                </c:pt>
                <c:pt idx="7">
                  <c:v>0.94342644729428538</c:v>
                </c:pt>
                <c:pt idx="8">
                  <c:v>0.95282525215657521</c:v>
                </c:pt>
                <c:pt idx="9">
                  <c:v>0.96084559713771733</c:v>
                </c:pt>
                <c:pt idx="10">
                  <c:v>0.96880688214108968</c:v>
                </c:pt>
                <c:pt idx="11">
                  <c:v>0.97516646054734435</c:v>
                </c:pt>
                <c:pt idx="12">
                  <c:v>0.98097205636211804</c:v>
                </c:pt>
                <c:pt idx="13">
                  <c:v>0.98669142460934778</c:v>
                </c:pt>
                <c:pt idx="14">
                  <c:v>0.99208123818062199</c:v>
                </c:pt>
                <c:pt idx="15">
                  <c:v>0.99541103972728473</c:v>
                </c:pt>
                <c:pt idx="16">
                  <c:v>0.99725843583192486</c:v>
                </c:pt>
                <c:pt idx="17">
                  <c:v>0.99832860262911405</c:v>
                </c:pt>
                <c:pt idx="18">
                  <c:v>0.99923694508721395</c:v>
                </c:pt>
                <c:pt idx="19">
                  <c:v>0.99992676562756544</c:v>
                </c:pt>
                <c:pt idx="20">
                  <c:v>0.99997519480933672</c:v>
                </c:pt>
                <c:pt idx="21">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23</c:f>
              <c:strCache>
                <c:ptCount val="22"/>
                <c:pt idx="0">
                  <c:v>CHAMPAGNE E.NICOLAS BRUT 1CT X 750ML</c:v>
                </c:pt>
                <c:pt idx="1">
                  <c:v>CHAMPAGNE NICOLAS BLC/BLC BS 1CT X 750ML</c:v>
                </c:pt>
                <c:pt idx="2">
                  <c:v>CHAMPAGNE E.NICOLAS ROSE 1CT X 750ML</c:v>
                </c:pt>
                <c:pt idx="3">
                  <c:v>CHAMPAGNE NICOLAS 1ERE CUVEE 1CT X 750ML</c:v>
                </c:pt>
                <c:pt idx="4">
                  <c:v>1/2 CHAMPAGNE NICOLAS 1ERE CUV 1CT X 375ML</c:v>
                </c:pt>
                <c:pt idx="5">
                  <c:v>MG CHAMPAGNE E.NICOLAS BRUT 1CT X 1500ML</c:v>
                </c:pt>
                <c:pt idx="6">
                  <c:v>CHAMPAGNE NICOLAS ROSE 1ERE CU 1CT X 750ML</c:v>
                </c:pt>
                <c:pt idx="7">
                  <c:v>MG CHAMPAGNE NICOLAS BLC/BL BS 1CT X 1500ML</c:v>
                </c:pt>
                <c:pt idx="8">
                  <c:v>CHAMPAGNE NICOLAS BIO NAT 2017 1CT X 750ML</c:v>
                </c:pt>
                <c:pt idx="9">
                  <c:v>1/2 CHAMP NICOLAS BLC/BLC BS 1CT X 375ML</c:v>
                </c:pt>
                <c:pt idx="10">
                  <c:v>1/2 CHAMP NICOLAS ROSE 1E C BS 1CT X 375ML</c:v>
                </c:pt>
                <c:pt idx="11">
                  <c:v>CHAMPAGNE NICOLAS BLC DE NOIRS 1CT X 750ML</c:v>
                </c:pt>
                <c:pt idx="12">
                  <c:v>MG CHAMPAGNE NICOLAS 1ERE CUVE 1CT X 1500ML</c:v>
                </c:pt>
                <c:pt idx="13">
                  <c:v>CHAMPAGNE NICOLAS 1ER CRU ETUI 1CT X 750ML</c:v>
                </c:pt>
                <c:pt idx="14">
                  <c:v>CHAMPAGNE NICOLAS 1ER CRU BS 1CT X 750ML</c:v>
                </c:pt>
                <c:pt idx="15">
                  <c:v>CHAMPAGNE NICOLAS ROSE 1ERE ET 1CT X 750ML</c:v>
                </c:pt>
                <c:pt idx="16">
                  <c:v>CHAMPAGNE NICOLAS 1ERE CUV ETU 1CT X 750ML</c:v>
                </c:pt>
                <c:pt idx="17">
                  <c:v>MG CHAMPAGNE NICOLAS 1E CRU BS 1CT X 1500ML</c:v>
                </c:pt>
                <c:pt idx="18">
                  <c:v>CHAMPAGNE NICOLAS ROSE 1E C BS 1CT X 750ML</c:v>
                </c:pt>
                <c:pt idx="19">
                  <c:v>CHAMPAGNE NICOLAS BLC/BL BS ET 1CT X 750ML</c:v>
                </c:pt>
                <c:pt idx="20">
                  <c:v>MG CHAMPAGNE NICOLAS BRUT 1CT X 1500ML</c:v>
                </c:pt>
                <c:pt idx="21">
                  <c:v>1/2 CHAMPAGNE NICOLAS 1E C BS 1CT X 375ML</c:v>
                </c:pt>
              </c:strCache>
            </c:strRef>
          </c:cat>
          <c:val>
            <c:numRef>
              <c:f>Sheet1!$D$2:$D$23</c:f>
              <c:numCache>
                <c:formatCode>General</c:formatCode>
                <c:ptCount val="22"/>
                <c:pt idx="0">
                  <c:v>6289.38</c:v>
                </c:pt>
                <c:pt idx="1">
                  <c:v>791.89855072463763</c:v>
                </c:pt>
                <c:pt idx="2">
                  <c:v>516.91999999999996</c:v>
                </c:pt>
                <c:pt idx="3">
                  <c:v>361.03296703296701</c:v>
                </c:pt>
                <c:pt idx="4">
                  <c:v>364.95555555555558</c:v>
                </c:pt>
                <c:pt idx="5">
                  <c:v>461.28571428571428</c:v>
                </c:pt>
                <c:pt idx="6">
                  <c:v>272.1875</c:v>
                </c:pt>
                <c:pt idx="7">
                  <c:v>456.84210526315792</c:v>
                </c:pt>
                <c:pt idx="8">
                  <c:v>378.90476190476193</c:v>
                </c:pt>
                <c:pt idx="9">
                  <c:v>226.33333333333334</c:v>
                </c:pt>
                <c:pt idx="10">
                  <c:v>210.625</c:v>
                </c:pt>
                <c:pt idx="11">
                  <c:v>256.38095238095241</c:v>
                </c:pt>
                <c:pt idx="12">
                  <c:v>409.58333333333331</c:v>
                </c:pt>
                <c:pt idx="13">
                  <c:v>210.52173913043478</c:v>
                </c:pt>
                <c:pt idx="14">
                  <c:v>103.70454545454545</c:v>
                </c:pt>
                <c:pt idx="15">
                  <c:v>176.1875</c:v>
                </c:pt>
                <c:pt idx="16">
                  <c:v>130.33333333333334</c:v>
                </c:pt>
                <c:pt idx="17">
                  <c:v>226.5</c:v>
                </c:pt>
                <c:pt idx="18">
                  <c:v>192.25</c:v>
                </c:pt>
                <c:pt idx="19">
                  <c:v>116.8</c:v>
                </c:pt>
                <c:pt idx="20">
                  <c:v>41</c:v>
                </c:pt>
                <c:pt idx="21">
                  <c:v>21</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23</c:f>
              <c:strCache>
                <c:ptCount val="22"/>
                <c:pt idx="0">
                  <c:v>CHAMPAGNE E.NICOLAS BRUT 1CT X 750ML</c:v>
                </c:pt>
                <c:pt idx="1">
                  <c:v>CHAMPAGNE NICOLAS BLC/BLC BS 1CT X 750ML</c:v>
                </c:pt>
                <c:pt idx="2">
                  <c:v>CHAMPAGNE E.NICOLAS ROSE 1CT X 750ML</c:v>
                </c:pt>
                <c:pt idx="3">
                  <c:v>CHAMPAGNE NICOLAS 1ERE CUVEE 1CT X 750ML</c:v>
                </c:pt>
                <c:pt idx="4">
                  <c:v>1/2 CHAMPAGNE NICOLAS 1ERE CUV 1CT X 375ML</c:v>
                </c:pt>
                <c:pt idx="5">
                  <c:v>MG CHAMPAGNE E.NICOLAS BRUT 1CT X 1500ML</c:v>
                </c:pt>
                <c:pt idx="6">
                  <c:v>CHAMPAGNE NICOLAS ROSE 1ERE CU 1CT X 750ML</c:v>
                </c:pt>
                <c:pt idx="7">
                  <c:v>1/2 CHAMP NICOLAS BLC/BLC BS 1CT X 375ML</c:v>
                </c:pt>
                <c:pt idx="8">
                  <c:v>CHAMPAGNE NICOLAS BIO NAT 2017 1CT X 750ML</c:v>
                </c:pt>
                <c:pt idx="9">
                  <c:v>MG CHAMPAGNE NICOLAS BLC/BL BS 1CT X 1500ML</c:v>
                </c:pt>
                <c:pt idx="10">
                  <c:v>1/2 CHAMP NICOLAS ROSE 1E C BS 1CT X 375ML</c:v>
                </c:pt>
                <c:pt idx="11">
                  <c:v>CHAMPAGNE NICOLAS BLC DE NOIRS 1CT X 750ML</c:v>
                </c:pt>
                <c:pt idx="12">
                  <c:v>MG CHAMPAGNE NICOLAS 1ERE CUVE 1CT X 1500ML</c:v>
                </c:pt>
                <c:pt idx="13">
                  <c:v>CHAMPAGNE NICOLAS 1ER CRU BS 1CT X 750ML</c:v>
                </c:pt>
                <c:pt idx="14">
                  <c:v>CHAMPAGNE NICOLAS 1ER CRU ETUI 1CT X 750ML</c:v>
                </c:pt>
                <c:pt idx="15">
                  <c:v>CHAMPAGNE NICOLAS ROSE 1ERE ET 1CT X 750ML</c:v>
                </c:pt>
                <c:pt idx="16">
                  <c:v>CHAMPAGNE NICOLAS 1ERE CUV ETU 1CT X 750ML</c:v>
                </c:pt>
                <c:pt idx="17">
                  <c:v>CHAMPAGNE NICOLAS ROSE 1E C BS 1CT X 750ML</c:v>
                </c:pt>
                <c:pt idx="18">
                  <c:v>CHAMPAGNE NICOLAS BLC/BL BS ET 1CT X 750ML</c:v>
                </c:pt>
                <c:pt idx="19">
                  <c:v>MG CHAMPAGNE NICOLAS 1E CRU BS 1CT X 1500ML</c:v>
                </c:pt>
                <c:pt idx="20">
                  <c:v>CHAMPAGNE NICOLAS BIO 2018 1CT X 750ML</c:v>
                </c:pt>
                <c:pt idx="21">
                  <c:v>1/2 CHAMPAGNE NICOLAS 1E C BS 1CT X 375ML</c:v>
                </c:pt>
              </c:strCache>
            </c:strRef>
          </c:cat>
          <c:val>
            <c:numRef>
              <c:f>Sheet1!$B$2:$B$23</c:f>
              <c:numCache>
                <c:formatCode>General</c:formatCode>
                <c:ptCount val="22"/>
                <c:pt idx="0">
                  <c:v>1</c:v>
                </c:pt>
                <c:pt idx="1">
                  <c:v>0.51</c:v>
                </c:pt>
                <c:pt idx="2">
                  <c:v>0.56000000000000005</c:v>
                </c:pt>
                <c:pt idx="3">
                  <c:v>0.77</c:v>
                </c:pt>
                <c:pt idx="4">
                  <c:v>0.36</c:v>
                </c:pt>
                <c:pt idx="5">
                  <c:v>0.17</c:v>
                </c:pt>
                <c:pt idx="6">
                  <c:v>0.32</c:v>
                </c:pt>
                <c:pt idx="7">
                  <c:v>0.25</c:v>
                </c:pt>
                <c:pt idx="8">
                  <c:v>0.18</c:v>
                </c:pt>
                <c:pt idx="9">
                  <c:v>0.13</c:v>
                </c:pt>
                <c:pt idx="10">
                  <c:v>0.23</c:v>
                </c:pt>
                <c:pt idx="11">
                  <c:v>0.17</c:v>
                </c:pt>
                <c:pt idx="12">
                  <c:v>0.06</c:v>
                </c:pt>
                <c:pt idx="13">
                  <c:v>0.28000000000000003</c:v>
                </c:pt>
                <c:pt idx="14">
                  <c:v>0.19</c:v>
                </c:pt>
                <c:pt idx="15">
                  <c:v>0.09</c:v>
                </c:pt>
                <c:pt idx="16">
                  <c:v>0.16</c:v>
                </c:pt>
                <c:pt idx="17">
                  <c:v>0.06</c:v>
                </c:pt>
                <c:pt idx="18">
                  <c:v>0.03</c:v>
                </c:pt>
                <c:pt idx="19">
                  <c:v>0.05</c:v>
                </c:pt>
                <c:pt idx="20">
                  <c:v>0.02</c:v>
                </c:pt>
                <c:pt idx="21">
                  <c:v>0.01</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7ECAC4"/>
              </a:solidFill>
            </c:spPr>
            <c:extLst>
              <c:ext xmlns:c16="http://schemas.microsoft.com/office/drawing/2014/chart" uri="{C3380CC4-5D6E-409C-BE32-E72D297353CC}">
                <c16:uniqueId val="{00000006-E902-46E2-9A54-39A26B3DFDC1}"/>
              </c:ext>
            </c:extLst>
          </c:dPt>
          <c:dPt>
            <c:idx val="3"/>
            <c:invertIfNegative val="0"/>
            <c:bubble3D val="0"/>
            <c:spPr>
              <a:solidFill>
                <a:srgbClr val="7ECAC4"/>
              </a:solidFill>
            </c:spPr>
            <c:extLst>
              <c:ext xmlns:c16="http://schemas.microsoft.com/office/drawing/2014/chart" uri="{C3380CC4-5D6E-409C-BE32-E72D297353CC}">
                <c16:uniqueId val="{00000007-E902-46E2-9A54-39A26B3DFDC1}"/>
              </c:ext>
            </c:extLst>
          </c:dPt>
          <c:dPt>
            <c:idx val="4"/>
            <c:invertIfNegative val="1"/>
            <c:bubble3D val="0"/>
            <c:spPr>
              <a:solidFill>
                <a:srgbClr val="7ECAC4"/>
              </a:solidFill>
            </c:spPr>
            <c:extLst>
              <c:ext xmlns:c16="http://schemas.microsoft.com/office/drawing/2014/chart" uri="{C3380CC4-5D6E-409C-BE32-E72D297353CC}">
                <c16:uniqueId val="{0000000B-FA3E-4872-B6E1-C4ABDF5766E2}"/>
              </c:ext>
            </c:extLst>
          </c:dPt>
          <c:dPt>
            <c:idx val="5"/>
            <c:invertIfNegative val="1"/>
            <c:bubble3D val="0"/>
            <c:spPr>
              <a:solidFill>
                <a:srgbClr val="7ECAC4"/>
              </a:solidFill>
            </c:spPr>
            <c:extLst>
              <c:ext xmlns:c16="http://schemas.microsoft.com/office/drawing/2014/chart" uri="{C3380CC4-5D6E-409C-BE32-E72D297353CC}">
                <c16:uniqueId val="{0000000D-FA3E-4872-B6E1-C4ABDF5766E2}"/>
              </c:ext>
            </c:extLst>
          </c:dPt>
          <c:dPt>
            <c:idx val="6"/>
            <c:invertIfNegative val="1"/>
            <c:bubble3D val="0"/>
            <c:spPr>
              <a:solidFill>
                <a:srgbClr val="7ECAC4"/>
              </a:solidFill>
            </c:spPr>
            <c:extLst>
              <c:ext xmlns:c16="http://schemas.microsoft.com/office/drawing/2014/chart" uri="{C3380CC4-5D6E-409C-BE32-E72D297353CC}">
                <c16:uniqueId val="{0000000F-FA3E-4872-B6E1-C4ABDF5766E2}"/>
              </c:ext>
            </c:extLst>
          </c:dPt>
          <c:dPt>
            <c:idx val="7"/>
            <c:invertIfNegative val="1"/>
            <c:bubble3D val="0"/>
            <c:spPr>
              <a:solidFill>
                <a:srgbClr val="7ECAC4"/>
              </a:solidFill>
            </c:spPr>
            <c:extLst>
              <c:ext xmlns:c16="http://schemas.microsoft.com/office/drawing/2014/chart" uri="{C3380CC4-5D6E-409C-BE32-E72D297353CC}">
                <c16:uniqueId val="{00000011-FA3E-4872-B6E1-C4ABDF5766E2}"/>
              </c:ext>
            </c:extLst>
          </c:dPt>
          <c:dPt>
            <c:idx val="8"/>
            <c:invertIfNegative val="1"/>
            <c:bubble3D val="0"/>
            <c:spPr>
              <a:solidFill>
                <a:srgbClr val="7ECAC4"/>
              </a:solidFill>
            </c:spPr>
            <c:extLst>
              <c:ext xmlns:c16="http://schemas.microsoft.com/office/drawing/2014/chart" uri="{C3380CC4-5D6E-409C-BE32-E72D297353CC}">
                <c16:uniqueId val="{00000013-FA3E-4872-B6E1-C4ABDF5766E2}"/>
              </c:ext>
            </c:extLst>
          </c:dPt>
          <c:dPt>
            <c:idx val="9"/>
            <c:invertIfNegative val="1"/>
            <c:bubble3D val="0"/>
            <c:spPr>
              <a:solidFill>
                <a:srgbClr val="AEABAB"/>
              </a:solidFill>
            </c:spPr>
            <c:extLst>
              <c:ext xmlns:c16="http://schemas.microsoft.com/office/drawing/2014/chart" uri="{C3380CC4-5D6E-409C-BE32-E72D297353CC}">
                <c16:uniqueId val="{00000015-FA3E-4872-B6E1-C4ABDF5766E2}"/>
              </c:ext>
            </c:extLst>
          </c:dPt>
          <c:dPt>
            <c:idx val="10"/>
            <c:invertIfNegative val="1"/>
            <c:bubble3D val="0"/>
            <c:spPr>
              <a:solidFill>
                <a:srgbClr val="AEABAB"/>
              </a:solidFill>
            </c:spPr>
            <c:extLst>
              <c:ext xmlns:c16="http://schemas.microsoft.com/office/drawing/2014/chart" uri="{C3380CC4-5D6E-409C-BE32-E72D297353CC}">
                <c16:uniqueId val="{00000017-FA3E-4872-B6E1-C4ABDF5766E2}"/>
              </c:ext>
            </c:extLst>
          </c:dPt>
          <c:dPt>
            <c:idx val="11"/>
            <c:invertIfNegative val="1"/>
            <c:bubble3D val="0"/>
            <c:spPr>
              <a:solidFill>
                <a:srgbClr val="AEABAB"/>
              </a:solidFill>
            </c:spPr>
            <c:extLst>
              <c:ext xmlns:c16="http://schemas.microsoft.com/office/drawing/2014/chart" uri="{C3380CC4-5D6E-409C-BE32-E72D297353CC}">
                <c16:uniqueId val="{00000019-FA3E-4872-B6E1-C4ABDF5766E2}"/>
              </c:ext>
            </c:extLst>
          </c:dPt>
          <c:dPt>
            <c:idx val="12"/>
            <c:invertIfNegative val="1"/>
            <c:bubble3D val="0"/>
            <c:spPr>
              <a:solidFill>
                <a:srgbClr val="AEABAB"/>
              </a:solidFill>
            </c:spPr>
            <c:extLst>
              <c:ext xmlns:c16="http://schemas.microsoft.com/office/drawing/2014/chart" uri="{C3380CC4-5D6E-409C-BE32-E72D297353CC}">
                <c16:uniqueId val="{0000001B-FA3E-4872-B6E1-C4ABDF5766E2}"/>
              </c:ext>
            </c:extLst>
          </c:dPt>
          <c:dPt>
            <c:idx val="13"/>
            <c:invertIfNegative val="1"/>
            <c:bubble3D val="0"/>
            <c:spPr>
              <a:solidFill>
                <a:srgbClr val="AEABAB"/>
              </a:solidFill>
            </c:spPr>
            <c:extLst>
              <c:ext xmlns:c16="http://schemas.microsoft.com/office/drawing/2014/chart" uri="{C3380CC4-5D6E-409C-BE32-E72D297353CC}">
                <c16:uniqueId val="{0000001D-FA3E-4872-B6E1-C4ABDF5766E2}"/>
              </c:ext>
            </c:extLst>
          </c:dPt>
          <c:dPt>
            <c:idx val="14"/>
            <c:invertIfNegative val="1"/>
            <c:bubble3D val="0"/>
            <c:spPr>
              <a:solidFill>
                <a:srgbClr val="AEABAB"/>
              </a:solidFill>
            </c:spPr>
            <c:extLst>
              <c:ext xmlns:c16="http://schemas.microsoft.com/office/drawing/2014/chart" uri="{C3380CC4-5D6E-409C-BE32-E72D297353CC}">
                <c16:uniqueId val="{0000001F-FA3E-4872-B6E1-C4ABDF5766E2}"/>
              </c:ext>
            </c:extLst>
          </c:dPt>
          <c:dPt>
            <c:idx val="15"/>
            <c:invertIfNegative val="1"/>
            <c:bubble3D val="0"/>
            <c:spPr>
              <a:solidFill>
                <a:srgbClr val="AEABAB"/>
              </a:solidFill>
            </c:spPr>
            <c:extLst>
              <c:ext xmlns:c16="http://schemas.microsoft.com/office/drawing/2014/chart" uri="{C3380CC4-5D6E-409C-BE32-E72D297353CC}">
                <c16:uniqueId val="{00000021-FA3E-4872-B6E1-C4ABDF5766E2}"/>
              </c:ext>
            </c:extLst>
          </c:dPt>
          <c:dPt>
            <c:idx val="16"/>
            <c:invertIfNegative val="1"/>
            <c:bubble3D val="0"/>
            <c:spPr>
              <a:solidFill>
                <a:srgbClr val="AEABAB"/>
              </a:solidFill>
            </c:spPr>
            <c:extLst>
              <c:ext xmlns:c16="http://schemas.microsoft.com/office/drawing/2014/chart" uri="{C3380CC4-5D6E-409C-BE32-E72D297353CC}">
                <c16:uniqueId val="{00000023-FA3E-4872-B6E1-C4ABDF5766E2}"/>
              </c:ext>
            </c:extLst>
          </c:dPt>
          <c:dPt>
            <c:idx val="17"/>
            <c:invertIfNegative val="1"/>
            <c:bubble3D val="0"/>
            <c:spPr>
              <a:solidFill>
                <a:srgbClr val="AEABAB"/>
              </a:solidFill>
            </c:spPr>
            <c:extLst>
              <c:ext xmlns:c16="http://schemas.microsoft.com/office/drawing/2014/chart" uri="{C3380CC4-5D6E-409C-BE32-E72D297353CC}">
                <c16:uniqueId val="{00000025-FA3E-4872-B6E1-C4ABDF5766E2}"/>
              </c:ext>
            </c:extLst>
          </c:dPt>
          <c:dPt>
            <c:idx val="18"/>
            <c:invertIfNegative val="1"/>
            <c:bubble3D val="0"/>
            <c:spPr>
              <a:solidFill>
                <a:srgbClr val="AEABAB"/>
              </a:solidFill>
            </c:spPr>
            <c:extLst>
              <c:ext xmlns:c16="http://schemas.microsoft.com/office/drawing/2014/chart" uri="{C3380CC4-5D6E-409C-BE32-E72D297353CC}">
                <c16:uniqueId val="{00000027-FA3E-4872-B6E1-C4ABDF5766E2}"/>
              </c:ext>
            </c:extLst>
          </c:dPt>
          <c:dPt>
            <c:idx val="19"/>
            <c:invertIfNegative val="1"/>
            <c:bubble3D val="0"/>
            <c:spPr>
              <a:solidFill>
                <a:srgbClr val="AEABAB"/>
              </a:solidFill>
            </c:spPr>
            <c:extLst>
              <c:ext xmlns:c16="http://schemas.microsoft.com/office/drawing/2014/chart" uri="{C3380CC4-5D6E-409C-BE32-E72D297353CC}">
                <c16:uniqueId val="{00000029-FA3E-4872-B6E1-C4ABDF5766E2}"/>
              </c:ext>
            </c:extLst>
          </c:dPt>
          <c:dPt>
            <c:idx val="20"/>
            <c:invertIfNegative val="1"/>
            <c:bubble3D val="0"/>
            <c:spPr>
              <a:solidFill>
                <a:srgbClr val="AEABAB"/>
              </a:solidFill>
            </c:spPr>
            <c:extLst>
              <c:ext xmlns:c16="http://schemas.microsoft.com/office/drawing/2014/chart" uri="{C3380CC4-5D6E-409C-BE32-E72D297353CC}">
                <c16:uniqueId val="{0000002B-FA3E-4872-B6E1-C4ABDF5766E2}"/>
              </c:ext>
            </c:extLst>
          </c:dPt>
          <c:dPt>
            <c:idx val="21"/>
            <c:invertIfNegative val="1"/>
            <c:bubble3D val="0"/>
            <c:spPr>
              <a:solidFill>
                <a:srgbClr val="AEABAB"/>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23</c:f>
              <c:strCache>
                <c:ptCount val="22"/>
                <c:pt idx="0">
                  <c:v>CHAMPAGNE E.NICOLAS BRUT 1CT X 750ML</c:v>
                </c:pt>
                <c:pt idx="1">
                  <c:v>CHAMPAGNE NICOLAS BLC/BLC BS 1CT X 750ML</c:v>
                </c:pt>
                <c:pt idx="2">
                  <c:v>CHAMPAGNE E.NICOLAS ROSE 1CT X 750ML</c:v>
                </c:pt>
                <c:pt idx="3">
                  <c:v>CHAMPAGNE NICOLAS 1ERE CUVEE 1CT X 750ML</c:v>
                </c:pt>
                <c:pt idx="4">
                  <c:v>1/2 CHAMPAGNE NICOLAS 1ERE CUV 1CT X 375ML</c:v>
                </c:pt>
                <c:pt idx="5">
                  <c:v>MG CHAMPAGNE E.NICOLAS BRUT 1CT X 1500ML</c:v>
                </c:pt>
                <c:pt idx="6">
                  <c:v>CHAMPAGNE NICOLAS ROSE 1ERE CU 1CT X 750ML</c:v>
                </c:pt>
                <c:pt idx="7">
                  <c:v>1/2 CHAMP NICOLAS BLC/BLC BS 1CT X 375ML</c:v>
                </c:pt>
                <c:pt idx="8">
                  <c:v>CHAMPAGNE NICOLAS BIO NAT 2017 1CT X 750ML</c:v>
                </c:pt>
                <c:pt idx="9">
                  <c:v>MG CHAMPAGNE NICOLAS BLC/BL BS 1CT X 1500ML</c:v>
                </c:pt>
                <c:pt idx="10">
                  <c:v>1/2 CHAMP NICOLAS ROSE 1E C BS 1CT X 375ML</c:v>
                </c:pt>
                <c:pt idx="11">
                  <c:v>CHAMPAGNE NICOLAS BLC DE NOIRS 1CT X 750ML</c:v>
                </c:pt>
                <c:pt idx="12">
                  <c:v>MG CHAMPAGNE NICOLAS 1ERE CUVE 1CT X 1500ML</c:v>
                </c:pt>
                <c:pt idx="13">
                  <c:v>CHAMPAGNE NICOLAS 1ER CRU BS 1CT X 750ML</c:v>
                </c:pt>
                <c:pt idx="14">
                  <c:v>CHAMPAGNE NICOLAS 1ER CRU ETUI 1CT X 750ML</c:v>
                </c:pt>
                <c:pt idx="15">
                  <c:v>CHAMPAGNE NICOLAS ROSE 1ERE ET 1CT X 750ML</c:v>
                </c:pt>
                <c:pt idx="16">
                  <c:v>CHAMPAGNE NICOLAS 1ERE CUV ETU 1CT X 750ML</c:v>
                </c:pt>
                <c:pt idx="17">
                  <c:v>CHAMPAGNE NICOLAS ROSE 1E C BS 1CT X 750ML</c:v>
                </c:pt>
                <c:pt idx="18">
                  <c:v>CHAMPAGNE NICOLAS BLC/BL BS ET 1CT X 750ML</c:v>
                </c:pt>
                <c:pt idx="19">
                  <c:v>MG CHAMPAGNE NICOLAS 1E CRU BS 1CT X 1500ML</c:v>
                </c:pt>
                <c:pt idx="20">
                  <c:v>CHAMPAGNE NICOLAS BIO 2018 1CT X 750ML</c:v>
                </c:pt>
                <c:pt idx="21">
                  <c:v>1/2 CHAMPAGNE NICOLAS 1E C BS 1CT X 375ML</c:v>
                </c:pt>
              </c:strCache>
            </c:strRef>
          </c:cat>
          <c:val>
            <c:numRef>
              <c:f>Sheet1!$C$2:$C$23</c:f>
              <c:numCache>
                <c:formatCode>General</c:formatCode>
                <c:ptCount val="22"/>
                <c:pt idx="0">
                  <c:v>0.72450292558138119</c:v>
                </c:pt>
                <c:pt idx="1">
                  <c:v>0.78862560180992713</c:v>
                </c:pt>
                <c:pt idx="2">
                  <c:v>0.83437611481572949</c:v>
                </c:pt>
                <c:pt idx="3">
                  <c:v>0.88010909567672546</c:v>
                </c:pt>
                <c:pt idx="4">
                  <c:v>0.89758025910985484</c:v>
                </c:pt>
                <c:pt idx="5">
                  <c:v>0.91439358597916265</c:v>
                </c:pt>
                <c:pt idx="6">
                  <c:v>0.92702282837707217</c:v>
                </c:pt>
                <c:pt idx="7">
                  <c:v>0.93892563016626562</c:v>
                </c:pt>
                <c:pt idx="8">
                  <c:v>0.94909656095545603</c:v>
                </c:pt>
                <c:pt idx="9">
                  <c:v>0.95847930749552535</c:v>
                </c:pt>
                <c:pt idx="10">
                  <c:v>0.96725071576886823</c:v>
                </c:pt>
                <c:pt idx="11">
                  <c:v>0.97467062435778973</c:v>
                </c:pt>
                <c:pt idx="12">
                  <c:v>0.98155008552637579</c:v>
                </c:pt>
                <c:pt idx="13">
                  <c:v>0.98726175339742461</c:v>
                </c:pt>
                <c:pt idx="14">
                  <c:v>0.99177513728431632</c:v>
                </c:pt>
                <c:pt idx="15">
                  <c:v>0.99446517811134572</c:v>
                </c:pt>
                <c:pt idx="16">
                  <c:v>0.99660791111355018</c:v>
                </c:pt>
                <c:pt idx="17">
                  <c:v>0.99839923895246174</c:v>
                </c:pt>
                <c:pt idx="18">
                  <c:v>0.99919885720906532</c:v>
                </c:pt>
                <c:pt idx="19">
                  <c:v>0.99994892809991176</c:v>
                </c:pt>
                <c:pt idx="20">
                  <c:v>0.99998399238952451</c:v>
                </c:pt>
                <c:pt idx="21">
                  <c:v>0.99999999999999989</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23</c:f>
              <c:strCache>
                <c:ptCount val="22"/>
                <c:pt idx="0">
                  <c:v>CHAMPAGNE E.NICOLAS BRUT 1CT X 750ML</c:v>
                </c:pt>
                <c:pt idx="1">
                  <c:v>CHAMPAGNE NICOLAS BLC/BLC BS 1CT X 750ML</c:v>
                </c:pt>
                <c:pt idx="2">
                  <c:v>CHAMPAGNE E.NICOLAS ROSE 1CT X 750ML</c:v>
                </c:pt>
                <c:pt idx="3">
                  <c:v>CHAMPAGNE NICOLAS 1ERE CUVEE 1CT X 750ML</c:v>
                </c:pt>
                <c:pt idx="4">
                  <c:v>1/2 CHAMPAGNE NICOLAS 1ERE CUV 1CT X 375ML</c:v>
                </c:pt>
                <c:pt idx="5">
                  <c:v>MG CHAMPAGNE E.NICOLAS BRUT 1CT X 1500ML</c:v>
                </c:pt>
                <c:pt idx="6">
                  <c:v>CHAMPAGNE NICOLAS ROSE 1ERE CU 1CT X 750ML</c:v>
                </c:pt>
                <c:pt idx="7">
                  <c:v>1/2 CHAMP NICOLAS BLC/BLC BS 1CT X 375ML</c:v>
                </c:pt>
                <c:pt idx="8">
                  <c:v>CHAMPAGNE NICOLAS BIO NAT 2017 1CT X 750ML</c:v>
                </c:pt>
                <c:pt idx="9">
                  <c:v>MG CHAMPAGNE NICOLAS BLC/BL BS 1CT X 1500ML</c:v>
                </c:pt>
                <c:pt idx="10">
                  <c:v>1/2 CHAMP NICOLAS ROSE 1E C BS 1CT X 375ML</c:v>
                </c:pt>
                <c:pt idx="11">
                  <c:v>CHAMPAGNE NICOLAS BLC DE NOIRS 1CT X 750ML</c:v>
                </c:pt>
                <c:pt idx="12">
                  <c:v>MG CHAMPAGNE NICOLAS 1ERE CUVE 1CT X 1500ML</c:v>
                </c:pt>
                <c:pt idx="13">
                  <c:v>CHAMPAGNE NICOLAS 1ER CRU BS 1CT X 750ML</c:v>
                </c:pt>
                <c:pt idx="14">
                  <c:v>CHAMPAGNE NICOLAS 1ER CRU ETUI 1CT X 750ML</c:v>
                </c:pt>
                <c:pt idx="15">
                  <c:v>CHAMPAGNE NICOLAS ROSE 1ERE ET 1CT X 750ML</c:v>
                </c:pt>
                <c:pt idx="16">
                  <c:v>CHAMPAGNE NICOLAS 1ERE CUV ETU 1CT X 750ML</c:v>
                </c:pt>
                <c:pt idx="17">
                  <c:v>CHAMPAGNE NICOLAS ROSE 1E C BS 1CT X 750ML</c:v>
                </c:pt>
                <c:pt idx="18">
                  <c:v>CHAMPAGNE NICOLAS BLC/BL BS ET 1CT X 750ML</c:v>
                </c:pt>
                <c:pt idx="19">
                  <c:v>MG CHAMPAGNE NICOLAS 1E CRU BS 1CT X 1500ML</c:v>
                </c:pt>
                <c:pt idx="20">
                  <c:v>CHAMPAGNE NICOLAS BIO 2018 1CT X 750ML</c:v>
                </c:pt>
                <c:pt idx="21">
                  <c:v>1/2 CHAMPAGNE NICOLAS 1E C BS 1CT X 375ML</c:v>
                </c:pt>
              </c:strCache>
            </c:strRef>
          </c:cat>
          <c:val>
            <c:numRef>
              <c:f>Sheet1!$D$2:$D$23</c:f>
              <c:numCache>
                <c:formatCode>General</c:formatCode>
                <c:ptCount val="22"/>
                <c:pt idx="0">
                  <c:v>9504.58</c:v>
                </c:pt>
                <c:pt idx="1">
                  <c:v>1649.4313725490197</c:v>
                </c:pt>
                <c:pt idx="2">
                  <c:v>1071.7678571428571</c:v>
                </c:pt>
                <c:pt idx="3">
                  <c:v>779.16883116883116</c:v>
                </c:pt>
                <c:pt idx="4">
                  <c:v>636.66666666666663</c:v>
                </c:pt>
                <c:pt idx="5">
                  <c:v>1297.4705882352941</c:v>
                </c:pt>
                <c:pt idx="6">
                  <c:v>517.75</c:v>
                </c:pt>
                <c:pt idx="7">
                  <c:v>624.6</c:v>
                </c:pt>
                <c:pt idx="8">
                  <c:v>741.27777777777783</c:v>
                </c:pt>
                <c:pt idx="9">
                  <c:v>946.84615384615381</c:v>
                </c:pt>
                <c:pt idx="10">
                  <c:v>500.30434782608694</c:v>
                </c:pt>
                <c:pt idx="11">
                  <c:v>572.58823529411768</c:v>
                </c:pt>
                <c:pt idx="12">
                  <c:v>1504.1666666666667</c:v>
                </c:pt>
                <c:pt idx="13">
                  <c:v>267.60714285714283</c:v>
                </c:pt>
                <c:pt idx="14">
                  <c:v>311.63157894736844</c:v>
                </c:pt>
                <c:pt idx="15">
                  <c:v>392.11111111111109</c:v>
                </c:pt>
                <c:pt idx="16">
                  <c:v>175.6875</c:v>
                </c:pt>
                <c:pt idx="17">
                  <c:v>391.66666666666669</c:v>
                </c:pt>
                <c:pt idx="18">
                  <c:v>349.66666666666669</c:v>
                </c:pt>
                <c:pt idx="19">
                  <c:v>196.8</c:v>
                </c:pt>
                <c:pt idx="20">
                  <c:v>23</c:v>
                </c:pt>
                <c:pt idx="21">
                  <c:v>21</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22</c:f>
              <c:strCache>
                <c:ptCount val="21"/>
                <c:pt idx="0">
                  <c:v>CHAMPAGNE E.NICOLAS BRUT 1CT X 750ML</c:v>
                </c:pt>
                <c:pt idx="1">
                  <c:v>CHAMPAGNE NICOLAS BLC/BLC BS 1CT X 750ML</c:v>
                </c:pt>
                <c:pt idx="2">
                  <c:v>CHAMPAGNE E.NICOLAS ROSE 1CT X 750ML</c:v>
                </c:pt>
                <c:pt idx="3">
                  <c:v>CHAMPAGNE NICOLAS 1ERE CUVEE 1CT X 750ML</c:v>
                </c:pt>
                <c:pt idx="4">
                  <c:v>1/2 CHAMPAGNE NICOLAS 1ERE CUV 1CT X 375ML</c:v>
                </c:pt>
                <c:pt idx="5">
                  <c:v>MG CHAMPAGNE E.NICOLAS BRUT 1CT X 1500ML</c:v>
                </c:pt>
                <c:pt idx="6">
                  <c:v>CHAMPAGNE NICOLAS ROSE 1ERE CU 1CT X 750ML</c:v>
                </c:pt>
                <c:pt idx="7">
                  <c:v>CHAMPAGNE NICOLAS BIO NAT 2017 1CT X 750ML</c:v>
                </c:pt>
                <c:pt idx="8">
                  <c:v>1/2 CHAMP NICOLAS BLC/BLC BS 1CT X 375ML</c:v>
                </c:pt>
                <c:pt idx="9">
                  <c:v>CHAMPAGNE NICOLAS 1ER CRU BS 1CT X 750ML</c:v>
                </c:pt>
                <c:pt idx="10">
                  <c:v>MG CHAMPAGNE NICOLAS BLC/BL BS 1CT X 1500ML</c:v>
                </c:pt>
                <c:pt idx="11">
                  <c:v>1/2 CHAMP NICOLAS ROSE 1E C BS 1CT X 375ML</c:v>
                </c:pt>
                <c:pt idx="12">
                  <c:v>MG CHAMPAGNE NICOLAS 1ERE CUVE 1CT X 1500ML</c:v>
                </c:pt>
                <c:pt idx="13">
                  <c:v>CHAMPAGNE NICOLAS BLC DE NOIRS 1CT X 750ML</c:v>
                </c:pt>
                <c:pt idx="14">
                  <c:v>CHAMPAGNE NICOLAS 1ER CRU ETUI 1CT X 750ML</c:v>
                </c:pt>
                <c:pt idx="15">
                  <c:v>CHAMPAGNE NICOLAS 1ERE CUV ETU 1CT X 750ML</c:v>
                </c:pt>
                <c:pt idx="16">
                  <c:v>CHAMPAGNE NICOLAS ROSE 1ERE ET 1CT X 750ML</c:v>
                </c:pt>
                <c:pt idx="17">
                  <c:v>CHAMPAGNE NICOLAS ROSE 1E C BS 1CT X 750ML</c:v>
                </c:pt>
                <c:pt idx="18">
                  <c:v>MG CHAMPAGNE NICOLAS 1E CRU BS 1CT X 1500ML</c:v>
                </c:pt>
                <c:pt idx="19">
                  <c:v>CHAMPAGNE NICOLAS BLC/BL BS ET 1CT X 750ML</c:v>
                </c:pt>
                <c:pt idx="20">
                  <c:v>1/2 CHAMPAGNE NICOLAS 1E C BS 1CT X 375ML</c:v>
                </c:pt>
              </c:strCache>
            </c:strRef>
          </c:cat>
          <c:val>
            <c:numRef>
              <c:f>Sheet1!$B$2:$B$22</c:f>
              <c:numCache>
                <c:formatCode>General</c:formatCode>
                <c:ptCount val="21"/>
                <c:pt idx="0">
                  <c:v>0.99</c:v>
                </c:pt>
                <c:pt idx="1">
                  <c:v>0.51</c:v>
                </c:pt>
                <c:pt idx="2">
                  <c:v>0.53</c:v>
                </c:pt>
                <c:pt idx="3">
                  <c:v>0.62</c:v>
                </c:pt>
                <c:pt idx="4">
                  <c:v>0.25</c:v>
                </c:pt>
                <c:pt idx="5">
                  <c:v>0.15</c:v>
                </c:pt>
                <c:pt idx="6">
                  <c:v>0.28000000000000003</c:v>
                </c:pt>
                <c:pt idx="7">
                  <c:v>0.18</c:v>
                </c:pt>
                <c:pt idx="8">
                  <c:v>0.15</c:v>
                </c:pt>
                <c:pt idx="9">
                  <c:v>0.28000000000000003</c:v>
                </c:pt>
                <c:pt idx="10">
                  <c:v>0.08</c:v>
                </c:pt>
                <c:pt idx="11">
                  <c:v>0.18</c:v>
                </c:pt>
                <c:pt idx="12">
                  <c:v>0.06</c:v>
                </c:pt>
                <c:pt idx="13">
                  <c:v>0.13</c:v>
                </c:pt>
                <c:pt idx="14">
                  <c:v>0.1</c:v>
                </c:pt>
                <c:pt idx="15">
                  <c:v>0.15</c:v>
                </c:pt>
                <c:pt idx="16">
                  <c:v>0.05</c:v>
                </c:pt>
                <c:pt idx="17">
                  <c:v>7.0000000000000007E-2</c:v>
                </c:pt>
                <c:pt idx="18">
                  <c:v>0.03</c:v>
                </c:pt>
                <c:pt idx="19">
                  <c:v>0.04</c:v>
                </c:pt>
                <c:pt idx="20">
                  <c:v>0.01</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7ECAC4"/>
              </a:solidFill>
            </c:spPr>
            <c:extLst>
              <c:ext xmlns:c16="http://schemas.microsoft.com/office/drawing/2014/chart" uri="{C3380CC4-5D6E-409C-BE32-E72D297353CC}">
                <c16:uniqueId val="{00000006-E902-46E2-9A54-39A26B3DFDC1}"/>
              </c:ext>
            </c:extLst>
          </c:dPt>
          <c:dPt>
            <c:idx val="3"/>
            <c:invertIfNegative val="0"/>
            <c:bubble3D val="0"/>
            <c:spPr>
              <a:solidFill>
                <a:srgbClr val="7ECAC4"/>
              </a:solidFill>
            </c:spPr>
            <c:extLst>
              <c:ext xmlns:c16="http://schemas.microsoft.com/office/drawing/2014/chart" uri="{C3380CC4-5D6E-409C-BE32-E72D297353CC}">
                <c16:uniqueId val="{00000007-E902-46E2-9A54-39A26B3DFDC1}"/>
              </c:ext>
            </c:extLst>
          </c:dPt>
          <c:dPt>
            <c:idx val="4"/>
            <c:invertIfNegative val="1"/>
            <c:bubble3D val="0"/>
            <c:spPr>
              <a:solidFill>
                <a:srgbClr val="7ECAC4"/>
              </a:solidFill>
            </c:spPr>
            <c:extLst>
              <c:ext xmlns:c16="http://schemas.microsoft.com/office/drawing/2014/chart" uri="{C3380CC4-5D6E-409C-BE32-E72D297353CC}">
                <c16:uniqueId val="{0000000B-FA3E-4872-B6E1-C4ABDF5766E2}"/>
              </c:ext>
            </c:extLst>
          </c:dPt>
          <c:dPt>
            <c:idx val="5"/>
            <c:invertIfNegative val="1"/>
            <c:bubble3D val="0"/>
            <c:spPr>
              <a:solidFill>
                <a:srgbClr val="7ECAC4"/>
              </a:solidFill>
            </c:spPr>
            <c:extLst>
              <c:ext xmlns:c16="http://schemas.microsoft.com/office/drawing/2014/chart" uri="{C3380CC4-5D6E-409C-BE32-E72D297353CC}">
                <c16:uniqueId val="{0000000D-FA3E-4872-B6E1-C4ABDF5766E2}"/>
              </c:ext>
            </c:extLst>
          </c:dPt>
          <c:dPt>
            <c:idx val="6"/>
            <c:invertIfNegative val="1"/>
            <c:bubble3D val="0"/>
            <c:spPr>
              <a:solidFill>
                <a:srgbClr val="7ECAC4"/>
              </a:solidFill>
            </c:spPr>
            <c:extLst>
              <c:ext xmlns:c16="http://schemas.microsoft.com/office/drawing/2014/chart" uri="{C3380CC4-5D6E-409C-BE32-E72D297353CC}">
                <c16:uniqueId val="{0000000F-FA3E-4872-B6E1-C4ABDF5766E2}"/>
              </c:ext>
            </c:extLst>
          </c:dPt>
          <c:dPt>
            <c:idx val="7"/>
            <c:invertIfNegative val="1"/>
            <c:bubble3D val="0"/>
            <c:spPr>
              <a:solidFill>
                <a:srgbClr val="7ECAC4"/>
              </a:solidFill>
            </c:spPr>
            <c:extLst>
              <c:ext xmlns:c16="http://schemas.microsoft.com/office/drawing/2014/chart" uri="{C3380CC4-5D6E-409C-BE32-E72D297353CC}">
                <c16:uniqueId val="{00000011-FA3E-4872-B6E1-C4ABDF5766E2}"/>
              </c:ext>
            </c:extLst>
          </c:dPt>
          <c:dPt>
            <c:idx val="8"/>
            <c:invertIfNegative val="1"/>
            <c:bubble3D val="0"/>
            <c:spPr>
              <a:solidFill>
                <a:srgbClr val="7ECAC4"/>
              </a:solidFill>
            </c:spPr>
            <c:extLst>
              <c:ext xmlns:c16="http://schemas.microsoft.com/office/drawing/2014/chart" uri="{C3380CC4-5D6E-409C-BE32-E72D297353CC}">
                <c16:uniqueId val="{00000013-FA3E-4872-B6E1-C4ABDF5766E2}"/>
              </c:ext>
            </c:extLst>
          </c:dPt>
          <c:dPt>
            <c:idx val="9"/>
            <c:invertIfNegative val="1"/>
            <c:bubble3D val="0"/>
            <c:spPr>
              <a:solidFill>
                <a:srgbClr val="AEABAB"/>
              </a:solidFill>
            </c:spPr>
            <c:extLst>
              <c:ext xmlns:c16="http://schemas.microsoft.com/office/drawing/2014/chart" uri="{C3380CC4-5D6E-409C-BE32-E72D297353CC}">
                <c16:uniqueId val="{00000015-FA3E-4872-B6E1-C4ABDF5766E2}"/>
              </c:ext>
            </c:extLst>
          </c:dPt>
          <c:dPt>
            <c:idx val="10"/>
            <c:invertIfNegative val="1"/>
            <c:bubble3D val="0"/>
            <c:spPr>
              <a:solidFill>
                <a:srgbClr val="AEABAB"/>
              </a:solidFill>
            </c:spPr>
            <c:extLst>
              <c:ext xmlns:c16="http://schemas.microsoft.com/office/drawing/2014/chart" uri="{C3380CC4-5D6E-409C-BE32-E72D297353CC}">
                <c16:uniqueId val="{00000017-FA3E-4872-B6E1-C4ABDF5766E2}"/>
              </c:ext>
            </c:extLst>
          </c:dPt>
          <c:dPt>
            <c:idx val="11"/>
            <c:invertIfNegative val="1"/>
            <c:bubble3D val="0"/>
            <c:spPr>
              <a:solidFill>
                <a:srgbClr val="AEABAB"/>
              </a:solidFill>
            </c:spPr>
            <c:extLst>
              <c:ext xmlns:c16="http://schemas.microsoft.com/office/drawing/2014/chart" uri="{C3380CC4-5D6E-409C-BE32-E72D297353CC}">
                <c16:uniqueId val="{00000019-FA3E-4872-B6E1-C4ABDF5766E2}"/>
              </c:ext>
            </c:extLst>
          </c:dPt>
          <c:dPt>
            <c:idx val="12"/>
            <c:invertIfNegative val="1"/>
            <c:bubble3D val="0"/>
            <c:spPr>
              <a:solidFill>
                <a:srgbClr val="AEABAB"/>
              </a:solidFill>
            </c:spPr>
            <c:extLst>
              <c:ext xmlns:c16="http://schemas.microsoft.com/office/drawing/2014/chart" uri="{C3380CC4-5D6E-409C-BE32-E72D297353CC}">
                <c16:uniqueId val="{0000001B-FA3E-4872-B6E1-C4ABDF5766E2}"/>
              </c:ext>
            </c:extLst>
          </c:dPt>
          <c:dPt>
            <c:idx val="13"/>
            <c:invertIfNegative val="1"/>
            <c:bubble3D val="0"/>
            <c:spPr>
              <a:solidFill>
                <a:srgbClr val="AEABAB"/>
              </a:solidFill>
            </c:spPr>
            <c:extLst>
              <c:ext xmlns:c16="http://schemas.microsoft.com/office/drawing/2014/chart" uri="{C3380CC4-5D6E-409C-BE32-E72D297353CC}">
                <c16:uniqueId val="{0000001D-FA3E-4872-B6E1-C4ABDF5766E2}"/>
              </c:ext>
            </c:extLst>
          </c:dPt>
          <c:dPt>
            <c:idx val="14"/>
            <c:invertIfNegative val="1"/>
            <c:bubble3D val="0"/>
            <c:spPr>
              <a:solidFill>
                <a:srgbClr val="AEABAB"/>
              </a:solidFill>
            </c:spPr>
            <c:extLst>
              <c:ext xmlns:c16="http://schemas.microsoft.com/office/drawing/2014/chart" uri="{C3380CC4-5D6E-409C-BE32-E72D297353CC}">
                <c16:uniqueId val="{0000001F-FA3E-4872-B6E1-C4ABDF5766E2}"/>
              </c:ext>
            </c:extLst>
          </c:dPt>
          <c:dPt>
            <c:idx val="15"/>
            <c:invertIfNegative val="1"/>
            <c:bubble3D val="0"/>
            <c:spPr>
              <a:solidFill>
                <a:srgbClr val="AEABAB"/>
              </a:solidFill>
            </c:spPr>
            <c:extLst>
              <c:ext xmlns:c16="http://schemas.microsoft.com/office/drawing/2014/chart" uri="{C3380CC4-5D6E-409C-BE32-E72D297353CC}">
                <c16:uniqueId val="{00000021-FA3E-4872-B6E1-C4ABDF5766E2}"/>
              </c:ext>
            </c:extLst>
          </c:dPt>
          <c:dPt>
            <c:idx val="16"/>
            <c:invertIfNegative val="1"/>
            <c:bubble3D val="0"/>
            <c:spPr>
              <a:solidFill>
                <a:srgbClr val="AEABAB"/>
              </a:solidFill>
            </c:spPr>
            <c:extLst>
              <c:ext xmlns:c16="http://schemas.microsoft.com/office/drawing/2014/chart" uri="{C3380CC4-5D6E-409C-BE32-E72D297353CC}">
                <c16:uniqueId val="{00000023-FA3E-4872-B6E1-C4ABDF5766E2}"/>
              </c:ext>
            </c:extLst>
          </c:dPt>
          <c:dPt>
            <c:idx val="17"/>
            <c:invertIfNegative val="1"/>
            <c:bubble3D val="0"/>
            <c:spPr>
              <a:solidFill>
                <a:srgbClr val="AEABAB"/>
              </a:solidFill>
            </c:spPr>
            <c:extLst>
              <c:ext xmlns:c16="http://schemas.microsoft.com/office/drawing/2014/chart" uri="{C3380CC4-5D6E-409C-BE32-E72D297353CC}">
                <c16:uniqueId val="{00000025-FA3E-4872-B6E1-C4ABDF5766E2}"/>
              </c:ext>
            </c:extLst>
          </c:dPt>
          <c:dPt>
            <c:idx val="18"/>
            <c:invertIfNegative val="1"/>
            <c:bubble3D val="0"/>
            <c:spPr>
              <a:solidFill>
                <a:srgbClr val="AEABAB"/>
              </a:solidFill>
            </c:spPr>
            <c:extLst>
              <c:ext xmlns:c16="http://schemas.microsoft.com/office/drawing/2014/chart" uri="{C3380CC4-5D6E-409C-BE32-E72D297353CC}">
                <c16:uniqueId val="{00000027-FA3E-4872-B6E1-C4ABDF5766E2}"/>
              </c:ext>
            </c:extLst>
          </c:dPt>
          <c:dPt>
            <c:idx val="19"/>
            <c:invertIfNegative val="1"/>
            <c:bubble3D val="0"/>
            <c:spPr>
              <a:solidFill>
                <a:srgbClr val="AEABAB"/>
              </a:solidFill>
            </c:spPr>
            <c:extLst>
              <c:ext xmlns:c16="http://schemas.microsoft.com/office/drawing/2014/chart" uri="{C3380CC4-5D6E-409C-BE32-E72D297353CC}">
                <c16:uniqueId val="{00000029-FA3E-4872-B6E1-C4ABDF5766E2}"/>
              </c:ext>
            </c:extLst>
          </c:dPt>
          <c:dPt>
            <c:idx val="20"/>
            <c:invertIfNegative val="1"/>
            <c:bubble3D val="0"/>
            <c:spPr>
              <a:solidFill>
                <a:srgbClr val="AEABAB"/>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22</c:f>
              <c:strCache>
                <c:ptCount val="21"/>
                <c:pt idx="0">
                  <c:v>CHAMPAGNE E.NICOLAS BRUT 1CT X 750ML</c:v>
                </c:pt>
                <c:pt idx="1">
                  <c:v>CHAMPAGNE NICOLAS BLC/BLC BS 1CT X 750ML</c:v>
                </c:pt>
                <c:pt idx="2">
                  <c:v>CHAMPAGNE E.NICOLAS ROSE 1CT X 750ML</c:v>
                </c:pt>
                <c:pt idx="3">
                  <c:v>CHAMPAGNE NICOLAS 1ERE CUVEE 1CT X 750ML</c:v>
                </c:pt>
                <c:pt idx="4">
                  <c:v>1/2 CHAMPAGNE NICOLAS 1ERE CUV 1CT X 375ML</c:v>
                </c:pt>
                <c:pt idx="5">
                  <c:v>MG CHAMPAGNE E.NICOLAS BRUT 1CT X 1500ML</c:v>
                </c:pt>
                <c:pt idx="6">
                  <c:v>CHAMPAGNE NICOLAS ROSE 1ERE CU 1CT X 750ML</c:v>
                </c:pt>
                <c:pt idx="7">
                  <c:v>CHAMPAGNE NICOLAS BIO NAT 2017 1CT X 750ML</c:v>
                </c:pt>
                <c:pt idx="8">
                  <c:v>1/2 CHAMP NICOLAS BLC/BLC BS 1CT X 375ML</c:v>
                </c:pt>
                <c:pt idx="9">
                  <c:v>CHAMPAGNE NICOLAS 1ER CRU BS 1CT X 750ML</c:v>
                </c:pt>
                <c:pt idx="10">
                  <c:v>MG CHAMPAGNE NICOLAS BLC/BL BS 1CT X 1500ML</c:v>
                </c:pt>
                <c:pt idx="11">
                  <c:v>1/2 CHAMP NICOLAS ROSE 1E C BS 1CT X 375ML</c:v>
                </c:pt>
                <c:pt idx="12">
                  <c:v>MG CHAMPAGNE NICOLAS 1ERE CUVE 1CT X 1500ML</c:v>
                </c:pt>
                <c:pt idx="13">
                  <c:v>CHAMPAGNE NICOLAS BLC DE NOIRS 1CT X 750ML</c:v>
                </c:pt>
                <c:pt idx="14">
                  <c:v>CHAMPAGNE NICOLAS 1ER CRU ETUI 1CT X 750ML</c:v>
                </c:pt>
                <c:pt idx="15">
                  <c:v>CHAMPAGNE NICOLAS 1ERE CUV ETU 1CT X 750ML</c:v>
                </c:pt>
                <c:pt idx="16">
                  <c:v>CHAMPAGNE NICOLAS ROSE 1ERE ET 1CT X 750ML</c:v>
                </c:pt>
                <c:pt idx="17">
                  <c:v>CHAMPAGNE NICOLAS ROSE 1E C BS 1CT X 750ML</c:v>
                </c:pt>
                <c:pt idx="18">
                  <c:v>MG CHAMPAGNE NICOLAS 1E CRU BS 1CT X 1500ML</c:v>
                </c:pt>
                <c:pt idx="19">
                  <c:v>CHAMPAGNE NICOLAS BLC/BL BS ET 1CT X 750ML</c:v>
                </c:pt>
                <c:pt idx="20">
                  <c:v>1/2 CHAMPAGNE NICOLAS 1E C BS 1CT X 375ML</c:v>
                </c:pt>
              </c:strCache>
            </c:strRef>
          </c:cat>
          <c:val>
            <c:numRef>
              <c:f>Sheet1!$C$2:$C$22</c:f>
              <c:numCache>
                <c:formatCode>General</c:formatCode>
                <c:ptCount val="21"/>
                <c:pt idx="0">
                  <c:v>0.71599817572836011</c:v>
                </c:pt>
                <c:pt idx="1">
                  <c:v>0.77928863213954702</c:v>
                </c:pt>
                <c:pt idx="2">
                  <c:v>0.83123133431739393</c:v>
                </c:pt>
                <c:pt idx="3">
                  <c:v>0.87465684567740809</c:v>
                </c:pt>
                <c:pt idx="4">
                  <c:v>0.89329874409686305</c:v>
                </c:pt>
                <c:pt idx="5">
                  <c:v>0.91024779689775759</c:v>
                </c:pt>
                <c:pt idx="6">
                  <c:v>0.92382881270320782</c:v>
                </c:pt>
                <c:pt idx="7">
                  <c:v>0.93699691541166275</c:v>
                </c:pt>
                <c:pt idx="8">
                  <c:v>0.94661161158706741</c:v>
                </c:pt>
                <c:pt idx="9">
                  <c:v>0.95478160231859055</c:v>
                </c:pt>
                <c:pt idx="10">
                  <c:v>0.96270443366663905</c:v>
                </c:pt>
                <c:pt idx="11">
                  <c:v>0.97052330114703544</c:v>
                </c:pt>
                <c:pt idx="12">
                  <c:v>0.97729272203886886</c:v>
                </c:pt>
                <c:pt idx="13">
                  <c:v>0.98334420376918075</c:v>
                </c:pt>
                <c:pt idx="14">
                  <c:v>0.98859143671199567</c:v>
                </c:pt>
                <c:pt idx="15">
                  <c:v>0.99233707832108176</c:v>
                </c:pt>
                <c:pt idx="16">
                  <c:v>0.99541676270247226</c:v>
                </c:pt>
                <c:pt idx="17">
                  <c:v>0.9971262817715052</c:v>
                </c:pt>
                <c:pt idx="18">
                  <c:v>0.99876322229142256</c:v>
                </c:pt>
                <c:pt idx="19">
                  <c:v>0.99987053556103711</c:v>
                </c:pt>
                <c:pt idx="20">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22</c:f>
              <c:strCache>
                <c:ptCount val="21"/>
                <c:pt idx="0">
                  <c:v>CHAMPAGNE E.NICOLAS BRUT 1CT X 750ML</c:v>
                </c:pt>
                <c:pt idx="1">
                  <c:v>CHAMPAGNE NICOLAS BLC/BLC BS 1CT X 750ML</c:v>
                </c:pt>
                <c:pt idx="2">
                  <c:v>CHAMPAGNE E.NICOLAS ROSE 1CT X 750ML</c:v>
                </c:pt>
                <c:pt idx="3">
                  <c:v>CHAMPAGNE NICOLAS 1ERE CUVEE 1CT X 750ML</c:v>
                </c:pt>
                <c:pt idx="4">
                  <c:v>1/2 CHAMPAGNE NICOLAS 1ERE CUV 1CT X 375ML</c:v>
                </c:pt>
                <c:pt idx="5">
                  <c:v>MG CHAMPAGNE E.NICOLAS BRUT 1CT X 1500ML</c:v>
                </c:pt>
                <c:pt idx="6">
                  <c:v>CHAMPAGNE NICOLAS ROSE 1ERE CU 1CT X 750ML</c:v>
                </c:pt>
                <c:pt idx="7">
                  <c:v>CHAMPAGNE NICOLAS BIO NAT 2017 1CT X 750ML</c:v>
                </c:pt>
                <c:pt idx="8">
                  <c:v>1/2 CHAMP NICOLAS BLC/BLC BS 1CT X 375ML</c:v>
                </c:pt>
                <c:pt idx="9">
                  <c:v>CHAMPAGNE NICOLAS 1ER CRU BS 1CT X 750ML</c:v>
                </c:pt>
                <c:pt idx="10">
                  <c:v>MG CHAMPAGNE NICOLAS BLC/BL BS 1CT X 1500ML</c:v>
                </c:pt>
                <c:pt idx="11">
                  <c:v>1/2 CHAMP NICOLAS ROSE 1E C BS 1CT X 375ML</c:v>
                </c:pt>
                <c:pt idx="12">
                  <c:v>MG CHAMPAGNE NICOLAS 1ERE CUVE 1CT X 1500ML</c:v>
                </c:pt>
                <c:pt idx="13">
                  <c:v>CHAMPAGNE NICOLAS BLC DE NOIRS 1CT X 750ML</c:v>
                </c:pt>
                <c:pt idx="14">
                  <c:v>CHAMPAGNE NICOLAS 1ER CRU ETUI 1CT X 750ML</c:v>
                </c:pt>
                <c:pt idx="15">
                  <c:v>CHAMPAGNE NICOLAS 1ERE CUV ETU 1CT X 750ML</c:v>
                </c:pt>
                <c:pt idx="16">
                  <c:v>CHAMPAGNE NICOLAS ROSE 1ERE ET 1CT X 750ML</c:v>
                </c:pt>
                <c:pt idx="17">
                  <c:v>CHAMPAGNE NICOLAS ROSE 1E C BS 1CT X 750ML</c:v>
                </c:pt>
                <c:pt idx="18">
                  <c:v>MG CHAMPAGNE NICOLAS 1E CRU BS 1CT X 1500ML</c:v>
                </c:pt>
                <c:pt idx="19">
                  <c:v>CHAMPAGNE NICOLAS BLC/BL BS ET 1CT X 750ML</c:v>
                </c:pt>
                <c:pt idx="20">
                  <c:v>1/2 CHAMPAGNE NICOLAS 1E C BS 1CT X 375ML</c:v>
                </c:pt>
              </c:strCache>
            </c:strRef>
          </c:cat>
          <c:val>
            <c:numRef>
              <c:f>Sheet1!$D$2:$D$22</c:f>
              <c:numCache>
                <c:formatCode>General</c:formatCode>
                <c:ptCount val="21"/>
                <c:pt idx="0">
                  <c:v>7373.9494949494947</c:v>
                </c:pt>
                <c:pt idx="1">
                  <c:v>1265.2941176470588</c:v>
                </c:pt>
                <c:pt idx="2">
                  <c:v>999.24528301886789</c:v>
                </c:pt>
                <c:pt idx="3">
                  <c:v>714.12903225806451</c:v>
                </c:pt>
                <c:pt idx="4">
                  <c:v>760.28</c:v>
                </c:pt>
                <c:pt idx="5">
                  <c:v>1152.0666666666666</c:v>
                </c:pt>
                <c:pt idx="6">
                  <c:v>494.53571428571422</c:v>
                </c:pt>
                <c:pt idx="7">
                  <c:v>745.88888888888891</c:v>
                </c:pt>
                <c:pt idx="8">
                  <c:v>653.5333333333333</c:v>
                </c:pt>
                <c:pt idx="9">
                  <c:v>297.49999999999994</c:v>
                </c:pt>
                <c:pt idx="10">
                  <c:v>1009.75</c:v>
                </c:pt>
                <c:pt idx="11">
                  <c:v>442.88888888888891</c:v>
                </c:pt>
                <c:pt idx="12">
                  <c:v>1150.3333333333333</c:v>
                </c:pt>
                <c:pt idx="13">
                  <c:v>474.61538461538464</c:v>
                </c:pt>
                <c:pt idx="14">
                  <c:v>535</c:v>
                </c:pt>
                <c:pt idx="15">
                  <c:v>254.6</c:v>
                </c:pt>
                <c:pt idx="16">
                  <c:v>628</c:v>
                </c:pt>
                <c:pt idx="17">
                  <c:v>248.99999999999997</c:v>
                </c:pt>
                <c:pt idx="18">
                  <c:v>556.33333333333337</c:v>
                </c:pt>
                <c:pt idx="19">
                  <c:v>282.25</c:v>
                </c:pt>
                <c:pt idx="20">
                  <c:v>132</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22</c:f>
              <c:strCache>
                <c:ptCount val="21"/>
                <c:pt idx="0">
                  <c:v>CHAMPAGNE E.NICOLAS BRUT 1CT X 750ML</c:v>
                </c:pt>
                <c:pt idx="1">
                  <c:v>CHAMPAGNE NICOLAS BLC/BLC BS 1CT X 750ML</c:v>
                </c:pt>
                <c:pt idx="2">
                  <c:v>CHAMPAGNE E.NICOLAS ROSE 1CT X 750ML</c:v>
                </c:pt>
                <c:pt idx="3">
                  <c:v>CHAMPAGNE NICOLAS 1ERE CUVEE 1CT X 750ML</c:v>
                </c:pt>
                <c:pt idx="4">
                  <c:v>MG CHAMPAGNE E.NICOLAS BRUT 1CT X 1500ML</c:v>
                </c:pt>
                <c:pt idx="5">
                  <c:v>1/2 CHAMPAGNE NICOLAS 1ERE CUV 1CT X 375ML</c:v>
                </c:pt>
                <c:pt idx="6">
                  <c:v>CHAMPAGNE NICOLAS 1ER CRU BS 1CT X 750ML</c:v>
                </c:pt>
                <c:pt idx="7">
                  <c:v>MG CHAMPAGNE NICOLAS BLC/BL BS 1CT X 1500ML</c:v>
                </c:pt>
                <c:pt idx="8">
                  <c:v>CHAMPAGNE NICOLAS BIO NAT 2017 1CT X 750ML</c:v>
                </c:pt>
                <c:pt idx="9">
                  <c:v>1/2 CHAMP NICOLAS BLC/BLC BS 1CT X 375ML</c:v>
                </c:pt>
                <c:pt idx="10">
                  <c:v>1/2 CHAMP NICOLAS ROSE 1E C BS 1CT X 375ML</c:v>
                </c:pt>
                <c:pt idx="11">
                  <c:v>CHAMPAGNE NICOLAS ROSE 1ERE CU 1CT X 750ML</c:v>
                </c:pt>
                <c:pt idx="12">
                  <c:v>MG CHAMPAGNE NICOLAS 1ERE CUVE 1CT X 1500ML</c:v>
                </c:pt>
                <c:pt idx="13">
                  <c:v>CHAMPAGNE NICOLAS BLC DE NOIRS 1CT X 750ML</c:v>
                </c:pt>
                <c:pt idx="14">
                  <c:v>CHAMPAGNE NICOLAS 1ERE CUV ETU 1CT X 750ML</c:v>
                </c:pt>
                <c:pt idx="15">
                  <c:v>CHAMPAGNE NICOLAS ROSE 1E C BS 1CT X 750ML</c:v>
                </c:pt>
                <c:pt idx="16">
                  <c:v>CHAMPAGNE NICOLAS BLC/BL BS ET 1CT X 750ML</c:v>
                </c:pt>
                <c:pt idx="17">
                  <c:v>MG CHAMPAGNE NICOLAS 1E CRU BS 1CT X 1500ML</c:v>
                </c:pt>
                <c:pt idx="18">
                  <c:v>CHAMPAGNE NICOLAS 1ER CRU ETUI 1CT X 750ML</c:v>
                </c:pt>
                <c:pt idx="19">
                  <c:v>CHAMPAGNE NICOLAS ROSE 1ERE ET 1CT X 750ML</c:v>
                </c:pt>
                <c:pt idx="20">
                  <c:v>1/2 CHAMPAGNE NICOLAS 1E C BS 1CT X 375ML</c:v>
                </c:pt>
              </c:strCache>
            </c:strRef>
          </c:cat>
          <c:val>
            <c:numRef>
              <c:f>Sheet1!$B$2:$B$22</c:f>
              <c:numCache>
                <c:formatCode>General</c:formatCode>
                <c:ptCount val="21"/>
                <c:pt idx="0">
                  <c:v>0.97</c:v>
                </c:pt>
                <c:pt idx="1">
                  <c:v>0.34</c:v>
                </c:pt>
                <c:pt idx="2">
                  <c:v>0.45</c:v>
                </c:pt>
                <c:pt idx="3">
                  <c:v>0.55000000000000004</c:v>
                </c:pt>
                <c:pt idx="4">
                  <c:v>0.15</c:v>
                </c:pt>
                <c:pt idx="5">
                  <c:v>0.22</c:v>
                </c:pt>
                <c:pt idx="6">
                  <c:v>0.43</c:v>
                </c:pt>
                <c:pt idx="7">
                  <c:v>0.1</c:v>
                </c:pt>
                <c:pt idx="8">
                  <c:v>0.1</c:v>
                </c:pt>
                <c:pt idx="9">
                  <c:v>0.17</c:v>
                </c:pt>
                <c:pt idx="10">
                  <c:v>0.2</c:v>
                </c:pt>
                <c:pt idx="11">
                  <c:v>0.17</c:v>
                </c:pt>
                <c:pt idx="12">
                  <c:v>0.06</c:v>
                </c:pt>
                <c:pt idx="13">
                  <c:v>7.0000000000000007E-2</c:v>
                </c:pt>
                <c:pt idx="14">
                  <c:v>0.13</c:v>
                </c:pt>
                <c:pt idx="15">
                  <c:v>0.04</c:v>
                </c:pt>
                <c:pt idx="16">
                  <c:v>0.04</c:v>
                </c:pt>
                <c:pt idx="17">
                  <c:v>0.04</c:v>
                </c:pt>
                <c:pt idx="18">
                  <c:v>0.02</c:v>
                </c:pt>
                <c:pt idx="19">
                  <c:v>0.03</c:v>
                </c:pt>
                <c:pt idx="20">
                  <c:v>0.01</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7ECAC4"/>
              </a:solidFill>
            </c:spPr>
            <c:extLst>
              <c:ext xmlns:c16="http://schemas.microsoft.com/office/drawing/2014/chart" uri="{C3380CC4-5D6E-409C-BE32-E72D297353CC}">
                <c16:uniqueId val="{00000006-E902-46E2-9A54-39A26B3DFDC1}"/>
              </c:ext>
            </c:extLst>
          </c:dPt>
          <c:dPt>
            <c:idx val="3"/>
            <c:invertIfNegative val="0"/>
            <c:bubble3D val="0"/>
            <c:spPr>
              <a:solidFill>
                <a:srgbClr val="7ECAC4"/>
              </a:solidFill>
            </c:spPr>
            <c:extLst>
              <c:ext xmlns:c16="http://schemas.microsoft.com/office/drawing/2014/chart" uri="{C3380CC4-5D6E-409C-BE32-E72D297353CC}">
                <c16:uniqueId val="{00000007-E902-46E2-9A54-39A26B3DFDC1}"/>
              </c:ext>
            </c:extLst>
          </c:dPt>
          <c:dPt>
            <c:idx val="4"/>
            <c:invertIfNegative val="1"/>
            <c:bubble3D val="0"/>
            <c:spPr>
              <a:solidFill>
                <a:srgbClr val="7ECAC4"/>
              </a:solidFill>
            </c:spPr>
            <c:extLst>
              <c:ext xmlns:c16="http://schemas.microsoft.com/office/drawing/2014/chart" uri="{C3380CC4-5D6E-409C-BE32-E72D297353CC}">
                <c16:uniqueId val="{0000000B-FA3E-4872-B6E1-C4ABDF5766E2}"/>
              </c:ext>
            </c:extLst>
          </c:dPt>
          <c:dPt>
            <c:idx val="5"/>
            <c:invertIfNegative val="1"/>
            <c:bubble3D val="0"/>
            <c:spPr>
              <a:solidFill>
                <a:srgbClr val="7ECAC4"/>
              </a:solidFill>
            </c:spPr>
            <c:extLst>
              <c:ext xmlns:c16="http://schemas.microsoft.com/office/drawing/2014/chart" uri="{C3380CC4-5D6E-409C-BE32-E72D297353CC}">
                <c16:uniqueId val="{0000000D-FA3E-4872-B6E1-C4ABDF5766E2}"/>
              </c:ext>
            </c:extLst>
          </c:dPt>
          <c:dPt>
            <c:idx val="6"/>
            <c:invertIfNegative val="1"/>
            <c:bubble3D val="0"/>
            <c:spPr>
              <a:solidFill>
                <a:srgbClr val="7ECAC4"/>
              </a:solidFill>
            </c:spPr>
            <c:extLst>
              <c:ext xmlns:c16="http://schemas.microsoft.com/office/drawing/2014/chart" uri="{C3380CC4-5D6E-409C-BE32-E72D297353CC}">
                <c16:uniqueId val="{0000000F-FA3E-4872-B6E1-C4ABDF5766E2}"/>
              </c:ext>
            </c:extLst>
          </c:dPt>
          <c:dPt>
            <c:idx val="7"/>
            <c:invertIfNegative val="1"/>
            <c:bubble3D val="0"/>
            <c:spPr>
              <a:solidFill>
                <a:srgbClr val="7ECAC4"/>
              </a:solidFill>
            </c:spPr>
            <c:extLst>
              <c:ext xmlns:c16="http://schemas.microsoft.com/office/drawing/2014/chart" uri="{C3380CC4-5D6E-409C-BE32-E72D297353CC}">
                <c16:uniqueId val="{00000011-FA3E-4872-B6E1-C4ABDF5766E2}"/>
              </c:ext>
            </c:extLst>
          </c:dPt>
          <c:dPt>
            <c:idx val="8"/>
            <c:invertIfNegative val="1"/>
            <c:bubble3D val="0"/>
            <c:spPr>
              <a:solidFill>
                <a:srgbClr val="7ECAC4"/>
              </a:solidFill>
            </c:spPr>
            <c:extLst>
              <c:ext xmlns:c16="http://schemas.microsoft.com/office/drawing/2014/chart" uri="{C3380CC4-5D6E-409C-BE32-E72D297353CC}">
                <c16:uniqueId val="{00000013-FA3E-4872-B6E1-C4ABDF5766E2}"/>
              </c:ext>
            </c:extLst>
          </c:dPt>
          <c:dPt>
            <c:idx val="9"/>
            <c:invertIfNegative val="1"/>
            <c:bubble3D val="0"/>
            <c:spPr>
              <a:solidFill>
                <a:srgbClr val="AEABAB"/>
              </a:solidFill>
            </c:spPr>
            <c:extLst>
              <c:ext xmlns:c16="http://schemas.microsoft.com/office/drawing/2014/chart" uri="{C3380CC4-5D6E-409C-BE32-E72D297353CC}">
                <c16:uniqueId val="{00000015-FA3E-4872-B6E1-C4ABDF5766E2}"/>
              </c:ext>
            </c:extLst>
          </c:dPt>
          <c:dPt>
            <c:idx val="10"/>
            <c:invertIfNegative val="1"/>
            <c:bubble3D val="0"/>
            <c:spPr>
              <a:solidFill>
                <a:srgbClr val="AEABAB"/>
              </a:solidFill>
            </c:spPr>
            <c:extLst>
              <c:ext xmlns:c16="http://schemas.microsoft.com/office/drawing/2014/chart" uri="{C3380CC4-5D6E-409C-BE32-E72D297353CC}">
                <c16:uniqueId val="{00000017-FA3E-4872-B6E1-C4ABDF5766E2}"/>
              </c:ext>
            </c:extLst>
          </c:dPt>
          <c:dPt>
            <c:idx val="11"/>
            <c:invertIfNegative val="1"/>
            <c:bubble3D val="0"/>
            <c:spPr>
              <a:solidFill>
                <a:srgbClr val="AEABAB"/>
              </a:solidFill>
            </c:spPr>
            <c:extLst>
              <c:ext xmlns:c16="http://schemas.microsoft.com/office/drawing/2014/chart" uri="{C3380CC4-5D6E-409C-BE32-E72D297353CC}">
                <c16:uniqueId val="{00000019-FA3E-4872-B6E1-C4ABDF5766E2}"/>
              </c:ext>
            </c:extLst>
          </c:dPt>
          <c:dPt>
            <c:idx val="12"/>
            <c:invertIfNegative val="1"/>
            <c:bubble3D val="0"/>
            <c:spPr>
              <a:solidFill>
                <a:srgbClr val="AEABAB"/>
              </a:solidFill>
            </c:spPr>
            <c:extLst>
              <c:ext xmlns:c16="http://schemas.microsoft.com/office/drawing/2014/chart" uri="{C3380CC4-5D6E-409C-BE32-E72D297353CC}">
                <c16:uniqueId val="{0000001B-FA3E-4872-B6E1-C4ABDF5766E2}"/>
              </c:ext>
            </c:extLst>
          </c:dPt>
          <c:dPt>
            <c:idx val="13"/>
            <c:invertIfNegative val="1"/>
            <c:bubble3D val="0"/>
            <c:spPr>
              <a:solidFill>
                <a:srgbClr val="AEABAB"/>
              </a:solidFill>
            </c:spPr>
            <c:extLst>
              <c:ext xmlns:c16="http://schemas.microsoft.com/office/drawing/2014/chart" uri="{C3380CC4-5D6E-409C-BE32-E72D297353CC}">
                <c16:uniqueId val="{0000001D-FA3E-4872-B6E1-C4ABDF5766E2}"/>
              </c:ext>
            </c:extLst>
          </c:dPt>
          <c:dPt>
            <c:idx val="14"/>
            <c:invertIfNegative val="1"/>
            <c:bubble3D val="0"/>
            <c:spPr>
              <a:solidFill>
                <a:srgbClr val="AEABAB"/>
              </a:solidFill>
            </c:spPr>
            <c:extLst>
              <c:ext xmlns:c16="http://schemas.microsoft.com/office/drawing/2014/chart" uri="{C3380CC4-5D6E-409C-BE32-E72D297353CC}">
                <c16:uniqueId val="{0000001F-FA3E-4872-B6E1-C4ABDF5766E2}"/>
              </c:ext>
            </c:extLst>
          </c:dPt>
          <c:dPt>
            <c:idx val="15"/>
            <c:invertIfNegative val="1"/>
            <c:bubble3D val="0"/>
            <c:spPr>
              <a:solidFill>
                <a:srgbClr val="AEABAB"/>
              </a:solidFill>
            </c:spPr>
            <c:extLst>
              <c:ext xmlns:c16="http://schemas.microsoft.com/office/drawing/2014/chart" uri="{C3380CC4-5D6E-409C-BE32-E72D297353CC}">
                <c16:uniqueId val="{00000021-FA3E-4872-B6E1-C4ABDF5766E2}"/>
              </c:ext>
            </c:extLst>
          </c:dPt>
          <c:dPt>
            <c:idx val="16"/>
            <c:invertIfNegative val="1"/>
            <c:bubble3D val="0"/>
            <c:spPr>
              <a:solidFill>
                <a:srgbClr val="AEABAB"/>
              </a:solidFill>
            </c:spPr>
            <c:extLst>
              <c:ext xmlns:c16="http://schemas.microsoft.com/office/drawing/2014/chart" uri="{C3380CC4-5D6E-409C-BE32-E72D297353CC}">
                <c16:uniqueId val="{00000023-FA3E-4872-B6E1-C4ABDF5766E2}"/>
              </c:ext>
            </c:extLst>
          </c:dPt>
          <c:dPt>
            <c:idx val="17"/>
            <c:invertIfNegative val="1"/>
            <c:bubble3D val="0"/>
            <c:spPr>
              <a:solidFill>
                <a:srgbClr val="AEABAB"/>
              </a:solidFill>
            </c:spPr>
            <c:extLst>
              <c:ext xmlns:c16="http://schemas.microsoft.com/office/drawing/2014/chart" uri="{C3380CC4-5D6E-409C-BE32-E72D297353CC}">
                <c16:uniqueId val="{00000025-FA3E-4872-B6E1-C4ABDF5766E2}"/>
              </c:ext>
            </c:extLst>
          </c:dPt>
          <c:dPt>
            <c:idx val="18"/>
            <c:invertIfNegative val="1"/>
            <c:bubble3D val="0"/>
            <c:spPr>
              <a:solidFill>
                <a:srgbClr val="AEABAB"/>
              </a:solidFill>
            </c:spPr>
            <c:extLst>
              <c:ext xmlns:c16="http://schemas.microsoft.com/office/drawing/2014/chart" uri="{C3380CC4-5D6E-409C-BE32-E72D297353CC}">
                <c16:uniqueId val="{00000027-FA3E-4872-B6E1-C4ABDF5766E2}"/>
              </c:ext>
            </c:extLst>
          </c:dPt>
          <c:dPt>
            <c:idx val="19"/>
            <c:invertIfNegative val="1"/>
            <c:bubble3D val="0"/>
            <c:spPr>
              <a:solidFill>
                <a:srgbClr val="AEABAB"/>
              </a:solidFill>
            </c:spPr>
            <c:extLst>
              <c:ext xmlns:c16="http://schemas.microsoft.com/office/drawing/2014/chart" uri="{C3380CC4-5D6E-409C-BE32-E72D297353CC}">
                <c16:uniqueId val="{00000029-FA3E-4872-B6E1-C4ABDF5766E2}"/>
              </c:ext>
            </c:extLst>
          </c:dPt>
          <c:dPt>
            <c:idx val="20"/>
            <c:invertIfNegative val="1"/>
            <c:bubble3D val="0"/>
            <c:spPr>
              <a:solidFill>
                <a:srgbClr val="AEABAB"/>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22</c:f>
              <c:strCache>
                <c:ptCount val="21"/>
                <c:pt idx="0">
                  <c:v>CHAMPAGNE E.NICOLAS BRUT 1CT X 750ML</c:v>
                </c:pt>
                <c:pt idx="1">
                  <c:v>CHAMPAGNE NICOLAS BLC/BLC BS 1CT X 750ML</c:v>
                </c:pt>
                <c:pt idx="2">
                  <c:v>CHAMPAGNE E.NICOLAS ROSE 1CT X 750ML</c:v>
                </c:pt>
                <c:pt idx="3">
                  <c:v>CHAMPAGNE NICOLAS 1ERE CUVEE 1CT X 750ML</c:v>
                </c:pt>
                <c:pt idx="4">
                  <c:v>MG CHAMPAGNE E.NICOLAS BRUT 1CT X 1500ML</c:v>
                </c:pt>
                <c:pt idx="5">
                  <c:v>1/2 CHAMPAGNE NICOLAS 1ERE CUV 1CT X 375ML</c:v>
                </c:pt>
                <c:pt idx="6">
                  <c:v>CHAMPAGNE NICOLAS 1ER CRU BS 1CT X 750ML</c:v>
                </c:pt>
                <c:pt idx="7">
                  <c:v>MG CHAMPAGNE NICOLAS BLC/BL BS 1CT X 1500ML</c:v>
                </c:pt>
                <c:pt idx="8">
                  <c:v>CHAMPAGNE NICOLAS BIO NAT 2017 1CT X 750ML</c:v>
                </c:pt>
                <c:pt idx="9">
                  <c:v>1/2 CHAMP NICOLAS BLC/BLC BS 1CT X 375ML</c:v>
                </c:pt>
                <c:pt idx="10">
                  <c:v>1/2 CHAMP NICOLAS ROSE 1E C BS 1CT X 375ML</c:v>
                </c:pt>
                <c:pt idx="11">
                  <c:v>CHAMPAGNE NICOLAS ROSE 1ERE CU 1CT X 750ML</c:v>
                </c:pt>
                <c:pt idx="12">
                  <c:v>MG CHAMPAGNE NICOLAS 1ERE CUVE 1CT X 1500ML</c:v>
                </c:pt>
                <c:pt idx="13">
                  <c:v>CHAMPAGNE NICOLAS BLC DE NOIRS 1CT X 750ML</c:v>
                </c:pt>
                <c:pt idx="14">
                  <c:v>CHAMPAGNE NICOLAS 1ERE CUV ETU 1CT X 750ML</c:v>
                </c:pt>
                <c:pt idx="15">
                  <c:v>CHAMPAGNE NICOLAS ROSE 1E C BS 1CT X 750ML</c:v>
                </c:pt>
                <c:pt idx="16">
                  <c:v>CHAMPAGNE NICOLAS BLC/BL BS ET 1CT X 750ML</c:v>
                </c:pt>
                <c:pt idx="17">
                  <c:v>MG CHAMPAGNE NICOLAS 1E CRU BS 1CT X 1500ML</c:v>
                </c:pt>
                <c:pt idx="18">
                  <c:v>CHAMPAGNE NICOLAS 1ER CRU ETUI 1CT X 750ML</c:v>
                </c:pt>
                <c:pt idx="19">
                  <c:v>CHAMPAGNE NICOLAS ROSE 1ERE ET 1CT X 750ML</c:v>
                </c:pt>
                <c:pt idx="20">
                  <c:v>1/2 CHAMPAGNE NICOLAS 1E C BS 1CT X 375ML</c:v>
                </c:pt>
              </c:strCache>
            </c:strRef>
          </c:cat>
          <c:val>
            <c:numRef>
              <c:f>Sheet1!$C$2:$C$22</c:f>
              <c:numCache>
                <c:formatCode>General</c:formatCode>
                <c:ptCount val="21"/>
                <c:pt idx="0">
                  <c:v>0.71373581944355613</c:v>
                </c:pt>
                <c:pt idx="1">
                  <c:v>0.78711050308695318</c:v>
                </c:pt>
                <c:pt idx="2">
                  <c:v>0.83815143683894489</c:v>
                </c:pt>
                <c:pt idx="3">
                  <c:v>0.87270793614728026</c:v>
                </c:pt>
                <c:pt idx="4">
                  <c:v>0.8896630271138255</c:v>
                </c:pt>
                <c:pt idx="5">
                  <c:v>0.90646918822728617</c:v>
                </c:pt>
                <c:pt idx="6">
                  <c:v>0.9211368693990204</c:v>
                </c:pt>
                <c:pt idx="7">
                  <c:v>0.9331963687846847</c:v>
                </c:pt>
                <c:pt idx="8">
                  <c:v>0.94467733297182843</c:v>
                </c:pt>
                <c:pt idx="9">
                  <c:v>0.95509669461647229</c:v>
                </c:pt>
                <c:pt idx="10">
                  <c:v>0.96396852233900066</c:v>
                </c:pt>
                <c:pt idx="11">
                  <c:v>0.97176347266230256</c:v>
                </c:pt>
                <c:pt idx="12">
                  <c:v>0.97856746665546512</c:v>
                </c:pt>
                <c:pt idx="13">
                  <c:v>0.9838029237985132</c:v>
                </c:pt>
                <c:pt idx="14">
                  <c:v>0.98855913231176362</c:v>
                </c:pt>
                <c:pt idx="15">
                  <c:v>0.9917658975458078</c:v>
                </c:pt>
                <c:pt idx="16">
                  <c:v>0.9948905604249465</c:v>
                </c:pt>
                <c:pt idx="17">
                  <c:v>0.99742523196301958</c:v>
                </c:pt>
                <c:pt idx="18">
                  <c:v>0.99901477174113318</c:v>
                </c:pt>
                <c:pt idx="19">
                  <c:v>0.99981192832655352</c:v>
                </c:pt>
                <c:pt idx="20">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22</c:f>
              <c:strCache>
                <c:ptCount val="21"/>
                <c:pt idx="0">
                  <c:v>CHAMPAGNE E.NICOLAS BRUT 1CT X 750ML</c:v>
                </c:pt>
                <c:pt idx="1">
                  <c:v>CHAMPAGNE NICOLAS BLC/BLC BS 1CT X 750ML</c:v>
                </c:pt>
                <c:pt idx="2">
                  <c:v>CHAMPAGNE E.NICOLAS ROSE 1CT X 750ML</c:v>
                </c:pt>
                <c:pt idx="3">
                  <c:v>CHAMPAGNE NICOLAS 1ERE CUVEE 1CT X 750ML</c:v>
                </c:pt>
                <c:pt idx="4">
                  <c:v>MG CHAMPAGNE E.NICOLAS BRUT 1CT X 1500ML</c:v>
                </c:pt>
                <c:pt idx="5">
                  <c:v>1/2 CHAMPAGNE NICOLAS 1ERE CUV 1CT X 375ML</c:v>
                </c:pt>
                <c:pt idx="6">
                  <c:v>CHAMPAGNE NICOLAS 1ER CRU BS 1CT X 750ML</c:v>
                </c:pt>
                <c:pt idx="7">
                  <c:v>MG CHAMPAGNE NICOLAS BLC/BL BS 1CT X 1500ML</c:v>
                </c:pt>
                <c:pt idx="8">
                  <c:v>CHAMPAGNE NICOLAS BIO NAT 2017 1CT X 750ML</c:v>
                </c:pt>
                <c:pt idx="9">
                  <c:v>1/2 CHAMP NICOLAS BLC/BLC BS 1CT X 375ML</c:v>
                </c:pt>
                <c:pt idx="10">
                  <c:v>1/2 CHAMP NICOLAS ROSE 1E C BS 1CT X 375ML</c:v>
                </c:pt>
                <c:pt idx="11">
                  <c:v>CHAMPAGNE NICOLAS ROSE 1ERE CU 1CT X 750ML</c:v>
                </c:pt>
                <c:pt idx="12">
                  <c:v>MG CHAMPAGNE NICOLAS 1ERE CUVE 1CT X 1500ML</c:v>
                </c:pt>
                <c:pt idx="13">
                  <c:v>CHAMPAGNE NICOLAS BLC DE NOIRS 1CT X 750ML</c:v>
                </c:pt>
                <c:pt idx="14">
                  <c:v>CHAMPAGNE NICOLAS 1ERE CUV ETU 1CT X 750ML</c:v>
                </c:pt>
                <c:pt idx="15">
                  <c:v>CHAMPAGNE NICOLAS ROSE 1E C BS 1CT X 750ML</c:v>
                </c:pt>
                <c:pt idx="16">
                  <c:v>CHAMPAGNE NICOLAS BLC/BL BS ET 1CT X 750ML</c:v>
                </c:pt>
                <c:pt idx="17">
                  <c:v>MG CHAMPAGNE NICOLAS 1E CRU BS 1CT X 1500ML</c:v>
                </c:pt>
                <c:pt idx="18">
                  <c:v>CHAMPAGNE NICOLAS 1ER CRU ETUI 1CT X 750ML</c:v>
                </c:pt>
                <c:pt idx="19">
                  <c:v>CHAMPAGNE NICOLAS ROSE 1ERE ET 1CT X 750ML</c:v>
                </c:pt>
                <c:pt idx="20">
                  <c:v>1/2 CHAMPAGNE NICOLAS 1E C BS 1CT X 375ML</c:v>
                </c:pt>
              </c:strCache>
            </c:strRef>
          </c:cat>
          <c:val>
            <c:numRef>
              <c:f>Sheet1!$D$2:$D$22</c:f>
              <c:numCache>
                <c:formatCode>General</c:formatCode>
                <c:ptCount val="21"/>
                <c:pt idx="0">
                  <c:v>7707.4123711340208</c:v>
                </c:pt>
                <c:pt idx="1">
                  <c:v>2260.5294117647059</c:v>
                </c:pt>
                <c:pt idx="2">
                  <c:v>1188.088888888889</c:v>
                </c:pt>
                <c:pt idx="3">
                  <c:v>658.12727272727261</c:v>
                </c:pt>
                <c:pt idx="4">
                  <c:v>1184</c:v>
                </c:pt>
                <c:pt idx="5">
                  <c:v>800.18181818181813</c:v>
                </c:pt>
                <c:pt idx="6">
                  <c:v>357.30232558139534</c:v>
                </c:pt>
                <c:pt idx="7">
                  <c:v>1263.2</c:v>
                </c:pt>
                <c:pt idx="8">
                  <c:v>1202.5999999999999</c:v>
                </c:pt>
                <c:pt idx="9">
                  <c:v>642</c:v>
                </c:pt>
                <c:pt idx="10">
                  <c:v>464.65</c:v>
                </c:pt>
                <c:pt idx="11">
                  <c:v>480.29411764705884</c:v>
                </c:pt>
                <c:pt idx="12">
                  <c:v>1187.8333333333333</c:v>
                </c:pt>
                <c:pt idx="13">
                  <c:v>783.42857142857133</c:v>
                </c:pt>
                <c:pt idx="14">
                  <c:v>383.23076923076923</c:v>
                </c:pt>
                <c:pt idx="15">
                  <c:v>839.75</c:v>
                </c:pt>
                <c:pt idx="16">
                  <c:v>818.25</c:v>
                </c:pt>
                <c:pt idx="17">
                  <c:v>663.75</c:v>
                </c:pt>
                <c:pt idx="18">
                  <c:v>832.5</c:v>
                </c:pt>
                <c:pt idx="19">
                  <c:v>278.33333333333331</c:v>
                </c:pt>
                <c:pt idx="20">
                  <c:v>197</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5</c:f>
              <c:strCache>
                <c:ptCount val="4"/>
                <c:pt idx="0">
                  <c:v>CHAMPAGNE NICOLAS BLC/BLC BS 1CT X 750ML</c:v>
                </c:pt>
                <c:pt idx="1">
                  <c:v>1/2 CHAMP NICOLAS BLC/BLC BS 1CT X 375ML</c:v>
                </c:pt>
                <c:pt idx="2">
                  <c:v>MG CHAMPAGNE NICOLAS BLC/BL BS 1CT X 1500ML</c:v>
                </c:pt>
                <c:pt idx="3">
                  <c:v>CHAMPAGNE NICOLAS BLC/BL BS ET 1CT X 750ML</c:v>
                </c:pt>
              </c:strCache>
            </c:strRef>
          </c:cat>
          <c:val>
            <c:numRef>
              <c:f>Sheet1!$B$2:$B$5</c:f>
              <c:numCache>
                <c:formatCode>General</c:formatCode>
                <c:ptCount val="4"/>
                <c:pt idx="0">
                  <c:v>0.58499999999999996</c:v>
                </c:pt>
                <c:pt idx="1">
                  <c:v>0.315</c:v>
                </c:pt>
                <c:pt idx="2">
                  <c:v>0.17100000000000001</c:v>
                </c:pt>
                <c:pt idx="3">
                  <c:v>2.7E-2</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7ECAC4"/>
              </a:solidFill>
            </c:spPr>
            <c:extLst>
              <c:ext xmlns:c16="http://schemas.microsoft.com/office/drawing/2014/chart" uri="{C3380CC4-5D6E-409C-BE32-E72D297353CC}">
                <c16:uniqueId val="{00000008-D8F4-40C6-A5E0-DB4B53CFB1F3}"/>
              </c:ext>
            </c:extLst>
          </c:dPt>
          <c:dPt>
            <c:idx val="2"/>
            <c:invertIfNegative val="0"/>
            <c:bubble3D val="0"/>
            <c:spPr>
              <a:solidFill>
                <a:srgbClr val="AEABAB"/>
              </a:solidFill>
            </c:spPr>
            <c:extLst>
              <c:ext xmlns:c16="http://schemas.microsoft.com/office/drawing/2014/chart" uri="{C3380CC4-5D6E-409C-BE32-E72D297353CC}">
                <c16:uniqueId val="{00000006-E902-46E2-9A54-39A26B3DFDC1}"/>
              </c:ext>
            </c:extLst>
          </c:dPt>
          <c:dPt>
            <c:idx val="3"/>
            <c:invertIfNegative val="0"/>
            <c:bubble3D val="0"/>
            <c:spPr>
              <a:solidFill>
                <a:srgbClr val="AEABAB"/>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5</c:f>
              <c:strCache>
                <c:ptCount val="4"/>
                <c:pt idx="0">
                  <c:v>CHAMPAGNE NICOLAS BLC/BLC BS 1CT X 750ML</c:v>
                </c:pt>
                <c:pt idx="1">
                  <c:v>1/2 CHAMP NICOLAS BLC/BLC BS 1CT X 375ML</c:v>
                </c:pt>
                <c:pt idx="2">
                  <c:v>MG CHAMPAGNE NICOLAS BLC/BL BS 1CT X 1500ML</c:v>
                </c:pt>
                <c:pt idx="3">
                  <c:v>CHAMPAGNE NICOLAS BLC/BL BS ET 1CT X 750ML</c:v>
                </c:pt>
              </c:strCache>
            </c:strRef>
          </c:cat>
          <c:val>
            <c:numRef>
              <c:f>Sheet1!$C$2:$C$5</c:f>
              <c:numCache>
                <c:formatCode>General</c:formatCode>
                <c:ptCount val="4"/>
                <c:pt idx="0">
                  <c:v>0.7601201220013547</c:v>
                </c:pt>
                <c:pt idx="1">
                  <c:v>0.87491337355671539</c:v>
                </c:pt>
                <c:pt idx="2">
                  <c:v>0.98796039262823654</c:v>
                </c:pt>
                <c:pt idx="3">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5</c:f>
              <c:strCache>
                <c:ptCount val="4"/>
                <c:pt idx="0">
                  <c:v>CHAMPAGNE NICOLAS BLC/BLC BS 1CT X 750ML</c:v>
                </c:pt>
                <c:pt idx="1">
                  <c:v>1/2 CHAMP NICOLAS BLC/BLC BS 1CT X 375ML</c:v>
                </c:pt>
                <c:pt idx="2">
                  <c:v>MG CHAMPAGNE NICOLAS BLC/BL BS 1CT X 1500ML</c:v>
                </c:pt>
                <c:pt idx="3">
                  <c:v>CHAMPAGNE NICOLAS BLC/BL BS ET 1CT X 750ML</c:v>
                </c:pt>
              </c:strCache>
            </c:strRef>
          </c:cat>
          <c:val>
            <c:numRef>
              <c:f>Sheet1!$D$2:$D$5</c:f>
              <c:numCache>
                <c:formatCode>General</c:formatCode>
                <c:ptCount val="4"/>
                <c:pt idx="0">
                  <c:v>6637.264957264957</c:v>
                </c:pt>
                <c:pt idx="1">
                  <c:v>1861.5238095238096</c:v>
                </c:pt>
                <c:pt idx="2">
                  <c:v>3376.9590643274851</c:v>
                </c:pt>
                <c:pt idx="3">
                  <c:v>2277.7777777777778</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5</c:f>
              <c:strCache>
                <c:ptCount val="4"/>
                <c:pt idx="0">
                  <c:v>CHAMPAGNE NICOLAS BLC/BLC BS 1CT X 750ML</c:v>
                </c:pt>
                <c:pt idx="1">
                  <c:v>MG CHAMPAGNE NICOLAS BLC/BL BS 1CT X 1500ML</c:v>
                </c:pt>
                <c:pt idx="2">
                  <c:v>1/2 CHAMP NICOLAS BLC/BLC BS 1CT X 375ML</c:v>
                </c:pt>
                <c:pt idx="3">
                  <c:v>CHAMPAGNE NICOLAS BLC/BL BS ET 1CT X 750ML</c:v>
                </c:pt>
              </c:strCache>
            </c:strRef>
          </c:cat>
          <c:val>
            <c:numRef>
              <c:f>Sheet1!$B$2:$B$5</c:f>
              <c:numCache>
                <c:formatCode>General</c:formatCode>
                <c:ptCount val="4"/>
                <c:pt idx="0">
                  <c:v>0.56999999999999995</c:v>
                </c:pt>
                <c:pt idx="1">
                  <c:v>0.12</c:v>
                </c:pt>
                <c:pt idx="2">
                  <c:v>0.28000000000000003</c:v>
                </c:pt>
                <c:pt idx="3">
                  <c:v>0.02</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7ECAC4"/>
              </a:solidFill>
            </c:spPr>
            <c:extLst>
              <c:ext xmlns:c16="http://schemas.microsoft.com/office/drawing/2014/chart" uri="{C3380CC4-5D6E-409C-BE32-E72D297353CC}">
                <c16:uniqueId val="{00000008-D8F4-40C6-A5E0-DB4B53CFB1F3}"/>
              </c:ext>
            </c:extLst>
          </c:dPt>
          <c:dPt>
            <c:idx val="2"/>
            <c:invertIfNegative val="0"/>
            <c:bubble3D val="0"/>
            <c:spPr>
              <a:solidFill>
                <a:srgbClr val="AEABAB"/>
              </a:solidFill>
            </c:spPr>
            <c:extLst>
              <c:ext xmlns:c16="http://schemas.microsoft.com/office/drawing/2014/chart" uri="{C3380CC4-5D6E-409C-BE32-E72D297353CC}">
                <c16:uniqueId val="{00000006-E902-46E2-9A54-39A26B3DFDC1}"/>
              </c:ext>
            </c:extLst>
          </c:dPt>
          <c:dPt>
            <c:idx val="3"/>
            <c:invertIfNegative val="0"/>
            <c:bubble3D val="0"/>
            <c:spPr>
              <a:solidFill>
                <a:srgbClr val="AEABAB"/>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5</c:f>
              <c:strCache>
                <c:ptCount val="4"/>
                <c:pt idx="0">
                  <c:v>CHAMPAGNE NICOLAS BLC/BLC BS 1CT X 750ML</c:v>
                </c:pt>
                <c:pt idx="1">
                  <c:v>MG CHAMPAGNE NICOLAS BLC/BL BS 1CT X 1500ML</c:v>
                </c:pt>
                <c:pt idx="2">
                  <c:v>1/2 CHAMP NICOLAS BLC/BLC BS 1CT X 375ML</c:v>
                </c:pt>
                <c:pt idx="3">
                  <c:v>CHAMPAGNE NICOLAS BLC/BL BS ET 1CT X 750ML</c:v>
                </c:pt>
              </c:strCache>
            </c:strRef>
          </c:cat>
          <c:val>
            <c:numRef>
              <c:f>Sheet1!$C$2:$C$5</c:f>
              <c:numCache>
                <c:formatCode>General</c:formatCode>
                <c:ptCount val="4"/>
                <c:pt idx="0">
                  <c:v>0.76384651279658278</c:v>
                </c:pt>
                <c:pt idx="1">
                  <c:v>0.87842797659643201</c:v>
                </c:pt>
                <c:pt idx="2">
                  <c:v>0.98985965038228219</c:v>
                </c:pt>
                <c:pt idx="3">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5</c:f>
              <c:strCache>
                <c:ptCount val="4"/>
                <c:pt idx="0">
                  <c:v>CHAMPAGNE NICOLAS BLC/BLC BS 1CT X 750ML</c:v>
                </c:pt>
                <c:pt idx="1">
                  <c:v>MG CHAMPAGNE NICOLAS BLC/BL BS 1CT X 1500ML</c:v>
                </c:pt>
                <c:pt idx="2">
                  <c:v>1/2 CHAMP NICOLAS BLC/BLC BS 1CT X 375ML</c:v>
                </c:pt>
                <c:pt idx="3">
                  <c:v>CHAMPAGNE NICOLAS BLC/BL BS ET 1CT X 750ML</c:v>
                </c:pt>
              </c:strCache>
            </c:strRef>
          </c:cat>
          <c:val>
            <c:numRef>
              <c:f>Sheet1!$D$2:$D$5</c:f>
              <c:numCache>
                <c:formatCode>General</c:formatCode>
                <c:ptCount val="4"/>
                <c:pt idx="0">
                  <c:v>2986.666666666667</c:v>
                </c:pt>
                <c:pt idx="1">
                  <c:v>2128.0833333333335</c:v>
                </c:pt>
                <c:pt idx="2">
                  <c:v>886.96428571428555</c:v>
                </c:pt>
                <c:pt idx="3">
                  <c:v>1130</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5</c:f>
              <c:strCache>
                <c:ptCount val="4"/>
                <c:pt idx="0">
                  <c:v>CHAMPAGNE NICOLAS BLC/BLC BS 1CT X 750ML</c:v>
                </c:pt>
                <c:pt idx="1">
                  <c:v>MG CHAMPAGNE NICOLAS BLC/BL BS 1CT X 1500ML</c:v>
                </c:pt>
                <c:pt idx="2">
                  <c:v>1/2 CHAMP NICOLAS BLC/BLC BS 1CT X 375ML</c:v>
                </c:pt>
                <c:pt idx="3">
                  <c:v>CHAMPAGNE NICOLAS BLC/BL BS ET 1CT X 750ML</c:v>
                </c:pt>
              </c:strCache>
            </c:strRef>
          </c:cat>
          <c:val>
            <c:numRef>
              <c:f>Sheet1!$B$2:$B$5</c:f>
              <c:numCache>
                <c:formatCode>General</c:formatCode>
                <c:ptCount val="4"/>
                <c:pt idx="0">
                  <c:v>0.56999999999999995</c:v>
                </c:pt>
                <c:pt idx="1">
                  <c:v>0.16</c:v>
                </c:pt>
                <c:pt idx="2">
                  <c:v>0.28000000000000003</c:v>
                </c:pt>
                <c:pt idx="3">
                  <c:v>0.04</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7ECAC4"/>
              </a:solidFill>
            </c:spPr>
            <c:extLst>
              <c:ext xmlns:c16="http://schemas.microsoft.com/office/drawing/2014/chart" uri="{C3380CC4-5D6E-409C-BE32-E72D297353CC}">
                <c16:uniqueId val="{00000008-D8F4-40C6-A5E0-DB4B53CFB1F3}"/>
              </c:ext>
            </c:extLst>
          </c:dPt>
          <c:dPt>
            <c:idx val="2"/>
            <c:invertIfNegative val="0"/>
            <c:bubble3D val="0"/>
            <c:spPr>
              <a:solidFill>
                <a:srgbClr val="AEABAB"/>
              </a:solidFill>
            </c:spPr>
            <c:extLst>
              <c:ext xmlns:c16="http://schemas.microsoft.com/office/drawing/2014/chart" uri="{C3380CC4-5D6E-409C-BE32-E72D297353CC}">
                <c16:uniqueId val="{00000006-E902-46E2-9A54-39A26B3DFDC1}"/>
              </c:ext>
            </c:extLst>
          </c:dPt>
          <c:dPt>
            <c:idx val="3"/>
            <c:invertIfNegative val="0"/>
            <c:bubble3D val="0"/>
            <c:spPr>
              <a:solidFill>
                <a:srgbClr val="AEABAB"/>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5</c:f>
              <c:strCache>
                <c:ptCount val="4"/>
                <c:pt idx="0">
                  <c:v>CHAMPAGNE NICOLAS BLC/BLC BS 1CT X 750ML</c:v>
                </c:pt>
                <c:pt idx="1">
                  <c:v>MG CHAMPAGNE NICOLAS BLC/BL BS 1CT X 1500ML</c:v>
                </c:pt>
                <c:pt idx="2">
                  <c:v>1/2 CHAMP NICOLAS BLC/BLC BS 1CT X 375ML</c:v>
                </c:pt>
                <c:pt idx="3">
                  <c:v>CHAMPAGNE NICOLAS BLC/BL BS ET 1CT X 750ML</c:v>
                </c:pt>
              </c:strCache>
            </c:strRef>
          </c:cat>
          <c:val>
            <c:numRef>
              <c:f>Sheet1!$C$2:$C$5</c:f>
              <c:numCache>
                <c:formatCode>General</c:formatCode>
                <c:ptCount val="4"/>
                <c:pt idx="0">
                  <c:v>0.78431873218786552</c:v>
                </c:pt>
                <c:pt idx="1">
                  <c:v>0.88884404395169925</c:v>
                </c:pt>
                <c:pt idx="2">
                  <c:v>0.98652455397591554</c:v>
                </c:pt>
                <c:pt idx="3">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5</c:f>
              <c:strCache>
                <c:ptCount val="4"/>
                <c:pt idx="0">
                  <c:v>CHAMPAGNE NICOLAS BLC/BLC BS 1CT X 750ML</c:v>
                </c:pt>
                <c:pt idx="1">
                  <c:v>MG CHAMPAGNE NICOLAS BLC/BL BS 1CT X 1500ML</c:v>
                </c:pt>
                <c:pt idx="2">
                  <c:v>1/2 CHAMP NICOLAS BLC/BLC BS 1CT X 375ML</c:v>
                </c:pt>
                <c:pt idx="3">
                  <c:v>CHAMPAGNE NICOLAS BLC/BL BS ET 1CT X 750ML</c:v>
                </c:pt>
              </c:strCache>
            </c:strRef>
          </c:cat>
          <c:val>
            <c:numRef>
              <c:f>Sheet1!$D$2:$D$5</c:f>
              <c:numCache>
                <c:formatCode>General</c:formatCode>
                <c:ptCount val="4"/>
                <c:pt idx="0">
                  <c:v>1670.5438596491231</c:v>
                </c:pt>
                <c:pt idx="1">
                  <c:v>793.125</c:v>
                </c:pt>
                <c:pt idx="2">
                  <c:v>423.53571428571422</c:v>
                </c:pt>
                <c:pt idx="3">
                  <c:v>40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5</c:f>
              <c:strCache>
                <c:ptCount val="4"/>
                <c:pt idx="0">
                  <c:v>CHAMPAGNE NICOLAS BLC/BLC BS 1CT X 750ML</c:v>
                </c:pt>
                <c:pt idx="1">
                  <c:v>1/2 CHAMP NICOLAS BLC/BLC BS 1CT X 375ML</c:v>
                </c:pt>
                <c:pt idx="2">
                  <c:v>MG CHAMPAGNE NICOLAS BLC/BL BS 1CT X 1500ML</c:v>
                </c:pt>
                <c:pt idx="3">
                  <c:v>CHAMPAGNE NICOLAS BLC/BL BS ET 1CT X 750ML</c:v>
                </c:pt>
              </c:strCache>
            </c:strRef>
          </c:cat>
          <c:val>
            <c:numRef>
              <c:f>Sheet1!$B$2:$B$5</c:f>
              <c:numCache>
                <c:formatCode>General</c:formatCode>
                <c:ptCount val="4"/>
                <c:pt idx="0">
                  <c:v>0.51</c:v>
                </c:pt>
                <c:pt idx="1">
                  <c:v>0.33</c:v>
                </c:pt>
                <c:pt idx="2">
                  <c:v>0.2</c:v>
                </c:pt>
                <c:pt idx="3">
                  <c:v>0.03</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7ECAC4"/>
              </a:solidFill>
            </c:spPr>
            <c:extLst>
              <c:ext xmlns:c16="http://schemas.microsoft.com/office/drawing/2014/chart" uri="{C3380CC4-5D6E-409C-BE32-E72D297353CC}">
                <c16:uniqueId val="{00000008-D8F4-40C6-A5E0-DB4B53CFB1F3}"/>
              </c:ext>
            </c:extLst>
          </c:dPt>
          <c:dPt>
            <c:idx val="2"/>
            <c:invertIfNegative val="0"/>
            <c:bubble3D val="0"/>
            <c:spPr>
              <a:solidFill>
                <a:srgbClr val="AEABAB"/>
              </a:solidFill>
            </c:spPr>
            <c:extLst>
              <c:ext xmlns:c16="http://schemas.microsoft.com/office/drawing/2014/chart" uri="{C3380CC4-5D6E-409C-BE32-E72D297353CC}">
                <c16:uniqueId val="{00000006-E902-46E2-9A54-39A26B3DFDC1}"/>
              </c:ext>
            </c:extLst>
          </c:dPt>
          <c:dPt>
            <c:idx val="3"/>
            <c:invertIfNegative val="0"/>
            <c:bubble3D val="0"/>
            <c:spPr>
              <a:solidFill>
                <a:srgbClr val="AEABAB"/>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5</c:f>
              <c:strCache>
                <c:ptCount val="4"/>
                <c:pt idx="0">
                  <c:v>CHAMPAGNE NICOLAS BLC/BLC BS 1CT X 750ML</c:v>
                </c:pt>
                <c:pt idx="1">
                  <c:v>1/2 CHAMP NICOLAS BLC/BLC BS 1CT X 375ML</c:v>
                </c:pt>
                <c:pt idx="2">
                  <c:v>MG CHAMPAGNE NICOLAS BLC/BL BS 1CT X 1500ML</c:v>
                </c:pt>
                <c:pt idx="3">
                  <c:v>CHAMPAGNE NICOLAS BLC/BL BS ET 1CT X 750ML</c:v>
                </c:pt>
              </c:strCache>
            </c:strRef>
          </c:cat>
          <c:val>
            <c:numRef>
              <c:f>Sheet1!$C$2:$C$5</c:f>
              <c:numCache>
                <c:formatCode>General</c:formatCode>
                <c:ptCount val="4"/>
                <c:pt idx="0">
                  <c:v>0.719201482705491</c:v>
                </c:pt>
                <c:pt idx="1">
                  <c:v>0.87930687984279765</c:v>
                </c:pt>
                <c:pt idx="2">
                  <c:v>0.99046513185807128</c:v>
                </c:pt>
                <c:pt idx="3">
                  <c:v>1.000000000000000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5</c:f>
              <c:strCache>
                <c:ptCount val="4"/>
                <c:pt idx="0">
                  <c:v>CHAMPAGNE NICOLAS BLC/BLC BS 1CT X 750ML</c:v>
                </c:pt>
                <c:pt idx="1">
                  <c:v>1/2 CHAMP NICOLAS BLC/BLC BS 1CT X 375ML</c:v>
                </c:pt>
                <c:pt idx="2">
                  <c:v>MG CHAMPAGNE NICOLAS BLC/BL BS 1CT X 1500ML</c:v>
                </c:pt>
                <c:pt idx="3">
                  <c:v>CHAMPAGNE NICOLAS BLC/BL BS ET 1CT X 750ML</c:v>
                </c:pt>
              </c:strCache>
            </c:strRef>
          </c:cat>
          <c:val>
            <c:numRef>
              <c:f>Sheet1!$D$2:$D$5</c:f>
              <c:numCache>
                <c:formatCode>General</c:formatCode>
                <c:ptCount val="4"/>
                <c:pt idx="0">
                  <c:v>631.52941176470586</c:v>
                </c:pt>
                <c:pt idx="1">
                  <c:v>217.27272727272728</c:v>
                </c:pt>
                <c:pt idx="2">
                  <c:v>248.9</c:v>
                </c:pt>
                <c:pt idx="3">
                  <c:v>142.33333333333334</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c:f>
              <c:strCache>
                <c:ptCount val="3"/>
                <c:pt idx="0">
                  <c:v>CHAMPAGNE NICOLAS BLC/BLC BS 1CT X 750ML</c:v>
                </c:pt>
                <c:pt idx="1">
                  <c:v>1/2 CHAMP NICOLAS BLC/BLC BS 1CT X 375ML</c:v>
                </c:pt>
                <c:pt idx="2">
                  <c:v>MG CHAMPAGNE NICOLAS BLC/BL BS 1CT X 1500ML</c:v>
                </c:pt>
              </c:strCache>
            </c:strRef>
          </c:cat>
          <c:val>
            <c:numRef>
              <c:f>Sheet1!$B$2:$B$4</c:f>
              <c:numCache>
                <c:formatCode>General</c:formatCode>
                <c:ptCount val="3"/>
                <c:pt idx="0">
                  <c:v>0.59</c:v>
                </c:pt>
                <c:pt idx="1">
                  <c:v>0.39</c:v>
                </c:pt>
                <c:pt idx="2">
                  <c:v>0.1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7ECAC4"/>
              </a:solidFill>
            </c:spPr>
            <c:extLst>
              <c:ext xmlns:c16="http://schemas.microsoft.com/office/drawing/2014/chart" uri="{C3380CC4-5D6E-409C-BE32-E72D297353CC}">
                <c16:uniqueId val="{00000008-D8F4-40C6-A5E0-DB4B53CFB1F3}"/>
              </c:ext>
            </c:extLst>
          </c:dPt>
          <c:dPt>
            <c:idx val="2"/>
            <c:invertIfNegative val="0"/>
            <c:bubble3D val="0"/>
            <c:spPr>
              <a:solidFill>
                <a:srgbClr val="AEABAB"/>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c:f>
              <c:strCache>
                <c:ptCount val="3"/>
                <c:pt idx="0">
                  <c:v>CHAMPAGNE NICOLAS BLC/BLC BS 1CT X 750ML</c:v>
                </c:pt>
                <c:pt idx="1">
                  <c:v>1/2 CHAMP NICOLAS BLC/BLC BS 1CT X 375ML</c:v>
                </c:pt>
                <c:pt idx="2">
                  <c:v>MG CHAMPAGNE NICOLAS BLC/BL BS 1CT X 1500ML</c:v>
                </c:pt>
              </c:strCache>
            </c:strRef>
          </c:cat>
          <c:val>
            <c:numRef>
              <c:f>Sheet1!$C$2:$C$4</c:f>
              <c:numCache>
                <c:formatCode>General</c:formatCode>
                <c:ptCount val="3"/>
                <c:pt idx="0">
                  <c:v>0.74363485158648934</c:v>
                </c:pt>
                <c:pt idx="1">
                  <c:v>0.90855296827021503</c:v>
                </c:pt>
                <c:pt idx="2">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4</c:f>
              <c:strCache>
                <c:ptCount val="3"/>
                <c:pt idx="0">
                  <c:v>CHAMPAGNE NICOLAS BLC/BLC BS 1CT X 750ML</c:v>
                </c:pt>
                <c:pt idx="1">
                  <c:v>1/2 CHAMP NICOLAS BLC/BLC BS 1CT X 375ML</c:v>
                </c:pt>
                <c:pt idx="2">
                  <c:v>MG CHAMPAGNE NICOLAS BLC/BL BS 1CT X 1500ML</c:v>
                </c:pt>
              </c:strCache>
            </c:strRef>
          </c:cat>
          <c:val>
            <c:numRef>
              <c:f>Sheet1!$D$2:$D$4</c:f>
              <c:numCache>
                <c:formatCode>General</c:formatCode>
                <c:ptCount val="3"/>
                <c:pt idx="0">
                  <c:v>394.05084745762713</c:v>
                </c:pt>
                <c:pt idx="1">
                  <c:v>132.2051282051282</c:v>
                </c:pt>
                <c:pt idx="2">
                  <c:v>150.47368421052633</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5</c:f>
              <c:strCache>
                <c:ptCount val="4"/>
                <c:pt idx="0">
                  <c:v>CHAMPAGNE NICOLAS BLC/BLC BS 1CT X 750ML</c:v>
                </c:pt>
                <c:pt idx="1">
                  <c:v>MG CHAMPAGNE NICOLAS BLC/BL BS 1CT X 1500ML</c:v>
                </c:pt>
                <c:pt idx="2">
                  <c:v>1/2 CHAMP NICOLAS BLC/BLC BS 1CT X 375ML</c:v>
                </c:pt>
                <c:pt idx="3">
                  <c:v>CHAMPAGNE NICOLAS BLC/BL BS ET 1CT X 750ML</c:v>
                </c:pt>
              </c:strCache>
            </c:strRef>
          </c:cat>
          <c:val>
            <c:numRef>
              <c:f>Sheet1!$B$2:$B$5</c:f>
              <c:numCache>
                <c:formatCode>General</c:formatCode>
                <c:ptCount val="4"/>
                <c:pt idx="0">
                  <c:v>0.65</c:v>
                </c:pt>
                <c:pt idx="1">
                  <c:v>0.34</c:v>
                </c:pt>
                <c:pt idx="2">
                  <c:v>0.53</c:v>
                </c:pt>
                <c:pt idx="3">
                  <c:v>0.05</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7ECAC4"/>
              </a:solidFill>
            </c:spPr>
            <c:extLst>
              <c:ext xmlns:c16="http://schemas.microsoft.com/office/drawing/2014/chart" uri="{C3380CC4-5D6E-409C-BE32-E72D297353CC}">
                <c16:uniqueId val="{00000008-D8F4-40C6-A5E0-DB4B53CFB1F3}"/>
              </c:ext>
            </c:extLst>
          </c:dPt>
          <c:dPt>
            <c:idx val="2"/>
            <c:invertIfNegative val="0"/>
            <c:bubble3D val="0"/>
            <c:spPr>
              <a:solidFill>
                <a:srgbClr val="7ECAC4"/>
              </a:solidFill>
            </c:spPr>
            <c:extLst>
              <c:ext xmlns:c16="http://schemas.microsoft.com/office/drawing/2014/chart" uri="{C3380CC4-5D6E-409C-BE32-E72D297353CC}">
                <c16:uniqueId val="{00000006-E902-46E2-9A54-39A26B3DFDC1}"/>
              </c:ext>
            </c:extLst>
          </c:dPt>
          <c:dPt>
            <c:idx val="3"/>
            <c:invertIfNegative val="0"/>
            <c:bubble3D val="0"/>
            <c:spPr>
              <a:solidFill>
                <a:srgbClr val="AEABAB"/>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5</c:f>
              <c:strCache>
                <c:ptCount val="4"/>
                <c:pt idx="0">
                  <c:v>CHAMPAGNE NICOLAS BLC/BLC BS 1CT X 750ML</c:v>
                </c:pt>
                <c:pt idx="1">
                  <c:v>MG CHAMPAGNE NICOLAS BLC/BL BS 1CT X 1500ML</c:v>
                </c:pt>
                <c:pt idx="2">
                  <c:v>1/2 CHAMP NICOLAS BLC/BLC BS 1CT X 375ML</c:v>
                </c:pt>
                <c:pt idx="3">
                  <c:v>CHAMPAGNE NICOLAS BLC/BL BS ET 1CT X 750ML</c:v>
                </c:pt>
              </c:strCache>
            </c:strRef>
          </c:cat>
          <c:val>
            <c:numRef>
              <c:f>Sheet1!$C$2:$C$5</c:f>
              <c:numCache>
                <c:formatCode>General</c:formatCode>
                <c:ptCount val="4"/>
                <c:pt idx="0">
                  <c:v>0.70643067846607677</c:v>
                </c:pt>
                <c:pt idx="1">
                  <c:v>0.84499508357915443</c:v>
                </c:pt>
                <c:pt idx="2">
                  <c:v>0.94953785644051136</c:v>
                </c:pt>
                <c:pt idx="3">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5</c:f>
              <c:strCache>
                <c:ptCount val="4"/>
                <c:pt idx="0">
                  <c:v>CHAMPAGNE NICOLAS BLC/BLC BS 1CT X 750ML</c:v>
                </c:pt>
                <c:pt idx="1">
                  <c:v>MG CHAMPAGNE NICOLAS BLC/BL BS 1CT X 1500ML</c:v>
                </c:pt>
                <c:pt idx="2">
                  <c:v>1/2 CHAMP NICOLAS BLC/BLC BS 1CT X 375ML</c:v>
                </c:pt>
                <c:pt idx="3">
                  <c:v>CHAMPAGNE NICOLAS BLC/BL BS ET 1CT X 750ML</c:v>
                </c:pt>
              </c:strCache>
            </c:strRef>
          </c:cat>
          <c:val>
            <c:numRef>
              <c:f>Sheet1!$D$2:$D$5</c:f>
              <c:numCache>
                <c:formatCode>General</c:formatCode>
                <c:ptCount val="4"/>
                <c:pt idx="0">
                  <c:v>276.32307692307694</c:v>
                </c:pt>
                <c:pt idx="1">
                  <c:v>103.61764705882354</c:v>
                </c:pt>
                <c:pt idx="2">
                  <c:v>50.150943396226417</c:v>
                </c:pt>
                <c:pt idx="3">
                  <c:v>256.60000000000002</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5</c:f>
              <c:strCache>
                <c:ptCount val="4"/>
                <c:pt idx="0">
                  <c:v>CHAMPAGNE NICOLAS BLC/BLC BS 1CT X 750ML</c:v>
                </c:pt>
                <c:pt idx="1">
                  <c:v>1/2 CHAMP NICOLAS BLC/BLC BS 1CT X 375ML</c:v>
                </c:pt>
                <c:pt idx="2">
                  <c:v>MG CHAMPAGNE NICOLAS BLC/BL BS 1CT X 1500ML</c:v>
                </c:pt>
                <c:pt idx="3">
                  <c:v>CHAMPAGNE NICOLAS BLC/BL BS ET 1CT X 750ML</c:v>
                </c:pt>
              </c:strCache>
            </c:strRef>
          </c:cat>
          <c:val>
            <c:numRef>
              <c:f>Sheet1!$B$2:$B$5</c:f>
              <c:numCache>
                <c:formatCode>General</c:formatCode>
                <c:ptCount val="4"/>
                <c:pt idx="0">
                  <c:v>0.55000000000000004</c:v>
                </c:pt>
                <c:pt idx="1">
                  <c:v>0.24</c:v>
                </c:pt>
                <c:pt idx="2">
                  <c:v>0.14000000000000001</c:v>
                </c:pt>
                <c:pt idx="3">
                  <c:v>0.02</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7ECAC4"/>
              </a:solidFill>
            </c:spPr>
            <c:extLst>
              <c:ext xmlns:c16="http://schemas.microsoft.com/office/drawing/2014/chart" uri="{C3380CC4-5D6E-409C-BE32-E72D297353CC}">
                <c16:uniqueId val="{00000008-D8F4-40C6-A5E0-DB4B53CFB1F3}"/>
              </c:ext>
            </c:extLst>
          </c:dPt>
          <c:dPt>
            <c:idx val="2"/>
            <c:invertIfNegative val="0"/>
            <c:bubble3D val="0"/>
            <c:spPr>
              <a:solidFill>
                <a:srgbClr val="AEABAB"/>
              </a:solidFill>
            </c:spPr>
            <c:extLst>
              <c:ext xmlns:c16="http://schemas.microsoft.com/office/drawing/2014/chart" uri="{C3380CC4-5D6E-409C-BE32-E72D297353CC}">
                <c16:uniqueId val="{00000006-E902-46E2-9A54-39A26B3DFDC1}"/>
              </c:ext>
            </c:extLst>
          </c:dPt>
          <c:dPt>
            <c:idx val="3"/>
            <c:invertIfNegative val="0"/>
            <c:bubble3D val="0"/>
            <c:spPr>
              <a:solidFill>
                <a:srgbClr val="AEABAB"/>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5</c:f>
              <c:strCache>
                <c:ptCount val="4"/>
                <c:pt idx="0">
                  <c:v>CHAMPAGNE NICOLAS BLC/BLC BS 1CT X 750ML</c:v>
                </c:pt>
                <c:pt idx="1">
                  <c:v>1/2 CHAMP NICOLAS BLC/BLC BS 1CT X 375ML</c:v>
                </c:pt>
                <c:pt idx="2">
                  <c:v>MG CHAMPAGNE NICOLAS BLC/BL BS 1CT X 1500ML</c:v>
                </c:pt>
                <c:pt idx="3">
                  <c:v>CHAMPAGNE NICOLAS BLC/BL BS ET 1CT X 750ML</c:v>
                </c:pt>
              </c:strCache>
            </c:strRef>
          </c:cat>
          <c:val>
            <c:numRef>
              <c:f>Sheet1!$C$2:$C$5</c:f>
              <c:numCache>
                <c:formatCode>General</c:formatCode>
                <c:ptCount val="4"/>
                <c:pt idx="0">
                  <c:v>0.77440221553059307</c:v>
                </c:pt>
                <c:pt idx="1">
                  <c:v>0.88519601803285297</c:v>
                </c:pt>
                <c:pt idx="2">
                  <c:v>0.98822567551228391</c:v>
                </c:pt>
                <c:pt idx="3">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5</c:f>
              <c:strCache>
                <c:ptCount val="4"/>
                <c:pt idx="0">
                  <c:v>CHAMPAGNE NICOLAS BLC/BLC BS 1CT X 750ML</c:v>
                </c:pt>
                <c:pt idx="1">
                  <c:v>1/2 CHAMP NICOLAS BLC/BLC BS 1CT X 375ML</c:v>
                </c:pt>
                <c:pt idx="2">
                  <c:v>MG CHAMPAGNE NICOLAS BLC/BL BS 1CT X 1500ML</c:v>
                </c:pt>
                <c:pt idx="3">
                  <c:v>CHAMPAGNE NICOLAS BLC/BL BS ET 1CT X 750ML</c:v>
                </c:pt>
              </c:strCache>
            </c:strRef>
          </c:cat>
          <c:val>
            <c:numRef>
              <c:f>Sheet1!$D$2:$D$5</c:f>
              <c:numCache>
                <c:formatCode>General</c:formatCode>
                <c:ptCount val="4"/>
                <c:pt idx="0">
                  <c:v>4890.9272727272719</c:v>
                </c:pt>
                <c:pt idx="1">
                  <c:v>1603.5833333333333</c:v>
                </c:pt>
                <c:pt idx="2">
                  <c:v>2556.3571428571427</c:v>
                </c:pt>
                <c:pt idx="3">
                  <c:v>2045</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5</c:f>
              <c:strCache>
                <c:ptCount val="4"/>
                <c:pt idx="0">
                  <c:v>CHAMPAGNE NICOLAS BLC/BLC BS 1CT X 750ML</c:v>
                </c:pt>
                <c:pt idx="1">
                  <c:v>1/2 CHAMP NICOLAS BLC/BLC BS 1CT X 375ML</c:v>
                </c:pt>
                <c:pt idx="2">
                  <c:v>MG CHAMPAGNE NICOLAS BLC/BL BS 1CT X 1500ML</c:v>
                </c:pt>
                <c:pt idx="3">
                  <c:v>CHAMPAGNE NICOLAS BLC/BL BS ET 1CT X 750ML</c:v>
                </c:pt>
              </c:strCache>
            </c:strRef>
          </c:cat>
          <c:val>
            <c:numRef>
              <c:f>Sheet1!$B$2:$B$5</c:f>
              <c:numCache>
                <c:formatCode>General</c:formatCode>
                <c:ptCount val="4"/>
                <c:pt idx="0">
                  <c:v>0.73</c:v>
                </c:pt>
                <c:pt idx="1">
                  <c:v>0.37</c:v>
                </c:pt>
                <c:pt idx="2">
                  <c:v>0.2</c:v>
                </c:pt>
                <c:pt idx="3">
                  <c:v>0.03</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7ECAC4"/>
              </a:solidFill>
            </c:spPr>
            <c:extLst>
              <c:ext xmlns:c16="http://schemas.microsoft.com/office/drawing/2014/chart" uri="{C3380CC4-5D6E-409C-BE32-E72D297353CC}">
                <c16:uniqueId val="{00000008-D8F4-40C6-A5E0-DB4B53CFB1F3}"/>
              </c:ext>
            </c:extLst>
          </c:dPt>
          <c:dPt>
            <c:idx val="2"/>
            <c:invertIfNegative val="0"/>
            <c:bubble3D val="0"/>
            <c:spPr>
              <a:solidFill>
                <a:srgbClr val="AEABAB"/>
              </a:solidFill>
            </c:spPr>
            <c:extLst>
              <c:ext xmlns:c16="http://schemas.microsoft.com/office/drawing/2014/chart" uri="{C3380CC4-5D6E-409C-BE32-E72D297353CC}">
                <c16:uniqueId val="{00000006-E902-46E2-9A54-39A26B3DFDC1}"/>
              </c:ext>
            </c:extLst>
          </c:dPt>
          <c:dPt>
            <c:idx val="3"/>
            <c:invertIfNegative val="0"/>
            <c:bubble3D val="0"/>
            <c:spPr>
              <a:solidFill>
                <a:srgbClr val="AEABAB"/>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5</c:f>
              <c:strCache>
                <c:ptCount val="4"/>
                <c:pt idx="0">
                  <c:v>CHAMPAGNE NICOLAS BLC/BLC BS 1CT X 750ML</c:v>
                </c:pt>
                <c:pt idx="1">
                  <c:v>1/2 CHAMP NICOLAS BLC/BLC BS 1CT X 375ML</c:v>
                </c:pt>
                <c:pt idx="2">
                  <c:v>MG CHAMPAGNE NICOLAS BLC/BL BS 1CT X 1500ML</c:v>
                </c:pt>
                <c:pt idx="3">
                  <c:v>CHAMPAGNE NICOLAS BLC/BL BS ET 1CT X 750ML</c:v>
                </c:pt>
              </c:strCache>
            </c:strRef>
          </c:cat>
          <c:val>
            <c:numRef>
              <c:f>Sheet1!$C$2:$C$5</c:f>
              <c:numCache>
                <c:formatCode>General</c:formatCode>
                <c:ptCount val="4"/>
                <c:pt idx="0">
                  <c:v>0.74288978730884159</c:v>
                </c:pt>
                <c:pt idx="1">
                  <c:v>0.88228159606257683</c:v>
                </c:pt>
                <c:pt idx="2">
                  <c:v>0.99862893302865174</c:v>
                </c:pt>
                <c:pt idx="3">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5</c:f>
              <c:strCache>
                <c:ptCount val="4"/>
                <c:pt idx="0">
                  <c:v>CHAMPAGNE NICOLAS BLC/BLC BS 1CT X 750ML</c:v>
                </c:pt>
                <c:pt idx="1">
                  <c:v>1/2 CHAMP NICOLAS BLC/BLC BS 1CT X 375ML</c:v>
                </c:pt>
                <c:pt idx="2">
                  <c:v>MG CHAMPAGNE NICOLAS BLC/BL BS 1CT X 1500ML</c:v>
                </c:pt>
                <c:pt idx="3">
                  <c:v>CHAMPAGNE NICOLAS BLC/BL BS ET 1CT X 750ML</c:v>
                </c:pt>
              </c:strCache>
            </c:strRef>
          </c:cat>
          <c:val>
            <c:numRef>
              <c:f>Sheet1!$D$2:$D$5</c:f>
              <c:numCache>
                <c:formatCode>General</c:formatCode>
                <c:ptCount val="4"/>
                <c:pt idx="0">
                  <c:v>578.94520547945206</c:v>
                </c:pt>
                <c:pt idx="1">
                  <c:v>214.32432432432432</c:v>
                </c:pt>
                <c:pt idx="2">
                  <c:v>330.95</c:v>
                </c:pt>
                <c:pt idx="3">
                  <c:v>26</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5</c:f>
              <c:strCache>
                <c:ptCount val="4"/>
                <c:pt idx="0">
                  <c:v>CHAMPAGNE NICOLAS BLC/BLC BS 1CT X 750ML</c:v>
                </c:pt>
                <c:pt idx="1">
                  <c:v>MG CHAMPAGNE NICOLAS BLC/BL BS 1CT X 1500ML</c:v>
                </c:pt>
                <c:pt idx="2">
                  <c:v>1/2 CHAMP NICOLAS BLC/BLC BS 1CT X 375ML</c:v>
                </c:pt>
                <c:pt idx="3">
                  <c:v>CHAMPAGNE NICOLAS BLC/BL BS ET 1CT X 750ML</c:v>
                </c:pt>
              </c:strCache>
            </c:strRef>
          </c:cat>
          <c:val>
            <c:numRef>
              <c:f>Sheet1!$B$2:$B$5</c:f>
              <c:numCache>
                <c:formatCode>General</c:formatCode>
                <c:ptCount val="4"/>
                <c:pt idx="0">
                  <c:v>0.63</c:v>
                </c:pt>
                <c:pt idx="1">
                  <c:v>0.27</c:v>
                </c:pt>
                <c:pt idx="2">
                  <c:v>0.33</c:v>
                </c:pt>
                <c:pt idx="3">
                  <c:v>0.05</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7ECAC4"/>
              </a:solidFill>
            </c:spPr>
            <c:extLst>
              <c:ext xmlns:c16="http://schemas.microsoft.com/office/drawing/2014/chart" uri="{C3380CC4-5D6E-409C-BE32-E72D297353CC}">
                <c16:uniqueId val="{00000008-D8F4-40C6-A5E0-DB4B53CFB1F3}"/>
              </c:ext>
            </c:extLst>
          </c:dPt>
          <c:dPt>
            <c:idx val="2"/>
            <c:invertIfNegative val="0"/>
            <c:bubble3D val="0"/>
            <c:spPr>
              <a:solidFill>
                <a:srgbClr val="AEABAB"/>
              </a:solidFill>
            </c:spPr>
            <c:extLst>
              <c:ext xmlns:c16="http://schemas.microsoft.com/office/drawing/2014/chart" uri="{C3380CC4-5D6E-409C-BE32-E72D297353CC}">
                <c16:uniqueId val="{00000006-E902-46E2-9A54-39A26B3DFDC1}"/>
              </c:ext>
            </c:extLst>
          </c:dPt>
          <c:dPt>
            <c:idx val="3"/>
            <c:invertIfNegative val="0"/>
            <c:bubble3D val="0"/>
            <c:spPr>
              <a:solidFill>
                <a:srgbClr val="AEABAB"/>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5</c:f>
              <c:strCache>
                <c:ptCount val="4"/>
                <c:pt idx="0">
                  <c:v>CHAMPAGNE NICOLAS BLC/BLC BS 1CT X 750ML</c:v>
                </c:pt>
                <c:pt idx="1">
                  <c:v>MG CHAMPAGNE NICOLAS BLC/BL BS 1CT X 1500ML</c:v>
                </c:pt>
                <c:pt idx="2">
                  <c:v>1/2 CHAMP NICOLAS BLC/BLC BS 1CT X 375ML</c:v>
                </c:pt>
                <c:pt idx="3">
                  <c:v>CHAMPAGNE NICOLAS BLC/BL BS ET 1CT X 750ML</c:v>
                </c:pt>
              </c:strCache>
            </c:strRef>
          </c:cat>
          <c:val>
            <c:numRef>
              <c:f>Sheet1!$C$2:$C$5</c:f>
              <c:numCache>
                <c:formatCode>General</c:formatCode>
                <c:ptCount val="4"/>
                <c:pt idx="0">
                  <c:v>0.66697218458595675</c:v>
                </c:pt>
                <c:pt idx="1">
                  <c:v>0.86219813501235354</c:v>
                </c:pt>
                <c:pt idx="2">
                  <c:v>0.98453813660636003</c:v>
                </c:pt>
                <c:pt idx="3">
                  <c:v>0.99999999999999989</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5</c:f>
              <c:strCache>
                <c:ptCount val="4"/>
                <c:pt idx="0">
                  <c:v>CHAMPAGNE NICOLAS BLC/BLC BS 1CT X 750ML</c:v>
                </c:pt>
                <c:pt idx="1">
                  <c:v>MG CHAMPAGNE NICOLAS BLC/BL BS 1CT X 1500ML</c:v>
                </c:pt>
                <c:pt idx="2">
                  <c:v>1/2 CHAMP NICOLAS BLC/BLC BS 1CT X 375ML</c:v>
                </c:pt>
                <c:pt idx="3">
                  <c:v>CHAMPAGNE NICOLAS BLC/BL BS ET 1CT X 750ML</c:v>
                </c:pt>
              </c:strCache>
            </c:strRef>
          </c:cat>
          <c:val>
            <c:numRef>
              <c:f>Sheet1!$D$2:$D$5</c:f>
              <c:numCache>
                <c:formatCode>General</c:formatCode>
                <c:ptCount val="4"/>
                <c:pt idx="0">
                  <c:v>265.66666666666669</c:v>
                </c:pt>
                <c:pt idx="1">
                  <c:v>181.44444444444446</c:v>
                </c:pt>
                <c:pt idx="2">
                  <c:v>93.030303030303031</c:v>
                </c:pt>
                <c:pt idx="3">
                  <c:v>77.599999999999994</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5</c:f>
              <c:strCache>
                <c:ptCount val="4"/>
                <c:pt idx="0">
                  <c:v>CHAMPAGNE NICOLAS BLC/BLC BS 1CT X 750ML</c:v>
                </c:pt>
                <c:pt idx="1">
                  <c:v>MG CHAMPAGNE NICOLAS BLC/BL BS 1CT X 1500ML</c:v>
                </c:pt>
                <c:pt idx="2">
                  <c:v>1/2 CHAMP NICOLAS BLC/BLC BS 1CT X 375ML</c:v>
                </c:pt>
                <c:pt idx="3">
                  <c:v>CHAMPAGNE NICOLAS BLC/BL BS ET 1CT X 750ML</c:v>
                </c:pt>
              </c:strCache>
            </c:strRef>
          </c:cat>
          <c:val>
            <c:numRef>
              <c:f>Sheet1!$B$2:$B$5</c:f>
              <c:numCache>
                <c:formatCode>General</c:formatCode>
                <c:ptCount val="4"/>
                <c:pt idx="0">
                  <c:v>0.56000000000000005</c:v>
                </c:pt>
                <c:pt idx="1">
                  <c:v>0.16</c:v>
                </c:pt>
                <c:pt idx="2">
                  <c:v>0.32</c:v>
                </c:pt>
                <c:pt idx="3">
                  <c:v>0.03</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7ECAC4"/>
              </a:solidFill>
            </c:spPr>
            <c:extLst>
              <c:ext xmlns:c16="http://schemas.microsoft.com/office/drawing/2014/chart" uri="{C3380CC4-5D6E-409C-BE32-E72D297353CC}">
                <c16:uniqueId val="{00000008-D8F4-40C6-A5E0-DB4B53CFB1F3}"/>
              </c:ext>
            </c:extLst>
          </c:dPt>
          <c:dPt>
            <c:idx val="2"/>
            <c:invertIfNegative val="0"/>
            <c:bubble3D val="0"/>
            <c:spPr>
              <a:solidFill>
                <a:srgbClr val="AEABAB"/>
              </a:solidFill>
            </c:spPr>
            <c:extLst>
              <c:ext xmlns:c16="http://schemas.microsoft.com/office/drawing/2014/chart" uri="{C3380CC4-5D6E-409C-BE32-E72D297353CC}">
                <c16:uniqueId val="{00000006-E902-46E2-9A54-39A26B3DFDC1}"/>
              </c:ext>
            </c:extLst>
          </c:dPt>
          <c:dPt>
            <c:idx val="3"/>
            <c:invertIfNegative val="0"/>
            <c:bubble3D val="0"/>
            <c:spPr>
              <a:solidFill>
                <a:srgbClr val="AEABAB"/>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5</c:f>
              <c:strCache>
                <c:ptCount val="4"/>
                <c:pt idx="0">
                  <c:v>CHAMPAGNE NICOLAS BLC/BLC BS 1CT X 750ML</c:v>
                </c:pt>
                <c:pt idx="1">
                  <c:v>MG CHAMPAGNE NICOLAS BLC/BL BS 1CT X 1500ML</c:v>
                </c:pt>
                <c:pt idx="2">
                  <c:v>1/2 CHAMP NICOLAS BLC/BLC BS 1CT X 375ML</c:v>
                </c:pt>
                <c:pt idx="3">
                  <c:v>CHAMPAGNE NICOLAS BLC/BL BS ET 1CT X 750ML</c:v>
                </c:pt>
              </c:strCache>
            </c:strRef>
          </c:cat>
          <c:val>
            <c:numRef>
              <c:f>Sheet1!$C$2:$C$5</c:f>
              <c:numCache>
                <c:formatCode>General</c:formatCode>
                <c:ptCount val="4"/>
                <c:pt idx="0">
                  <c:v>0.76142438351439901</c:v>
                </c:pt>
                <c:pt idx="1">
                  <c:v>0.88739437834109325</c:v>
                </c:pt>
                <c:pt idx="2">
                  <c:v>0.99672357302983272</c:v>
                </c:pt>
                <c:pt idx="3">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5</c:f>
              <c:strCache>
                <c:ptCount val="4"/>
                <c:pt idx="0">
                  <c:v>CHAMPAGNE NICOLAS BLC/BLC BS 1CT X 750ML</c:v>
                </c:pt>
                <c:pt idx="1">
                  <c:v>MG CHAMPAGNE NICOLAS BLC/BL BS 1CT X 1500ML</c:v>
                </c:pt>
                <c:pt idx="2">
                  <c:v>1/2 CHAMP NICOLAS BLC/BLC BS 1CT X 375ML</c:v>
                </c:pt>
                <c:pt idx="3">
                  <c:v>CHAMPAGNE NICOLAS BLC/BL BS ET 1CT X 750ML</c:v>
                </c:pt>
              </c:strCache>
            </c:strRef>
          </c:cat>
          <c:val>
            <c:numRef>
              <c:f>Sheet1!$D$2:$D$5</c:f>
              <c:numCache>
                <c:formatCode>General</c:formatCode>
                <c:ptCount val="4"/>
                <c:pt idx="0">
                  <c:v>157.69642857142856</c:v>
                </c:pt>
                <c:pt idx="1">
                  <c:v>91.3125</c:v>
                </c:pt>
                <c:pt idx="2">
                  <c:v>39.625</c:v>
                </c:pt>
                <c:pt idx="3">
                  <c:v>12.666666666666666</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5</c:f>
              <c:strCache>
                <c:ptCount val="4"/>
                <c:pt idx="0">
                  <c:v>CHAMPAGNE NICOLAS BLC/BLC BS 1CT X 750ML</c:v>
                </c:pt>
                <c:pt idx="1">
                  <c:v>1/2 CHAMP NICOLAS BLC/BLC BS 1CT X 375ML</c:v>
                </c:pt>
                <c:pt idx="2">
                  <c:v>MG CHAMPAGNE NICOLAS BLC/BL BS 1CT X 1500ML</c:v>
                </c:pt>
                <c:pt idx="3">
                  <c:v>CHAMPAGNE NICOLAS BLC/BL BS ET 1CT X 750ML</c:v>
                </c:pt>
              </c:strCache>
            </c:strRef>
          </c:cat>
          <c:val>
            <c:numRef>
              <c:f>Sheet1!$B$2:$B$5</c:f>
              <c:numCache>
                <c:formatCode>General</c:formatCode>
                <c:ptCount val="4"/>
                <c:pt idx="0">
                  <c:v>0.43</c:v>
                </c:pt>
                <c:pt idx="1">
                  <c:v>0.33</c:v>
                </c:pt>
                <c:pt idx="2">
                  <c:v>0.34</c:v>
                </c:pt>
                <c:pt idx="3">
                  <c:v>0.13</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7ECAC4"/>
              </a:solidFill>
            </c:spPr>
            <c:extLst>
              <c:ext xmlns:c16="http://schemas.microsoft.com/office/drawing/2014/chart" uri="{C3380CC4-5D6E-409C-BE32-E72D297353CC}">
                <c16:uniqueId val="{00000008-D8F4-40C6-A5E0-DB4B53CFB1F3}"/>
              </c:ext>
            </c:extLst>
          </c:dPt>
          <c:dPt>
            <c:idx val="2"/>
            <c:invertIfNegative val="0"/>
            <c:bubble3D val="0"/>
            <c:spPr>
              <a:solidFill>
                <a:srgbClr val="AEABAB"/>
              </a:solidFill>
            </c:spPr>
            <c:extLst>
              <c:ext xmlns:c16="http://schemas.microsoft.com/office/drawing/2014/chart" uri="{C3380CC4-5D6E-409C-BE32-E72D297353CC}">
                <c16:uniqueId val="{00000006-E902-46E2-9A54-39A26B3DFDC1}"/>
              </c:ext>
            </c:extLst>
          </c:dPt>
          <c:dPt>
            <c:idx val="3"/>
            <c:invertIfNegative val="0"/>
            <c:bubble3D val="0"/>
            <c:spPr>
              <a:solidFill>
                <a:srgbClr val="AEABAB"/>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5</c:f>
              <c:strCache>
                <c:ptCount val="4"/>
                <c:pt idx="0">
                  <c:v>CHAMPAGNE NICOLAS BLC/BLC BS 1CT X 750ML</c:v>
                </c:pt>
                <c:pt idx="1">
                  <c:v>1/2 CHAMP NICOLAS BLC/BLC BS 1CT X 375ML</c:v>
                </c:pt>
                <c:pt idx="2">
                  <c:v>MG CHAMPAGNE NICOLAS BLC/BL BS 1CT X 1500ML</c:v>
                </c:pt>
                <c:pt idx="3">
                  <c:v>CHAMPAGNE NICOLAS BLC/BL BS ET 1CT X 750ML</c:v>
                </c:pt>
              </c:strCache>
            </c:strRef>
          </c:cat>
          <c:val>
            <c:numRef>
              <c:f>Sheet1!$C$2:$C$5</c:f>
              <c:numCache>
                <c:formatCode>General</c:formatCode>
                <c:ptCount val="4"/>
                <c:pt idx="0">
                  <c:v>0.68583740780641422</c:v>
                </c:pt>
                <c:pt idx="1">
                  <c:v>0.84685505925250681</c:v>
                </c:pt>
                <c:pt idx="2">
                  <c:v>0.95806745670009119</c:v>
                </c:pt>
                <c:pt idx="3">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5</c:f>
              <c:strCache>
                <c:ptCount val="4"/>
                <c:pt idx="0">
                  <c:v>CHAMPAGNE NICOLAS BLC/BLC BS 1CT X 750ML</c:v>
                </c:pt>
                <c:pt idx="1">
                  <c:v>1/2 CHAMP NICOLAS BLC/BLC BS 1CT X 375ML</c:v>
                </c:pt>
                <c:pt idx="2">
                  <c:v>MG CHAMPAGNE NICOLAS BLC/BL BS 1CT X 1500ML</c:v>
                </c:pt>
                <c:pt idx="3">
                  <c:v>CHAMPAGNE NICOLAS BLC/BL BS ET 1CT X 750ML</c:v>
                </c:pt>
              </c:strCache>
            </c:strRef>
          </c:cat>
          <c:val>
            <c:numRef>
              <c:f>Sheet1!$D$2:$D$5</c:f>
              <c:numCache>
                <c:formatCode>General</c:formatCode>
                <c:ptCount val="4"/>
                <c:pt idx="0">
                  <c:v>192.46511627906978</c:v>
                </c:pt>
                <c:pt idx="1">
                  <c:v>58.878787878787875</c:v>
                </c:pt>
                <c:pt idx="2">
                  <c:v>39.470588235294116</c:v>
                </c:pt>
                <c:pt idx="3">
                  <c:v>38.92307692307692</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5</c:f>
              <c:strCache>
                <c:ptCount val="4"/>
                <c:pt idx="0">
                  <c:v>CHAMPAGNE NICOLAS BLC/BLC BS 1CT X 750ML</c:v>
                </c:pt>
                <c:pt idx="1">
                  <c:v>MG CHAMPAGNE NICOLAS BLC/BL BS 1CT X 1500ML</c:v>
                </c:pt>
                <c:pt idx="2">
                  <c:v>1/2 CHAMP NICOLAS BLC/BLC BS 1CT X 375ML</c:v>
                </c:pt>
                <c:pt idx="3">
                  <c:v>CHAMPAGNE NICOLAS BLC/BL BS ET 1CT X 750ML</c:v>
                </c:pt>
              </c:strCache>
            </c:strRef>
          </c:cat>
          <c:val>
            <c:numRef>
              <c:f>Sheet1!$B$2:$B$5</c:f>
              <c:numCache>
                <c:formatCode>General</c:formatCode>
                <c:ptCount val="4"/>
                <c:pt idx="0">
                  <c:v>0.7</c:v>
                </c:pt>
                <c:pt idx="1">
                  <c:v>0.23</c:v>
                </c:pt>
                <c:pt idx="2">
                  <c:v>0.35</c:v>
                </c:pt>
                <c:pt idx="3">
                  <c:v>0.02</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7ECAC4"/>
              </a:solidFill>
            </c:spPr>
            <c:extLst>
              <c:ext xmlns:c16="http://schemas.microsoft.com/office/drawing/2014/chart" uri="{C3380CC4-5D6E-409C-BE32-E72D297353CC}">
                <c16:uniqueId val="{00000008-D8F4-40C6-A5E0-DB4B53CFB1F3}"/>
              </c:ext>
            </c:extLst>
          </c:dPt>
          <c:dPt>
            <c:idx val="2"/>
            <c:invertIfNegative val="0"/>
            <c:bubble3D val="0"/>
            <c:spPr>
              <a:solidFill>
                <a:srgbClr val="AEABAB"/>
              </a:solidFill>
            </c:spPr>
            <c:extLst>
              <c:ext xmlns:c16="http://schemas.microsoft.com/office/drawing/2014/chart" uri="{C3380CC4-5D6E-409C-BE32-E72D297353CC}">
                <c16:uniqueId val="{00000006-E902-46E2-9A54-39A26B3DFDC1}"/>
              </c:ext>
            </c:extLst>
          </c:dPt>
          <c:dPt>
            <c:idx val="3"/>
            <c:invertIfNegative val="0"/>
            <c:bubble3D val="0"/>
            <c:spPr>
              <a:solidFill>
                <a:srgbClr val="AEABAB"/>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5</c:f>
              <c:strCache>
                <c:ptCount val="4"/>
                <c:pt idx="0">
                  <c:v>CHAMPAGNE NICOLAS BLC/BLC BS 1CT X 750ML</c:v>
                </c:pt>
                <c:pt idx="1">
                  <c:v>MG CHAMPAGNE NICOLAS BLC/BL BS 1CT X 1500ML</c:v>
                </c:pt>
                <c:pt idx="2">
                  <c:v>1/2 CHAMP NICOLAS BLC/BLC BS 1CT X 375ML</c:v>
                </c:pt>
                <c:pt idx="3">
                  <c:v>CHAMPAGNE NICOLAS BLC/BL BS ET 1CT X 750ML</c:v>
                </c:pt>
              </c:strCache>
            </c:strRef>
          </c:cat>
          <c:val>
            <c:numRef>
              <c:f>Sheet1!$C$2:$C$5</c:f>
              <c:numCache>
                <c:formatCode>General</c:formatCode>
                <c:ptCount val="4"/>
                <c:pt idx="0">
                  <c:v>0.77335097064817138</c:v>
                </c:pt>
                <c:pt idx="1">
                  <c:v>0.88811983840406139</c:v>
                </c:pt>
                <c:pt idx="2">
                  <c:v>0.99916341925565766</c:v>
                </c:pt>
                <c:pt idx="3">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5</c:f>
              <c:strCache>
                <c:ptCount val="4"/>
                <c:pt idx="0">
                  <c:v>CHAMPAGNE NICOLAS BLC/BLC BS 1CT X 750ML</c:v>
                </c:pt>
                <c:pt idx="1">
                  <c:v>MG CHAMPAGNE NICOLAS BLC/BL BS 1CT X 1500ML</c:v>
                </c:pt>
                <c:pt idx="2">
                  <c:v>1/2 CHAMP NICOLAS BLC/BLC BS 1CT X 375ML</c:v>
                </c:pt>
                <c:pt idx="3">
                  <c:v>CHAMPAGNE NICOLAS BLC/BL BS ET 1CT X 750ML</c:v>
                </c:pt>
              </c:strCache>
            </c:strRef>
          </c:cat>
          <c:val>
            <c:numRef>
              <c:f>Sheet1!$D$2:$D$5</c:f>
              <c:numCache>
                <c:formatCode>General</c:formatCode>
                <c:ptCount val="4"/>
                <c:pt idx="0">
                  <c:v>1545.1</c:v>
                </c:pt>
                <c:pt idx="1">
                  <c:v>697.86956521739125</c:v>
                </c:pt>
                <c:pt idx="2">
                  <c:v>443.71428571428572</c:v>
                </c:pt>
                <c:pt idx="3">
                  <c:v>58.5</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5</c:f>
              <c:strCache>
                <c:ptCount val="4"/>
                <c:pt idx="0">
                  <c:v>CHAMPAGNE NICOLAS BLC/BLC BS 1CT X 750ML</c:v>
                </c:pt>
                <c:pt idx="1">
                  <c:v>MG CHAMPAGNE NICOLAS BLC/BL BS 1CT X 1500ML</c:v>
                </c:pt>
                <c:pt idx="2">
                  <c:v>1/2 CHAMP NICOLAS BLC/BLC BS 1CT X 375ML</c:v>
                </c:pt>
                <c:pt idx="3">
                  <c:v>CHAMPAGNE NICOLAS BLC/BL BS ET 1CT X 750ML</c:v>
                </c:pt>
              </c:strCache>
            </c:strRef>
          </c:cat>
          <c:val>
            <c:numRef>
              <c:f>Sheet1!$B$2:$B$5</c:f>
              <c:numCache>
                <c:formatCode>General</c:formatCode>
                <c:ptCount val="4"/>
                <c:pt idx="0">
                  <c:v>0.69</c:v>
                </c:pt>
                <c:pt idx="1">
                  <c:v>0.19</c:v>
                </c:pt>
                <c:pt idx="2">
                  <c:v>0.3</c:v>
                </c:pt>
                <c:pt idx="3">
                  <c:v>0.05</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7ECAC4"/>
              </a:solidFill>
            </c:spPr>
            <c:extLst>
              <c:ext xmlns:c16="http://schemas.microsoft.com/office/drawing/2014/chart" uri="{C3380CC4-5D6E-409C-BE32-E72D297353CC}">
                <c16:uniqueId val="{00000008-D8F4-40C6-A5E0-DB4B53CFB1F3}"/>
              </c:ext>
            </c:extLst>
          </c:dPt>
          <c:dPt>
            <c:idx val="2"/>
            <c:invertIfNegative val="0"/>
            <c:bubble3D val="0"/>
            <c:spPr>
              <a:solidFill>
                <a:srgbClr val="AEABAB"/>
              </a:solidFill>
            </c:spPr>
            <c:extLst>
              <c:ext xmlns:c16="http://schemas.microsoft.com/office/drawing/2014/chart" uri="{C3380CC4-5D6E-409C-BE32-E72D297353CC}">
                <c16:uniqueId val="{00000006-E902-46E2-9A54-39A26B3DFDC1}"/>
              </c:ext>
            </c:extLst>
          </c:dPt>
          <c:dPt>
            <c:idx val="3"/>
            <c:invertIfNegative val="0"/>
            <c:bubble3D val="0"/>
            <c:spPr>
              <a:solidFill>
                <a:srgbClr val="AEABAB"/>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5</c:f>
              <c:strCache>
                <c:ptCount val="4"/>
                <c:pt idx="0">
                  <c:v>CHAMPAGNE NICOLAS BLC/BLC BS 1CT X 750ML</c:v>
                </c:pt>
                <c:pt idx="1">
                  <c:v>MG CHAMPAGNE NICOLAS BLC/BL BS 1CT X 1500ML</c:v>
                </c:pt>
                <c:pt idx="2">
                  <c:v>1/2 CHAMP NICOLAS BLC/BLC BS 1CT X 375ML</c:v>
                </c:pt>
                <c:pt idx="3">
                  <c:v>CHAMPAGNE NICOLAS BLC/BL BS ET 1CT X 750ML</c:v>
                </c:pt>
              </c:strCache>
            </c:strRef>
          </c:cat>
          <c:val>
            <c:numRef>
              <c:f>Sheet1!$C$2:$C$5</c:f>
              <c:numCache>
                <c:formatCode>General</c:formatCode>
                <c:ptCount val="4"/>
                <c:pt idx="0">
                  <c:v>0.77291180422943639</c:v>
                </c:pt>
                <c:pt idx="1">
                  <c:v>0.89569276469340131</c:v>
                </c:pt>
                <c:pt idx="2">
                  <c:v>0.99173916118537386</c:v>
                </c:pt>
                <c:pt idx="3">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5</c:f>
              <c:strCache>
                <c:ptCount val="4"/>
                <c:pt idx="0">
                  <c:v>CHAMPAGNE NICOLAS BLC/BLC BS 1CT X 750ML</c:v>
                </c:pt>
                <c:pt idx="1">
                  <c:v>MG CHAMPAGNE NICOLAS BLC/BL BS 1CT X 1500ML</c:v>
                </c:pt>
                <c:pt idx="2">
                  <c:v>1/2 CHAMP NICOLAS BLC/BLC BS 1CT X 375ML</c:v>
                </c:pt>
                <c:pt idx="3">
                  <c:v>CHAMPAGNE NICOLAS BLC/BL BS ET 1CT X 750ML</c:v>
                </c:pt>
              </c:strCache>
            </c:strRef>
          </c:cat>
          <c:val>
            <c:numRef>
              <c:f>Sheet1!$D$2:$D$5</c:f>
              <c:numCache>
                <c:formatCode>General</c:formatCode>
                <c:ptCount val="4"/>
                <c:pt idx="0">
                  <c:v>791.89855072463763</c:v>
                </c:pt>
                <c:pt idx="1">
                  <c:v>456.84210526315792</c:v>
                </c:pt>
                <c:pt idx="2">
                  <c:v>226.33333333333334</c:v>
                </c:pt>
                <c:pt idx="3">
                  <c:v>116.8</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5</c:f>
              <c:strCache>
                <c:ptCount val="4"/>
                <c:pt idx="0">
                  <c:v>CHAMPAGNE NICOLAS BLC/BLC BS 1CT X 750ML</c:v>
                </c:pt>
                <c:pt idx="1">
                  <c:v>1/2 CHAMP NICOLAS BLC/BLC BS 1CT X 375ML</c:v>
                </c:pt>
                <c:pt idx="2">
                  <c:v>MG CHAMPAGNE NICOLAS BLC/BL BS 1CT X 1500ML</c:v>
                </c:pt>
                <c:pt idx="3">
                  <c:v>CHAMPAGNE NICOLAS BLC/BL BS ET 1CT X 750ML</c:v>
                </c:pt>
              </c:strCache>
            </c:strRef>
          </c:cat>
          <c:val>
            <c:numRef>
              <c:f>Sheet1!$B$2:$B$5</c:f>
              <c:numCache>
                <c:formatCode>General</c:formatCode>
                <c:ptCount val="4"/>
                <c:pt idx="0">
                  <c:v>0.51</c:v>
                </c:pt>
                <c:pt idx="1">
                  <c:v>0.25</c:v>
                </c:pt>
                <c:pt idx="2">
                  <c:v>0.13</c:v>
                </c:pt>
                <c:pt idx="3">
                  <c:v>0.03</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7ECAC4"/>
              </a:solidFill>
            </c:spPr>
            <c:extLst>
              <c:ext xmlns:c16="http://schemas.microsoft.com/office/drawing/2014/chart" uri="{C3380CC4-5D6E-409C-BE32-E72D297353CC}">
                <c16:uniqueId val="{00000008-D8F4-40C6-A5E0-DB4B53CFB1F3}"/>
              </c:ext>
            </c:extLst>
          </c:dPt>
          <c:dPt>
            <c:idx val="2"/>
            <c:invertIfNegative val="0"/>
            <c:bubble3D val="0"/>
            <c:spPr>
              <a:solidFill>
                <a:srgbClr val="AEABAB"/>
              </a:solidFill>
            </c:spPr>
            <c:extLst>
              <c:ext xmlns:c16="http://schemas.microsoft.com/office/drawing/2014/chart" uri="{C3380CC4-5D6E-409C-BE32-E72D297353CC}">
                <c16:uniqueId val="{00000006-E902-46E2-9A54-39A26B3DFDC1}"/>
              </c:ext>
            </c:extLst>
          </c:dPt>
          <c:dPt>
            <c:idx val="3"/>
            <c:invertIfNegative val="0"/>
            <c:bubble3D val="0"/>
            <c:spPr>
              <a:solidFill>
                <a:srgbClr val="AEABAB"/>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5</c:f>
              <c:strCache>
                <c:ptCount val="4"/>
                <c:pt idx="0">
                  <c:v>CHAMPAGNE NICOLAS BLC/BLC BS 1CT X 750ML</c:v>
                </c:pt>
                <c:pt idx="1">
                  <c:v>1/2 CHAMP NICOLAS BLC/BLC BS 1CT X 375ML</c:v>
                </c:pt>
                <c:pt idx="2">
                  <c:v>MG CHAMPAGNE NICOLAS BLC/BL BS 1CT X 1500ML</c:v>
                </c:pt>
                <c:pt idx="3">
                  <c:v>CHAMPAGNE NICOLAS BLC/BL BS ET 1CT X 750ML</c:v>
                </c:pt>
              </c:strCache>
            </c:strRef>
          </c:cat>
          <c:val>
            <c:numRef>
              <c:f>Sheet1!$C$2:$C$5</c:f>
              <c:numCache>
                <c:formatCode>General</c:formatCode>
                <c:ptCount val="4"/>
                <c:pt idx="0">
                  <c:v>0.74381487965762993</c:v>
                </c:pt>
                <c:pt idx="1">
                  <c:v>0.88188586485578369</c:v>
                </c:pt>
                <c:pt idx="2">
                  <c:v>0.99072453003696037</c:v>
                </c:pt>
                <c:pt idx="3">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5</c:f>
              <c:strCache>
                <c:ptCount val="4"/>
                <c:pt idx="0">
                  <c:v>CHAMPAGNE NICOLAS BLC/BLC BS 1CT X 750ML</c:v>
                </c:pt>
                <c:pt idx="1">
                  <c:v>1/2 CHAMP NICOLAS BLC/BLC BS 1CT X 375ML</c:v>
                </c:pt>
                <c:pt idx="2">
                  <c:v>MG CHAMPAGNE NICOLAS BLC/BL BS 1CT X 1500ML</c:v>
                </c:pt>
                <c:pt idx="3">
                  <c:v>CHAMPAGNE NICOLAS BLC/BL BS ET 1CT X 750ML</c:v>
                </c:pt>
              </c:strCache>
            </c:strRef>
          </c:cat>
          <c:val>
            <c:numRef>
              <c:f>Sheet1!$D$2:$D$5</c:f>
              <c:numCache>
                <c:formatCode>General</c:formatCode>
                <c:ptCount val="4"/>
                <c:pt idx="0">
                  <c:v>1649.4313725490197</c:v>
                </c:pt>
                <c:pt idx="1">
                  <c:v>624.6</c:v>
                </c:pt>
                <c:pt idx="2">
                  <c:v>946.84615384615381</c:v>
                </c:pt>
                <c:pt idx="3">
                  <c:v>349.6666666666666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5</c:f>
              <c:strCache>
                <c:ptCount val="4"/>
                <c:pt idx="0">
                  <c:v>CHAMPAGNE NICOLAS BLC/BLC BS 1CT X 750ML</c:v>
                </c:pt>
                <c:pt idx="1">
                  <c:v>1/2 CHAMP NICOLAS BLC/BLC BS 1CT X 375ML</c:v>
                </c:pt>
                <c:pt idx="2">
                  <c:v>MG CHAMPAGNE NICOLAS BLC/BL BS 1CT X 1500ML</c:v>
                </c:pt>
                <c:pt idx="3">
                  <c:v>CHAMPAGNE NICOLAS BLC/BL BS ET 1CT X 750ML</c:v>
                </c:pt>
              </c:strCache>
            </c:strRef>
          </c:cat>
          <c:val>
            <c:numRef>
              <c:f>Sheet1!$B$2:$B$5</c:f>
              <c:numCache>
                <c:formatCode>General</c:formatCode>
                <c:ptCount val="4"/>
                <c:pt idx="0">
                  <c:v>0.51</c:v>
                </c:pt>
                <c:pt idx="1">
                  <c:v>0.15</c:v>
                </c:pt>
                <c:pt idx="2">
                  <c:v>0.08</c:v>
                </c:pt>
                <c:pt idx="3">
                  <c:v>0.04</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7ECAC4"/>
              </a:solidFill>
            </c:spPr>
            <c:extLst>
              <c:ext xmlns:c16="http://schemas.microsoft.com/office/drawing/2014/chart" uri="{C3380CC4-5D6E-409C-BE32-E72D297353CC}">
                <c16:uniqueId val="{00000008-D8F4-40C6-A5E0-DB4B53CFB1F3}"/>
              </c:ext>
            </c:extLst>
          </c:dPt>
          <c:dPt>
            <c:idx val="2"/>
            <c:invertIfNegative val="0"/>
            <c:bubble3D val="0"/>
            <c:spPr>
              <a:solidFill>
                <a:srgbClr val="AEABAB"/>
              </a:solidFill>
            </c:spPr>
            <c:extLst>
              <c:ext xmlns:c16="http://schemas.microsoft.com/office/drawing/2014/chart" uri="{C3380CC4-5D6E-409C-BE32-E72D297353CC}">
                <c16:uniqueId val="{00000006-E902-46E2-9A54-39A26B3DFDC1}"/>
              </c:ext>
            </c:extLst>
          </c:dPt>
          <c:dPt>
            <c:idx val="3"/>
            <c:invertIfNegative val="0"/>
            <c:bubble3D val="0"/>
            <c:spPr>
              <a:solidFill>
                <a:srgbClr val="AEABAB"/>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5</c:f>
              <c:strCache>
                <c:ptCount val="4"/>
                <c:pt idx="0">
                  <c:v>CHAMPAGNE NICOLAS BLC/BLC BS 1CT X 750ML</c:v>
                </c:pt>
                <c:pt idx="1">
                  <c:v>1/2 CHAMP NICOLAS BLC/BLC BS 1CT X 375ML</c:v>
                </c:pt>
                <c:pt idx="2">
                  <c:v>MG CHAMPAGNE NICOLAS BLC/BL BS 1CT X 1500ML</c:v>
                </c:pt>
                <c:pt idx="3">
                  <c:v>CHAMPAGNE NICOLAS BLC/BL BS ET 1CT X 750ML</c:v>
                </c:pt>
              </c:strCache>
            </c:strRef>
          </c:cat>
          <c:val>
            <c:numRef>
              <c:f>Sheet1!$C$2:$C$5</c:f>
              <c:numCache>
                <c:formatCode>General</c:formatCode>
                <c:ptCount val="4"/>
                <c:pt idx="0">
                  <c:v>0.77244433804165669</c:v>
                </c:pt>
                <c:pt idx="1">
                  <c:v>0.889789322480249</c:v>
                </c:pt>
                <c:pt idx="2">
                  <c:v>0.98648551592051714</c:v>
                </c:pt>
                <c:pt idx="3">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5</c:f>
              <c:strCache>
                <c:ptCount val="4"/>
                <c:pt idx="0">
                  <c:v>CHAMPAGNE NICOLAS BLC/BLC BS 1CT X 750ML</c:v>
                </c:pt>
                <c:pt idx="1">
                  <c:v>1/2 CHAMP NICOLAS BLC/BLC BS 1CT X 375ML</c:v>
                </c:pt>
                <c:pt idx="2">
                  <c:v>MG CHAMPAGNE NICOLAS BLC/BL BS 1CT X 1500ML</c:v>
                </c:pt>
                <c:pt idx="3">
                  <c:v>CHAMPAGNE NICOLAS BLC/BL BS ET 1CT X 750ML</c:v>
                </c:pt>
              </c:strCache>
            </c:strRef>
          </c:cat>
          <c:val>
            <c:numRef>
              <c:f>Sheet1!$D$2:$D$5</c:f>
              <c:numCache>
                <c:formatCode>General</c:formatCode>
                <c:ptCount val="4"/>
                <c:pt idx="0">
                  <c:v>1265.2941176470588</c:v>
                </c:pt>
                <c:pt idx="1">
                  <c:v>653.5333333333333</c:v>
                </c:pt>
                <c:pt idx="2">
                  <c:v>1009.75</c:v>
                </c:pt>
                <c:pt idx="3">
                  <c:v>282.25</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5</c:f>
              <c:strCache>
                <c:ptCount val="4"/>
                <c:pt idx="0">
                  <c:v>CHAMPAGNE NICOLAS BLC/BLC BS 1CT X 750ML</c:v>
                </c:pt>
                <c:pt idx="1">
                  <c:v>MG CHAMPAGNE NICOLAS BLC/BL BS 1CT X 1500ML</c:v>
                </c:pt>
                <c:pt idx="2">
                  <c:v>1/2 CHAMP NICOLAS BLC/BLC BS 1CT X 375ML</c:v>
                </c:pt>
                <c:pt idx="3">
                  <c:v>CHAMPAGNE NICOLAS BLC/BL BS ET 1CT X 750ML</c:v>
                </c:pt>
              </c:strCache>
            </c:strRef>
          </c:cat>
          <c:val>
            <c:numRef>
              <c:f>Sheet1!$B$2:$B$5</c:f>
              <c:numCache>
                <c:formatCode>General</c:formatCode>
                <c:ptCount val="4"/>
                <c:pt idx="0">
                  <c:v>0.34</c:v>
                </c:pt>
                <c:pt idx="1">
                  <c:v>0.1</c:v>
                </c:pt>
                <c:pt idx="2">
                  <c:v>0.17</c:v>
                </c:pt>
                <c:pt idx="3">
                  <c:v>0.04</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7ECAC4"/>
              </a:solidFill>
            </c:spPr>
            <c:extLst>
              <c:ext xmlns:c16="http://schemas.microsoft.com/office/drawing/2014/chart" uri="{C3380CC4-5D6E-409C-BE32-E72D297353CC}">
                <c16:uniqueId val="{00000008-D8F4-40C6-A5E0-DB4B53CFB1F3}"/>
              </c:ext>
            </c:extLst>
          </c:dPt>
          <c:dPt>
            <c:idx val="2"/>
            <c:invertIfNegative val="0"/>
            <c:bubble3D val="0"/>
            <c:spPr>
              <a:solidFill>
                <a:srgbClr val="AEABAB"/>
              </a:solidFill>
            </c:spPr>
            <c:extLst>
              <c:ext xmlns:c16="http://schemas.microsoft.com/office/drawing/2014/chart" uri="{C3380CC4-5D6E-409C-BE32-E72D297353CC}">
                <c16:uniqueId val="{00000006-E902-46E2-9A54-39A26B3DFDC1}"/>
              </c:ext>
            </c:extLst>
          </c:dPt>
          <c:dPt>
            <c:idx val="3"/>
            <c:invertIfNegative val="0"/>
            <c:bubble3D val="0"/>
            <c:spPr>
              <a:solidFill>
                <a:srgbClr val="AEABAB"/>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5</c:f>
              <c:strCache>
                <c:ptCount val="4"/>
                <c:pt idx="0">
                  <c:v>CHAMPAGNE NICOLAS BLC/BLC BS 1CT X 750ML</c:v>
                </c:pt>
                <c:pt idx="1">
                  <c:v>MG CHAMPAGNE NICOLAS BLC/BL BS 1CT X 1500ML</c:v>
                </c:pt>
                <c:pt idx="2">
                  <c:v>1/2 CHAMP NICOLAS BLC/BLC BS 1CT X 375ML</c:v>
                </c:pt>
                <c:pt idx="3">
                  <c:v>CHAMPAGNE NICOLAS BLC/BL BS ET 1CT X 750ML</c:v>
                </c:pt>
              </c:strCache>
            </c:strRef>
          </c:cat>
          <c:val>
            <c:numRef>
              <c:f>Sheet1!$C$2:$C$5</c:f>
              <c:numCache>
                <c:formatCode>General</c:formatCode>
                <c:ptCount val="4"/>
                <c:pt idx="0">
                  <c:v>0.74132160459889851</c:v>
                </c:pt>
                <c:pt idx="1">
                  <c:v>0.86316154981336268</c:v>
                </c:pt>
                <c:pt idx="2">
                  <c:v>0.96843079950230049</c:v>
                </c:pt>
                <c:pt idx="3">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5</c:f>
              <c:strCache>
                <c:ptCount val="4"/>
                <c:pt idx="0">
                  <c:v>CHAMPAGNE NICOLAS BLC/BLC BS 1CT X 750ML</c:v>
                </c:pt>
                <c:pt idx="1">
                  <c:v>MG CHAMPAGNE NICOLAS BLC/BL BS 1CT X 1500ML</c:v>
                </c:pt>
                <c:pt idx="2">
                  <c:v>1/2 CHAMP NICOLAS BLC/BLC BS 1CT X 375ML</c:v>
                </c:pt>
                <c:pt idx="3">
                  <c:v>CHAMPAGNE NICOLAS BLC/BL BS ET 1CT X 750ML</c:v>
                </c:pt>
              </c:strCache>
            </c:strRef>
          </c:cat>
          <c:val>
            <c:numRef>
              <c:f>Sheet1!$D$2:$D$5</c:f>
              <c:numCache>
                <c:formatCode>General</c:formatCode>
                <c:ptCount val="4"/>
                <c:pt idx="0">
                  <c:v>2260.5294117647059</c:v>
                </c:pt>
                <c:pt idx="1">
                  <c:v>1263.2</c:v>
                </c:pt>
                <c:pt idx="2">
                  <c:v>642</c:v>
                </c:pt>
                <c:pt idx="3">
                  <c:v>818.25</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11</c:f>
              <c:strCache>
                <c:ptCount val="10"/>
                <c:pt idx="0">
                  <c:v>CHAMPAGNE E.NICOLAS BRUT 1CT X 750ML</c:v>
                </c:pt>
                <c:pt idx="1">
                  <c:v>CHAMPAGNE NICOLAS 1ERE CUVEE 1CT X 750ML</c:v>
                </c:pt>
                <c:pt idx="2">
                  <c:v>1/2 CHAMPAGNE NICOLAS 1ERE CUV 1CT X 375ML</c:v>
                </c:pt>
                <c:pt idx="3">
                  <c:v>MG CHAMPAGNE E.NICOLAS BRUT 1CT X 1500ML</c:v>
                </c:pt>
                <c:pt idx="4">
                  <c:v>CHAMPAGNE NICOLAS BIO NAT 2017 1CT X 750ML</c:v>
                </c:pt>
                <c:pt idx="5">
                  <c:v>MG CHAMPAGNE NICOLAS 1ERE CUVE 1CT X 1500ML</c:v>
                </c:pt>
                <c:pt idx="6">
                  <c:v>CHAMPAGNE NICOLAS 1ERE CUV ETU 1CT X 750ML</c:v>
                </c:pt>
                <c:pt idx="7">
                  <c:v>1/2 CHAMPAGNE NICOLAS 1E C BS 1CT X 375ML</c:v>
                </c:pt>
                <c:pt idx="8">
                  <c:v>CHAMPAGNE NICOLAS BIO 2018 1CT X 750ML</c:v>
                </c:pt>
                <c:pt idx="9">
                  <c:v>MG CHAMPAGNE NICOLAS BRUT 1CT X 1500ML</c:v>
                </c:pt>
              </c:strCache>
            </c:strRef>
          </c:cat>
          <c:val>
            <c:numRef>
              <c:f>Sheet1!$B$2:$B$11</c:f>
              <c:numCache>
                <c:formatCode>General</c:formatCode>
                <c:ptCount val="10"/>
                <c:pt idx="0">
                  <c:v>0.998</c:v>
                </c:pt>
                <c:pt idx="1">
                  <c:v>0.76700000000000002</c:v>
                </c:pt>
                <c:pt idx="2">
                  <c:v>0.38800000000000001</c:v>
                </c:pt>
                <c:pt idx="3">
                  <c:v>0.254</c:v>
                </c:pt>
                <c:pt idx="4">
                  <c:v>0.2</c:v>
                </c:pt>
                <c:pt idx="5">
                  <c:v>0.23599999999999999</c:v>
                </c:pt>
                <c:pt idx="6">
                  <c:v>0.13600000000000001</c:v>
                </c:pt>
                <c:pt idx="7">
                  <c:v>0.01</c:v>
                </c:pt>
                <c:pt idx="8">
                  <c:v>2E-3</c:v>
                </c:pt>
                <c:pt idx="9">
                  <c:v>2E-3</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7ECAC4"/>
              </a:solidFill>
            </c:spPr>
            <c:extLst>
              <c:ext xmlns:c16="http://schemas.microsoft.com/office/drawing/2014/chart" uri="{C3380CC4-5D6E-409C-BE32-E72D297353CC}">
                <c16:uniqueId val="{00000006-D8F4-40C6-A5E0-DB4B53CFB1F3}"/>
              </c:ext>
            </c:extLst>
          </c:dPt>
          <c:dPt>
            <c:idx val="1"/>
            <c:invertIfNegative val="0"/>
            <c:bubble3D val="0"/>
            <c:spPr>
              <a:solidFill>
                <a:srgbClr val="7ECAC4"/>
              </a:solidFill>
            </c:spPr>
            <c:extLst>
              <c:ext xmlns:c16="http://schemas.microsoft.com/office/drawing/2014/chart" uri="{C3380CC4-5D6E-409C-BE32-E72D297353CC}">
                <c16:uniqueId val="{00000008-D8F4-40C6-A5E0-DB4B53CFB1F3}"/>
              </c:ext>
            </c:extLst>
          </c:dPt>
          <c:dPt>
            <c:idx val="2"/>
            <c:invertIfNegative val="0"/>
            <c:bubble3D val="0"/>
            <c:spPr>
              <a:solidFill>
                <a:srgbClr val="AEABAB"/>
              </a:solidFill>
            </c:spPr>
            <c:extLst>
              <c:ext xmlns:c16="http://schemas.microsoft.com/office/drawing/2014/chart" uri="{C3380CC4-5D6E-409C-BE32-E72D297353CC}">
                <c16:uniqueId val="{00000006-E902-46E2-9A54-39A26B3DFDC1}"/>
              </c:ext>
            </c:extLst>
          </c:dPt>
          <c:dPt>
            <c:idx val="3"/>
            <c:invertIfNegative val="0"/>
            <c:bubble3D val="0"/>
            <c:spPr>
              <a:solidFill>
                <a:srgbClr val="AEABAB"/>
              </a:solidFill>
            </c:spPr>
            <c:extLst>
              <c:ext xmlns:c16="http://schemas.microsoft.com/office/drawing/2014/chart" uri="{C3380CC4-5D6E-409C-BE32-E72D297353CC}">
                <c16:uniqueId val="{00000007-E902-46E2-9A54-39A26B3DFDC1}"/>
              </c:ext>
            </c:extLst>
          </c:dPt>
          <c:dPt>
            <c:idx val="4"/>
            <c:invertIfNegative val="1"/>
            <c:bubble3D val="0"/>
            <c:spPr>
              <a:solidFill>
                <a:srgbClr val="AEABAB"/>
              </a:solidFill>
            </c:spPr>
            <c:extLst>
              <c:ext xmlns:c16="http://schemas.microsoft.com/office/drawing/2014/chart" uri="{C3380CC4-5D6E-409C-BE32-E72D297353CC}">
                <c16:uniqueId val="{0000000B-FA3E-4872-B6E1-C4ABDF5766E2}"/>
              </c:ext>
            </c:extLst>
          </c:dPt>
          <c:dPt>
            <c:idx val="5"/>
            <c:invertIfNegative val="1"/>
            <c:bubble3D val="0"/>
            <c:spPr>
              <a:solidFill>
                <a:srgbClr val="AEABAB"/>
              </a:solidFill>
            </c:spPr>
            <c:extLst>
              <c:ext xmlns:c16="http://schemas.microsoft.com/office/drawing/2014/chart" uri="{C3380CC4-5D6E-409C-BE32-E72D297353CC}">
                <c16:uniqueId val="{0000000D-FA3E-4872-B6E1-C4ABDF5766E2}"/>
              </c:ext>
            </c:extLst>
          </c:dPt>
          <c:dPt>
            <c:idx val="6"/>
            <c:invertIfNegative val="1"/>
            <c:bubble3D val="0"/>
            <c:spPr>
              <a:solidFill>
                <a:srgbClr val="AEABAB"/>
              </a:solidFill>
            </c:spPr>
            <c:extLst>
              <c:ext xmlns:c16="http://schemas.microsoft.com/office/drawing/2014/chart" uri="{C3380CC4-5D6E-409C-BE32-E72D297353CC}">
                <c16:uniqueId val="{0000000F-FA3E-4872-B6E1-C4ABDF5766E2}"/>
              </c:ext>
            </c:extLst>
          </c:dPt>
          <c:dPt>
            <c:idx val="7"/>
            <c:invertIfNegative val="1"/>
            <c:bubble3D val="0"/>
            <c:spPr>
              <a:solidFill>
                <a:srgbClr val="AEABAB"/>
              </a:solidFill>
            </c:spPr>
            <c:extLst>
              <c:ext xmlns:c16="http://schemas.microsoft.com/office/drawing/2014/chart" uri="{C3380CC4-5D6E-409C-BE32-E72D297353CC}">
                <c16:uniqueId val="{00000011-FA3E-4872-B6E1-C4ABDF5766E2}"/>
              </c:ext>
            </c:extLst>
          </c:dPt>
          <c:dPt>
            <c:idx val="8"/>
            <c:invertIfNegative val="1"/>
            <c:bubble3D val="0"/>
            <c:spPr>
              <a:solidFill>
                <a:srgbClr val="AEABAB"/>
              </a:solidFill>
            </c:spPr>
            <c:extLst>
              <c:ext xmlns:c16="http://schemas.microsoft.com/office/drawing/2014/chart" uri="{C3380CC4-5D6E-409C-BE32-E72D297353CC}">
                <c16:uniqueId val="{00000013-FA3E-4872-B6E1-C4ABDF5766E2}"/>
              </c:ext>
            </c:extLst>
          </c:dPt>
          <c:dPt>
            <c:idx val="9"/>
            <c:invertIfNegative val="1"/>
            <c:bubble3D val="0"/>
            <c:spPr>
              <a:solidFill>
                <a:srgbClr val="AEABAB"/>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11</c:f>
              <c:strCache>
                <c:ptCount val="10"/>
                <c:pt idx="0">
                  <c:v>CHAMPAGNE E.NICOLAS BRUT 1CT X 750ML</c:v>
                </c:pt>
                <c:pt idx="1">
                  <c:v>CHAMPAGNE NICOLAS 1ERE CUVEE 1CT X 750ML</c:v>
                </c:pt>
                <c:pt idx="2">
                  <c:v>1/2 CHAMPAGNE NICOLAS 1ERE CUV 1CT X 375ML</c:v>
                </c:pt>
                <c:pt idx="3">
                  <c:v>MG CHAMPAGNE E.NICOLAS BRUT 1CT X 1500ML</c:v>
                </c:pt>
                <c:pt idx="4">
                  <c:v>CHAMPAGNE NICOLAS BIO NAT 2017 1CT X 750ML</c:v>
                </c:pt>
                <c:pt idx="5">
                  <c:v>MG CHAMPAGNE NICOLAS 1ERE CUVE 1CT X 1500ML</c:v>
                </c:pt>
                <c:pt idx="6">
                  <c:v>CHAMPAGNE NICOLAS 1ERE CUV ETU 1CT X 750ML</c:v>
                </c:pt>
                <c:pt idx="7">
                  <c:v>1/2 CHAMPAGNE NICOLAS 1E C BS 1CT X 375ML</c:v>
                </c:pt>
                <c:pt idx="8">
                  <c:v>CHAMPAGNE NICOLAS BIO 2018 1CT X 750ML</c:v>
                </c:pt>
                <c:pt idx="9">
                  <c:v>MG CHAMPAGNE NICOLAS BRUT 1CT X 1500ML</c:v>
                </c:pt>
              </c:strCache>
            </c:strRef>
          </c:cat>
          <c:val>
            <c:numRef>
              <c:f>Sheet1!$C$2:$C$11</c:f>
              <c:numCache>
                <c:formatCode>General</c:formatCode>
                <c:ptCount val="10"/>
                <c:pt idx="0">
                  <c:v>0.88268315416827914</c:v>
                </c:pt>
                <c:pt idx="1">
                  <c:v>0.93463582129428635</c:v>
                </c:pt>
                <c:pt idx="2">
                  <c:v>0.95570841094475367</c:v>
                </c:pt>
                <c:pt idx="3">
                  <c:v>0.97580889940462834</c:v>
                </c:pt>
                <c:pt idx="4">
                  <c:v>0.98889279201702496</c:v>
                </c:pt>
                <c:pt idx="5">
                  <c:v>0.99681523387326287</c:v>
                </c:pt>
                <c:pt idx="6">
                  <c:v>0.9998870650309668</c:v>
                </c:pt>
                <c:pt idx="7">
                  <c:v>0.99998128506227457</c:v>
                </c:pt>
                <c:pt idx="8">
                  <c:v>0.9999911803167042</c:v>
                </c:pt>
                <c:pt idx="9">
                  <c:v>1.000000000000000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11</c:f>
              <c:strCache>
                <c:ptCount val="10"/>
                <c:pt idx="0">
                  <c:v>CHAMPAGNE E.NICOLAS BRUT 1CT X 750ML</c:v>
                </c:pt>
                <c:pt idx="1">
                  <c:v>CHAMPAGNE NICOLAS 1ERE CUVEE 1CT X 750ML</c:v>
                </c:pt>
                <c:pt idx="2">
                  <c:v>1/2 CHAMPAGNE NICOLAS 1ERE CUV 1CT X 375ML</c:v>
                </c:pt>
                <c:pt idx="3">
                  <c:v>MG CHAMPAGNE E.NICOLAS BRUT 1CT X 1500ML</c:v>
                </c:pt>
                <c:pt idx="4">
                  <c:v>CHAMPAGNE NICOLAS BIO NAT 2017 1CT X 750ML</c:v>
                </c:pt>
                <c:pt idx="5">
                  <c:v>MG CHAMPAGNE NICOLAS 1ERE CUVE 1CT X 1500ML</c:v>
                </c:pt>
                <c:pt idx="6">
                  <c:v>CHAMPAGNE NICOLAS 1ERE CUV ETU 1CT X 750ML</c:v>
                </c:pt>
                <c:pt idx="7">
                  <c:v>1/2 CHAMPAGNE NICOLAS 1E C BS 1CT X 375ML</c:v>
                </c:pt>
                <c:pt idx="8">
                  <c:v>CHAMPAGNE NICOLAS BIO 2018 1CT X 750ML</c:v>
                </c:pt>
                <c:pt idx="9">
                  <c:v>MG CHAMPAGNE NICOLAS BRUT 1CT X 1500ML</c:v>
                </c:pt>
              </c:strCache>
            </c:strRef>
          </c:cat>
          <c:val>
            <c:numRef>
              <c:f>Sheet1!$D$2:$D$11</c:f>
              <c:numCache>
                <c:formatCode>General</c:formatCode>
                <c:ptCount val="10"/>
                <c:pt idx="0">
                  <c:v>41115.460921843689</c:v>
                </c:pt>
                <c:pt idx="1">
                  <c:v>3148.787483702738</c:v>
                </c:pt>
                <c:pt idx="2">
                  <c:v>2524.7422680412369</c:v>
                </c:pt>
                <c:pt idx="3">
                  <c:v>3678.7795275590552</c:v>
                </c:pt>
                <c:pt idx="4">
                  <c:v>3041.15</c:v>
                </c:pt>
                <c:pt idx="5">
                  <c:v>1560.5508474576272</c:v>
                </c:pt>
                <c:pt idx="6">
                  <c:v>1050</c:v>
                </c:pt>
                <c:pt idx="7">
                  <c:v>438</c:v>
                </c:pt>
                <c:pt idx="8">
                  <c:v>230</c:v>
                </c:pt>
                <c:pt idx="9">
                  <c:v>205</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9</c:f>
              <c:strCache>
                <c:ptCount val="8"/>
                <c:pt idx="0">
                  <c:v>CHAMPAGNE E.NICOLAS BRUT 1CT X 750ML</c:v>
                </c:pt>
                <c:pt idx="1">
                  <c:v>CHAMPAGNE NICOLAS 1ERE CUVEE 1CT X 750ML</c:v>
                </c:pt>
                <c:pt idx="2">
                  <c:v>1/2 CHAMPAGNE NICOLAS 1ERE CUV 1CT X 375ML</c:v>
                </c:pt>
                <c:pt idx="3">
                  <c:v>MG CHAMPAGNE E.NICOLAS BRUT 1CT X 1500ML</c:v>
                </c:pt>
                <c:pt idx="4">
                  <c:v>CHAMPAGNE NICOLAS BIO NAT 2017 1CT X 750ML</c:v>
                </c:pt>
                <c:pt idx="5">
                  <c:v>MG CHAMPAGNE NICOLAS 1ERE CUVE 1CT X 1500ML</c:v>
                </c:pt>
                <c:pt idx="6">
                  <c:v>CHAMPAGNE NICOLAS 1ERE CUV ETU 1CT X 750ML</c:v>
                </c:pt>
                <c:pt idx="7">
                  <c:v>1/2 CHAMPAGNE NICOLAS 1E C BS 1CT X 375ML</c:v>
                </c:pt>
              </c:strCache>
            </c:strRef>
          </c:cat>
          <c:val>
            <c:numRef>
              <c:f>Sheet1!$B$2:$B$9</c:f>
              <c:numCache>
                <c:formatCode>General</c:formatCode>
                <c:ptCount val="8"/>
                <c:pt idx="0">
                  <c:v>1</c:v>
                </c:pt>
                <c:pt idx="1">
                  <c:v>0.83</c:v>
                </c:pt>
                <c:pt idx="2">
                  <c:v>0.37</c:v>
                </c:pt>
                <c:pt idx="3">
                  <c:v>0.18</c:v>
                </c:pt>
                <c:pt idx="4">
                  <c:v>0.19</c:v>
                </c:pt>
                <c:pt idx="5">
                  <c:v>0.27</c:v>
                </c:pt>
                <c:pt idx="6">
                  <c:v>0.14000000000000001</c:v>
                </c:pt>
                <c:pt idx="7">
                  <c:v>0.01</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7ECAC4"/>
              </a:solidFill>
            </c:spPr>
            <c:extLst>
              <c:ext xmlns:c16="http://schemas.microsoft.com/office/drawing/2014/chart" uri="{C3380CC4-5D6E-409C-BE32-E72D297353CC}">
                <c16:uniqueId val="{00000006-D8F4-40C6-A5E0-DB4B53CFB1F3}"/>
              </c:ext>
            </c:extLst>
          </c:dPt>
          <c:dPt>
            <c:idx val="1"/>
            <c:invertIfNegative val="0"/>
            <c:bubble3D val="0"/>
            <c:spPr>
              <a:solidFill>
                <a:srgbClr val="7ECAC4"/>
              </a:solidFill>
            </c:spPr>
            <c:extLst>
              <c:ext xmlns:c16="http://schemas.microsoft.com/office/drawing/2014/chart" uri="{C3380CC4-5D6E-409C-BE32-E72D297353CC}">
                <c16:uniqueId val="{00000008-D8F4-40C6-A5E0-DB4B53CFB1F3}"/>
              </c:ext>
            </c:extLst>
          </c:dPt>
          <c:dPt>
            <c:idx val="2"/>
            <c:invertIfNegative val="0"/>
            <c:bubble3D val="0"/>
            <c:spPr>
              <a:solidFill>
                <a:srgbClr val="AEABAB"/>
              </a:solidFill>
            </c:spPr>
            <c:extLst>
              <c:ext xmlns:c16="http://schemas.microsoft.com/office/drawing/2014/chart" uri="{C3380CC4-5D6E-409C-BE32-E72D297353CC}">
                <c16:uniqueId val="{00000006-E902-46E2-9A54-39A26B3DFDC1}"/>
              </c:ext>
            </c:extLst>
          </c:dPt>
          <c:dPt>
            <c:idx val="3"/>
            <c:invertIfNegative val="0"/>
            <c:bubble3D val="0"/>
            <c:spPr>
              <a:solidFill>
                <a:srgbClr val="AEABAB"/>
              </a:solidFill>
            </c:spPr>
            <c:extLst>
              <c:ext xmlns:c16="http://schemas.microsoft.com/office/drawing/2014/chart" uri="{C3380CC4-5D6E-409C-BE32-E72D297353CC}">
                <c16:uniqueId val="{00000007-E902-46E2-9A54-39A26B3DFDC1}"/>
              </c:ext>
            </c:extLst>
          </c:dPt>
          <c:dPt>
            <c:idx val="4"/>
            <c:invertIfNegative val="1"/>
            <c:bubble3D val="0"/>
            <c:spPr>
              <a:solidFill>
                <a:srgbClr val="AEABAB"/>
              </a:solidFill>
            </c:spPr>
            <c:extLst>
              <c:ext xmlns:c16="http://schemas.microsoft.com/office/drawing/2014/chart" uri="{C3380CC4-5D6E-409C-BE32-E72D297353CC}">
                <c16:uniqueId val="{0000000B-FA3E-4872-B6E1-C4ABDF5766E2}"/>
              </c:ext>
            </c:extLst>
          </c:dPt>
          <c:dPt>
            <c:idx val="5"/>
            <c:invertIfNegative val="1"/>
            <c:bubble3D val="0"/>
            <c:spPr>
              <a:solidFill>
                <a:srgbClr val="AEABAB"/>
              </a:solidFill>
            </c:spPr>
            <c:extLst>
              <c:ext xmlns:c16="http://schemas.microsoft.com/office/drawing/2014/chart" uri="{C3380CC4-5D6E-409C-BE32-E72D297353CC}">
                <c16:uniqueId val="{0000000D-FA3E-4872-B6E1-C4ABDF5766E2}"/>
              </c:ext>
            </c:extLst>
          </c:dPt>
          <c:dPt>
            <c:idx val="6"/>
            <c:invertIfNegative val="1"/>
            <c:bubble3D val="0"/>
            <c:spPr>
              <a:solidFill>
                <a:srgbClr val="AEABAB"/>
              </a:solidFill>
            </c:spPr>
            <c:extLst>
              <c:ext xmlns:c16="http://schemas.microsoft.com/office/drawing/2014/chart" uri="{C3380CC4-5D6E-409C-BE32-E72D297353CC}">
                <c16:uniqueId val="{0000000F-FA3E-4872-B6E1-C4ABDF5766E2}"/>
              </c:ext>
            </c:extLst>
          </c:dPt>
          <c:dPt>
            <c:idx val="7"/>
            <c:invertIfNegative val="1"/>
            <c:bubble3D val="0"/>
            <c:spPr>
              <a:solidFill>
                <a:srgbClr val="AEABAB"/>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9</c:f>
              <c:strCache>
                <c:ptCount val="8"/>
                <c:pt idx="0">
                  <c:v>CHAMPAGNE E.NICOLAS BRUT 1CT X 750ML</c:v>
                </c:pt>
                <c:pt idx="1">
                  <c:v>CHAMPAGNE NICOLAS 1ERE CUVEE 1CT X 750ML</c:v>
                </c:pt>
                <c:pt idx="2">
                  <c:v>1/2 CHAMPAGNE NICOLAS 1ERE CUV 1CT X 375ML</c:v>
                </c:pt>
                <c:pt idx="3">
                  <c:v>MG CHAMPAGNE E.NICOLAS BRUT 1CT X 1500ML</c:v>
                </c:pt>
                <c:pt idx="4">
                  <c:v>CHAMPAGNE NICOLAS BIO NAT 2017 1CT X 750ML</c:v>
                </c:pt>
                <c:pt idx="5">
                  <c:v>MG CHAMPAGNE NICOLAS 1ERE CUVE 1CT X 1500ML</c:v>
                </c:pt>
                <c:pt idx="6">
                  <c:v>CHAMPAGNE NICOLAS 1ERE CUV ETU 1CT X 750ML</c:v>
                </c:pt>
                <c:pt idx="7">
                  <c:v>1/2 CHAMPAGNE NICOLAS 1E C BS 1CT X 375ML</c:v>
                </c:pt>
              </c:strCache>
            </c:strRef>
          </c:cat>
          <c:val>
            <c:numRef>
              <c:f>Sheet1!$C$2:$C$9</c:f>
              <c:numCache>
                <c:formatCode>General</c:formatCode>
                <c:ptCount val="8"/>
                <c:pt idx="0">
                  <c:v>0.88039076827212048</c:v>
                </c:pt>
                <c:pt idx="1">
                  <c:v>0.93428836536512649</c:v>
                </c:pt>
                <c:pt idx="2">
                  <c:v>0.95661867527825395</c:v>
                </c:pt>
                <c:pt idx="3">
                  <c:v>0.97563166410921054</c:v>
                </c:pt>
                <c:pt idx="4">
                  <c:v>0.98975689018524982</c:v>
                </c:pt>
                <c:pt idx="5">
                  <c:v>0.99683675815344053</c:v>
                </c:pt>
                <c:pt idx="6">
                  <c:v>0.99993632687739709</c:v>
                </c:pt>
                <c:pt idx="7">
                  <c:v>0.99999999999999989</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9</c:f>
              <c:strCache>
                <c:ptCount val="8"/>
                <c:pt idx="0">
                  <c:v>CHAMPAGNE E.NICOLAS BRUT 1CT X 750ML</c:v>
                </c:pt>
                <c:pt idx="1">
                  <c:v>CHAMPAGNE NICOLAS 1ERE CUVEE 1CT X 750ML</c:v>
                </c:pt>
                <c:pt idx="2">
                  <c:v>1/2 CHAMPAGNE NICOLAS 1ERE CUV 1CT X 375ML</c:v>
                </c:pt>
                <c:pt idx="3">
                  <c:v>MG CHAMPAGNE E.NICOLAS BRUT 1CT X 1500ML</c:v>
                </c:pt>
                <c:pt idx="4">
                  <c:v>CHAMPAGNE NICOLAS BIO NAT 2017 1CT X 750ML</c:v>
                </c:pt>
                <c:pt idx="5">
                  <c:v>MG CHAMPAGNE NICOLAS 1ERE CUVE 1CT X 1500ML</c:v>
                </c:pt>
                <c:pt idx="6">
                  <c:v>CHAMPAGNE NICOLAS 1ERE CUV ETU 1CT X 750ML</c:v>
                </c:pt>
                <c:pt idx="7">
                  <c:v>1/2 CHAMPAGNE NICOLAS 1E C BS 1CT X 375ML</c:v>
                </c:pt>
              </c:strCache>
            </c:strRef>
          </c:cat>
          <c:val>
            <c:numRef>
              <c:f>Sheet1!$D$2:$D$9</c:f>
              <c:numCache>
                <c:formatCode>General</c:formatCode>
                <c:ptCount val="8"/>
                <c:pt idx="0">
                  <c:v>18113.009999999998</c:v>
                </c:pt>
                <c:pt idx="1">
                  <c:v>1336</c:v>
                </c:pt>
                <c:pt idx="2">
                  <c:v>1241.6756756756756</c:v>
                </c:pt>
                <c:pt idx="3">
                  <c:v>2173.1666666666665</c:v>
                </c:pt>
                <c:pt idx="4">
                  <c:v>1529.5263157894738</c:v>
                </c:pt>
                <c:pt idx="5">
                  <c:v>539.48148148148152</c:v>
                </c:pt>
                <c:pt idx="6">
                  <c:v>455.49999999999994</c:v>
                </c:pt>
                <c:pt idx="7">
                  <c:v>131</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9</c:f>
              <c:strCache>
                <c:ptCount val="8"/>
                <c:pt idx="0">
                  <c:v>CHAMPAGNE E.NICOLAS BRUT 1CT X 750ML</c:v>
                </c:pt>
                <c:pt idx="1">
                  <c:v>CHAMPAGNE NICOLAS 1ERE CUVEE 1CT X 750ML</c:v>
                </c:pt>
                <c:pt idx="2">
                  <c:v>MG CHAMPAGNE E.NICOLAS BRUT 1CT X 1500ML</c:v>
                </c:pt>
                <c:pt idx="3">
                  <c:v>1/2 CHAMPAGNE NICOLAS 1ERE CUV 1CT X 375ML</c:v>
                </c:pt>
                <c:pt idx="4">
                  <c:v>CHAMPAGNE NICOLAS BIO NAT 2017 1CT X 750ML</c:v>
                </c:pt>
                <c:pt idx="5">
                  <c:v>MG CHAMPAGNE NICOLAS 1ERE CUVE 1CT X 1500ML</c:v>
                </c:pt>
                <c:pt idx="6">
                  <c:v>CHAMPAGNE NICOLAS 1ERE CUV ETU 1CT X 750ML</c:v>
                </c:pt>
                <c:pt idx="7">
                  <c:v>1/2 CHAMPAGNE NICOLAS 1E C BS 1CT X 375ML</c:v>
                </c:pt>
              </c:strCache>
            </c:strRef>
          </c:cat>
          <c:val>
            <c:numRef>
              <c:f>Sheet1!$B$2:$B$9</c:f>
              <c:numCache>
                <c:formatCode>General</c:formatCode>
                <c:ptCount val="8"/>
                <c:pt idx="0">
                  <c:v>0.99</c:v>
                </c:pt>
                <c:pt idx="1">
                  <c:v>0.74</c:v>
                </c:pt>
                <c:pt idx="2">
                  <c:v>0.24</c:v>
                </c:pt>
                <c:pt idx="3">
                  <c:v>0.26</c:v>
                </c:pt>
                <c:pt idx="4">
                  <c:v>0.14000000000000001</c:v>
                </c:pt>
                <c:pt idx="5">
                  <c:v>0.11</c:v>
                </c:pt>
                <c:pt idx="6">
                  <c:v>0.11</c:v>
                </c:pt>
                <c:pt idx="7">
                  <c:v>0.01</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7ECAC4"/>
              </a:solidFill>
            </c:spPr>
            <c:extLst>
              <c:ext xmlns:c16="http://schemas.microsoft.com/office/drawing/2014/chart" uri="{C3380CC4-5D6E-409C-BE32-E72D297353CC}">
                <c16:uniqueId val="{00000006-D8F4-40C6-A5E0-DB4B53CFB1F3}"/>
              </c:ext>
            </c:extLst>
          </c:dPt>
          <c:dPt>
            <c:idx val="1"/>
            <c:invertIfNegative val="0"/>
            <c:bubble3D val="0"/>
            <c:spPr>
              <a:solidFill>
                <a:srgbClr val="7ECAC4"/>
              </a:solidFill>
            </c:spPr>
            <c:extLst>
              <c:ext xmlns:c16="http://schemas.microsoft.com/office/drawing/2014/chart" uri="{C3380CC4-5D6E-409C-BE32-E72D297353CC}">
                <c16:uniqueId val="{00000008-D8F4-40C6-A5E0-DB4B53CFB1F3}"/>
              </c:ext>
            </c:extLst>
          </c:dPt>
          <c:dPt>
            <c:idx val="2"/>
            <c:invertIfNegative val="0"/>
            <c:bubble3D val="0"/>
            <c:spPr>
              <a:solidFill>
                <a:srgbClr val="AEABAB"/>
              </a:solidFill>
            </c:spPr>
            <c:extLst>
              <c:ext xmlns:c16="http://schemas.microsoft.com/office/drawing/2014/chart" uri="{C3380CC4-5D6E-409C-BE32-E72D297353CC}">
                <c16:uniqueId val="{00000006-E902-46E2-9A54-39A26B3DFDC1}"/>
              </c:ext>
            </c:extLst>
          </c:dPt>
          <c:dPt>
            <c:idx val="3"/>
            <c:invertIfNegative val="0"/>
            <c:bubble3D val="0"/>
            <c:spPr>
              <a:solidFill>
                <a:srgbClr val="AEABAB"/>
              </a:solidFill>
            </c:spPr>
            <c:extLst>
              <c:ext xmlns:c16="http://schemas.microsoft.com/office/drawing/2014/chart" uri="{C3380CC4-5D6E-409C-BE32-E72D297353CC}">
                <c16:uniqueId val="{00000007-E902-46E2-9A54-39A26B3DFDC1}"/>
              </c:ext>
            </c:extLst>
          </c:dPt>
          <c:dPt>
            <c:idx val="4"/>
            <c:invertIfNegative val="1"/>
            <c:bubble3D val="0"/>
            <c:spPr>
              <a:solidFill>
                <a:srgbClr val="AEABAB"/>
              </a:solidFill>
            </c:spPr>
            <c:extLst>
              <c:ext xmlns:c16="http://schemas.microsoft.com/office/drawing/2014/chart" uri="{C3380CC4-5D6E-409C-BE32-E72D297353CC}">
                <c16:uniqueId val="{0000000B-FA3E-4872-B6E1-C4ABDF5766E2}"/>
              </c:ext>
            </c:extLst>
          </c:dPt>
          <c:dPt>
            <c:idx val="5"/>
            <c:invertIfNegative val="1"/>
            <c:bubble3D val="0"/>
            <c:spPr>
              <a:solidFill>
                <a:srgbClr val="AEABAB"/>
              </a:solidFill>
            </c:spPr>
            <c:extLst>
              <c:ext xmlns:c16="http://schemas.microsoft.com/office/drawing/2014/chart" uri="{C3380CC4-5D6E-409C-BE32-E72D297353CC}">
                <c16:uniqueId val="{0000000D-FA3E-4872-B6E1-C4ABDF5766E2}"/>
              </c:ext>
            </c:extLst>
          </c:dPt>
          <c:dPt>
            <c:idx val="6"/>
            <c:invertIfNegative val="1"/>
            <c:bubble3D val="0"/>
            <c:spPr>
              <a:solidFill>
                <a:srgbClr val="AEABAB"/>
              </a:solidFill>
            </c:spPr>
            <c:extLst>
              <c:ext xmlns:c16="http://schemas.microsoft.com/office/drawing/2014/chart" uri="{C3380CC4-5D6E-409C-BE32-E72D297353CC}">
                <c16:uniqueId val="{0000000F-FA3E-4872-B6E1-C4ABDF5766E2}"/>
              </c:ext>
            </c:extLst>
          </c:dPt>
          <c:dPt>
            <c:idx val="7"/>
            <c:invertIfNegative val="1"/>
            <c:bubble3D val="0"/>
            <c:spPr>
              <a:solidFill>
                <a:srgbClr val="AEABAB"/>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9</c:f>
              <c:strCache>
                <c:ptCount val="8"/>
                <c:pt idx="0">
                  <c:v>CHAMPAGNE E.NICOLAS BRUT 1CT X 750ML</c:v>
                </c:pt>
                <c:pt idx="1">
                  <c:v>CHAMPAGNE NICOLAS 1ERE CUVEE 1CT X 750ML</c:v>
                </c:pt>
                <c:pt idx="2">
                  <c:v>MG CHAMPAGNE E.NICOLAS BRUT 1CT X 1500ML</c:v>
                </c:pt>
                <c:pt idx="3">
                  <c:v>1/2 CHAMPAGNE NICOLAS 1ERE CUV 1CT X 375ML</c:v>
                </c:pt>
                <c:pt idx="4">
                  <c:v>CHAMPAGNE NICOLAS BIO NAT 2017 1CT X 750ML</c:v>
                </c:pt>
                <c:pt idx="5">
                  <c:v>MG CHAMPAGNE NICOLAS 1ERE CUVE 1CT X 1500ML</c:v>
                </c:pt>
                <c:pt idx="6">
                  <c:v>CHAMPAGNE NICOLAS 1ERE CUV ETU 1CT X 750ML</c:v>
                </c:pt>
                <c:pt idx="7">
                  <c:v>1/2 CHAMPAGNE NICOLAS 1E C BS 1CT X 375ML</c:v>
                </c:pt>
              </c:strCache>
            </c:strRef>
          </c:cat>
          <c:val>
            <c:numRef>
              <c:f>Sheet1!$C$2:$C$9</c:f>
              <c:numCache>
                <c:formatCode>General</c:formatCode>
                <c:ptCount val="8"/>
                <c:pt idx="0">
                  <c:v>0.88229328260354245</c:v>
                </c:pt>
                <c:pt idx="1">
                  <c:v>0.93966635560663203</c:v>
                </c:pt>
                <c:pt idx="2">
                  <c:v>0.95848798818171899</c:v>
                </c:pt>
                <c:pt idx="3">
                  <c:v>0.97618440358989278</c:v>
                </c:pt>
                <c:pt idx="4">
                  <c:v>0.98682045634807514</c:v>
                </c:pt>
                <c:pt idx="5">
                  <c:v>0.99606524059143409</c:v>
                </c:pt>
                <c:pt idx="6">
                  <c:v>0.99980296197166052</c:v>
                </c:pt>
                <c:pt idx="7">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9</c:f>
              <c:strCache>
                <c:ptCount val="8"/>
                <c:pt idx="0">
                  <c:v>CHAMPAGNE E.NICOLAS BRUT 1CT X 750ML</c:v>
                </c:pt>
                <c:pt idx="1">
                  <c:v>CHAMPAGNE NICOLAS 1ERE CUVEE 1CT X 750ML</c:v>
                </c:pt>
                <c:pt idx="2">
                  <c:v>MG CHAMPAGNE E.NICOLAS BRUT 1CT X 1500ML</c:v>
                </c:pt>
                <c:pt idx="3">
                  <c:v>1/2 CHAMPAGNE NICOLAS 1ERE CUV 1CT X 375ML</c:v>
                </c:pt>
                <c:pt idx="4">
                  <c:v>CHAMPAGNE NICOLAS BIO NAT 2017 1CT X 750ML</c:v>
                </c:pt>
                <c:pt idx="5">
                  <c:v>MG CHAMPAGNE NICOLAS 1ERE CUVE 1CT X 1500ML</c:v>
                </c:pt>
                <c:pt idx="6">
                  <c:v>CHAMPAGNE NICOLAS 1ERE CUV ETU 1CT X 750ML</c:v>
                </c:pt>
                <c:pt idx="7">
                  <c:v>1/2 CHAMPAGNE NICOLAS 1E C BS 1CT X 375ML</c:v>
                </c:pt>
              </c:strCache>
            </c:strRef>
          </c:cat>
          <c:val>
            <c:numRef>
              <c:f>Sheet1!$D$2:$D$9</c:f>
              <c:numCache>
                <c:formatCode>General</c:formatCode>
                <c:ptCount val="8"/>
                <c:pt idx="0">
                  <c:v>8910.3333333333339</c:v>
                </c:pt>
                <c:pt idx="1">
                  <c:v>775.16216216216219</c:v>
                </c:pt>
                <c:pt idx="2">
                  <c:v>784.08333333333337</c:v>
                </c:pt>
                <c:pt idx="3">
                  <c:v>680.5</c:v>
                </c:pt>
                <c:pt idx="4">
                  <c:v>759.57142857142844</c:v>
                </c:pt>
                <c:pt idx="5">
                  <c:v>840.27272727272725</c:v>
                </c:pt>
                <c:pt idx="6">
                  <c:v>339.72727272727275</c:v>
                </c:pt>
                <c:pt idx="7">
                  <c:v>197</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8</c:f>
              <c:strCache>
                <c:ptCount val="7"/>
                <c:pt idx="0">
                  <c:v>CHAMPAGNE E.NICOLAS BRUT 1CT X 750ML</c:v>
                </c:pt>
                <c:pt idx="1">
                  <c:v>CHAMPAGNE NICOLAS 1ERE CUVEE 1CT X 750ML</c:v>
                </c:pt>
                <c:pt idx="2">
                  <c:v>1/2 CHAMPAGNE NICOLAS 1ERE CUV 1CT X 375ML</c:v>
                </c:pt>
                <c:pt idx="3">
                  <c:v>CHAMPAGNE NICOLAS BIO NAT 2017 1CT X 750ML</c:v>
                </c:pt>
                <c:pt idx="4">
                  <c:v>MG CHAMPAGNE E.NICOLAS BRUT 1CT X 1500ML</c:v>
                </c:pt>
                <c:pt idx="5">
                  <c:v>MG CHAMPAGNE NICOLAS 1ERE CUVE 1CT X 1500ML</c:v>
                </c:pt>
                <c:pt idx="6">
                  <c:v>CHAMPAGNE NICOLAS 1ERE CUV ETU 1CT X 750ML</c:v>
                </c:pt>
              </c:strCache>
            </c:strRef>
          </c:cat>
          <c:val>
            <c:numRef>
              <c:f>Sheet1!$B$2:$B$8</c:f>
              <c:numCache>
                <c:formatCode>General</c:formatCode>
                <c:ptCount val="7"/>
                <c:pt idx="0">
                  <c:v>1</c:v>
                </c:pt>
                <c:pt idx="1">
                  <c:v>0.77</c:v>
                </c:pt>
                <c:pt idx="2">
                  <c:v>0.49</c:v>
                </c:pt>
                <c:pt idx="3">
                  <c:v>0.3</c:v>
                </c:pt>
                <c:pt idx="4">
                  <c:v>0.28000000000000003</c:v>
                </c:pt>
                <c:pt idx="5">
                  <c:v>0.19</c:v>
                </c:pt>
                <c:pt idx="6">
                  <c:v>0.18</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7ECAC4"/>
              </a:solidFill>
            </c:spPr>
            <c:extLst>
              <c:ext xmlns:c16="http://schemas.microsoft.com/office/drawing/2014/chart" uri="{C3380CC4-5D6E-409C-BE32-E72D297353CC}">
                <c16:uniqueId val="{00000006-D8F4-40C6-A5E0-DB4B53CFB1F3}"/>
              </c:ext>
            </c:extLst>
          </c:dPt>
          <c:dPt>
            <c:idx val="1"/>
            <c:invertIfNegative val="0"/>
            <c:bubble3D val="0"/>
            <c:spPr>
              <a:solidFill>
                <a:srgbClr val="7ECAC4"/>
              </a:solidFill>
            </c:spPr>
            <c:extLst>
              <c:ext xmlns:c16="http://schemas.microsoft.com/office/drawing/2014/chart" uri="{C3380CC4-5D6E-409C-BE32-E72D297353CC}">
                <c16:uniqueId val="{00000008-D8F4-40C6-A5E0-DB4B53CFB1F3}"/>
              </c:ext>
            </c:extLst>
          </c:dPt>
          <c:dPt>
            <c:idx val="2"/>
            <c:invertIfNegative val="0"/>
            <c:bubble3D val="0"/>
            <c:spPr>
              <a:solidFill>
                <a:srgbClr val="AEABAB"/>
              </a:solidFill>
            </c:spPr>
            <c:extLst>
              <c:ext xmlns:c16="http://schemas.microsoft.com/office/drawing/2014/chart" uri="{C3380CC4-5D6E-409C-BE32-E72D297353CC}">
                <c16:uniqueId val="{00000006-E902-46E2-9A54-39A26B3DFDC1}"/>
              </c:ext>
            </c:extLst>
          </c:dPt>
          <c:dPt>
            <c:idx val="3"/>
            <c:invertIfNegative val="0"/>
            <c:bubble3D val="0"/>
            <c:spPr>
              <a:solidFill>
                <a:srgbClr val="AEABAB"/>
              </a:solidFill>
            </c:spPr>
            <c:extLst>
              <c:ext xmlns:c16="http://schemas.microsoft.com/office/drawing/2014/chart" uri="{C3380CC4-5D6E-409C-BE32-E72D297353CC}">
                <c16:uniqueId val="{00000007-E902-46E2-9A54-39A26B3DFDC1}"/>
              </c:ext>
            </c:extLst>
          </c:dPt>
          <c:dPt>
            <c:idx val="4"/>
            <c:invertIfNegative val="1"/>
            <c:bubble3D val="0"/>
            <c:spPr>
              <a:solidFill>
                <a:srgbClr val="AEABAB"/>
              </a:solidFill>
            </c:spPr>
            <c:extLst>
              <c:ext xmlns:c16="http://schemas.microsoft.com/office/drawing/2014/chart" uri="{C3380CC4-5D6E-409C-BE32-E72D297353CC}">
                <c16:uniqueId val="{0000000B-FA3E-4872-B6E1-C4ABDF5766E2}"/>
              </c:ext>
            </c:extLst>
          </c:dPt>
          <c:dPt>
            <c:idx val="5"/>
            <c:invertIfNegative val="1"/>
            <c:bubble3D val="0"/>
            <c:spPr>
              <a:solidFill>
                <a:srgbClr val="AEABAB"/>
              </a:solidFill>
            </c:spPr>
            <c:extLst>
              <c:ext xmlns:c16="http://schemas.microsoft.com/office/drawing/2014/chart" uri="{C3380CC4-5D6E-409C-BE32-E72D297353CC}">
                <c16:uniqueId val="{0000000D-FA3E-4872-B6E1-C4ABDF5766E2}"/>
              </c:ext>
            </c:extLst>
          </c:dPt>
          <c:dPt>
            <c:idx val="6"/>
            <c:invertIfNegative val="1"/>
            <c:bubble3D val="0"/>
            <c:spPr>
              <a:solidFill>
                <a:srgbClr val="AEABAB"/>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8</c:f>
              <c:strCache>
                <c:ptCount val="7"/>
                <c:pt idx="0">
                  <c:v>CHAMPAGNE E.NICOLAS BRUT 1CT X 750ML</c:v>
                </c:pt>
                <c:pt idx="1">
                  <c:v>CHAMPAGNE NICOLAS 1ERE CUVEE 1CT X 750ML</c:v>
                </c:pt>
                <c:pt idx="2">
                  <c:v>1/2 CHAMPAGNE NICOLAS 1ERE CUV 1CT X 375ML</c:v>
                </c:pt>
                <c:pt idx="3">
                  <c:v>CHAMPAGNE NICOLAS BIO NAT 2017 1CT X 750ML</c:v>
                </c:pt>
                <c:pt idx="4">
                  <c:v>MG CHAMPAGNE E.NICOLAS BRUT 1CT X 1500ML</c:v>
                </c:pt>
                <c:pt idx="5">
                  <c:v>MG CHAMPAGNE NICOLAS 1ERE CUVE 1CT X 1500ML</c:v>
                </c:pt>
                <c:pt idx="6">
                  <c:v>CHAMPAGNE NICOLAS 1ERE CUV ETU 1CT X 750ML</c:v>
                </c:pt>
              </c:strCache>
            </c:strRef>
          </c:cat>
          <c:val>
            <c:numRef>
              <c:f>Sheet1!$C$2:$C$8</c:f>
              <c:numCache>
                <c:formatCode>General</c:formatCode>
                <c:ptCount val="7"/>
                <c:pt idx="0">
                  <c:v>0.88167126990656397</c:v>
                </c:pt>
                <c:pt idx="1">
                  <c:v>0.92405045934457697</c:v>
                </c:pt>
                <c:pt idx="2">
                  <c:v>0.95107441578029817</c:v>
                </c:pt>
                <c:pt idx="3">
                  <c:v>0.96960882254999903</c:v>
                </c:pt>
                <c:pt idx="4">
                  <c:v>0.98810992928639985</c:v>
                </c:pt>
                <c:pt idx="5">
                  <c:v>0.99715970304205592</c:v>
                </c:pt>
                <c:pt idx="6">
                  <c:v>0.99999999999999989</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8</c:f>
              <c:strCache>
                <c:ptCount val="7"/>
                <c:pt idx="0">
                  <c:v>CHAMPAGNE E.NICOLAS BRUT 1CT X 750ML</c:v>
                </c:pt>
                <c:pt idx="1">
                  <c:v>CHAMPAGNE NICOLAS 1ERE CUVEE 1CT X 750ML</c:v>
                </c:pt>
                <c:pt idx="2">
                  <c:v>1/2 CHAMPAGNE NICOLAS 1ERE CUV 1CT X 375ML</c:v>
                </c:pt>
                <c:pt idx="3">
                  <c:v>CHAMPAGNE NICOLAS BIO NAT 2017 1CT X 750ML</c:v>
                </c:pt>
                <c:pt idx="4">
                  <c:v>MG CHAMPAGNE E.NICOLAS BRUT 1CT X 1500ML</c:v>
                </c:pt>
                <c:pt idx="5">
                  <c:v>MG CHAMPAGNE NICOLAS 1ERE CUVE 1CT X 1500ML</c:v>
                </c:pt>
                <c:pt idx="6">
                  <c:v>CHAMPAGNE NICOLAS 1ERE CUV ETU 1CT X 750ML</c:v>
                </c:pt>
              </c:strCache>
            </c:strRef>
          </c:cat>
          <c:val>
            <c:numRef>
              <c:f>Sheet1!$D$2:$D$8</c:f>
              <c:numCache>
                <c:formatCode>General</c:formatCode>
                <c:ptCount val="7"/>
                <c:pt idx="0">
                  <c:v>4501.0200000000004</c:v>
                </c:pt>
                <c:pt idx="1">
                  <c:v>280.97402597402595</c:v>
                </c:pt>
                <c:pt idx="2">
                  <c:v>281.55102040816325</c:v>
                </c:pt>
                <c:pt idx="3">
                  <c:v>315.39999999999998</c:v>
                </c:pt>
                <c:pt idx="4">
                  <c:v>337.32142857142856</c:v>
                </c:pt>
                <c:pt idx="5">
                  <c:v>243.15789473684211</c:v>
                </c:pt>
                <c:pt idx="6">
                  <c:v>80.555555555555557</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9</c:f>
              <c:strCache>
                <c:ptCount val="8"/>
                <c:pt idx="0">
                  <c:v>CHAMPAGNE E.NICOLAS BRUT 1CT X 750ML</c:v>
                </c:pt>
                <c:pt idx="1">
                  <c:v>CHAMPAGNE NICOLAS 1ERE CUVEE 1CT X 750ML</c:v>
                </c:pt>
                <c:pt idx="2">
                  <c:v>1/2 CHAMPAGNE NICOLAS 1ERE CUV 1CT X 375ML</c:v>
                </c:pt>
                <c:pt idx="3">
                  <c:v>MG CHAMPAGNE E.NICOLAS BRUT 1CT X 1500ML</c:v>
                </c:pt>
                <c:pt idx="4">
                  <c:v>CHAMPAGNE NICOLAS BIO NAT 2017 1CT X 750ML</c:v>
                </c:pt>
                <c:pt idx="5">
                  <c:v>MG CHAMPAGNE NICOLAS 1ERE CUVE 1CT X 1500ML</c:v>
                </c:pt>
                <c:pt idx="6">
                  <c:v>CHAMPAGNE NICOLAS 1ERE CUV ETU 1CT X 750ML</c:v>
                </c:pt>
                <c:pt idx="7">
                  <c:v>1/2 CHAMPAGNE NICOLAS 1E C BS 1CT X 375ML</c:v>
                </c:pt>
              </c:strCache>
            </c:strRef>
          </c:cat>
          <c:val>
            <c:numRef>
              <c:f>Sheet1!$B$2:$B$9</c:f>
              <c:numCache>
                <c:formatCode>General</c:formatCode>
                <c:ptCount val="8"/>
                <c:pt idx="0">
                  <c:v>1</c:v>
                </c:pt>
                <c:pt idx="1">
                  <c:v>0.6</c:v>
                </c:pt>
                <c:pt idx="2">
                  <c:v>0.43</c:v>
                </c:pt>
                <c:pt idx="3">
                  <c:v>0.28000000000000003</c:v>
                </c:pt>
                <c:pt idx="4">
                  <c:v>0.15</c:v>
                </c:pt>
                <c:pt idx="5">
                  <c:v>0.16</c:v>
                </c:pt>
                <c:pt idx="6">
                  <c:v>0.14000000000000001</c:v>
                </c:pt>
                <c:pt idx="7">
                  <c:v>0.03</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7ECAC4"/>
              </a:solidFill>
            </c:spPr>
            <c:extLst>
              <c:ext xmlns:c16="http://schemas.microsoft.com/office/drawing/2014/chart" uri="{C3380CC4-5D6E-409C-BE32-E72D297353CC}">
                <c16:uniqueId val="{00000006-D8F4-40C6-A5E0-DB4B53CFB1F3}"/>
              </c:ext>
            </c:extLst>
          </c:dPt>
          <c:dPt>
            <c:idx val="1"/>
            <c:invertIfNegative val="0"/>
            <c:bubble3D val="0"/>
            <c:spPr>
              <a:solidFill>
                <a:srgbClr val="7ECAC4"/>
              </a:solidFill>
            </c:spPr>
            <c:extLst>
              <c:ext xmlns:c16="http://schemas.microsoft.com/office/drawing/2014/chart" uri="{C3380CC4-5D6E-409C-BE32-E72D297353CC}">
                <c16:uniqueId val="{00000008-D8F4-40C6-A5E0-DB4B53CFB1F3}"/>
              </c:ext>
            </c:extLst>
          </c:dPt>
          <c:dPt>
            <c:idx val="2"/>
            <c:invertIfNegative val="0"/>
            <c:bubble3D val="0"/>
            <c:spPr>
              <a:solidFill>
                <a:srgbClr val="AEABAB"/>
              </a:solidFill>
            </c:spPr>
            <c:extLst>
              <c:ext xmlns:c16="http://schemas.microsoft.com/office/drawing/2014/chart" uri="{C3380CC4-5D6E-409C-BE32-E72D297353CC}">
                <c16:uniqueId val="{00000006-E902-46E2-9A54-39A26B3DFDC1}"/>
              </c:ext>
            </c:extLst>
          </c:dPt>
          <c:dPt>
            <c:idx val="3"/>
            <c:invertIfNegative val="0"/>
            <c:bubble3D val="0"/>
            <c:spPr>
              <a:solidFill>
                <a:srgbClr val="AEABAB"/>
              </a:solidFill>
            </c:spPr>
            <c:extLst>
              <c:ext xmlns:c16="http://schemas.microsoft.com/office/drawing/2014/chart" uri="{C3380CC4-5D6E-409C-BE32-E72D297353CC}">
                <c16:uniqueId val="{00000007-E902-46E2-9A54-39A26B3DFDC1}"/>
              </c:ext>
            </c:extLst>
          </c:dPt>
          <c:dPt>
            <c:idx val="4"/>
            <c:invertIfNegative val="1"/>
            <c:bubble3D val="0"/>
            <c:spPr>
              <a:solidFill>
                <a:srgbClr val="AEABAB"/>
              </a:solidFill>
            </c:spPr>
            <c:extLst>
              <c:ext xmlns:c16="http://schemas.microsoft.com/office/drawing/2014/chart" uri="{C3380CC4-5D6E-409C-BE32-E72D297353CC}">
                <c16:uniqueId val="{0000000B-FA3E-4872-B6E1-C4ABDF5766E2}"/>
              </c:ext>
            </c:extLst>
          </c:dPt>
          <c:dPt>
            <c:idx val="5"/>
            <c:invertIfNegative val="1"/>
            <c:bubble3D val="0"/>
            <c:spPr>
              <a:solidFill>
                <a:srgbClr val="AEABAB"/>
              </a:solidFill>
            </c:spPr>
            <c:extLst>
              <c:ext xmlns:c16="http://schemas.microsoft.com/office/drawing/2014/chart" uri="{C3380CC4-5D6E-409C-BE32-E72D297353CC}">
                <c16:uniqueId val="{0000000D-FA3E-4872-B6E1-C4ABDF5766E2}"/>
              </c:ext>
            </c:extLst>
          </c:dPt>
          <c:dPt>
            <c:idx val="6"/>
            <c:invertIfNegative val="1"/>
            <c:bubble3D val="0"/>
            <c:spPr>
              <a:solidFill>
                <a:srgbClr val="AEABAB"/>
              </a:solidFill>
            </c:spPr>
            <c:extLst>
              <c:ext xmlns:c16="http://schemas.microsoft.com/office/drawing/2014/chart" uri="{C3380CC4-5D6E-409C-BE32-E72D297353CC}">
                <c16:uniqueId val="{0000000F-FA3E-4872-B6E1-C4ABDF5766E2}"/>
              </c:ext>
            </c:extLst>
          </c:dPt>
          <c:dPt>
            <c:idx val="7"/>
            <c:invertIfNegative val="1"/>
            <c:bubble3D val="0"/>
            <c:spPr>
              <a:solidFill>
                <a:srgbClr val="AEABAB"/>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9</c:f>
              <c:strCache>
                <c:ptCount val="8"/>
                <c:pt idx="0">
                  <c:v>CHAMPAGNE E.NICOLAS BRUT 1CT X 750ML</c:v>
                </c:pt>
                <c:pt idx="1">
                  <c:v>CHAMPAGNE NICOLAS 1ERE CUVEE 1CT X 750ML</c:v>
                </c:pt>
                <c:pt idx="2">
                  <c:v>1/2 CHAMPAGNE NICOLAS 1ERE CUV 1CT X 375ML</c:v>
                </c:pt>
                <c:pt idx="3">
                  <c:v>MG CHAMPAGNE E.NICOLAS BRUT 1CT X 1500ML</c:v>
                </c:pt>
                <c:pt idx="4">
                  <c:v>CHAMPAGNE NICOLAS BIO NAT 2017 1CT X 750ML</c:v>
                </c:pt>
                <c:pt idx="5">
                  <c:v>MG CHAMPAGNE NICOLAS 1ERE CUVE 1CT X 1500ML</c:v>
                </c:pt>
                <c:pt idx="6">
                  <c:v>CHAMPAGNE NICOLAS 1ERE CUV ETU 1CT X 750ML</c:v>
                </c:pt>
                <c:pt idx="7">
                  <c:v>1/2 CHAMPAGNE NICOLAS 1E C BS 1CT X 375ML</c:v>
                </c:pt>
              </c:strCache>
            </c:strRef>
          </c:cat>
          <c:val>
            <c:numRef>
              <c:f>Sheet1!$C$2:$C$9</c:f>
              <c:numCache>
                <c:formatCode>General</c:formatCode>
                <c:ptCount val="8"/>
                <c:pt idx="0">
                  <c:v>0.90064458123971325</c:v>
                </c:pt>
                <c:pt idx="1">
                  <c:v>0.9375249240496234</c:v>
                </c:pt>
                <c:pt idx="2">
                  <c:v>0.958754776354237</c:v>
                </c:pt>
                <c:pt idx="3">
                  <c:v>0.97844749454389901</c:v>
                </c:pt>
                <c:pt idx="4">
                  <c:v>0.99371007620414886</c:v>
                </c:pt>
                <c:pt idx="5">
                  <c:v>0.99920243041205348</c:v>
                </c:pt>
                <c:pt idx="6">
                  <c:v>0.99992386835751423</c:v>
                </c:pt>
                <c:pt idx="7">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9</c:f>
              <c:strCache>
                <c:ptCount val="8"/>
                <c:pt idx="0">
                  <c:v>CHAMPAGNE E.NICOLAS BRUT 1CT X 750ML</c:v>
                </c:pt>
                <c:pt idx="1">
                  <c:v>CHAMPAGNE NICOLAS 1ERE CUVEE 1CT X 750ML</c:v>
                </c:pt>
                <c:pt idx="2">
                  <c:v>1/2 CHAMPAGNE NICOLAS 1ERE CUV 1CT X 375ML</c:v>
                </c:pt>
                <c:pt idx="3">
                  <c:v>MG CHAMPAGNE E.NICOLAS BRUT 1CT X 1500ML</c:v>
                </c:pt>
                <c:pt idx="4">
                  <c:v>CHAMPAGNE NICOLAS BIO NAT 2017 1CT X 750ML</c:v>
                </c:pt>
                <c:pt idx="5">
                  <c:v>MG CHAMPAGNE NICOLAS 1ERE CUVE 1CT X 1500ML</c:v>
                </c:pt>
                <c:pt idx="6">
                  <c:v>CHAMPAGNE NICOLAS 1ERE CUV ETU 1CT X 750ML</c:v>
                </c:pt>
                <c:pt idx="7">
                  <c:v>1/2 CHAMPAGNE NICOLAS 1E C BS 1CT X 375ML</c:v>
                </c:pt>
              </c:strCache>
            </c:strRef>
          </c:cat>
          <c:val>
            <c:numRef>
              <c:f>Sheet1!$D$2:$D$9</c:f>
              <c:numCache>
                <c:formatCode>General</c:formatCode>
                <c:ptCount val="8"/>
                <c:pt idx="0">
                  <c:v>2484.3200000000002</c:v>
                </c:pt>
                <c:pt idx="1">
                  <c:v>169.55</c:v>
                </c:pt>
                <c:pt idx="2">
                  <c:v>136.18604651162789</c:v>
                </c:pt>
                <c:pt idx="3">
                  <c:v>193.99999999999997</c:v>
                </c:pt>
                <c:pt idx="4">
                  <c:v>280.66666666666669</c:v>
                </c:pt>
                <c:pt idx="5">
                  <c:v>94.6875</c:v>
                </c:pt>
                <c:pt idx="6">
                  <c:v>14.214285714285712</c:v>
                </c:pt>
                <c:pt idx="7">
                  <c:v>7</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10</c:f>
              <c:strCache>
                <c:ptCount val="9"/>
                <c:pt idx="0">
                  <c:v>CHAMPAGNE E.NICOLAS BRUT 1CT X 750ML</c:v>
                </c:pt>
                <c:pt idx="1">
                  <c:v>CHAMPAGNE NICOLAS 1ERE CUVEE 1CT X 750ML</c:v>
                </c:pt>
                <c:pt idx="2">
                  <c:v>MG CHAMPAGNE E.NICOLAS BRUT 1CT X 1500ML</c:v>
                </c:pt>
                <c:pt idx="3">
                  <c:v>1/2 CHAMPAGNE NICOLAS 1ERE CUV 1CT X 375ML</c:v>
                </c:pt>
                <c:pt idx="4">
                  <c:v>MG CHAMPAGNE NICOLAS 1ERE CUVE 1CT X 1500ML</c:v>
                </c:pt>
                <c:pt idx="5">
                  <c:v>CHAMPAGNE NICOLAS BIO NAT 2017 1CT X 750ML</c:v>
                </c:pt>
                <c:pt idx="6">
                  <c:v>CHAMPAGNE NICOLAS 1ERE CUV ETU 1CT X 750ML</c:v>
                </c:pt>
                <c:pt idx="7">
                  <c:v>1/2 CHAMPAGNE NICOLAS 1E C BS 1CT X 375ML</c:v>
                </c:pt>
                <c:pt idx="8">
                  <c:v>CHAMPAGNE NICOLAS BIO 2018 1CT X 750ML</c:v>
                </c:pt>
              </c:strCache>
            </c:strRef>
          </c:cat>
          <c:val>
            <c:numRef>
              <c:f>Sheet1!$B$2:$B$10</c:f>
              <c:numCache>
                <c:formatCode>General</c:formatCode>
                <c:ptCount val="9"/>
                <c:pt idx="0">
                  <c:v>1</c:v>
                </c:pt>
                <c:pt idx="1">
                  <c:v>0.76</c:v>
                </c:pt>
                <c:pt idx="2">
                  <c:v>0.35</c:v>
                </c:pt>
                <c:pt idx="3">
                  <c:v>0.61</c:v>
                </c:pt>
                <c:pt idx="4">
                  <c:v>0.36</c:v>
                </c:pt>
                <c:pt idx="5">
                  <c:v>0.18</c:v>
                </c:pt>
                <c:pt idx="6">
                  <c:v>0.09</c:v>
                </c:pt>
                <c:pt idx="7">
                  <c:v>0.03</c:v>
                </c:pt>
                <c:pt idx="8">
                  <c:v>0.05</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7ECAC4"/>
              </a:solidFill>
            </c:spPr>
            <c:extLst>
              <c:ext xmlns:c16="http://schemas.microsoft.com/office/drawing/2014/chart" uri="{C3380CC4-5D6E-409C-BE32-E72D297353CC}">
                <c16:uniqueId val="{00000006-D8F4-40C6-A5E0-DB4B53CFB1F3}"/>
              </c:ext>
            </c:extLst>
          </c:dPt>
          <c:dPt>
            <c:idx val="1"/>
            <c:invertIfNegative val="0"/>
            <c:bubble3D val="0"/>
            <c:spPr>
              <a:solidFill>
                <a:srgbClr val="7ECAC4"/>
              </a:solidFill>
            </c:spPr>
            <c:extLst>
              <c:ext xmlns:c16="http://schemas.microsoft.com/office/drawing/2014/chart" uri="{C3380CC4-5D6E-409C-BE32-E72D297353CC}">
                <c16:uniqueId val="{00000008-D8F4-40C6-A5E0-DB4B53CFB1F3}"/>
              </c:ext>
            </c:extLst>
          </c:dPt>
          <c:dPt>
            <c:idx val="2"/>
            <c:invertIfNegative val="0"/>
            <c:bubble3D val="0"/>
            <c:spPr>
              <a:solidFill>
                <a:srgbClr val="AEABAB"/>
              </a:solidFill>
            </c:spPr>
            <c:extLst>
              <c:ext xmlns:c16="http://schemas.microsoft.com/office/drawing/2014/chart" uri="{C3380CC4-5D6E-409C-BE32-E72D297353CC}">
                <c16:uniqueId val="{00000006-E902-46E2-9A54-39A26B3DFDC1}"/>
              </c:ext>
            </c:extLst>
          </c:dPt>
          <c:dPt>
            <c:idx val="3"/>
            <c:invertIfNegative val="0"/>
            <c:bubble3D val="0"/>
            <c:spPr>
              <a:solidFill>
                <a:srgbClr val="AEABAB"/>
              </a:solidFill>
            </c:spPr>
            <c:extLst>
              <c:ext xmlns:c16="http://schemas.microsoft.com/office/drawing/2014/chart" uri="{C3380CC4-5D6E-409C-BE32-E72D297353CC}">
                <c16:uniqueId val="{00000007-E902-46E2-9A54-39A26B3DFDC1}"/>
              </c:ext>
            </c:extLst>
          </c:dPt>
          <c:dPt>
            <c:idx val="4"/>
            <c:invertIfNegative val="1"/>
            <c:bubble3D val="0"/>
            <c:spPr>
              <a:solidFill>
                <a:srgbClr val="AEABAB"/>
              </a:solidFill>
            </c:spPr>
            <c:extLst>
              <c:ext xmlns:c16="http://schemas.microsoft.com/office/drawing/2014/chart" uri="{C3380CC4-5D6E-409C-BE32-E72D297353CC}">
                <c16:uniqueId val="{0000000B-FA3E-4872-B6E1-C4ABDF5766E2}"/>
              </c:ext>
            </c:extLst>
          </c:dPt>
          <c:dPt>
            <c:idx val="5"/>
            <c:invertIfNegative val="1"/>
            <c:bubble3D val="0"/>
            <c:spPr>
              <a:solidFill>
                <a:srgbClr val="AEABAB"/>
              </a:solidFill>
            </c:spPr>
            <c:extLst>
              <c:ext xmlns:c16="http://schemas.microsoft.com/office/drawing/2014/chart" uri="{C3380CC4-5D6E-409C-BE32-E72D297353CC}">
                <c16:uniqueId val="{0000000D-FA3E-4872-B6E1-C4ABDF5766E2}"/>
              </c:ext>
            </c:extLst>
          </c:dPt>
          <c:dPt>
            <c:idx val="6"/>
            <c:invertIfNegative val="1"/>
            <c:bubble3D val="0"/>
            <c:spPr>
              <a:solidFill>
                <a:srgbClr val="AEABAB"/>
              </a:solidFill>
            </c:spPr>
            <c:extLst>
              <c:ext xmlns:c16="http://schemas.microsoft.com/office/drawing/2014/chart" uri="{C3380CC4-5D6E-409C-BE32-E72D297353CC}">
                <c16:uniqueId val="{0000000F-FA3E-4872-B6E1-C4ABDF5766E2}"/>
              </c:ext>
            </c:extLst>
          </c:dPt>
          <c:dPt>
            <c:idx val="7"/>
            <c:invertIfNegative val="1"/>
            <c:bubble3D val="0"/>
            <c:spPr>
              <a:solidFill>
                <a:srgbClr val="AEABAB"/>
              </a:solidFill>
            </c:spPr>
            <c:extLst>
              <c:ext xmlns:c16="http://schemas.microsoft.com/office/drawing/2014/chart" uri="{C3380CC4-5D6E-409C-BE32-E72D297353CC}">
                <c16:uniqueId val="{00000011-FA3E-4872-B6E1-C4ABDF5766E2}"/>
              </c:ext>
            </c:extLst>
          </c:dPt>
          <c:dPt>
            <c:idx val="8"/>
            <c:invertIfNegative val="1"/>
            <c:bubble3D val="0"/>
            <c:spPr>
              <a:solidFill>
                <a:srgbClr val="AEABAB"/>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10</c:f>
              <c:strCache>
                <c:ptCount val="9"/>
                <c:pt idx="0">
                  <c:v>CHAMPAGNE E.NICOLAS BRUT 1CT X 750ML</c:v>
                </c:pt>
                <c:pt idx="1">
                  <c:v>CHAMPAGNE NICOLAS 1ERE CUVEE 1CT X 750ML</c:v>
                </c:pt>
                <c:pt idx="2">
                  <c:v>MG CHAMPAGNE E.NICOLAS BRUT 1CT X 1500ML</c:v>
                </c:pt>
                <c:pt idx="3">
                  <c:v>1/2 CHAMPAGNE NICOLAS 1ERE CUV 1CT X 375ML</c:v>
                </c:pt>
                <c:pt idx="4">
                  <c:v>MG CHAMPAGNE NICOLAS 1ERE CUVE 1CT X 1500ML</c:v>
                </c:pt>
                <c:pt idx="5">
                  <c:v>CHAMPAGNE NICOLAS BIO NAT 2017 1CT X 750ML</c:v>
                </c:pt>
                <c:pt idx="6">
                  <c:v>CHAMPAGNE NICOLAS 1ERE CUV ETU 1CT X 750ML</c:v>
                </c:pt>
                <c:pt idx="7">
                  <c:v>1/2 CHAMPAGNE NICOLAS 1E C BS 1CT X 375ML</c:v>
                </c:pt>
                <c:pt idx="8">
                  <c:v>CHAMPAGNE NICOLAS BIO 2018 1CT X 750ML</c:v>
                </c:pt>
              </c:strCache>
            </c:strRef>
          </c:cat>
          <c:val>
            <c:numRef>
              <c:f>Sheet1!$C$2:$C$10</c:f>
              <c:numCache>
                <c:formatCode>General</c:formatCode>
                <c:ptCount val="9"/>
                <c:pt idx="0">
                  <c:v>0.89406899096485881</c:v>
                </c:pt>
                <c:pt idx="1">
                  <c:v>0.94653738334520598</c:v>
                </c:pt>
                <c:pt idx="2">
                  <c:v>0.96759546346738279</c:v>
                </c:pt>
                <c:pt idx="3">
                  <c:v>0.97976189866087215</c:v>
                </c:pt>
                <c:pt idx="4">
                  <c:v>0.98986813716195099</c:v>
                </c:pt>
                <c:pt idx="5">
                  <c:v>0.99740169223121355</c:v>
                </c:pt>
                <c:pt idx="6">
                  <c:v>0.99930814290180248</c:v>
                </c:pt>
                <c:pt idx="7">
                  <c:v>0.99976425609987352</c:v>
                </c:pt>
                <c:pt idx="8">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10</c:f>
              <c:strCache>
                <c:ptCount val="9"/>
                <c:pt idx="0">
                  <c:v>CHAMPAGNE E.NICOLAS BRUT 1CT X 750ML</c:v>
                </c:pt>
                <c:pt idx="1">
                  <c:v>CHAMPAGNE NICOLAS 1ERE CUVEE 1CT X 750ML</c:v>
                </c:pt>
                <c:pt idx="2">
                  <c:v>MG CHAMPAGNE E.NICOLAS BRUT 1CT X 1500ML</c:v>
                </c:pt>
                <c:pt idx="3">
                  <c:v>1/2 CHAMPAGNE NICOLAS 1ERE CUV 1CT X 375ML</c:v>
                </c:pt>
                <c:pt idx="4">
                  <c:v>MG CHAMPAGNE NICOLAS 1ERE CUVE 1CT X 1500ML</c:v>
                </c:pt>
                <c:pt idx="5">
                  <c:v>CHAMPAGNE NICOLAS BIO NAT 2017 1CT X 750ML</c:v>
                </c:pt>
                <c:pt idx="6">
                  <c:v>CHAMPAGNE NICOLAS 1ERE CUV ETU 1CT X 750ML</c:v>
                </c:pt>
                <c:pt idx="7">
                  <c:v>1/2 CHAMPAGNE NICOLAS 1E C BS 1CT X 375ML</c:v>
                </c:pt>
                <c:pt idx="8">
                  <c:v>CHAMPAGNE NICOLAS BIO 2018 1CT X 750ML</c:v>
                </c:pt>
              </c:strCache>
            </c:strRef>
          </c:cat>
          <c:val>
            <c:numRef>
              <c:f>Sheet1!$D$2:$D$10</c:f>
              <c:numCache>
                <c:formatCode>General</c:formatCode>
                <c:ptCount val="9"/>
                <c:pt idx="0">
                  <c:v>1744.57</c:v>
                </c:pt>
                <c:pt idx="1">
                  <c:v>134.71052631578948</c:v>
                </c:pt>
                <c:pt idx="2">
                  <c:v>117.4</c:v>
                </c:pt>
                <c:pt idx="3">
                  <c:v>38.918032786885249</c:v>
                </c:pt>
                <c:pt idx="4">
                  <c:v>54.777777777777779</c:v>
                </c:pt>
                <c:pt idx="5">
                  <c:v>81.666666666666671</c:v>
                </c:pt>
                <c:pt idx="6">
                  <c:v>41.333333333333336</c:v>
                </c:pt>
                <c:pt idx="7">
                  <c:v>29.666666666666668</c:v>
                </c:pt>
                <c:pt idx="8">
                  <c:v>9.1999999999999993</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9</c:f>
              <c:strCache>
                <c:ptCount val="8"/>
                <c:pt idx="0">
                  <c:v>CHAMPAGNE E.NICOLAS BRUT 1CT X 750ML</c:v>
                </c:pt>
                <c:pt idx="1">
                  <c:v>CHAMPAGNE NICOLAS 1ERE CUVEE 1CT X 750ML</c:v>
                </c:pt>
                <c:pt idx="2">
                  <c:v>1/2 CHAMPAGNE NICOLAS 1ERE CUV 1CT X 375ML</c:v>
                </c:pt>
                <c:pt idx="3">
                  <c:v>MG CHAMPAGNE E.NICOLAS BRUT 1CT X 1500ML</c:v>
                </c:pt>
                <c:pt idx="4">
                  <c:v>CHAMPAGNE NICOLAS BIO NAT 2017 1CT X 750ML</c:v>
                </c:pt>
                <c:pt idx="5">
                  <c:v>MG CHAMPAGNE NICOLAS 1ERE CUVE 1CT X 1500ML</c:v>
                </c:pt>
                <c:pt idx="6">
                  <c:v>CHAMPAGNE NICOLAS 1ERE CUV ETU 1CT X 750ML</c:v>
                </c:pt>
                <c:pt idx="7">
                  <c:v>1/2 CHAMPAGNE NICOLAS 1E C BS 1CT X 375ML</c:v>
                </c:pt>
              </c:strCache>
            </c:strRef>
          </c:cat>
          <c:val>
            <c:numRef>
              <c:f>Sheet1!$B$2:$B$9</c:f>
              <c:numCache>
                <c:formatCode>General</c:formatCode>
                <c:ptCount val="8"/>
                <c:pt idx="0">
                  <c:v>0.99</c:v>
                </c:pt>
                <c:pt idx="1">
                  <c:v>0.78</c:v>
                </c:pt>
                <c:pt idx="2">
                  <c:v>0.32</c:v>
                </c:pt>
                <c:pt idx="3">
                  <c:v>0.16</c:v>
                </c:pt>
                <c:pt idx="4">
                  <c:v>0.15</c:v>
                </c:pt>
                <c:pt idx="5">
                  <c:v>0.18</c:v>
                </c:pt>
                <c:pt idx="6">
                  <c:v>0.11</c:v>
                </c:pt>
                <c:pt idx="7">
                  <c:v>0.01</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7ECAC4"/>
              </a:solidFill>
            </c:spPr>
            <c:extLst>
              <c:ext xmlns:c16="http://schemas.microsoft.com/office/drawing/2014/chart" uri="{C3380CC4-5D6E-409C-BE32-E72D297353CC}">
                <c16:uniqueId val="{00000006-D8F4-40C6-A5E0-DB4B53CFB1F3}"/>
              </c:ext>
            </c:extLst>
          </c:dPt>
          <c:dPt>
            <c:idx val="1"/>
            <c:invertIfNegative val="0"/>
            <c:bubble3D val="0"/>
            <c:spPr>
              <a:solidFill>
                <a:srgbClr val="7ECAC4"/>
              </a:solidFill>
            </c:spPr>
            <c:extLst>
              <c:ext xmlns:c16="http://schemas.microsoft.com/office/drawing/2014/chart" uri="{C3380CC4-5D6E-409C-BE32-E72D297353CC}">
                <c16:uniqueId val="{00000008-D8F4-40C6-A5E0-DB4B53CFB1F3}"/>
              </c:ext>
            </c:extLst>
          </c:dPt>
          <c:dPt>
            <c:idx val="2"/>
            <c:invertIfNegative val="0"/>
            <c:bubble3D val="0"/>
            <c:spPr>
              <a:solidFill>
                <a:srgbClr val="AEABAB"/>
              </a:solidFill>
            </c:spPr>
            <c:extLst>
              <c:ext xmlns:c16="http://schemas.microsoft.com/office/drawing/2014/chart" uri="{C3380CC4-5D6E-409C-BE32-E72D297353CC}">
                <c16:uniqueId val="{00000006-E902-46E2-9A54-39A26B3DFDC1}"/>
              </c:ext>
            </c:extLst>
          </c:dPt>
          <c:dPt>
            <c:idx val="3"/>
            <c:invertIfNegative val="0"/>
            <c:bubble3D val="0"/>
            <c:spPr>
              <a:solidFill>
                <a:srgbClr val="AEABAB"/>
              </a:solidFill>
            </c:spPr>
            <c:extLst>
              <c:ext xmlns:c16="http://schemas.microsoft.com/office/drawing/2014/chart" uri="{C3380CC4-5D6E-409C-BE32-E72D297353CC}">
                <c16:uniqueId val="{00000007-E902-46E2-9A54-39A26B3DFDC1}"/>
              </c:ext>
            </c:extLst>
          </c:dPt>
          <c:dPt>
            <c:idx val="4"/>
            <c:invertIfNegative val="1"/>
            <c:bubble3D val="0"/>
            <c:spPr>
              <a:solidFill>
                <a:srgbClr val="AEABAB"/>
              </a:solidFill>
            </c:spPr>
            <c:extLst>
              <c:ext xmlns:c16="http://schemas.microsoft.com/office/drawing/2014/chart" uri="{C3380CC4-5D6E-409C-BE32-E72D297353CC}">
                <c16:uniqueId val="{0000000B-FA3E-4872-B6E1-C4ABDF5766E2}"/>
              </c:ext>
            </c:extLst>
          </c:dPt>
          <c:dPt>
            <c:idx val="5"/>
            <c:invertIfNegative val="1"/>
            <c:bubble3D val="0"/>
            <c:spPr>
              <a:solidFill>
                <a:srgbClr val="AEABAB"/>
              </a:solidFill>
            </c:spPr>
            <c:extLst>
              <c:ext xmlns:c16="http://schemas.microsoft.com/office/drawing/2014/chart" uri="{C3380CC4-5D6E-409C-BE32-E72D297353CC}">
                <c16:uniqueId val="{0000000D-FA3E-4872-B6E1-C4ABDF5766E2}"/>
              </c:ext>
            </c:extLst>
          </c:dPt>
          <c:dPt>
            <c:idx val="6"/>
            <c:invertIfNegative val="1"/>
            <c:bubble3D val="0"/>
            <c:spPr>
              <a:solidFill>
                <a:srgbClr val="AEABAB"/>
              </a:solidFill>
            </c:spPr>
            <c:extLst>
              <c:ext xmlns:c16="http://schemas.microsoft.com/office/drawing/2014/chart" uri="{C3380CC4-5D6E-409C-BE32-E72D297353CC}">
                <c16:uniqueId val="{0000000F-FA3E-4872-B6E1-C4ABDF5766E2}"/>
              </c:ext>
            </c:extLst>
          </c:dPt>
          <c:dPt>
            <c:idx val="7"/>
            <c:invertIfNegative val="1"/>
            <c:bubble3D val="0"/>
            <c:spPr>
              <a:solidFill>
                <a:srgbClr val="AEABAB"/>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9</c:f>
              <c:strCache>
                <c:ptCount val="8"/>
                <c:pt idx="0">
                  <c:v>CHAMPAGNE E.NICOLAS BRUT 1CT X 750ML</c:v>
                </c:pt>
                <c:pt idx="1">
                  <c:v>CHAMPAGNE NICOLAS 1ERE CUVEE 1CT X 750ML</c:v>
                </c:pt>
                <c:pt idx="2">
                  <c:v>1/2 CHAMPAGNE NICOLAS 1ERE CUV 1CT X 375ML</c:v>
                </c:pt>
                <c:pt idx="3">
                  <c:v>MG CHAMPAGNE E.NICOLAS BRUT 1CT X 1500ML</c:v>
                </c:pt>
                <c:pt idx="4">
                  <c:v>CHAMPAGNE NICOLAS BIO NAT 2017 1CT X 750ML</c:v>
                </c:pt>
                <c:pt idx="5">
                  <c:v>MG CHAMPAGNE NICOLAS 1ERE CUVE 1CT X 1500ML</c:v>
                </c:pt>
                <c:pt idx="6">
                  <c:v>CHAMPAGNE NICOLAS 1ERE CUV ETU 1CT X 750ML</c:v>
                </c:pt>
                <c:pt idx="7">
                  <c:v>1/2 CHAMPAGNE NICOLAS 1E C BS 1CT X 375ML</c:v>
                </c:pt>
              </c:strCache>
            </c:strRef>
          </c:cat>
          <c:val>
            <c:numRef>
              <c:f>Sheet1!$C$2:$C$9</c:f>
              <c:numCache>
                <c:formatCode>General</c:formatCode>
                <c:ptCount val="8"/>
                <c:pt idx="0">
                  <c:v>0.88722839063509207</c:v>
                </c:pt>
                <c:pt idx="1">
                  <c:v>0.93847120127300077</c:v>
                </c:pt>
                <c:pt idx="2">
                  <c:v>0.96011124187175145</c:v>
                </c:pt>
                <c:pt idx="3">
                  <c:v>0.97653398688472592</c:v>
                </c:pt>
                <c:pt idx="4">
                  <c:v>0.99024852975218269</c:v>
                </c:pt>
                <c:pt idx="5">
                  <c:v>0.996783504086585</c:v>
                </c:pt>
                <c:pt idx="6">
                  <c:v>0.99991452894603527</c:v>
                </c:pt>
                <c:pt idx="7">
                  <c:v>1.000000000000000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9</c:f>
              <c:strCache>
                <c:ptCount val="8"/>
                <c:pt idx="0">
                  <c:v>CHAMPAGNE E.NICOLAS BRUT 1CT X 750ML</c:v>
                </c:pt>
                <c:pt idx="1">
                  <c:v>CHAMPAGNE NICOLAS 1ERE CUVEE 1CT X 750ML</c:v>
                </c:pt>
                <c:pt idx="2">
                  <c:v>1/2 CHAMPAGNE NICOLAS 1ERE CUV 1CT X 375ML</c:v>
                </c:pt>
                <c:pt idx="3">
                  <c:v>MG CHAMPAGNE E.NICOLAS BRUT 1CT X 1500ML</c:v>
                </c:pt>
                <c:pt idx="4">
                  <c:v>CHAMPAGNE NICOLAS BIO NAT 2017 1CT X 750ML</c:v>
                </c:pt>
                <c:pt idx="5">
                  <c:v>MG CHAMPAGNE NICOLAS 1ERE CUVE 1CT X 1500ML</c:v>
                </c:pt>
                <c:pt idx="6">
                  <c:v>CHAMPAGNE NICOLAS 1ERE CUV ETU 1CT X 750ML</c:v>
                </c:pt>
                <c:pt idx="7">
                  <c:v>1/2 CHAMPAGNE NICOLAS 1E C BS 1CT X 375ML</c:v>
                </c:pt>
              </c:strCache>
            </c:strRef>
          </c:cat>
          <c:val>
            <c:numRef>
              <c:f>Sheet1!$D$2:$D$9</c:f>
              <c:numCache>
                <c:formatCode>General</c:formatCode>
                <c:ptCount val="8"/>
                <c:pt idx="0">
                  <c:v>27681.21212121212</c:v>
                </c:pt>
                <c:pt idx="1">
                  <c:v>2029.1923076923076</c:v>
                </c:pt>
                <c:pt idx="2">
                  <c:v>2088.78125</c:v>
                </c:pt>
                <c:pt idx="3">
                  <c:v>3170.375</c:v>
                </c:pt>
                <c:pt idx="4">
                  <c:v>2824.0666666666666</c:v>
                </c:pt>
                <c:pt idx="5">
                  <c:v>1121.3888888888889</c:v>
                </c:pt>
                <c:pt idx="6">
                  <c:v>879.18181818181813</c:v>
                </c:pt>
                <c:pt idx="7">
                  <c:v>264</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9</c:f>
              <c:strCache>
                <c:ptCount val="8"/>
                <c:pt idx="0">
                  <c:v>CHAMPAGNE E.NICOLAS BRUT 1CT X 750ML</c:v>
                </c:pt>
                <c:pt idx="1">
                  <c:v>CHAMPAGNE NICOLAS 1ERE CUVEE 1CT X 750ML</c:v>
                </c:pt>
                <c:pt idx="2">
                  <c:v>MG CHAMPAGNE E.NICOLAS BRUT 1CT X 1500ML</c:v>
                </c:pt>
                <c:pt idx="3">
                  <c:v>1/2 CHAMPAGNE NICOLAS 1ERE CUV 1CT X 375ML</c:v>
                </c:pt>
                <c:pt idx="4">
                  <c:v>CHAMPAGNE NICOLAS BIO NAT 2017 1CT X 750ML</c:v>
                </c:pt>
                <c:pt idx="5">
                  <c:v>MG CHAMPAGNE NICOLAS 1ERE CUVE 1CT X 1500ML</c:v>
                </c:pt>
                <c:pt idx="6">
                  <c:v>CHAMPAGNE NICOLAS 1ERE CUV ETU 1CT X 750ML</c:v>
                </c:pt>
                <c:pt idx="7">
                  <c:v>CHAMPAGNE NICOLAS BIO 2018 1CT X 750ML</c:v>
                </c:pt>
              </c:strCache>
            </c:strRef>
          </c:cat>
          <c:val>
            <c:numRef>
              <c:f>Sheet1!$B$2:$B$9</c:f>
              <c:numCache>
                <c:formatCode>General</c:formatCode>
                <c:ptCount val="8"/>
                <c:pt idx="0">
                  <c:v>1</c:v>
                </c:pt>
                <c:pt idx="1">
                  <c:v>0.78</c:v>
                </c:pt>
                <c:pt idx="2">
                  <c:v>0.39</c:v>
                </c:pt>
                <c:pt idx="3">
                  <c:v>0.44</c:v>
                </c:pt>
                <c:pt idx="4">
                  <c:v>0.19</c:v>
                </c:pt>
                <c:pt idx="5">
                  <c:v>0.26</c:v>
                </c:pt>
                <c:pt idx="6">
                  <c:v>0.14000000000000001</c:v>
                </c:pt>
                <c:pt idx="7">
                  <c:v>0.02</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7ECAC4"/>
              </a:solidFill>
            </c:spPr>
            <c:extLst>
              <c:ext xmlns:c16="http://schemas.microsoft.com/office/drawing/2014/chart" uri="{C3380CC4-5D6E-409C-BE32-E72D297353CC}">
                <c16:uniqueId val="{00000006-D8F4-40C6-A5E0-DB4B53CFB1F3}"/>
              </c:ext>
            </c:extLst>
          </c:dPt>
          <c:dPt>
            <c:idx val="1"/>
            <c:invertIfNegative val="0"/>
            <c:bubble3D val="0"/>
            <c:spPr>
              <a:solidFill>
                <a:srgbClr val="7ECAC4"/>
              </a:solidFill>
            </c:spPr>
            <c:extLst>
              <c:ext xmlns:c16="http://schemas.microsoft.com/office/drawing/2014/chart" uri="{C3380CC4-5D6E-409C-BE32-E72D297353CC}">
                <c16:uniqueId val="{00000008-D8F4-40C6-A5E0-DB4B53CFB1F3}"/>
              </c:ext>
            </c:extLst>
          </c:dPt>
          <c:dPt>
            <c:idx val="2"/>
            <c:invertIfNegative val="0"/>
            <c:bubble3D val="0"/>
            <c:spPr>
              <a:solidFill>
                <a:srgbClr val="AEABAB"/>
              </a:solidFill>
            </c:spPr>
            <c:extLst>
              <c:ext xmlns:c16="http://schemas.microsoft.com/office/drawing/2014/chart" uri="{C3380CC4-5D6E-409C-BE32-E72D297353CC}">
                <c16:uniqueId val="{00000006-E902-46E2-9A54-39A26B3DFDC1}"/>
              </c:ext>
            </c:extLst>
          </c:dPt>
          <c:dPt>
            <c:idx val="3"/>
            <c:invertIfNegative val="0"/>
            <c:bubble3D val="0"/>
            <c:spPr>
              <a:solidFill>
                <a:srgbClr val="AEABAB"/>
              </a:solidFill>
            </c:spPr>
            <c:extLst>
              <c:ext xmlns:c16="http://schemas.microsoft.com/office/drawing/2014/chart" uri="{C3380CC4-5D6E-409C-BE32-E72D297353CC}">
                <c16:uniqueId val="{00000007-E902-46E2-9A54-39A26B3DFDC1}"/>
              </c:ext>
            </c:extLst>
          </c:dPt>
          <c:dPt>
            <c:idx val="4"/>
            <c:invertIfNegative val="1"/>
            <c:bubble3D val="0"/>
            <c:spPr>
              <a:solidFill>
                <a:srgbClr val="AEABAB"/>
              </a:solidFill>
            </c:spPr>
            <c:extLst>
              <c:ext xmlns:c16="http://schemas.microsoft.com/office/drawing/2014/chart" uri="{C3380CC4-5D6E-409C-BE32-E72D297353CC}">
                <c16:uniqueId val="{0000000B-FA3E-4872-B6E1-C4ABDF5766E2}"/>
              </c:ext>
            </c:extLst>
          </c:dPt>
          <c:dPt>
            <c:idx val="5"/>
            <c:invertIfNegative val="1"/>
            <c:bubble3D val="0"/>
            <c:spPr>
              <a:solidFill>
                <a:srgbClr val="AEABAB"/>
              </a:solidFill>
            </c:spPr>
            <c:extLst>
              <c:ext xmlns:c16="http://schemas.microsoft.com/office/drawing/2014/chart" uri="{C3380CC4-5D6E-409C-BE32-E72D297353CC}">
                <c16:uniqueId val="{0000000D-FA3E-4872-B6E1-C4ABDF5766E2}"/>
              </c:ext>
            </c:extLst>
          </c:dPt>
          <c:dPt>
            <c:idx val="6"/>
            <c:invertIfNegative val="1"/>
            <c:bubble3D val="0"/>
            <c:spPr>
              <a:solidFill>
                <a:srgbClr val="AEABAB"/>
              </a:solidFill>
            </c:spPr>
            <c:extLst>
              <c:ext xmlns:c16="http://schemas.microsoft.com/office/drawing/2014/chart" uri="{C3380CC4-5D6E-409C-BE32-E72D297353CC}">
                <c16:uniqueId val="{0000000F-FA3E-4872-B6E1-C4ABDF5766E2}"/>
              </c:ext>
            </c:extLst>
          </c:dPt>
          <c:dPt>
            <c:idx val="7"/>
            <c:invertIfNegative val="1"/>
            <c:bubble3D val="0"/>
            <c:spPr>
              <a:solidFill>
                <a:srgbClr val="AEABAB"/>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9</c:f>
              <c:strCache>
                <c:ptCount val="8"/>
                <c:pt idx="0">
                  <c:v>CHAMPAGNE E.NICOLAS BRUT 1CT X 750ML</c:v>
                </c:pt>
                <c:pt idx="1">
                  <c:v>CHAMPAGNE NICOLAS 1ERE CUVEE 1CT X 750ML</c:v>
                </c:pt>
                <c:pt idx="2">
                  <c:v>MG CHAMPAGNE E.NICOLAS BRUT 1CT X 1500ML</c:v>
                </c:pt>
                <c:pt idx="3">
                  <c:v>1/2 CHAMPAGNE NICOLAS 1ERE CUV 1CT X 375ML</c:v>
                </c:pt>
                <c:pt idx="4">
                  <c:v>CHAMPAGNE NICOLAS BIO NAT 2017 1CT X 750ML</c:v>
                </c:pt>
                <c:pt idx="5">
                  <c:v>MG CHAMPAGNE NICOLAS 1ERE CUVE 1CT X 1500ML</c:v>
                </c:pt>
                <c:pt idx="6">
                  <c:v>CHAMPAGNE NICOLAS 1ERE CUV ETU 1CT X 750ML</c:v>
                </c:pt>
                <c:pt idx="7">
                  <c:v>CHAMPAGNE NICOLAS BIO 2018 1CT X 750ML</c:v>
                </c:pt>
              </c:strCache>
            </c:strRef>
          </c:cat>
          <c:val>
            <c:numRef>
              <c:f>Sheet1!$C$2:$C$9</c:f>
              <c:numCache>
                <c:formatCode>General</c:formatCode>
                <c:ptCount val="8"/>
                <c:pt idx="0">
                  <c:v>0.88894244449735482</c:v>
                </c:pt>
                <c:pt idx="1">
                  <c:v>0.93184048687855336</c:v>
                </c:pt>
                <c:pt idx="2">
                  <c:v>0.96076245119503212</c:v>
                </c:pt>
                <c:pt idx="3">
                  <c:v>0.97869519180328191</c:v>
                </c:pt>
                <c:pt idx="4">
                  <c:v>0.9883352013271467</c:v>
                </c:pt>
                <c:pt idx="5">
                  <c:v>0.99786487339260588</c:v>
                </c:pt>
                <c:pt idx="6">
                  <c:v>0.99991095573532174</c:v>
                </c:pt>
                <c:pt idx="7">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9</c:f>
              <c:strCache>
                <c:ptCount val="8"/>
                <c:pt idx="0">
                  <c:v>CHAMPAGNE E.NICOLAS BRUT 1CT X 750ML</c:v>
                </c:pt>
                <c:pt idx="1">
                  <c:v>CHAMPAGNE NICOLAS 1ERE CUVEE 1CT X 750ML</c:v>
                </c:pt>
                <c:pt idx="2">
                  <c:v>MG CHAMPAGNE E.NICOLAS BRUT 1CT X 1500ML</c:v>
                </c:pt>
                <c:pt idx="3">
                  <c:v>1/2 CHAMPAGNE NICOLAS 1ERE CUV 1CT X 375ML</c:v>
                </c:pt>
                <c:pt idx="4">
                  <c:v>CHAMPAGNE NICOLAS BIO NAT 2017 1CT X 750ML</c:v>
                </c:pt>
                <c:pt idx="5">
                  <c:v>MG CHAMPAGNE NICOLAS 1ERE CUVE 1CT X 1500ML</c:v>
                </c:pt>
                <c:pt idx="6">
                  <c:v>CHAMPAGNE NICOLAS 1ERE CUV ETU 1CT X 750ML</c:v>
                </c:pt>
                <c:pt idx="7">
                  <c:v>CHAMPAGNE NICOLAS BIO 2018 1CT X 750ML</c:v>
                </c:pt>
              </c:strCache>
            </c:strRef>
          </c:cat>
          <c:val>
            <c:numRef>
              <c:f>Sheet1!$D$2:$D$9</c:f>
              <c:numCache>
                <c:formatCode>General</c:formatCode>
                <c:ptCount val="8"/>
                <c:pt idx="0">
                  <c:v>4592.25</c:v>
                </c:pt>
                <c:pt idx="1">
                  <c:v>284.11538461538464</c:v>
                </c:pt>
                <c:pt idx="2">
                  <c:v>383.10256410256409</c:v>
                </c:pt>
                <c:pt idx="3">
                  <c:v>210.54545454545453</c:v>
                </c:pt>
                <c:pt idx="4">
                  <c:v>262.10526315789474</c:v>
                </c:pt>
                <c:pt idx="5">
                  <c:v>189.34615384615384</c:v>
                </c:pt>
                <c:pt idx="6">
                  <c:v>75.499999999999986</c:v>
                </c:pt>
                <c:pt idx="7">
                  <c:v>23</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9</c:f>
              <c:strCache>
                <c:ptCount val="8"/>
                <c:pt idx="0">
                  <c:v>CHAMPAGNE E.NICOLAS BRUT 1CT X 750ML</c:v>
                </c:pt>
                <c:pt idx="1">
                  <c:v>CHAMPAGNE NICOLAS 1ERE CUVEE 1CT X 750ML</c:v>
                </c:pt>
                <c:pt idx="2">
                  <c:v>MG CHAMPAGNE E.NICOLAS BRUT 1CT X 1500ML</c:v>
                </c:pt>
                <c:pt idx="3">
                  <c:v>1/2 CHAMPAGNE NICOLAS 1ERE CUV 1CT X 375ML</c:v>
                </c:pt>
                <c:pt idx="4">
                  <c:v>CHAMPAGNE NICOLAS BIO NAT 2017 1CT X 750ML</c:v>
                </c:pt>
                <c:pt idx="5">
                  <c:v>MG CHAMPAGNE NICOLAS 1ERE CUVE 1CT X 1500ML</c:v>
                </c:pt>
                <c:pt idx="6">
                  <c:v>CHAMPAGNE NICOLAS 1ERE CUV ETU 1CT X 750ML</c:v>
                </c:pt>
                <c:pt idx="7">
                  <c:v>1/2 CHAMPAGNE NICOLAS 1E C BS 1CT X 375ML</c:v>
                </c:pt>
              </c:strCache>
            </c:strRef>
          </c:cat>
          <c:val>
            <c:numRef>
              <c:f>Sheet1!$B$2:$B$9</c:f>
              <c:numCache>
                <c:formatCode>General</c:formatCode>
                <c:ptCount val="8"/>
                <c:pt idx="0">
                  <c:v>1</c:v>
                </c:pt>
                <c:pt idx="1">
                  <c:v>0.72</c:v>
                </c:pt>
                <c:pt idx="2">
                  <c:v>0.4</c:v>
                </c:pt>
                <c:pt idx="3">
                  <c:v>0.56000000000000005</c:v>
                </c:pt>
                <c:pt idx="4">
                  <c:v>0.26</c:v>
                </c:pt>
                <c:pt idx="5">
                  <c:v>0.14000000000000001</c:v>
                </c:pt>
                <c:pt idx="6">
                  <c:v>0.09</c:v>
                </c:pt>
                <c:pt idx="7">
                  <c:v>0.01</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7ECAC4"/>
              </a:solidFill>
            </c:spPr>
            <c:extLst>
              <c:ext xmlns:c16="http://schemas.microsoft.com/office/drawing/2014/chart" uri="{C3380CC4-5D6E-409C-BE32-E72D297353CC}">
                <c16:uniqueId val="{00000006-D8F4-40C6-A5E0-DB4B53CFB1F3}"/>
              </c:ext>
            </c:extLst>
          </c:dPt>
          <c:dPt>
            <c:idx val="1"/>
            <c:invertIfNegative val="0"/>
            <c:bubble3D val="0"/>
            <c:spPr>
              <a:solidFill>
                <a:srgbClr val="7ECAC4"/>
              </a:solidFill>
            </c:spPr>
            <c:extLst>
              <c:ext xmlns:c16="http://schemas.microsoft.com/office/drawing/2014/chart" uri="{C3380CC4-5D6E-409C-BE32-E72D297353CC}">
                <c16:uniqueId val="{00000008-D8F4-40C6-A5E0-DB4B53CFB1F3}"/>
              </c:ext>
            </c:extLst>
          </c:dPt>
          <c:dPt>
            <c:idx val="2"/>
            <c:invertIfNegative val="0"/>
            <c:bubble3D val="0"/>
            <c:spPr>
              <a:solidFill>
                <a:srgbClr val="7ECAC4"/>
              </a:solidFill>
            </c:spPr>
            <c:extLst>
              <c:ext xmlns:c16="http://schemas.microsoft.com/office/drawing/2014/chart" uri="{C3380CC4-5D6E-409C-BE32-E72D297353CC}">
                <c16:uniqueId val="{00000006-E902-46E2-9A54-39A26B3DFDC1}"/>
              </c:ext>
            </c:extLst>
          </c:dPt>
          <c:dPt>
            <c:idx val="3"/>
            <c:invertIfNegative val="0"/>
            <c:bubble3D val="0"/>
            <c:spPr>
              <a:solidFill>
                <a:srgbClr val="AEABAB"/>
              </a:solidFill>
            </c:spPr>
            <c:extLst>
              <c:ext xmlns:c16="http://schemas.microsoft.com/office/drawing/2014/chart" uri="{C3380CC4-5D6E-409C-BE32-E72D297353CC}">
                <c16:uniqueId val="{00000007-E902-46E2-9A54-39A26B3DFDC1}"/>
              </c:ext>
            </c:extLst>
          </c:dPt>
          <c:dPt>
            <c:idx val="4"/>
            <c:invertIfNegative val="1"/>
            <c:bubble3D val="0"/>
            <c:spPr>
              <a:solidFill>
                <a:srgbClr val="AEABAB"/>
              </a:solidFill>
            </c:spPr>
            <c:extLst>
              <c:ext xmlns:c16="http://schemas.microsoft.com/office/drawing/2014/chart" uri="{C3380CC4-5D6E-409C-BE32-E72D297353CC}">
                <c16:uniqueId val="{0000000B-FA3E-4872-B6E1-C4ABDF5766E2}"/>
              </c:ext>
            </c:extLst>
          </c:dPt>
          <c:dPt>
            <c:idx val="5"/>
            <c:invertIfNegative val="1"/>
            <c:bubble3D val="0"/>
            <c:spPr>
              <a:solidFill>
                <a:srgbClr val="AEABAB"/>
              </a:solidFill>
            </c:spPr>
            <c:extLst>
              <c:ext xmlns:c16="http://schemas.microsoft.com/office/drawing/2014/chart" uri="{C3380CC4-5D6E-409C-BE32-E72D297353CC}">
                <c16:uniqueId val="{0000000D-FA3E-4872-B6E1-C4ABDF5766E2}"/>
              </c:ext>
            </c:extLst>
          </c:dPt>
          <c:dPt>
            <c:idx val="6"/>
            <c:invertIfNegative val="1"/>
            <c:bubble3D val="0"/>
            <c:spPr>
              <a:solidFill>
                <a:srgbClr val="AEABAB"/>
              </a:solidFill>
            </c:spPr>
            <c:extLst>
              <c:ext xmlns:c16="http://schemas.microsoft.com/office/drawing/2014/chart" uri="{C3380CC4-5D6E-409C-BE32-E72D297353CC}">
                <c16:uniqueId val="{0000000F-FA3E-4872-B6E1-C4ABDF5766E2}"/>
              </c:ext>
            </c:extLst>
          </c:dPt>
          <c:dPt>
            <c:idx val="7"/>
            <c:invertIfNegative val="1"/>
            <c:bubble3D val="0"/>
            <c:spPr>
              <a:solidFill>
                <a:srgbClr val="AEABAB"/>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9</c:f>
              <c:strCache>
                <c:ptCount val="8"/>
                <c:pt idx="0">
                  <c:v>CHAMPAGNE E.NICOLAS BRUT 1CT X 750ML</c:v>
                </c:pt>
                <c:pt idx="1">
                  <c:v>CHAMPAGNE NICOLAS 1ERE CUVEE 1CT X 750ML</c:v>
                </c:pt>
                <c:pt idx="2">
                  <c:v>MG CHAMPAGNE E.NICOLAS BRUT 1CT X 1500ML</c:v>
                </c:pt>
                <c:pt idx="3">
                  <c:v>1/2 CHAMPAGNE NICOLAS 1ERE CUV 1CT X 375ML</c:v>
                </c:pt>
                <c:pt idx="4">
                  <c:v>CHAMPAGNE NICOLAS BIO NAT 2017 1CT X 750ML</c:v>
                </c:pt>
                <c:pt idx="5">
                  <c:v>MG CHAMPAGNE NICOLAS 1ERE CUVE 1CT X 1500ML</c:v>
                </c:pt>
                <c:pt idx="6">
                  <c:v>CHAMPAGNE NICOLAS 1ERE CUV ETU 1CT X 750ML</c:v>
                </c:pt>
                <c:pt idx="7">
                  <c:v>1/2 CHAMPAGNE NICOLAS 1E C BS 1CT X 375ML</c:v>
                </c:pt>
              </c:strCache>
            </c:strRef>
          </c:cat>
          <c:val>
            <c:numRef>
              <c:f>Sheet1!$C$2:$C$9</c:f>
              <c:numCache>
                <c:formatCode>General</c:formatCode>
                <c:ptCount val="8"/>
                <c:pt idx="0">
                  <c:v>0.82260171320931119</c:v>
                </c:pt>
                <c:pt idx="1">
                  <c:v>0.895571230183283</c:v>
                </c:pt>
                <c:pt idx="2">
                  <c:v>0.93948310394294787</c:v>
                </c:pt>
                <c:pt idx="3">
                  <c:v>0.96659287675251027</c:v>
                </c:pt>
                <c:pt idx="4">
                  <c:v>0.98245541668385361</c:v>
                </c:pt>
                <c:pt idx="5">
                  <c:v>0.9963655029859706</c:v>
                </c:pt>
                <c:pt idx="6">
                  <c:v>0.99989916906140131</c:v>
                </c:pt>
                <c:pt idx="7">
                  <c:v>0.99999999999999989</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9</c:f>
              <c:strCache>
                <c:ptCount val="8"/>
                <c:pt idx="0">
                  <c:v>CHAMPAGNE E.NICOLAS BRUT 1CT X 750ML</c:v>
                </c:pt>
                <c:pt idx="1">
                  <c:v>CHAMPAGNE NICOLAS 1ERE CUVEE 1CT X 750ML</c:v>
                </c:pt>
                <c:pt idx="2">
                  <c:v>MG CHAMPAGNE E.NICOLAS BRUT 1CT X 1500ML</c:v>
                </c:pt>
                <c:pt idx="3">
                  <c:v>1/2 CHAMPAGNE NICOLAS 1ERE CUV 1CT X 375ML</c:v>
                </c:pt>
                <c:pt idx="4">
                  <c:v>CHAMPAGNE NICOLAS BIO NAT 2017 1CT X 750ML</c:v>
                </c:pt>
                <c:pt idx="5">
                  <c:v>MG CHAMPAGNE NICOLAS 1ERE CUVE 1CT X 1500ML</c:v>
                </c:pt>
                <c:pt idx="6">
                  <c:v>CHAMPAGNE NICOLAS 1ERE CUV ETU 1CT X 750ML</c:v>
                </c:pt>
                <c:pt idx="7">
                  <c:v>1/2 CHAMPAGNE NICOLAS 1E C BS 1CT X 375ML</c:v>
                </c:pt>
              </c:strCache>
            </c:strRef>
          </c:cat>
          <c:val>
            <c:numRef>
              <c:f>Sheet1!$D$2:$D$9</c:f>
              <c:numCache>
                <c:formatCode>General</c:formatCode>
                <c:ptCount val="8"/>
                <c:pt idx="0">
                  <c:v>1794.81</c:v>
                </c:pt>
                <c:pt idx="1">
                  <c:v>221.125</c:v>
                </c:pt>
                <c:pt idx="2">
                  <c:v>239.52500000000001</c:v>
                </c:pt>
                <c:pt idx="3">
                  <c:v>105.62499999999999</c:v>
                </c:pt>
                <c:pt idx="4">
                  <c:v>133.11538461538461</c:v>
                </c:pt>
                <c:pt idx="5">
                  <c:v>216.78571428571425</c:v>
                </c:pt>
                <c:pt idx="6">
                  <c:v>85.666666666666671</c:v>
                </c:pt>
                <c:pt idx="7">
                  <c:v>22</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9</c:f>
              <c:strCache>
                <c:ptCount val="8"/>
                <c:pt idx="0">
                  <c:v>CHAMPAGNE E.NICOLAS BRUT 1CT X 750ML</c:v>
                </c:pt>
                <c:pt idx="1">
                  <c:v>CHAMPAGNE NICOLAS 1ERE CUVEE 1CT X 750ML</c:v>
                </c:pt>
                <c:pt idx="2">
                  <c:v>1/2 CHAMPAGNE NICOLAS 1ERE CUV 1CT X 375ML</c:v>
                </c:pt>
                <c:pt idx="3">
                  <c:v>MG CHAMPAGNE E.NICOLAS BRUT 1CT X 1500ML</c:v>
                </c:pt>
                <c:pt idx="4">
                  <c:v>CHAMPAGNE NICOLAS BIO NAT 2017 1CT X 750ML</c:v>
                </c:pt>
                <c:pt idx="5">
                  <c:v>MG CHAMPAGNE NICOLAS 1ERE CUVE 1CT X 1500ML</c:v>
                </c:pt>
                <c:pt idx="6">
                  <c:v>CHAMPAGNE NICOLAS 1ERE CUV ETU 1CT X 750ML</c:v>
                </c:pt>
                <c:pt idx="7">
                  <c:v>1/2 CHAMPAGNE NICOLAS 1E C BS 1CT X 375ML</c:v>
                </c:pt>
              </c:strCache>
            </c:strRef>
          </c:cat>
          <c:val>
            <c:numRef>
              <c:f>Sheet1!$B$2:$B$9</c:f>
              <c:numCache>
                <c:formatCode>General</c:formatCode>
                <c:ptCount val="8"/>
                <c:pt idx="0">
                  <c:v>1</c:v>
                </c:pt>
                <c:pt idx="1">
                  <c:v>0.83</c:v>
                </c:pt>
                <c:pt idx="2">
                  <c:v>0.51</c:v>
                </c:pt>
                <c:pt idx="3">
                  <c:v>0.36</c:v>
                </c:pt>
                <c:pt idx="4">
                  <c:v>0.28000000000000003</c:v>
                </c:pt>
                <c:pt idx="5">
                  <c:v>0.18</c:v>
                </c:pt>
                <c:pt idx="6">
                  <c:v>0.22</c:v>
                </c:pt>
                <c:pt idx="7">
                  <c:v>0.08</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7ECAC4"/>
              </a:solidFill>
            </c:spPr>
            <c:extLst>
              <c:ext xmlns:c16="http://schemas.microsoft.com/office/drawing/2014/chart" uri="{C3380CC4-5D6E-409C-BE32-E72D297353CC}">
                <c16:uniqueId val="{00000006-D8F4-40C6-A5E0-DB4B53CFB1F3}"/>
              </c:ext>
            </c:extLst>
          </c:dPt>
          <c:dPt>
            <c:idx val="1"/>
            <c:invertIfNegative val="0"/>
            <c:bubble3D val="0"/>
            <c:spPr>
              <a:solidFill>
                <a:srgbClr val="7ECAC4"/>
              </a:solidFill>
            </c:spPr>
            <c:extLst>
              <c:ext xmlns:c16="http://schemas.microsoft.com/office/drawing/2014/chart" uri="{C3380CC4-5D6E-409C-BE32-E72D297353CC}">
                <c16:uniqueId val="{00000008-D8F4-40C6-A5E0-DB4B53CFB1F3}"/>
              </c:ext>
            </c:extLst>
          </c:dPt>
          <c:dPt>
            <c:idx val="2"/>
            <c:invertIfNegative val="0"/>
            <c:bubble3D val="0"/>
            <c:spPr>
              <a:solidFill>
                <a:srgbClr val="AEABAB"/>
              </a:solidFill>
            </c:spPr>
            <c:extLst>
              <c:ext xmlns:c16="http://schemas.microsoft.com/office/drawing/2014/chart" uri="{C3380CC4-5D6E-409C-BE32-E72D297353CC}">
                <c16:uniqueId val="{00000006-E902-46E2-9A54-39A26B3DFDC1}"/>
              </c:ext>
            </c:extLst>
          </c:dPt>
          <c:dPt>
            <c:idx val="3"/>
            <c:invertIfNegative val="0"/>
            <c:bubble3D val="0"/>
            <c:spPr>
              <a:solidFill>
                <a:srgbClr val="AEABAB"/>
              </a:solidFill>
            </c:spPr>
            <c:extLst>
              <c:ext xmlns:c16="http://schemas.microsoft.com/office/drawing/2014/chart" uri="{C3380CC4-5D6E-409C-BE32-E72D297353CC}">
                <c16:uniqueId val="{00000007-E902-46E2-9A54-39A26B3DFDC1}"/>
              </c:ext>
            </c:extLst>
          </c:dPt>
          <c:dPt>
            <c:idx val="4"/>
            <c:invertIfNegative val="1"/>
            <c:bubble3D val="0"/>
            <c:spPr>
              <a:solidFill>
                <a:srgbClr val="AEABAB"/>
              </a:solidFill>
            </c:spPr>
            <c:extLst>
              <c:ext xmlns:c16="http://schemas.microsoft.com/office/drawing/2014/chart" uri="{C3380CC4-5D6E-409C-BE32-E72D297353CC}">
                <c16:uniqueId val="{0000000B-FA3E-4872-B6E1-C4ABDF5766E2}"/>
              </c:ext>
            </c:extLst>
          </c:dPt>
          <c:dPt>
            <c:idx val="5"/>
            <c:invertIfNegative val="1"/>
            <c:bubble3D val="0"/>
            <c:spPr>
              <a:solidFill>
                <a:srgbClr val="AEABAB"/>
              </a:solidFill>
            </c:spPr>
            <c:extLst>
              <c:ext xmlns:c16="http://schemas.microsoft.com/office/drawing/2014/chart" uri="{C3380CC4-5D6E-409C-BE32-E72D297353CC}">
                <c16:uniqueId val="{0000000D-FA3E-4872-B6E1-C4ABDF5766E2}"/>
              </c:ext>
            </c:extLst>
          </c:dPt>
          <c:dPt>
            <c:idx val="6"/>
            <c:invertIfNegative val="1"/>
            <c:bubble3D val="0"/>
            <c:spPr>
              <a:solidFill>
                <a:srgbClr val="AEABAB"/>
              </a:solidFill>
            </c:spPr>
            <c:extLst>
              <c:ext xmlns:c16="http://schemas.microsoft.com/office/drawing/2014/chart" uri="{C3380CC4-5D6E-409C-BE32-E72D297353CC}">
                <c16:uniqueId val="{0000000F-FA3E-4872-B6E1-C4ABDF5766E2}"/>
              </c:ext>
            </c:extLst>
          </c:dPt>
          <c:dPt>
            <c:idx val="7"/>
            <c:invertIfNegative val="1"/>
            <c:bubble3D val="0"/>
            <c:spPr>
              <a:solidFill>
                <a:srgbClr val="AEABAB"/>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9</c:f>
              <c:strCache>
                <c:ptCount val="8"/>
                <c:pt idx="0">
                  <c:v>CHAMPAGNE E.NICOLAS BRUT 1CT X 750ML</c:v>
                </c:pt>
                <c:pt idx="1">
                  <c:v>CHAMPAGNE NICOLAS 1ERE CUVEE 1CT X 750ML</c:v>
                </c:pt>
                <c:pt idx="2">
                  <c:v>1/2 CHAMPAGNE NICOLAS 1ERE CUV 1CT X 375ML</c:v>
                </c:pt>
                <c:pt idx="3">
                  <c:v>MG CHAMPAGNE E.NICOLAS BRUT 1CT X 1500ML</c:v>
                </c:pt>
                <c:pt idx="4">
                  <c:v>CHAMPAGNE NICOLAS BIO NAT 2017 1CT X 750ML</c:v>
                </c:pt>
                <c:pt idx="5">
                  <c:v>MG CHAMPAGNE NICOLAS 1ERE CUVE 1CT X 1500ML</c:v>
                </c:pt>
                <c:pt idx="6">
                  <c:v>CHAMPAGNE NICOLAS 1ERE CUV ETU 1CT X 750ML</c:v>
                </c:pt>
                <c:pt idx="7">
                  <c:v>1/2 CHAMPAGNE NICOLAS 1E C BS 1CT X 375ML</c:v>
                </c:pt>
              </c:strCache>
            </c:strRef>
          </c:cat>
          <c:val>
            <c:numRef>
              <c:f>Sheet1!$C$2:$C$9</c:f>
              <c:numCache>
                <c:formatCode>General</c:formatCode>
                <c:ptCount val="8"/>
                <c:pt idx="0">
                  <c:v>0.88681063677429439</c:v>
                </c:pt>
                <c:pt idx="1">
                  <c:v>0.94409178767370372</c:v>
                </c:pt>
                <c:pt idx="2">
                  <c:v>0.96420129971518265</c:v>
                </c:pt>
                <c:pt idx="3">
                  <c:v>0.98217333484087388</c:v>
                </c:pt>
                <c:pt idx="4">
                  <c:v>0.99109474352969062</c:v>
                </c:pt>
                <c:pt idx="5">
                  <c:v>0.99802942934212024</c:v>
                </c:pt>
                <c:pt idx="6">
                  <c:v>0.9996446511928414</c:v>
                </c:pt>
                <c:pt idx="7">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9</c:f>
              <c:strCache>
                <c:ptCount val="8"/>
                <c:pt idx="0">
                  <c:v>CHAMPAGNE E.NICOLAS BRUT 1CT X 750ML</c:v>
                </c:pt>
                <c:pt idx="1">
                  <c:v>CHAMPAGNE NICOLAS 1ERE CUVEE 1CT X 750ML</c:v>
                </c:pt>
                <c:pt idx="2">
                  <c:v>1/2 CHAMPAGNE NICOLAS 1ERE CUV 1CT X 375ML</c:v>
                </c:pt>
                <c:pt idx="3">
                  <c:v>MG CHAMPAGNE E.NICOLAS BRUT 1CT X 1500ML</c:v>
                </c:pt>
                <c:pt idx="4">
                  <c:v>CHAMPAGNE NICOLAS BIO NAT 2017 1CT X 750ML</c:v>
                </c:pt>
                <c:pt idx="5">
                  <c:v>MG CHAMPAGNE NICOLAS 1ERE CUVE 1CT X 1500ML</c:v>
                </c:pt>
                <c:pt idx="6">
                  <c:v>CHAMPAGNE NICOLAS 1ERE CUV ETU 1CT X 750ML</c:v>
                </c:pt>
                <c:pt idx="7">
                  <c:v>1/2 CHAMPAGNE NICOLAS 1E C BS 1CT X 375ML</c:v>
                </c:pt>
              </c:strCache>
            </c:strRef>
          </c:cat>
          <c:val>
            <c:numRef>
              <c:f>Sheet1!$D$2:$D$9</c:f>
              <c:numCache>
                <c:formatCode>General</c:formatCode>
                <c:ptCount val="8"/>
                <c:pt idx="0">
                  <c:v>1647.1</c:v>
                </c:pt>
                <c:pt idx="1">
                  <c:v>128.18072289156626</c:v>
                </c:pt>
                <c:pt idx="2">
                  <c:v>73.235294117647058</c:v>
                </c:pt>
                <c:pt idx="3">
                  <c:v>92.722222222222229</c:v>
                </c:pt>
                <c:pt idx="4">
                  <c:v>59.178571428571423</c:v>
                </c:pt>
                <c:pt idx="5">
                  <c:v>71.555555555555557</c:v>
                </c:pt>
                <c:pt idx="6">
                  <c:v>13.636363636363637</c:v>
                </c:pt>
                <c:pt idx="7">
                  <c:v>8.25</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9</c:f>
              <c:strCache>
                <c:ptCount val="8"/>
                <c:pt idx="0">
                  <c:v>CHAMPAGNE E.NICOLAS BRUT 1CT X 750ML</c:v>
                </c:pt>
                <c:pt idx="1">
                  <c:v>CHAMPAGNE NICOLAS 1ERE CUVEE 1CT X 750ML</c:v>
                </c:pt>
                <c:pt idx="2">
                  <c:v>CHAMPAGNE NICOLAS BIO NAT 2017 1CT X 750ML</c:v>
                </c:pt>
                <c:pt idx="3">
                  <c:v>MG CHAMPAGNE E.NICOLAS BRUT 1CT X 1500ML</c:v>
                </c:pt>
                <c:pt idx="4">
                  <c:v>1/2 CHAMPAGNE NICOLAS 1ERE CUV 1CT X 375ML</c:v>
                </c:pt>
                <c:pt idx="5">
                  <c:v>CHAMPAGNE NICOLAS 1ERE CUV ETU 1CT X 750ML</c:v>
                </c:pt>
                <c:pt idx="6">
                  <c:v>MG CHAMPAGNE NICOLAS 1ERE CUVE 1CT X 1500ML</c:v>
                </c:pt>
                <c:pt idx="7">
                  <c:v>1/2 CHAMPAGNE NICOLAS 1E C BS 1CT X 375ML</c:v>
                </c:pt>
              </c:strCache>
            </c:strRef>
          </c:cat>
          <c:val>
            <c:numRef>
              <c:f>Sheet1!$B$2:$B$9</c:f>
              <c:numCache>
                <c:formatCode>General</c:formatCode>
                <c:ptCount val="8"/>
                <c:pt idx="0">
                  <c:v>1</c:v>
                </c:pt>
                <c:pt idx="1">
                  <c:v>0.56999999999999995</c:v>
                </c:pt>
                <c:pt idx="2">
                  <c:v>0.27</c:v>
                </c:pt>
                <c:pt idx="3">
                  <c:v>0.32</c:v>
                </c:pt>
                <c:pt idx="4">
                  <c:v>0.5</c:v>
                </c:pt>
                <c:pt idx="5">
                  <c:v>0.28000000000000003</c:v>
                </c:pt>
                <c:pt idx="6">
                  <c:v>0.15</c:v>
                </c:pt>
                <c:pt idx="7">
                  <c:v>0.05</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7ECAC4"/>
              </a:solidFill>
            </c:spPr>
            <c:extLst>
              <c:ext xmlns:c16="http://schemas.microsoft.com/office/drawing/2014/chart" uri="{C3380CC4-5D6E-409C-BE32-E72D297353CC}">
                <c16:uniqueId val="{00000006-D8F4-40C6-A5E0-DB4B53CFB1F3}"/>
              </c:ext>
            </c:extLst>
          </c:dPt>
          <c:dPt>
            <c:idx val="1"/>
            <c:invertIfNegative val="0"/>
            <c:bubble3D val="0"/>
            <c:spPr>
              <a:solidFill>
                <a:srgbClr val="7ECAC4"/>
              </a:solidFill>
            </c:spPr>
            <c:extLst>
              <c:ext xmlns:c16="http://schemas.microsoft.com/office/drawing/2014/chart" uri="{C3380CC4-5D6E-409C-BE32-E72D297353CC}">
                <c16:uniqueId val="{00000008-D8F4-40C6-A5E0-DB4B53CFB1F3}"/>
              </c:ext>
            </c:extLst>
          </c:dPt>
          <c:dPt>
            <c:idx val="2"/>
            <c:invertIfNegative val="0"/>
            <c:bubble3D val="0"/>
            <c:spPr>
              <a:solidFill>
                <a:srgbClr val="AEABAB"/>
              </a:solidFill>
            </c:spPr>
            <c:extLst>
              <c:ext xmlns:c16="http://schemas.microsoft.com/office/drawing/2014/chart" uri="{C3380CC4-5D6E-409C-BE32-E72D297353CC}">
                <c16:uniqueId val="{00000006-E902-46E2-9A54-39A26B3DFDC1}"/>
              </c:ext>
            </c:extLst>
          </c:dPt>
          <c:dPt>
            <c:idx val="3"/>
            <c:invertIfNegative val="0"/>
            <c:bubble3D val="0"/>
            <c:spPr>
              <a:solidFill>
                <a:srgbClr val="AEABAB"/>
              </a:solidFill>
            </c:spPr>
            <c:extLst>
              <c:ext xmlns:c16="http://schemas.microsoft.com/office/drawing/2014/chart" uri="{C3380CC4-5D6E-409C-BE32-E72D297353CC}">
                <c16:uniqueId val="{00000007-E902-46E2-9A54-39A26B3DFDC1}"/>
              </c:ext>
            </c:extLst>
          </c:dPt>
          <c:dPt>
            <c:idx val="4"/>
            <c:invertIfNegative val="1"/>
            <c:bubble3D val="0"/>
            <c:spPr>
              <a:solidFill>
                <a:srgbClr val="AEABAB"/>
              </a:solidFill>
            </c:spPr>
            <c:extLst>
              <c:ext xmlns:c16="http://schemas.microsoft.com/office/drawing/2014/chart" uri="{C3380CC4-5D6E-409C-BE32-E72D297353CC}">
                <c16:uniqueId val="{0000000B-FA3E-4872-B6E1-C4ABDF5766E2}"/>
              </c:ext>
            </c:extLst>
          </c:dPt>
          <c:dPt>
            <c:idx val="5"/>
            <c:invertIfNegative val="1"/>
            <c:bubble3D val="0"/>
            <c:spPr>
              <a:solidFill>
                <a:srgbClr val="AEABAB"/>
              </a:solidFill>
            </c:spPr>
            <c:extLst>
              <c:ext xmlns:c16="http://schemas.microsoft.com/office/drawing/2014/chart" uri="{C3380CC4-5D6E-409C-BE32-E72D297353CC}">
                <c16:uniqueId val="{0000000D-FA3E-4872-B6E1-C4ABDF5766E2}"/>
              </c:ext>
            </c:extLst>
          </c:dPt>
          <c:dPt>
            <c:idx val="6"/>
            <c:invertIfNegative val="1"/>
            <c:bubble3D val="0"/>
            <c:spPr>
              <a:solidFill>
                <a:srgbClr val="AEABAB"/>
              </a:solidFill>
            </c:spPr>
            <c:extLst>
              <c:ext xmlns:c16="http://schemas.microsoft.com/office/drawing/2014/chart" uri="{C3380CC4-5D6E-409C-BE32-E72D297353CC}">
                <c16:uniqueId val="{0000000F-FA3E-4872-B6E1-C4ABDF5766E2}"/>
              </c:ext>
            </c:extLst>
          </c:dPt>
          <c:dPt>
            <c:idx val="7"/>
            <c:invertIfNegative val="1"/>
            <c:bubble3D val="0"/>
            <c:spPr>
              <a:solidFill>
                <a:srgbClr val="AEABAB"/>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9</c:f>
              <c:strCache>
                <c:ptCount val="8"/>
                <c:pt idx="0">
                  <c:v>CHAMPAGNE E.NICOLAS BRUT 1CT X 750ML</c:v>
                </c:pt>
                <c:pt idx="1">
                  <c:v>CHAMPAGNE NICOLAS 1ERE CUVEE 1CT X 750ML</c:v>
                </c:pt>
                <c:pt idx="2">
                  <c:v>CHAMPAGNE NICOLAS BIO NAT 2017 1CT X 750ML</c:v>
                </c:pt>
                <c:pt idx="3">
                  <c:v>MG CHAMPAGNE E.NICOLAS BRUT 1CT X 1500ML</c:v>
                </c:pt>
                <c:pt idx="4">
                  <c:v>1/2 CHAMPAGNE NICOLAS 1ERE CUV 1CT X 375ML</c:v>
                </c:pt>
                <c:pt idx="5">
                  <c:v>CHAMPAGNE NICOLAS 1ERE CUV ETU 1CT X 750ML</c:v>
                </c:pt>
                <c:pt idx="6">
                  <c:v>MG CHAMPAGNE NICOLAS 1ERE CUVE 1CT X 1500ML</c:v>
                </c:pt>
                <c:pt idx="7">
                  <c:v>1/2 CHAMPAGNE NICOLAS 1E C BS 1CT X 375ML</c:v>
                </c:pt>
              </c:strCache>
            </c:strRef>
          </c:cat>
          <c:val>
            <c:numRef>
              <c:f>Sheet1!$C$2:$C$9</c:f>
              <c:numCache>
                <c:formatCode>General</c:formatCode>
                <c:ptCount val="8"/>
                <c:pt idx="0">
                  <c:v>0.90811237671779643</c:v>
                </c:pt>
                <c:pt idx="1">
                  <c:v>0.93453275079183873</c:v>
                </c:pt>
                <c:pt idx="2">
                  <c:v>0.95494459275027688</c:v>
                </c:pt>
                <c:pt idx="3">
                  <c:v>0.97397447232212608</c:v>
                </c:pt>
                <c:pt idx="4">
                  <c:v>0.98913314048806456</c:v>
                </c:pt>
                <c:pt idx="5">
                  <c:v>0.99642063158256156</c:v>
                </c:pt>
                <c:pt idx="6">
                  <c:v>0.99961373722113978</c:v>
                </c:pt>
                <c:pt idx="7">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9</c:f>
              <c:strCache>
                <c:ptCount val="8"/>
                <c:pt idx="0">
                  <c:v>CHAMPAGNE E.NICOLAS BRUT 1CT X 750ML</c:v>
                </c:pt>
                <c:pt idx="1">
                  <c:v>CHAMPAGNE NICOLAS 1ERE CUVEE 1CT X 750ML</c:v>
                </c:pt>
                <c:pt idx="2">
                  <c:v>CHAMPAGNE NICOLAS BIO NAT 2017 1CT X 750ML</c:v>
                </c:pt>
                <c:pt idx="3">
                  <c:v>MG CHAMPAGNE E.NICOLAS BRUT 1CT X 1500ML</c:v>
                </c:pt>
                <c:pt idx="4">
                  <c:v>1/2 CHAMPAGNE NICOLAS 1ERE CUV 1CT X 375ML</c:v>
                </c:pt>
                <c:pt idx="5">
                  <c:v>CHAMPAGNE NICOLAS 1ERE CUV ETU 1CT X 750ML</c:v>
                </c:pt>
                <c:pt idx="6">
                  <c:v>MG CHAMPAGNE NICOLAS 1ERE CUVE 1CT X 1500ML</c:v>
                </c:pt>
                <c:pt idx="7">
                  <c:v>1/2 CHAMPAGNE NICOLAS 1E C BS 1CT X 375ML</c:v>
                </c:pt>
              </c:strCache>
            </c:strRef>
          </c:cat>
          <c:val>
            <c:numRef>
              <c:f>Sheet1!$D$2:$D$9</c:f>
              <c:numCache>
                <c:formatCode>General</c:formatCode>
                <c:ptCount val="8"/>
                <c:pt idx="0">
                  <c:v>1057.96</c:v>
                </c:pt>
                <c:pt idx="1">
                  <c:v>54.000000000000007</c:v>
                </c:pt>
                <c:pt idx="2">
                  <c:v>88.074074074074076</c:v>
                </c:pt>
                <c:pt idx="3">
                  <c:v>69.28125</c:v>
                </c:pt>
                <c:pt idx="4">
                  <c:v>35.32</c:v>
                </c:pt>
                <c:pt idx="5">
                  <c:v>30.321428571428566</c:v>
                </c:pt>
                <c:pt idx="6">
                  <c:v>24.8</c:v>
                </c:pt>
                <c:pt idx="7">
                  <c:v>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9</c:f>
              <c:strCache>
                <c:ptCount val="8"/>
                <c:pt idx="0">
                  <c:v>CHAMPAGNE E.NICOLAS BRUT 1CT X 750ML</c:v>
                </c:pt>
                <c:pt idx="1">
                  <c:v>CHAMPAGNE NICOLAS 1ERE CUVEE 1CT X 750ML</c:v>
                </c:pt>
                <c:pt idx="2">
                  <c:v>MG CHAMPAGNE E.NICOLAS BRUT 1CT X 1500ML</c:v>
                </c:pt>
                <c:pt idx="3">
                  <c:v>1/2 CHAMPAGNE NICOLAS 1ERE CUV 1CT X 375ML</c:v>
                </c:pt>
                <c:pt idx="4">
                  <c:v>CHAMPAGNE NICOLAS BIO NAT 2017 1CT X 750ML</c:v>
                </c:pt>
                <c:pt idx="5">
                  <c:v>MG CHAMPAGNE NICOLAS 1ERE CUVE 1CT X 1500ML</c:v>
                </c:pt>
                <c:pt idx="6">
                  <c:v>CHAMPAGNE NICOLAS 1ERE CUV ETU 1CT X 750ML</c:v>
                </c:pt>
                <c:pt idx="7">
                  <c:v>1/2 CHAMPAGNE NICOLAS 1E C BS 1CT X 375ML</c:v>
                </c:pt>
              </c:strCache>
            </c:strRef>
          </c:cat>
          <c:val>
            <c:numRef>
              <c:f>Sheet1!$B$2:$B$9</c:f>
              <c:numCache>
                <c:formatCode>General</c:formatCode>
                <c:ptCount val="8"/>
                <c:pt idx="0">
                  <c:v>1</c:v>
                </c:pt>
                <c:pt idx="1">
                  <c:v>0.9</c:v>
                </c:pt>
                <c:pt idx="2">
                  <c:v>0.34</c:v>
                </c:pt>
                <c:pt idx="3">
                  <c:v>0.43</c:v>
                </c:pt>
                <c:pt idx="4">
                  <c:v>0.28000000000000003</c:v>
                </c:pt>
                <c:pt idx="5">
                  <c:v>0.24</c:v>
                </c:pt>
                <c:pt idx="6">
                  <c:v>7.0000000000000007E-2</c:v>
                </c:pt>
                <c:pt idx="7">
                  <c:v>0.02</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7ECAC4"/>
              </a:solidFill>
            </c:spPr>
            <c:extLst>
              <c:ext xmlns:c16="http://schemas.microsoft.com/office/drawing/2014/chart" uri="{C3380CC4-5D6E-409C-BE32-E72D297353CC}">
                <c16:uniqueId val="{00000006-D8F4-40C6-A5E0-DB4B53CFB1F3}"/>
              </c:ext>
            </c:extLst>
          </c:dPt>
          <c:dPt>
            <c:idx val="1"/>
            <c:invertIfNegative val="0"/>
            <c:bubble3D val="0"/>
            <c:spPr>
              <a:solidFill>
                <a:srgbClr val="7ECAC4"/>
              </a:solidFill>
            </c:spPr>
            <c:extLst>
              <c:ext xmlns:c16="http://schemas.microsoft.com/office/drawing/2014/chart" uri="{C3380CC4-5D6E-409C-BE32-E72D297353CC}">
                <c16:uniqueId val="{00000008-D8F4-40C6-A5E0-DB4B53CFB1F3}"/>
              </c:ext>
            </c:extLst>
          </c:dPt>
          <c:dPt>
            <c:idx val="2"/>
            <c:invertIfNegative val="0"/>
            <c:bubble3D val="0"/>
            <c:spPr>
              <a:solidFill>
                <a:srgbClr val="AEABAB"/>
              </a:solidFill>
            </c:spPr>
            <c:extLst>
              <c:ext xmlns:c16="http://schemas.microsoft.com/office/drawing/2014/chart" uri="{C3380CC4-5D6E-409C-BE32-E72D297353CC}">
                <c16:uniqueId val="{00000006-E902-46E2-9A54-39A26B3DFDC1}"/>
              </c:ext>
            </c:extLst>
          </c:dPt>
          <c:dPt>
            <c:idx val="3"/>
            <c:invertIfNegative val="0"/>
            <c:bubble3D val="0"/>
            <c:spPr>
              <a:solidFill>
                <a:srgbClr val="AEABAB"/>
              </a:solidFill>
            </c:spPr>
            <c:extLst>
              <c:ext xmlns:c16="http://schemas.microsoft.com/office/drawing/2014/chart" uri="{C3380CC4-5D6E-409C-BE32-E72D297353CC}">
                <c16:uniqueId val="{00000007-E902-46E2-9A54-39A26B3DFDC1}"/>
              </c:ext>
            </c:extLst>
          </c:dPt>
          <c:dPt>
            <c:idx val="4"/>
            <c:invertIfNegative val="1"/>
            <c:bubble3D val="0"/>
            <c:spPr>
              <a:solidFill>
                <a:srgbClr val="AEABAB"/>
              </a:solidFill>
            </c:spPr>
            <c:extLst>
              <c:ext xmlns:c16="http://schemas.microsoft.com/office/drawing/2014/chart" uri="{C3380CC4-5D6E-409C-BE32-E72D297353CC}">
                <c16:uniqueId val="{0000000B-FA3E-4872-B6E1-C4ABDF5766E2}"/>
              </c:ext>
            </c:extLst>
          </c:dPt>
          <c:dPt>
            <c:idx val="5"/>
            <c:invertIfNegative val="1"/>
            <c:bubble3D val="0"/>
            <c:spPr>
              <a:solidFill>
                <a:srgbClr val="AEABAB"/>
              </a:solidFill>
            </c:spPr>
            <c:extLst>
              <c:ext xmlns:c16="http://schemas.microsoft.com/office/drawing/2014/chart" uri="{C3380CC4-5D6E-409C-BE32-E72D297353CC}">
                <c16:uniqueId val="{0000000D-FA3E-4872-B6E1-C4ABDF5766E2}"/>
              </c:ext>
            </c:extLst>
          </c:dPt>
          <c:dPt>
            <c:idx val="6"/>
            <c:invertIfNegative val="1"/>
            <c:bubble3D val="0"/>
            <c:spPr>
              <a:solidFill>
                <a:srgbClr val="AEABAB"/>
              </a:solidFill>
            </c:spPr>
            <c:extLst>
              <c:ext xmlns:c16="http://schemas.microsoft.com/office/drawing/2014/chart" uri="{C3380CC4-5D6E-409C-BE32-E72D297353CC}">
                <c16:uniqueId val="{0000000F-FA3E-4872-B6E1-C4ABDF5766E2}"/>
              </c:ext>
            </c:extLst>
          </c:dPt>
          <c:dPt>
            <c:idx val="7"/>
            <c:invertIfNegative val="1"/>
            <c:bubble3D val="0"/>
            <c:spPr>
              <a:solidFill>
                <a:srgbClr val="AEABAB"/>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9</c:f>
              <c:strCache>
                <c:ptCount val="8"/>
                <c:pt idx="0">
                  <c:v>CHAMPAGNE E.NICOLAS BRUT 1CT X 750ML</c:v>
                </c:pt>
                <c:pt idx="1">
                  <c:v>CHAMPAGNE NICOLAS 1ERE CUVEE 1CT X 750ML</c:v>
                </c:pt>
                <c:pt idx="2">
                  <c:v>MG CHAMPAGNE E.NICOLAS BRUT 1CT X 1500ML</c:v>
                </c:pt>
                <c:pt idx="3">
                  <c:v>1/2 CHAMPAGNE NICOLAS 1ERE CUV 1CT X 375ML</c:v>
                </c:pt>
                <c:pt idx="4">
                  <c:v>CHAMPAGNE NICOLAS BIO NAT 2017 1CT X 750ML</c:v>
                </c:pt>
                <c:pt idx="5">
                  <c:v>MG CHAMPAGNE NICOLAS 1ERE CUVE 1CT X 1500ML</c:v>
                </c:pt>
                <c:pt idx="6">
                  <c:v>CHAMPAGNE NICOLAS 1ERE CUV ETU 1CT X 750ML</c:v>
                </c:pt>
                <c:pt idx="7">
                  <c:v>1/2 CHAMPAGNE NICOLAS 1E C BS 1CT X 375ML</c:v>
                </c:pt>
              </c:strCache>
            </c:strRef>
          </c:cat>
          <c:val>
            <c:numRef>
              <c:f>Sheet1!$C$2:$C$9</c:f>
              <c:numCache>
                <c:formatCode>General</c:formatCode>
                <c:ptCount val="8"/>
                <c:pt idx="0">
                  <c:v>0.88124034585627731</c:v>
                </c:pt>
                <c:pt idx="1">
                  <c:v>0.93868513299767375</c:v>
                </c:pt>
                <c:pt idx="2">
                  <c:v>0.96114759869756439</c:v>
                </c:pt>
                <c:pt idx="3">
                  <c:v>0.97968945030547938</c:v>
                </c:pt>
                <c:pt idx="4">
                  <c:v>0.99154899209476177</c:v>
                </c:pt>
                <c:pt idx="5">
                  <c:v>0.99901289802023729</c:v>
                </c:pt>
                <c:pt idx="6">
                  <c:v>0.99994357010866541</c:v>
                </c:pt>
                <c:pt idx="7">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9</c:f>
              <c:strCache>
                <c:ptCount val="8"/>
                <c:pt idx="0">
                  <c:v>CHAMPAGNE E.NICOLAS BRUT 1CT X 750ML</c:v>
                </c:pt>
                <c:pt idx="1">
                  <c:v>CHAMPAGNE NICOLAS 1ERE CUVEE 1CT X 750ML</c:v>
                </c:pt>
                <c:pt idx="2">
                  <c:v>MG CHAMPAGNE E.NICOLAS BRUT 1CT X 1500ML</c:v>
                </c:pt>
                <c:pt idx="3">
                  <c:v>1/2 CHAMPAGNE NICOLAS 1ERE CUV 1CT X 375ML</c:v>
                </c:pt>
                <c:pt idx="4">
                  <c:v>CHAMPAGNE NICOLAS BIO NAT 2017 1CT X 750ML</c:v>
                </c:pt>
                <c:pt idx="5">
                  <c:v>MG CHAMPAGNE NICOLAS 1ERE CUVE 1CT X 1500ML</c:v>
                </c:pt>
                <c:pt idx="6">
                  <c:v>CHAMPAGNE NICOLAS 1ERE CUV ETU 1CT X 750ML</c:v>
                </c:pt>
                <c:pt idx="7">
                  <c:v>1/2 CHAMPAGNE NICOLAS 1E C BS 1CT X 375ML</c:v>
                </c:pt>
              </c:strCache>
            </c:strRef>
          </c:cat>
          <c:val>
            <c:numRef>
              <c:f>Sheet1!$D$2:$D$9</c:f>
              <c:numCache>
                <c:formatCode>General</c:formatCode>
                <c:ptCount val="8"/>
                <c:pt idx="0">
                  <c:v>10463.09</c:v>
                </c:pt>
                <c:pt idx="1">
                  <c:v>757.83333333333337</c:v>
                </c:pt>
                <c:pt idx="2">
                  <c:v>784.41176470588232</c:v>
                </c:pt>
                <c:pt idx="3">
                  <c:v>511.97674418604652</c:v>
                </c:pt>
                <c:pt idx="4">
                  <c:v>502.89285714285705</c:v>
                </c:pt>
                <c:pt idx="5">
                  <c:v>369.25</c:v>
                </c:pt>
                <c:pt idx="6">
                  <c:v>157.85714285714283</c:v>
                </c:pt>
                <c:pt idx="7">
                  <c:v>33.5</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10</c:f>
              <c:strCache>
                <c:ptCount val="9"/>
                <c:pt idx="0">
                  <c:v>CHAMPAGNE E.NICOLAS BRUT 1CT X 750ML</c:v>
                </c:pt>
                <c:pt idx="1">
                  <c:v>CHAMPAGNE NICOLAS 1ERE CUVEE 1CT X 750ML</c:v>
                </c:pt>
                <c:pt idx="2">
                  <c:v>1/2 CHAMPAGNE NICOLAS 1ERE CUV 1CT X 375ML</c:v>
                </c:pt>
                <c:pt idx="3">
                  <c:v>MG CHAMPAGNE E.NICOLAS BRUT 1CT X 1500ML</c:v>
                </c:pt>
                <c:pt idx="4">
                  <c:v>CHAMPAGNE NICOLAS BIO NAT 2017 1CT X 750ML</c:v>
                </c:pt>
                <c:pt idx="5">
                  <c:v>MG CHAMPAGNE NICOLAS 1ERE CUVE 1CT X 1500ML</c:v>
                </c:pt>
                <c:pt idx="6">
                  <c:v>CHAMPAGNE NICOLAS 1ERE CUV ETU 1CT X 750ML</c:v>
                </c:pt>
                <c:pt idx="7">
                  <c:v>MG CHAMPAGNE NICOLAS BRUT 1CT X 1500ML</c:v>
                </c:pt>
                <c:pt idx="8">
                  <c:v>1/2 CHAMPAGNE NICOLAS 1E C BS 1CT X 375ML</c:v>
                </c:pt>
              </c:strCache>
            </c:strRef>
          </c:cat>
          <c:val>
            <c:numRef>
              <c:f>Sheet1!$B$2:$B$10</c:f>
              <c:numCache>
                <c:formatCode>General</c:formatCode>
                <c:ptCount val="9"/>
                <c:pt idx="0">
                  <c:v>1</c:v>
                </c:pt>
                <c:pt idx="1">
                  <c:v>0.91</c:v>
                </c:pt>
                <c:pt idx="2">
                  <c:v>0.45</c:v>
                </c:pt>
                <c:pt idx="3">
                  <c:v>0.21</c:v>
                </c:pt>
                <c:pt idx="4">
                  <c:v>0.21</c:v>
                </c:pt>
                <c:pt idx="5">
                  <c:v>0.12</c:v>
                </c:pt>
                <c:pt idx="6">
                  <c:v>0.12</c:v>
                </c:pt>
                <c:pt idx="7">
                  <c:v>0.01</c:v>
                </c:pt>
                <c:pt idx="8">
                  <c:v>0.01</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7ECAC4"/>
              </a:solidFill>
            </c:spPr>
            <c:extLst>
              <c:ext xmlns:c16="http://schemas.microsoft.com/office/drawing/2014/chart" uri="{C3380CC4-5D6E-409C-BE32-E72D297353CC}">
                <c16:uniqueId val="{00000006-D8F4-40C6-A5E0-DB4B53CFB1F3}"/>
              </c:ext>
            </c:extLst>
          </c:dPt>
          <c:dPt>
            <c:idx val="1"/>
            <c:invertIfNegative val="0"/>
            <c:bubble3D val="0"/>
            <c:spPr>
              <a:solidFill>
                <a:srgbClr val="7ECAC4"/>
              </a:solidFill>
            </c:spPr>
            <c:extLst>
              <c:ext xmlns:c16="http://schemas.microsoft.com/office/drawing/2014/chart" uri="{C3380CC4-5D6E-409C-BE32-E72D297353CC}">
                <c16:uniqueId val="{00000008-D8F4-40C6-A5E0-DB4B53CFB1F3}"/>
              </c:ext>
            </c:extLst>
          </c:dPt>
          <c:dPt>
            <c:idx val="2"/>
            <c:invertIfNegative val="0"/>
            <c:bubble3D val="0"/>
            <c:spPr>
              <a:solidFill>
                <a:srgbClr val="AEABAB"/>
              </a:solidFill>
            </c:spPr>
            <c:extLst>
              <c:ext xmlns:c16="http://schemas.microsoft.com/office/drawing/2014/chart" uri="{C3380CC4-5D6E-409C-BE32-E72D297353CC}">
                <c16:uniqueId val="{00000006-E902-46E2-9A54-39A26B3DFDC1}"/>
              </c:ext>
            </c:extLst>
          </c:dPt>
          <c:dPt>
            <c:idx val="3"/>
            <c:invertIfNegative val="0"/>
            <c:bubble3D val="0"/>
            <c:spPr>
              <a:solidFill>
                <a:srgbClr val="AEABAB"/>
              </a:solidFill>
            </c:spPr>
            <c:extLst>
              <c:ext xmlns:c16="http://schemas.microsoft.com/office/drawing/2014/chart" uri="{C3380CC4-5D6E-409C-BE32-E72D297353CC}">
                <c16:uniqueId val="{00000007-E902-46E2-9A54-39A26B3DFDC1}"/>
              </c:ext>
            </c:extLst>
          </c:dPt>
          <c:dPt>
            <c:idx val="4"/>
            <c:invertIfNegative val="1"/>
            <c:bubble3D val="0"/>
            <c:spPr>
              <a:solidFill>
                <a:srgbClr val="AEABAB"/>
              </a:solidFill>
            </c:spPr>
            <c:extLst>
              <c:ext xmlns:c16="http://schemas.microsoft.com/office/drawing/2014/chart" uri="{C3380CC4-5D6E-409C-BE32-E72D297353CC}">
                <c16:uniqueId val="{0000000B-FA3E-4872-B6E1-C4ABDF5766E2}"/>
              </c:ext>
            </c:extLst>
          </c:dPt>
          <c:dPt>
            <c:idx val="5"/>
            <c:invertIfNegative val="1"/>
            <c:bubble3D val="0"/>
            <c:spPr>
              <a:solidFill>
                <a:srgbClr val="AEABAB"/>
              </a:solidFill>
            </c:spPr>
            <c:extLst>
              <c:ext xmlns:c16="http://schemas.microsoft.com/office/drawing/2014/chart" uri="{C3380CC4-5D6E-409C-BE32-E72D297353CC}">
                <c16:uniqueId val="{0000000D-FA3E-4872-B6E1-C4ABDF5766E2}"/>
              </c:ext>
            </c:extLst>
          </c:dPt>
          <c:dPt>
            <c:idx val="6"/>
            <c:invertIfNegative val="1"/>
            <c:bubble3D val="0"/>
            <c:spPr>
              <a:solidFill>
                <a:srgbClr val="AEABAB"/>
              </a:solidFill>
            </c:spPr>
            <c:extLst>
              <c:ext xmlns:c16="http://schemas.microsoft.com/office/drawing/2014/chart" uri="{C3380CC4-5D6E-409C-BE32-E72D297353CC}">
                <c16:uniqueId val="{0000000F-FA3E-4872-B6E1-C4ABDF5766E2}"/>
              </c:ext>
            </c:extLst>
          </c:dPt>
          <c:dPt>
            <c:idx val="7"/>
            <c:invertIfNegative val="1"/>
            <c:bubble3D val="0"/>
            <c:spPr>
              <a:solidFill>
                <a:srgbClr val="AEABAB"/>
              </a:solidFill>
            </c:spPr>
            <c:extLst>
              <c:ext xmlns:c16="http://schemas.microsoft.com/office/drawing/2014/chart" uri="{C3380CC4-5D6E-409C-BE32-E72D297353CC}">
                <c16:uniqueId val="{00000011-FA3E-4872-B6E1-C4ABDF5766E2}"/>
              </c:ext>
            </c:extLst>
          </c:dPt>
          <c:dPt>
            <c:idx val="8"/>
            <c:invertIfNegative val="1"/>
            <c:bubble3D val="0"/>
            <c:spPr>
              <a:solidFill>
                <a:srgbClr val="AEABAB"/>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10</c:f>
              <c:strCache>
                <c:ptCount val="9"/>
                <c:pt idx="0">
                  <c:v>CHAMPAGNE E.NICOLAS BRUT 1CT X 750ML</c:v>
                </c:pt>
                <c:pt idx="1">
                  <c:v>CHAMPAGNE NICOLAS 1ERE CUVEE 1CT X 750ML</c:v>
                </c:pt>
                <c:pt idx="2">
                  <c:v>1/2 CHAMPAGNE NICOLAS 1ERE CUV 1CT X 375ML</c:v>
                </c:pt>
                <c:pt idx="3">
                  <c:v>MG CHAMPAGNE E.NICOLAS BRUT 1CT X 1500ML</c:v>
                </c:pt>
                <c:pt idx="4">
                  <c:v>CHAMPAGNE NICOLAS BIO NAT 2017 1CT X 750ML</c:v>
                </c:pt>
                <c:pt idx="5">
                  <c:v>MG CHAMPAGNE NICOLAS 1ERE CUVE 1CT X 1500ML</c:v>
                </c:pt>
                <c:pt idx="6">
                  <c:v>CHAMPAGNE NICOLAS 1ERE CUV ETU 1CT X 750ML</c:v>
                </c:pt>
                <c:pt idx="7">
                  <c:v>MG CHAMPAGNE NICOLAS BRUT 1CT X 1500ML</c:v>
                </c:pt>
                <c:pt idx="8">
                  <c:v>1/2 CHAMPAGNE NICOLAS 1E C BS 1CT X 375ML</c:v>
                </c:pt>
              </c:strCache>
            </c:strRef>
          </c:cat>
          <c:val>
            <c:numRef>
              <c:f>Sheet1!$C$2:$C$10</c:f>
              <c:numCache>
                <c:formatCode>General</c:formatCode>
                <c:ptCount val="9"/>
                <c:pt idx="0">
                  <c:v>0.89541287015945326</c:v>
                </c:pt>
                <c:pt idx="1">
                  <c:v>0.94218678815489743</c:v>
                </c:pt>
                <c:pt idx="2">
                  <c:v>0.96556805239179944</c:v>
                </c:pt>
                <c:pt idx="3">
                  <c:v>0.97935933940774478</c:v>
                </c:pt>
                <c:pt idx="4">
                  <c:v>0.9906876423690204</c:v>
                </c:pt>
                <c:pt idx="5">
                  <c:v>0.99768507972665144</c:v>
                </c:pt>
                <c:pt idx="6">
                  <c:v>0.99991173120728927</c:v>
                </c:pt>
                <c:pt idx="7">
                  <c:v>0.99997010250569474</c:v>
                </c:pt>
                <c:pt idx="8">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10</c:f>
              <c:strCache>
                <c:ptCount val="9"/>
                <c:pt idx="0">
                  <c:v>CHAMPAGNE E.NICOLAS BRUT 1CT X 750ML</c:v>
                </c:pt>
                <c:pt idx="1">
                  <c:v>CHAMPAGNE NICOLAS 1ERE CUVEE 1CT X 750ML</c:v>
                </c:pt>
                <c:pt idx="2">
                  <c:v>1/2 CHAMPAGNE NICOLAS 1ERE CUV 1CT X 375ML</c:v>
                </c:pt>
                <c:pt idx="3">
                  <c:v>MG CHAMPAGNE E.NICOLAS BRUT 1CT X 1500ML</c:v>
                </c:pt>
                <c:pt idx="4">
                  <c:v>CHAMPAGNE NICOLAS BIO NAT 2017 1CT X 750ML</c:v>
                </c:pt>
                <c:pt idx="5">
                  <c:v>MG CHAMPAGNE NICOLAS 1ERE CUVE 1CT X 1500ML</c:v>
                </c:pt>
                <c:pt idx="6">
                  <c:v>CHAMPAGNE NICOLAS 1ERE CUV ETU 1CT X 750ML</c:v>
                </c:pt>
                <c:pt idx="7">
                  <c:v>MG CHAMPAGNE NICOLAS BRUT 1CT X 1500ML</c:v>
                </c:pt>
                <c:pt idx="8">
                  <c:v>1/2 CHAMPAGNE NICOLAS 1E C BS 1CT X 375ML</c:v>
                </c:pt>
              </c:strCache>
            </c:strRef>
          </c:cat>
          <c:val>
            <c:numRef>
              <c:f>Sheet1!$D$2:$D$10</c:f>
              <c:numCache>
                <c:formatCode>General</c:formatCode>
                <c:ptCount val="9"/>
                <c:pt idx="0">
                  <c:v>6289.38</c:v>
                </c:pt>
                <c:pt idx="1">
                  <c:v>361.03296703296701</c:v>
                </c:pt>
                <c:pt idx="2">
                  <c:v>364.95555555555558</c:v>
                </c:pt>
                <c:pt idx="3">
                  <c:v>461.28571428571428</c:v>
                </c:pt>
                <c:pt idx="4">
                  <c:v>378.90476190476193</c:v>
                </c:pt>
                <c:pt idx="5">
                  <c:v>409.58333333333331</c:v>
                </c:pt>
                <c:pt idx="6">
                  <c:v>130.33333333333334</c:v>
                </c:pt>
                <c:pt idx="7">
                  <c:v>41</c:v>
                </c:pt>
                <c:pt idx="8">
                  <c:v>21</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10</c:f>
              <c:strCache>
                <c:ptCount val="9"/>
                <c:pt idx="0">
                  <c:v>CHAMPAGNE E.NICOLAS BRUT 1CT X 750ML</c:v>
                </c:pt>
                <c:pt idx="1">
                  <c:v>CHAMPAGNE NICOLAS 1ERE CUVEE 1CT X 750ML</c:v>
                </c:pt>
                <c:pt idx="2">
                  <c:v>1/2 CHAMPAGNE NICOLAS 1ERE CUV 1CT X 375ML</c:v>
                </c:pt>
                <c:pt idx="3">
                  <c:v>MG CHAMPAGNE E.NICOLAS BRUT 1CT X 1500ML</c:v>
                </c:pt>
                <c:pt idx="4">
                  <c:v>CHAMPAGNE NICOLAS BIO NAT 2017 1CT X 750ML</c:v>
                </c:pt>
                <c:pt idx="5">
                  <c:v>MG CHAMPAGNE NICOLAS 1ERE CUVE 1CT X 1500ML</c:v>
                </c:pt>
                <c:pt idx="6">
                  <c:v>CHAMPAGNE NICOLAS 1ERE CUV ETU 1CT X 750ML</c:v>
                </c:pt>
                <c:pt idx="7">
                  <c:v>CHAMPAGNE NICOLAS BIO 2018 1CT X 750ML</c:v>
                </c:pt>
                <c:pt idx="8">
                  <c:v>1/2 CHAMPAGNE NICOLAS 1E C BS 1CT X 375ML</c:v>
                </c:pt>
              </c:strCache>
            </c:strRef>
          </c:cat>
          <c:val>
            <c:numRef>
              <c:f>Sheet1!$B$2:$B$10</c:f>
              <c:numCache>
                <c:formatCode>General</c:formatCode>
                <c:ptCount val="9"/>
                <c:pt idx="0">
                  <c:v>1</c:v>
                </c:pt>
                <c:pt idx="1">
                  <c:v>0.77</c:v>
                </c:pt>
                <c:pt idx="2">
                  <c:v>0.36</c:v>
                </c:pt>
                <c:pt idx="3">
                  <c:v>0.17</c:v>
                </c:pt>
                <c:pt idx="4">
                  <c:v>0.18</c:v>
                </c:pt>
                <c:pt idx="5">
                  <c:v>0.06</c:v>
                </c:pt>
                <c:pt idx="6">
                  <c:v>0.16</c:v>
                </c:pt>
                <c:pt idx="7">
                  <c:v>0.02</c:v>
                </c:pt>
                <c:pt idx="8">
                  <c:v>0.01</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7ECAC4"/>
              </a:solidFill>
            </c:spPr>
            <c:extLst>
              <c:ext xmlns:c16="http://schemas.microsoft.com/office/drawing/2014/chart" uri="{C3380CC4-5D6E-409C-BE32-E72D297353CC}">
                <c16:uniqueId val="{00000006-D8F4-40C6-A5E0-DB4B53CFB1F3}"/>
              </c:ext>
            </c:extLst>
          </c:dPt>
          <c:dPt>
            <c:idx val="1"/>
            <c:invertIfNegative val="0"/>
            <c:bubble3D val="0"/>
            <c:spPr>
              <a:solidFill>
                <a:srgbClr val="7ECAC4"/>
              </a:solidFill>
            </c:spPr>
            <c:extLst>
              <c:ext xmlns:c16="http://schemas.microsoft.com/office/drawing/2014/chart" uri="{C3380CC4-5D6E-409C-BE32-E72D297353CC}">
                <c16:uniqueId val="{00000008-D8F4-40C6-A5E0-DB4B53CFB1F3}"/>
              </c:ext>
            </c:extLst>
          </c:dPt>
          <c:dPt>
            <c:idx val="2"/>
            <c:invertIfNegative val="0"/>
            <c:bubble3D val="0"/>
            <c:spPr>
              <a:solidFill>
                <a:srgbClr val="AEABAB"/>
              </a:solidFill>
            </c:spPr>
            <c:extLst>
              <c:ext xmlns:c16="http://schemas.microsoft.com/office/drawing/2014/chart" uri="{C3380CC4-5D6E-409C-BE32-E72D297353CC}">
                <c16:uniqueId val="{00000006-E902-46E2-9A54-39A26B3DFDC1}"/>
              </c:ext>
            </c:extLst>
          </c:dPt>
          <c:dPt>
            <c:idx val="3"/>
            <c:invertIfNegative val="0"/>
            <c:bubble3D val="0"/>
            <c:spPr>
              <a:solidFill>
                <a:srgbClr val="AEABAB"/>
              </a:solidFill>
            </c:spPr>
            <c:extLst>
              <c:ext xmlns:c16="http://schemas.microsoft.com/office/drawing/2014/chart" uri="{C3380CC4-5D6E-409C-BE32-E72D297353CC}">
                <c16:uniqueId val="{00000007-E902-46E2-9A54-39A26B3DFDC1}"/>
              </c:ext>
            </c:extLst>
          </c:dPt>
          <c:dPt>
            <c:idx val="4"/>
            <c:invertIfNegative val="1"/>
            <c:bubble3D val="0"/>
            <c:spPr>
              <a:solidFill>
                <a:srgbClr val="AEABAB"/>
              </a:solidFill>
            </c:spPr>
            <c:extLst>
              <c:ext xmlns:c16="http://schemas.microsoft.com/office/drawing/2014/chart" uri="{C3380CC4-5D6E-409C-BE32-E72D297353CC}">
                <c16:uniqueId val="{0000000B-FA3E-4872-B6E1-C4ABDF5766E2}"/>
              </c:ext>
            </c:extLst>
          </c:dPt>
          <c:dPt>
            <c:idx val="5"/>
            <c:invertIfNegative val="1"/>
            <c:bubble3D val="0"/>
            <c:spPr>
              <a:solidFill>
                <a:srgbClr val="AEABAB"/>
              </a:solidFill>
            </c:spPr>
            <c:extLst>
              <c:ext xmlns:c16="http://schemas.microsoft.com/office/drawing/2014/chart" uri="{C3380CC4-5D6E-409C-BE32-E72D297353CC}">
                <c16:uniqueId val="{0000000D-FA3E-4872-B6E1-C4ABDF5766E2}"/>
              </c:ext>
            </c:extLst>
          </c:dPt>
          <c:dPt>
            <c:idx val="6"/>
            <c:invertIfNegative val="1"/>
            <c:bubble3D val="0"/>
            <c:spPr>
              <a:solidFill>
                <a:srgbClr val="AEABAB"/>
              </a:solidFill>
            </c:spPr>
            <c:extLst>
              <c:ext xmlns:c16="http://schemas.microsoft.com/office/drawing/2014/chart" uri="{C3380CC4-5D6E-409C-BE32-E72D297353CC}">
                <c16:uniqueId val="{0000000F-FA3E-4872-B6E1-C4ABDF5766E2}"/>
              </c:ext>
            </c:extLst>
          </c:dPt>
          <c:dPt>
            <c:idx val="7"/>
            <c:invertIfNegative val="1"/>
            <c:bubble3D val="0"/>
            <c:spPr>
              <a:solidFill>
                <a:srgbClr val="AEABAB"/>
              </a:solidFill>
            </c:spPr>
            <c:extLst>
              <c:ext xmlns:c16="http://schemas.microsoft.com/office/drawing/2014/chart" uri="{C3380CC4-5D6E-409C-BE32-E72D297353CC}">
                <c16:uniqueId val="{00000011-FA3E-4872-B6E1-C4ABDF5766E2}"/>
              </c:ext>
            </c:extLst>
          </c:dPt>
          <c:dPt>
            <c:idx val="8"/>
            <c:invertIfNegative val="1"/>
            <c:bubble3D val="0"/>
            <c:spPr>
              <a:solidFill>
                <a:srgbClr val="AEABAB"/>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10</c:f>
              <c:strCache>
                <c:ptCount val="9"/>
                <c:pt idx="0">
                  <c:v>CHAMPAGNE E.NICOLAS BRUT 1CT X 750ML</c:v>
                </c:pt>
                <c:pt idx="1">
                  <c:v>CHAMPAGNE NICOLAS 1ERE CUVEE 1CT X 750ML</c:v>
                </c:pt>
                <c:pt idx="2">
                  <c:v>1/2 CHAMPAGNE NICOLAS 1ERE CUV 1CT X 375ML</c:v>
                </c:pt>
                <c:pt idx="3">
                  <c:v>MG CHAMPAGNE E.NICOLAS BRUT 1CT X 1500ML</c:v>
                </c:pt>
                <c:pt idx="4">
                  <c:v>CHAMPAGNE NICOLAS BIO NAT 2017 1CT X 750ML</c:v>
                </c:pt>
                <c:pt idx="5">
                  <c:v>MG CHAMPAGNE NICOLAS 1ERE CUVE 1CT X 1500ML</c:v>
                </c:pt>
                <c:pt idx="6">
                  <c:v>CHAMPAGNE NICOLAS 1ERE CUV ETU 1CT X 750ML</c:v>
                </c:pt>
                <c:pt idx="7">
                  <c:v>CHAMPAGNE NICOLAS BIO 2018 1CT X 750ML</c:v>
                </c:pt>
                <c:pt idx="8">
                  <c:v>1/2 CHAMPAGNE NICOLAS 1E C BS 1CT X 375ML</c:v>
                </c:pt>
              </c:strCache>
            </c:strRef>
          </c:cat>
          <c:val>
            <c:numRef>
              <c:f>Sheet1!$C$2:$C$10</c:f>
              <c:numCache>
                <c:formatCode>General</c:formatCode>
                <c:ptCount val="9"/>
                <c:pt idx="0">
                  <c:v>0.87950238600432873</c:v>
                </c:pt>
                <c:pt idx="1">
                  <c:v>0.93501943689002354</c:v>
                </c:pt>
                <c:pt idx="2">
                  <c:v>0.95622836425685009</c:v>
                </c:pt>
                <c:pt idx="3">
                  <c:v>0.97663871813687164</c:v>
                </c:pt>
                <c:pt idx="4">
                  <c:v>0.98898560809566605</c:v>
                </c:pt>
                <c:pt idx="5">
                  <c:v>0.99733685458282173</c:v>
                </c:pt>
                <c:pt idx="6">
                  <c:v>0.99993800182663284</c:v>
                </c:pt>
                <c:pt idx="7">
                  <c:v>0.99998056773670585</c:v>
                </c:pt>
                <c:pt idx="8">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10</c:f>
              <c:strCache>
                <c:ptCount val="9"/>
                <c:pt idx="0">
                  <c:v>CHAMPAGNE E.NICOLAS BRUT 1CT X 750ML</c:v>
                </c:pt>
                <c:pt idx="1">
                  <c:v>CHAMPAGNE NICOLAS 1ERE CUVEE 1CT X 750ML</c:v>
                </c:pt>
                <c:pt idx="2">
                  <c:v>1/2 CHAMPAGNE NICOLAS 1ERE CUV 1CT X 375ML</c:v>
                </c:pt>
                <c:pt idx="3">
                  <c:v>MG CHAMPAGNE E.NICOLAS BRUT 1CT X 1500ML</c:v>
                </c:pt>
                <c:pt idx="4">
                  <c:v>CHAMPAGNE NICOLAS BIO NAT 2017 1CT X 750ML</c:v>
                </c:pt>
                <c:pt idx="5">
                  <c:v>MG CHAMPAGNE NICOLAS 1ERE CUVE 1CT X 1500ML</c:v>
                </c:pt>
                <c:pt idx="6">
                  <c:v>CHAMPAGNE NICOLAS 1ERE CUV ETU 1CT X 750ML</c:v>
                </c:pt>
                <c:pt idx="7">
                  <c:v>CHAMPAGNE NICOLAS BIO 2018 1CT X 750ML</c:v>
                </c:pt>
                <c:pt idx="8">
                  <c:v>1/2 CHAMPAGNE NICOLAS 1E C BS 1CT X 375ML</c:v>
                </c:pt>
              </c:strCache>
            </c:strRef>
          </c:cat>
          <c:val>
            <c:numRef>
              <c:f>Sheet1!$D$2:$D$10</c:f>
              <c:numCache>
                <c:formatCode>General</c:formatCode>
                <c:ptCount val="9"/>
                <c:pt idx="0">
                  <c:v>9504.58</c:v>
                </c:pt>
                <c:pt idx="1">
                  <c:v>779.16883116883116</c:v>
                </c:pt>
                <c:pt idx="2">
                  <c:v>636.66666666666663</c:v>
                </c:pt>
                <c:pt idx="3">
                  <c:v>1297.4705882352941</c:v>
                </c:pt>
                <c:pt idx="4">
                  <c:v>741.27777777777783</c:v>
                </c:pt>
                <c:pt idx="5">
                  <c:v>1504.1666666666667</c:v>
                </c:pt>
                <c:pt idx="6">
                  <c:v>175.6875</c:v>
                </c:pt>
                <c:pt idx="7">
                  <c:v>23</c:v>
                </c:pt>
                <c:pt idx="8">
                  <c:v>21</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9</c:f>
              <c:strCache>
                <c:ptCount val="8"/>
                <c:pt idx="0">
                  <c:v>CHAMPAGNE E.NICOLAS BRUT 1CT X 750ML</c:v>
                </c:pt>
                <c:pt idx="1">
                  <c:v>CHAMPAGNE NICOLAS 1ERE CUVEE 1CT X 750ML</c:v>
                </c:pt>
                <c:pt idx="2">
                  <c:v>1/2 CHAMPAGNE NICOLAS 1ERE CUV 1CT X 375ML</c:v>
                </c:pt>
                <c:pt idx="3">
                  <c:v>MG CHAMPAGNE E.NICOLAS BRUT 1CT X 1500ML</c:v>
                </c:pt>
                <c:pt idx="4">
                  <c:v>CHAMPAGNE NICOLAS BIO NAT 2017 1CT X 750ML</c:v>
                </c:pt>
                <c:pt idx="5">
                  <c:v>MG CHAMPAGNE NICOLAS 1ERE CUVE 1CT X 1500ML</c:v>
                </c:pt>
                <c:pt idx="6">
                  <c:v>CHAMPAGNE NICOLAS 1ERE CUV ETU 1CT X 750ML</c:v>
                </c:pt>
                <c:pt idx="7">
                  <c:v>1/2 CHAMPAGNE NICOLAS 1E C BS 1CT X 375ML</c:v>
                </c:pt>
              </c:strCache>
            </c:strRef>
          </c:cat>
          <c:val>
            <c:numRef>
              <c:f>Sheet1!$B$2:$B$9</c:f>
              <c:numCache>
                <c:formatCode>General</c:formatCode>
                <c:ptCount val="8"/>
                <c:pt idx="0">
                  <c:v>0.99</c:v>
                </c:pt>
                <c:pt idx="1">
                  <c:v>0.62</c:v>
                </c:pt>
                <c:pt idx="2">
                  <c:v>0.25</c:v>
                </c:pt>
                <c:pt idx="3">
                  <c:v>0.15</c:v>
                </c:pt>
                <c:pt idx="4">
                  <c:v>0.18</c:v>
                </c:pt>
                <c:pt idx="5">
                  <c:v>0.06</c:v>
                </c:pt>
                <c:pt idx="6">
                  <c:v>0.15</c:v>
                </c:pt>
                <c:pt idx="7">
                  <c:v>0.01</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7ECAC4"/>
              </a:solidFill>
            </c:spPr>
            <c:extLst>
              <c:ext xmlns:c16="http://schemas.microsoft.com/office/drawing/2014/chart" uri="{C3380CC4-5D6E-409C-BE32-E72D297353CC}">
                <c16:uniqueId val="{00000006-D8F4-40C6-A5E0-DB4B53CFB1F3}"/>
              </c:ext>
            </c:extLst>
          </c:dPt>
          <c:dPt>
            <c:idx val="1"/>
            <c:invertIfNegative val="0"/>
            <c:bubble3D val="0"/>
            <c:spPr>
              <a:solidFill>
                <a:srgbClr val="7ECAC4"/>
              </a:solidFill>
            </c:spPr>
            <c:extLst>
              <c:ext xmlns:c16="http://schemas.microsoft.com/office/drawing/2014/chart" uri="{C3380CC4-5D6E-409C-BE32-E72D297353CC}">
                <c16:uniqueId val="{00000008-D8F4-40C6-A5E0-DB4B53CFB1F3}"/>
              </c:ext>
            </c:extLst>
          </c:dPt>
          <c:dPt>
            <c:idx val="2"/>
            <c:invertIfNegative val="0"/>
            <c:bubble3D val="0"/>
            <c:spPr>
              <a:solidFill>
                <a:srgbClr val="AEABAB"/>
              </a:solidFill>
            </c:spPr>
            <c:extLst>
              <c:ext xmlns:c16="http://schemas.microsoft.com/office/drawing/2014/chart" uri="{C3380CC4-5D6E-409C-BE32-E72D297353CC}">
                <c16:uniqueId val="{00000006-E902-46E2-9A54-39A26B3DFDC1}"/>
              </c:ext>
            </c:extLst>
          </c:dPt>
          <c:dPt>
            <c:idx val="3"/>
            <c:invertIfNegative val="0"/>
            <c:bubble3D val="0"/>
            <c:spPr>
              <a:solidFill>
                <a:srgbClr val="AEABAB"/>
              </a:solidFill>
            </c:spPr>
            <c:extLst>
              <c:ext xmlns:c16="http://schemas.microsoft.com/office/drawing/2014/chart" uri="{C3380CC4-5D6E-409C-BE32-E72D297353CC}">
                <c16:uniqueId val="{00000007-E902-46E2-9A54-39A26B3DFDC1}"/>
              </c:ext>
            </c:extLst>
          </c:dPt>
          <c:dPt>
            <c:idx val="4"/>
            <c:invertIfNegative val="1"/>
            <c:bubble3D val="0"/>
            <c:spPr>
              <a:solidFill>
                <a:srgbClr val="AEABAB"/>
              </a:solidFill>
            </c:spPr>
            <c:extLst>
              <c:ext xmlns:c16="http://schemas.microsoft.com/office/drawing/2014/chart" uri="{C3380CC4-5D6E-409C-BE32-E72D297353CC}">
                <c16:uniqueId val="{0000000B-FA3E-4872-B6E1-C4ABDF5766E2}"/>
              </c:ext>
            </c:extLst>
          </c:dPt>
          <c:dPt>
            <c:idx val="5"/>
            <c:invertIfNegative val="1"/>
            <c:bubble3D val="0"/>
            <c:spPr>
              <a:solidFill>
                <a:srgbClr val="AEABAB"/>
              </a:solidFill>
            </c:spPr>
            <c:extLst>
              <c:ext xmlns:c16="http://schemas.microsoft.com/office/drawing/2014/chart" uri="{C3380CC4-5D6E-409C-BE32-E72D297353CC}">
                <c16:uniqueId val="{0000000D-FA3E-4872-B6E1-C4ABDF5766E2}"/>
              </c:ext>
            </c:extLst>
          </c:dPt>
          <c:dPt>
            <c:idx val="6"/>
            <c:invertIfNegative val="1"/>
            <c:bubble3D val="0"/>
            <c:spPr>
              <a:solidFill>
                <a:srgbClr val="AEABAB"/>
              </a:solidFill>
            </c:spPr>
            <c:extLst>
              <c:ext xmlns:c16="http://schemas.microsoft.com/office/drawing/2014/chart" uri="{C3380CC4-5D6E-409C-BE32-E72D297353CC}">
                <c16:uniqueId val="{0000000F-FA3E-4872-B6E1-C4ABDF5766E2}"/>
              </c:ext>
            </c:extLst>
          </c:dPt>
          <c:dPt>
            <c:idx val="7"/>
            <c:invertIfNegative val="1"/>
            <c:bubble3D val="0"/>
            <c:spPr>
              <a:solidFill>
                <a:srgbClr val="AEABAB"/>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9</c:f>
              <c:strCache>
                <c:ptCount val="8"/>
                <c:pt idx="0">
                  <c:v>CHAMPAGNE E.NICOLAS BRUT 1CT X 750ML</c:v>
                </c:pt>
                <c:pt idx="1">
                  <c:v>CHAMPAGNE NICOLAS 1ERE CUVEE 1CT X 750ML</c:v>
                </c:pt>
                <c:pt idx="2">
                  <c:v>1/2 CHAMPAGNE NICOLAS 1ERE CUV 1CT X 375ML</c:v>
                </c:pt>
                <c:pt idx="3">
                  <c:v>MG CHAMPAGNE E.NICOLAS BRUT 1CT X 1500ML</c:v>
                </c:pt>
                <c:pt idx="4">
                  <c:v>CHAMPAGNE NICOLAS BIO NAT 2017 1CT X 750ML</c:v>
                </c:pt>
                <c:pt idx="5">
                  <c:v>MG CHAMPAGNE NICOLAS 1ERE CUVE 1CT X 1500ML</c:v>
                </c:pt>
                <c:pt idx="6">
                  <c:v>CHAMPAGNE NICOLAS 1ERE CUV ETU 1CT X 750ML</c:v>
                </c:pt>
                <c:pt idx="7">
                  <c:v>1/2 CHAMPAGNE NICOLAS 1E C BS 1CT X 375ML</c:v>
                </c:pt>
              </c:strCache>
            </c:strRef>
          </c:cat>
          <c:val>
            <c:numRef>
              <c:f>Sheet1!$C$2:$C$9</c:f>
              <c:numCache>
                <c:formatCode>General</c:formatCode>
                <c:ptCount val="8"/>
                <c:pt idx="0">
                  <c:v>0.87441906705762851</c:v>
                </c:pt>
                <c:pt idx="1">
                  <c:v>0.92745285459667681</c:v>
                </c:pt>
                <c:pt idx="2">
                  <c:v>0.95021943693823185</c:v>
                </c:pt>
                <c:pt idx="3">
                  <c:v>0.97091861668487323</c:v>
                </c:pt>
                <c:pt idx="4">
                  <c:v>0.98700027788957245</c:v>
                </c:pt>
                <c:pt idx="5">
                  <c:v>0.99526749266946479</c:v>
                </c:pt>
                <c:pt idx="6">
                  <c:v>0.9998418904156845</c:v>
                </c:pt>
                <c:pt idx="7">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9</c:f>
              <c:strCache>
                <c:ptCount val="8"/>
                <c:pt idx="0">
                  <c:v>CHAMPAGNE E.NICOLAS BRUT 1CT X 750ML</c:v>
                </c:pt>
                <c:pt idx="1">
                  <c:v>CHAMPAGNE NICOLAS 1ERE CUVEE 1CT X 750ML</c:v>
                </c:pt>
                <c:pt idx="2">
                  <c:v>1/2 CHAMPAGNE NICOLAS 1ERE CUV 1CT X 375ML</c:v>
                </c:pt>
                <c:pt idx="3">
                  <c:v>MG CHAMPAGNE E.NICOLAS BRUT 1CT X 1500ML</c:v>
                </c:pt>
                <c:pt idx="4">
                  <c:v>CHAMPAGNE NICOLAS BIO NAT 2017 1CT X 750ML</c:v>
                </c:pt>
                <c:pt idx="5">
                  <c:v>MG CHAMPAGNE NICOLAS 1ERE CUVE 1CT X 1500ML</c:v>
                </c:pt>
                <c:pt idx="6">
                  <c:v>CHAMPAGNE NICOLAS 1ERE CUV ETU 1CT X 750ML</c:v>
                </c:pt>
                <c:pt idx="7">
                  <c:v>1/2 CHAMPAGNE NICOLAS 1E C BS 1CT X 375ML</c:v>
                </c:pt>
              </c:strCache>
            </c:strRef>
          </c:cat>
          <c:val>
            <c:numRef>
              <c:f>Sheet1!$D$2:$D$9</c:f>
              <c:numCache>
                <c:formatCode>General</c:formatCode>
                <c:ptCount val="8"/>
                <c:pt idx="0">
                  <c:v>7373.9494949494947</c:v>
                </c:pt>
                <c:pt idx="1">
                  <c:v>714.12903225806451</c:v>
                </c:pt>
                <c:pt idx="2">
                  <c:v>760.28</c:v>
                </c:pt>
                <c:pt idx="3">
                  <c:v>1152.0666666666666</c:v>
                </c:pt>
                <c:pt idx="4">
                  <c:v>745.88888888888891</c:v>
                </c:pt>
                <c:pt idx="5">
                  <c:v>1150.3333333333333</c:v>
                </c:pt>
                <c:pt idx="6">
                  <c:v>254.6</c:v>
                </c:pt>
                <c:pt idx="7">
                  <c:v>132</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9</c:f>
              <c:strCache>
                <c:ptCount val="8"/>
                <c:pt idx="0">
                  <c:v>CHAMPAGNE E.NICOLAS BRUT 1CT X 750ML</c:v>
                </c:pt>
                <c:pt idx="1">
                  <c:v>CHAMPAGNE NICOLAS 1ERE CUVEE 1CT X 750ML</c:v>
                </c:pt>
                <c:pt idx="2">
                  <c:v>MG CHAMPAGNE E.NICOLAS BRUT 1CT X 1500ML</c:v>
                </c:pt>
                <c:pt idx="3">
                  <c:v>1/2 CHAMPAGNE NICOLAS 1ERE CUV 1CT X 375ML</c:v>
                </c:pt>
                <c:pt idx="4">
                  <c:v>CHAMPAGNE NICOLAS BIO NAT 2017 1CT X 750ML</c:v>
                </c:pt>
                <c:pt idx="5">
                  <c:v>MG CHAMPAGNE NICOLAS 1ERE CUVE 1CT X 1500ML</c:v>
                </c:pt>
                <c:pt idx="6">
                  <c:v>CHAMPAGNE NICOLAS 1ERE CUV ETU 1CT X 750ML</c:v>
                </c:pt>
                <c:pt idx="7">
                  <c:v>1/2 CHAMPAGNE NICOLAS 1E C BS 1CT X 375ML</c:v>
                </c:pt>
              </c:strCache>
            </c:strRef>
          </c:cat>
          <c:val>
            <c:numRef>
              <c:f>Sheet1!$B$2:$B$9</c:f>
              <c:numCache>
                <c:formatCode>General</c:formatCode>
                <c:ptCount val="8"/>
                <c:pt idx="0">
                  <c:v>0.97</c:v>
                </c:pt>
                <c:pt idx="1">
                  <c:v>0.55000000000000004</c:v>
                </c:pt>
                <c:pt idx="2">
                  <c:v>0.15</c:v>
                </c:pt>
                <c:pt idx="3">
                  <c:v>0.22</c:v>
                </c:pt>
                <c:pt idx="4">
                  <c:v>0.1</c:v>
                </c:pt>
                <c:pt idx="5">
                  <c:v>0.06</c:v>
                </c:pt>
                <c:pt idx="6">
                  <c:v>0.13</c:v>
                </c:pt>
                <c:pt idx="7">
                  <c:v>0.01</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7ECAC4"/>
              </a:solidFill>
            </c:spPr>
            <c:extLst>
              <c:ext xmlns:c16="http://schemas.microsoft.com/office/drawing/2014/chart" uri="{C3380CC4-5D6E-409C-BE32-E72D297353CC}">
                <c16:uniqueId val="{00000006-D8F4-40C6-A5E0-DB4B53CFB1F3}"/>
              </c:ext>
            </c:extLst>
          </c:dPt>
          <c:dPt>
            <c:idx val="1"/>
            <c:invertIfNegative val="0"/>
            <c:bubble3D val="0"/>
            <c:spPr>
              <a:solidFill>
                <a:srgbClr val="7ECAC4"/>
              </a:solidFill>
            </c:spPr>
            <c:extLst>
              <c:ext xmlns:c16="http://schemas.microsoft.com/office/drawing/2014/chart" uri="{C3380CC4-5D6E-409C-BE32-E72D297353CC}">
                <c16:uniqueId val="{00000008-D8F4-40C6-A5E0-DB4B53CFB1F3}"/>
              </c:ext>
            </c:extLst>
          </c:dPt>
          <c:dPt>
            <c:idx val="2"/>
            <c:invertIfNegative val="0"/>
            <c:bubble3D val="0"/>
            <c:spPr>
              <a:solidFill>
                <a:srgbClr val="AEABAB"/>
              </a:solidFill>
            </c:spPr>
            <c:extLst>
              <c:ext xmlns:c16="http://schemas.microsoft.com/office/drawing/2014/chart" uri="{C3380CC4-5D6E-409C-BE32-E72D297353CC}">
                <c16:uniqueId val="{00000006-E902-46E2-9A54-39A26B3DFDC1}"/>
              </c:ext>
            </c:extLst>
          </c:dPt>
          <c:dPt>
            <c:idx val="3"/>
            <c:invertIfNegative val="0"/>
            <c:bubble3D val="0"/>
            <c:spPr>
              <a:solidFill>
                <a:srgbClr val="AEABAB"/>
              </a:solidFill>
            </c:spPr>
            <c:extLst>
              <c:ext xmlns:c16="http://schemas.microsoft.com/office/drawing/2014/chart" uri="{C3380CC4-5D6E-409C-BE32-E72D297353CC}">
                <c16:uniqueId val="{00000007-E902-46E2-9A54-39A26B3DFDC1}"/>
              </c:ext>
            </c:extLst>
          </c:dPt>
          <c:dPt>
            <c:idx val="4"/>
            <c:invertIfNegative val="1"/>
            <c:bubble3D val="0"/>
            <c:spPr>
              <a:solidFill>
                <a:srgbClr val="AEABAB"/>
              </a:solidFill>
            </c:spPr>
            <c:extLst>
              <c:ext xmlns:c16="http://schemas.microsoft.com/office/drawing/2014/chart" uri="{C3380CC4-5D6E-409C-BE32-E72D297353CC}">
                <c16:uniqueId val="{0000000B-FA3E-4872-B6E1-C4ABDF5766E2}"/>
              </c:ext>
            </c:extLst>
          </c:dPt>
          <c:dPt>
            <c:idx val="5"/>
            <c:invertIfNegative val="1"/>
            <c:bubble3D val="0"/>
            <c:spPr>
              <a:solidFill>
                <a:srgbClr val="AEABAB"/>
              </a:solidFill>
            </c:spPr>
            <c:extLst>
              <c:ext xmlns:c16="http://schemas.microsoft.com/office/drawing/2014/chart" uri="{C3380CC4-5D6E-409C-BE32-E72D297353CC}">
                <c16:uniqueId val="{0000000D-FA3E-4872-B6E1-C4ABDF5766E2}"/>
              </c:ext>
            </c:extLst>
          </c:dPt>
          <c:dPt>
            <c:idx val="6"/>
            <c:invertIfNegative val="1"/>
            <c:bubble3D val="0"/>
            <c:spPr>
              <a:solidFill>
                <a:srgbClr val="AEABAB"/>
              </a:solidFill>
            </c:spPr>
            <c:extLst>
              <c:ext xmlns:c16="http://schemas.microsoft.com/office/drawing/2014/chart" uri="{C3380CC4-5D6E-409C-BE32-E72D297353CC}">
                <c16:uniqueId val="{0000000F-FA3E-4872-B6E1-C4ABDF5766E2}"/>
              </c:ext>
            </c:extLst>
          </c:dPt>
          <c:dPt>
            <c:idx val="7"/>
            <c:invertIfNegative val="1"/>
            <c:bubble3D val="0"/>
            <c:spPr>
              <a:solidFill>
                <a:srgbClr val="AEABAB"/>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9</c:f>
              <c:strCache>
                <c:ptCount val="8"/>
                <c:pt idx="0">
                  <c:v>CHAMPAGNE E.NICOLAS BRUT 1CT X 750ML</c:v>
                </c:pt>
                <c:pt idx="1">
                  <c:v>CHAMPAGNE NICOLAS 1ERE CUVEE 1CT X 750ML</c:v>
                </c:pt>
                <c:pt idx="2">
                  <c:v>MG CHAMPAGNE E.NICOLAS BRUT 1CT X 1500ML</c:v>
                </c:pt>
                <c:pt idx="3">
                  <c:v>1/2 CHAMPAGNE NICOLAS 1ERE CUV 1CT X 375ML</c:v>
                </c:pt>
                <c:pt idx="4">
                  <c:v>CHAMPAGNE NICOLAS BIO NAT 2017 1CT X 750ML</c:v>
                </c:pt>
                <c:pt idx="5">
                  <c:v>MG CHAMPAGNE NICOLAS 1ERE CUVE 1CT X 1500ML</c:v>
                </c:pt>
                <c:pt idx="6">
                  <c:v>CHAMPAGNE NICOLAS 1ERE CUV ETU 1CT X 750ML</c:v>
                </c:pt>
                <c:pt idx="7">
                  <c:v>1/2 CHAMPAGNE NICOLAS 1E C BS 1CT X 375ML</c:v>
                </c:pt>
              </c:strCache>
            </c:strRef>
          </c:cat>
          <c:val>
            <c:numRef>
              <c:f>Sheet1!$C$2:$C$9</c:f>
              <c:numCache>
                <c:formatCode>General</c:formatCode>
                <c:ptCount val="8"/>
                <c:pt idx="0">
                  <c:v>0.88631697000161225</c:v>
                </c:pt>
                <c:pt idx="1">
                  <c:v>0.92922922258367391</c:v>
                </c:pt>
                <c:pt idx="2">
                  <c:v>0.95028405049365028</c:v>
                </c:pt>
                <c:pt idx="3">
                  <c:v>0.97115393734766065</c:v>
                </c:pt>
                <c:pt idx="4">
                  <c:v>0.98541099593129666</c:v>
                </c:pt>
                <c:pt idx="5">
                  <c:v>0.99386019404584636</c:v>
                </c:pt>
                <c:pt idx="6">
                  <c:v>0.99976645264086339</c:v>
                </c:pt>
                <c:pt idx="7">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9</c:f>
              <c:strCache>
                <c:ptCount val="8"/>
                <c:pt idx="0">
                  <c:v>CHAMPAGNE E.NICOLAS BRUT 1CT X 750ML</c:v>
                </c:pt>
                <c:pt idx="1">
                  <c:v>CHAMPAGNE NICOLAS 1ERE CUVEE 1CT X 750ML</c:v>
                </c:pt>
                <c:pt idx="2">
                  <c:v>MG CHAMPAGNE E.NICOLAS BRUT 1CT X 1500ML</c:v>
                </c:pt>
                <c:pt idx="3">
                  <c:v>1/2 CHAMPAGNE NICOLAS 1ERE CUV 1CT X 375ML</c:v>
                </c:pt>
                <c:pt idx="4">
                  <c:v>CHAMPAGNE NICOLAS BIO NAT 2017 1CT X 750ML</c:v>
                </c:pt>
                <c:pt idx="5">
                  <c:v>MG CHAMPAGNE NICOLAS 1ERE CUVE 1CT X 1500ML</c:v>
                </c:pt>
                <c:pt idx="6">
                  <c:v>CHAMPAGNE NICOLAS 1ERE CUV ETU 1CT X 750ML</c:v>
                </c:pt>
                <c:pt idx="7">
                  <c:v>1/2 CHAMPAGNE NICOLAS 1E C BS 1CT X 375ML</c:v>
                </c:pt>
              </c:strCache>
            </c:strRef>
          </c:cat>
          <c:val>
            <c:numRef>
              <c:f>Sheet1!$D$2:$D$9</c:f>
              <c:numCache>
                <c:formatCode>General</c:formatCode>
                <c:ptCount val="8"/>
                <c:pt idx="0">
                  <c:v>7707.4123711340208</c:v>
                </c:pt>
                <c:pt idx="1">
                  <c:v>658.12727272727261</c:v>
                </c:pt>
                <c:pt idx="2">
                  <c:v>1184</c:v>
                </c:pt>
                <c:pt idx="3">
                  <c:v>800.18181818181813</c:v>
                </c:pt>
                <c:pt idx="4">
                  <c:v>1202.5999999999999</c:v>
                </c:pt>
                <c:pt idx="5">
                  <c:v>1187.8333333333333</c:v>
                </c:pt>
                <c:pt idx="6">
                  <c:v>383.23076923076923</c:v>
                </c:pt>
                <c:pt idx="7">
                  <c:v>197</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c:f>
              <c:strCache>
                <c:ptCount val="3"/>
                <c:pt idx="0">
                  <c:v>CHAMPAGNE NICOLAS 1ER CRU BS 1CT X 750ML</c:v>
                </c:pt>
                <c:pt idx="1">
                  <c:v>CHAMPAGNE NICOLAS 1ER CRU ETUI 1CT X 750ML</c:v>
                </c:pt>
                <c:pt idx="2">
                  <c:v>MG CHAMPAGNE NICOLAS 1E CRU BS 1CT X 1500ML</c:v>
                </c:pt>
              </c:strCache>
            </c:strRef>
          </c:cat>
          <c:val>
            <c:numRef>
              <c:f>Sheet1!$B$2:$B$4</c:f>
              <c:numCache>
                <c:formatCode>General</c:formatCode>
                <c:ptCount val="3"/>
                <c:pt idx="0">
                  <c:v>0.34699999999999998</c:v>
                </c:pt>
                <c:pt idx="1">
                  <c:v>0.189</c:v>
                </c:pt>
                <c:pt idx="2">
                  <c:v>5.7000000000000002E-2</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7ECAC4"/>
              </a:solidFill>
            </c:spPr>
            <c:extLst>
              <c:ext xmlns:c16="http://schemas.microsoft.com/office/drawing/2014/chart" uri="{C3380CC4-5D6E-409C-BE32-E72D297353CC}">
                <c16:uniqueId val="{00000008-D8F4-40C6-A5E0-DB4B53CFB1F3}"/>
              </c:ext>
            </c:extLst>
          </c:dPt>
          <c:dPt>
            <c:idx val="2"/>
            <c:invertIfNegative val="0"/>
            <c:bubble3D val="0"/>
            <c:spPr>
              <a:solidFill>
                <a:srgbClr val="AEABAB"/>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c:f>
              <c:strCache>
                <c:ptCount val="3"/>
                <c:pt idx="0">
                  <c:v>CHAMPAGNE NICOLAS 1ER CRU BS 1CT X 750ML</c:v>
                </c:pt>
                <c:pt idx="1">
                  <c:v>CHAMPAGNE NICOLAS 1ER CRU ETUI 1CT X 750ML</c:v>
                </c:pt>
                <c:pt idx="2">
                  <c:v>MG CHAMPAGNE NICOLAS 1E CRU BS 1CT X 1500ML</c:v>
                </c:pt>
              </c:strCache>
            </c:strRef>
          </c:cat>
          <c:val>
            <c:numRef>
              <c:f>Sheet1!$C$2:$C$4</c:f>
              <c:numCache>
                <c:formatCode>General</c:formatCode>
                <c:ptCount val="3"/>
                <c:pt idx="0">
                  <c:v>0.57589859251434605</c:v>
                </c:pt>
                <c:pt idx="1">
                  <c:v>0.89174065720729723</c:v>
                </c:pt>
                <c:pt idx="2">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4</c:f>
              <c:strCache>
                <c:ptCount val="3"/>
                <c:pt idx="0">
                  <c:v>CHAMPAGNE NICOLAS 1ER CRU BS 1CT X 750ML</c:v>
                </c:pt>
                <c:pt idx="1">
                  <c:v>CHAMPAGNE NICOLAS 1ER CRU ETUI 1CT X 750ML</c:v>
                </c:pt>
                <c:pt idx="2">
                  <c:v>MG CHAMPAGNE NICOLAS 1E CRU BS 1CT X 1500ML</c:v>
                </c:pt>
              </c:strCache>
            </c:strRef>
          </c:cat>
          <c:val>
            <c:numRef>
              <c:f>Sheet1!$D$2:$D$4</c:f>
              <c:numCache>
                <c:formatCode>General</c:formatCode>
                <c:ptCount val="3"/>
                <c:pt idx="0">
                  <c:v>1162.6512968299712</c:v>
                </c:pt>
                <c:pt idx="1">
                  <c:v>1170.6878306878307</c:v>
                </c:pt>
                <c:pt idx="2">
                  <c:v>1330.5263157894738</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c:f>
              <c:strCache>
                <c:ptCount val="3"/>
                <c:pt idx="0">
                  <c:v>CHAMPAGNE NICOLAS 1ER CRU BS 1CT X 750ML</c:v>
                </c:pt>
                <c:pt idx="1">
                  <c:v>CHAMPAGNE NICOLAS 1ER CRU ETUI 1CT X 750ML</c:v>
                </c:pt>
                <c:pt idx="2">
                  <c:v>MG CHAMPAGNE NICOLAS 1E CRU BS 1CT X 1500ML</c:v>
                </c:pt>
              </c:strCache>
            </c:strRef>
          </c:cat>
          <c:val>
            <c:numRef>
              <c:f>Sheet1!$B$2:$B$4</c:f>
              <c:numCache>
                <c:formatCode>General</c:formatCode>
                <c:ptCount val="3"/>
                <c:pt idx="0">
                  <c:v>0.32</c:v>
                </c:pt>
                <c:pt idx="1">
                  <c:v>0.18</c:v>
                </c:pt>
                <c:pt idx="2">
                  <c:v>0.04</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7ECAC4"/>
              </a:solidFill>
            </c:spPr>
            <c:extLst>
              <c:ext xmlns:c16="http://schemas.microsoft.com/office/drawing/2014/chart" uri="{C3380CC4-5D6E-409C-BE32-E72D297353CC}">
                <c16:uniqueId val="{00000008-D8F4-40C6-A5E0-DB4B53CFB1F3}"/>
              </c:ext>
            </c:extLst>
          </c:dPt>
          <c:dPt>
            <c:idx val="2"/>
            <c:invertIfNegative val="0"/>
            <c:bubble3D val="0"/>
            <c:spPr>
              <a:solidFill>
                <a:srgbClr val="AEABAB"/>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c:f>
              <c:strCache>
                <c:ptCount val="3"/>
                <c:pt idx="0">
                  <c:v>CHAMPAGNE NICOLAS 1ER CRU BS 1CT X 750ML</c:v>
                </c:pt>
                <c:pt idx="1">
                  <c:v>CHAMPAGNE NICOLAS 1ER CRU ETUI 1CT X 750ML</c:v>
                </c:pt>
                <c:pt idx="2">
                  <c:v>MG CHAMPAGNE NICOLAS 1E CRU BS 1CT X 1500ML</c:v>
                </c:pt>
              </c:strCache>
            </c:strRef>
          </c:cat>
          <c:val>
            <c:numRef>
              <c:f>Sheet1!$C$2:$C$4</c:f>
              <c:numCache>
                <c:formatCode>General</c:formatCode>
                <c:ptCount val="3"/>
                <c:pt idx="0">
                  <c:v>0.54876656402449575</c:v>
                </c:pt>
                <c:pt idx="1">
                  <c:v>0.85821541016503478</c:v>
                </c:pt>
                <c:pt idx="2">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4</c:f>
              <c:strCache>
                <c:ptCount val="3"/>
                <c:pt idx="0">
                  <c:v>CHAMPAGNE NICOLAS 1ER CRU BS 1CT X 750ML</c:v>
                </c:pt>
                <c:pt idx="1">
                  <c:v>CHAMPAGNE NICOLAS 1ER CRU ETUI 1CT X 750ML</c:v>
                </c:pt>
                <c:pt idx="2">
                  <c:v>MG CHAMPAGNE NICOLAS 1E CRU BS 1CT X 1500ML</c:v>
                </c:pt>
              </c:strCache>
            </c:strRef>
          </c:cat>
          <c:val>
            <c:numRef>
              <c:f>Sheet1!$D$2:$D$4</c:f>
              <c:numCache>
                <c:formatCode>General</c:formatCode>
                <c:ptCount val="3"/>
                <c:pt idx="0">
                  <c:v>495.65625</c:v>
                </c:pt>
                <c:pt idx="1">
                  <c:v>496.88888888888891</c:v>
                </c:pt>
                <c:pt idx="2">
                  <c:v>1024.5</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c:f>
              <c:strCache>
                <c:ptCount val="3"/>
                <c:pt idx="0">
                  <c:v>CHAMPAGNE NICOLAS 1ER CRU BS 1CT X 750ML</c:v>
                </c:pt>
                <c:pt idx="1">
                  <c:v>CHAMPAGNE NICOLAS 1ER CRU ETUI 1CT X 750ML</c:v>
                </c:pt>
                <c:pt idx="2">
                  <c:v>MG CHAMPAGNE NICOLAS 1E CRU BS 1CT X 1500ML</c:v>
                </c:pt>
              </c:strCache>
            </c:strRef>
          </c:cat>
          <c:val>
            <c:numRef>
              <c:f>Sheet1!$B$2:$B$4</c:f>
              <c:numCache>
                <c:formatCode>General</c:formatCode>
                <c:ptCount val="3"/>
                <c:pt idx="0">
                  <c:v>0.46</c:v>
                </c:pt>
                <c:pt idx="1">
                  <c:v>0.11</c:v>
                </c:pt>
                <c:pt idx="2">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7ECAC4"/>
              </a:solidFill>
            </c:spPr>
            <c:extLst>
              <c:ext xmlns:c16="http://schemas.microsoft.com/office/drawing/2014/chart" uri="{C3380CC4-5D6E-409C-BE32-E72D297353CC}">
                <c16:uniqueId val="{00000008-D8F4-40C6-A5E0-DB4B53CFB1F3}"/>
              </c:ext>
            </c:extLst>
          </c:dPt>
          <c:dPt>
            <c:idx val="2"/>
            <c:invertIfNegative val="0"/>
            <c:bubble3D val="0"/>
            <c:spPr>
              <a:solidFill>
                <a:srgbClr val="AEABAB"/>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c:f>
              <c:strCache>
                <c:ptCount val="3"/>
                <c:pt idx="0">
                  <c:v>CHAMPAGNE NICOLAS 1ER CRU BS 1CT X 750ML</c:v>
                </c:pt>
                <c:pt idx="1">
                  <c:v>CHAMPAGNE NICOLAS 1ER CRU ETUI 1CT X 750ML</c:v>
                </c:pt>
                <c:pt idx="2">
                  <c:v>MG CHAMPAGNE NICOLAS 1E CRU BS 1CT X 1500ML</c:v>
                </c:pt>
              </c:strCache>
            </c:strRef>
          </c:cat>
          <c:val>
            <c:numRef>
              <c:f>Sheet1!$C$2:$C$4</c:f>
              <c:numCache>
                <c:formatCode>General</c:formatCode>
                <c:ptCount val="3"/>
                <c:pt idx="0">
                  <c:v>0.68386734120292292</c:v>
                </c:pt>
                <c:pt idx="1">
                  <c:v>0.89359190556492407</c:v>
                </c:pt>
                <c:pt idx="2">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4</c:f>
              <c:strCache>
                <c:ptCount val="3"/>
                <c:pt idx="0">
                  <c:v>CHAMPAGNE NICOLAS 1ER CRU BS 1CT X 750ML</c:v>
                </c:pt>
                <c:pt idx="1">
                  <c:v>CHAMPAGNE NICOLAS 1ER CRU ETUI 1CT X 750ML</c:v>
                </c:pt>
                <c:pt idx="2">
                  <c:v>MG CHAMPAGNE NICOLAS 1E CRU BS 1CT X 1500ML</c:v>
                </c:pt>
              </c:strCache>
            </c:strRef>
          </c:cat>
          <c:val>
            <c:numRef>
              <c:f>Sheet1!$D$2:$D$4</c:f>
              <c:numCache>
                <c:formatCode>General</c:formatCode>
                <c:ptCount val="3"/>
                <c:pt idx="0">
                  <c:v>264.47826086956519</c:v>
                </c:pt>
                <c:pt idx="1">
                  <c:v>339.18181818181819</c:v>
                </c:pt>
                <c:pt idx="2">
                  <c:v>210.33333333333334</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c:f>
              <c:strCache>
                <c:ptCount val="3"/>
                <c:pt idx="0">
                  <c:v>CHAMPAGNE NICOLAS 1ER CRU BS 1CT X 750ML</c:v>
                </c:pt>
                <c:pt idx="1">
                  <c:v>CHAMPAGNE NICOLAS 1ER CRU ETUI 1CT X 750ML</c:v>
                </c:pt>
                <c:pt idx="2">
                  <c:v>MG CHAMPAGNE NICOLAS 1E CRU BS 1CT X 1500ML</c:v>
                </c:pt>
              </c:strCache>
            </c:strRef>
          </c:cat>
          <c:val>
            <c:numRef>
              <c:f>Sheet1!$B$2:$B$4</c:f>
              <c:numCache>
                <c:formatCode>General</c:formatCode>
                <c:ptCount val="3"/>
                <c:pt idx="0">
                  <c:v>0.39</c:v>
                </c:pt>
                <c:pt idx="1">
                  <c:v>0.16</c:v>
                </c:pt>
                <c:pt idx="2">
                  <c:v>0.08</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7ECAC4"/>
              </a:solidFill>
            </c:spPr>
            <c:extLst>
              <c:ext xmlns:c16="http://schemas.microsoft.com/office/drawing/2014/chart" uri="{C3380CC4-5D6E-409C-BE32-E72D297353CC}">
                <c16:uniqueId val="{00000008-D8F4-40C6-A5E0-DB4B53CFB1F3}"/>
              </c:ext>
            </c:extLst>
          </c:dPt>
          <c:dPt>
            <c:idx val="2"/>
            <c:invertIfNegative val="0"/>
            <c:bubble3D val="0"/>
            <c:spPr>
              <a:solidFill>
                <a:srgbClr val="AEABAB"/>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c:f>
              <c:strCache>
                <c:ptCount val="3"/>
                <c:pt idx="0">
                  <c:v>CHAMPAGNE NICOLAS 1ER CRU BS 1CT X 750ML</c:v>
                </c:pt>
                <c:pt idx="1">
                  <c:v>CHAMPAGNE NICOLAS 1ER CRU ETUI 1CT X 750ML</c:v>
                </c:pt>
                <c:pt idx="2">
                  <c:v>MG CHAMPAGNE NICOLAS 1E CRU BS 1CT X 1500ML</c:v>
                </c:pt>
              </c:strCache>
            </c:strRef>
          </c:cat>
          <c:val>
            <c:numRef>
              <c:f>Sheet1!$C$2:$C$4</c:f>
              <c:numCache>
                <c:formatCode>General</c:formatCode>
                <c:ptCount val="3"/>
                <c:pt idx="0">
                  <c:v>0.54723707664884136</c:v>
                </c:pt>
                <c:pt idx="1">
                  <c:v>0.94789524201288899</c:v>
                </c:pt>
                <c:pt idx="2">
                  <c:v>0.99999999999999989</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4</c:f>
              <c:strCache>
                <c:ptCount val="3"/>
                <c:pt idx="0">
                  <c:v>CHAMPAGNE NICOLAS 1ER CRU BS 1CT X 750ML</c:v>
                </c:pt>
                <c:pt idx="1">
                  <c:v>CHAMPAGNE NICOLAS 1ER CRU ETUI 1CT X 750ML</c:v>
                </c:pt>
                <c:pt idx="2">
                  <c:v>MG CHAMPAGNE NICOLAS 1E CRU BS 1CT X 1500ML</c:v>
                </c:pt>
              </c:strCache>
            </c:strRef>
          </c:cat>
          <c:val>
            <c:numRef>
              <c:f>Sheet1!$D$2:$D$4</c:f>
              <c:numCache>
                <c:formatCode>General</c:formatCode>
                <c:ptCount val="3"/>
                <c:pt idx="0">
                  <c:v>102.33333333333333</c:v>
                </c:pt>
                <c:pt idx="1">
                  <c:v>182.625</c:v>
                </c:pt>
                <c:pt idx="2">
                  <c:v>47.5</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c:f>
              <c:strCache>
                <c:ptCount val="3"/>
                <c:pt idx="0">
                  <c:v>CHAMPAGNE NICOLAS 1ER CRU ETUI 1CT X 750ML</c:v>
                </c:pt>
                <c:pt idx="1">
                  <c:v>CHAMPAGNE NICOLAS 1ER CRU BS 1CT X 750ML</c:v>
                </c:pt>
                <c:pt idx="2">
                  <c:v>MG CHAMPAGNE NICOLAS 1E CRU BS 1CT X 1500ML</c:v>
                </c:pt>
              </c:strCache>
            </c:strRef>
          </c:cat>
          <c:val>
            <c:numRef>
              <c:f>Sheet1!$B$2:$B$4</c:f>
              <c:numCache>
                <c:formatCode>General</c:formatCode>
                <c:ptCount val="3"/>
                <c:pt idx="0">
                  <c:v>0.4</c:v>
                </c:pt>
                <c:pt idx="1">
                  <c:v>0.2</c:v>
                </c:pt>
                <c:pt idx="2">
                  <c:v>0.08</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7ECAC4"/>
              </a:solidFill>
            </c:spPr>
            <c:extLst>
              <c:ext xmlns:c16="http://schemas.microsoft.com/office/drawing/2014/chart" uri="{C3380CC4-5D6E-409C-BE32-E72D297353CC}">
                <c16:uniqueId val="{00000008-D8F4-40C6-A5E0-DB4B53CFB1F3}"/>
              </c:ext>
            </c:extLst>
          </c:dPt>
          <c:dPt>
            <c:idx val="2"/>
            <c:invertIfNegative val="0"/>
            <c:bubble3D val="0"/>
            <c:spPr>
              <a:solidFill>
                <a:srgbClr val="AEABAB"/>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c:f>
              <c:strCache>
                <c:ptCount val="3"/>
                <c:pt idx="0">
                  <c:v>CHAMPAGNE NICOLAS 1ER CRU ETUI 1CT X 750ML</c:v>
                </c:pt>
                <c:pt idx="1">
                  <c:v>CHAMPAGNE NICOLAS 1ER CRU BS 1CT X 750ML</c:v>
                </c:pt>
                <c:pt idx="2">
                  <c:v>MG CHAMPAGNE NICOLAS 1E CRU BS 1CT X 1500ML</c:v>
                </c:pt>
              </c:strCache>
            </c:strRef>
          </c:cat>
          <c:val>
            <c:numRef>
              <c:f>Sheet1!$C$2:$C$4</c:f>
              <c:numCache>
                <c:formatCode>General</c:formatCode>
                <c:ptCount val="3"/>
                <c:pt idx="0">
                  <c:v>0.5109504132231405</c:v>
                </c:pt>
                <c:pt idx="1">
                  <c:v>0.90578512396694211</c:v>
                </c:pt>
                <c:pt idx="2">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4</c:f>
              <c:strCache>
                <c:ptCount val="3"/>
                <c:pt idx="0">
                  <c:v>CHAMPAGNE NICOLAS 1ER CRU ETUI 1CT X 750ML</c:v>
                </c:pt>
                <c:pt idx="1">
                  <c:v>CHAMPAGNE NICOLAS 1ER CRU BS 1CT X 750ML</c:v>
                </c:pt>
                <c:pt idx="2">
                  <c:v>MG CHAMPAGNE NICOLAS 1E CRU BS 1CT X 1500ML</c:v>
                </c:pt>
              </c:strCache>
            </c:strRef>
          </c:cat>
          <c:val>
            <c:numRef>
              <c:f>Sheet1!$D$2:$D$4</c:f>
              <c:numCache>
                <c:formatCode>General</c:formatCode>
                <c:ptCount val="3"/>
                <c:pt idx="0">
                  <c:v>61.825000000000003</c:v>
                </c:pt>
                <c:pt idx="1">
                  <c:v>95.55</c:v>
                </c:pt>
                <c:pt idx="2">
                  <c:v>57</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c:f>
              <c:strCache>
                <c:ptCount val="3"/>
                <c:pt idx="0">
                  <c:v>CHAMPAGNE NICOLAS 1ER CRU BS 1CT X 750ML</c:v>
                </c:pt>
                <c:pt idx="1">
                  <c:v>CHAMPAGNE NICOLAS 1ER CRU ETUI 1CT X 750ML</c:v>
                </c:pt>
                <c:pt idx="2">
                  <c:v>MG CHAMPAGNE NICOLAS 1E CRU BS 1CT X 1500ML</c:v>
                </c:pt>
              </c:strCache>
            </c:strRef>
          </c:cat>
          <c:val>
            <c:numRef>
              <c:f>Sheet1!$B$2:$B$4</c:f>
              <c:numCache>
                <c:formatCode>General</c:formatCode>
                <c:ptCount val="3"/>
                <c:pt idx="0">
                  <c:v>0.16</c:v>
                </c:pt>
                <c:pt idx="1">
                  <c:v>0.21</c:v>
                </c:pt>
                <c:pt idx="2">
                  <c:v>0.03</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7ECAC4"/>
              </a:solidFill>
            </c:spPr>
            <c:extLst>
              <c:ext xmlns:c16="http://schemas.microsoft.com/office/drawing/2014/chart" uri="{C3380CC4-5D6E-409C-BE32-E72D297353CC}">
                <c16:uniqueId val="{00000008-D8F4-40C6-A5E0-DB4B53CFB1F3}"/>
              </c:ext>
            </c:extLst>
          </c:dPt>
          <c:dPt>
            <c:idx val="2"/>
            <c:invertIfNegative val="0"/>
            <c:bubble3D val="0"/>
            <c:spPr>
              <a:solidFill>
                <a:srgbClr val="AEABAB"/>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c:f>
              <c:strCache>
                <c:ptCount val="3"/>
                <c:pt idx="0">
                  <c:v>CHAMPAGNE NICOLAS 1ER CRU BS 1CT X 750ML</c:v>
                </c:pt>
                <c:pt idx="1">
                  <c:v>CHAMPAGNE NICOLAS 1ER CRU ETUI 1CT X 750ML</c:v>
                </c:pt>
                <c:pt idx="2">
                  <c:v>MG CHAMPAGNE NICOLAS 1E CRU BS 1CT X 1500ML</c:v>
                </c:pt>
              </c:strCache>
            </c:strRef>
          </c:cat>
          <c:val>
            <c:numRef>
              <c:f>Sheet1!$C$2:$C$4</c:f>
              <c:numCache>
                <c:formatCode>General</c:formatCode>
                <c:ptCount val="3"/>
                <c:pt idx="0">
                  <c:v>0.4899302865995353</c:v>
                </c:pt>
                <c:pt idx="1">
                  <c:v>0.94151820294345479</c:v>
                </c:pt>
                <c:pt idx="2">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4</c:f>
              <c:strCache>
                <c:ptCount val="3"/>
                <c:pt idx="0">
                  <c:v>CHAMPAGNE NICOLAS 1ER CRU BS 1CT X 750ML</c:v>
                </c:pt>
                <c:pt idx="1">
                  <c:v>CHAMPAGNE NICOLAS 1ER CRU ETUI 1CT X 750ML</c:v>
                </c:pt>
                <c:pt idx="2">
                  <c:v>MG CHAMPAGNE NICOLAS 1E CRU BS 1CT X 1500ML</c:v>
                </c:pt>
              </c:strCache>
            </c:strRef>
          </c:cat>
          <c:val>
            <c:numRef>
              <c:f>Sheet1!$D$2:$D$4</c:f>
              <c:numCache>
                <c:formatCode>General</c:formatCode>
                <c:ptCount val="3"/>
                <c:pt idx="0">
                  <c:v>79.0625</c:v>
                </c:pt>
                <c:pt idx="1">
                  <c:v>55.523809523809526</c:v>
                </c:pt>
                <c:pt idx="2">
                  <c:v>50.333333333333336</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c:f>
              <c:strCache>
                <c:ptCount val="3"/>
                <c:pt idx="0">
                  <c:v>CHAMPAGNE NICOLAS 1ER CRU BS 1CT X 750ML</c:v>
                </c:pt>
                <c:pt idx="1">
                  <c:v>CHAMPAGNE NICOLAS 1ER CRU ETUI 1CT X 750ML</c:v>
                </c:pt>
                <c:pt idx="2">
                  <c:v>MG CHAMPAGNE NICOLAS 1E CRU BS 1CT X 1500ML</c:v>
                </c:pt>
              </c:strCache>
            </c:strRef>
          </c:cat>
          <c:val>
            <c:numRef>
              <c:f>Sheet1!$B$2:$B$4</c:f>
              <c:numCache>
                <c:formatCode>General</c:formatCode>
                <c:ptCount val="3"/>
                <c:pt idx="0">
                  <c:v>0.32</c:v>
                </c:pt>
                <c:pt idx="1">
                  <c:v>0.18</c:v>
                </c:pt>
                <c:pt idx="2">
                  <c:v>0.04</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7ECAC4"/>
              </a:solidFill>
            </c:spPr>
            <c:extLst>
              <c:ext xmlns:c16="http://schemas.microsoft.com/office/drawing/2014/chart" uri="{C3380CC4-5D6E-409C-BE32-E72D297353CC}">
                <c16:uniqueId val="{00000008-D8F4-40C6-A5E0-DB4B53CFB1F3}"/>
              </c:ext>
            </c:extLst>
          </c:dPt>
          <c:dPt>
            <c:idx val="2"/>
            <c:invertIfNegative val="0"/>
            <c:bubble3D val="0"/>
            <c:spPr>
              <a:solidFill>
                <a:srgbClr val="AEABAB"/>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c:f>
              <c:strCache>
                <c:ptCount val="3"/>
                <c:pt idx="0">
                  <c:v>CHAMPAGNE NICOLAS 1ER CRU BS 1CT X 750ML</c:v>
                </c:pt>
                <c:pt idx="1">
                  <c:v>CHAMPAGNE NICOLAS 1ER CRU ETUI 1CT X 750ML</c:v>
                </c:pt>
                <c:pt idx="2">
                  <c:v>MG CHAMPAGNE NICOLAS 1E CRU BS 1CT X 1500ML</c:v>
                </c:pt>
              </c:strCache>
            </c:strRef>
          </c:cat>
          <c:val>
            <c:numRef>
              <c:f>Sheet1!$C$2:$C$4</c:f>
              <c:numCache>
                <c:formatCode>General</c:formatCode>
                <c:ptCount val="3"/>
                <c:pt idx="0">
                  <c:v>0.54029360210341804</c:v>
                </c:pt>
                <c:pt idx="1">
                  <c:v>0.89189307624890446</c:v>
                </c:pt>
                <c:pt idx="2">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4</c:f>
              <c:strCache>
                <c:ptCount val="3"/>
                <c:pt idx="0">
                  <c:v>CHAMPAGNE NICOLAS 1ER CRU BS 1CT X 750ML</c:v>
                </c:pt>
                <c:pt idx="1">
                  <c:v>CHAMPAGNE NICOLAS 1ER CRU ETUI 1CT X 750ML</c:v>
                </c:pt>
                <c:pt idx="2">
                  <c:v>MG CHAMPAGNE NICOLAS 1E CRU BS 1CT X 1500ML</c:v>
                </c:pt>
              </c:strCache>
            </c:strRef>
          </c:cat>
          <c:val>
            <c:numRef>
              <c:f>Sheet1!$D$2:$D$4</c:f>
              <c:numCache>
                <c:formatCode>General</c:formatCode>
                <c:ptCount val="3"/>
                <c:pt idx="0">
                  <c:v>770.59375</c:v>
                </c:pt>
                <c:pt idx="1">
                  <c:v>891.5</c:v>
                </c:pt>
                <c:pt idx="2">
                  <c:v>1233.5</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c:f>
              <c:strCache>
                <c:ptCount val="3"/>
                <c:pt idx="0">
                  <c:v>CHAMPAGNE NICOLAS 1ER CRU BS 1CT X 750ML</c:v>
                </c:pt>
                <c:pt idx="1">
                  <c:v>CHAMPAGNE NICOLAS 1ER CRU ETUI 1CT X 750ML</c:v>
                </c:pt>
                <c:pt idx="2">
                  <c:v>MG CHAMPAGNE NICOLAS 1E CRU BS 1CT X 1500ML</c:v>
                </c:pt>
              </c:strCache>
            </c:strRef>
          </c:cat>
          <c:val>
            <c:numRef>
              <c:f>Sheet1!$B$2:$B$4</c:f>
              <c:numCache>
                <c:formatCode>General</c:formatCode>
                <c:ptCount val="3"/>
                <c:pt idx="0">
                  <c:v>0.25</c:v>
                </c:pt>
                <c:pt idx="1">
                  <c:v>0.16</c:v>
                </c:pt>
                <c:pt idx="2">
                  <c:v>0.04</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AEABAB"/>
              </a:solidFill>
            </c:spPr>
            <c:extLst>
              <c:ext xmlns:c16="http://schemas.microsoft.com/office/drawing/2014/chart" uri="{C3380CC4-5D6E-409C-BE32-E72D297353CC}">
                <c16:uniqueId val="{00000008-D8F4-40C6-A5E0-DB4B53CFB1F3}"/>
              </c:ext>
            </c:extLst>
          </c:dPt>
          <c:dPt>
            <c:idx val="2"/>
            <c:invertIfNegative val="0"/>
            <c:bubble3D val="0"/>
            <c:spPr>
              <a:solidFill>
                <a:srgbClr val="AEABAB"/>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c:f>
              <c:strCache>
                <c:ptCount val="3"/>
                <c:pt idx="0">
                  <c:v>CHAMPAGNE NICOLAS 1ER CRU BS 1CT X 750ML</c:v>
                </c:pt>
                <c:pt idx="1">
                  <c:v>CHAMPAGNE NICOLAS 1ER CRU ETUI 1CT X 750ML</c:v>
                </c:pt>
                <c:pt idx="2">
                  <c:v>MG CHAMPAGNE NICOLAS 1E CRU BS 1CT X 1500ML</c:v>
                </c:pt>
              </c:strCache>
            </c:strRef>
          </c:cat>
          <c:val>
            <c:numRef>
              <c:f>Sheet1!$C$2:$C$4</c:f>
              <c:numCache>
                <c:formatCode>General</c:formatCode>
                <c:ptCount val="3"/>
                <c:pt idx="0">
                  <c:v>0.63413217138707334</c:v>
                </c:pt>
                <c:pt idx="1">
                  <c:v>0.95613652868554833</c:v>
                </c:pt>
                <c:pt idx="2">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4</c:f>
              <c:strCache>
                <c:ptCount val="3"/>
                <c:pt idx="0">
                  <c:v>CHAMPAGNE NICOLAS 1ER CRU BS 1CT X 750ML</c:v>
                </c:pt>
                <c:pt idx="1">
                  <c:v>CHAMPAGNE NICOLAS 1ER CRU ETUI 1CT X 750ML</c:v>
                </c:pt>
                <c:pt idx="2">
                  <c:v>MG CHAMPAGNE NICOLAS 1E CRU BS 1CT X 1500ML</c:v>
                </c:pt>
              </c:strCache>
            </c:strRef>
          </c:cat>
          <c:val>
            <c:numRef>
              <c:f>Sheet1!$D$2:$D$4</c:f>
              <c:numCache>
                <c:formatCode>General</c:formatCode>
                <c:ptCount val="3"/>
                <c:pt idx="0">
                  <c:v>174.64</c:v>
                </c:pt>
                <c:pt idx="1">
                  <c:v>138.5625</c:v>
                </c:pt>
                <c:pt idx="2">
                  <c:v>75.5</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c:f>
              <c:strCache>
                <c:ptCount val="3"/>
                <c:pt idx="0">
                  <c:v>CHAMPAGNE NICOLAS 1ER CRU BS 1CT X 750ML</c:v>
                </c:pt>
                <c:pt idx="1">
                  <c:v>CHAMPAGNE NICOLAS 1ER CRU ETUI 1CT X 750ML</c:v>
                </c:pt>
                <c:pt idx="2">
                  <c:v>MG CHAMPAGNE NICOLAS 1E CRU BS 1CT X 1500ML</c:v>
                </c:pt>
              </c:strCache>
            </c:strRef>
          </c:cat>
          <c:val>
            <c:numRef>
              <c:f>Sheet1!$B$2:$B$4</c:f>
              <c:numCache>
                <c:formatCode>General</c:formatCode>
                <c:ptCount val="3"/>
                <c:pt idx="0">
                  <c:v>0.33</c:v>
                </c:pt>
                <c:pt idx="1">
                  <c:v>0.22</c:v>
                </c:pt>
                <c:pt idx="2">
                  <c:v>0.06</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7ECAC4"/>
              </a:solidFill>
            </c:spPr>
            <c:extLst>
              <c:ext xmlns:c16="http://schemas.microsoft.com/office/drawing/2014/chart" uri="{C3380CC4-5D6E-409C-BE32-E72D297353CC}">
                <c16:uniqueId val="{00000008-D8F4-40C6-A5E0-DB4B53CFB1F3}"/>
              </c:ext>
            </c:extLst>
          </c:dPt>
          <c:dPt>
            <c:idx val="2"/>
            <c:invertIfNegative val="0"/>
            <c:bubble3D val="0"/>
            <c:spPr>
              <a:solidFill>
                <a:srgbClr val="AEABAB"/>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c:f>
              <c:strCache>
                <c:ptCount val="3"/>
                <c:pt idx="0">
                  <c:v>CHAMPAGNE NICOLAS 1ER CRU BS 1CT X 750ML</c:v>
                </c:pt>
                <c:pt idx="1">
                  <c:v>CHAMPAGNE NICOLAS 1ER CRU ETUI 1CT X 750ML</c:v>
                </c:pt>
                <c:pt idx="2">
                  <c:v>MG CHAMPAGNE NICOLAS 1E CRU BS 1CT X 1500ML</c:v>
                </c:pt>
              </c:strCache>
            </c:strRef>
          </c:cat>
          <c:val>
            <c:numRef>
              <c:f>Sheet1!$C$2:$C$4</c:f>
              <c:numCache>
                <c:formatCode>General</c:formatCode>
                <c:ptCount val="3"/>
                <c:pt idx="0">
                  <c:v>0.60968468468468473</c:v>
                </c:pt>
                <c:pt idx="1">
                  <c:v>0.9144144144144144</c:v>
                </c:pt>
                <c:pt idx="2">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4</c:f>
              <c:strCache>
                <c:ptCount val="3"/>
                <c:pt idx="0">
                  <c:v>CHAMPAGNE NICOLAS 1ER CRU BS 1CT X 750ML</c:v>
                </c:pt>
                <c:pt idx="1">
                  <c:v>CHAMPAGNE NICOLAS 1ER CRU ETUI 1CT X 750ML</c:v>
                </c:pt>
                <c:pt idx="2">
                  <c:v>MG CHAMPAGNE NICOLAS 1E CRU BS 1CT X 1500ML</c:v>
                </c:pt>
              </c:strCache>
            </c:strRef>
          </c:cat>
          <c:val>
            <c:numRef>
              <c:f>Sheet1!$D$2:$D$4</c:f>
              <c:numCache>
                <c:formatCode>General</c:formatCode>
                <c:ptCount val="3"/>
                <c:pt idx="0">
                  <c:v>82.030303030303031</c:v>
                </c:pt>
                <c:pt idx="1">
                  <c:v>61.5</c:v>
                </c:pt>
                <c:pt idx="2">
                  <c:v>63.333333333333336</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c:f>
              <c:strCache>
                <c:ptCount val="3"/>
                <c:pt idx="0">
                  <c:v>CHAMPAGNE NICOLAS 1ER CRU BS 1CT X 750ML</c:v>
                </c:pt>
                <c:pt idx="1">
                  <c:v>MG CHAMPAGNE NICOLAS 1E CRU BS 1CT X 1500ML</c:v>
                </c:pt>
                <c:pt idx="2">
                  <c:v>CHAMPAGNE NICOLAS 1ER CRU ETUI 1CT X 750ML</c:v>
                </c:pt>
              </c:strCache>
            </c:strRef>
          </c:cat>
          <c:val>
            <c:numRef>
              <c:f>Sheet1!$B$2:$B$4</c:f>
              <c:numCache>
                <c:formatCode>General</c:formatCode>
                <c:ptCount val="3"/>
                <c:pt idx="0">
                  <c:v>0.38</c:v>
                </c:pt>
                <c:pt idx="1">
                  <c:v>0.13</c:v>
                </c:pt>
                <c:pt idx="2">
                  <c:v>0.13</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7ECAC4"/>
              </a:solidFill>
            </c:spPr>
            <c:extLst>
              <c:ext xmlns:c16="http://schemas.microsoft.com/office/drawing/2014/chart" uri="{C3380CC4-5D6E-409C-BE32-E72D297353CC}">
                <c16:uniqueId val="{00000008-D8F4-40C6-A5E0-DB4B53CFB1F3}"/>
              </c:ext>
            </c:extLst>
          </c:dPt>
          <c:dPt>
            <c:idx val="2"/>
            <c:invertIfNegative val="0"/>
            <c:bubble3D val="0"/>
            <c:spPr>
              <a:solidFill>
                <a:srgbClr val="AEABAB"/>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c:f>
              <c:strCache>
                <c:ptCount val="3"/>
                <c:pt idx="0">
                  <c:v>CHAMPAGNE NICOLAS 1ER CRU BS 1CT X 750ML</c:v>
                </c:pt>
                <c:pt idx="1">
                  <c:v>MG CHAMPAGNE NICOLAS 1E CRU BS 1CT X 1500ML</c:v>
                </c:pt>
                <c:pt idx="2">
                  <c:v>CHAMPAGNE NICOLAS 1ER CRU ETUI 1CT X 750ML</c:v>
                </c:pt>
              </c:strCache>
            </c:strRef>
          </c:cat>
          <c:val>
            <c:numRef>
              <c:f>Sheet1!$C$2:$C$4</c:f>
              <c:numCache>
                <c:formatCode>General</c:formatCode>
                <c:ptCount val="3"/>
                <c:pt idx="0">
                  <c:v>0.59136098731573539</c:v>
                </c:pt>
                <c:pt idx="1">
                  <c:v>0.82413438464175526</c:v>
                </c:pt>
                <c:pt idx="2">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4</c:f>
              <c:strCache>
                <c:ptCount val="3"/>
                <c:pt idx="0">
                  <c:v>CHAMPAGNE NICOLAS 1ER CRU BS 1CT X 750ML</c:v>
                </c:pt>
                <c:pt idx="1">
                  <c:v>MG CHAMPAGNE NICOLAS 1E CRU BS 1CT X 1500ML</c:v>
                </c:pt>
                <c:pt idx="2">
                  <c:v>CHAMPAGNE NICOLAS 1ER CRU ETUI 1CT X 750ML</c:v>
                </c:pt>
              </c:strCache>
            </c:strRef>
          </c:cat>
          <c:val>
            <c:numRef>
              <c:f>Sheet1!$D$2:$D$4</c:f>
              <c:numCache>
                <c:formatCode>General</c:formatCode>
                <c:ptCount val="3"/>
                <c:pt idx="0">
                  <c:v>45.39473684210526</c:v>
                </c:pt>
                <c:pt idx="1">
                  <c:v>52.230769230769234</c:v>
                </c:pt>
                <c:pt idx="2">
                  <c:v>39.46153846153846</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c:f>
              <c:strCache>
                <c:ptCount val="3"/>
                <c:pt idx="0">
                  <c:v>CHAMPAGNE NICOLAS 1ER CRU BS 1CT X 750ML</c:v>
                </c:pt>
                <c:pt idx="1">
                  <c:v>MG CHAMPAGNE NICOLAS 1E CRU BS 1CT X 1500ML</c:v>
                </c:pt>
                <c:pt idx="2">
                  <c:v>CHAMPAGNE NICOLAS 1ER CRU ETUI 1CT X 750ML</c:v>
                </c:pt>
              </c:strCache>
            </c:strRef>
          </c:cat>
          <c:val>
            <c:numRef>
              <c:f>Sheet1!$B$2:$B$4</c:f>
              <c:numCache>
                <c:formatCode>General</c:formatCode>
                <c:ptCount val="3"/>
                <c:pt idx="0">
                  <c:v>0.41</c:v>
                </c:pt>
                <c:pt idx="1">
                  <c:v>0.02</c:v>
                </c:pt>
                <c:pt idx="2">
                  <c:v>0.08</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7ECAC4"/>
              </a:solidFill>
            </c:spPr>
            <c:extLst>
              <c:ext xmlns:c16="http://schemas.microsoft.com/office/drawing/2014/chart" uri="{C3380CC4-5D6E-409C-BE32-E72D297353CC}">
                <c16:uniqueId val="{00000006-D8F4-40C6-A5E0-DB4B53CFB1F3}"/>
              </c:ext>
            </c:extLst>
          </c:dPt>
          <c:dPt>
            <c:idx val="1"/>
            <c:invertIfNegative val="0"/>
            <c:bubble3D val="0"/>
            <c:spPr>
              <a:solidFill>
                <a:srgbClr val="7ECAC4"/>
              </a:solidFill>
            </c:spPr>
            <c:extLst>
              <c:ext xmlns:c16="http://schemas.microsoft.com/office/drawing/2014/chart" uri="{C3380CC4-5D6E-409C-BE32-E72D297353CC}">
                <c16:uniqueId val="{00000008-D8F4-40C6-A5E0-DB4B53CFB1F3}"/>
              </c:ext>
            </c:extLst>
          </c:dPt>
          <c:dPt>
            <c:idx val="2"/>
            <c:invertIfNegative val="0"/>
            <c:bubble3D val="0"/>
            <c:spPr>
              <a:solidFill>
                <a:srgbClr val="AEABAB"/>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c:f>
              <c:strCache>
                <c:ptCount val="3"/>
                <c:pt idx="0">
                  <c:v>CHAMPAGNE NICOLAS 1ER CRU BS 1CT X 750ML</c:v>
                </c:pt>
                <c:pt idx="1">
                  <c:v>MG CHAMPAGNE NICOLAS 1E CRU BS 1CT X 1500ML</c:v>
                </c:pt>
                <c:pt idx="2">
                  <c:v>CHAMPAGNE NICOLAS 1ER CRU ETUI 1CT X 750ML</c:v>
                </c:pt>
              </c:strCache>
            </c:strRef>
          </c:cat>
          <c:val>
            <c:numRef>
              <c:f>Sheet1!$C$2:$C$4</c:f>
              <c:numCache>
                <c:formatCode>General</c:formatCode>
                <c:ptCount val="3"/>
                <c:pt idx="0">
                  <c:v>0.88494208494208504</c:v>
                </c:pt>
                <c:pt idx="1">
                  <c:v>0.9436293436293437</c:v>
                </c:pt>
                <c:pt idx="2">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4</c:f>
              <c:strCache>
                <c:ptCount val="3"/>
                <c:pt idx="0">
                  <c:v>CHAMPAGNE NICOLAS 1ER CRU BS 1CT X 750ML</c:v>
                </c:pt>
                <c:pt idx="1">
                  <c:v>MG CHAMPAGNE NICOLAS 1E CRU BS 1CT X 1500ML</c:v>
                </c:pt>
                <c:pt idx="2">
                  <c:v>CHAMPAGNE NICOLAS 1ER CRU ETUI 1CT X 750ML</c:v>
                </c:pt>
              </c:strCache>
            </c:strRef>
          </c:cat>
          <c:val>
            <c:numRef>
              <c:f>Sheet1!$D$2:$D$4</c:f>
              <c:numCache>
                <c:formatCode>General</c:formatCode>
                <c:ptCount val="3"/>
                <c:pt idx="0">
                  <c:v>27.951219512195124</c:v>
                </c:pt>
                <c:pt idx="1">
                  <c:v>38</c:v>
                </c:pt>
                <c:pt idx="2">
                  <c:v>9.125</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c:f>
              <c:strCache>
                <c:ptCount val="3"/>
                <c:pt idx="0">
                  <c:v>CHAMPAGNE NICOLAS 1ER CRU BS 1CT X 750ML</c:v>
                </c:pt>
                <c:pt idx="1">
                  <c:v>CHAMPAGNE NICOLAS 1ER CRU ETUI 1CT X 750ML</c:v>
                </c:pt>
                <c:pt idx="2">
                  <c:v>MG CHAMPAGNE NICOLAS 1E CRU BS 1CT X 1500ML</c:v>
                </c:pt>
              </c:strCache>
            </c:strRef>
          </c:cat>
          <c:val>
            <c:numRef>
              <c:f>Sheet1!$B$2:$B$4</c:f>
              <c:numCache>
                <c:formatCode>General</c:formatCode>
                <c:ptCount val="3"/>
                <c:pt idx="0">
                  <c:v>0.31</c:v>
                </c:pt>
                <c:pt idx="1">
                  <c:v>0.21</c:v>
                </c:pt>
                <c:pt idx="2">
                  <c:v>7.0000000000000007E-2</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7ECAC4"/>
              </a:solidFill>
            </c:spPr>
            <c:extLst>
              <c:ext xmlns:c16="http://schemas.microsoft.com/office/drawing/2014/chart" uri="{C3380CC4-5D6E-409C-BE32-E72D297353CC}">
                <c16:uniqueId val="{00000008-D8F4-40C6-A5E0-DB4B53CFB1F3}"/>
              </c:ext>
            </c:extLst>
          </c:dPt>
          <c:dPt>
            <c:idx val="2"/>
            <c:invertIfNegative val="0"/>
            <c:bubble3D val="0"/>
            <c:spPr>
              <a:solidFill>
                <a:srgbClr val="AEABAB"/>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c:f>
              <c:strCache>
                <c:ptCount val="3"/>
                <c:pt idx="0">
                  <c:v>CHAMPAGNE NICOLAS 1ER CRU BS 1CT X 750ML</c:v>
                </c:pt>
                <c:pt idx="1">
                  <c:v>CHAMPAGNE NICOLAS 1ER CRU ETUI 1CT X 750ML</c:v>
                </c:pt>
                <c:pt idx="2">
                  <c:v>MG CHAMPAGNE NICOLAS 1E CRU BS 1CT X 1500ML</c:v>
                </c:pt>
              </c:strCache>
            </c:strRef>
          </c:cat>
          <c:val>
            <c:numRef>
              <c:f>Sheet1!$C$2:$C$4</c:f>
              <c:numCache>
                <c:formatCode>General</c:formatCode>
                <c:ptCount val="3"/>
                <c:pt idx="0">
                  <c:v>0.44597211463981412</c:v>
                </c:pt>
                <c:pt idx="1">
                  <c:v>0.8678350116189002</c:v>
                </c:pt>
                <c:pt idx="2">
                  <c:v>1.000000000000000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4</c:f>
              <c:strCache>
                <c:ptCount val="3"/>
                <c:pt idx="0">
                  <c:v>CHAMPAGNE NICOLAS 1ER CRU BS 1CT X 750ML</c:v>
                </c:pt>
                <c:pt idx="1">
                  <c:v>CHAMPAGNE NICOLAS 1ER CRU ETUI 1CT X 750ML</c:v>
                </c:pt>
                <c:pt idx="2">
                  <c:v>MG CHAMPAGNE NICOLAS 1E CRU BS 1CT X 1500ML</c:v>
                </c:pt>
              </c:strCache>
            </c:strRef>
          </c:cat>
          <c:val>
            <c:numRef>
              <c:f>Sheet1!$D$2:$D$4</c:f>
              <c:numCache>
                <c:formatCode>General</c:formatCode>
                <c:ptCount val="3"/>
                <c:pt idx="0">
                  <c:v>148.58064516129033</c:v>
                </c:pt>
                <c:pt idx="1">
                  <c:v>207.47619047619048</c:v>
                </c:pt>
                <c:pt idx="2">
                  <c:v>194.99999999999997</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c:f>
              <c:strCache>
                <c:ptCount val="3"/>
                <c:pt idx="0">
                  <c:v>CHAMPAGNE NICOLAS 1ER CRU ETUI 1CT X 750ML</c:v>
                </c:pt>
                <c:pt idx="1">
                  <c:v>CHAMPAGNE NICOLAS 1ER CRU BS 1CT X 750ML</c:v>
                </c:pt>
                <c:pt idx="2">
                  <c:v>MG CHAMPAGNE NICOLAS 1E CRU BS 1CT X 1500ML</c:v>
                </c:pt>
              </c:strCache>
            </c:strRef>
          </c:cat>
          <c:val>
            <c:numRef>
              <c:f>Sheet1!$B$2:$B$4</c:f>
              <c:numCache>
                <c:formatCode>General</c:formatCode>
                <c:ptCount val="3"/>
                <c:pt idx="0">
                  <c:v>0.23</c:v>
                </c:pt>
                <c:pt idx="1">
                  <c:v>0.44</c:v>
                </c:pt>
                <c:pt idx="2">
                  <c:v>0.04</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7ECAC4"/>
              </a:solidFill>
            </c:spPr>
            <c:extLst>
              <c:ext xmlns:c16="http://schemas.microsoft.com/office/drawing/2014/chart" uri="{C3380CC4-5D6E-409C-BE32-E72D297353CC}">
                <c16:uniqueId val="{00000008-D8F4-40C6-A5E0-DB4B53CFB1F3}"/>
              </c:ext>
            </c:extLst>
          </c:dPt>
          <c:dPt>
            <c:idx val="2"/>
            <c:invertIfNegative val="0"/>
            <c:bubble3D val="0"/>
            <c:spPr>
              <a:solidFill>
                <a:srgbClr val="AEABAB"/>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c:f>
              <c:strCache>
                <c:ptCount val="3"/>
                <c:pt idx="0">
                  <c:v>CHAMPAGNE NICOLAS 1ER CRU ETUI 1CT X 750ML</c:v>
                </c:pt>
                <c:pt idx="1">
                  <c:v>CHAMPAGNE NICOLAS 1ER CRU BS 1CT X 750ML</c:v>
                </c:pt>
                <c:pt idx="2">
                  <c:v>MG CHAMPAGNE NICOLAS 1E CRU BS 1CT X 1500ML</c:v>
                </c:pt>
              </c:strCache>
            </c:strRef>
          </c:cat>
          <c:val>
            <c:numRef>
              <c:f>Sheet1!$C$2:$C$4</c:f>
              <c:numCache>
                <c:formatCode>General</c:formatCode>
                <c:ptCount val="3"/>
                <c:pt idx="0">
                  <c:v>0.46959557753855108</c:v>
                </c:pt>
                <c:pt idx="1">
                  <c:v>0.91213267384346819</c:v>
                </c:pt>
                <c:pt idx="2">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4</c:f>
              <c:strCache>
                <c:ptCount val="3"/>
                <c:pt idx="0">
                  <c:v>CHAMPAGNE NICOLAS 1ER CRU ETUI 1CT X 750ML</c:v>
                </c:pt>
                <c:pt idx="1">
                  <c:v>CHAMPAGNE NICOLAS 1ER CRU BS 1CT X 750ML</c:v>
                </c:pt>
                <c:pt idx="2">
                  <c:v>MG CHAMPAGNE NICOLAS 1E CRU BS 1CT X 1500ML</c:v>
                </c:pt>
              </c:strCache>
            </c:strRef>
          </c:cat>
          <c:val>
            <c:numRef>
              <c:f>Sheet1!$D$2:$D$4</c:f>
              <c:numCache>
                <c:formatCode>General</c:formatCode>
                <c:ptCount val="3"/>
                <c:pt idx="0">
                  <c:v>210.52173913043478</c:v>
                </c:pt>
                <c:pt idx="1">
                  <c:v>103.70454545454545</c:v>
                </c:pt>
                <c:pt idx="2">
                  <c:v>226.5</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c:f>
              <c:strCache>
                <c:ptCount val="3"/>
                <c:pt idx="0">
                  <c:v>CHAMPAGNE NICOLAS 1ER CRU BS 1CT X 750ML</c:v>
                </c:pt>
                <c:pt idx="1">
                  <c:v>CHAMPAGNE NICOLAS 1ER CRU ETUI 1CT X 750ML</c:v>
                </c:pt>
                <c:pt idx="2">
                  <c:v>MG CHAMPAGNE NICOLAS 1E CRU BS 1CT X 1500ML</c:v>
                </c:pt>
              </c:strCache>
            </c:strRef>
          </c:cat>
          <c:val>
            <c:numRef>
              <c:f>Sheet1!$B$2:$B$4</c:f>
              <c:numCache>
                <c:formatCode>General</c:formatCode>
                <c:ptCount val="3"/>
                <c:pt idx="0">
                  <c:v>0.28000000000000003</c:v>
                </c:pt>
                <c:pt idx="1">
                  <c:v>0.19</c:v>
                </c:pt>
                <c:pt idx="2">
                  <c:v>0.05</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7ECAC4"/>
              </a:solidFill>
            </c:spPr>
            <c:extLst>
              <c:ext xmlns:c16="http://schemas.microsoft.com/office/drawing/2014/chart" uri="{C3380CC4-5D6E-409C-BE32-E72D297353CC}">
                <c16:uniqueId val="{00000008-D8F4-40C6-A5E0-DB4B53CFB1F3}"/>
              </c:ext>
            </c:extLst>
          </c:dPt>
          <c:dPt>
            <c:idx val="2"/>
            <c:invertIfNegative val="0"/>
            <c:bubble3D val="0"/>
            <c:spPr>
              <a:solidFill>
                <a:srgbClr val="AEABAB"/>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c:f>
              <c:strCache>
                <c:ptCount val="3"/>
                <c:pt idx="0">
                  <c:v>CHAMPAGNE NICOLAS 1ER CRU BS 1CT X 750ML</c:v>
                </c:pt>
                <c:pt idx="1">
                  <c:v>CHAMPAGNE NICOLAS 1ER CRU ETUI 1CT X 750ML</c:v>
                </c:pt>
                <c:pt idx="2">
                  <c:v>MG CHAMPAGNE NICOLAS 1E CRU BS 1CT X 1500ML</c:v>
                </c:pt>
              </c:strCache>
            </c:strRef>
          </c:cat>
          <c:val>
            <c:numRef>
              <c:f>Sheet1!$C$2:$C$4</c:f>
              <c:numCache>
                <c:formatCode>General</c:formatCode>
                <c:ptCount val="3"/>
                <c:pt idx="0">
                  <c:v>0.52041950270870962</c:v>
                </c:pt>
                <c:pt idx="1">
                  <c:v>0.93165717460758446</c:v>
                </c:pt>
                <c:pt idx="2">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4</c:f>
              <c:strCache>
                <c:ptCount val="3"/>
                <c:pt idx="0">
                  <c:v>CHAMPAGNE NICOLAS 1ER CRU BS 1CT X 750ML</c:v>
                </c:pt>
                <c:pt idx="1">
                  <c:v>CHAMPAGNE NICOLAS 1ER CRU ETUI 1CT X 750ML</c:v>
                </c:pt>
                <c:pt idx="2">
                  <c:v>MG CHAMPAGNE NICOLAS 1E CRU BS 1CT X 1500ML</c:v>
                </c:pt>
              </c:strCache>
            </c:strRef>
          </c:cat>
          <c:val>
            <c:numRef>
              <c:f>Sheet1!$D$2:$D$4</c:f>
              <c:numCache>
                <c:formatCode>General</c:formatCode>
                <c:ptCount val="3"/>
                <c:pt idx="0">
                  <c:v>267.60714285714283</c:v>
                </c:pt>
                <c:pt idx="1">
                  <c:v>311.63157894736844</c:v>
                </c:pt>
                <c:pt idx="2">
                  <c:v>196.8</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c:f>
              <c:strCache>
                <c:ptCount val="3"/>
                <c:pt idx="0">
                  <c:v>CHAMPAGNE NICOLAS 1ER CRU BS 1CT X 750ML</c:v>
                </c:pt>
                <c:pt idx="1">
                  <c:v>CHAMPAGNE NICOLAS 1ER CRU ETUI 1CT X 750ML</c:v>
                </c:pt>
                <c:pt idx="2">
                  <c:v>MG CHAMPAGNE NICOLAS 1E CRU BS 1CT X 1500ML</c:v>
                </c:pt>
              </c:strCache>
            </c:strRef>
          </c:cat>
          <c:val>
            <c:numRef>
              <c:f>Sheet1!$B$2:$B$4</c:f>
              <c:numCache>
                <c:formatCode>General</c:formatCode>
                <c:ptCount val="3"/>
                <c:pt idx="0">
                  <c:v>0.28000000000000003</c:v>
                </c:pt>
                <c:pt idx="1">
                  <c:v>0.1</c:v>
                </c:pt>
                <c:pt idx="2">
                  <c:v>0.03</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7ECAC4"/>
              </a:solidFill>
            </c:spPr>
            <c:extLst>
              <c:ext xmlns:c16="http://schemas.microsoft.com/office/drawing/2014/chart" uri="{C3380CC4-5D6E-409C-BE32-E72D297353CC}">
                <c16:uniqueId val="{00000008-D8F4-40C6-A5E0-DB4B53CFB1F3}"/>
              </c:ext>
            </c:extLst>
          </c:dPt>
          <c:dPt>
            <c:idx val="2"/>
            <c:invertIfNegative val="0"/>
            <c:bubble3D val="0"/>
            <c:spPr>
              <a:solidFill>
                <a:srgbClr val="AEABAB"/>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c:f>
              <c:strCache>
                <c:ptCount val="3"/>
                <c:pt idx="0">
                  <c:v>CHAMPAGNE NICOLAS 1ER CRU BS 1CT X 750ML</c:v>
                </c:pt>
                <c:pt idx="1">
                  <c:v>CHAMPAGNE NICOLAS 1ER CRU ETUI 1CT X 750ML</c:v>
                </c:pt>
                <c:pt idx="2">
                  <c:v>MG CHAMPAGNE NICOLAS 1E CRU BS 1CT X 1500ML</c:v>
                </c:pt>
              </c:strCache>
            </c:strRef>
          </c:cat>
          <c:val>
            <c:numRef>
              <c:f>Sheet1!$C$2:$C$4</c:f>
              <c:numCache>
                <c:formatCode>General</c:formatCode>
                <c:ptCount val="3"/>
                <c:pt idx="0">
                  <c:v>0.54270636523552029</c:v>
                </c:pt>
                <c:pt idx="1">
                  <c:v>0.89126327448042231</c:v>
                </c:pt>
                <c:pt idx="2">
                  <c:v>1.000000000000000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4</c:f>
              <c:strCache>
                <c:ptCount val="3"/>
                <c:pt idx="0">
                  <c:v>CHAMPAGNE NICOLAS 1ER CRU BS 1CT X 750ML</c:v>
                </c:pt>
                <c:pt idx="1">
                  <c:v>CHAMPAGNE NICOLAS 1ER CRU ETUI 1CT X 750ML</c:v>
                </c:pt>
                <c:pt idx="2">
                  <c:v>MG CHAMPAGNE NICOLAS 1E CRU BS 1CT X 1500ML</c:v>
                </c:pt>
              </c:strCache>
            </c:strRef>
          </c:cat>
          <c:val>
            <c:numRef>
              <c:f>Sheet1!$D$2:$D$4</c:f>
              <c:numCache>
                <c:formatCode>General</c:formatCode>
                <c:ptCount val="3"/>
                <c:pt idx="0">
                  <c:v>297.49999999999994</c:v>
                </c:pt>
                <c:pt idx="1">
                  <c:v>535</c:v>
                </c:pt>
                <c:pt idx="2">
                  <c:v>556.33333333333337</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c:f>
              <c:strCache>
                <c:ptCount val="3"/>
                <c:pt idx="0">
                  <c:v>CHAMPAGNE NICOLAS 1ER CRU BS 1CT X 750ML</c:v>
                </c:pt>
                <c:pt idx="1">
                  <c:v>MG CHAMPAGNE NICOLAS 1E CRU BS 1CT X 1500ML</c:v>
                </c:pt>
                <c:pt idx="2">
                  <c:v>CHAMPAGNE NICOLAS 1ER CRU ETUI 1CT X 750ML</c:v>
                </c:pt>
              </c:strCache>
            </c:strRef>
          </c:cat>
          <c:val>
            <c:numRef>
              <c:f>Sheet1!$B$2:$B$4</c:f>
              <c:numCache>
                <c:formatCode>General</c:formatCode>
                <c:ptCount val="3"/>
                <c:pt idx="0">
                  <c:v>0.43</c:v>
                </c:pt>
                <c:pt idx="1">
                  <c:v>0.04</c:v>
                </c:pt>
                <c:pt idx="2">
                  <c:v>0.02</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7ECAC4"/>
              </a:solidFill>
            </c:spPr>
            <c:extLst>
              <c:ext xmlns:c16="http://schemas.microsoft.com/office/drawing/2014/chart" uri="{C3380CC4-5D6E-409C-BE32-E72D297353CC}">
                <c16:uniqueId val="{00000008-D8F4-40C6-A5E0-DB4B53CFB1F3}"/>
              </c:ext>
            </c:extLst>
          </c:dPt>
          <c:dPt>
            <c:idx val="2"/>
            <c:invertIfNegative val="0"/>
            <c:bubble3D val="0"/>
            <c:spPr>
              <a:solidFill>
                <a:srgbClr val="AEABAB"/>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c:f>
              <c:strCache>
                <c:ptCount val="3"/>
                <c:pt idx="0">
                  <c:v>CHAMPAGNE NICOLAS 1ER CRU BS 1CT X 750ML</c:v>
                </c:pt>
                <c:pt idx="1">
                  <c:v>MG CHAMPAGNE NICOLAS 1E CRU BS 1CT X 1500ML</c:v>
                </c:pt>
                <c:pt idx="2">
                  <c:v>CHAMPAGNE NICOLAS 1ER CRU ETUI 1CT X 750ML</c:v>
                </c:pt>
              </c:strCache>
            </c:strRef>
          </c:cat>
          <c:val>
            <c:numRef>
              <c:f>Sheet1!$C$2:$C$4</c:f>
              <c:numCache>
                <c:formatCode>General</c:formatCode>
                <c:ptCount val="3"/>
                <c:pt idx="0">
                  <c:v>0.78053241211135949</c:v>
                </c:pt>
                <c:pt idx="1">
                  <c:v>0.91541353383458646</c:v>
                </c:pt>
                <c:pt idx="2">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4</c:f>
              <c:strCache>
                <c:ptCount val="3"/>
                <c:pt idx="0">
                  <c:v>CHAMPAGNE NICOLAS 1ER CRU BS 1CT X 750ML</c:v>
                </c:pt>
                <c:pt idx="1">
                  <c:v>MG CHAMPAGNE NICOLAS 1E CRU BS 1CT X 1500ML</c:v>
                </c:pt>
                <c:pt idx="2">
                  <c:v>CHAMPAGNE NICOLAS 1ER CRU ETUI 1CT X 750ML</c:v>
                </c:pt>
              </c:strCache>
            </c:strRef>
          </c:cat>
          <c:val>
            <c:numRef>
              <c:f>Sheet1!$D$2:$D$4</c:f>
              <c:numCache>
                <c:formatCode>General</c:formatCode>
                <c:ptCount val="3"/>
                <c:pt idx="0">
                  <c:v>357.30232558139534</c:v>
                </c:pt>
                <c:pt idx="1">
                  <c:v>663.75</c:v>
                </c:pt>
                <c:pt idx="2">
                  <c:v>832.5</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6</c:f>
              <c:strCache>
                <c:ptCount val="5"/>
                <c:pt idx="0">
                  <c:v>CHAMPAGNE E.NICOLAS ROSE 1CT X 750ML</c:v>
                </c:pt>
                <c:pt idx="1">
                  <c:v>CHAMPAGNE NICOLAS ROSE 1ERE CU 1CT X 750ML</c:v>
                </c:pt>
                <c:pt idx="2">
                  <c:v>1/2 CHAMP NICOLAS ROSE 1E C BS 1CT X 375ML</c:v>
                </c:pt>
                <c:pt idx="3">
                  <c:v>CHAMPAGNE NICOLAS ROSE 1ERE ET 1CT X 750ML</c:v>
                </c:pt>
                <c:pt idx="4">
                  <c:v>CHAMPAGNE NICOLAS ROSE 1E C BS 1CT X 750ML</c:v>
                </c:pt>
              </c:strCache>
            </c:strRef>
          </c:cat>
          <c:val>
            <c:numRef>
              <c:f>Sheet1!$B$2:$B$6</c:f>
              <c:numCache>
                <c:formatCode>General</c:formatCode>
                <c:ptCount val="5"/>
                <c:pt idx="0">
                  <c:v>0.628</c:v>
                </c:pt>
                <c:pt idx="1">
                  <c:v>0.34899999999999998</c:v>
                </c:pt>
                <c:pt idx="2">
                  <c:v>0.29699999999999999</c:v>
                </c:pt>
                <c:pt idx="3">
                  <c:v>0.105</c:v>
                </c:pt>
                <c:pt idx="4">
                  <c:v>8.1000000000000003E-2</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7ECAC4"/>
              </a:solidFill>
            </c:spPr>
            <c:extLst>
              <c:ext xmlns:c16="http://schemas.microsoft.com/office/drawing/2014/chart" uri="{C3380CC4-5D6E-409C-BE32-E72D297353CC}">
                <c16:uniqueId val="{00000008-D8F4-40C6-A5E0-DB4B53CFB1F3}"/>
              </c:ext>
            </c:extLst>
          </c:dPt>
          <c:dPt>
            <c:idx val="2"/>
            <c:invertIfNegative val="0"/>
            <c:bubble3D val="0"/>
            <c:spPr>
              <a:solidFill>
                <a:srgbClr val="7ECAC4"/>
              </a:solidFill>
            </c:spPr>
            <c:extLst>
              <c:ext xmlns:c16="http://schemas.microsoft.com/office/drawing/2014/chart" uri="{C3380CC4-5D6E-409C-BE32-E72D297353CC}">
                <c16:uniqueId val="{00000006-E902-46E2-9A54-39A26B3DFDC1}"/>
              </c:ext>
            </c:extLst>
          </c:dPt>
          <c:dPt>
            <c:idx val="3"/>
            <c:invertIfNegative val="0"/>
            <c:bubble3D val="0"/>
            <c:spPr>
              <a:solidFill>
                <a:srgbClr val="AEABAB"/>
              </a:solidFill>
            </c:spPr>
            <c:extLst>
              <c:ext xmlns:c16="http://schemas.microsoft.com/office/drawing/2014/chart" uri="{C3380CC4-5D6E-409C-BE32-E72D297353CC}">
                <c16:uniqueId val="{00000007-E902-46E2-9A54-39A26B3DFDC1}"/>
              </c:ext>
            </c:extLst>
          </c:dPt>
          <c:dPt>
            <c:idx val="4"/>
            <c:invertIfNegative val="1"/>
            <c:bubble3D val="0"/>
            <c:spPr>
              <a:solidFill>
                <a:srgbClr val="AEABAB"/>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6</c:f>
              <c:strCache>
                <c:ptCount val="5"/>
                <c:pt idx="0">
                  <c:v>CHAMPAGNE E.NICOLAS ROSE 1CT X 750ML</c:v>
                </c:pt>
                <c:pt idx="1">
                  <c:v>CHAMPAGNE NICOLAS ROSE 1ERE CU 1CT X 750ML</c:v>
                </c:pt>
                <c:pt idx="2">
                  <c:v>1/2 CHAMP NICOLAS ROSE 1E C BS 1CT X 375ML</c:v>
                </c:pt>
                <c:pt idx="3">
                  <c:v>CHAMPAGNE NICOLAS ROSE 1ERE ET 1CT X 750ML</c:v>
                </c:pt>
                <c:pt idx="4">
                  <c:v>CHAMPAGNE NICOLAS ROSE 1E C BS 1CT X 750ML</c:v>
                </c:pt>
              </c:strCache>
            </c:strRef>
          </c:cat>
          <c:val>
            <c:numRef>
              <c:f>Sheet1!$C$2:$C$6</c:f>
              <c:numCache>
                <c:formatCode>General</c:formatCode>
                <c:ptCount val="5"/>
                <c:pt idx="0">
                  <c:v>0.670369487025674</c:v>
                </c:pt>
                <c:pt idx="1">
                  <c:v>0.82112269898744605</c:v>
                </c:pt>
                <c:pt idx="2">
                  <c:v>0.93956958628149623</c:v>
                </c:pt>
                <c:pt idx="3">
                  <c:v>0.9771398422988804</c:v>
                </c:pt>
                <c:pt idx="4">
                  <c:v>0.99999999999999989</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6</c:f>
              <c:strCache>
                <c:ptCount val="5"/>
                <c:pt idx="0">
                  <c:v>CHAMPAGNE E.NICOLAS ROSE 1CT X 750ML</c:v>
                </c:pt>
                <c:pt idx="1">
                  <c:v>CHAMPAGNE NICOLAS ROSE 1ERE CU 1CT X 750ML</c:v>
                </c:pt>
                <c:pt idx="2">
                  <c:v>1/2 CHAMP NICOLAS ROSE 1E C BS 1CT X 375ML</c:v>
                </c:pt>
                <c:pt idx="3">
                  <c:v>CHAMPAGNE NICOLAS ROSE 1ERE ET 1CT X 750ML</c:v>
                </c:pt>
                <c:pt idx="4">
                  <c:v>CHAMPAGNE NICOLAS ROSE 1E C BS 1CT X 750ML</c:v>
                </c:pt>
              </c:strCache>
            </c:strRef>
          </c:cat>
          <c:val>
            <c:numRef>
              <c:f>Sheet1!$D$2:$D$6</c:f>
              <c:numCache>
                <c:formatCode>General</c:formatCode>
                <c:ptCount val="5"/>
                <c:pt idx="0">
                  <c:v>4430.9394904458604</c:v>
                </c:pt>
                <c:pt idx="1">
                  <c:v>1793.0085959885387</c:v>
                </c:pt>
                <c:pt idx="2">
                  <c:v>1655.4208754208755</c:v>
                </c:pt>
                <c:pt idx="3">
                  <c:v>1485.2380952380952</c:v>
                </c:pt>
                <c:pt idx="4">
                  <c:v>1171.4814814814815</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6</c:f>
              <c:strCache>
                <c:ptCount val="5"/>
                <c:pt idx="0">
                  <c:v>CHAMPAGNE E.NICOLAS ROSE 1CT X 750ML</c:v>
                </c:pt>
                <c:pt idx="1">
                  <c:v>CHAMPAGNE NICOLAS ROSE 1ERE CU 1CT X 750ML</c:v>
                </c:pt>
                <c:pt idx="2">
                  <c:v>1/2 CHAMP NICOLAS ROSE 1E C BS 1CT X 375ML</c:v>
                </c:pt>
                <c:pt idx="3">
                  <c:v>CHAMPAGNE NICOLAS ROSE 1ERE ET 1CT X 750ML</c:v>
                </c:pt>
                <c:pt idx="4">
                  <c:v>CHAMPAGNE NICOLAS ROSE 1E C BS 1CT X 750ML</c:v>
                </c:pt>
              </c:strCache>
            </c:strRef>
          </c:cat>
          <c:val>
            <c:numRef>
              <c:f>Sheet1!$B$2:$B$6</c:f>
              <c:numCache>
                <c:formatCode>General</c:formatCode>
                <c:ptCount val="5"/>
                <c:pt idx="0">
                  <c:v>0.6</c:v>
                </c:pt>
                <c:pt idx="1">
                  <c:v>0.32</c:v>
                </c:pt>
                <c:pt idx="2">
                  <c:v>0.25</c:v>
                </c:pt>
                <c:pt idx="3">
                  <c:v>0.08</c:v>
                </c:pt>
                <c:pt idx="4">
                  <c:v>0.04</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7ECAC4"/>
              </a:solidFill>
            </c:spPr>
            <c:extLst>
              <c:ext xmlns:c16="http://schemas.microsoft.com/office/drawing/2014/chart" uri="{C3380CC4-5D6E-409C-BE32-E72D297353CC}">
                <c16:uniqueId val="{00000008-D8F4-40C6-A5E0-DB4B53CFB1F3}"/>
              </c:ext>
            </c:extLst>
          </c:dPt>
          <c:dPt>
            <c:idx val="2"/>
            <c:invertIfNegative val="0"/>
            <c:bubble3D val="0"/>
            <c:spPr>
              <a:solidFill>
                <a:srgbClr val="7ECAC4"/>
              </a:solidFill>
            </c:spPr>
            <c:extLst>
              <c:ext xmlns:c16="http://schemas.microsoft.com/office/drawing/2014/chart" uri="{C3380CC4-5D6E-409C-BE32-E72D297353CC}">
                <c16:uniqueId val="{00000006-E902-46E2-9A54-39A26B3DFDC1}"/>
              </c:ext>
            </c:extLst>
          </c:dPt>
          <c:dPt>
            <c:idx val="3"/>
            <c:invertIfNegative val="0"/>
            <c:bubble3D val="0"/>
            <c:spPr>
              <a:solidFill>
                <a:srgbClr val="AEABAB"/>
              </a:solidFill>
            </c:spPr>
            <c:extLst>
              <c:ext xmlns:c16="http://schemas.microsoft.com/office/drawing/2014/chart" uri="{C3380CC4-5D6E-409C-BE32-E72D297353CC}">
                <c16:uniqueId val="{00000007-E902-46E2-9A54-39A26B3DFDC1}"/>
              </c:ext>
            </c:extLst>
          </c:dPt>
          <c:dPt>
            <c:idx val="4"/>
            <c:invertIfNegative val="1"/>
            <c:bubble3D val="0"/>
            <c:spPr>
              <a:solidFill>
                <a:srgbClr val="AEABAB"/>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6</c:f>
              <c:strCache>
                <c:ptCount val="5"/>
                <c:pt idx="0">
                  <c:v>CHAMPAGNE E.NICOLAS ROSE 1CT X 750ML</c:v>
                </c:pt>
                <c:pt idx="1">
                  <c:v>CHAMPAGNE NICOLAS ROSE 1ERE CU 1CT X 750ML</c:v>
                </c:pt>
                <c:pt idx="2">
                  <c:v>1/2 CHAMP NICOLAS ROSE 1E C BS 1CT X 375ML</c:v>
                </c:pt>
                <c:pt idx="3">
                  <c:v>CHAMPAGNE NICOLAS ROSE 1ERE ET 1CT X 750ML</c:v>
                </c:pt>
                <c:pt idx="4">
                  <c:v>CHAMPAGNE NICOLAS ROSE 1E C BS 1CT X 750ML</c:v>
                </c:pt>
              </c:strCache>
            </c:strRef>
          </c:cat>
          <c:val>
            <c:numRef>
              <c:f>Sheet1!$C$2:$C$6</c:f>
              <c:numCache>
                <c:formatCode>General</c:formatCode>
                <c:ptCount val="5"/>
                <c:pt idx="0">
                  <c:v>0.65622626235743553</c:v>
                </c:pt>
                <c:pt idx="1">
                  <c:v>0.81473411068048374</c:v>
                </c:pt>
                <c:pt idx="2">
                  <c:v>0.94302411328642644</c:v>
                </c:pt>
                <c:pt idx="3">
                  <c:v>0.97869226035030532</c:v>
                </c:pt>
                <c:pt idx="4">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6</c:f>
              <c:strCache>
                <c:ptCount val="5"/>
                <c:pt idx="0">
                  <c:v>CHAMPAGNE E.NICOLAS ROSE 1CT X 750ML</c:v>
                </c:pt>
                <c:pt idx="1">
                  <c:v>CHAMPAGNE NICOLAS ROSE 1ERE CU 1CT X 750ML</c:v>
                </c:pt>
                <c:pt idx="2">
                  <c:v>1/2 CHAMP NICOLAS ROSE 1E C BS 1CT X 375ML</c:v>
                </c:pt>
                <c:pt idx="3">
                  <c:v>CHAMPAGNE NICOLAS ROSE 1ERE ET 1CT X 750ML</c:v>
                </c:pt>
                <c:pt idx="4">
                  <c:v>CHAMPAGNE NICOLAS ROSE 1E C BS 1CT X 750ML</c:v>
                </c:pt>
              </c:strCache>
            </c:strRef>
          </c:cat>
          <c:val>
            <c:numRef>
              <c:f>Sheet1!$D$2:$D$6</c:f>
              <c:numCache>
                <c:formatCode>General</c:formatCode>
                <c:ptCount val="5"/>
                <c:pt idx="0">
                  <c:v>1972.5833333333333</c:v>
                </c:pt>
                <c:pt idx="1">
                  <c:v>893.375</c:v>
                </c:pt>
                <c:pt idx="2">
                  <c:v>925.52</c:v>
                </c:pt>
                <c:pt idx="3">
                  <c:v>804.125</c:v>
                </c:pt>
                <c:pt idx="4">
                  <c:v>960.75</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6</c:f>
              <c:strCache>
                <c:ptCount val="5"/>
                <c:pt idx="0">
                  <c:v>CHAMPAGNE E.NICOLAS ROSE 1CT X 750ML</c:v>
                </c:pt>
                <c:pt idx="1">
                  <c:v>CHAMPAGNE NICOLAS ROSE 1ERE CU 1CT X 750ML</c:v>
                </c:pt>
                <c:pt idx="2">
                  <c:v>1/2 CHAMP NICOLAS ROSE 1E C BS 1CT X 375ML</c:v>
                </c:pt>
                <c:pt idx="3">
                  <c:v>CHAMPAGNE NICOLAS ROSE 1ERE ET 1CT X 750ML</c:v>
                </c:pt>
                <c:pt idx="4">
                  <c:v>CHAMPAGNE NICOLAS ROSE 1E C BS 1CT X 750ML</c:v>
                </c:pt>
              </c:strCache>
            </c:strRef>
          </c:cat>
          <c:val>
            <c:numRef>
              <c:f>Sheet1!$B$2:$B$6</c:f>
              <c:numCache>
                <c:formatCode>General</c:formatCode>
                <c:ptCount val="5"/>
                <c:pt idx="0">
                  <c:v>0.61</c:v>
                </c:pt>
                <c:pt idx="1">
                  <c:v>0.28000000000000003</c:v>
                </c:pt>
                <c:pt idx="2">
                  <c:v>0.25</c:v>
                </c:pt>
                <c:pt idx="3">
                  <c:v>0.09</c:v>
                </c:pt>
                <c:pt idx="4">
                  <c:v>0.08</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7ECAC4"/>
              </a:solidFill>
            </c:spPr>
            <c:extLst>
              <c:ext xmlns:c16="http://schemas.microsoft.com/office/drawing/2014/chart" uri="{C3380CC4-5D6E-409C-BE32-E72D297353CC}">
                <c16:uniqueId val="{00000008-D8F4-40C6-A5E0-DB4B53CFB1F3}"/>
              </c:ext>
            </c:extLst>
          </c:dPt>
          <c:dPt>
            <c:idx val="2"/>
            <c:invertIfNegative val="0"/>
            <c:bubble3D val="0"/>
            <c:spPr>
              <a:solidFill>
                <a:srgbClr val="7ECAC4"/>
              </a:solidFill>
            </c:spPr>
            <c:extLst>
              <c:ext xmlns:c16="http://schemas.microsoft.com/office/drawing/2014/chart" uri="{C3380CC4-5D6E-409C-BE32-E72D297353CC}">
                <c16:uniqueId val="{00000006-E902-46E2-9A54-39A26B3DFDC1}"/>
              </c:ext>
            </c:extLst>
          </c:dPt>
          <c:dPt>
            <c:idx val="3"/>
            <c:invertIfNegative val="0"/>
            <c:bubble3D val="0"/>
            <c:spPr>
              <a:solidFill>
                <a:srgbClr val="AEABAB"/>
              </a:solidFill>
            </c:spPr>
            <c:extLst>
              <c:ext xmlns:c16="http://schemas.microsoft.com/office/drawing/2014/chart" uri="{C3380CC4-5D6E-409C-BE32-E72D297353CC}">
                <c16:uniqueId val="{00000007-E902-46E2-9A54-39A26B3DFDC1}"/>
              </c:ext>
            </c:extLst>
          </c:dPt>
          <c:dPt>
            <c:idx val="4"/>
            <c:invertIfNegative val="1"/>
            <c:bubble3D val="0"/>
            <c:spPr>
              <a:solidFill>
                <a:srgbClr val="AEABAB"/>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6</c:f>
              <c:strCache>
                <c:ptCount val="5"/>
                <c:pt idx="0">
                  <c:v>CHAMPAGNE E.NICOLAS ROSE 1CT X 750ML</c:v>
                </c:pt>
                <c:pt idx="1">
                  <c:v>CHAMPAGNE NICOLAS ROSE 1ERE CU 1CT X 750ML</c:v>
                </c:pt>
                <c:pt idx="2">
                  <c:v>1/2 CHAMP NICOLAS ROSE 1E C BS 1CT X 375ML</c:v>
                </c:pt>
                <c:pt idx="3">
                  <c:v>CHAMPAGNE NICOLAS ROSE 1ERE ET 1CT X 750ML</c:v>
                </c:pt>
                <c:pt idx="4">
                  <c:v>CHAMPAGNE NICOLAS ROSE 1E C BS 1CT X 750ML</c:v>
                </c:pt>
              </c:strCache>
            </c:strRef>
          </c:cat>
          <c:val>
            <c:numRef>
              <c:f>Sheet1!$C$2:$C$6</c:f>
              <c:numCache>
                <c:formatCode>General</c:formatCode>
                <c:ptCount val="5"/>
                <c:pt idx="0">
                  <c:v>0.69297704979682229</c:v>
                </c:pt>
                <c:pt idx="1">
                  <c:v>0.82479708343344238</c:v>
                </c:pt>
                <c:pt idx="2">
                  <c:v>0.93159857514441813</c:v>
                </c:pt>
                <c:pt idx="3">
                  <c:v>0.97124173447962481</c:v>
                </c:pt>
                <c:pt idx="4">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6</c:f>
              <c:strCache>
                <c:ptCount val="5"/>
                <c:pt idx="0">
                  <c:v>CHAMPAGNE E.NICOLAS ROSE 1CT X 750ML</c:v>
                </c:pt>
                <c:pt idx="1">
                  <c:v>CHAMPAGNE NICOLAS ROSE 1ERE CU 1CT X 750ML</c:v>
                </c:pt>
                <c:pt idx="2">
                  <c:v>1/2 CHAMP NICOLAS ROSE 1E C BS 1CT X 375ML</c:v>
                </c:pt>
                <c:pt idx="3">
                  <c:v>CHAMPAGNE NICOLAS ROSE 1ERE ET 1CT X 750ML</c:v>
                </c:pt>
                <c:pt idx="4">
                  <c:v>CHAMPAGNE NICOLAS ROSE 1E C BS 1CT X 750ML</c:v>
                </c:pt>
              </c:strCache>
            </c:strRef>
          </c:cat>
          <c:val>
            <c:numRef>
              <c:f>Sheet1!$D$2:$D$6</c:f>
              <c:numCache>
                <c:formatCode>General</c:formatCode>
                <c:ptCount val="5"/>
                <c:pt idx="0">
                  <c:v>1087.5081967213114</c:v>
                </c:pt>
                <c:pt idx="1">
                  <c:v>450.67857142857139</c:v>
                </c:pt>
                <c:pt idx="2">
                  <c:v>408.96</c:v>
                </c:pt>
                <c:pt idx="3">
                  <c:v>421.66666666666669</c:v>
                </c:pt>
                <c:pt idx="4">
                  <c:v>344.125</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6</c:f>
              <c:strCache>
                <c:ptCount val="5"/>
                <c:pt idx="0">
                  <c:v>CHAMPAGNE E.NICOLAS ROSE 1CT X 750ML</c:v>
                </c:pt>
                <c:pt idx="1">
                  <c:v>CHAMPAGNE NICOLAS ROSE 1ERE CU 1CT X 750ML</c:v>
                </c:pt>
                <c:pt idx="2">
                  <c:v>1/2 CHAMP NICOLAS ROSE 1E C BS 1CT X 375ML</c:v>
                </c:pt>
                <c:pt idx="3">
                  <c:v>CHAMPAGNE NICOLAS ROSE 1ERE ET 1CT X 750ML</c:v>
                </c:pt>
                <c:pt idx="4">
                  <c:v>CHAMPAGNE NICOLAS ROSE 1E C BS 1CT X 750ML</c:v>
                </c:pt>
              </c:strCache>
            </c:strRef>
          </c:cat>
          <c:val>
            <c:numRef>
              <c:f>Sheet1!$B$2:$B$6</c:f>
              <c:numCache>
                <c:formatCode>General</c:formatCode>
                <c:ptCount val="5"/>
                <c:pt idx="0">
                  <c:v>0.56000000000000005</c:v>
                </c:pt>
                <c:pt idx="1">
                  <c:v>0.42</c:v>
                </c:pt>
                <c:pt idx="2">
                  <c:v>0.35</c:v>
                </c:pt>
                <c:pt idx="3">
                  <c:v>0.1</c:v>
                </c:pt>
                <c:pt idx="4">
                  <c:v>0.11</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AEABAB"/>
              </a:solidFill>
            </c:spPr>
            <c:extLst>
              <c:ext xmlns:c16="http://schemas.microsoft.com/office/drawing/2014/chart" uri="{C3380CC4-5D6E-409C-BE32-E72D297353CC}">
                <c16:uniqueId val="{00000006-E902-46E2-9A54-39A26B3DFDC1}"/>
              </c:ext>
            </c:extLst>
          </c:dPt>
          <c:dPt>
            <c:idx val="3"/>
            <c:invertIfNegative val="0"/>
            <c:bubble3D val="0"/>
            <c:spPr>
              <a:solidFill>
                <a:srgbClr val="AEABAB"/>
              </a:solidFill>
            </c:spPr>
            <c:extLst>
              <c:ext xmlns:c16="http://schemas.microsoft.com/office/drawing/2014/chart" uri="{C3380CC4-5D6E-409C-BE32-E72D297353CC}">
                <c16:uniqueId val="{00000007-E902-46E2-9A54-39A26B3DFDC1}"/>
              </c:ext>
            </c:extLst>
          </c:dPt>
          <c:dPt>
            <c:idx val="4"/>
            <c:invertIfNegative val="1"/>
            <c:bubble3D val="0"/>
            <c:spPr>
              <a:solidFill>
                <a:srgbClr val="AEABAB"/>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6</c:f>
              <c:strCache>
                <c:ptCount val="5"/>
                <c:pt idx="0">
                  <c:v>CHAMPAGNE E.NICOLAS ROSE 1CT X 750ML</c:v>
                </c:pt>
                <c:pt idx="1">
                  <c:v>CHAMPAGNE NICOLAS ROSE 1ERE CU 1CT X 750ML</c:v>
                </c:pt>
                <c:pt idx="2">
                  <c:v>1/2 CHAMP NICOLAS ROSE 1E C BS 1CT X 375ML</c:v>
                </c:pt>
                <c:pt idx="3">
                  <c:v>CHAMPAGNE NICOLAS ROSE 1ERE ET 1CT X 750ML</c:v>
                </c:pt>
                <c:pt idx="4">
                  <c:v>CHAMPAGNE NICOLAS ROSE 1E C BS 1CT X 750ML</c:v>
                </c:pt>
              </c:strCache>
            </c:strRef>
          </c:cat>
          <c:val>
            <c:numRef>
              <c:f>Sheet1!$C$2:$C$6</c:f>
              <c:numCache>
                <c:formatCode>General</c:formatCode>
                <c:ptCount val="5"/>
                <c:pt idx="0">
                  <c:v>0.61558484194728447</c:v>
                </c:pt>
                <c:pt idx="1">
                  <c:v>0.78798893161992312</c:v>
                </c:pt>
                <c:pt idx="2">
                  <c:v>0.95553888003001597</c:v>
                </c:pt>
                <c:pt idx="3">
                  <c:v>0.98044273520307668</c:v>
                </c:pt>
                <c:pt idx="4">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6</c:f>
              <c:strCache>
                <c:ptCount val="5"/>
                <c:pt idx="0">
                  <c:v>CHAMPAGNE E.NICOLAS ROSE 1CT X 750ML</c:v>
                </c:pt>
                <c:pt idx="1">
                  <c:v>CHAMPAGNE NICOLAS ROSE 1ERE CU 1CT X 750ML</c:v>
                </c:pt>
                <c:pt idx="2">
                  <c:v>1/2 CHAMP NICOLAS ROSE 1E C BS 1CT X 375ML</c:v>
                </c:pt>
                <c:pt idx="3">
                  <c:v>CHAMPAGNE NICOLAS ROSE 1ERE ET 1CT X 750ML</c:v>
                </c:pt>
                <c:pt idx="4">
                  <c:v>CHAMPAGNE NICOLAS ROSE 1E C BS 1CT X 750ML</c:v>
                </c:pt>
              </c:strCache>
            </c:strRef>
          </c:cat>
          <c:val>
            <c:numRef>
              <c:f>Sheet1!$D$2:$D$6</c:f>
              <c:numCache>
                <c:formatCode>General</c:formatCode>
                <c:ptCount val="5"/>
                <c:pt idx="0">
                  <c:v>468.76785714285711</c:v>
                </c:pt>
                <c:pt idx="1">
                  <c:v>175.04761904761904</c:v>
                </c:pt>
                <c:pt idx="2">
                  <c:v>204.14285714285714</c:v>
                </c:pt>
                <c:pt idx="3">
                  <c:v>106.2</c:v>
                </c:pt>
                <c:pt idx="4">
                  <c:v>75.818181818181813</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6</c:f>
              <c:strCache>
                <c:ptCount val="5"/>
                <c:pt idx="0">
                  <c:v>CHAMPAGNE E.NICOLAS ROSE 1CT X 750ML</c:v>
                </c:pt>
                <c:pt idx="1">
                  <c:v>CHAMPAGNE NICOLAS ROSE 1ERE CU 1CT X 750ML</c:v>
                </c:pt>
                <c:pt idx="2">
                  <c:v>1/2 CHAMP NICOLAS ROSE 1E C BS 1CT X 375ML</c:v>
                </c:pt>
                <c:pt idx="3">
                  <c:v>CHAMPAGNE NICOLAS ROSE 1ERE ET 1CT X 750ML</c:v>
                </c:pt>
                <c:pt idx="4">
                  <c:v>CHAMPAGNE NICOLAS ROSE 1E C BS 1CT X 750ML</c:v>
                </c:pt>
              </c:strCache>
            </c:strRef>
          </c:cat>
          <c:val>
            <c:numRef>
              <c:f>Sheet1!$B$2:$B$6</c:f>
              <c:numCache>
                <c:formatCode>General</c:formatCode>
                <c:ptCount val="5"/>
                <c:pt idx="0">
                  <c:v>0.64</c:v>
                </c:pt>
                <c:pt idx="1">
                  <c:v>0.38</c:v>
                </c:pt>
                <c:pt idx="2">
                  <c:v>0.44</c:v>
                </c:pt>
                <c:pt idx="3">
                  <c:v>0.1</c:v>
                </c:pt>
                <c:pt idx="4">
                  <c:v>0.2</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7ECAC4"/>
              </a:solidFill>
            </c:spPr>
            <c:extLst>
              <c:ext xmlns:c16="http://schemas.microsoft.com/office/drawing/2014/chart" uri="{C3380CC4-5D6E-409C-BE32-E72D297353CC}">
                <c16:uniqueId val="{00000008-D8F4-40C6-A5E0-DB4B53CFB1F3}"/>
              </c:ext>
            </c:extLst>
          </c:dPt>
          <c:dPt>
            <c:idx val="2"/>
            <c:invertIfNegative val="0"/>
            <c:bubble3D val="0"/>
            <c:spPr>
              <a:solidFill>
                <a:srgbClr val="7ECAC4"/>
              </a:solidFill>
            </c:spPr>
            <c:extLst>
              <c:ext xmlns:c16="http://schemas.microsoft.com/office/drawing/2014/chart" uri="{C3380CC4-5D6E-409C-BE32-E72D297353CC}">
                <c16:uniqueId val="{00000006-E902-46E2-9A54-39A26B3DFDC1}"/>
              </c:ext>
            </c:extLst>
          </c:dPt>
          <c:dPt>
            <c:idx val="3"/>
            <c:invertIfNegative val="0"/>
            <c:bubble3D val="0"/>
            <c:spPr>
              <a:solidFill>
                <a:srgbClr val="AEABAB"/>
              </a:solidFill>
            </c:spPr>
            <c:extLst>
              <c:ext xmlns:c16="http://schemas.microsoft.com/office/drawing/2014/chart" uri="{C3380CC4-5D6E-409C-BE32-E72D297353CC}">
                <c16:uniqueId val="{00000007-E902-46E2-9A54-39A26B3DFDC1}"/>
              </c:ext>
            </c:extLst>
          </c:dPt>
          <c:dPt>
            <c:idx val="4"/>
            <c:invertIfNegative val="1"/>
            <c:bubble3D val="0"/>
            <c:spPr>
              <a:solidFill>
                <a:srgbClr val="AEABAB"/>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6</c:f>
              <c:strCache>
                <c:ptCount val="5"/>
                <c:pt idx="0">
                  <c:v>CHAMPAGNE E.NICOLAS ROSE 1CT X 750ML</c:v>
                </c:pt>
                <c:pt idx="1">
                  <c:v>CHAMPAGNE NICOLAS ROSE 1ERE CU 1CT X 750ML</c:v>
                </c:pt>
                <c:pt idx="2">
                  <c:v>1/2 CHAMP NICOLAS ROSE 1E C BS 1CT X 375ML</c:v>
                </c:pt>
                <c:pt idx="3">
                  <c:v>CHAMPAGNE NICOLAS ROSE 1ERE ET 1CT X 750ML</c:v>
                </c:pt>
                <c:pt idx="4">
                  <c:v>CHAMPAGNE NICOLAS ROSE 1E C BS 1CT X 750ML</c:v>
                </c:pt>
              </c:strCache>
            </c:strRef>
          </c:cat>
          <c:val>
            <c:numRef>
              <c:f>Sheet1!$C$2:$C$6</c:f>
              <c:numCache>
                <c:formatCode>General</c:formatCode>
                <c:ptCount val="5"/>
                <c:pt idx="0">
                  <c:v>0.67943246480982333</c:v>
                </c:pt>
                <c:pt idx="1">
                  <c:v>0.82172806229410011</c:v>
                </c:pt>
                <c:pt idx="2">
                  <c:v>0.93358790056903274</c:v>
                </c:pt>
                <c:pt idx="3">
                  <c:v>0.97985923929320162</c:v>
                </c:pt>
                <c:pt idx="4">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6</c:f>
              <c:strCache>
                <c:ptCount val="5"/>
                <c:pt idx="0">
                  <c:v>CHAMPAGNE E.NICOLAS ROSE 1CT X 750ML</c:v>
                </c:pt>
                <c:pt idx="1">
                  <c:v>CHAMPAGNE NICOLAS ROSE 1ERE CU 1CT X 750ML</c:v>
                </c:pt>
                <c:pt idx="2">
                  <c:v>1/2 CHAMP NICOLAS ROSE 1E C BS 1CT X 375ML</c:v>
                </c:pt>
                <c:pt idx="3">
                  <c:v>CHAMPAGNE NICOLAS ROSE 1ERE ET 1CT X 750ML</c:v>
                </c:pt>
                <c:pt idx="4">
                  <c:v>CHAMPAGNE NICOLAS ROSE 1E C BS 1CT X 750ML</c:v>
                </c:pt>
              </c:strCache>
            </c:strRef>
          </c:cat>
          <c:val>
            <c:numRef>
              <c:f>Sheet1!$D$2:$D$6</c:f>
              <c:numCache>
                <c:formatCode>General</c:formatCode>
                <c:ptCount val="5"/>
                <c:pt idx="0">
                  <c:v>283.578125</c:v>
                </c:pt>
                <c:pt idx="1">
                  <c:v>100.02631578947368</c:v>
                </c:pt>
                <c:pt idx="2">
                  <c:v>67.909090909090907</c:v>
                </c:pt>
                <c:pt idx="3">
                  <c:v>123.6</c:v>
                </c:pt>
                <c:pt idx="4">
                  <c:v>26.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6</c:f>
              <c:strCache>
                <c:ptCount val="5"/>
                <c:pt idx="0">
                  <c:v>CHAMPAGNE E.NICOLAS ROSE 1CT X 750ML</c:v>
                </c:pt>
                <c:pt idx="1">
                  <c:v>CHAMPAGNE NICOLAS ROSE 1ERE CU 1CT X 750ML</c:v>
                </c:pt>
                <c:pt idx="2">
                  <c:v>1/2 CHAMP NICOLAS ROSE 1E C BS 1CT X 375ML</c:v>
                </c:pt>
                <c:pt idx="3">
                  <c:v>CHAMPAGNE NICOLAS ROSE 1ERE ET 1CT X 750ML</c:v>
                </c:pt>
                <c:pt idx="4">
                  <c:v>CHAMPAGNE NICOLAS ROSE 1E C BS 1CT X 750ML</c:v>
                </c:pt>
              </c:strCache>
            </c:strRef>
          </c:cat>
          <c:val>
            <c:numRef>
              <c:f>Sheet1!$B$2:$B$6</c:f>
              <c:numCache>
                <c:formatCode>General</c:formatCode>
                <c:ptCount val="5"/>
                <c:pt idx="0">
                  <c:v>0.82</c:v>
                </c:pt>
                <c:pt idx="1">
                  <c:v>0.39</c:v>
                </c:pt>
                <c:pt idx="2">
                  <c:v>0.43</c:v>
                </c:pt>
                <c:pt idx="3">
                  <c:v>0.21</c:v>
                </c:pt>
                <c:pt idx="4">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7ECAC4"/>
              </a:solidFill>
            </c:spPr>
            <c:extLst>
              <c:ext xmlns:c16="http://schemas.microsoft.com/office/drawing/2014/chart" uri="{C3380CC4-5D6E-409C-BE32-E72D297353CC}">
                <c16:uniqueId val="{00000008-D8F4-40C6-A5E0-DB4B53CFB1F3}"/>
              </c:ext>
            </c:extLst>
          </c:dPt>
          <c:dPt>
            <c:idx val="2"/>
            <c:invertIfNegative val="0"/>
            <c:bubble3D val="0"/>
            <c:spPr>
              <a:solidFill>
                <a:srgbClr val="7ECAC4"/>
              </a:solidFill>
            </c:spPr>
            <c:extLst>
              <c:ext xmlns:c16="http://schemas.microsoft.com/office/drawing/2014/chart" uri="{C3380CC4-5D6E-409C-BE32-E72D297353CC}">
                <c16:uniqueId val="{00000006-E902-46E2-9A54-39A26B3DFDC1}"/>
              </c:ext>
            </c:extLst>
          </c:dPt>
          <c:dPt>
            <c:idx val="3"/>
            <c:invertIfNegative val="0"/>
            <c:bubble3D val="0"/>
            <c:spPr>
              <a:solidFill>
                <a:srgbClr val="AEABAB"/>
              </a:solidFill>
            </c:spPr>
            <c:extLst>
              <c:ext xmlns:c16="http://schemas.microsoft.com/office/drawing/2014/chart" uri="{C3380CC4-5D6E-409C-BE32-E72D297353CC}">
                <c16:uniqueId val="{00000007-E902-46E2-9A54-39A26B3DFDC1}"/>
              </c:ext>
            </c:extLst>
          </c:dPt>
          <c:dPt>
            <c:idx val="4"/>
            <c:invertIfNegative val="1"/>
            <c:bubble3D val="0"/>
            <c:spPr>
              <a:solidFill>
                <a:srgbClr val="AEABAB"/>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6</c:f>
              <c:strCache>
                <c:ptCount val="5"/>
                <c:pt idx="0">
                  <c:v>CHAMPAGNE E.NICOLAS ROSE 1CT X 750ML</c:v>
                </c:pt>
                <c:pt idx="1">
                  <c:v>CHAMPAGNE NICOLAS ROSE 1ERE CU 1CT X 750ML</c:v>
                </c:pt>
                <c:pt idx="2">
                  <c:v>1/2 CHAMP NICOLAS ROSE 1E C BS 1CT X 375ML</c:v>
                </c:pt>
                <c:pt idx="3">
                  <c:v>CHAMPAGNE NICOLAS ROSE 1ERE ET 1CT X 750ML</c:v>
                </c:pt>
                <c:pt idx="4">
                  <c:v>CHAMPAGNE NICOLAS ROSE 1E C BS 1CT X 750ML</c:v>
                </c:pt>
              </c:strCache>
            </c:strRef>
          </c:cat>
          <c:val>
            <c:numRef>
              <c:f>Sheet1!$C$2:$C$6</c:f>
              <c:numCache>
                <c:formatCode>General</c:formatCode>
                <c:ptCount val="5"/>
                <c:pt idx="0">
                  <c:v>0.68635803736399092</c:v>
                </c:pt>
                <c:pt idx="1">
                  <c:v>0.80907411209197289</c:v>
                </c:pt>
                <c:pt idx="2">
                  <c:v>0.91531513036337508</c:v>
                </c:pt>
                <c:pt idx="3">
                  <c:v>0.97053993019913776</c:v>
                </c:pt>
                <c:pt idx="4">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6</c:f>
              <c:strCache>
                <c:ptCount val="5"/>
                <c:pt idx="0">
                  <c:v>CHAMPAGNE E.NICOLAS ROSE 1CT X 750ML</c:v>
                </c:pt>
                <c:pt idx="1">
                  <c:v>CHAMPAGNE NICOLAS ROSE 1ERE CU 1CT X 750ML</c:v>
                </c:pt>
                <c:pt idx="2">
                  <c:v>1/2 CHAMP NICOLAS ROSE 1E C BS 1CT X 375ML</c:v>
                </c:pt>
                <c:pt idx="3">
                  <c:v>CHAMPAGNE NICOLAS ROSE 1ERE ET 1CT X 750ML</c:v>
                </c:pt>
                <c:pt idx="4">
                  <c:v>CHAMPAGNE NICOLAS ROSE 1E C BS 1CT X 750ML</c:v>
                </c:pt>
              </c:strCache>
            </c:strRef>
          </c:cat>
          <c:val>
            <c:numRef>
              <c:f>Sheet1!$D$2:$D$6</c:f>
              <c:numCache>
                <c:formatCode>General</c:formatCode>
                <c:ptCount val="5"/>
                <c:pt idx="0">
                  <c:v>163.08536585365854</c:v>
                </c:pt>
                <c:pt idx="1">
                  <c:v>61.307692307692307</c:v>
                </c:pt>
                <c:pt idx="2">
                  <c:v>48.139534883720927</c:v>
                </c:pt>
                <c:pt idx="3">
                  <c:v>51.238095238095241</c:v>
                </c:pt>
                <c:pt idx="4">
                  <c:v>63.77777777777777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6</c:f>
              <c:strCache>
                <c:ptCount val="5"/>
                <c:pt idx="0">
                  <c:v>CHAMPAGNE E.NICOLAS ROSE 1CT X 750ML</c:v>
                </c:pt>
                <c:pt idx="1">
                  <c:v>CHAMPAGNE NICOLAS ROSE 1ERE CU 1CT X 750ML</c:v>
                </c:pt>
                <c:pt idx="2">
                  <c:v>1/2 CHAMP NICOLAS ROSE 1E C BS 1CT X 375ML</c:v>
                </c:pt>
                <c:pt idx="3">
                  <c:v>CHAMPAGNE NICOLAS ROSE 1ERE ET 1CT X 750ML</c:v>
                </c:pt>
                <c:pt idx="4">
                  <c:v>CHAMPAGNE NICOLAS ROSE 1E C BS 1CT X 750ML</c:v>
                </c:pt>
              </c:strCache>
            </c:strRef>
          </c:cat>
          <c:val>
            <c:numRef>
              <c:f>Sheet1!$B$2:$B$6</c:f>
              <c:numCache>
                <c:formatCode>General</c:formatCode>
                <c:ptCount val="5"/>
                <c:pt idx="0">
                  <c:v>0.59</c:v>
                </c:pt>
                <c:pt idx="1">
                  <c:v>0.33</c:v>
                </c:pt>
                <c:pt idx="2">
                  <c:v>0.27</c:v>
                </c:pt>
                <c:pt idx="3">
                  <c:v>0.09</c:v>
                </c:pt>
                <c:pt idx="4">
                  <c:v>0.05</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7ECAC4"/>
              </a:solidFill>
            </c:spPr>
            <c:extLst>
              <c:ext xmlns:c16="http://schemas.microsoft.com/office/drawing/2014/chart" uri="{C3380CC4-5D6E-409C-BE32-E72D297353CC}">
                <c16:uniqueId val="{00000008-D8F4-40C6-A5E0-DB4B53CFB1F3}"/>
              </c:ext>
            </c:extLst>
          </c:dPt>
          <c:dPt>
            <c:idx val="2"/>
            <c:invertIfNegative val="0"/>
            <c:bubble3D val="0"/>
            <c:spPr>
              <a:solidFill>
                <a:srgbClr val="7ECAC4"/>
              </a:solidFill>
            </c:spPr>
            <c:extLst>
              <c:ext xmlns:c16="http://schemas.microsoft.com/office/drawing/2014/chart" uri="{C3380CC4-5D6E-409C-BE32-E72D297353CC}">
                <c16:uniqueId val="{00000006-E902-46E2-9A54-39A26B3DFDC1}"/>
              </c:ext>
            </c:extLst>
          </c:dPt>
          <c:dPt>
            <c:idx val="3"/>
            <c:invertIfNegative val="0"/>
            <c:bubble3D val="0"/>
            <c:spPr>
              <a:solidFill>
                <a:srgbClr val="AEABAB"/>
              </a:solidFill>
            </c:spPr>
            <c:extLst>
              <c:ext xmlns:c16="http://schemas.microsoft.com/office/drawing/2014/chart" uri="{C3380CC4-5D6E-409C-BE32-E72D297353CC}">
                <c16:uniqueId val="{00000007-E902-46E2-9A54-39A26B3DFDC1}"/>
              </c:ext>
            </c:extLst>
          </c:dPt>
          <c:dPt>
            <c:idx val="4"/>
            <c:invertIfNegative val="1"/>
            <c:bubble3D val="0"/>
            <c:spPr>
              <a:solidFill>
                <a:srgbClr val="AEABAB"/>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6</c:f>
              <c:strCache>
                <c:ptCount val="5"/>
                <c:pt idx="0">
                  <c:v>CHAMPAGNE E.NICOLAS ROSE 1CT X 750ML</c:v>
                </c:pt>
                <c:pt idx="1">
                  <c:v>CHAMPAGNE NICOLAS ROSE 1ERE CU 1CT X 750ML</c:v>
                </c:pt>
                <c:pt idx="2">
                  <c:v>1/2 CHAMP NICOLAS ROSE 1E C BS 1CT X 375ML</c:v>
                </c:pt>
                <c:pt idx="3">
                  <c:v>CHAMPAGNE NICOLAS ROSE 1ERE ET 1CT X 750ML</c:v>
                </c:pt>
                <c:pt idx="4">
                  <c:v>CHAMPAGNE NICOLAS ROSE 1E C BS 1CT X 750ML</c:v>
                </c:pt>
              </c:strCache>
            </c:strRef>
          </c:cat>
          <c:val>
            <c:numRef>
              <c:f>Sheet1!$C$2:$C$6</c:f>
              <c:numCache>
                <c:formatCode>General</c:formatCode>
                <c:ptCount val="5"/>
                <c:pt idx="0">
                  <c:v>0.65668383862087976</c:v>
                </c:pt>
                <c:pt idx="1">
                  <c:v>0.81683745497483806</c:v>
                </c:pt>
                <c:pt idx="2">
                  <c:v>0.94265088783845696</c:v>
                </c:pt>
                <c:pt idx="3">
                  <c:v>0.98090970383035148</c:v>
                </c:pt>
                <c:pt idx="4">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6</c:f>
              <c:strCache>
                <c:ptCount val="5"/>
                <c:pt idx="0">
                  <c:v>CHAMPAGNE E.NICOLAS ROSE 1CT X 750ML</c:v>
                </c:pt>
                <c:pt idx="1">
                  <c:v>CHAMPAGNE NICOLAS ROSE 1ERE CU 1CT X 750ML</c:v>
                </c:pt>
                <c:pt idx="2">
                  <c:v>1/2 CHAMP NICOLAS ROSE 1E C BS 1CT X 375ML</c:v>
                </c:pt>
                <c:pt idx="3">
                  <c:v>CHAMPAGNE NICOLAS ROSE 1ERE ET 1CT X 750ML</c:v>
                </c:pt>
                <c:pt idx="4">
                  <c:v>CHAMPAGNE NICOLAS ROSE 1E C BS 1CT X 750ML</c:v>
                </c:pt>
              </c:strCache>
            </c:strRef>
          </c:cat>
          <c:val>
            <c:numRef>
              <c:f>Sheet1!$D$2:$D$6</c:f>
              <c:numCache>
                <c:formatCode>General</c:formatCode>
                <c:ptCount val="5"/>
                <c:pt idx="0">
                  <c:v>2988.0338983050847</c:v>
                </c:pt>
                <c:pt idx="1">
                  <c:v>1302.878787878788</c:v>
                </c:pt>
                <c:pt idx="2">
                  <c:v>1250.962962962963</c:v>
                </c:pt>
                <c:pt idx="3">
                  <c:v>1141.2222222222222</c:v>
                </c:pt>
                <c:pt idx="4">
                  <c:v>1025</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6</c:f>
              <c:strCache>
                <c:ptCount val="5"/>
                <c:pt idx="0">
                  <c:v>CHAMPAGNE E.NICOLAS ROSE 1CT X 750ML</c:v>
                </c:pt>
                <c:pt idx="1">
                  <c:v>CHAMPAGNE NICOLAS ROSE 1ERE CU 1CT X 750ML</c:v>
                </c:pt>
                <c:pt idx="2">
                  <c:v>1/2 CHAMP NICOLAS ROSE 1E C BS 1CT X 375ML</c:v>
                </c:pt>
                <c:pt idx="3">
                  <c:v>CHAMPAGNE NICOLAS ROSE 1ERE ET 1CT X 750ML</c:v>
                </c:pt>
                <c:pt idx="4">
                  <c:v>CHAMPAGNE NICOLAS ROSE 1E C BS 1CT X 750ML</c:v>
                </c:pt>
              </c:strCache>
            </c:strRef>
          </c:cat>
          <c:val>
            <c:numRef>
              <c:f>Sheet1!$B$2:$B$6</c:f>
              <c:numCache>
                <c:formatCode>General</c:formatCode>
                <c:ptCount val="5"/>
                <c:pt idx="0">
                  <c:v>0.86</c:v>
                </c:pt>
                <c:pt idx="1">
                  <c:v>0.43</c:v>
                </c:pt>
                <c:pt idx="2">
                  <c:v>0.41</c:v>
                </c:pt>
                <c:pt idx="3">
                  <c:v>0.09</c:v>
                </c:pt>
                <c:pt idx="4">
                  <c:v>0.08</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7ECAC4"/>
              </a:solidFill>
            </c:spPr>
            <c:extLst>
              <c:ext xmlns:c16="http://schemas.microsoft.com/office/drawing/2014/chart" uri="{C3380CC4-5D6E-409C-BE32-E72D297353CC}">
                <c16:uniqueId val="{00000008-D8F4-40C6-A5E0-DB4B53CFB1F3}"/>
              </c:ext>
            </c:extLst>
          </c:dPt>
          <c:dPt>
            <c:idx val="2"/>
            <c:invertIfNegative val="0"/>
            <c:bubble3D val="0"/>
            <c:spPr>
              <a:solidFill>
                <a:srgbClr val="7ECAC4"/>
              </a:solidFill>
            </c:spPr>
            <c:extLst>
              <c:ext xmlns:c16="http://schemas.microsoft.com/office/drawing/2014/chart" uri="{C3380CC4-5D6E-409C-BE32-E72D297353CC}">
                <c16:uniqueId val="{00000006-E902-46E2-9A54-39A26B3DFDC1}"/>
              </c:ext>
            </c:extLst>
          </c:dPt>
          <c:dPt>
            <c:idx val="3"/>
            <c:invertIfNegative val="0"/>
            <c:bubble3D val="0"/>
            <c:spPr>
              <a:solidFill>
                <a:srgbClr val="AEABAB"/>
              </a:solidFill>
            </c:spPr>
            <c:extLst>
              <c:ext xmlns:c16="http://schemas.microsoft.com/office/drawing/2014/chart" uri="{C3380CC4-5D6E-409C-BE32-E72D297353CC}">
                <c16:uniqueId val="{00000007-E902-46E2-9A54-39A26B3DFDC1}"/>
              </c:ext>
            </c:extLst>
          </c:dPt>
          <c:dPt>
            <c:idx val="4"/>
            <c:invertIfNegative val="1"/>
            <c:bubble3D val="0"/>
            <c:spPr>
              <a:solidFill>
                <a:srgbClr val="AEABAB"/>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6</c:f>
              <c:strCache>
                <c:ptCount val="5"/>
                <c:pt idx="0">
                  <c:v>CHAMPAGNE E.NICOLAS ROSE 1CT X 750ML</c:v>
                </c:pt>
                <c:pt idx="1">
                  <c:v>CHAMPAGNE NICOLAS ROSE 1ERE CU 1CT X 750ML</c:v>
                </c:pt>
                <c:pt idx="2">
                  <c:v>1/2 CHAMP NICOLAS ROSE 1E C BS 1CT X 375ML</c:v>
                </c:pt>
                <c:pt idx="3">
                  <c:v>CHAMPAGNE NICOLAS ROSE 1ERE ET 1CT X 750ML</c:v>
                </c:pt>
                <c:pt idx="4">
                  <c:v>CHAMPAGNE NICOLAS ROSE 1E C BS 1CT X 750ML</c:v>
                </c:pt>
              </c:strCache>
            </c:strRef>
          </c:cat>
          <c:val>
            <c:numRef>
              <c:f>Sheet1!$C$2:$C$6</c:f>
              <c:numCache>
                <c:formatCode>General</c:formatCode>
                <c:ptCount val="5"/>
                <c:pt idx="0">
                  <c:v>0.68299756821274782</c:v>
                </c:pt>
                <c:pt idx="1">
                  <c:v>0.84967538986680935</c:v>
                </c:pt>
                <c:pt idx="2">
                  <c:v>0.94627758070633372</c:v>
                </c:pt>
                <c:pt idx="3">
                  <c:v>0.97726613568926657</c:v>
                </c:pt>
                <c:pt idx="4">
                  <c:v>0.99999999999999989</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6</c:f>
              <c:strCache>
                <c:ptCount val="5"/>
                <c:pt idx="0">
                  <c:v>CHAMPAGNE E.NICOLAS ROSE 1CT X 750ML</c:v>
                </c:pt>
                <c:pt idx="1">
                  <c:v>CHAMPAGNE NICOLAS ROSE 1ERE CU 1CT X 750ML</c:v>
                </c:pt>
                <c:pt idx="2">
                  <c:v>1/2 CHAMP NICOLAS ROSE 1E C BS 1CT X 375ML</c:v>
                </c:pt>
                <c:pt idx="3">
                  <c:v>CHAMPAGNE NICOLAS ROSE 1ERE ET 1CT X 750ML</c:v>
                </c:pt>
                <c:pt idx="4">
                  <c:v>CHAMPAGNE NICOLAS ROSE 1E C BS 1CT X 750ML</c:v>
                </c:pt>
              </c:strCache>
            </c:strRef>
          </c:cat>
          <c:val>
            <c:numRef>
              <c:f>Sheet1!$D$2:$D$6</c:f>
              <c:numCache>
                <c:formatCode>General</c:formatCode>
                <c:ptCount val="5"/>
                <c:pt idx="0">
                  <c:v>355.97674418604652</c:v>
                </c:pt>
                <c:pt idx="1">
                  <c:v>173.74418604651163</c:v>
                </c:pt>
                <c:pt idx="2">
                  <c:v>105.60975609756098</c:v>
                </c:pt>
                <c:pt idx="3">
                  <c:v>154.33333333333334</c:v>
                </c:pt>
                <c:pt idx="4">
                  <c:v>127.375</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6</c:f>
              <c:strCache>
                <c:ptCount val="5"/>
                <c:pt idx="0">
                  <c:v>CHAMPAGNE E.NICOLAS ROSE 1CT X 750ML</c:v>
                </c:pt>
                <c:pt idx="1">
                  <c:v>CHAMPAGNE NICOLAS ROSE 1ERE CU 1CT X 750ML</c:v>
                </c:pt>
                <c:pt idx="2">
                  <c:v>1/2 CHAMP NICOLAS ROSE 1E C BS 1CT X 375ML</c:v>
                </c:pt>
                <c:pt idx="3">
                  <c:v>CHAMPAGNE NICOLAS ROSE 1ERE ET 1CT X 750ML</c:v>
                </c:pt>
                <c:pt idx="4">
                  <c:v>CHAMPAGNE NICOLAS ROSE 1E C BS 1CT X 750ML</c:v>
                </c:pt>
              </c:strCache>
            </c:strRef>
          </c:cat>
          <c:val>
            <c:numRef>
              <c:f>Sheet1!$B$2:$B$6</c:f>
              <c:numCache>
                <c:formatCode>General</c:formatCode>
                <c:ptCount val="5"/>
                <c:pt idx="0">
                  <c:v>0.72</c:v>
                </c:pt>
                <c:pt idx="1">
                  <c:v>0.5</c:v>
                </c:pt>
                <c:pt idx="2">
                  <c:v>0.47</c:v>
                </c:pt>
                <c:pt idx="3">
                  <c:v>0.12</c:v>
                </c:pt>
                <c:pt idx="4">
                  <c:v>0.13</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7ECAC4"/>
              </a:solidFill>
            </c:spPr>
            <c:extLst>
              <c:ext xmlns:c16="http://schemas.microsoft.com/office/drawing/2014/chart" uri="{C3380CC4-5D6E-409C-BE32-E72D297353CC}">
                <c16:uniqueId val="{00000008-D8F4-40C6-A5E0-DB4B53CFB1F3}"/>
              </c:ext>
            </c:extLst>
          </c:dPt>
          <c:dPt>
            <c:idx val="2"/>
            <c:invertIfNegative val="0"/>
            <c:bubble3D val="0"/>
            <c:spPr>
              <a:solidFill>
                <a:srgbClr val="7ECAC4"/>
              </a:solidFill>
            </c:spPr>
            <c:extLst>
              <c:ext xmlns:c16="http://schemas.microsoft.com/office/drawing/2014/chart" uri="{C3380CC4-5D6E-409C-BE32-E72D297353CC}">
                <c16:uniqueId val="{00000006-E902-46E2-9A54-39A26B3DFDC1}"/>
              </c:ext>
            </c:extLst>
          </c:dPt>
          <c:dPt>
            <c:idx val="3"/>
            <c:invertIfNegative val="0"/>
            <c:bubble3D val="0"/>
            <c:spPr>
              <a:solidFill>
                <a:srgbClr val="AEABAB"/>
              </a:solidFill>
            </c:spPr>
            <c:extLst>
              <c:ext xmlns:c16="http://schemas.microsoft.com/office/drawing/2014/chart" uri="{C3380CC4-5D6E-409C-BE32-E72D297353CC}">
                <c16:uniqueId val="{00000007-E902-46E2-9A54-39A26B3DFDC1}"/>
              </c:ext>
            </c:extLst>
          </c:dPt>
          <c:dPt>
            <c:idx val="4"/>
            <c:invertIfNegative val="1"/>
            <c:bubble3D val="0"/>
            <c:spPr>
              <a:solidFill>
                <a:srgbClr val="AEABAB"/>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6</c:f>
              <c:strCache>
                <c:ptCount val="5"/>
                <c:pt idx="0">
                  <c:v>CHAMPAGNE E.NICOLAS ROSE 1CT X 750ML</c:v>
                </c:pt>
                <c:pt idx="1">
                  <c:v>CHAMPAGNE NICOLAS ROSE 1ERE CU 1CT X 750ML</c:v>
                </c:pt>
                <c:pt idx="2">
                  <c:v>1/2 CHAMP NICOLAS ROSE 1E C BS 1CT X 375ML</c:v>
                </c:pt>
                <c:pt idx="3">
                  <c:v>CHAMPAGNE NICOLAS ROSE 1ERE ET 1CT X 750ML</c:v>
                </c:pt>
                <c:pt idx="4">
                  <c:v>CHAMPAGNE NICOLAS ROSE 1E C BS 1CT X 750ML</c:v>
                </c:pt>
              </c:strCache>
            </c:strRef>
          </c:cat>
          <c:val>
            <c:numRef>
              <c:f>Sheet1!$C$2:$C$6</c:f>
              <c:numCache>
                <c:formatCode>General</c:formatCode>
                <c:ptCount val="5"/>
                <c:pt idx="0">
                  <c:v>0.64764024597276193</c:v>
                </c:pt>
                <c:pt idx="1">
                  <c:v>0.80933338363451168</c:v>
                </c:pt>
                <c:pt idx="2">
                  <c:v>0.92643452672878868</c:v>
                </c:pt>
                <c:pt idx="3">
                  <c:v>0.96653714113253109</c:v>
                </c:pt>
                <c:pt idx="4">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6</c:f>
              <c:strCache>
                <c:ptCount val="5"/>
                <c:pt idx="0">
                  <c:v>CHAMPAGNE E.NICOLAS ROSE 1CT X 750ML</c:v>
                </c:pt>
                <c:pt idx="1">
                  <c:v>CHAMPAGNE NICOLAS ROSE 1ERE CU 1CT X 750ML</c:v>
                </c:pt>
                <c:pt idx="2">
                  <c:v>1/2 CHAMP NICOLAS ROSE 1E C BS 1CT X 375ML</c:v>
                </c:pt>
                <c:pt idx="3">
                  <c:v>CHAMPAGNE NICOLAS ROSE 1ERE ET 1CT X 750ML</c:v>
                </c:pt>
                <c:pt idx="4">
                  <c:v>CHAMPAGNE NICOLAS ROSE 1E C BS 1CT X 750ML</c:v>
                </c:pt>
              </c:strCache>
            </c:strRef>
          </c:cat>
          <c:val>
            <c:numRef>
              <c:f>Sheet1!$D$2:$D$6</c:f>
              <c:numCache>
                <c:formatCode>General</c:formatCode>
                <c:ptCount val="5"/>
                <c:pt idx="0">
                  <c:v>238.43055555555554</c:v>
                </c:pt>
                <c:pt idx="1">
                  <c:v>85.72</c:v>
                </c:pt>
                <c:pt idx="2">
                  <c:v>66.042553191489361</c:v>
                </c:pt>
                <c:pt idx="3">
                  <c:v>88.583333333333329</c:v>
                </c:pt>
                <c:pt idx="4">
                  <c:v>68.230769230769226</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6</c:f>
              <c:strCache>
                <c:ptCount val="5"/>
                <c:pt idx="0">
                  <c:v>CHAMPAGNE E.NICOLAS ROSE 1CT X 750ML</c:v>
                </c:pt>
                <c:pt idx="1">
                  <c:v>CHAMPAGNE NICOLAS ROSE 1ERE CU 1CT X 750ML</c:v>
                </c:pt>
                <c:pt idx="2">
                  <c:v>1/2 CHAMP NICOLAS ROSE 1E C BS 1CT X 375ML</c:v>
                </c:pt>
                <c:pt idx="3">
                  <c:v>CHAMPAGNE NICOLAS ROSE 1E C BS 1CT X 750ML</c:v>
                </c:pt>
                <c:pt idx="4">
                  <c:v>CHAMPAGNE NICOLAS ROSE 1ERE ET 1CT X 750ML</c:v>
                </c:pt>
              </c:strCache>
            </c:strRef>
          </c:cat>
          <c:val>
            <c:numRef>
              <c:f>Sheet1!$B$2:$B$6</c:f>
              <c:numCache>
                <c:formatCode>General</c:formatCode>
                <c:ptCount val="5"/>
                <c:pt idx="0">
                  <c:v>0.68</c:v>
                </c:pt>
                <c:pt idx="1">
                  <c:v>0.47</c:v>
                </c:pt>
                <c:pt idx="2">
                  <c:v>0.46</c:v>
                </c:pt>
                <c:pt idx="3">
                  <c:v>0.13</c:v>
                </c:pt>
                <c:pt idx="4">
                  <c:v>0.1</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7ECAC4"/>
              </a:solidFill>
            </c:spPr>
            <c:extLst>
              <c:ext xmlns:c16="http://schemas.microsoft.com/office/drawing/2014/chart" uri="{C3380CC4-5D6E-409C-BE32-E72D297353CC}">
                <c16:uniqueId val="{00000008-D8F4-40C6-A5E0-DB4B53CFB1F3}"/>
              </c:ext>
            </c:extLst>
          </c:dPt>
          <c:dPt>
            <c:idx val="2"/>
            <c:invertIfNegative val="0"/>
            <c:bubble3D val="0"/>
            <c:spPr>
              <a:solidFill>
                <a:srgbClr val="7ECAC4"/>
              </a:solidFill>
            </c:spPr>
            <c:extLst>
              <c:ext xmlns:c16="http://schemas.microsoft.com/office/drawing/2014/chart" uri="{C3380CC4-5D6E-409C-BE32-E72D297353CC}">
                <c16:uniqueId val="{00000006-E902-46E2-9A54-39A26B3DFDC1}"/>
              </c:ext>
            </c:extLst>
          </c:dPt>
          <c:dPt>
            <c:idx val="3"/>
            <c:invertIfNegative val="0"/>
            <c:bubble3D val="0"/>
            <c:spPr>
              <a:solidFill>
                <a:srgbClr val="AEABAB"/>
              </a:solidFill>
            </c:spPr>
            <c:extLst>
              <c:ext xmlns:c16="http://schemas.microsoft.com/office/drawing/2014/chart" uri="{C3380CC4-5D6E-409C-BE32-E72D297353CC}">
                <c16:uniqueId val="{00000007-E902-46E2-9A54-39A26B3DFDC1}"/>
              </c:ext>
            </c:extLst>
          </c:dPt>
          <c:dPt>
            <c:idx val="4"/>
            <c:invertIfNegative val="1"/>
            <c:bubble3D val="0"/>
            <c:spPr>
              <a:solidFill>
                <a:srgbClr val="AEABAB"/>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6</c:f>
              <c:strCache>
                <c:ptCount val="5"/>
                <c:pt idx="0">
                  <c:v>CHAMPAGNE E.NICOLAS ROSE 1CT X 750ML</c:v>
                </c:pt>
                <c:pt idx="1">
                  <c:v>CHAMPAGNE NICOLAS ROSE 1ERE CU 1CT X 750ML</c:v>
                </c:pt>
                <c:pt idx="2">
                  <c:v>1/2 CHAMP NICOLAS ROSE 1E C BS 1CT X 375ML</c:v>
                </c:pt>
                <c:pt idx="3">
                  <c:v>CHAMPAGNE NICOLAS ROSE 1E C BS 1CT X 750ML</c:v>
                </c:pt>
                <c:pt idx="4">
                  <c:v>CHAMPAGNE NICOLAS ROSE 1ERE ET 1CT X 750ML</c:v>
                </c:pt>
              </c:strCache>
            </c:strRef>
          </c:cat>
          <c:val>
            <c:numRef>
              <c:f>Sheet1!$C$2:$C$6</c:f>
              <c:numCache>
                <c:formatCode>General</c:formatCode>
                <c:ptCount val="5"/>
                <c:pt idx="0">
                  <c:v>0.74181842174716284</c:v>
                </c:pt>
                <c:pt idx="1">
                  <c:v>0.86586170493533909</c:v>
                </c:pt>
                <c:pt idx="2">
                  <c:v>0.94312483504882549</c:v>
                </c:pt>
                <c:pt idx="3">
                  <c:v>0.99188440221694374</c:v>
                </c:pt>
                <c:pt idx="4">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6</c:f>
              <c:strCache>
                <c:ptCount val="5"/>
                <c:pt idx="0">
                  <c:v>CHAMPAGNE E.NICOLAS ROSE 1CT X 750ML</c:v>
                </c:pt>
                <c:pt idx="1">
                  <c:v>CHAMPAGNE NICOLAS ROSE 1ERE CU 1CT X 750ML</c:v>
                </c:pt>
                <c:pt idx="2">
                  <c:v>1/2 CHAMP NICOLAS ROSE 1E C BS 1CT X 375ML</c:v>
                </c:pt>
                <c:pt idx="3">
                  <c:v>CHAMPAGNE NICOLAS ROSE 1E C BS 1CT X 750ML</c:v>
                </c:pt>
                <c:pt idx="4">
                  <c:v>CHAMPAGNE NICOLAS ROSE 1ERE ET 1CT X 750ML</c:v>
                </c:pt>
              </c:strCache>
            </c:strRef>
          </c:cat>
          <c:val>
            <c:numRef>
              <c:f>Sheet1!$D$2:$D$6</c:f>
              <c:numCache>
                <c:formatCode>General</c:formatCode>
                <c:ptCount val="5"/>
                <c:pt idx="0">
                  <c:v>165.33823529411765</c:v>
                </c:pt>
                <c:pt idx="1">
                  <c:v>40</c:v>
                </c:pt>
                <c:pt idx="2">
                  <c:v>25.456521739130434</c:v>
                </c:pt>
                <c:pt idx="3">
                  <c:v>56.846153846153847</c:v>
                </c:pt>
                <c:pt idx="4">
                  <c:v>12.3</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6</c:f>
              <c:strCache>
                <c:ptCount val="5"/>
                <c:pt idx="0">
                  <c:v>CHAMPAGNE E.NICOLAS ROSE 1CT X 750ML</c:v>
                </c:pt>
                <c:pt idx="1">
                  <c:v>1/2 CHAMP NICOLAS ROSE 1E C BS 1CT X 375ML</c:v>
                </c:pt>
                <c:pt idx="2">
                  <c:v>CHAMPAGNE NICOLAS ROSE 1ERE CU 1CT X 750ML</c:v>
                </c:pt>
                <c:pt idx="3">
                  <c:v>CHAMPAGNE NICOLAS ROSE 1ERE ET 1CT X 750ML</c:v>
                </c:pt>
                <c:pt idx="4">
                  <c:v>CHAMPAGNE NICOLAS ROSE 1E C BS 1CT X 750ML</c:v>
                </c:pt>
              </c:strCache>
            </c:strRef>
          </c:cat>
          <c:val>
            <c:numRef>
              <c:f>Sheet1!$B$2:$B$6</c:f>
              <c:numCache>
                <c:formatCode>General</c:formatCode>
                <c:ptCount val="5"/>
                <c:pt idx="0">
                  <c:v>0.74</c:v>
                </c:pt>
                <c:pt idx="1">
                  <c:v>0.34</c:v>
                </c:pt>
                <c:pt idx="2">
                  <c:v>0.25</c:v>
                </c:pt>
                <c:pt idx="3">
                  <c:v>0.23</c:v>
                </c:pt>
                <c:pt idx="4">
                  <c:v>0.03</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7ECAC4"/>
              </a:solidFill>
            </c:spPr>
            <c:extLst>
              <c:ext xmlns:c16="http://schemas.microsoft.com/office/drawing/2014/chart" uri="{C3380CC4-5D6E-409C-BE32-E72D297353CC}">
                <c16:uniqueId val="{00000008-D8F4-40C6-A5E0-DB4B53CFB1F3}"/>
              </c:ext>
            </c:extLst>
          </c:dPt>
          <c:dPt>
            <c:idx val="2"/>
            <c:invertIfNegative val="0"/>
            <c:bubble3D val="0"/>
            <c:spPr>
              <a:solidFill>
                <a:srgbClr val="AEABAB"/>
              </a:solidFill>
            </c:spPr>
            <c:extLst>
              <c:ext xmlns:c16="http://schemas.microsoft.com/office/drawing/2014/chart" uri="{C3380CC4-5D6E-409C-BE32-E72D297353CC}">
                <c16:uniqueId val="{00000006-E902-46E2-9A54-39A26B3DFDC1}"/>
              </c:ext>
            </c:extLst>
          </c:dPt>
          <c:dPt>
            <c:idx val="3"/>
            <c:invertIfNegative val="0"/>
            <c:bubble3D val="0"/>
            <c:spPr>
              <a:solidFill>
                <a:srgbClr val="AEABAB"/>
              </a:solidFill>
            </c:spPr>
            <c:extLst>
              <c:ext xmlns:c16="http://schemas.microsoft.com/office/drawing/2014/chart" uri="{C3380CC4-5D6E-409C-BE32-E72D297353CC}">
                <c16:uniqueId val="{00000007-E902-46E2-9A54-39A26B3DFDC1}"/>
              </c:ext>
            </c:extLst>
          </c:dPt>
          <c:dPt>
            <c:idx val="4"/>
            <c:invertIfNegative val="1"/>
            <c:bubble3D val="0"/>
            <c:spPr>
              <a:solidFill>
                <a:srgbClr val="AEABAB"/>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6</c:f>
              <c:strCache>
                <c:ptCount val="5"/>
                <c:pt idx="0">
                  <c:v>CHAMPAGNE E.NICOLAS ROSE 1CT X 750ML</c:v>
                </c:pt>
                <c:pt idx="1">
                  <c:v>1/2 CHAMP NICOLAS ROSE 1E C BS 1CT X 375ML</c:v>
                </c:pt>
                <c:pt idx="2">
                  <c:v>CHAMPAGNE NICOLAS ROSE 1ERE CU 1CT X 750ML</c:v>
                </c:pt>
                <c:pt idx="3">
                  <c:v>CHAMPAGNE NICOLAS ROSE 1ERE ET 1CT X 750ML</c:v>
                </c:pt>
                <c:pt idx="4">
                  <c:v>CHAMPAGNE NICOLAS ROSE 1E C BS 1CT X 750ML</c:v>
                </c:pt>
              </c:strCache>
            </c:strRef>
          </c:cat>
          <c:val>
            <c:numRef>
              <c:f>Sheet1!$C$2:$C$6</c:f>
              <c:numCache>
                <c:formatCode>General</c:formatCode>
                <c:ptCount val="5"/>
                <c:pt idx="0">
                  <c:v>0.77703349282296652</c:v>
                </c:pt>
                <c:pt idx="1">
                  <c:v>0.87942583732057411</c:v>
                </c:pt>
                <c:pt idx="2">
                  <c:v>0.95443912812333864</c:v>
                </c:pt>
                <c:pt idx="3">
                  <c:v>0.99128123338649654</c:v>
                </c:pt>
                <c:pt idx="4">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6</c:f>
              <c:strCache>
                <c:ptCount val="5"/>
                <c:pt idx="0">
                  <c:v>CHAMPAGNE E.NICOLAS ROSE 1CT X 750ML</c:v>
                </c:pt>
                <c:pt idx="1">
                  <c:v>1/2 CHAMP NICOLAS ROSE 1E C BS 1CT X 375ML</c:v>
                </c:pt>
                <c:pt idx="2">
                  <c:v>CHAMPAGNE NICOLAS ROSE 1ERE CU 1CT X 750ML</c:v>
                </c:pt>
                <c:pt idx="3">
                  <c:v>CHAMPAGNE NICOLAS ROSE 1ERE ET 1CT X 750ML</c:v>
                </c:pt>
                <c:pt idx="4">
                  <c:v>CHAMPAGNE NICOLAS ROSE 1E C BS 1CT X 750ML</c:v>
                </c:pt>
              </c:strCache>
            </c:strRef>
          </c:cat>
          <c:val>
            <c:numRef>
              <c:f>Sheet1!$D$2:$D$6</c:f>
              <c:numCache>
                <c:formatCode>General</c:formatCode>
                <c:ptCount val="5"/>
                <c:pt idx="0">
                  <c:v>197.51351351351352</c:v>
                </c:pt>
                <c:pt idx="1">
                  <c:v>56.647058823529413</c:v>
                </c:pt>
                <c:pt idx="2">
                  <c:v>56.44</c:v>
                </c:pt>
                <c:pt idx="3">
                  <c:v>30.130434782608695</c:v>
                </c:pt>
                <c:pt idx="4">
                  <c:v>54.666666666666664</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6</c:f>
              <c:strCache>
                <c:ptCount val="5"/>
                <c:pt idx="0">
                  <c:v>CHAMPAGNE E.NICOLAS ROSE 1CT X 750ML</c:v>
                </c:pt>
                <c:pt idx="1">
                  <c:v>CHAMPAGNE NICOLAS ROSE 1ERE CU 1CT X 750ML</c:v>
                </c:pt>
                <c:pt idx="2">
                  <c:v>1/2 CHAMP NICOLAS ROSE 1E C BS 1CT X 375ML</c:v>
                </c:pt>
                <c:pt idx="3">
                  <c:v>CHAMPAGNE NICOLAS ROSE 1ERE ET 1CT X 750ML</c:v>
                </c:pt>
                <c:pt idx="4">
                  <c:v>CHAMPAGNE NICOLAS ROSE 1E C BS 1CT X 750ML</c:v>
                </c:pt>
              </c:strCache>
            </c:strRef>
          </c:cat>
          <c:val>
            <c:numRef>
              <c:f>Sheet1!$B$2:$B$6</c:f>
              <c:numCache>
                <c:formatCode>General</c:formatCode>
                <c:ptCount val="5"/>
                <c:pt idx="0">
                  <c:v>0.73</c:v>
                </c:pt>
                <c:pt idx="1">
                  <c:v>0.42</c:v>
                </c:pt>
                <c:pt idx="2">
                  <c:v>0.42</c:v>
                </c:pt>
                <c:pt idx="3">
                  <c:v>0.14000000000000001</c:v>
                </c:pt>
                <c:pt idx="4">
                  <c:v>7.0000000000000007E-2</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7ECAC4"/>
              </a:solidFill>
            </c:spPr>
            <c:extLst>
              <c:ext xmlns:c16="http://schemas.microsoft.com/office/drawing/2014/chart" uri="{C3380CC4-5D6E-409C-BE32-E72D297353CC}">
                <c16:uniqueId val="{00000008-D8F4-40C6-A5E0-DB4B53CFB1F3}"/>
              </c:ext>
            </c:extLst>
          </c:dPt>
          <c:dPt>
            <c:idx val="2"/>
            <c:invertIfNegative val="0"/>
            <c:bubble3D val="0"/>
            <c:spPr>
              <a:solidFill>
                <a:srgbClr val="7ECAC4"/>
              </a:solidFill>
            </c:spPr>
            <c:extLst>
              <c:ext xmlns:c16="http://schemas.microsoft.com/office/drawing/2014/chart" uri="{C3380CC4-5D6E-409C-BE32-E72D297353CC}">
                <c16:uniqueId val="{00000006-E902-46E2-9A54-39A26B3DFDC1}"/>
              </c:ext>
            </c:extLst>
          </c:dPt>
          <c:dPt>
            <c:idx val="3"/>
            <c:invertIfNegative val="0"/>
            <c:bubble3D val="0"/>
            <c:spPr>
              <a:solidFill>
                <a:srgbClr val="AEABAB"/>
              </a:solidFill>
            </c:spPr>
            <c:extLst>
              <c:ext xmlns:c16="http://schemas.microsoft.com/office/drawing/2014/chart" uri="{C3380CC4-5D6E-409C-BE32-E72D297353CC}">
                <c16:uniqueId val="{00000007-E902-46E2-9A54-39A26B3DFDC1}"/>
              </c:ext>
            </c:extLst>
          </c:dPt>
          <c:dPt>
            <c:idx val="4"/>
            <c:invertIfNegative val="1"/>
            <c:bubble3D val="0"/>
            <c:spPr>
              <a:solidFill>
                <a:srgbClr val="AEABAB"/>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6</c:f>
              <c:strCache>
                <c:ptCount val="5"/>
                <c:pt idx="0">
                  <c:v>CHAMPAGNE E.NICOLAS ROSE 1CT X 750ML</c:v>
                </c:pt>
                <c:pt idx="1">
                  <c:v>CHAMPAGNE NICOLAS ROSE 1ERE CU 1CT X 750ML</c:v>
                </c:pt>
                <c:pt idx="2">
                  <c:v>1/2 CHAMP NICOLAS ROSE 1E C BS 1CT X 375ML</c:v>
                </c:pt>
                <c:pt idx="3">
                  <c:v>CHAMPAGNE NICOLAS ROSE 1ERE ET 1CT X 750ML</c:v>
                </c:pt>
                <c:pt idx="4">
                  <c:v>CHAMPAGNE NICOLAS ROSE 1E C BS 1CT X 750ML</c:v>
                </c:pt>
              </c:strCache>
            </c:strRef>
          </c:cat>
          <c:val>
            <c:numRef>
              <c:f>Sheet1!$C$2:$C$6</c:f>
              <c:numCache>
                <c:formatCode>General</c:formatCode>
                <c:ptCount val="5"/>
                <c:pt idx="0">
                  <c:v>0.67289203226875893</c:v>
                </c:pt>
                <c:pt idx="1">
                  <c:v>0.81379157918001988</c:v>
                </c:pt>
                <c:pt idx="2">
                  <c:v>0.93968025932883925</c:v>
                </c:pt>
                <c:pt idx="3">
                  <c:v>0.98832283493572026</c:v>
                </c:pt>
                <c:pt idx="4">
                  <c:v>0.99999999999999989</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6</c:f>
              <c:strCache>
                <c:ptCount val="5"/>
                <c:pt idx="0">
                  <c:v>CHAMPAGNE E.NICOLAS ROSE 1CT X 750ML</c:v>
                </c:pt>
                <c:pt idx="1">
                  <c:v>CHAMPAGNE NICOLAS ROSE 1ERE CU 1CT X 750ML</c:v>
                </c:pt>
                <c:pt idx="2">
                  <c:v>1/2 CHAMP NICOLAS ROSE 1E C BS 1CT X 375ML</c:v>
                </c:pt>
                <c:pt idx="3">
                  <c:v>CHAMPAGNE NICOLAS ROSE 1ERE ET 1CT X 750ML</c:v>
                </c:pt>
                <c:pt idx="4">
                  <c:v>CHAMPAGNE NICOLAS ROSE 1E C BS 1CT X 750ML</c:v>
                </c:pt>
              </c:strCache>
            </c:strRef>
          </c:cat>
          <c:val>
            <c:numRef>
              <c:f>Sheet1!$D$2:$D$6</c:f>
              <c:numCache>
                <c:formatCode>General</c:formatCode>
                <c:ptCount val="5"/>
                <c:pt idx="0">
                  <c:v>1000.931506849315</c:v>
                </c:pt>
                <c:pt idx="1">
                  <c:v>364.28571428571428</c:v>
                </c:pt>
                <c:pt idx="2">
                  <c:v>325.47619047619048</c:v>
                </c:pt>
                <c:pt idx="3">
                  <c:v>377.28571428571422</c:v>
                </c:pt>
                <c:pt idx="4">
                  <c:v>181.14285714285711</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6</c:f>
              <c:strCache>
                <c:ptCount val="5"/>
                <c:pt idx="0">
                  <c:v>CHAMPAGNE E.NICOLAS ROSE 1CT X 750ML</c:v>
                </c:pt>
                <c:pt idx="1">
                  <c:v>CHAMPAGNE NICOLAS ROSE 1ERE CU 1CT X 750ML</c:v>
                </c:pt>
                <c:pt idx="2">
                  <c:v>1/2 CHAMP NICOLAS ROSE 1E C BS 1CT X 375ML</c:v>
                </c:pt>
                <c:pt idx="3">
                  <c:v>CHAMPAGNE NICOLAS ROSE 1ERE ET 1CT X 750ML</c:v>
                </c:pt>
                <c:pt idx="4">
                  <c:v>CHAMPAGNE NICOLAS ROSE 1E C BS 1CT X 750ML</c:v>
                </c:pt>
              </c:strCache>
            </c:strRef>
          </c:cat>
          <c:val>
            <c:numRef>
              <c:f>Sheet1!$B$2:$B$6</c:f>
              <c:numCache>
                <c:formatCode>General</c:formatCode>
                <c:ptCount val="5"/>
                <c:pt idx="0">
                  <c:v>0.75</c:v>
                </c:pt>
                <c:pt idx="1">
                  <c:v>0.32</c:v>
                </c:pt>
                <c:pt idx="2">
                  <c:v>0.32</c:v>
                </c:pt>
                <c:pt idx="3">
                  <c:v>0.16</c:v>
                </c:pt>
                <c:pt idx="4">
                  <c:v>0.04</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7ECAC4"/>
              </a:solidFill>
            </c:spPr>
            <c:extLst>
              <c:ext xmlns:c16="http://schemas.microsoft.com/office/drawing/2014/chart" uri="{C3380CC4-5D6E-409C-BE32-E72D297353CC}">
                <c16:uniqueId val="{00000008-D8F4-40C6-A5E0-DB4B53CFB1F3}"/>
              </c:ext>
            </c:extLst>
          </c:dPt>
          <c:dPt>
            <c:idx val="2"/>
            <c:invertIfNegative val="0"/>
            <c:bubble3D val="0"/>
            <c:spPr>
              <a:solidFill>
                <a:srgbClr val="7ECAC4"/>
              </a:solidFill>
            </c:spPr>
            <c:extLst>
              <c:ext xmlns:c16="http://schemas.microsoft.com/office/drawing/2014/chart" uri="{C3380CC4-5D6E-409C-BE32-E72D297353CC}">
                <c16:uniqueId val="{00000006-E902-46E2-9A54-39A26B3DFDC1}"/>
              </c:ext>
            </c:extLst>
          </c:dPt>
          <c:dPt>
            <c:idx val="3"/>
            <c:invertIfNegative val="0"/>
            <c:bubble3D val="0"/>
            <c:spPr>
              <a:solidFill>
                <a:srgbClr val="AEABAB"/>
              </a:solidFill>
            </c:spPr>
            <c:extLst>
              <c:ext xmlns:c16="http://schemas.microsoft.com/office/drawing/2014/chart" uri="{C3380CC4-5D6E-409C-BE32-E72D297353CC}">
                <c16:uniqueId val="{00000007-E902-46E2-9A54-39A26B3DFDC1}"/>
              </c:ext>
            </c:extLst>
          </c:dPt>
          <c:dPt>
            <c:idx val="4"/>
            <c:invertIfNegative val="1"/>
            <c:bubble3D val="0"/>
            <c:spPr>
              <a:solidFill>
                <a:srgbClr val="AEABAB"/>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6</c:f>
              <c:strCache>
                <c:ptCount val="5"/>
                <c:pt idx="0">
                  <c:v>CHAMPAGNE E.NICOLAS ROSE 1CT X 750ML</c:v>
                </c:pt>
                <c:pt idx="1">
                  <c:v>CHAMPAGNE NICOLAS ROSE 1ERE CU 1CT X 750ML</c:v>
                </c:pt>
                <c:pt idx="2">
                  <c:v>1/2 CHAMP NICOLAS ROSE 1E C BS 1CT X 375ML</c:v>
                </c:pt>
                <c:pt idx="3">
                  <c:v>CHAMPAGNE NICOLAS ROSE 1ERE ET 1CT X 750ML</c:v>
                </c:pt>
                <c:pt idx="4">
                  <c:v>CHAMPAGNE NICOLAS ROSE 1E C BS 1CT X 750ML</c:v>
                </c:pt>
              </c:strCache>
            </c:strRef>
          </c:cat>
          <c:val>
            <c:numRef>
              <c:f>Sheet1!$C$2:$C$6</c:f>
              <c:numCache>
                <c:formatCode>General</c:formatCode>
                <c:ptCount val="5"/>
                <c:pt idx="0">
                  <c:v>0.6706627225076548</c:v>
                </c:pt>
                <c:pt idx="1">
                  <c:v>0.82133651633885174</c:v>
                </c:pt>
                <c:pt idx="2">
                  <c:v>0.93793139239192491</c:v>
                </c:pt>
                <c:pt idx="3">
                  <c:v>0.98669711280640759</c:v>
                </c:pt>
                <c:pt idx="4">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6</c:f>
              <c:strCache>
                <c:ptCount val="5"/>
                <c:pt idx="0">
                  <c:v>CHAMPAGNE E.NICOLAS ROSE 1CT X 750ML</c:v>
                </c:pt>
                <c:pt idx="1">
                  <c:v>CHAMPAGNE NICOLAS ROSE 1ERE CU 1CT X 750ML</c:v>
                </c:pt>
                <c:pt idx="2">
                  <c:v>1/2 CHAMP NICOLAS ROSE 1E C BS 1CT X 375ML</c:v>
                </c:pt>
                <c:pt idx="3">
                  <c:v>CHAMPAGNE NICOLAS ROSE 1ERE ET 1CT X 750ML</c:v>
                </c:pt>
                <c:pt idx="4">
                  <c:v>CHAMPAGNE NICOLAS ROSE 1E C BS 1CT X 750ML</c:v>
                </c:pt>
              </c:strCache>
            </c:strRef>
          </c:cat>
          <c:val>
            <c:numRef>
              <c:f>Sheet1!$D$2:$D$6</c:f>
              <c:numCache>
                <c:formatCode>General</c:formatCode>
                <c:ptCount val="5"/>
                <c:pt idx="0">
                  <c:v>516.91999999999996</c:v>
                </c:pt>
                <c:pt idx="1">
                  <c:v>272.1875</c:v>
                </c:pt>
                <c:pt idx="2">
                  <c:v>210.625</c:v>
                </c:pt>
                <c:pt idx="3">
                  <c:v>176.1875</c:v>
                </c:pt>
                <c:pt idx="4">
                  <c:v>192.25</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6</c:f>
              <c:strCache>
                <c:ptCount val="5"/>
                <c:pt idx="0">
                  <c:v>CHAMPAGNE E.NICOLAS ROSE 1CT X 750ML</c:v>
                </c:pt>
                <c:pt idx="1">
                  <c:v>CHAMPAGNE NICOLAS ROSE 1ERE CU 1CT X 750ML</c:v>
                </c:pt>
                <c:pt idx="2">
                  <c:v>1/2 CHAMP NICOLAS ROSE 1E C BS 1CT X 375ML</c:v>
                </c:pt>
                <c:pt idx="3">
                  <c:v>CHAMPAGNE NICOLAS ROSE 1ERE ET 1CT X 750ML</c:v>
                </c:pt>
                <c:pt idx="4">
                  <c:v>CHAMPAGNE NICOLAS ROSE 1E C BS 1CT X 750ML</c:v>
                </c:pt>
              </c:strCache>
            </c:strRef>
          </c:cat>
          <c:val>
            <c:numRef>
              <c:f>Sheet1!$B$2:$B$6</c:f>
              <c:numCache>
                <c:formatCode>General</c:formatCode>
                <c:ptCount val="5"/>
                <c:pt idx="0">
                  <c:v>0.56000000000000005</c:v>
                </c:pt>
                <c:pt idx="1">
                  <c:v>0.32</c:v>
                </c:pt>
                <c:pt idx="2">
                  <c:v>0.23</c:v>
                </c:pt>
                <c:pt idx="3">
                  <c:v>0.09</c:v>
                </c:pt>
                <c:pt idx="4">
                  <c:v>0.06</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7ECAC4"/>
              </a:solidFill>
            </c:spPr>
            <c:extLst>
              <c:ext xmlns:c16="http://schemas.microsoft.com/office/drawing/2014/chart" uri="{C3380CC4-5D6E-409C-BE32-E72D297353CC}">
                <c16:uniqueId val="{00000008-D8F4-40C6-A5E0-DB4B53CFB1F3}"/>
              </c:ext>
            </c:extLst>
          </c:dPt>
          <c:dPt>
            <c:idx val="2"/>
            <c:invertIfNegative val="0"/>
            <c:bubble3D val="0"/>
            <c:spPr>
              <a:solidFill>
                <a:srgbClr val="7ECAC4"/>
              </a:solidFill>
            </c:spPr>
            <c:extLst>
              <c:ext xmlns:c16="http://schemas.microsoft.com/office/drawing/2014/chart" uri="{C3380CC4-5D6E-409C-BE32-E72D297353CC}">
                <c16:uniqueId val="{00000006-E902-46E2-9A54-39A26B3DFDC1}"/>
              </c:ext>
            </c:extLst>
          </c:dPt>
          <c:dPt>
            <c:idx val="3"/>
            <c:invertIfNegative val="0"/>
            <c:bubble3D val="0"/>
            <c:spPr>
              <a:solidFill>
                <a:srgbClr val="AEABAB"/>
              </a:solidFill>
            </c:spPr>
            <c:extLst>
              <c:ext xmlns:c16="http://schemas.microsoft.com/office/drawing/2014/chart" uri="{C3380CC4-5D6E-409C-BE32-E72D297353CC}">
                <c16:uniqueId val="{00000007-E902-46E2-9A54-39A26B3DFDC1}"/>
              </c:ext>
            </c:extLst>
          </c:dPt>
          <c:dPt>
            <c:idx val="4"/>
            <c:invertIfNegative val="1"/>
            <c:bubble3D val="0"/>
            <c:spPr>
              <a:solidFill>
                <a:srgbClr val="AEABAB"/>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6</c:f>
              <c:strCache>
                <c:ptCount val="5"/>
                <c:pt idx="0">
                  <c:v>CHAMPAGNE E.NICOLAS ROSE 1CT X 750ML</c:v>
                </c:pt>
                <c:pt idx="1">
                  <c:v>CHAMPAGNE NICOLAS ROSE 1ERE CU 1CT X 750ML</c:v>
                </c:pt>
                <c:pt idx="2">
                  <c:v>1/2 CHAMP NICOLAS ROSE 1E C BS 1CT X 375ML</c:v>
                </c:pt>
                <c:pt idx="3">
                  <c:v>CHAMPAGNE NICOLAS ROSE 1ERE ET 1CT X 750ML</c:v>
                </c:pt>
                <c:pt idx="4">
                  <c:v>CHAMPAGNE NICOLAS ROSE 1E C BS 1CT X 750ML</c:v>
                </c:pt>
              </c:strCache>
            </c:strRef>
          </c:cat>
          <c:val>
            <c:numRef>
              <c:f>Sheet1!$C$2:$C$6</c:f>
              <c:numCache>
                <c:formatCode>General</c:formatCode>
                <c:ptCount val="5"/>
                <c:pt idx="0">
                  <c:v>0.6386834516297234</c:v>
                </c:pt>
                <c:pt idx="1">
                  <c:v>0.81498941185234053</c:v>
                </c:pt>
                <c:pt idx="2">
                  <c:v>0.93743947729667032</c:v>
                </c:pt>
                <c:pt idx="3">
                  <c:v>0.97499281708575869</c:v>
                </c:pt>
                <c:pt idx="4">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6</c:f>
              <c:strCache>
                <c:ptCount val="5"/>
                <c:pt idx="0">
                  <c:v>CHAMPAGNE E.NICOLAS ROSE 1CT X 750ML</c:v>
                </c:pt>
                <c:pt idx="1">
                  <c:v>CHAMPAGNE NICOLAS ROSE 1ERE CU 1CT X 750ML</c:v>
                </c:pt>
                <c:pt idx="2">
                  <c:v>1/2 CHAMP NICOLAS ROSE 1E C BS 1CT X 375ML</c:v>
                </c:pt>
                <c:pt idx="3">
                  <c:v>CHAMPAGNE NICOLAS ROSE 1ERE ET 1CT X 750ML</c:v>
                </c:pt>
                <c:pt idx="4">
                  <c:v>CHAMPAGNE NICOLAS ROSE 1E C BS 1CT X 750ML</c:v>
                </c:pt>
              </c:strCache>
            </c:strRef>
          </c:cat>
          <c:val>
            <c:numRef>
              <c:f>Sheet1!$D$2:$D$6</c:f>
              <c:numCache>
                <c:formatCode>General</c:formatCode>
                <c:ptCount val="5"/>
                <c:pt idx="0">
                  <c:v>1071.7678571428571</c:v>
                </c:pt>
                <c:pt idx="1">
                  <c:v>517.75</c:v>
                </c:pt>
                <c:pt idx="2">
                  <c:v>500.30434782608694</c:v>
                </c:pt>
                <c:pt idx="3">
                  <c:v>392.11111111111109</c:v>
                </c:pt>
                <c:pt idx="4">
                  <c:v>391.6666666666666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6</c:f>
              <c:strCache>
                <c:ptCount val="5"/>
                <c:pt idx="0">
                  <c:v>CHAMPAGNE E.NICOLAS ROSE 1CT X 750ML</c:v>
                </c:pt>
                <c:pt idx="1">
                  <c:v>CHAMPAGNE NICOLAS ROSE 1ERE CU 1CT X 750ML</c:v>
                </c:pt>
                <c:pt idx="2">
                  <c:v>1/2 CHAMP NICOLAS ROSE 1E C BS 1CT X 375ML</c:v>
                </c:pt>
                <c:pt idx="3">
                  <c:v>CHAMPAGNE NICOLAS ROSE 1ERE ET 1CT X 750ML</c:v>
                </c:pt>
                <c:pt idx="4">
                  <c:v>CHAMPAGNE NICOLAS ROSE 1E C BS 1CT X 750ML</c:v>
                </c:pt>
              </c:strCache>
            </c:strRef>
          </c:cat>
          <c:val>
            <c:numRef>
              <c:f>Sheet1!$B$2:$B$6</c:f>
              <c:numCache>
                <c:formatCode>General</c:formatCode>
                <c:ptCount val="5"/>
                <c:pt idx="0">
                  <c:v>0.53</c:v>
                </c:pt>
                <c:pt idx="1">
                  <c:v>0.28000000000000003</c:v>
                </c:pt>
                <c:pt idx="2">
                  <c:v>0.18</c:v>
                </c:pt>
                <c:pt idx="3">
                  <c:v>0.05</c:v>
                </c:pt>
                <c:pt idx="4">
                  <c:v>7.0000000000000007E-2</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7ECAC4"/>
              </a:solidFill>
            </c:spPr>
            <c:extLst>
              <c:ext xmlns:c16="http://schemas.microsoft.com/office/drawing/2014/chart" uri="{C3380CC4-5D6E-409C-BE32-E72D297353CC}">
                <c16:uniqueId val="{00000008-D8F4-40C6-A5E0-DB4B53CFB1F3}"/>
              </c:ext>
            </c:extLst>
          </c:dPt>
          <c:dPt>
            <c:idx val="2"/>
            <c:invertIfNegative val="0"/>
            <c:bubble3D val="0"/>
            <c:spPr>
              <a:solidFill>
                <a:srgbClr val="7ECAC4"/>
              </a:solidFill>
            </c:spPr>
            <c:extLst>
              <c:ext xmlns:c16="http://schemas.microsoft.com/office/drawing/2014/chart" uri="{C3380CC4-5D6E-409C-BE32-E72D297353CC}">
                <c16:uniqueId val="{00000006-E902-46E2-9A54-39A26B3DFDC1}"/>
              </c:ext>
            </c:extLst>
          </c:dPt>
          <c:dPt>
            <c:idx val="3"/>
            <c:invertIfNegative val="0"/>
            <c:bubble3D val="0"/>
            <c:spPr>
              <a:solidFill>
                <a:srgbClr val="AEABAB"/>
              </a:solidFill>
            </c:spPr>
            <c:extLst>
              <c:ext xmlns:c16="http://schemas.microsoft.com/office/drawing/2014/chart" uri="{C3380CC4-5D6E-409C-BE32-E72D297353CC}">
                <c16:uniqueId val="{00000007-E902-46E2-9A54-39A26B3DFDC1}"/>
              </c:ext>
            </c:extLst>
          </c:dPt>
          <c:dPt>
            <c:idx val="4"/>
            <c:invertIfNegative val="1"/>
            <c:bubble3D val="0"/>
            <c:spPr>
              <a:solidFill>
                <a:srgbClr val="AEABAB"/>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6</c:f>
              <c:strCache>
                <c:ptCount val="5"/>
                <c:pt idx="0">
                  <c:v>CHAMPAGNE E.NICOLAS ROSE 1CT X 750ML</c:v>
                </c:pt>
                <c:pt idx="1">
                  <c:v>CHAMPAGNE NICOLAS ROSE 1ERE CU 1CT X 750ML</c:v>
                </c:pt>
                <c:pt idx="2">
                  <c:v>1/2 CHAMP NICOLAS ROSE 1E C BS 1CT X 375ML</c:v>
                </c:pt>
                <c:pt idx="3">
                  <c:v>CHAMPAGNE NICOLAS ROSE 1ERE ET 1CT X 750ML</c:v>
                </c:pt>
                <c:pt idx="4">
                  <c:v>CHAMPAGNE NICOLAS ROSE 1E C BS 1CT X 750ML</c:v>
                </c:pt>
              </c:strCache>
            </c:strRef>
          </c:cat>
          <c:val>
            <c:numRef>
              <c:f>Sheet1!$C$2:$C$6</c:f>
              <c:numCache>
                <c:formatCode>General</c:formatCode>
                <c:ptCount val="5"/>
                <c:pt idx="0">
                  <c:v>0.66480881725289342</c:v>
                </c:pt>
                <c:pt idx="1">
                  <c:v>0.83863071476990281</c:v>
                </c:pt>
                <c:pt idx="2">
                  <c:v>0.93870352238206423</c:v>
                </c:pt>
                <c:pt idx="3">
                  <c:v>0.97812005724184681</c:v>
                </c:pt>
                <c:pt idx="4">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6</c:f>
              <c:strCache>
                <c:ptCount val="5"/>
                <c:pt idx="0">
                  <c:v>CHAMPAGNE E.NICOLAS ROSE 1CT X 750ML</c:v>
                </c:pt>
                <c:pt idx="1">
                  <c:v>CHAMPAGNE NICOLAS ROSE 1ERE CU 1CT X 750ML</c:v>
                </c:pt>
                <c:pt idx="2">
                  <c:v>1/2 CHAMP NICOLAS ROSE 1E C BS 1CT X 375ML</c:v>
                </c:pt>
                <c:pt idx="3">
                  <c:v>CHAMPAGNE NICOLAS ROSE 1ERE ET 1CT X 750ML</c:v>
                </c:pt>
                <c:pt idx="4">
                  <c:v>CHAMPAGNE NICOLAS ROSE 1E C BS 1CT X 750ML</c:v>
                </c:pt>
              </c:strCache>
            </c:strRef>
          </c:cat>
          <c:val>
            <c:numRef>
              <c:f>Sheet1!$D$2:$D$6</c:f>
              <c:numCache>
                <c:formatCode>General</c:formatCode>
                <c:ptCount val="5"/>
                <c:pt idx="0">
                  <c:v>999.24528301886789</c:v>
                </c:pt>
                <c:pt idx="1">
                  <c:v>494.53571428571422</c:v>
                </c:pt>
                <c:pt idx="2">
                  <c:v>442.88888888888891</c:v>
                </c:pt>
                <c:pt idx="3">
                  <c:v>628</c:v>
                </c:pt>
                <c:pt idx="4">
                  <c:v>248.99999999999997</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6</c:f>
              <c:strCache>
                <c:ptCount val="5"/>
                <c:pt idx="0">
                  <c:v>CHAMPAGNE E.NICOLAS ROSE 1CT X 750ML</c:v>
                </c:pt>
                <c:pt idx="1">
                  <c:v>1/2 CHAMP NICOLAS ROSE 1E C BS 1CT X 375ML</c:v>
                </c:pt>
                <c:pt idx="2">
                  <c:v>CHAMPAGNE NICOLAS ROSE 1ERE CU 1CT X 750ML</c:v>
                </c:pt>
                <c:pt idx="3">
                  <c:v>CHAMPAGNE NICOLAS ROSE 1E C BS 1CT X 750ML</c:v>
                </c:pt>
                <c:pt idx="4">
                  <c:v>CHAMPAGNE NICOLAS ROSE 1ERE ET 1CT X 750ML</c:v>
                </c:pt>
              </c:strCache>
            </c:strRef>
          </c:cat>
          <c:val>
            <c:numRef>
              <c:f>Sheet1!$B$2:$B$6</c:f>
              <c:numCache>
                <c:formatCode>General</c:formatCode>
                <c:ptCount val="5"/>
                <c:pt idx="0">
                  <c:v>0.45</c:v>
                </c:pt>
                <c:pt idx="1">
                  <c:v>0.2</c:v>
                </c:pt>
                <c:pt idx="2">
                  <c:v>0.17</c:v>
                </c:pt>
                <c:pt idx="3">
                  <c:v>0.04</c:v>
                </c:pt>
                <c:pt idx="4">
                  <c:v>0.03</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7ECAC4"/>
              </a:solidFill>
            </c:spPr>
            <c:extLst>
              <c:ext xmlns:c16="http://schemas.microsoft.com/office/drawing/2014/chart" uri="{C3380CC4-5D6E-409C-BE32-E72D297353CC}">
                <c16:uniqueId val="{00000008-D8F4-40C6-A5E0-DB4B53CFB1F3}"/>
              </c:ext>
            </c:extLst>
          </c:dPt>
          <c:dPt>
            <c:idx val="2"/>
            <c:invertIfNegative val="0"/>
            <c:bubble3D val="0"/>
            <c:spPr>
              <a:solidFill>
                <a:srgbClr val="7ECAC4"/>
              </a:solidFill>
            </c:spPr>
            <c:extLst>
              <c:ext xmlns:c16="http://schemas.microsoft.com/office/drawing/2014/chart" uri="{C3380CC4-5D6E-409C-BE32-E72D297353CC}">
                <c16:uniqueId val="{00000006-E902-46E2-9A54-39A26B3DFDC1}"/>
              </c:ext>
            </c:extLst>
          </c:dPt>
          <c:dPt>
            <c:idx val="3"/>
            <c:invertIfNegative val="0"/>
            <c:bubble3D val="0"/>
            <c:spPr>
              <a:solidFill>
                <a:srgbClr val="AEABAB"/>
              </a:solidFill>
            </c:spPr>
            <c:extLst>
              <c:ext xmlns:c16="http://schemas.microsoft.com/office/drawing/2014/chart" uri="{C3380CC4-5D6E-409C-BE32-E72D297353CC}">
                <c16:uniqueId val="{00000007-E902-46E2-9A54-39A26B3DFDC1}"/>
              </c:ext>
            </c:extLst>
          </c:dPt>
          <c:dPt>
            <c:idx val="4"/>
            <c:invertIfNegative val="1"/>
            <c:bubble3D val="0"/>
            <c:spPr>
              <a:solidFill>
                <a:srgbClr val="AEABAB"/>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6</c:f>
              <c:strCache>
                <c:ptCount val="5"/>
                <c:pt idx="0">
                  <c:v>CHAMPAGNE E.NICOLAS ROSE 1CT X 750ML</c:v>
                </c:pt>
                <c:pt idx="1">
                  <c:v>1/2 CHAMP NICOLAS ROSE 1E C BS 1CT X 375ML</c:v>
                </c:pt>
                <c:pt idx="2">
                  <c:v>CHAMPAGNE NICOLAS ROSE 1ERE CU 1CT X 750ML</c:v>
                </c:pt>
                <c:pt idx="3">
                  <c:v>CHAMPAGNE NICOLAS ROSE 1E C BS 1CT X 750ML</c:v>
                </c:pt>
                <c:pt idx="4">
                  <c:v>CHAMPAGNE NICOLAS ROSE 1ERE ET 1CT X 750ML</c:v>
                </c:pt>
              </c:strCache>
            </c:strRef>
          </c:cat>
          <c:val>
            <c:numRef>
              <c:f>Sheet1!$C$2:$C$6</c:f>
              <c:numCache>
                <c:formatCode>General</c:formatCode>
                <c:ptCount val="5"/>
                <c:pt idx="0">
                  <c:v>0.71175248948293313</c:v>
                </c:pt>
                <c:pt idx="1">
                  <c:v>0.83546780978752866</c:v>
                </c:pt>
                <c:pt idx="2">
                  <c:v>0.94416635603599763</c:v>
                </c:pt>
                <c:pt idx="3">
                  <c:v>0.98888385963043823</c:v>
                </c:pt>
                <c:pt idx="4">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6</c:f>
              <c:strCache>
                <c:ptCount val="5"/>
                <c:pt idx="0">
                  <c:v>CHAMPAGNE E.NICOLAS ROSE 1CT X 750ML</c:v>
                </c:pt>
                <c:pt idx="1">
                  <c:v>1/2 CHAMP NICOLAS ROSE 1E C BS 1CT X 375ML</c:v>
                </c:pt>
                <c:pt idx="2">
                  <c:v>CHAMPAGNE NICOLAS ROSE 1ERE CU 1CT X 750ML</c:v>
                </c:pt>
                <c:pt idx="3">
                  <c:v>CHAMPAGNE NICOLAS ROSE 1E C BS 1CT X 750ML</c:v>
                </c:pt>
                <c:pt idx="4">
                  <c:v>CHAMPAGNE NICOLAS ROSE 1ERE ET 1CT X 750ML</c:v>
                </c:pt>
              </c:strCache>
            </c:strRef>
          </c:cat>
          <c:val>
            <c:numRef>
              <c:f>Sheet1!$D$2:$D$6</c:f>
              <c:numCache>
                <c:formatCode>General</c:formatCode>
                <c:ptCount val="5"/>
                <c:pt idx="0">
                  <c:v>1188.088888888889</c:v>
                </c:pt>
                <c:pt idx="1">
                  <c:v>464.65</c:v>
                </c:pt>
                <c:pt idx="2">
                  <c:v>480.29411764705884</c:v>
                </c:pt>
                <c:pt idx="3">
                  <c:v>839.75</c:v>
                </c:pt>
                <c:pt idx="4">
                  <c:v>278.33333333333331</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25</c:f>
              <c:strCache>
                <c:ptCount val="24"/>
                <c:pt idx="0">
                  <c:v>CHAMPAGNE E.NICOLAS BRUT 1CT X 750ML</c:v>
                </c:pt>
                <c:pt idx="1">
                  <c:v>CHAMPAGNE NICOLAS BLC/BLC BS 1CT X 750ML</c:v>
                </c:pt>
                <c:pt idx="2">
                  <c:v>CHAMPAGNE E.NICOLAS ROSE 1CT X 750ML</c:v>
                </c:pt>
                <c:pt idx="3">
                  <c:v>CHAMPAGNE NICOLAS 1ERE CUVEE 1CT X 750ML</c:v>
                </c:pt>
                <c:pt idx="4">
                  <c:v>1/2 CHAMPAGNE NICOLAS 1ERE CUV 1CT X 375ML</c:v>
                </c:pt>
                <c:pt idx="5">
                  <c:v>MG CHAMPAGNE E.NICOLAS BRUT 1CT X 1500ML</c:v>
                </c:pt>
                <c:pt idx="6">
                  <c:v>CHAMPAGNE NICOLAS ROSE 1ERE CU 1CT X 750ML</c:v>
                </c:pt>
                <c:pt idx="7">
                  <c:v>CHAMPAGNE NICOLAS BIO NAT 2017 1CT X 750ML</c:v>
                </c:pt>
                <c:pt idx="8">
                  <c:v>1/2 CHAMP NICOLAS BLC/BLC BS 1CT X 375ML</c:v>
                </c:pt>
                <c:pt idx="9">
                  <c:v>MG CHAMPAGNE NICOLAS BLC/BL BS 1CT X 1500ML</c:v>
                </c:pt>
                <c:pt idx="10">
                  <c:v>1/2 CHAMP NICOLAS ROSE 1E C BS 1CT X 375ML</c:v>
                </c:pt>
                <c:pt idx="11">
                  <c:v>CHAMPAGNE NICOLAS 1ER CRU BS 1CT X 750ML</c:v>
                </c:pt>
                <c:pt idx="12">
                  <c:v>CHAMPAGNE NICOLAS BLC DE NOIRS 1CT X 750ML</c:v>
                </c:pt>
                <c:pt idx="13">
                  <c:v>MG CHAMPAGNE NICOLAS 1ERE CUVE 1CT X 1500ML</c:v>
                </c:pt>
                <c:pt idx="14">
                  <c:v>CHAMPAGNE NICOLAS BLC/BLC 2002 1CT X 750ML</c:v>
                </c:pt>
                <c:pt idx="15">
                  <c:v>CHAMPAGNE NICOLAS 1ER CRU ETUI 1CT X 750ML</c:v>
                </c:pt>
                <c:pt idx="16">
                  <c:v>CHAMPAGNE NICOLAS ROSE 1ERE ET 1CT X 750ML</c:v>
                </c:pt>
                <c:pt idx="17">
                  <c:v>CHAMPAGNE NICOLAS 1ERE CUV ETU 1CT X 750ML</c:v>
                </c:pt>
                <c:pt idx="18">
                  <c:v>CHAMPAGNE NICOLAS ROSE 1E C BS 1CT X 750ML</c:v>
                </c:pt>
                <c:pt idx="19">
                  <c:v>MG CHAMPAGNE NICOLAS 1E CRU BS 1CT X 1500ML</c:v>
                </c:pt>
                <c:pt idx="20">
                  <c:v>CHAMPAGNE NICOLAS BLC/BL BS ET 1CT X 750ML</c:v>
                </c:pt>
                <c:pt idx="21">
                  <c:v>1/2 CHAMPAGNE NICOLAS 1E C BS 1CT X 375ML</c:v>
                </c:pt>
                <c:pt idx="22">
                  <c:v>CHAMPAGNE NICOLAS BIO 2018 1CT X 750ML</c:v>
                </c:pt>
                <c:pt idx="23">
                  <c:v>MG CHAMPAGNE NICOLAS BRUT 1CT X 1500ML</c:v>
                </c:pt>
              </c:strCache>
            </c:strRef>
          </c:cat>
          <c:val>
            <c:numRef>
              <c:f>Sheet1!$B$2:$B$25</c:f>
              <c:numCache>
                <c:formatCode>General</c:formatCode>
                <c:ptCount val="24"/>
                <c:pt idx="0">
                  <c:v>0.998</c:v>
                </c:pt>
                <c:pt idx="1">
                  <c:v>0.58499999999999996</c:v>
                </c:pt>
                <c:pt idx="2">
                  <c:v>0.628</c:v>
                </c:pt>
                <c:pt idx="3">
                  <c:v>0.76700000000000002</c:v>
                </c:pt>
                <c:pt idx="4">
                  <c:v>0.38800000000000001</c:v>
                </c:pt>
                <c:pt idx="5">
                  <c:v>0.254</c:v>
                </c:pt>
                <c:pt idx="6">
                  <c:v>0.34899999999999998</c:v>
                </c:pt>
                <c:pt idx="7">
                  <c:v>0.2</c:v>
                </c:pt>
                <c:pt idx="8">
                  <c:v>0.315</c:v>
                </c:pt>
                <c:pt idx="9">
                  <c:v>0.17100000000000001</c:v>
                </c:pt>
                <c:pt idx="10">
                  <c:v>0.29699999999999999</c:v>
                </c:pt>
                <c:pt idx="11">
                  <c:v>0.34699999999999998</c:v>
                </c:pt>
                <c:pt idx="12">
                  <c:v>0.20699999999999999</c:v>
                </c:pt>
                <c:pt idx="13">
                  <c:v>0.23599999999999999</c:v>
                </c:pt>
                <c:pt idx="14">
                  <c:v>9.9000000000000005E-2</c:v>
                </c:pt>
                <c:pt idx="15">
                  <c:v>0.189</c:v>
                </c:pt>
                <c:pt idx="16">
                  <c:v>0.105</c:v>
                </c:pt>
                <c:pt idx="17">
                  <c:v>0.13600000000000001</c:v>
                </c:pt>
                <c:pt idx="18">
                  <c:v>8.1000000000000003E-2</c:v>
                </c:pt>
                <c:pt idx="19">
                  <c:v>5.7000000000000002E-2</c:v>
                </c:pt>
                <c:pt idx="20">
                  <c:v>2.7E-2</c:v>
                </c:pt>
                <c:pt idx="21">
                  <c:v>0.01</c:v>
                </c:pt>
                <c:pt idx="22">
                  <c:v>2E-3</c:v>
                </c:pt>
                <c:pt idx="23">
                  <c:v>2E-3</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7ECAC4"/>
              </a:solidFill>
            </c:spPr>
            <c:extLst>
              <c:ext xmlns:c16="http://schemas.microsoft.com/office/drawing/2014/chart" uri="{C3380CC4-5D6E-409C-BE32-E72D297353CC}">
                <c16:uniqueId val="{00000006-E902-46E2-9A54-39A26B3DFDC1}"/>
              </c:ext>
            </c:extLst>
          </c:dPt>
          <c:dPt>
            <c:idx val="3"/>
            <c:invertIfNegative val="0"/>
            <c:bubble3D val="0"/>
            <c:spPr>
              <a:solidFill>
                <a:srgbClr val="7ECAC4"/>
              </a:solidFill>
            </c:spPr>
            <c:extLst>
              <c:ext xmlns:c16="http://schemas.microsoft.com/office/drawing/2014/chart" uri="{C3380CC4-5D6E-409C-BE32-E72D297353CC}">
                <c16:uniqueId val="{00000007-E902-46E2-9A54-39A26B3DFDC1}"/>
              </c:ext>
            </c:extLst>
          </c:dPt>
          <c:dPt>
            <c:idx val="4"/>
            <c:invertIfNegative val="1"/>
            <c:bubble3D val="0"/>
            <c:spPr>
              <a:solidFill>
                <a:srgbClr val="7ECAC4"/>
              </a:solidFill>
            </c:spPr>
            <c:extLst>
              <c:ext xmlns:c16="http://schemas.microsoft.com/office/drawing/2014/chart" uri="{C3380CC4-5D6E-409C-BE32-E72D297353CC}">
                <c16:uniqueId val="{0000000B-FA3E-4872-B6E1-C4ABDF5766E2}"/>
              </c:ext>
            </c:extLst>
          </c:dPt>
          <c:dPt>
            <c:idx val="5"/>
            <c:invertIfNegative val="1"/>
            <c:bubble3D val="0"/>
            <c:spPr>
              <a:solidFill>
                <a:srgbClr val="7ECAC4"/>
              </a:solidFill>
            </c:spPr>
            <c:extLst>
              <c:ext xmlns:c16="http://schemas.microsoft.com/office/drawing/2014/chart" uri="{C3380CC4-5D6E-409C-BE32-E72D297353CC}">
                <c16:uniqueId val="{0000000D-FA3E-4872-B6E1-C4ABDF5766E2}"/>
              </c:ext>
            </c:extLst>
          </c:dPt>
          <c:dPt>
            <c:idx val="6"/>
            <c:invertIfNegative val="1"/>
            <c:bubble3D val="0"/>
            <c:spPr>
              <a:solidFill>
                <a:srgbClr val="7ECAC4"/>
              </a:solidFill>
            </c:spPr>
            <c:extLst>
              <c:ext xmlns:c16="http://schemas.microsoft.com/office/drawing/2014/chart" uri="{C3380CC4-5D6E-409C-BE32-E72D297353CC}">
                <c16:uniqueId val="{0000000F-FA3E-4872-B6E1-C4ABDF5766E2}"/>
              </c:ext>
            </c:extLst>
          </c:dPt>
          <c:dPt>
            <c:idx val="7"/>
            <c:invertIfNegative val="1"/>
            <c:bubble3D val="0"/>
            <c:spPr>
              <a:solidFill>
                <a:srgbClr val="7ECAC4"/>
              </a:solidFill>
            </c:spPr>
            <c:extLst>
              <c:ext xmlns:c16="http://schemas.microsoft.com/office/drawing/2014/chart" uri="{C3380CC4-5D6E-409C-BE32-E72D297353CC}">
                <c16:uniqueId val="{00000011-FA3E-4872-B6E1-C4ABDF5766E2}"/>
              </c:ext>
            </c:extLst>
          </c:dPt>
          <c:dPt>
            <c:idx val="8"/>
            <c:invertIfNegative val="1"/>
            <c:bubble3D val="0"/>
            <c:spPr>
              <a:solidFill>
                <a:srgbClr val="7ECAC4"/>
              </a:solidFill>
            </c:spPr>
            <c:extLst>
              <c:ext xmlns:c16="http://schemas.microsoft.com/office/drawing/2014/chart" uri="{C3380CC4-5D6E-409C-BE32-E72D297353CC}">
                <c16:uniqueId val="{00000013-FA3E-4872-B6E1-C4ABDF5766E2}"/>
              </c:ext>
            </c:extLst>
          </c:dPt>
          <c:dPt>
            <c:idx val="9"/>
            <c:invertIfNegative val="1"/>
            <c:bubble3D val="0"/>
            <c:spPr>
              <a:solidFill>
                <a:srgbClr val="AEABAB"/>
              </a:solidFill>
            </c:spPr>
            <c:extLst>
              <c:ext xmlns:c16="http://schemas.microsoft.com/office/drawing/2014/chart" uri="{C3380CC4-5D6E-409C-BE32-E72D297353CC}">
                <c16:uniqueId val="{00000015-FA3E-4872-B6E1-C4ABDF5766E2}"/>
              </c:ext>
            </c:extLst>
          </c:dPt>
          <c:dPt>
            <c:idx val="10"/>
            <c:invertIfNegative val="1"/>
            <c:bubble3D val="0"/>
            <c:spPr>
              <a:solidFill>
                <a:srgbClr val="AEABAB"/>
              </a:solidFill>
            </c:spPr>
            <c:extLst>
              <c:ext xmlns:c16="http://schemas.microsoft.com/office/drawing/2014/chart" uri="{C3380CC4-5D6E-409C-BE32-E72D297353CC}">
                <c16:uniqueId val="{00000017-FA3E-4872-B6E1-C4ABDF5766E2}"/>
              </c:ext>
            </c:extLst>
          </c:dPt>
          <c:dPt>
            <c:idx val="11"/>
            <c:invertIfNegative val="1"/>
            <c:bubble3D val="0"/>
            <c:spPr>
              <a:solidFill>
                <a:srgbClr val="AEABAB"/>
              </a:solidFill>
            </c:spPr>
            <c:extLst>
              <c:ext xmlns:c16="http://schemas.microsoft.com/office/drawing/2014/chart" uri="{C3380CC4-5D6E-409C-BE32-E72D297353CC}">
                <c16:uniqueId val="{00000019-FA3E-4872-B6E1-C4ABDF5766E2}"/>
              </c:ext>
            </c:extLst>
          </c:dPt>
          <c:dPt>
            <c:idx val="12"/>
            <c:invertIfNegative val="1"/>
            <c:bubble3D val="0"/>
            <c:spPr>
              <a:solidFill>
                <a:srgbClr val="AEABAB"/>
              </a:solidFill>
            </c:spPr>
            <c:extLst>
              <c:ext xmlns:c16="http://schemas.microsoft.com/office/drawing/2014/chart" uri="{C3380CC4-5D6E-409C-BE32-E72D297353CC}">
                <c16:uniqueId val="{0000001B-FA3E-4872-B6E1-C4ABDF5766E2}"/>
              </c:ext>
            </c:extLst>
          </c:dPt>
          <c:dPt>
            <c:idx val="13"/>
            <c:invertIfNegative val="1"/>
            <c:bubble3D val="0"/>
            <c:spPr>
              <a:solidFill>
                <a:srgbClr val="AEABAB"/>
              </a:solidFill>
            </c:spPr>
            <c:extLst>
              <c:ext xmlns:c16="http://schemas.microsoft.com/office/drawing/2014/chart" uri="{C3380CC4-5D6E-409C-BE32-E72D297353CC}">
                <c16:uniqueId val="{0000001D-FA3E-4872-B6E1-C4ABDF5766E2}"/>
              </c:ext>
            </c:extLst>
          </c:dPt>
          <c:dPt>
            <c:idx val="14"/>
            <c:invertIfNegative val="1"/>
            <c:bubble3D val="0"/>
            <c:spPr>
              <a:solidFill>
                <a:srgbClr val="AEABAB"/>
              </a:solidFill>
            </c:spPr>
            <c:extLst>
              <c:ext xmlns:c16="http://schemas.microsoft.com/office/drawing/2014/chart" uri="{C3380CC4-5D6E-409C-BE32-E72D297353CC}">
                <c16:uniqueId val="{0000001F-FA3E-4872-B6E1-C4ABDF5766E2}"/>
              </c:ext>
            </c:extLst>
          </c:dPt>
          <c:dPt>
            <c:idx val="15"/>
            <c:invertIfNegative val="1"/>
            <c:bubble3D val="0"/>
            <c:spPr>
              <a:solidFill>
                <a:srgbClr val="AEABAB"/>
              </a:solidFill>
            </c:spPr>
            <c:extLst>
              <c:ext xmlns:c16="http://schemas.microsoft.com/office/drawing/2014/chart" uri="{C3380CC4-5D6E-409C-BE32-E72D297353CC}">
                <c16:uniqueId val="{00000021-FA3E-4872-B6E1-C4ABDF5766E2}"/>
              </c:ext>
            </c:extLst>
          </c:dPt>
          <c:dPt>
            <c:idx val="16"/>
            <c:invertIfNegative val="1"/>
            <c:bubble3D val="0"/>
            <c:spPr>
              <a:solidFill>
                <a:srgbClr val="AEABAB"/>
              </a:solidFill>
            </c:spPr>
            <c:extLst>
              <c:ext xmlns:c16="http://schemas.microsoft.com/office/drawing/2014/chart" uri="{C3380CC4-5D6E-409C-BE32-E72D297353CC}">
                <c16:uniqueId val="{00000023-FA3E-4872-B6E1-C4ABDF5766E2}"/>
              </c:ext>
            </c:extLst>
          </c:dPt>
          <c:dPt>
            <c:idx val="17"/>
            <c:invertIfNegative val="1"/>
            <c:bubble3D val="0"/>
            <c:spPr>
              <a:solidFill>
                <a:srgbClr val="AEABAB"/>
              </a:solidFill>
            </c:spPr>
            <c:extLst>
              <c:ext xmlns:c16="http://schemas.microsoft.com/office/drawing/2014/chart" uri="{C3380CC4-5D6E-409C-BE32-E72D297353CC}">
                <c16:uniqueId val="{00000025-FA3E-4872-B6E1-C4ABDF5766E2}"/>
              </c:ext>
            </c:extLst>
          </c:dPt>
          <c:dPt>
            <c:idx val="18"/>
            <c:invertIfNegative val="1"/>
            <c:bubble3D val="0"/>
            <c:spPr>
              <a:solidFill>
                <a:srgbClr val="AEABAB"/>
              </a:solidFill>
            </c:spPr>
            <c:extLst>
              <c:ext xmlns:c16="http://schemas.microsoft.com/office/drawing/2014/chart" uri="{C3380CC4-5D6E-409C-BE32-E72D297353CC}">
                <c16:uniqueId val="{00000027-FA3E-4872-B6E1-C4ABDF5766E2}"/>
              </c:ext>
            </c:extLst>
          </c:dPt>
          <c:dPt>
            <c:idx val="19"/>
            <c:invertIfNegative val="1"/>
            <c:bubble3D val="0"/>
            <c:spPr>
              <a:solidFill>
                <a:srgbClr val="AEABAB"/>
              </a:solidFill>
            </c:spPr>
            <c:extLst>
              <c:ext xmlns:c16="http://schemas.microsoft.com/office/drawing/2014/chart" uri="{C3380CC4-5D6E-409C-BE32-E72D297353CC}">
                <c16:uniqueId val="{00000029-FA3E-4872-B6E1-C4ABDF5766E2}"/>
              </c:ext>
            </c:extLst>
          </c:dPt>
          <c:dPt>
            <c:idx val="20"/>
            <c:invertIfNegative val="1"/>
            <c:bubble3D val="0"/>
            <c:spPr>
              <a:solidFill>
                <a:srgbClr val="AEABAB"/>
              </a:solidFill>
            </c:spPr>
            <c:extLst>
              <c:ext xmlns:c16="http://schemas.microsoft.com/office/drawing/2014/chart" uri="{C3380CC4-5D6E-409C-BE32-E72D297353CC}">
                <c16:uniqueId val="{0000002B-FA3E-4872-B6E1-C4ABDF5766E2}"/>
              </c:ext>
            </c:extLst>
          </c:dPt>
          <c:dPt>
            <c:idx val="21"/>
            <c:invertIfNegative val="1"/>
            <c:bubble3D val="0"/>
            <c:spPr>
              <a:solidFill>
                <a:srgbClr val="AEABAB"/>
              </a:solidFill>
            </c:spPr>
            <c:extLst>
              <c:ext xmlns:c16="http://schemas.microsoft.com/office/drawing/2014/chart" uri="{C3380CC4-5D6E-409C-BE32-E72D297353CC}">
                <c16:uniqueId val="{0000002D-FA3E-4872-B6E1-C4ABDF5766E2}"/>
              </c:ext>
            </c:extLst>
          </c:dPt>
          <c:dPt>
            <c:idx val="22"/>
            <c:invertIfNegative val="1"/>
            <c:bubble3D val="0"/>
            <c:spPr>
              <a:solidFill>
                <a:srgbClr val="AEABAB"/>
              </a:solidFill>
            </c:spPr>
            <c:extLst>
              <c:ext xmlns:c16="http://schemas.microsoft.com/office/drawing/2014/chart" uri="{C3380CC4-5D6E-409C-BE32-E72D297353CC}">
                <c16:uniqueId val="{0000002F-FA3E-4872-B6E1-C4ABDF5766E2}"/>
              </c:ext>
            </c:extLst>
          </c:dPt>
          <c:dPt>
            <c:idx val="23"/>
            <c:invertIfNegative val="1"/>
            <c:bubble3D val="0"/>
            <c:spPr>
              <a:solidFill>
                <a:srgbClr val="AEABAB"/>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25</c:f>
              <c:strCache>
                <c:ptCount val="24"/>
                <c:pt idx="0">
                  <c:v>CHAMPAGNE E.NICOLAS BRUT 1CT X 750ML</c:v>
                </c:pt>
                <c:pt idx="1">
                  <c:v>CHAMPAGNE NICOLAS BLC/BLC BS 1CT X 750ML</c:v>
                </c:pt>
                <c:pt idx="2">
                  <c:v>CHAMPAGNE E.NICOLAS ROSE 1CT X 750ML</c:v>
                </c:pt>
                <c:pt idx="3">
                  <c:v>CHAMPAGNE NICOLAS 1ERE CUVEE 1CT X 750ML</c:v>
                </c:pt>
                <c:pt idx="4">
                  <c:v>1/2 CHAMPAGNE NICOLAS 1ERE CUV 1CT X 375ML</c:v>
                </c:pt>
                <c:pt idx="5">
                  <c:v>MG CHAMPAGNE E.NICOLAS BRUT 1CT X 1500ML</c:v>
                </c:pt>
                <c:pt idx="6">
                  <c:v>CHAMPAGNE NICOLAS ROSE 1ERE CU 1CT X 750ML</c:v>
                </c:pt>
                <c:pt idx="7">
                  <c:v>CHAMPAGNE NICOLAS BIO NAT 2017 1CT X 750ML</c:v>
                </c:pt>
                <c:pt idx="8">
                  <c:v>1/2 CHAMP NICOLAS BLC/BLC BS 1CT X 375ML</c:v>
                </c:pt>
                <c:pt idx="9">
                  <c:v>MG CHAMPAGNE NICOLAS BLC/BL BS 1CT X 1500ML</c:v>
                </c:pt>
                <c:pt idx="10">
                  <c:v>1/2 CHAMP NICOLAS ROSE 1E C BS 1CT X 375ML</c:v>
                </c:pt>
                <c:pt idx="11">
                  <c:v>CHAMPAGNE NICOLAS 1ER CRU BS 1CT X 750ML</c:v>
                </c:pt>
                <c:pt idx="12">
                  <c:v>CHAMPAGNE NICOLAS BLC DE NOIRS 1CT X 750ML</c:v>
                </c:pt>
                <c:pt idx="13">
                  <c:v>MG CHAMPAGNE NICOLAS 1ERE CUVE 1CT X 1500ML</c:v>
                </c:pt>
                <c:pt idx="14">
                  <c:v>CHAMPAGNE NICOLAS BLC/BLC 2002 1CT X 750ML</c:v>
                </c:pt>
                <c:pt idx="15">
                  <c:v>CHAMPAGNE NICOLAS 1ER CRU ETUI 1CT X 750ML</c:v>
                </c:pt>
                <c:pt idx="16">
                  <c:v>CHAMPAGNE NICOLAS ROSE 1ERE ET 1CT X 750ML</c:v>
                </c:pt>
                <c:pt idx="17">
                  <c:v>CHAMPAGNE NICOLAS 1ERE CUV ETU 1CT X 750ML</c:v>
                </c:pt>
                <c:pt idx="18">
                  <c:v>CHAMPAGNE NICOLAS ROSE 1E C BS 1CT X 750ML</c:v>
                </c:pt>
                <c:pt idx="19">
                  <c:v>MG CHAMPAGNE NICOLAS 1E CRU BS 1CT X 1500ML</c:v>
                </c:pt>
                <c:pt idx="20">
                  <c:v>CHAMPAGNE NICOLAS BLC/BL BS ET 1CT X 750ML</c:v>
                </c:pt>
                <c:pt idx="21">
                  <c:v>1/2 CHAMPAGNE NICOLAS 1E C BS 1CT X 375ML</c:v>
                </c:pt>
                <c:pt idx="22">
                  <c:v>CHAMPAGNE NICOLAS BIO 2018 1CT X 750ML</c:v>
                </c:pt>
                <c:pt idx="23">
                  <c:v>MG CHAMPAGNE NICOLAS BRUT 1CT X 1500ML</c:v>
                </c:pt>
              </c:strCache>
            </c:strRef>
          </c:cat>
          <c:val>
            <c:numRef>
              <c:f>Sheet1!$C$2:$C$25</c:f>
              <c:numCache>
                <c:formatCode>General</c:formatCode>
                <c:ptCount val="24"/>
                <c:pt idx="0">
                  <c:v>0.71917630911595953</c:v>
                </c:pt>
                <c:pt idx="1">
                  <c:v>0.78722890387965339</c:v>
                </c:pt>
                <c:pt idx="2">
                  <c:v>0.83599917063748219</c:v>
                </c:pt>
                <c:pt idx="3">
                  <c:v>0.87832820707141968</c:v>
                </c:pt>
                <c:pt idx="4">
                  <c:v>0.89549734321814745</c:v>
                </c:pt>
                <c:pt idx="5">
                  <c:v>0.91187444867635881</c:v>
                </c:pt>
                <c:pt idx="6">
                  <c:v>0.92284194422063848</c:v>
                </c:pt>
                <c:pt idx="7">
                  <c:v>0.93350219705702497</c:v>
                </c:pt>
                <c:pt idx="8">
                  <c:v>0.9437794919260718</c:v>
                </c:pt>
                <c:pt idx="9">
                  <c:v>0.95390044880570579</c:v>
                </c:pt>
                <c:pt idx="10">
                  <c:v>0.96251761650466472</c:v>
                </c:pt>
                <c:pt idx="11">
                  <c:v>0.96958858045631424</c:v>
                </c:pt>
                <c:pt idx="12">
                  <c:v>0.97617019949042938</c:v>
                </c:pt>
                <c:pt idx="13">
                  <c:v>0.98262510062505404</c:v>
                </c:pt>
                <c:pt idx="14">
                  <c:v>0.98672371484301269</c:v>
                </c:pt>
                <c:pt idx="15">
                  <c:v>0.99060166815438977</c:v>
                </c:pt>
                <c:pt idx="16">
                  <c:v>0.99333495396705018</c:v>
                </c:pt>
                <c:pt idx="17">
                  <c:v>0.99583776393208967</c:v>
                </c:pt>
                <c:pt idx="18">
                  <c:v>0.9975008706378502</c:v>
                </c:pt>
                <c:pt idx="19">
                  <c:v>0.99883009408146783</c:v>
                </c:pt>
                <c:pt idx="20">
                  <c:v>0.9999079849277559</c:v>
                </c:pt>
                <c:pt idx="21">
                  <c:v>0.99998475178802815</c:v>
                </c:pt>
                <c:pt idx="22">
                  <c:v>0.9999928140610248</c:v>
                </c:pt>
                <c:pt idx="23">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25</c:f>
              <c:strCache>
                <c:ptCount val="24"/>
                <c:pt idx="0">
                  <c:v>CHAMPAGNE E.NICOLAS BRUT 1CT X 750ML</c:v>
                </c:pt>
                <c:pt idx="1">
                  <c:v>CHAMPAGNE NICOLAS BLC/BLC BS 1CT X 750ML</c:v>
                </c:pt>
                <c:pt idx="2">
                  <c:v>CHAMPAGNE E.NICOLAS ROSE 1CT X 750ML</c:v>
                </c:pt>
                <c:pt idx="3">
                  <c:v>CHAMPAGNE NICOLAS 1ERE CUVEE 1CT X 750ML</c:v>
                </c:pt>
                <c:pt idx="4">
                  <c:v>1/2 CHAMPAGNE NICOLAS 1ERE CUV 1CT X 375ML</c:v>
                </c:pt>
                <c:pt idx="5">
                  <c:v>MG CHAMPAGNE E.NICOLAS BRUT 1CT X 1500ML</c:v>
                </c:pt>
                <c:pt idx="6">
                  <c:v>CHAMPAGNE NICOLAS ROSE 1ERE CU 1CT X 750ML</c:v>
                </c:pt>
                <c:pt idx="7">
                  <c:v>CHAMPAGNE NICOLAS BIO NAT 2017 1CT X 750ML</c:v>
                </c:pt>
                <c:pt idx="8">
                  <c:v>1/2 CHAMP NICOLAS BLC/BLC BS 1CT X 375ML</c:v>
                </c:pt>
                <c:pt idx="9">
                  <c:v>MG CHAMPAGNE NICOLAS BLC/BL BS 1CT X 1500ML</c:v>
                </c:pt>
                <c:pt idx="10">
                  <c:v>1/2 CHAMP NICOLAS ROSE 1E C BS 1CT X 375ML</c:v>
                </c:pt>
                <c:pt idx="11">
                  <c:v>CHAMPAGNE NICOLAS 1ER CRU BS 1CT X 750ML</c:v>
                </c:pt>
                <c:pt idx="12">
                  <c:v>CHAMPAGNE NICOLAS BLC DE NOIRS 1CT X 750ML</c:v>
                </c:pt>
                <c:pt idx="13">
                  <c:v>MG CHAMPAGNE NICOLAS 1ERE CUVE 1CT X 1500ML</c:v>
                </c:pt>
                <c:pt idx="14">
                  <c:v>CHAMPAGNE NICOLAS BLC/BLC 2002 1CT X 750ML</c:v>
                </c:pt>
                <c:pt idx="15">
                  <c:v>CHAMPAGNE NICOLAS 1ER CRU ETUI 1CT X 750ML</c:v>
                </c:pt>
                <c:pt idx="16">
                  <c:v>CHAMPAGNE NICOLAS ROSE 1ERE ET 1CT X 750ML</c:v>
                </c:pt>
                <c:pt idx="17">
                  <c:v>CHAMPAGNE NICOLAS 1ERE CUV ETU 1CT X 750ML</c:v>
                </c:pt>
                <c:pt idx="18">
                  <c:v>CHAMPAGNE NICOLAS ROSE 1E C BS 1CT X 750ML</c:v>
                </c:pt>
                <c:pt idx="19">
                  <c:v>MG CHAMPAGNE NICOLAS 1E CRU BS 1CT X 1500ML</c:v>
                </c:pt>
                <c:pt idx="20">
                  <c:v>CHAMPAGNE NICOLAS BLC/BL BS ET 1CT X 750ML</c:v>
                </c:pt>
                <c:pt idx="21">
                  <c:v>1/2 CHAMPAGNE NICOLAS 1E C BS 1CT X 375ML</c:v>
                </c:pt>
                <c:pt idx="22">
                  <c:v>CHAMPAGNE NICOLAS BIO 2018 1CT X 750ML</c:v>
                </c:pt>
                <c:pt idx="23">
                  <c:v>MG CHAMPAGNE NICOLAS BRUT 1CT X 1500ML</c:v>
                </c:pt>
              </c:strCache>
            </c:strRef>
          </c:cat>
          <c:val>
            <c:numRef>
              <c:f>Sheet1!$D$2:$D$25</c:f>
              <c:numCache>
                <c:formatCode>General</c:formatCode>
                <c:ptCount val="24"/>
                <c:pt idx="0">
                  <c:v>41115.460921843689</c:v>
                </c:pt>
                <c:pt idx="1">
                  <c:v>6637.264957264957</c:v>
                </c:pt>
                <c:pt idx="2">
                  <c:v>4430.9394904458604</c:v>
                </c:pt>
                <c:pt idx="3">
                  <c:v>3148.787483702738</c:v>
                </c:pt>
                <c:pt idx="4">
                  <c:v>2524.7422680412369</c:v>
                </c:pt>
                <c:pt idx="5">
                  <c:v>3678.7795275590552</c:v>
                </c:pt>
                <c:pt idx="6">
                  <c:v>1793.0085959885387</c:v>
                </c:pt>
                <c:pt idx="7">
                  <c:v>3041.15</c:v>
                </c:pt>
                <c:pt idx="8">
                  <c:v>1861.5238095238096</c:v>
                </c:pt>
                <c:pt idx="9">
                  <c:v>3376.9590643274851</c:v>
                </c:pt>
                <c:pt idx="10">
                  <c:v>1655.4208754208755</c:v>
                </c:pt>
                <c:pt idx="11">
                  <c:v>1162.6512968299712</c:v>
                </c:pt>
                <c:pt idx="12">
                  <c:v>1814.1062801932367</c:v>
                </c:pt>
                <c:pt idx="13">
                  <c:v>1560.5508474576272</c:v>
                </c:pt>
                <c:pt idx="14">
                  <c:v>2362.121212121212</c:v>
                </c:pt>
                <c:pt idx="15">
                  <c:v>1170.6878306878307</c:v>
                </c:pt>
                <c:pt idx="16">
                  <c:v>1485.2380952380952</c:v>
                </c:pt>
                <c:pt idx="17">
                  <c:v>1050</c:v>
                </c:pt>
                <c:pt idx="18">
                  <c:v>1171.4814814814815</c:v>
                </c:pt>
                <c:pt idx="19">
                  <c:v>1330.5263157894738</c:v>
                </c:pt>
                <c:pt idx="20">
                  <c:v>2277.7777777777778</c:v>
                </c:pt>
                <c:pt idx="21">
                  <c:v>438</c:v>
                </c:pt>
                <c:pt idx="22">
                  <c:v>230</c:v>
                </c:pt>
                <c:pt idx="23">
                  <c:v>205</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23</c:f>
              <c:strCache>
                <c:ptCount val="22"/>
                <c:pt idx="0">
                  <c:v>CHAMPAGNE E.NICOLAS BRUT 1CT X 750ML</c:v>
                </c:pt>
                <c:pt idx="1">
                  <c:v>CHAMPAGNE NICOLAS BLC/BLC BS 1CT X 750ML</c:v>
                </c:pt>
                <c:pt idx="2">
                  <c:v>CHAMPAGNE E.NICOLAS ROSE 1CT X 750ML</c:v>
                </c:pt>
                <c:pt idx="3">
                  <c:v>CHAMPAGNE NICOLAS 1ERE CUVEE 1CT X 750ML</c:v>
                </c:pt>
                <c:pt idx="4">
                  <c:v>1/2 CHAMPAGNE NICOLAS 1ERE CUV 1CT X 375ML</c:v>
                </c:pt>
                <c:pt idx="5">
                  <c:v>MG CHAMPAGNE E.NICOLAS BRUT 1CT X 1500ML</c:v>
                </c:pt>
                <c:pt idx="6">
                  <c:v>CHAMPAGNE NICOLAS BIO NAT 2017 1CT X 750ML</c:v>
                </c:pt>
                <c:pt idx="7">
                  <c:v>CHAMPAGNE NICOLAS ROSE 1ERE CU 1CT X 750ML</c:v>
                </c:pt>
                <c:pt idx="8">
                  <c:v>MG CHAMPAGNE NICOLAS BLC/BL BS 1CT X 1500ML</c:v>
                </c:pt>
                <c:pt idx="9">
                  <c:v>1/2 CHAMP NICOLAS BLC/BLC BS 1CT X 375ML</c:v>
                </c:pt>
                <c:pt idx="10">
                  <c:v>1/2 CHAMP NICOLAS ROSE 1E C BS 1CT X 375ML</c:v>
                </c:pt>
                <c:pt idx="11">
                  <c:v>CHAMPAGNE NICOLAS BLC DE NOIRS 1CT X 750ML</c:v>
                </c:pt>
                <c:pt idx="12">
                  <c:v>CHAMPAGNE NICOLAS 1ER CRU BS 1CT X 750ML</c:v>
                </c:pt>
                <c:pt idx="13">
                  <c:v>MG CHAMPAGNE NICOLAS 1ERE CUVE 1CT X 1500ML</c:v>
                </c:pt>
                <c:pt idx="14">
                  <c:v>CHAMPAGNE NICOLAS 1ER CRU ETUI 1CT X 750ML</c:v>
                </c:pt>
                <c:pt idx="15">
                  <c:v>CHAMPAGNE NICOLAS BLC/BLC 2002 1CT X 750ML</c:v>
                </c:pt>
                <c:pt idx="16">
                  <c:v>CHAMPAGNE NICOLAS ROSE 1ERE ET 1CT X 750ML</c:v>
                </c:pt>
                <c:pt idx="17">
                  <c:v>CHAMPAGNE NICOLAS 1ERE CUV ETU 1CT X 750ML</c:v>
                </c:pt>
                <c:pt idx="18">
                  <c:v>MG CHAMPAGNE NICOLAS 1E CRU BS 1CT X 1500ML</c:v>
                </c:pt>
                <c:pt idx="19">
                  <c:v>CHAMPAGNE NICOLAS ROSE 1E C BS 1CT X 750ML</c:v>
                </c:pt>
                <c:pt idx="20">
                  <c:v>CHAMPAGNE NICOLAS BLC/BL BS ET 1CT X 750ML</c:v>
                </c:pt>
                <c:pt idx="21">
                  <c:v>1/2 CHAMPAGNE NICOLAS 1E C BS 1CT X 375ML</c:v>
                </c:pt>
              </c:strCache>
            </c:strRef>
          </c:cat>
          <c:val>
            <c:numRef>
              <c:f>Sheet1!$B$2:$B$23</c:f>
              <c:numCache>
                <c:formatCode>General</c:formatCode>
                <c:ptCount val="22"/>
                <c:pt idx="0">
                  <c:v>1</c:v>
                </c:pt>
                <c:pt idx="1">
                  <c:v>0.56999999999999995</c:v>
                </c:pt>
                <c:pt idx="2">
                  <c:v>0.6</c:v>
                </c:pt>
                <c:pt idx="3">
                  <c:v>0.83</c:v>
                </c:pt>
                <c:pt idx="4">
                  <c:v>0.37</c:v>
                </c:pt>
                <c:pt idx="5">
                  <c:v>0.18</c:v>
                </c:pt>
                <c:pt idx="6">
                  <c:v>0.19</c:v>
                </c:pt>
                <c:pt idx="7">
                  <c:v>0.32</c:v>
                </c:pt>
                <c:pt idx="8">
                  <c:v>0.12</c:v>
                </c:pt>
                <c:pt idx="9">
                  <c:v>0.28000000000000003</c:v>
                </c:pt>
                <c:pt idx="10">
                  <c:v>0.25</c:v>
                </c:pt>
                <c:pt idx="11">
                  <c:v>0.17</c:v>
                </c:pt>
                <c:pt idx="12">
                  <c:v>0.32</c:v>
                </c:pt>
                <c:pt idx="13">
                  <c:v>0.27</c:v>
                </c:pt>
                <c:pt idx="14">
                  <c:v>0.18</c:v>
                </c:pt>
                <c:pt idx="15">
                  <c:v>0.03</c:v>
                </c:pt>
                <c:pt idx="16">
                  <c:v>0.08</c:v>
                </c:pt>
                <c:pt idx="17">
                  <c:v>0.14000000000000001</c:v>
                </c:pt>
                <c:pt idx="18">
                  <c:v>0.04</c:v>
                </c:pt>
                <c:pt idx="19">
                  <c:v>0.04</c:v>
                </c:pt>
                <c:pt idx="20">
                  <c:v>0.02</c:v>
                </c:pt>
                <c:pt idx="21">
                  <c:v>0.01</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7ECAC4"/>
              </a:solidFill>
            </c:spPr>
            <c:extLst>
              <c:ext xmlns:c16="http://schemas.microsoft.com/office/drawing/2014/chart" uri="{C3380CC4-5D6E-409C-BE32-E72D297353CC}">
                <c16:uniqueId val="{00000006-E902-46E2-9A54-39A26B3DFDC1}"/>
              </c:ext>
            </c:extLst>
          </c:dPt>
          <c:dPt>
            <c:idx val="3"/>
            <c:invertIfNegative val="0"/>
            <c:bubble3D val="0"/>
            <c:spPr>
              <a:solidFill>
                <a:srgbClr val="7ECAC4"/>
              </a:solidFill>
            </c:spPr>
            <c:extLst>
              <c:ext xmlns:c16="http://schemas.microsoft.com/office/drawing/2014/chart" uri="{C3380CC4-5D6E-409C-BE32-E72D297353CC}">
                <c16:uniqueId val="{00000007-E902-46E2-9A54-39A26B3DFDC1}"/>
              </c:ext>
            </c:extLst>
          </c:dPt>
          <c:dPt>
            <c:idx val="4"/>
            <c:invertIfNegative val="1"/>
            <c:bubble3D val="0"/>
            <c:spPr>
              <a:solidFill>
                <a:srgbClr val="7ECAC4"/>
              </a:solidFill>
            </c:spPr>
            <c:extLst>
              <c:ext xmlns:c16="http://schemas.microsoft.com/office/drawing/2014/chart" uri="{C3380CC4-5D6E-409C-BE32-E72D297353CC}">
                <c16:uniqueId val="{0000000B-FA3E-4872-B6E1-C4ABDF5766E2}"/>
              </c:ext>
            </c:extLst>
          </c:dPt>
          <c:dPt>
            <c:idx val="5"/>
            <c:invertIfNegative val="1"/>
            <c:bubble3D val="0"/>
            <c:spPr>
              <a:solidFill>
                <a:srgbClr val="7ECAC4"/>
              </a:solidFill>
            </c:spPr>
            <c:extLst>
              <c:ext xmlns:c16="http://schemas.microsoft.com/office/drawing/2014/chart" uri="{C3380CC4-5D6E-409C-BE32-E72D297353CC}">
                <c16:uniqueId val="{0000000D-FA3E-4872-B6E1-C4ABDF5766E2}"/>
              </c:ext>
            </c:extLst>
          </c:dPt>
          <c:dPt>
            <c:idx val="6"/>
            <c:invertIfNegative val="1"/>
            <c:bubble3D val="0"/>
            <c:spPr>
              <a:solidFill>
                <a:srgbClr val="7ECAC4"/>
              </a:solidFill>
            </c:spPr>
            <c:extLst>
              <c:ext xmlns:c16="http://schemas.microsoft.com/office/drawing/2014/chart" uri="{C3380CC4-5D6E-409C-BE32-E72D297353CC}">
                <c16:uniqueId val="{0000000F-FA3E-4872-B6E1-C4ABDF5766E2}"/>
              </c:ext>
            </c:extLst>
          </c:dPt>
          <c:dPt>
            <c:idx val="7"/>
            <c:invertIfNegative val="1"/>
            <c:bubble3D val="0"/>
            <c:spPr>
              <a:solidFill>
                <a:srgbClr val="7ECAC4"/>
              </a:solidFill>
            </c:spPr>
            <c:extLst>
              <c:ext xmlns:c16="http://schemas.microsoft.com/office/drawing/2014/chart" uri="{C3380CC4-5D6E-409C-BE32-E72D297353CC}">
                <c16:uniqueId val="{00000011-FA3E-4872-B6E1-C4ABDF5766E2}"/>
              </c:ext>
            </c:extLst>
          </c:dPt>
          <c:dPt>
            <c:idx val="8"/>
            <c:invertIfNegative val="1"/>
            <c:bubble3D val="0"/>
            <c:spPr>
              <a:solidFill>
                <a:srgbClr val="7ECAC4"/>
              </a:solidFill>
            </c:spPr>
            <c:extLst>
              <c:ext xmlns:c16="http://schemas.microsoft.com/office/drawing/2014/chart" uri="{C3380CC4-5D6E-409C-BE32-E72D297353CC}">
                <c16:uniqueId val="{00000013-FA3E-4872-B6E1-C4ABDF5766E2}"/>
              </c:ext>
            </c:extLst>
          </c:dPt>
          <c:dPt>
            <c:idx val="9"/>
            <c:invertIfNegative val="1"/>
            <c:bubble3D val="0"/>
            <c:spPr>
              <a:solidFill>
                <a:srgbClr val="AEABAB"/>
              </a:solidFill>
            </c:spPr>
            <c:extLst>
              <c:ext xmlns:c16="http://schemas.microsoft.com/office/drawing/2014/chart" uri="{C3380CC4-5D6E-409C-BE32-E72D297353CC}">
                <c16:uniqueId val="{00000015-FA3E-4872-B6E1-C4ABDF5766E2}"/>
              </c:ext>
            </c:extLst>
          </c:dPt>
          <c:dPt>
            <c:idx val="10"/>
            <c:invertIfNegative val="1"/>
            <c:bubble3D val="0"/>
            <c:spPr>
              <a:solidFill>
                <a:srgbClr val="AEABAB"/>
              </a:solidFill>
            </c:spPr>
            <c:extLst>
              <c:ext xmlns:c16="http://schemas.microsoft.com/office/drawing/2014/chart" uri="{C3380CC4-5D6E-409C-BE32-E72D297353CC}">
                <c16:uniqueId val="{00000017-FA3E-4872-B6E1-C4ABDF5766E2}"/>
              </c:ext>
            </c:extLst>
          </c:dPt>
          <c:dPt>
            <c:idx val="11"/>
            <c:invertIfNegative val="1"/>
            <c:bubble3D val="0"/>
            <c:spPr>
              <a:solidFill>
                <a:srgbClr val="AEABAB"/>
              </a:solidFill>
            </c:spPr>
            <c:extLst>
              <c:ext xmlns:c16="http://schemas.microsoft.com/office/drawing/2014/chart" uri="{C3380CC4-5D6E-409C-BE32-E72D297353CC}">
                <c16:uniqueId val="{00000019-FA3E-4872-B6E1-C4ABDF5766E2}"/>
              </c:ext>
            </c:extLst>
          </c:dPt>
          <c:dPt>
            <c:idx val="12"/>
            <c:invertIfNegative val="1"/>
            <c:bubble3D val="0"/>
            <c:spPr>
              <a:solidFill>
                <a:srgbClr val="AEABAB"/>
              </a:solidFill>
            </c:spPr>
            <c:extLst>
              <c:ext xmlns:c16="http://schemas.microsoft.com/office/drawing/2014/chart" uri="{C3380CC4-5D6E-409C-BE32-E72D297353CC}">
                <c16:uniqueId val="{0000001B-FA3E-4872-B6E1-C4ABDF5766E2}"/>
              </c:ext>
            </c:extLst>
          </c:dPt>
          <c:dPt>
            <c:idx val="13"/>
            <c:invertIfNegative val="1"/>
            <c:bubble3D val="0"/>
            <c:spPr>
              <a:solidFill>
                <a:srgbClr val="AEABAB"/>
              </a:solidFill>
            </c:spPr>
            <c:extLst>
              <c:ext xmlns:c16="http://schemas.microsoft.com/office/drawing/2014/chart" uri="{C3380CC4-5D6E-409C-BE32-E72D297353CC}">
                <c16:uniqueId val="{0000001D-FA3E-4872-B6E1-C4ABDF5766E2}"/>
              </c:ext>
            </c:extLst>
          </c:dPt>
          <c:dPt>
            <c:idx val="14"/>
            <c:invertIfNegative val="1"/>
            <c:bubble3D val="0"/>
            <c:spPr>
              <a:solidFill>
                <a:srgbClr val="AEABAB"/>
              </a:solidFill>
            </c:spPr>
            <c:extLst>
              <c:ext xmlns:c16="http://schemas.microsoft.com/office/drawing/2014/chart" uri="{C3380CC4-5D6E-409C-BE32-E72D297353CC}">
                <c16:uniqueId val="{0000001F-FA3E-4872-B6E1-C4ABDF5766E2}"/>
              </c:ext>
            </c:extLst>
          </c:dPt>
          <c:dPt>
            <c:idx val="15"/>
            <c:invertIfNegative val="1"/>
            <c:bubble3D val="0"/>
            <c:spPr>
              <a:solidFill>
                <a:srgbClr val="AEABAB"/>
              </a:solidFill>
            </c:spPr>
            <c:extLst>
              <c:ext xmlns:c16="http://schemas.microsoft.com/office/drawing/2014/chart" uri="{C3380CC4-5D6E-409C-BE32-E72D297353CC}">
                <c16:uniqueId val="{00000021-FA3E-4872-B6E1-C4ABDF5766E2}"/>
              </c:ext>
            </c:extLst>
          </c:dPt>
          <c:dPt>
            <c:idx val="16"/>
            <c:invertIfNegative val="1"/>
            <c:bubble3D val="0"/>
            <c:spPr>
              <a:solidFill>
                <a:srgbClr val="AEABAB"/>
              </a:solidFill>
            </c:spPr>
            <c:extLst>
              <c:ext xmlns:c16="http://schemas.microsoft.com/office/drawing/2014/chart" uri="{C3380CC4-5D6E-409C-BE32-E72D297353CC}">
                <c16:uniqueId val="{00000023-FA3E-4872-B6E1-C4ABDF5766E2}"/>
              </c:ext>
            </c:extLst>
          </c:dPt>
          <c:dPt>
            <c:idx val="17"/>
            <c:invertIfNegative val="1"/>
            <c:bubble3D val="0"/>
            <c:spPr>
              <a:solidFill>
                <a:srgbClr val="AEABAB"/>
              </a:solidFill>
            </c:spPr>
            <c:extLst>
              <c:ext xmlns:c16="http://schemas.microsoft.com/office/drawing/2014/chart" uri="{C3380CC4-5D6E-409C-BE32-E72D297353CC}">
                <c16:uniqueId val="{00000025-FA3E-4872-B6E1-C4ABDF5766E2}"/>
              </c:ext>
            </c:extLst>
          </c:dPt>
          <c:dPt>
            <c:idx val="18"/>
            <c:invertIfNegative val="1"/>
            <c:bubble3D val="0"/>
            <c:spPr>
              <a:solidFill>
                <a:srgbClr val="AEABAB"/>
              </a:solidFill>
            </c:spPr>
            <c:extLst>
              <c:ext xmlns:c16="http://schemas.microsoft.com/office/drawing/2014/chart" uri="{C3380CC4-5D6E-409C-BE32-E72D297353CC}">
                <c16:uniqueId val="{00000027-FA3E-4872-B6E1-C4ABDF5766E2}"/>
              </c:ext>
            </c:extLst>
          </c:dPt>
          <c:dPt>
            <c:idx val="19"/>
            <c:invertIfNegative val="1"/>
            <c:bubble3D val="0"/>
            <c:spPr>
              <a:solidFill>
                <a:srgbClr val="AEABAB"/>
              </a:solidFill>
            </c:spPr>
            <c:extLst>
              <c:ext xmlns:c16="http://schemas.microsoft.com/office/drawing/2014/chart" uri="{C3380CC4-5D6E-409C-BE32-E72D297353CC}">
                <c16:uniqueId val="{00000029-FA3E-4872-B6E1-C4ABDF5766E2}"/>
              </c:ext>
            </c:extLst>
          </c:dPt>
          <c:dPt>
            <c:idx val="20"/>
            <c:invertIfNegative val="1"/>
            <c:bubble3D val="0"/>
            <c:spPr>
              <a:solidFill>
                <a:srgbClr val="AEABAB"/>
              </a:solidFill>
            </c:spPr>
            <c:extLst>
              <c:ext xmlns:c16="http://schemas.microsoft.com/office/drawing/2014/chart" uri="{C3380CC4-5D6E-409C-BE32-E72D297353CC}">
                <c16:uniqueId val="{0000002B-FA3E-4872-B6E1-C4ABDF5766E2}"/>
              </c:ext>
            </c:extLst>
          </c:dPt>
          <c:dPt>
            <c:idx val="21"/>
            <c:invertIfNegative val="1"/>
            <c:bubble3D val="0"/>
            <c:spPr>
              <a:solidFill>
                <a:srgbClr val="AEABAB"/>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23</c:f>
              <c:strCache>
                <c:ptCount val="22"/>
                <c:pt idx="0">
                  <c:v>CHAMPAGNE E.NICOLAS BRUT 1CT X 750ML</c:v>
                </c:pt>
                <c:pt idx="1">
                  <c:v>CHAMPAGNE NICOLAS BLC/BLC BS 1CT X 750ML</c:v>
                </c:pt>
                <c:pt idx="2">
                  <c:v>CHAMPAGNE E.NICOLAS ROSE 1CT X 750ML</c:v>
                </c:pt>
                <c:pt idx="3">
                  <c:v>CHAMPAGNE NICOLAS 1ERE CUVEE 1CT X 750ML</c:v>
                </c:pt>
                <c:pt idx="4">
                  <c:v>1/2 CHAMPAGNE NICOLAS 1ERE CUV 1CT X 375ML</c:v>
                </c:pt>
                <c:pt idx="5">
                  <c:v>MG CHAMPAGNE E.NICOLAS BRUT 1CT X 1500ML</c:v>
                </c:pt>
                <c:pt idx="6">
                  <c:v>CHAMPAGNE NICOLAS BIO NAT 2017 1CT X 750ML</c:v>
                </c:pt>
                <c:pt idx="7">
                  <c:v>CHAMPAGNE NICOLAS ROSE 1ERE CU 1CT X 750ML</c:v>
                </c:pt>
                <c:pt idx="8">
                  <c:v>MG CHAMPAGNE NICOLAS BLC/BL BS 1CT X 1500ML</c:v>
                </c:pt>
                <c:pt idx="9">
                  <c:v>1/2 CHAMP NICOLAS BLC/BLC BS 1CT X 375ML</c:v>
                </c:pt>
                <c:pt idx="10">
                  <c:v>1/2 CHAMP NICOLAS ROSE 1E C BS 1CT X 375ML</c:v>
                </c:pt>
                <c:pt idx="11">
                  <c:v>CHAMPAGNE NICOLAS BLC DE NOIRS 1CT X 750ML</c:v>
                </c:pt>
                <c:pt idx="12">
                  <c:v>CHAMPAGNE NICOLAS 1ER CRU BS 1CT X 750ML</c:v>
                </c:pt>
                <c:pt idx="13">
                  <c:v>MG CHAMPAGNE NICOLAS 1ERE CUVE 1CT X 1500ML</c:v>
                </c:pt>
                <c:pt idx="14">
                  <c:v>CHAMPAGNE NICOLAS 1ER CRU ETUI 1CT X 750ML</c:v>
                </c:pt>
                <c:pt idx="15">
                  <c:v>CHAMPAGNE NICOLAS BLC/BLC 2002 1CT X 750ML</c:v>
                </c:pt>
                <c:pt idx="16">
                  <c:v>CHAMPAGNE NICOLAS ROSE 1ERE ET 1CT X 750ML</c:v>
                </c:pt>
                <c:pt idx="17">
                  <c:v>CHAMPAGNE NICOLAS 1ERE CUV ETU 1CT X 750ML</c:v>
                </c:pt>
                <c:pt idx="18">
                  <c:v>MG CHAMPAGNE NICOLAS 1E CRU BS 1CT X 1500ML</c:v>
                </c:pt>
                <c:pt idx="19">
                  <c:v>CHAMPAGNE NICOLAS ROSE 1E C BS 1CT X 750ML</c:v>
                </c:pt>
                <c:pt idx="20">
                  <c:v>CHAMPAGNE NICOLAS BLC/BL BS ET 1CT X 750ML</c:v>
                </c:pt>
                <c:pt idx="21">
                  <c:v>1/2 CHAMPAGNE NICOLAS 1E C BS 1CT X 375ML</c:v>
                </c:pt>
              </c:strCache>
            </c:strRef>
          </c:cat>
          <c:val>
            <c:numRef>
              <c:f>Sheet1!$C$2:$C$23</c:f>
              <c:numCache>
                <c:formatCode>General</c:formatCode>
                <c:ptCount val="22"/>
                <c:pt idx="0">
                  <c:v>0.72012933934043777</c:v>
                </c:pt>
                <c:pt idx="1">
                  <c:v>0.78781263368484333</c:v>
                </c:pt>
                <c:pt idx="2">
                  <c:v>0.83486771064755549</c:v>
                </c:pt>
                <c:pt idx="3">
                  <c:v>0.87895408954359899</c:v>
                </c:pt>
                <c:pt idx="4">
                  <c:v>0.8972195142896674</c:v>
                </c:pt>
                <c:pt idx="5">
                  <c:v>0.91277148459553037</c:v>
                </c:pt>
                <c:pt idx="6">
                  <c:v>0.92432543323828631</c:v>
                </c:pt>
                <c:pt idx="7">
                  <c:v>0.93569132855500314</c:v>
                </c:pt>
                <c:pt idx="8">
                  <c:v>0.94584422028240611</c:v>
                </c:pt>
                <c:pt idx="9">
                  <c:v>0.95571801383881649</c:v>
                </c:pt>
                <c:pt idx="10">
                  <c:v>0.96491712136079055</c:v>
                </c:pt>
                <c:pt idx="11">
                  <c:v>0.97187310654552805</c:v>
                </c:pt>
                <c:pt idx="12">
                  <c:v>0.9781790553918428</c:v>
                </c:pt>
                <c:pt idx="13">
                  <c:v>0.98397014365206725</c:v>
                </c:pt>
                <c:pt idx="14">
                  <c:v>0.98752606108989838</c:v>
                </c:pt>
                <c:pt idx="15">
                  <c:v>0.99079930217505752</c:v>
                </c:pt>
                <c:pt idx="16">
                  <c:v>0.99335690692433831</c:v>
                </c:pt>
                <c:pt idx="17">
                  <c:v>0.9958922474320584</c:v>
                </c:pt>
                <c:pt idx="18">
                  <c:v>0.99752151282340806</c:v>
                </c:pt>
                <c:pt idx="19">
                  <c:v>0.99904939640050838</c:v>
                </c:pt>
                <c:pt idx="20">
                  <c:v>0.9999479175777779</c:v>
                </c:pt>
                <c:pt idx="21">
                  <c:v>1.000000000000000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23</c:f>
              <c:strCache>
                <c:ptCount val="22"/>
                <c:pt idx="0">
                  <c:v>CHAMPAGNE E.NICOLAS BRUT 1CT X 750ML</c:v>
                </c:pt>
                <c:pt idx="1">
                  <c:v>CHAMPAGNE NICOLAS BLC/BLC BS 1CT X 750ML</c:v>
                </c:pt>
                <c:pt idx="2">
                  <c:v>CHAMPAGNE E.NICOLAS ROSE 1CT X 750ML</c:v>
                </c:pt>
                <c:pt idx="3">
                  <c:v>CHAMPAGNE NICOLAS 1ERE CUVEE 1CT X 750ML</c:v>
                </c:pt>
                <c:pt idx="4">
                  <c:v>1/2 CHAMPAGNE NICOLAS 1ERE CUV 1CT X 375ML</c:v>
                </c:pt>
                <c:pt idx="5">
                  <c:v>MG CHAMPAGNE E.NICOLAS BRUT 1CT X 1500ML</c:v>
                </c:pt>
                <c:pt idx="6">
                  <c:v>CHAMPAGNE NICOLAS BIO NAT 2017 1CT X 750ML</c:v>
                </c:pt>
                <c:pt idx="7">
                  <c:v>CHAMPAGNE NICOLAS ROSE 1ERE CU 1CT X 750ML</c:v>
                </c:pt>
                <c:pt idx="8">
                  <c:v>MG CHAMPAGNE NICOLAS BLC/BL BS 1CT X 1500ML</c:v>
                </c:pt>
                <c:pt idx="9">
                  <c:v>1/2 CHAMP NICOLAS BLC/BLC BS 1CT X 375ML</c:v>
                </c:pt>
                <c:pt idx="10">
                  <c:v>1/2 CHAMP NICOLAS ROSE 1E C BS 1CT X 375ML</c:v>
                </c:pt>
                <c:pt idx="11">
                  <c:v>CHAMPAGNE NICOLAS BLC DE NOIRS 1CT X 750ML</c:v>
                </c:pt>
                <c:pt idx="12">
                  <c:v>CHAMPAGNE NICOLAS 1ER CRU BS 1CT X 750ML</c:v>
                </c:pt>
                <c:pt idx="13">
                  <c:v>MG CHAMPAGNE NICOLAS 1ERE CUVE 1CT X 1500ML</c:v>
                </c:pt>
                <c:pt idx="14">
                  <c:v>CHAMPAGNE NICOLAS 1ER CRU ETUI 1CT X 750ML</c:v>
                </c:pt>
                <c:pt idx="15">
                  <c:v>CHAMPAGNE NICOLAS BLC/BLC 2002 1CT X 750ML</c:v>
                </c:pt>
                <c:pt idx="16">
                  <c:v>CHAMPAGNE NICOLAS ROSE 1ERE ET 1CT X 750ML</c:v>
                </c:pt>
                <c:pt idx="17">
                  <c:v>CHAMPAGNE NICOLAS 1ERE CUV ETU 1CT X 750ML</c:v>
                </c:pt>
                <c:pt idx="18">
                  <c:v>MG CHAMPAGNE NICOLAS 1E CRU BS 1CT X 1500ML</c:v>
                </c:pt>
                <c:pt idx="19">
                  <c:v>CHAMPAGNE NICOLAS ROSE 1E C BS 1CT X 750ML</c:v>
                </c:pt>
                <c:pt idx="20">
                  <c:v>CHAMPAGNE NICOLAS BLC/BL BS ET 1CT X 750ML</c:v>
                </c:pt>
                <c:pt idx="21">
                  <c:v>1/2 CHAMPAGNE NICOLAS 1E C BS 1CT X 375ML</c:v>
                </c:pt>
              </c:strCache>
            </c:strRef>
          </c:cat>
          <c:val>
            <c:numRef>
              <c:f>Sheet1!$D$2:$D$23</c:f>
              <c:numCache>
                <c:formatCode>General</c:formatCode>
                <c:ptCount val="22"/>
                <c:pt idx="0">
                  <c:v>18113.009999999998</c:v>
                </c:pt>
                <c:pt idx="1">
                  <c:v>2986.666666666667</c:v>
                </c:pt>
                <c:pt idx="2">
                  <c:v>1972.5833333333333</c:v>
                </c:pt>
                <c:pt idx="3">
                  <c:v>1336</c:v>
                </c:pt>
                <c:pt idx="4">
                  <c:v>1241.6756756756756</c:v>
                </c:pt>
                <c:pt idx="5">
                  <c:v>2173.1666666666665</c:v>
                </c:pt>
                <c:pt idx="6">
                  <c:v>1529.5263157894738</c:v>
                </c:pt>
                <c:pt idx="7">
                  <c:v>893.375</c:v>
                </c:pt>
                <c:pt idx="8">
                  <c:v>2128.0833333333335</c:v>
                </c:pt>
                <c:pt idx="9">
                  <c:v>886.96428571428555</c:v>
                </c:pt>
                <c:pt idx="10">
                  <c:v>925.52</c:v>
                </c:pt>
                <c:pt idx="11">
                  <c:v>1029.1764705882354</c:v>
                </c:pt>
                <c:pt idx="12">
                  <c:v>495.65625</c:v>
                </c:pt>
                <c:pt idx="13">
                  <c:v>539.48148148148152</c:v>
                </c:pt>
                <c:pt idx="14">
                  <c:v>496.88888888888891</c:v>
                </c:pt>
                <c:pt idx="15">
                  <c:v>2744.3333333333335</c:v>
                </c:pt>
                <c:pt idx="16">
                  <c:v>804.125</c:v>
                </c:pt>
                <c:pt idx="17">
                  <c:v>455.49999999999994</c:v>
                </c:pt>
                <c:pt idx="18">
                  <c:v>1024.5</c:v>
                </c:pt>
                <c:pt idx="19">
                  <c:v>960.75</c:v>
                </c:pt>
                <c:pt idx="20">
                  <c:v>1130</c:v>
                </c:pt>
                <c:pt idx="21">
                  <c:v>131</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23</c:f>
              <c:strCache>
                <c:ptCount val="22"/>
                <c:pt idx="0">
                  <c:v>CHAMPAGNE E.NICOLAS BRUT 1CT X 750ML</c:v>
                </c:pt>
                <c:pt idx="1">
                  <c:v>CHAMPAGNE NICOLAS BLC/BLC BS 1CT X 750ML</c:v>
                </c:pt>
                <c:pt idx="2">
                  <c:v>CHAMPAGNE E.NICOLAS ROSE 1CT X 750ML</c:v>
                </c:pt>
                <c:pt idx="3">
                  <c:v>CHAMPAGNE NICOLAS 1ERE CUVEE 1CT X 750ML</c:v>
                </c:pt>
                <c:pt idx="4">
                  <c:v>MG CHAMPAGNE E.NICOLAS BRUT 1CT X 1500ML</c:v>
                </c:pt>
                <c:pt idx="5">
                  <c:v>1/2 CHAMPAGNE NICOLAS 1ERE CUV 1CT X 375ML</c:v>
                </c:pt>
                <c:pt idx="6">
                  <c:v>MG CHAMPAGNE NICOLAS BLC/BL BS 1CT X 1500ML</c:v>
                </c:pt>
                <c:pt idx="7">
                  <c:v>CHAMPAGNE NICOLAS ROSE 1ERE CU 1CT X 750ML</c:v>
                </c:pt>
                <c:pt idx="8">
                  <c:v>CHAMPAGNE NICOLAS 1ER CRU BS 1CT X 750ML</c:v>
                </c:pt>
                <c:pt idx="9">
                  <c:v>1/2 CHAMP NICOLAS BLC/BLC BS 1CT X 375ML</c:v>
                </c:pt>
                <c:pt idx="10">
                  <c:v>CHAMPAGNE NICOLAS BIO NAT 2017 1CT X 750ML</c:v>
                </c:pt>
                <c:pt idx="11">
                  <c:v>CHAMPAGNE NICOLAS BLC DE NOIRS 1CT X 750ML</c:v>
                </c:pt>
                <c:pt idx="12">
                  <c:v>1/2 CHAMP NICOLAS ROSE 1E C BS 1CT X 375ML</c:v>
                </c:pt>
                <c:pt idx="13">
                  <c:v>MG CHAMPAGNE NICOLAS 1ERE CUVE 1CT X 1500ML</c:v>
                </c:pt>
                <c:pt idx="14">
                  <c:v>CHAMPAGNE NICOLAS BLC/BLC 2002 1CT X 750ML</c:v>
                </c:pt>
                <c:pt idx="15">
                  <c:v>CHAMPAGNE NICOLAS ROSE 1ERE ET 1CT X 750ML</c:v>
                </c:pt>
                <c:pt idx="16">
                  <c:v>CHAMPAGNE NICOLAS 1ERE CUV ETU 1CT X 750ML</c:v>
                </c:pt>
                <c:pt idx="17">
                  <c:v>CHAMPAGNE NICOLAS 1ER CRU ETUI 1CT X 750ML</c:v>
                </c:pt>
                <c:pt idx="18">
                  <c:v>CHAMPAGNE NICOLAS ROSE 1E C BS 1CT X 750ML</c:v>
                </c:pt>
                <c:pt idx="19">
                  <c:v>MG CHAMPAGNE NICOLAS 1E CRU BS 1CT X 1500ML</c:v>
                </c:pt>
                <c:pt idx="20">
                  <c:v>CHAMPAGNE NICOLAS BLC/BL BS ET 1CT X 750ML</c:v>
                </c:pt>
                <c:pt idx="21">
                  <c:v>1/2 CHAMPAGNE NICOLAS 1E C BS 1CT X 375ML</c:v>
                </c:pt>
              </c:strCache>
            </c:strRef>
          </c:cat>
          <c:val>
            <c:numRef>
              <c:f>Sheet1!$B$2:$B$23</c:f>
              <c:numCache>
                <c:formatCode>General</c:formatCode>
                <c:ptCount val="22"/>
                <c:pt idx="0">
                  <c:v>0.99</c:v>
                </c:pt>
                <c:pt idx="1">
                  <c:v>0.56999999999999995</c:v>
                </c:pt>
                <c:pt idx="2">
                  <c:v>0.61</c:v>
                </c:pt>
                <c:pt idx="3">
                  <c:v>0.74</c:v>
                </c:pt>
                <c:pt idx="4">
                  <c:v>0.24</c:v>
                </c:pt>
                <c:pt idx="5">
                  <c:v>0.26</c:v>
                </c:pt>
                <c:pt idx="6">
                  <c:v>0.16</c:v>
                </c:pt>
                <c:pt idx="7">
                  <c:v>0.28000000000000003</c:v>
                </c:pt>
                <c:pt idx="8">
                  <c:v>0.46</c:v>
                </c:pt>
                <c:pt idx="9">
                  <c:v>0.28000000000000003</c:v>
                </c:pt>
                <c:pt idx="10">
                  <c:v>0.14000000000000001</c:v>
                </c:pt>
                <c:pt idx="11">
                  <c:v>0.19</c:v>
                </c:pt>
                <c:pt idx="12">
                  <c:v>0.25</c:v>
                </c:pt>
                <c:pt idx="13">
                  <c:v>0.11</c:v>
                </c:pt>
                <c:pt idx="14">
                  <c:v>0.08</c:v>
                </c:pt>
                <c:pt idx="15">
                  <c:v>0.09</c:v>
                </c:pt>
                <c:pt idx="16">
                  <c:v>0.11</c:v>
                </c:pt>
                <c:pt idx="17">
                  <c:v>0.11</c:v>
                </c:pt>
                <c:pt idx="18">
                  <c:v>0.08</c:v>
                </c:pt>
                <c:pt idx="19">
                  <c:v>0.09</c:v>
                </c:pt>
                <c:pt idx="20">
                  <c:v>0.04</c:v>
                </c:pt>
                <c:pt idx="21">
                  <c:v>0.01</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7ECAC4"/>
              </a:solidFill>
            </c:spPr>
            <c:extLst>
              <c:ext xmlns:c16="http://schemas.microsoft.com/office/drawing/2014/chart" uri="{C3380CC4-5D6E-409C-BE32-E72D297353CC}">
                <c16:uniqueId val="{00000006-E902-46E2-9A54-39A26B3DFDC1}"/>
              </c:ext>
            </c:extLst>
          </c:dPt>
          <c:dPt>
            <c:idx val="3"/>
            <c:invertIfNegative val="0"/>
            <c:bubble3D val="0"/>
            <c:spPr>
              <a:solidFill>
                <a:srgbClr val="7ECAC4"/>
              </a:solidFill>
            </c:spPr>
            <c:extLst>
              <c:ext xmlns:c16="http://schemas.microsoft.com/office/drawing/2014/chart" uri="{C3380CC4-5D6E-409C-BE32-E72D297353CC}">
                <c16:uniqueId val="{00000007-E902-46E2-9A54-39A26B3DFDC1}"/>
              </c:ext>
            </c:extLst>
          </c:dPt>
          <c:dPt>
            <c:idx val="4"/>
            <c:invertIfNegative val="1"/>
            <c:bubble3D val="0"/>
            <c:spPr>
              <a:solidFill>
                <a:srgbClr val="7ECAC4"/>
              </a:solidFill>
            </c:spPr>
            <c:extLst>
              <c:ext xmlns:c16="http://schemas.microsoft.com/office/drawing/2014/chart" uri="{C3380CC4-5D6E-409C-BE32-E72D297353CC}">
                <c16:uniqueId val="{0000000B-FA3E-4872-B6E1-C4ABDF5766E2}"/>
              </c:ext>
            </c:extLst>
          </c:dPt>
          <c:dPt>
            <c:idx val="5"/>
            <c:invertIfNegative val="1"/>
            <c:bubble3D val="0"/>
            <c:spPr>
              <a:solidFill>
                <a:srgbClr val="7ECAC4"/>
              </a:solidFill>
            </c:spPr>
            <c:extLst>
              <c:ext xmlns:c16="http://schemas.microsoft.com/office/drawing/2014/chart" uri="{C3380CC4-5D6E-409C-BE32-E72D297353CC}">
                <c16:uniqueId val="{0000000D-FA3E-4872-B6E1-C4ABDF5766E2}"/>
              </c:ext>
            </c:extLst>
          </c:dPt>
          <c:dPt>
            <c:idx val="6"/>
            <c:invertIfNegative val="1"/>
            <c:bubble3D val="0"/>
            <c:spPr>
              <a:solidFill>
                <a:srgbClr val="7ECAC4"/>
              </a:solidFill>
            </c:spPr>
            <c:extLst>
              <c:ext xmlns:c16="http://schemas.microsoft.com/office/drawing/2014/chart" uri="{C3380CC4-5D6E-409C-BE32-E72D297353CC}">
                <c16:uniqueId val="{0000000F-FA3E-4872-B6E1-C4ABDF5766E2}"/>
              </c:ext>
            </c:extLst>
          </c:dPt>
          <c:dPt>
            <c:idx val="7"/>
            <c:invertIfNegative val="1"/>
            <c:bubble3D val="0"/>
            <c:spPr>
              <a:solidFill>
                <a:srgbClr val="7ECAC4"/>
              </a:solidFill>
            </c:spPr>
            <c:extLst>
              <c:ext xmlns:c16="http://schemas.microsoft.com/office/drawing/2014/chart" uri="{C3380CC4-5D6E-409C-BE32-E72D297353CC}">
                <c16:uniqueId val="{00000011-FA3E-4872-B6E1-C4ABDF5766E2}"/>
              </c:ext>
            </c:extLst>
          </c:dPt>
          <c:dPt>
            <c:idx val="8"/>
            <c:invertIfNegative val="1"/>
            <c:bubble3D val="0"/>
            <c:spPr>
              <a:solidFill>
                <a:srgbClr val="7ECAC4"/>
              </a:solidFill>
            </c:spPr>
            <c:extLst>
              <c:ext xmlns:c16="http://schemas.microsoft.com/office/drawing/2014/chart" uri="{C3380CC4-5D6E-409C-BE32-E72D297353CC}">
                <c16:uniqueId val="{00000013-FA3E-4872-B6E1-C4ABDF5766E2}"/>
              </c:ext>
            </c:extLst>
          </c:dPt>
          <c:dPt>
            <c:idx val="9"/>
            <c:invertIfNegative val="1"/>
            <c:bubble3D val="0"/>
            <c:spPr>
              <a:solidFill>
                <a:srgbClr val="7ECAC4"/>
              </a:solidFill>
            </c:spPr>
            <c:extLst>
              <c:ext xmlns:c16="http://schemas.microsoft.com/office/drawing/2014/chart" uri="{C3380CC4-5D6E-409C-BE32-E72D297353CC}">
                <c16:uniqueId val="{00000015-FA3E-4872-B6E1-C4ABDF5766E2}"/>
              </c:ext>
            </c:extLst>
          </c:dPt>
          <c:dPt>
            <c:idx val="10"/>
            <c:invertIfNegative val="1"/>
            <c:bubble3D val="0"/>
            <c:spPr>
              <a:solidFill>
                <a:srgbClr val="AEABAB"/>
              </a:solidFill>
            </c:spPr>
            <c:extLst>
              <c:ext xmlns:c16="http://schemas.microsoft.com/office/drawing/2014/chart" uri="{C3380CC4-5D6E-409C-BE32-E72D297353CC}">
                <c16:uniqueId val="{00000017-FA3E-4872-B6E1-C4ABDF5766E2}"/>
              </c:ext>
            </c:extLst>
          </c:dPt>
          <c:dPt>
            <c:idx val="11"/>
            <c:invertIfNegative val="1"/>
            <c:bubble3D val="0"/>
            <c:spPr>
              <a:solidFill>
                <a:srgbClr val="AEABAB"/>
              </a:solidFill>
            </c:spPr>
            <c:extLst>
              <c:ext xmlns:c16="http://schemas.microsoft.com/office/drawing/2014/chart" uri="{C3380CC4-5D6E-409C-BE32-E72D297353CC}">
                <c16:uniqueId val="{00000019-FA3E-4872-B6E1-C4ABDF5766E2}"/>
              </c:ext>
            </c:extLst>
          </c:dPt>
          <c:dPt>
            <c:idx val="12"/>
            <c:invertIfNegative val="1"/>
            <c:bubble3D val="0"/>
            <c:spPr>
              <a:solidFill>
                <a:srgbClr val="AEABAB"/>
              </a:solidFill>
            </c:spPr>
            <c:extLst>
              <c:ext xmlns:c16="http://schemas.microsoft.com/office/drawing/2014/chart" uri="{C3380CC4-5D6E-409C-BE32-E72D297353CC}">
                <c16:uniqueId val="{0000001B-FA3E-4872-B6E1-C4ABDF5766E2}"/>
              </c:ext>
            </c:extLst>
          </c:dPt>
          <c:dPt>
            <c:idx val="13"/>
            <c:invertIfNegative val="1"/>
            <c:bubble3D val="0"/>
            <c:spPr>
              <a:solidFill>
                <a:srgbClr val="AEABAB"/>
              </a:solidFill>
            </c:spPr>
            <c:extLst>
              <c:ext xmlns:c16="http://schemas.microsoft.com/office/drawing/2014/chart" uri="{C3380CC4-5D6E-409C-BE32-E72D297353CC}">
                <c16:uniqueId val="{0000001D-FA3E-4872-B6E1-C4ABDF5766E2}"/>
              </c:ext>
            </c:extLst>
          </c:dPt>
          <c:dPt>
            <c:idx val="14"/>
            <c:invertIfNegative val="1"/>
            <c:bubble3D val="0"/>
            <c:spPr>
              <a:solidFill>
                <a:srgbClr val="AEABAB"/>
              </a:solidFill>
            </c:spPr>
            <c:extLst>
              <c:ext xmlns:c16="http://schemas.microsoft.com/office/drawing/2014/chart" uri="{C3380CC4-5D6E-409C-BE32-E72D297353CC}">
                <c16:uniqueId val="{0000001F-FA3E-4872-B6E1-C4ABDF5766E2}"/>
              </c:ext>
            </c:extLst>
          </c:dPt>
          <c:dPt>
            <c:idx val="15"/>
            <c:invertIfNegative val="1"/>
            <c:bubble3D val="0"/>
            <c:spPr>
              <a:solidFill>
                <a:srgbClr val="AEABAB"/>
              </a:solidFill>
            </c:spPr>
            <c:extLst>
              <c:ext xmlns:c16="http://schemas.microsoft.com/office/drawing/2014/chart" uri="{C3380CC4-5D6E-409C-BE32-E72D297353CC}">
                <c16:uniqueId val="{00000021-FA3E-4872-B6E1-C4ABDF5766E2}"/>
              </c:ext>
            </c:extLst>
          </c:dPt>
          <c:dPt>
            <c:idx val="16"/>
            <c:invertIfNegative val="1"/>
            <c:bubble3D val="0"/>
            <c:spPr>
              <a:solidFill>
                <a:srgbClr val="AEABAB"/>
              </a:solidFill>
            </c:spPr>
            <c:extLst>
              <c:ext xmlns:c16="http://schemas.microsoft.com/office/drawing/2014/chart" uri="{C3380CC4-5D6E-409C-BE32-E72D297353CC}">
                <c16:uniqueId val="{00000023-FA3E-4872-B6E1-C4ABDF5766E2}"/>
              </c:ext>
            </c:extLst>
          </c:dPt>
          <c:dPt>
            <c:idx val="17"/>
            <c:invertIfNegative val="1"/>
            <c:bubble3D val="0"/>
            <c:spPr>
              <a:solidFill>
                <a:srgbClr val="AEABAB"/>
              </a:solidFill>
            </c:spPr>
            <c:extLst>
              <c:ext xmlns:c16="http://schemas.microsoft.com/office/drawing/2014/chart" uri="{C3380CC4-5D6E-409C-BE32-E72D297353CC}">
                <c16:uniqueId val="{00000025-FA3E-4872-B6E1-C4ABDF5766E2}"/>
              </c:ext>
            </c:extLst>
          </c:dPt>
          <c:dPt>
            <c:idx val="18"/>
            <c:invertIfNegative val="1"/>
            <c:bubble3D val="0"/>
            <c:spPr>
              <a:solidFill>
                <a:srgbClr val="AEABAB"/>
              </a:solidFill>
            </c:spPr>
            <c:extLst>
              <c:ext xmlns:c16="http://schemas.microsoft.com/office/drawing/2014/chart" uri="{C3380CC4-5D6E-409C-BE32-E72D297353CC}">
                <c16:uniqueId val="{00000027-FA3E-4872-B6E1-C4ABDF5766E2}"/>
              </c:ext>
            </c:extLst>
          </c:dPt>
          <c:dPt>
            <c:idx val="19"/>
            <c:invertIfNegative val="1"/>
            <c:bubble3D val="0"/>
            <c:spPr>
              <a:solidFill>
                <a:srgbClr val="AEABAB"/>
              </a:solidFill>
            </c:spPr>
            <c:extLst>
              <c:ext xmlns:c16="http://schemas.microsoft.com/office/drawing/2014/chart" uri="{C3380CC4-5D6E-409C-BE32-E72D297353CC}">
                <c16:uniqueId val="{00000029-FA3E-4872-B6E1-C4ABDF5766E2}"/>
              </c:ext>
            </c:extLst>
          </c:dPt>
          <c:dPt>
            <c:idx val="20"/>
            <c:invertIfNegative val="1"/>
            <c:bubble3D val="0"/>
            <c:spPr>
              <a:solidFill>
                <a:srgbClr val="AEABAB"/>
              </a:solidFill>
            </c:spPr>
            <c:extLst>
              <c:ext xmlns:c16="http://schemas.microsoft.com/office/drawing/2014/chart" uri="{C3380CC4-5D6E-409C-BE32-E72D297353CC}">
                <c16:uniqueId val="{0000002B-FA3E-4872-B6E1-C4ABDF5766E2}"/>
              </c:ext>
            </c:extLst>
          </c:dPt>
          <c:dPt>
            <c:idx val="21"/>
            <c:invertIfNegative val="1"/>
            <c:bubble3D val="0"/>
            <c:spPr>
              <a:solidFill>
                <a:srgbClr val="AEABAB"/>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23</c:f>
              <c:strCache>
                <c:ptCount val="22"/>
                <c:pt idx="0">
                  <c:v>CHAMPAGNE E.NICOLAS BRUT 1CT X 750ML</c:v>
                </c:pt>
                <c:pt idx="1">
                  <c:v>CHAMPAGNE NICOLAS BLC/BLC BS 1CT X 750ML</c:v>
                </c:pt>
                <c:pt idx="2">
                  <c:v>CHAMPAGNE E.NICOLAS ROSE 1CT X 750ML</c:v>
                </c:pt>
                <c:pt idx="3">
                  <c:v>CHAMPAGNE NICOLAS 1ERE CUVEE 1CT X 750ML</c:v>
                </c:pt>
                <c:pt idx="4">
                  <c:v>MG CHAMPAGNE E.NICOLAS BRUT 1CT X 1500ML</c:v>
                </c:pt>
                <c:pt idx="5">
                  <c:v>1/2 CHAMPAGNE NICOLAS 1ERE CUV 1CT X 375ML</c:v>
                </c:pt>
                <c:pt idx="6">
                  <c:v>MG CHAMPAGNE NICOLAS BLC/BL BS 1CT X 1500ML</c:v>
                </c:pt>
                <c:pt idx="7">
                  <c:v>CHAMPAGNE NICOLAS ROSE 1ERE CU 1CT X 750ML</c:v>
                </c:pt>
                <c:pt idx="8">
                  <c:v>CHAMPAGNE NICOLAS 1ER CRU BS 1CT X 750ML</c:v>
                </c:pt>
                <c:pt idx="9">
                  <c:v>1/2 CHAMP NICOLAS BLC/BLC BS 1CT X 375ML</c:v>
                </c:pt>
                <c:pt idx="10">
                  <c:v>CHAMPAGNE NICOLAS BIO NAT 2017 1CT X 750ML</c:v>
                </c:pt>
                <c:pt idx="11">
                  <c:v>CHAMPAGNE NICOLAS BLC DE NOIRS 1CT X 750ML</c:v>
                </c:pt>
                <c:pt idx="12">
                  <c:v>1/2 CHAMP NICOLAS ROSE 1E C BS 1CT X 375ML</c:v>
                </c:pt>
                <c:pt idx="13">
                  <c:v>MG CHAMPAGNE NICOLAS 1ERE CUVE 1CT X 1500ML</c:v>
                </c:pt>
                <c:pt idx="14">
                  <c:v>CHAMPAGNE NICOLAS BLC/BLC 2002 1CT X 750ML</c:v>
                </c:pt>
                <c:pt idx="15">
                  <c:v>CHAMPAGNE NICOLAS ROSE 1ERE ET 1CT X 750ML</c:v>
                </c:pt>
                <c:pt idx="16">
                  <c:v>CHAMPAGNE NICOLAS 1ERE CUV ETU 1CT X 750ML</c:v>
                </c:pt>
                <c:pt idx="17">
                  <c:v>CHAMPAGNE NICOLAS 1ER CRU ETUI 1CT X 750ML</c:v>
                </c:pt>
                <c:pt idx="18">
                  <c:v>CHAMPAGNE NICOLAS ROSE 1E C BS 1CT X 750ML</c:v>
                </c:pt>
                <c:pt idx="19">
                  <c:v>MG CHAMPAGNE NICOLAS 1E CRU BS 1CT X 1500ML</c:v>
                </c:pt>
                <c:pt idx="20">
                  <c:v>CHAMPAGNE NICOLAS BLC/BL BS ET 1CT X 750ML</c:v>
                </c:pt>
                <c:pt idx="21">
                  <c:v>1/2 CHAMPAGNE NICOLAS 1E C BS 1CT X 375ML</c:v>
                </c:pt>
              </c:strCache>
            </c:strRef>
          </c:cat>
          <c:val>
            <c:numRef>
              <c:f>Sheet1!$C$2:$C$23</c:f>
              <c:numCache>
                <c:formatCode>General</c:formatCode>
                <c:ptCount val="22"/>
                <c:pt idx="0">
                  <c:v>0.7056792055256097</c:v>
                </c:pt>
                <c:pt idx="1">
                  <c:v>0.78185393357300681</c:v>
                </c:pt>
                <c:pt idx="2">
                  <c:v>0.83492289009738929</c:v>
                </c:pt>
                <c:pt idx="3">
                  <c:v>0.88081124193421934</c:v>
                </c:pt>
                <c:pt idx="4">
                  <c:v>0.89586523246567684</c:v>
                </c:pt>
                <c:pt idx="5">
                  <c:v>0.91001924747646856</c:v>
                </c:pt>
                <c:pt idx="6">
                  <c:v>0.92017097134957926</c:v>
                </c:pt>
                <c:pt idx="7">
                  <c:v>0.93026589676760785</c:v>
                </c:pt>
                <c:pt idx="8">
                  <c:v>0.93999843204264832</c:v>
                </c:pt>
                <c:pt idx="9">
                  <c:v>0.94948537399782718</c:v>
                </c:pt>
                <c:pt idx="10">
                  <c:v>0.95799234260828092</c:v>
                </c:pt>
                <c:pt idx="11">
                  <c:v>0.96622011881276815</c:v>
                </c:pt>
                <c:pt idx="12">
                  <c:v>0.97439909634457933</c:v>
                </c:pt>
                <c:pt idx="13">
                  <c:v>0.9817932952223698</c:v>
                </c:pt>
                <c:pt idx="14">
                  <c:v>0.98580678605541916</c:v>
                </c:pt>
                <c:pt idx="15">
                  <c:v>0.98884270347846526</c:v>
                </c:pt>
                <c:pt idx="16">
                  <c:v>0.99183222216355704</c:v>
                </c:pt>
                <c:pt idx="17">
                  <c:v>0.99481694097920526</c:v>
                </c:pt>
                <c:pt idx="18">
                  <c:v>0.9970192810755546</c:v>
                </c:pt>
                <c:pt idx="19">
                  <c:v>0.99853363988499499</c:v>
                </c:pt>
                <c:pt idx="20">
                  <c:v>0.99984240428660331</c:v>
                </c:pt>
                <c:pt idx="21">
                  <c:v>0.99999999999999989</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23</c:f>
              <c:strCache>
                <c:ptCount val="22"/>
                <c:pt idx="0">
                  <c:v>CHAMPAGNE E.NICOLAS BRUT 1CT X 750ML</c:v>
                </c:pt>
                <c:pt idx="1">
                  <c:v>CHAMPAGNE NICOLAS BLC/BLC BS 1CT X 750ML</c:v>
                </c:pt>
                <c:pt idx="2">
                  <c:v>CHAMPAGNE E.NICOLAS ROSE 1CT X 750ML</c:v>
                </c:pt>
                <c:pt idx="3">
                  <c:v>CHAMPAGNE NICOLAS 1ERE CUVEE 1CT X 750ML</c:v>
                </c:pt>
                <c:pt idx="4">
                  <c:v>MG CHAMPAGNE E.NICOLAS BRUT 1CT X 1500ML</c:v>
                </c:pt>
                <c:pt idx="5">
                  <c:v>1/2 CHAMPAGNE NICOLAS 1ERE CUV 1CT X 375ML</c:v>
                </c:pt>
                <c:pt idx="6">
                  <c:v>MG CHAMPAGNE NICOLAS BLC/BL BS 1CT X 1500ML</c:v>
                </c:pt>
                <c:pt idx="7">
                  <c:v>CHAMPAGNE NICOLAS ROSE 1ERE CU 1CT X 750ML</c:v>
                </c:pt>
                <c:pt idx="8">
                  <c:v>CHAMPAGNE NICOLAS 1ER CRU BS 1CT X 750ML</c:v>
                </c:pt>
                <c:pt idx="9">
                  <c:v>1/2 CHAMP NICOLAS BLC/BLC BS 1CT X 375ML</c:v>
                </c:pt>
                <c:pt idx="10">
                  <c:v>CHAMPAGNE NICOLAS BIO NAT 2017 1CT X 750ML</c:v>
                </c:pt>
                <c:pt idx="11">
                  <c:v>CHAMPAGNE NICOLAS BLC DE NOIRS 1CT X 750ML</c:v>
                </c:pt>
                <c:pt idx="12">
                  <c:v>1/2 CHAMP NICOLAS ROSE 1E C BS 1CT X 375ML</c:v>
                </c:pt>
                <c:pt idx="13">
                  <c:v>MG CHAMPAGNE NICOLAS 1ERE CUVE 1CT X 1500ML</c:v>
                </c:pt>
                <c:pt idx="14">
                  <c:v>CHAMPAGNE NICOLAS BLC/BLC 2002 1CT X 750ML</c:v>
                </c:pt>
                <c:pt idx="15">
                  <c:v>CHAMPAGNE NICOLAS ROSE 1ERE ET 1CT X 750ML</c:v>
                </c:pt>
                <c:pt idx="16">
                  <c:v>CHAMPAGNE NICOLAS 1ERE CUV ETU 1CT X 750ML</c:v>
                </c:pt>
                <c:pt idx="17">
                  <c:v>CHAMPAGNE NICOLAS 1ER CRU ETUI 1CT X 750ML</c:v>
                </c:pt>
                <c:pt idx="18">
                  <c:v>CHAMPAGNE NICOLAS ROSE 1E C BS 1CT X 750ML</c:v>
                </c:pt>
                <c:pt idx="19">
                  <c:v>MG CHAMPAGNE NICOLAS 1E CRU BS 1CT X 1500ML</c:v>
                </c:pt>
                <c:pt idx="20">
                  <c:v>CHAMPAGNE NICOLAS BLC/BL BS ET 1CT X 750ML</c:v>
                </c:pt>
                <c:pt idx="21">
                  <c:v>1/2 CHAMPAGNE NICOLAS 1E C BS 1CT X 375ML</c:v>
                </c:pt>
              </c:strCache>
            </c:strRef>
          </c:cat>
          <c:val>
            <c:numRef>
              <c:f>Sheet1!$D$2:$D$23</c:f>
              <c:numCache>
                <c:formatCode>General</c:formatCode>
                <c:ptCount val="22"/>
                <c:pt idx="0">
                  <c:v>8910.3333333333339</c:v>
                </c:pt>
                <c:pt idx="1">
                  <c:v>1670.5438596491231</c:v>
                </c:pt>
                <c:pt idx="2">
                  <c:v>1087.5081967213114</c:v>
                </c:pt>
                <c:pt idx="3">
                  <c:v>775.16216216216219</c:v>
                </c:pt>
                <c:pt idx="4">
                  <c:v>784.08333333333337</c:v>
                </c:pt>
                <c:pt idx="5">
                  <c:v>680.5</c:v>
                </c:pt>
                <c:pt idx="6">
                  <c:v>793.125</c:v>
                </c:pt>
                <c:pt idx="7">
                  <c:v>450.67857142857139</c:v>
                </c:pt>
                <c:pt idx="8">
                  <c:v>264.47826086956519</c:v>
                </c:pt>
                <c:pt idx="9">
                  <c:v>423.53571428571422</c:v>
                </c:pt>
                <c:pt idx="10">
                  <c:v>759.57142857142844</c:v>
                </c:pt>
                <c:pt idx="11">
                  <c:v>541.31578947368416</c:v>
                </c:pt>
                <c:pt idx="12">
                  <c:v>408.96</c:v>
                </c:pt>
                <c:pt idx="13">
                  <c:v>840.27272727272725</c:v>
                </c:pt>
                <c:pt idx="14">
                  <c:v>627.125</c:v>
                </c:pt>
                <c:pt idx="15">
                  <c:v>421.66666666666669</c:v>
                </c:pt>
                <c:pt idx="16">
                  <c:v>339.72727272727275</c:v>
                </c:pt>
                <c:pt idx="17">
                  <c:v>339.18181818181819</c:v>
                </c:pt>
                <c:pt idx="18">
                  <c:v>344.125</c:v>
                </c:pt>
                <c:pt idx="19">
                  <c:v>210.33333333333334</c:v>
                </c:pt>
                <c:pt idx="20">
                  <c:v>409</c:v>
                </c:pt>
                <c:pt idx="21">
                  <c:v>197</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22</c:f>
              <c:strCache>
                <c:ptCount val="21"/>
                <c:pt idx="0">
                  <c:v>CHAMPAGNE E.NICOLAS BRUT 1CT X 750ML</c:v>
                </c:pt>
                <c:pt idx="1">
                  <c:v>CHAMPAGNE NICOLAS BLC/BLC BS 1CT X 750ML</c:v>
                </c:pt>
                <c:pt idx="2">
                  <c:v>CHAMPAGNE E.NICOLAS ROSE 1CT X 750ML</c:v>
                </c:pt>
                <c:pt idx="3">
                  <c:v>CHAMPAGNE NICOLAS 1ERE CUVEE 1CT X 750ML</c:v>
                </c:pt>
                <c:pt idx="4">
                  <c:v>1/2 CHAMPAGNE NICOLAS 1ERE CUV 1CT X 375ML</c:v>
                </c:pt>
                <c:pt idx="5">
                  <c:v>CHAMPAGNE NICOLAS BIO NAT 2017 1CT X 750ML</c:v>
                </c:pt>
                <c:pt idx="6">
                  <c:v>MG CHAMPAGNE E.NICOLAS BRUT 1CT X 1500ML</c:v>
                </c:pt>
                <c:pt idx="7">
                  <c:v>CHAMPAGNE NICOLAS ROSE 1ERE CU 1CT X 750ML</c:v>
                </c:pt>
                <c:pt idx="8">
                  <c:v>1/2 CHAMP NICOLAS BLC/BLC BS 1CT X 375ML</c:v>
                </c:pt>
                <c:pt idx="9">
                  <c:v>1/2 CHAMP NICOLAS ROSE 1E C BS 1CT X 375ML</c:v>
                </c:pt>
                <c:pt idx="10">
                  <c:v>MG CHAMPAGNE NICOLAS BLC/BL BS 1CT X 1500ML</c:v>
                </c:pt>
                <c:pt idx="11">
                  <c:v>MG CHAMPAGNE NICOLAS 1ERE CUVE 1CT X 1500ML</c:v>
                </c:pt>
                <c:pt idx="12">
                  <c:v>CHAMPAGNE NICOLAS 1ER CRU BS 1CT X 750ML</c:v>
                </c:pt>
                <c:pt idx="13">
                  <c:v>CHAMPAGNE NICOLAS BLC/BLC 2002 1CT X 750ML</c:v>
                </c:pt>
                <c:pt idx="14">
                  <c:v>CHAMPAGNE NICOLAS 1ER CRU ETUI 1CT X 750ML</c:v>
                </c:pt>
                <c:pt idx="15">
                  <c:v>CHAMPAGNE NICOLAS BLC DE NOIRS 1CT X 750ML</c:v>
                </c:pt>
                <c:pt idx="16">
                  <c:v>CHAMPAGNE NICOLAS 1ERE CUV ETU 1CT X 750ML</c:v>
                </c:pt>
                <c:pt idx="17">
                  <c:v>CHAMPAGNE NICOLAS ROSE 1ERE ET 1CT X 750ML</c:v>
                </c:pt>
                <c:pt idx="18">
                  <c:v>CHAMPAGNE NICOLAS ROSE 1E C BS 1CT X 750ML</c:v>
                </c:pt>
                <c:pt idx="19">
                  <c:v>CHAMPAGNE NICOLAS BLC/BL BS ET 1CT X 750ML</c:v>
                </c:pt>
                <c:pt idx="20">
                  <c:v>MG CHAMPAGNE NICOLAS 1E CRU BS 1CT X 1500ML</c:v>
                </c:pt>
              </c:strCache>
            </c:strRef>
          </c:cat>
          <c:val>
            <c:numRef>
              <c:f>Sheet1!$B$2:$B$22</c:f>
              <c:numCache>
                <c:formatCode>General</c:formatCode>
                <c:ptCount val="21"/>
                <c:pt idx="0">
                  <c:v>1</c:v>
                </c:pt>
                <c:pt idx="1">
                  <c:v>0.51</c:v>
                </c:pt>
                <c:pt idx="2">
                  <c:v>0.56000000000000005</c:v>
                </c:pt>
                <c:pt idx="3">
                  <c:v>0.77</c:v>
                </c:pt>
                <c:pt idx="4">
                  <c:v>0.49</c:v>
                </c:pt>
                <c:pt idx="5">
                  <c:v>0.3</c:v>
                </c:pt>
                <c:pt idx="6">
                  <c:v>0.28000000000000003</c:v>
                </c:pt>
                <c:pt idx="7">
                  <c:v>0.42</c:v>
                </c:pt>
                <c:pt idx="8">
                  <c:v>0.33</c:v>
                </c:pt>
                <c:pt idx="9">
                  <c:v>0.35</c:v>
                </c:pt>
                <c:pt idx="10">
                  <c:v>0.2</c:v>
                </c:pt>
                <c:pt idx="11">
                  <c:v>0.19</c:v>
                </c:pt>
                <c:pt idx="12">
                  <c:v>0.39</c:v>
                </c:pt>
                <c:pt idx="13">
                  <c:v>0.13</c:v>
                </c:pt>
                <c:pt idx="14">
                  <c:v>0.16</c:v>
                </c:pt>
                <c:pt idx="15">
                  <c:v>0.37</c:v>
                </c:pt>
                <c:pt idx="16">
                  <c:v>0.18</c:v>
                </c:pt>
                <c:pt idx="17">
                  <c:v>0.1</c:v>
                </c:pt>
                <c:pt idx="18">
                  <c:v>0.11</c:v>
                </c:pt>
                <c:pt idx="19">
                  <c:v>0.03</c:v>
                </c:pt>
                <c:pt idx="20">
                  <c:v>0.08</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7ECAC4"/>
              </a:solidFill>
            </c:spPr>
            <c:extLst>
              <c:ext xmlns:c16="http://schemas.microsoft.com/office/drawing/2014/chart" uri="{C3380CC4-5D6E-409C-BE32-E72D297353CC}">
                <c16:uniqueId val="{00000006-E902-46E2-9A54-39A26B3DFDC1}"/>
              </c:ext>
            </c:extLst>
          </c:dPt>
          <c:dPt>
            <c:idx val="3"/>
            <c:invertIfNegative val="0"/>
            <c:bubble3D val="0"/>
            <c:spPr>
              <a:solidFill>
                <a:srgbClr val="7ECAC4"/>
              </a:solidFill>
            </c:spPr>
            <c:extLst>
              <c:ext xmlns:c16="http://schemas.microsoft.com/office/drawing/2014/chart" uri="{C3380CC4-5D6E-409C-BE32-E72D297353CC}">
                <c16:uniqueId val="{00000007-E902-46E2-9A54-39A26B3DFDC1}"/>
              </c:ext>
            </c:extLst>
          </c:dPt>
          <c:dPt>
            <c:idx val="4"/>
            <c:invertIfNegative val="1"/>
            <c:bubble3D val="0"/>
            <c:spPr>
              <a:solidFill>
                <a:srgbClr val="7ECAC4"/>
              </a:solidFill>
            </c:spPr>
            <c:extLst>
              <c:ext xmlns:c16="http://schemas.microsoft.com/office/drawing/2014/chart" uri="{C3380CC4-5D6E-409C-BE32-E72D297353CC}">
                <c16:uniqueId val="{0000000B-FA3E-4872-B6E1-C4ABDF5766E2}"/>
              </c:ext>
            </c:extLst>
          </c:dPt>
          <c:dPt>
            <c:idx val="5"/>
            <c:invertIfNegative val="1"/>
            <c:bubble3D val="0"/>
            <c:spPr>
              <a:solidFill>
                <a:srgbClr val="7ECAC4"/>
              </a:solidFill>
            </c:spPr>
            <c:extLst>
              <c:ext xmlns:c16="http://schemas.microsoft.com/office/drawing/2014/chart" uri="{C3380CC4-5D6E-409C-BE32-E72D297353CC}">
                <c16:uniqueId val="{0000000D-FA3E-4872-B6E1-C4ABDF5766E2}"/>
              </c:ext>
            </c:extLst>
          </c:dPt>
          <c:dPt>
            <c:idx val="6"/>
            <c:invertIfNegative val="1"/>
            <c:bubble3D val="0"/>
            <c:spPr>
              <a:solidFill>
                <a:srgbClr val="7ECAC4"/>
              </a:solidFill>
            </c:spPr>
            <c:extLst>
              <c:ext xmlns:c16="http://schemas.microsoft.com/office/drawing/2014/chart" uri="{C3380CC4-5D6E-409C-BE32-E72D297353CC}">
                <c16:uniqueId val="{0000000F-FA3E-4872-B6E1-C4ABDF5766E2}"/>
              </c:ext>
            </c:extLst>
          </c:dPt>
          <c:dPt>
            <c:idx val="7"/>
            <c:invertIfNegative val="1"/>
            <c:bubble3D val="0"/>
            <c:spPr>
              <a:solidFill>
                <a:srgbClr val="7ECAC4"/>
              </a:solidFill>
            </c:spPr>
            <c:extLst>
              <c:ext xmlns:c16="http://schemas.microsoft.com/office/drawing/2014/chart" uri="{C3380CC4-5D6E-409C-BE32-E72D297353CC}">
                <c16:uniqueId val="{00000011-FA3E-4872-B6E1-C4ABDF5766E2}"/>
              </c:ext>
            </c:extLst>
          </c:dPt>
          <c:dPt>
            <c:idx val="8"/>
            <c:invertIfNegative val="1"/>
            <c:bubble3D val="0"/>
            <c:spPr>
              <a:solidFill>
                <a:srgbClr val="7ECAC4"/>
              </a:solidFill>
            </c:spPr>
            <c:extLst>
              <c:ext xmlns:c16="http://schemas.microsoft.com/office/drawing/2014/chart" uri="{C3380CC4-5D6E-409C-BE32-E72D297353CC}">
                <c16:uniqueId val="{00000013-FA3E-4872-B6E1-C4ABDF5766E2}"/>
              </c:ext>
            </c:extLst>
          </c:dPt>
          <c:dPt>
            <c:idx val="9"/>
            <c:invertIfNegative val="1"/>
            <c:bubble3D val="0"/>
            <c:spPr>
              <a:solidFill>
                <a:srgbClr val="AEABAB"/>
              </a:solidFill>
            </c:spPr>
            <c:extLst>
              <c:ext xmlns:c16="http://schemas.microsoft.com/office/drawing/2014/chart" uri="{C3380CC4-5D6E-409C-BE32-E72D297353CC}">
                <c16:uniqueId val="{00000015-FA3E-4872-B6E1-C4ABDF5766E2}"/>
              </c:ext>
            </c:extLst>
          </c:dPt>
          <c:dPt>
            <c:idx val="10"/>
            <c:invertIfNegative val="1"/>
            <c:bubble3D val="0"/>
            <c:spPr>
              <a:solidFill>
                <a:srgbClr val="AEABAB"/>
              </a:solidFill>
            </c:spPr>
            <c:extLst>
              <c:ext xmlns:c16="http://schemas.microsoft.com/office/drawing/2014/chart" uri="{C3380CC4-5D6E-409C-BE32-E72D297353CC}">
                <c16:uniqueId val="{00000017-FA3E-4872-B6E1-C4ABDF5766E2}"/>
              </c:ext>
            </c:extLst>
          </c:dPt>
          <c:dPt>
            <c:idx val="11"/>
            <c:invertIfNegative val="1"/>
            <c:bubble3D val="0"/>
            <c:spPr>
              <a:solidFill>
                <a:srgbClr val="AEABAB"/>
              </a:solidFill>
            </c:spPr>
            <c:extLst>
              <c:ext xmlns:c16="http://schemas.microsoft.com/office/drawing/2014/chart" uri="{C3380CC4-5D6E-409C-BE32-E72D297353CC}">
                <c16:uniqueId val="{00000019-FA3E-4872-B6E1-C4ABDF5766E2}"/>
              </c:ext>
            </c:extLst>
          </c:dPt>
          <c:dPt>
            <c:idx val="12"/>
            <c:invertIfNegative val="1"/>
            <c:bubble3D val="0"/>
            <c:spPr>
              <a:solidFill>
                <a:srgbClr val="AEABAB"/>
              </a:solidFill>
            </c:spPr>
            <c:extLst>
              <c:ext xmlns:c16="http://schemas.microsoft.com/office/drawing/2014/chart" uri="{C3380CC4-5D6E-409C-BE32-E72D297353CC}">
                <c16:uniqueId val="{0000001B-FA3E-4872-B6E1-C4ABDF5766E2}"/>
              </c:ext>
            </c:extLst>
          </c:dPt>
          <c:dPt>
            <c:idx val="13"/>
            <c:invertIfNegative val="1"/>
            <c:bubble3D val="0"/>
            <c:spPr>
              <a:solidFill>
                <a:srgbClr val="AEABAB"/>
              </a:solidFill>
            </c:spPr>
            <c:extLst>
              <c:ext xmlns:c16="http://schemas.microsoft.com/office/drawing/2014/chart" uri="{C3380CC4-5D6E-409C-BE32-E72D297353CC}">
                <c16:uniqueId val="{0000001D-FA3E-4872-B6E1-C4ABDF5766E2}"/>
              </c:ext>
            </c:extLst>
          </c:dPt>
          <c:dPt>
            <c:idx val="14"/>
            <c:invertIfNegative val="1"/>
            <c:bubble3D val="0"/>
            <c:spPr>
              <a:solidFill>
                <a:srgbClr val="AEABAB"/>
              </a:solidFill>
            </c:spPr>
            <c:extLst>
              <c:ext xmlns:c16="http://schemas.microsoft.com/office/drawing/2014/chart" uri="{C3380CC4-5D6E-409C-BE32-E72D297353CC}">
                <c16:uniqueId val="{0000001F-FA3E-4872-B6E1-C4ABDF5766E2}"/>
              </c:ext>
            </c:extLst>
          </c:dPt>
          <c:dPt>
            <c:idx val="15"/>
            <c:invertIfNegative val="1"/>
            <c:bubble3D val="0"/>
            <c:spPr>
              <a:solidFill>
                <a:srgbClr val="AEABAB"/>
              </a:solidFill>
            </c:spPr>
            <c:extLst>
              <c:ext xmlns:c16="http://schemas.microsoft.com/office/drawing/2014/chart" uri="{C3380CC4-5D6E-409C-BE32-E72D297353CC}">
                <c16:uniqueId val="{00000021-FA3E-4872-B6E1-C4ABDF5766E2}"/>
              </c:ext>
            </c:extLst>
          </c:dPt>
          <c:dPt>
            <c:idx val="16"/>
            <c:invertIfNegative val="1"/>
            <c:bubble3D val="0"/>
            <c:spPr>
              <a:solidFill>
                <a:srgbClr val="AEABAB"/>
              </a:solidFill>
            </c:spPr>
            <c:extLst>
              <c:ext xmlns:c16="http://schemas.microsoft.com/office/drawing/2014/chart" uri="{C3380CC4-5D6E-409C-BE32-E72D297353CC}">
                <c16:uniqueId val="{00000023-FA3E-4872-B6E1-C4ABDF5766E2}"/>
              </c:ext>
            </c:extLst>
          </c:dPt>
          <c:dPt>
            <c:idx val="17"/>
            <c:invertIfNegative val="1"/>
            <c:bubble3D val="0"/>
            <c:spPr>
              <a:solidFill>
                <a:srgbClr val="AEABAB"/>
              </a:solidFill>
            </c:spPr>
            <c:extLst>
              <c:ext xmlns:c16="http://schemas.microsoft.com/office/drawing/2014/chart" uri="{C3380CC4-5D6E-409C-BE32-E72D297353CC}">
                <c16:uniqueId val="{00000025-FA3E-4872-B6E1-C4ABDF5766E2}"/>
              </c:ext>
            </c:extLst>
          </c:dPt>
          <c:dPt>
            <c:idx val="18"/>
            <c:invertIfNegative val="1"/>
            <c:bubble3D val="0"/>
            <c:spPr>
              <a:solidFill>
                <a:srgbClr val="AEABAB"/>
              </a:solidFill>
            </c:spPr>
            <c:extLst>
              <c:ext xmlns:c16="http://schemas.microsoft.com/office/drawing/2014/chart" uri="{C3380CC4-5D6E-409C-BE32-E72D297353CC}">
                <c16:uniqueId val="{00000027-FA3E-4872-B6E1-C4ABDF5766E2}"/>
              </c:ext>
            </c:extLst>
          </c:dPt>
          <c:dPt>
            <c:idx val="19"/>
            <c:invertIfNegative val="1"/>
            <c:bubble3D val="0"/>
            <c:spPr>
              <a:solidFill>
                <a:srgbClr val="AEABAB"/>
              </a:solidFill>
            </c:spPr>
            <c:extLst>
              <c:ext xmlns:c16="http://schemas.microsoft.com/office/drawing/2014/chart" uri="{C3380CC4-5D6E-409C-BE32-E72D297353CC}">
                <c16:uniqueId val="{00000029-FA3E-4872-B6E1-C4ABDF5766E2}"/>
              </c:ext>
            </c:extLst>
          </c:dPt>
          <c:dPt>
            <c:idx val="20"/>
            <c:invertIfNegative val="1"/>
            <c:bubble3D val="0"/>
            <c:spPr>
              <a:solidFill>
                <a:srgbClr val="AEABAB"/>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22</c:f>
              <c:strCache>
                <c:ptCount val="21"/>
                <c:pt idx="0">
                  <c:v>CHAMPAGNE E.NICOLAS BRUT 1CT X 750ML</c:v>
                </c:pt>
                <c:pt idx="1">
                  <c:v>CHAMPAGNE NICOLAS BLC/BLC BS 1CT X 750ML</c:v>
                </c:pt>
                <c:pt idx="2">
                  <c:v>CHAMPAGNE E.NICOLAS ROSE 1CT X 750ML</c:v>
                </c:pt>
                <c:pt idx="3">
                  <c:v>CHAMPAGNE NICOLAS 1ERE CUVEE 1CT X 750ML</c:v>
                </c:pt>
                <c:pt idx="4">
                  <c:v>1/2 CHAMPAGNE NICOLAS 1ERE CUV 1CT X 375ML</c:v>
                </c:pt>
                <c:pt idx="5">
                  <c:v>CHAMPAGNE NICOLAS BIO NAT 2017 1CT X 750ML</c:v>
                </c:pt>
                <c:pt idx="6">
                  <c:v>MG CHAMPAGNE E.NICOLAS BRUT 1CT X 1500ML</c:v>
                </c:pt>
                <c:pt idx="7">
                  <c:v>CHAMPAGNE NICOLAS ROSE 1ERE CU 1CT X 750ML</c:v>
                </c:pt>
                <c:pt idx="8">
                  <c:v>1/2 CHAMP NICOLAS BLC/BLC BS 1CT X 375ML</c:v>
                </c:pt>
                <c:pt idx="9">
                  <c:v>1/2 CHAMP NICOLAS ROSE 1E C BS 1CT X 375ML</c:v>
                </c:pt>
                <c:pt idx="10">
                  <c:v>MG CHAMPAGNE NICOLAS BLC/BL BS 1CT X 1500ML</c:v>
                </c:pt>
                <c:pt idx="11">
                  <c:v>MG CHAMPAGNE NICOLAS 1ERE CUVE 1CT X 1500ML</c:v>
                </c:pt>
                <c:pt idx="12">
                  <c:v>CHAMPAGNE NICOLAS 1ER CRU BS 1CT X 750ML</c:v>
                </c:pt>
                <c:pt idx="13">
                  <c:v>CHAMPAGNE NICOLAS BLC/BLC 2002 1CT X 750ML</c:v>
                </c:pt>
                <c:pt idx="14">
                  <c:v>CHAMPAGNE NICOLAS 1ER CRU ETUI 1CT X 750ML</c:v>
                </c:pt>
                <c:pt idx="15">
                  <c:v>CHAMPAGNE NICOLAS BLC DE NOIRS 1CT X 750ML</c:v>
                </c:pt>
                <c:pt idx="16">
                  <c:v>CHAMPAGNE NICOLAS 1ERE CUV ETU 1CT X 750ML</c:v>
                </c:pt>
                <c:pt idx="17">
                  <c:v>CHAMPAGNE NICOLAS ROSE 1ERE ET 1CT X 750ML</c:v>
                </c:pt>
                <c:pt idx="18">
                  <c:v>CHAMPAGNE NICOLAS ROSE 1E C BS 1CT X 750ML</c:v>
                </c:pt>
                <c:pt idx="19">
                  <c:v>CHAMPAGNE NICOLAS BLC/BL BS ET 1CT X 750ML</c:v>
                </c:pt>
                <c:pt idx="20">
                  <c:v>MG CHAMPAGNE NICOLAS 1E CRU BS 1CT X 1500ML</c:v>
                </c:pt>
              </c:strCache>
            </c:strRef>
          </c:cat>
          <c:val>
            <c:numRef>
              <c:f>Sheet1!$C$2:$C$22</c:f>
              <c:numCache>
                <c:formatCode>General</c:formatCode>
                <c:ptCount val="21"/>
                <c:pt idx="0">
                  <c:v>0.73621624804538</c:v>
                </c:pt>
                <c:pt idx="1">
                  <c:v>0.7888977578299301</c:v>
                </c:pt>
                <c:pt idx="2">
                  <c:v>0.83183560908906529</c:v>
                </c:pt>
                <c:pt idx="3">
                  <c:v>0.86722322906511917</c:v>
                </c:pt>
                <c:pt idx="4">
                  <c:v>0.88978886831585358</c:v>
                </c:pt>
                <c:pt idx="5">
                  <c:v>0.90526553391388553</c:v>
                </c:pt>
                <c:pt idx="6">
                  <c:v>0.92071439320086634</c:v>
                </c:pt>
                <c:pt idx="7">
                  <c:v>0.93273980489783648</c:v>
                </c:pt>
                <c:pt idx="8">
                  <c:v>0.944467525500023</c:v>
                </c:pt>
                <c:pt idx="9">
                  <c:v>0.95615435446831076</c:v>
                </c:pt>
                <c:pt idx="10">
                  <c:v>0.96429669661024731</c:v>
                </c:pt>
                <c:pt idx="11">
                  <c:v>0.97185347055475246</c:v>
                </c:pt>
                <c:pt idx="12">
                  <c:v>0.97838141099036291</c:v>
                </c:pt>
                <c:pt idx="13">
                  <c:v>0.9839933788266394</c:v>
                </c:pt>
                <c:pt idx="14">
                  <c:v>0.98877279299673548</c:v>
                </c:pt>
                <c:pt idx="15">
                  <c:v>0.99320708177672545</c:v>
                </c:pt>
                <c:pt idx="16">
                  <c:v>0.99557879654285797</c:v>
                </c:pt>
                <c:pt idx="17">
                  <c:v>0.99731587315088055</c:v>
                </c:pt>
                <c:pt idx="18">
                  <c:v>0.99868001805774576</c:v>
                </c:pt>
                <c:pt idx="19">
                  <c:v>0.99937844716473789</c:v>
                </c:pt>
                <c:pt idx="20">
                  <c:v>1.000000000000000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22</c:f>
              <c:strCache>
                <c:ptCount val="21"/>
                <c:pt idx="0">
                  <c:v>CHAMPAGNE E.NICOLAS BRUT 1CT X 750ML</c:v>
                </c:pt>
                <c:pt idx="1">
                  <c:v>CHAMPAGNE NICOLAS BLC/BLC BS 1CT X 750ML</c:v>
                </c:pt>
                <c:pt idx="2">
                  <c:v>CHAMPAGNE E.NICOLAS ROSE 1CT X 750ML</c:v>
                </c:pt>
                <c:pt idx="3">
                  <c:v>CHAMPAGNE NICOLAS 1ERE CUVEE 1CT X 750ML</c:v>
                </c:pt>
                <c:pt idx="4">
                  <c:v>1/2 CHAMPAGNE NICOLAS 1ERE CUV 1CT X 375ML</c:v>
                </c:pt>
                <c:pt idx="5">
                  <c:v>CHAMPAGNE NICOLAS BIO NAT 2017 1CT X 750ML</c:v>
                </c:pt>
                <c:pt idx="6">
                  <c:v>MG CHAMPAGNE E.NICOLAS BRUT 1CT X 1500ML</c:v>
                </c:pt>
                <c:pt idx="7">
                  <c:v>CHAMPAGNE NICOLAS ROSE 1ERE CU 1CT X 750ML</c:v>
                </c:pt>
                <c:pt idx="8">
                  <c:v>1/2 CHAMP NICOLAS BLC/BLC BS 1CT X 375ML</c:v>
                </c:pt>
                <c:pt idx="9">
                  <c:v>1/2 CHAMP NICOLAS ROSE 1E C BS 1CT X 375ML</c:v>
                </c:pt>
                <c:pt idx="10">
                  <c:v>MG CHAMPAGNE NICOLAS BLC/BL BS 1CT X 1500ML</c:v>
                </c:pt>
                <c:pt idx="11">
                  <c:v>MG CHAMPAGNE NICOLAS 1ERE CUVE 1CT X 1500ML</c:v>
                </c:pt>
                <c:pt idx="12">
                  <c:v>CHAMPAGNE NICOLAS 1ER CRU BS 1CT X 750ML</c:v>
                </c:pt>
                <c:pt idx="13">
                  <c:v>CHAMPAGNE NICOLAS BLC/BLC 2002 1CT X 750ML</c:v>
                </c:pt>
                <c:pt idx="14">
                  <c:v>CHAMPAGNE NICOLAS 1ER CRU ETUI 1CT X 750ML</c:v>
                </c:pt>
                <c:pt idx="15">
                  <c:v>CHAMPAGNE NICOLAS BLC DE NOIRS 1CT X 750ML</c:v>
                </c:pt>
                <c:pt idx="16">
                  <c:v>CHAMPAGNE NICOLAS 1ERE CUV ETU 1CT X 750ML</c:v>
                </c:pt>
                <c:pt idx="17">
                  <c:v>CHAMPAGNE NICOLAS ROSE 1ERE ET 1CT X 750ML</c:v>
                </c:pt>
                <c:pt idx="18">
                  <c:v>CHAMPAGNE NICOLAS ROSE 1E C BS 1CT X 750ML</c:v>
                </c:pt>
                <c:pt idx="19">
                  <c:v>CHAMPAGNE NICOLAS BLC/BL BS ET 1CT X 750ML</c:v>
                </c:pt>
                <c:pt idx="20">
                  <c:v>MG CHAMPAGNE NICOLAS 1E CRU BS 1CT X 1500ML</c:v>
                </c:pt>
              </c:strCache>
            </c:strRef>
          </c:cat>
          <c:val>
            <c:numRef>
              <c:f>Sheet1!$D$2:$D$22</c:f>
              <c:numCache>
                <c:formatCode>General</c:formatCode>
                <c:ptCount val="21"/>
                <c:pt idx="0">
                  <c:v>4501.0200000000004</c:v>
                </c:pt>
                <c:pt idx="1">
                  <c:v>631.52941176470586</c:v>
                </c:pt>
                <c:pt idx="2">
                  <c:v>468.76785714285711</c:v>
                </c:pt>
                <c:pt idx="3">
                  <c:v>280.97402597402595</c:v>
                </c:pt>
                <c:pt idx="4">
                  <c:v>281.55102040816325</c:v>
                </c:pt>
                <c:pt idx="5">
                  <c:v>315.39999999999998</c:v>
                </c:pt>
                <c:pt idx="6">
                  <c:v>337.32142857142856</c:v>
                </c:pt>
                <c:pt idx="7">
                  <c:v>175.04761904761904</c:v>
                </c:pt>
                <c:pt idx="8">
                  <c:v>217.27272727272728</c:v>
                </c:pt>
                <c:pt idx="9">
                  <c:v>204.14285714285714</c:v>
                </c:pt>
                <c:pt idx="10">
                  <c:v>248.9</c:v>
                </c:pt>
                <c:pt idx="11">
                  <c:v>243.15789473684211</c:v>
                </c:pt>
                <c:pt idx="12">
                  <c:v>102.33333333333333</c:v>
                </c:pt>
                <c:pt idx="13">
                  <c:v>263.92307692307691</c:v>
                </c:pt>
                <c:pt idx="14">
                  <c:v>182.625</c:v>
                </c:pt>
                <c:pt idx="15">
                  <c:v>73.270270270270274</c:v>
                </c:pt>
                <c:pt idx="16">
                  <c:v>80.555555555555557</c:v>
                </c:pt>
                <c:pt idx="17">
                  <c:v>106.2</c:v>
                </c:pt>
                <c:pt idx="18">
                  <c:v>75.818181818181813</c:v>
                </c:pt>
                <c:pt idx="19">
                  <c:v>142.33333333333334</c:v>
                </c:pt>
                <c:pt idx="20">
                  <c:v>47.5</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22</c:f>
              <c:strCache>
                <c:ptCount val="21"/>
                <c:pt idx="0">
                  <c:v>CHAMPAGNE E.NICOLAS BRUT 1CT X 750ML</c:v>
                </c:pt>
                <c:pt idx="1">
                  <c:v>CHAMPAGNE NICOLAS BLC/BLC BS 1CT X 750ML</c:v>
                </c:pt>
                <c:pt idx="2">
                  <c:v>CHAMPAGNE E.NICOLAS ROSE 1CT X 750ML</c:v>
                </c:pt>
                <c:pt idx="3">
                  <c:v>CHAMPAGNE NICOLAS 1ERE CUVEE 1CT X 750ML</c:v>
                </c:pt>
                <c:pt idx="4">
                  <c:v>1/2 CHAMPAGNE NICOLAS 1ERE CUV 1CT X 375ML</c:v>
                </c:pt>
                <c:pt idx="5">
                  <c:v>MG CHAMPAGNE E.NICOLAS BRUT 1CT X 1500ML</c:v>
                </c:pt>
                <c:pt idx="6">
                  <c:v>1/2 CHAMP NICOLAS BLC/BLC BS 1CT X 375ML</c:v>
                </c:pt>
                <c:pt idx="7">
                  <c:v>CHAMPAGNE NICOLAS BIO NAT 2017 1CT X 750ML</c:v>
                </c:pt>
                <c:pt idx="8">
                  <c:v>CHAMPAGNE NICOLAS ROSE 1ERE CU 1CT X 750ML</c:v>
                </c:pt>
                <c:pt idx="9">
                  <c:v>CHAMPAGNE NICOLAS BLC DE NOIRS 1CT X 750ML</c:v>
                </c:pt>
                <c:pt idx="10">
                  <c:v>1/2 CHAMP NICOLAS ROSE 1E C BS 1CT X 375ML</c:v>
                </c:pt>
                <c:pt idx="11">
                  <c:v>MG CHAMPAGNE NICOLAS BLC/BL BS 1CT X 1500ML</c:v>
                </c:pt>
                <c:pt idx="12">
                  <c:v>CHAMPAGNE NICOLAS 1ER CRU ETUI 1CT X 750ML</c:v>
                </c:pt>
                <c:pt idx="13">
                  <c:v>CHAMPAGNE NICOLAS 1ER CRU BS 1CT X 750ML</c:v>
                </c:pt>
                <c:pt idx="14">
                  <c:v>MG CHAMPAGNE NICOLAS 1ERE CUVE 1CT X 1500ML</c:v>
                </c:pt>
                <c:pt idx="15">
                  <c:v>CHAMPAGNE NICOLAS BLC/BLC 2002 1CT X 750ML</c:v>
                </c:pt>
                <c:pt idx="16">
                  <c:v>CHAMPAGNE NICOLAS ROSE 1ERE ET 1CT X 750ML</c:v>
                </c:pt>
                <c:pt idx="17">
                  <c:v>CHAMPAGNE NICOLAS ROSE 1E C BS 1CT X 750ML</c:v>
                </c:pt>
                <c:pt idx="18">
                  <c:v>MG CHAMPAGNE NICOLAS 1E CRU BS 1CT X 1500ML</c:v>
                </c:pt>
                <c:pt idx="19">
                  <c:v>CHAMPAGNE NICOLAS 1ERE CUV ETU 1CT X 750ML</c:v>
                </c:pt>
                <c:pt idx="20">
                  <c:v>1/2 CHAMPAGNE NICOLAS 1E C BS 1CT X 375ML</c:v>
                </c:pt>
              </c:strCache>
            </c:strRef>
          </c:cat>
          <c:val>
            <c:numRef>
              <c:f>Sheet1!$B$2:$B$22</c:f>
              <c:numCache>
                <c:formatCode>General</c:formatCode>
                <c:ptCount val="21"/>
                <c:pt idx="0">
                  <c:v>1</c:v>
                </c:pt>
                <c:pt idx="1">
                  <c:v>0.59</c:v>
                </c:pt>
                <c:pt idx="2">
                  <c:v>0.64</c:v>
                </c:pt>
                <c:pt idx="3">
                  <c:v>0.6</c:v>
                </c:pt>
                <c:pt idx="4">
                  <c:v>0.43</c:v>
                </c:pt>
                <c:pt idx="5">
                  <c:v>0.28000000000000003</c:v>
                </c:pt>
                <c:pt idx="6">
                  <c:v>0.39</c:v>
                </c:pt>
                <c:pt idx="7">
                  <c:v>0.15</c:v>
                </c:pt>
                <c:pt idx="8">
                  <c:v>0.38</c:v>
                </c:pt>
                <c:pt idx="9">
                  <c:v>0.23</c:v>
                </c:pt>
                <c:pt idx="10">
                  <c:v>0.44</c:v>
                </c:pt>
                <c:pt idx="11">
                  <c:v>0.19</c:v>
                </c:pt>
                <c:pt idx="12">
                  <c:v>0.4</c:v>
                </c:pt>
                <c:pt idx="13">
                  <c:v>0.2</c:v>
                </c:pt>
                <c:pt idx="14">
                  <c:v>0.16</c:v>
                </c:pt>
                <c:pt idx="15">
                  <c:v>0.28000000000000003</c:v>
                </c:pt>
                <c:pt idx="16">
                  <c:v>0.1</c:v>
                </c:pt>
                <c:pt idx="17">
                  <c:v>0.2</c:v>
                </c:pt>
                <c:pt idx="18">
                  <c:v>0.08</c:v>
                </c:pt>
                <c:pt idx="19">
                  <c:v>0.14000000000000001</c:v>
                </c:pt>
                <c:pt idx="20">
                  <c:v>0.03</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7ECAC4"/>
              </a:solidFill>
            </c:spPr>
            <c:extLst>
              <c:ext xmlns:c16="http://schemas.microsoft.com/office/drawing/2014/chart" uri="{C3380CC4-5D6E-409C-BE32-E72D297353CC}">
                <c16:uniqueId val="{00000006-E902-46E2-9A54-39A26B3DFDC1}"/>
              </c:ext>
            </c:extLst>
          </c:dPt>
          <c:dPt>
            <c:idx val="3"/>
            <c:invertIfNegative val="0"/>
            <c:bubble3D val="0"/>
            <c:spPr>
              <a:solidFill>
                <a:srgbClr val="7ECAC4"/>
              </a:solidFill>
            </c:spPr>
            <c:extLst>
              <c:ext xmlns:c16="http://schemas.microsoft.com/office/drawing/2014/chart" uri="{C3380CC4-5D6E-409C-BE32-E72D297353CC}">
                <c16:uniqueId val="{00000007-E902-46E2-9A54-39A26B3DFDC1}"/>
              </c:ext>
            </c:extLst>
          </c:dPt>
          <c:dPt>
            <c:idx val="4"/>
            <c:invertIfNegative val="1"/>
            <c:bubble3D val="0"/>
            <c:spPr>
              <a:solidFill>
                <a:srgbClr val="7ECAC4"/>
              </a:solidFill>
            </c:spPr>
            <c:extLst>
              <c:ext xmlns:c16="http://schemas.microsoft.com/office/drawing/2014/chart" uri="{C3380CC4-5D6E-409C-BE32-E72D297353CC}">
                <c16:uniqueId val="{0000000B-FA3E-4872-B6E1-C4ABDF5766E2}"/>
              </c:ext>
            </c:extLst>
          </c:dPt>
          <c:dPt>
            <c:idx val="5"/>
            <c:invertIfNegative val="1"/>
            <c:bubble3D val="0"/>
            <c:spPr>
              <a:solidFill>
                <a:srgbClr val="7ECAC4"/>
              </a:solidFill>
            </c:spPr>
            <c:extLst>
              <c:ext xmlns:c16="http://schemas.microsoft.com/office/drawing/2014/chart" uri="{C3380CC4-5D6E-409C-BE32-E72D297353CC}">
                <c16:uniqueId val="{0000000D-FA3E-4872-B6E1-C4ABDF5766E2}"/>
              </c:ext>
            </c:extLst>
          </c:dPt>
          <c:dPt>
            <c:idx val="6"/>
            <c:invertIfNegative val="1"/>
            <c:bubble3D val="0"/>
            <c:spPr>
              <a:solidFill>
                <a:srgbClr val="7ECAC4"/>
              </a:solidFill>
            </c:spPr>
            <c:extLst>
              <c:ext xmlns:c16="http://schemas.microsoft.com/office/drawing/2014/chart" uri="{C3380CC4-5D6E-409C-BE32-E72D297353CC}">
                <c16:uniqueId val="{0000000F-FA3E-4872-B6E1-C4ABDF5766E2}"/>
              </c:ext>
            </c:extLst>
          </c:dPt>
          <c:dPt>
            <c:idx val="7"/>
            <c:invertIfNegative val="1"/>
            <c:bubble3D val="0"/>
            <c:spPr>
              <a:solidFill>
                <a:srgbClr val="7ECAC4"/>
              </a:solidFill>
            </c:spPr>
            <c:extLst>
              <c:ext xmlns:c16="http://schemas.microsoft.com/office/drawing/2014/chart" uri="{C3380CC4-5D6E-409C-BE32-E72D297353CC}">
                <c16:uniqueId val="{00000011-FA3E-4872-B6E1-C4ABDF5766E2}"/>
              </c:ext>
            </c:extLst>
          </c:dPt>
          <c:dPt>
            <c:idx val="8"/>
            <c:invertIfNegative val="1"/>
            <c:bubble3D val="0"/>
            <c:spPr>
              <a:solidFill>
                <a:srgbClr val="7ECAC4"/>
              </a:solidFill>
            </c:spPr>
            <c:extLst>
              <c:ext xmlns:c16="http://schemas.microsoft.com/office/drawing/2014/chart" uri="{C3380CC4-5D6E-409C-BE32-E72D297353CC}">
                <c16:uniqueId val="{00000013-FA3E-4872-B6E1-C4ABDF5766E2}"/>
              </c:ext>
            </c:extLst>
          </c:dPt>
          <c:dPt>
            <c:idx val="9"/>
            <c:invertIfNegative val="1"/>
            <c:bubble3D val="0"/>
            <c:spPr>
              <a:solidFill>
                <a:srgbClr val="AEABAB"/>
              </a:solidFill>
            </c:spPr>
            <c:extLst>
              <c:ext xmlns:c16="http://schemas.microsoft.com/office/drawing/2014/chart" uri="{C3380CC4-5D6E-409C-BE32-E72D297353CC}">
                <c16:uniqueId val="{00000015-FA3E-4872-B6E1-C4ABDF5766E2}"/>
              </c:ext>
            </c:extLst>
          </c:dPt>
          <c:dPt>
            <c:idx val="10"/>
            <c:invertIfNegative val="1"/>
            <c:bubble3D val="0"/>
            <c:spPr>
              <a:solidFill>
                <a:srgbClr val="AEABAB"/>
              </a:solidFill>
            </c:spPr>
            <c:extLst>
              <c:ext xmlns:c16="http://schemas.microsoft.com/office/drawing/2014/chart" uri="{C3380CC4-5D6E-409C-BE32-E72D297353CC}">
                <c16:uniqueId val="{00000017-FA3E-4872-B6E1-C4ABDF5766E2}"/>
              </c:ext>
            </c:extLst>
          </c:dPt>
          <c:dPt>
            <c:idx val="11"/>
            <c:invertIfNegative val="1"/>
            <c:bubble3D val="0"/>
            <c:spPr>
              <a:solidFill>
                <a:srgbClr val="AEABAB"/>
              </a:solidFill>
            </c:spPr>
            <c:extLst>
              <c:ext xmlns:c16="http://schemas.microsoft.com/office/drawing/2014/chart" uri="{C3380CC4-5D6E-409C-BE32-E72D297353CC}">
                <c16:uniqueId val="{00000019-FA3E-4872-B6E1-C4ABDF5766E2}"/>
              </c:ext>
            </c:extLst>
          </c:dPt>
          <c:dPt>
            <c:idx val="12"/>
            <c:invertIfNegative val="1"/>
            <c:bubble3D val="0"/>
            <c:spPr>
              <a:solidFill>
                <a:srgbClr val="AEABAB"/>
              </a:solidFill>
            </c:spPr>
            <c:extLst>
              <c:ext xmlns:c16="http://schemas.microsoft.com/office/drawing/2014/chart" uri="{C3380CC4-5D6E-409C-BE32-E72D297353CC}">
                <c16:uniqueId val="{0000001B-FA3E-4872-B6E1-C4ABDF5766E2}"/>
              </c:ext>
            </c:extLst>
          </c:dPt>
          <c:dPt>
            <c:idx val="13"/>
            <c:invertIfNegative val="1"/>
            <c:bubble3D val="0"/>
            <c:spPr>
              <a:solidFill>
                <a:srgbClr val="AEABAB"/>
              </a:solidFill>
            </c:spPr>
            <c:extLst>
              <c:ext xmlns:c16="http://schemas.microsoft.com/office/drawing/2014/chart" uri="{C3380CC4-5D6E-409C-BE32-E72D297353CC}">
                <c16:uniqueId val="{0000001D-FA3E-4872-B6E1-C4ABDF5766E2}"/>
              </c:ext>
            </c:extLst>
          </c:dPt>
          <c:dPt>
            <c:idx val="14"/>
            <c:invertIfNegative val="1"/>
            <c:bubble3D val="0"/>
            <c:spPr>
              <a:solidFill>
                <a:srgbClr val="AEABAB"/>
              </a:solidFill>
            </c:spPr>
            <c:extLst>
              <c:ext xmlns:c16="http://schemas.microsoft.com/office/drawing/2014/chart" uri="{C3380CC4-5D6E-409C-BE32-E72D297353CC}">
                <c16:uniqueId val="{0000001F-FA3E-4872-B6E1-C4ABDF5766E2}"/>
              </c:ext>
            </c:extLst>
          </c:dPt>
          <c:dPt>
            <c:idx val="15"/>
            <c:invertIfNegative val="1"/>
            <c:bubble3D val="0"/>
            <c:spPr>
              <a:solidFill>
                <a:srgbClr val="AEABAB"/>
              </a:solidFill>
            </c:spPr>
            <c:extLst>
              <c:ext xmlns:c16="http://schemas.microsoft.com/office/drawing/2014/chart" uri="{C3380CC4-5D6E-409C-BE32-E72D297353CC}">
                <c16:uniqueId val="{00000021-FA3E-4872-B6E1-C4ABDF5766E2}"/>
              </c:ext>
            </c:extLst>
          </c:dPt>
          <c:dPt>
            <c:idx val="16"/>
            <c:invertIfNegative val="1"/>
            <c:bubble3D val="0"/>
            <c:spPr>
              <a:solidFill>
                <a:srgbClr val="AEABAB"/>
              </a:solidFill>
            </c:spPr>
            <c:extLst>
              <c:ext xmlns:c16="http://schemas.microsoft.com/office/drawing/2014/chart" uri="{C3380CC4-5D6E-409C-BE32-E72D297353CC}">
                <c16:uniqueId val="{00000023-FA3E-4872-B6E1-C4ABDF5766E2}"/>
              </c:ext>
            </c:extLst>
          </c:dPt>
          <c:dPt>
            <c:idx val="17"/>
            <c:invertIfNegative val="1"/>
            <c:bubble3D val="0"/>
            <c:spPr>
              <a:solidFill>
                <a:srgbClr val="AEABAB"/>
              </a:solidFill>
            </c:spPr>
            <c:extLst>
              <c:ext xmlns:c16="http://schemas.microsoft.com/office/drawing/2014/chart" uri="{C3380CC4-5D6E-409C-BE32-E72D297353CC}">
                <c16:uniqueId val="{00000025-FA3E-4872-B6E1-C4ABDF5766E2}"/>
              </c:ext>
            </c:extLst>
          </c:dPt>
          <c:dPt>
            <c:idx val="18"/>
            <c:invertIfNegative val="1"/>
            <c:bubble3D val="0"/>
            <c:spPr>
              <a:solidFill>
                <a:srgbClr val="AEABAB"/>
              </a:solidFill>
            </c:spPr>
            <c:extLst>
              <c:ext xmlns:c16="http://schemas.microsoft.com/office/drawing/2014/chart" uri="{C3380CC4-5D6E-409C-BE32-E72D297353CC}">
                <c16:uniqueId val="{00000027-FA3E-4872-B6E1-C4ABDF5766E2}"/>
              </c:ext>
            </c:extLst>
          </c:dPt>
          <c:dPt>
            <c:idx val="19"/>
            <c:invertIfNegative val="1"/>
            <c:bubble3D val="0"/>
            <c:spPr>
              <a:solidFill>
                <a:srgbClr val="AEABAB"/>
              </a:solidFill>
            </c:spPr>
            <c:extLst>
              <c:ext xmlns:c16="http://schemas.microsoft.com/office/drawing/2014/chart" uri="{C3380CC4-5D6E-409C-BE32-E72D297353CC}">
                <c16:uniqueId val="{00000029-FA3E-4872-B6E1-C4ABDF5766E2}"/>
              </c:ext>
            </c:extLst>
          </c:dPt>
          <c:dPt>
            <c:idx val="20"/>
            <c:invertIfNegative val="1"/>
            <c:bubble3D val="0"/>
            <c:spPr>
              <a:solidFill>
                <a:srgbClr val="AEABAB"/>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22</c:f>
              <c:strCache>
                <c:ptCount val="21"/>
                <c:pt idx="0">
                  <c:v>CHAMPAGNE E.NICOLAS BRUT 1CT X 750ML</c:v>
                </c:pt>
                <c:pt idx="1">
                  <c:v>CHAMPAGNE NICOLAS BLC/BLC BS 1CT X 750ML</c:v>
                </c:pt>
                <c:pt idx="2">
                  <c:v>CHAMPAGNE E.NICOLAS ROSE 1CT X 750ML</c:v>
                </c:pt>
                <c:pt idx="3">
                  <c:v>CHAMPAGNE NICOLAS 1ERE CUVEE 1CT X 750ML</c:v>
                </c:pt>
                <c:pt idx="4">
                  <c:v>1/2 CHAMPAGNE NICOLAS 1ERE CUV 1CT X 375ML</c:v>
                </c:pt>
                <c:pt idx="5">
                  <c:v>MG CHAMPAGNE E.NICOLAS BRUT 1CT X 1500ML</c:v>
                </c:pt>
                <c:pt idx="6">
                  <c:v>1/2 CHAMP NICOLAS BLC/BLC BS 1CT X 375ML</c:v>
                </c:pt>
                <c:pt idx="7">
                  <c:v>CHAMPAGNE NICOLAS BIO NAT 2017 1CT X 750ML</c:v>
                </c:pt>
                <c:pt idx="8">
                  <c:v>CHAMPAGNE NICOLAS ROSE 1ERE CU 1CT X 750ML</c:v>
                </c:pt>
                <c:pt idx="9">
                  <c:v>CHAMPAGNE NICOLAS BLC DE NOIRS 1CT X 750ML</c:v>
                </c:pt>
                <c:pt idx="10">
                  <c:v>1/2 CHAMP NICOLAS ROSE 1E C BS 1CT X 375ML</c:v>
                </c:pt>
                <c:pt idx="11">
                  <c:v>MG CHAMPAGNE NICOLAS BLC/BL BS 1CT X 1500ML</c:v>
                </c:pt>
                <c:pt idx="12">
                  <c:v>CHAMPAGNE NICOLAS 1ER CRU ETUI 1CT X 750ML</c:v>
                </c:pt>
                <c:pt idx="13">
                  <c:v>CHAMPAGNE NICOLAS 1ER CRU BS 1CT X 750ML</c:v>
                </c:pt>
                <c:pt idx="14">
                  <c:v>MG CHAMPAGNE NICOLAS 1ERE CUVE 1CT X 1500ML</c:v>
                </c:pt>
                <c:pt idx="15">
                  <c:v>CHAMPAGNE NICOLAS BLC/BLC 2002 1CT X 750ML</c:v>
                </c:pt>
                <c:pt idx="16">
                  <c:v>CHAMPAGNE NICOLAS ROSE 1ERE ET 1CT X 750ML</c:v>
                </c:pt>
                <c:pt idx="17">
                  <c:v>CHAMPAGNE NICOLAS ROSE 1E C BS 1CT X 750ML</c:v>
                </c:pt>
                <c:pt idx="18">
                  <c:v>MG CHAMPAGNE NICOLAS 1E CRU BS 1CT X 1500ML</c:v>
                </c:pt>
                <c:pt idx="19">
                  <c:v>CHAMPAGNE NICOLAS 1ERE CUV ETU 1CT X 750ML</c:v>
                </c:pt>
                <c:pt idx="20">
                  <c:v>1/2 CHAMPAGNE NICOLAS 1E C BS 1CT X 375ML</c:v>
                </c:pt>
              </c:strCache>
            </c:strRef>
          </c:cat>
          <c:val>
            <c:numRef>
              <c:f>Sheet1!$C$2:$C$22</c:f>
              <c:numCache>
                <c:formatCode>General</c:formatCode>
                <c:ptCount val="21"/>
                <c:pt idx="0">
                  <c:v>0.72393696381947037</c:v>
                </c:pt>
                <c:pt idx="1">
                  <c:v>0.79168512215591202</c:v>
                </c:pt>
                <c:pt idx="2">
                  <c:v>0.84457175494218584</c:v>
                </c:pt>
                <c:pt idx="3">
                  <c:v>0.87421612737784415</c:v>
                </c:pt>
                <c:pt idx="4">
                  <c:v>0.89128065553897806</c:v>
                </c:pt>
                <c:pt idx="5">
                  <c:v>0.90710963726221561</c:v>
                </c:pt>
                <c:pt idx="6">
                  <c:v>0.92213434819097351</c:v>
                </c:pt>
                <c:pt idx="7">
                  <c:v>0.93440239183140616</c:v>
                </c:pt>
                <c:pt idx="8">
                  <c:v>0.94547859940320778</c:v>
                </c:pt>
                <c:pt idx="9">
                  <c:v>0.95443048302872069</c:v>
                </c:pt>
                <c:pt idx="10">
                  <c:v>0.96313758858634846</c:v>
                </c:pt>
                <c:pt idx="11">
                  <c:v>0.97146878496829547</c:v>
                </c:pt>
                <c:pt idx="12">
                  <c:v>0.97867516784781805</c:v>
                </c:pt>
                <c:pt idx="13">
                  <c:v>0.9842438688922045</c:v>
                </c:pt>
                <c:pt idx="14">
                  <c:v>0.98865861618798967</c:v>
                </c:pt>
                <c:pt idx="15">
                  <c:v>0.99286063968668414</c:v>
                </c:pt>
                <c:pt idx="16">
                  <c:v>0.99646237411413663</c:v>
                </c:pt>
                <c:pt idx="17">
                  <c:v>0.99803011935844843</c:v>
                </c:pt>
                <c:pt idx="18">
                  <c:v>0.99935891458411052</c:v>
                </c:pt>
                <c:pt idx="19">
                  <c:v>0.99993880548302883</c:v>
                </c:pt>
                <c:pt idx="20">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22</c:f>
              <c:strCache>
                <c:ptCount val="21"/>
                <c:pt idx="0">
                  <c:v>CHAMPAGNE E.NICOLAS BRUT 1CT X 750ML</c:v>
                </c:pt>
                <c:pt idx="1">
                  <c:v>CHAMPAGNE NICOLAS BLC/BLC BS 1CT X 750ML</c:v>
                </c:pt>
                <c:pt idx="2">
                  <c:v>CHAMPAGNE E.NICOLAS ROSE 1CT X 750ML</c:v>
                </c:pt>
                <c:pt idx="3">
                  <c:v>CHAMPAGNE NICOLAS 1ERE CUVEE 1CT X 750ML</c:v>
                </c:pt>
                <c:pt idx="4">
                  <c:v>1/2 CHAMPAGNE NICOLAS 1ERE CUV 1CT X 375ML</c:v>
                </c:pt>
                <c:pt idx="5">
                  <c:v>MG CHAMPAGNE E.NICOLAS BRUT 1CT X 1500ML</c:v>
                </c:pt>
                <c:pt idx="6">
                  <c:v>1/2 CHAMP NICOLAS BLC/BLC BS 1CT X 375ML</c:v>
                </c:pt>
                <c:pt idx="7">
                  <c:v>CHAMPAGNE NICOLAS BIO NAT 2017 1CT X 750ML</c:v>
                </c:pt>
                <c:pt idx="8">
                  <c:v>CHAMPAGNE NICOLAS ROSE 1ERE CU 1CT X 750ML</c:v>
                </c:pt>
                <c:pt idx="9">
                  <c:v>CHAMPAGNE NICOLAS BLC DE NOIRS 1CT X 750ML</c:v>
                </c:pt>
                <c:pt idx="10">
                  <c:v>1/2 CHAMP NICOLAS ROSE 1E C BS 1CT X 375ML</c:v>
                </c:pt>
                <c:pt idx="11">
                  <c:v>MG CHAMPAGNE NICOLAS BLC/BL BS 1CT X 1500ML</c:v>
                </c:pt>
                <c:pt idx="12">
                  <c:v>CHAMPAGNE NICOLAS 1ER CRU ETUI 1CT X 750ML</c:v>
                </c:pt>
                <c:pt idx="13">
                  <c:v>CHAMPAGNE NICOLAS 1ER CRU BS 1CT X 750ML</c:v>
                </c:pt>
                <c:pt idx="14">
                  <c:v>MG CHAMPAGNE NICOLAS 1ERE CUVE 1CT X 1500ML</c:v>
                </c:pt>
                <c:pt idx="15">
                  <c:v>CHAMPAGNE NICOLAS BLC/BLC 2002 1CT X 750ML</c:v>
                </c:pt>
                <c:pt idx="16">
                  <c:v>CHAMPAGNE NICOLAS ROSE 1ERE ET 1CT X 750ML</c:v>
                </c:pt>
                <c:pt idx="17">
                  <c:v>CHAMPAGNE NICOLAS ROSE 1E C BS 1CT X 750ML</c:v>
                </c:pt>
                <c:pt idx="18">
                  <c:v>MG CHAMPAGNE NICOLAS 1E CRU BS 1CT X 1500ML</c:v>
                </c:pt>
                <c:pt idx="19">
                  <c:v>CHAMPAGNE NICOLAS 1ERE CUV ETU 1CT X 750ML</c:v>
                </c:pt>
                <c:pt idx="20">
                  <c:v>1/2 CHAMPAGNE NICOLAS 1E C BS 1CT X 375ML</c:v>
                </c:pt>
              </c:strCache>
            </c:strRef>
          </c:cat>
          <c:val>
            <c:numRef>
              <c:f>Sheet1!$D$2:$D$22</c:f>
              <c:numCache>
                <c:formatCode>General</c:formatCode>
                <c:ptCount val="21"/>
                <c:pt idx="0">
                  <c:v>2484.3200000000002</c:v>
                </c:pt>
                <c:pt idx="1">
                  <c:v>394.05084745762713</c:v>
                </c:pt>
                <c:pt idx="2">
                  <c:v>283.578125</c:v>
                </c:pt>
                <c:pt idx="3">
                  <c:v>169.55</c:v>
                </c:pt>
                <c:pt idx="4">
                  <c:v>136.18604651162789</c:v>
                </c:pt>
                <c:pt idx="5">
                  <c:v>193.99999999999997</c:v>
                </c:pt>
                <c:pt idx="6">
                  <c:v>132.2051282051282</c:v>
                </c:pt>
                <c:pt idx="7">
                  <c:v>280.66666666666669</c:v>
                </c:pt>
                <c:pt idx="8">
                  <c:v>100.02631578947368</c:v>
                </c:pt>
                <c:pt idx="9">
                  <c:v>133.56521739130434</c:v>
                </c:pt>
                <c:pt idx="10">
                  <c:v>67.909090909090907</c:v>
                </c:pt>
                <c:pt idx="11">
                  <c:v>150.47368421052633</c:v>
                </c:pt>
                <c:pt idx="12">
                  <c:v>61.825000000000003</c:v>
                </c:pt>
                <c:pt idx="13">
                  <c:v>95.55</c:v>
                </c:pt>
                <c:pt idx="14">
                  <c:v>94.6875</c:v>
                </c:pt>
                <c:pt idx="15">
                  <c:v>51.499999999999993</c:v>
                </c:pt>
                <c:pt idx="16">
                  <c:v>123.6</c:v>
                </c:pt>
                <c:pt idx="17">
                  <c:v>26.9</c:v>
                </c:pt>
                <c:pt idx="18">
                  <c:v>57</c:v>
                </c:pt>
                <c:pt idx="19">
                  <c:v>14.214285714285712</c:v>
                </c:pt>
                <c:pt idx="20">
                  <c:v>7</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24</c:f>
              <c:strCache>
                <c:ptCount val="23"/>
                <c:pt idx="0">
                  <c:v>CHAMPAGNE E.NICOLAS BRUT 1CT X 750ML</c:v>
                </c:pt>
                <c:pt idx="1">
                  <c:v>CHAMPAGNE NICOLAS BLC/BLC BS 1CT X 750ML</c:v>
                </c:pt>
                <c:pt idx="2">
                  <c:v>CHAMPAGNE E.NICOLAS ROSE 1CT X 750ML</c:v>
                </c:pt>
                <c:pt idx="3">
                  <c:v>CHAMPAGNE NICOLAS 1ERE CUVEE 1CT X 750ML</c:v>
                </c:pt>
                <c:pt idx="4">
                  <c:v>MG CHAMPAGNE E.NICOLAS BRUT 1CT X 1500ML</c:v>
                </c:pt>
                <c:pt idx="5">
                  <c:v>MG CHAMPAGNE NICOLAS BLC/BL BS 1CT X 1500ML</c:v>
                </c:pt>
                <c:pt idx="6">
                  <c:v>1/2 CHAMP NICOLAS BLC/BLC BS 1CT X 375ML</c:v>
                </c:pt>
                <c:pt idx="7">
                  <c:v>CHAMPAGNE NICOLAS ROSE 1ERE CU 1CT X 750ML</c:v>
                </c:pt>
                <c:pt idx="8">
                  <c:v>1/2 CHAMPAGNE NICOLAS 1ERE CUV 1CT X 375ML</c:v>
                </c:pt>
                <c:pt idx="9">
                  <c:v>1/2 CHAMP NICOLAS ROSE 1E C BS 1CT X 375ML</c:v>
                </c:pt>
                <c:pt idx="10">
                  <c:v>MG CHAMPAGNE NICOLAS 1ERE CUVE 1CT X 1500ML</c:v>
                </c:pt>
                <c:pt idx="11">
                  <c:v>CHAMPAGNE NICOLAS BLC DE NOIRS 1CT X 750ML</c:v>
                </c:pt>
                <c:pt idx="12">
                  <c:v>CHAMPAGNE NICOLAS BLC/BLC 2002 1CT X 750ML</c:v>
                </c:pt>
                <c:pt idx="13">
                  <c:v>CHAMPAGNE NICOLAS BIO NAT 2017 1CT X 750ML</c:v>
                </c:pt>
                <c:pt idx="14">
                  <c:v>CHAMPAGNE NICOLAS BLC/BL BS ET 1CT X 750ML</c:v>
                </c:pt>
                <c:pt idx="15">
                  <c:v>CHAMPAGNE NICOLAS 1ER CRU BS 1CT X 750ML</c:v>
                </c:pt>
                <c:pt idx="16">
                  <c:v>CHAMPAGNE NICOLAS 1ER CRU ETUI 1CT X 750ML</c:v>
                </c:pt>
                <c:pt idx="17">
                  <c:v>CHAMPAGNE NICOLAS ROSE 1ERE ET 1CT X 750ML</c:v>
                </c:pt>
                <c:pt idx="18">
                  <c:v>CHAMPAGNE NICOLAS ROSE 1E C BS 1CT X 750ML</c:v>
                </c:pt>
                <c:pt idx="19">
                  <c:v>CHAMPAGNE NICOLAS 1ERE CUV ETU 1CT X 750ML</c:v>
                </c:pt>
                <c:pt idx="20">
                  <c:v>MG CHAMPAGNE NICOLAS 1E CRU BS 1CT X 1500ML</c:v>
                </c:pt>
                <c:pt idx="21">
                  <c:v>1/2 CHAMPAGNE NICOLAS 1E C BS 1CT X 375ML</c:v>
                </c:pt>
                <c:pt idx="22">
                  <c:v>CHAMPAGNE NICOLAS BIO 2018 1CT X 750ML</c:v>
                </c:pt>
              </c:strCache>
            </c:strRef>
          </c:cat>
          <c:val>
            <c:numRef>
              <c:f>Sheet1!$B$2:$B$24</c:f>
              <c:numCache>
                <c:formatCode>General</c:formatCode>
                <c:ptCount val="23"/>
                <c:pt idx="0">
                  <c:v>1</c:v>
                </c:pt>
                <c:pt idx="1">
                  <c:v>0.65</c:v>
                </c:pt>
                <c:pt idx="2">
                  <c:v>0.82</c:v>
                </c:pt>
                <c:pt idx="3">
                  <c:v>0.76</c:v>
                </c:pt>
                <c:pt idx="4">
                  <c:v>0.35</c:v>
                </c:pt>
                <c:pt idx="5">
                  <c:v>0.34</c:v>
                </c:pt>
                <c:pt idx="6">
                  <c:v>0.53</c:v>
                </c:pt>
                <c:pt idx="7">
                  <c:v>0.39</c:v>
                </c:pt>
                <c:pt idx="8">
                  <c:v>0.61</c:v>
                </c:pt>
                <c:pt idx="9">
                  <c:v>0.43</c:v>
                </c:pt>
                <c:pt idx="10">
                  <c:v>0.36</c:v>
                </c:pt>
                <c:pt idx="11">
                  <c:v>0.23</c:v>
                </c:pt>
                <c:pt idx="12">
                  <c:v>0.17</c:v>
                </c:pt>
                <c:pt idx="13">
                  <c:v>0.18</c:v>
                </c:pt>
                <c:pt idx="14">
                  <c:v>0.05</c:v>
                </c:pt>
                <c:pt idx="15">
                  <c:v>0.16</c:v>
                </c:pt>
                <c:pt idx="16">
                  <c:v>0.21</c:v>
                </c:pt>
                <c:pt idx="17">
                  <c:v>0.21</c:v>
                </c:pt>
                <c:pt idx="18">
                  <c:v>0.09</c:v>
                </c:pt>
                <c:pt idx="19">
                  <c:v>0.09</c:v>
                </c:pt>
                <c:pt idx="20">
                  <c:v>0.03</c:v>
                </c:pt>
                <c:pt idx="21">
                  <c:v>0.03</c:v>
                </c:pt>
                <c:pt idx="22">
                  <c:v>0.05</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7ECAC4"/>
              </a:solidFill>
            </c:spPr>
            <c:extLst>
              <c:ext xmlns:c16="http://schemas.microsoft.com/office/drawing/2014/chart" uri="{C3380CC4-5D6E-409C-BE32-E72D297353CC}">
                <c16:uniqueId val="{00000006-E902-46E2-9A54-39A26B3DFDC1}"/>
              </c:ext>
            </c:extLst>
          </c:dPt>
          <c:dPt>
            <c:idx val="3"/>
            <c:invertIfNegative val="0"/>
            <c:bubble3D val="0"/>
            <c:spPr>
              <a:solidFill>
                <a:srgbClr val="7ECAC4"/>
              </a:solidFill>
            </c:spPr>
            <c:extLst>
              <c:ext xmlns:c16="http://schemas.microsoft.com/office/drawing/2014/chart" uri="{C3380CC4-5D6E-409C-BE32-E72D297353CC}">
                <c16:uniqueId val="{00000007-E902-46E2-9A54-39A26B3DFDC1}"/>
              </c:ext>
            </c:extLst>
          </c:dPt>
          <c:dPt>
            <c:idx val="4"/>
            <c:invertIfNegative val="1"/>
            <c:bubble3D val="0"/>
            <c:spPr>
              <a:solidFill>
                <a:srgbClr val="7ECAC4"/>
              </a:solidFill>
            </c:spPr>
            <c:extLst>
              <c:ext xmlns:c16="http://schemas.microsoft.com/office/drawing/2014/chart" uri="{C3380CC4-5D6E-409C-BE32-E72D297353CC}">
                <c16:uniqueId val="{0000000B-FA3E-4872-B6E1-C4ABDF5766E2}"/>
              </c:ext>
            </c:extLst>
          </c:dPt>
          <c:dPt>
            <c:idx val="5"/>
            <c:invertIfNegative val="1"/>
            <c:bubble3D val="0"/>
            <c:spPr>
              <a:solidFill>
                <a:srgbClr val="7ECAC4"/>
              </a:solidFill>
            </c:spPr>
            <c:extLst>
              <c:ext xmlns:c16="http://schemas.microsoft.com/office/drawing/2014/chart" uri="{C3380CC4-5D6E-409C-BE32-E72D297353CC}">
                <c16:uniqueId val="{0000000D-FA3E-4872-B6E1-C4ABDF5766E2}"/>
              </c:ext>
            </c:extLst>
          </c:dPt>
          <c:dPt>
            <c:idx val="6"/>
            <c:invertIfNegative val="1"/>
            <c:bubble3D val="0"/>
            <c:spPr>
              <a:solidFill>
                <a:srgbClr val="7ECAC4"/>
              </a:solidFill>
            </c:spPr>
            <c:extLst>
              <c:ext xmlns:c16="http://schemas.microsoft.com/office/drawing/2014/chart" uri="{C3380CC4-5D6E-409C-BE32-E72D297353CC}">
                <c16:uniqueId val="{0000000F-FA3E-4872-B6E1-C4ABDF5766E2}"/>
              </c:ext>
            </c:extLst>
          </c:dPt>
          <c:dPt>
            <c:idx val="7"/>
            <c:invertIfNegative val="1"/>
            <c:bubble3D val="0"/>
            <c:spPr>
              <a:solidFill>
                <a:srgbClr val="7ECAC4"/>
              </a:solidFill>
            </c:spPr>
            <c:extLst>
              <c:ext xmlns:c16="http://schemas.microsoft.com/office/drawing/2014/chart" uri="{C3380CC4-5D6E-409C-BE32-E72D297353CC}">
                <c16:uniqueId val="{00000011-FA3E-4872-B6E1-C4ABDF5766E2}"/>
              </c:ext>
            </c:extLst>
          </c:dPt>
          <c:dPt>
            <c:idx val="8"/>
            <c:invertIfNegative val="1"/>
            <c:bubble3D val="0"/>
            <c:spPr>
              <a:solidFill>
                <a:srgbClr val="7ECAC4"/>
              </a:solidFill>
            </c:spPr>
            <c:extLst>
              <c:ext xmlns:c16="http://schemas.microsoft.com/office/drawing/2014/chart" uri="{C3380CC4-5D6E-409C-BE32-E72D297353CC}">
                <c16:uniqueId val="{00000013-FA3E-4872-B6E1-C4ABDF5766E2}"/>
              </c:ext>
            </c:extLst>
          </c:dPt>
          <c:dPt>
            <c:idx val="9"/>
            <c:invertIfNegative val="1"/>
            <c:bubble3D val="0"/>
            <c:spPr>
              <a:solidFill>
                <a:srgbClr val="7ECAC4"/>
              </a:solidFill>
            </c:spPr>
            <c:extLst>
              <c:ext xmlns:c16="http://schemas.microsoft.com/office/drawing/2014/chart" uri="{C3380CC4-5D6E-409C-BE32-E72D297353CC}">
                <c16:uniqueId val="{00000015-FA3E-4872-B6E1-C4ABDF5766E2}"/>
              </c:ext>
            </c:extLst>
          </c:dPt>
          <c:dPt>
            <c:idx val="10"/>
            <c:invertIfNegative val="1"/>
            <c:bubble3D val="0"/>
            <c:spPr>
              <a:solidFill>
                <a:srgbClr val="AEABAB"/>
              </a:solidFill>
            </c:spPr>
            <c:extLst>
              <c:ext xmlns:c16="http://schemas.microsoft.com/office/drawing/2014/chart" uri="{C3380CC4-5D6E-409C-BE32-E72D297353CC}">
                <c16:uniqueId val="{00000017-FA3E-4872-B6E1-C4ABDF5766E2}"/>
              </c:ext>
            </c:extLst>
          </c:dPt>
          <c:dPt>
            <c:idx val="11"/>
            <c:invertIfNegative val="1"/>
            <c:bubble3D val="0"/>
            <c:spPr>
              <a:solidFill>
                <a:srgbClr val="AEABAB"/>
              </a:solidFill>
            </c:spPr>
            <c:extLst>
              <c:ext xmlns:c16="http://schemas.microsoft.com/office/drawing/2014/chart" uri="{C3380CC4-5D6E-409C-BE32-E72D297353CC}">
                <c16:uniqueId val="{00000019-FA3E-4872-B6E1-C4ABDF5766E2}"/>
              </c:ext>
            </c:extLst>
          </c:dPt>
          <c:dPt>
            <c:idx val="12"/>
            <c:invertIfNegative val="1"/>
            <c:bubble3D val="0"/>
            <c:spPr>
              <a:solidFill>
                <a:srgbClr val="AEABAB"/>
              </a:solidFill>
            </c:spPr>
            <c:extLst>
              <c:ext xmlns:c16="http://schemas.microsoft.com/office/drawing/2014/chart" uri="{C3380CC4-5D6E-409C-BE32-E72D297353CC}">
                <c16:uniqueId val="{0000001B-FA3E-4872-B6E1-C4ABDF5766E2}"/>
              </c:ext>
            </c:extLst>
          </c:dPt>
          <c:dPt>
            <c:idx val="13"/>
            <c:invertIfNegative val="1"/>
            <c:bubble3D val="0"/>
            <c:spPr>
              <a:solidFill>
                <a:srgbClr val="AEABAB"/>
              </a:solidFill>
            </c:spPr>
            <c:extLst>
              <c:ext xmlns:c16="http://schemas.microsoft.com/office/drawing/2014/chart" uri="{C3380CC4-5D6E-409C-BE32-E72D297353CC}">
                <c16:uniqueId val="{0000001D-FA3E-4872-B6E1-C4ABDF5766E2}"/>
              </c:ext>
            </c:extLst>
          </c:dPt>
          <c:dPt>
            <c:idx val="14"/>
            <c:invertIfNegative val="1"/>
            <c:bubble3D val="0"/>
            <c:spPr>
              <a:solidFill>
                <a:srgbClr val="AEABAB"/>
              </a:solidFill>
            </c:spPr>
            <c:extLst>
              <c:ext xmlns:c16="http://schemas.microsoft.com/office/drawing/2014/chart" uri="{C3380CC4-5D6E-409C-BE32-E72D297353CC}">
                <c16:uniqueId val="{0000001F-FA3E-4872-B6E1-C4ABDF5766E2}"/>
              </c:ext>
            </c:extLst>
          </c:dPt>
          <c:dPt>
            <c:idx val="15"/>
            <c:invertIfNegative val="1"/>
            <c:bubble3D val="0"/>
            <c:spPr>
              <a:solidFill>
                <a:srgbClr val="AEABAB"/>
              </a:solidFill>
            </c:spPr>
            <c:extLst>
              <c:ext xmlns:c16="http://schemas.microsoft.com/office/drawing/2014/chart" uri="{C3380CC4-5D6E-409C-BE32-E72D297353CC}">
                <c16:uniqueId val="{00000021-FA3E-4872-B6E1-C4ABDF5766E2}"/>
              </c:ext>
            </c:extLst>
          </c:dPt>
          <c:dPt>
            <c:idx val="16"/>
            <c:invertIfNegative val="1"/>
            <c:bubble3D val="0"/>
            <c:spPr>
              <a:solidFill>
                <a:srgbClr val="AEABAB"/>
              </a:solidFill>
            </c:spPr>
            <c:extLst>
              <c:ext xmlns:c16="http://schemas.microsoft.com/office/drawing/2014/chart" uri="{C3380CC4-5D6E-409C-BE32-E72D297353CC}">
                <c16:uniqueId val="{00000023-FA3E-4872-B6E1-C4ABDF5766E2}"/>
              </c:ext>
            </c:extLst>
          </c:dPt>
          <c:dPt>
            <c:idx val="17"/>
            <c:invertIfNegative val="1"/>
            <c:bubble3D val="0"/>
            <c:spPr>
              <a:solidFill>
                <a:srgbClr val="AEABAB"/>
              </a:solidFill>
            </c:spPr>
            <c:extLst>
              <c:ext xmlns:c16="http://schemas.microsoft.com/office/drawing/2014/chart" uri="{C3380CC4-5D6E-409C-BE32-E72D297353CC}">
                <c16:uniqueId val="{00000025-FA3E-4872-B6E1-C4ABDF5766E2}"/>
              </c:ext>
            </c:extLst>
          </c:dPt>
          <c:dPt>
            <c:idx val="18"/>
            <c:invertIfNegative val="1"/>
            <c:bubble3D val="0"/>
            <c:spPr>
              <a:solidFill>
                <a:srgbClr val="AEABAB"/>
              </a:solidFill>
            </c:spPr>
            <c:extLst>
              <c:ext xmlns:c16="http://schemas.microsoft.com/office/drawing/2014/chart" uri="{C3380CC4-5D6E-409C-BE32-E72D297353CC}">
                <c16:uniqueId val="{00000027-FA3E-4872-B6E1-C4ABDF5766E2}"/>
              </c:ext>
            </c:extLst>
          </c:dPt>
          <c:dPt>
            <c:idx val="19"/>
            <c:invertIfNegative val="1"/>
            <c:bubble3D val="0"/>
            <c:spPr>
              <a:solidFill>
                <a:srgbClr val="AEABAB"/>
              </a:solidFill>
            </c:spPr>
            <c:extLst>
              <c:ext xmlns:c16="http://schemas.microsoft.com/office/drawing/2014/chart" uri="{C3380CC4-5D6E-409C-BE32-E72D297353CC}">
                <c16:uniqueId val="{00000029-FA3E-4872-B6E1-C4ABDF5766E2}"/>
              </c:ext>
            </c:extLst>
          </c:dPt>
          <c:dPt>
            <c:idx val="20"/>
            <c:invertIfNegative val="1"/>
            <c:bubble3D val="0"/>
            <c:spPr>
              <a:solidFill>
                <a:srgbClr val="AEABAB"/>
              </a:solidFill>
            </c:spPr>
            <c:extLst>
              <c:ext xmlns:c16="http://schemas.microsoft.com/office/drawing/2014/chart" uri="{C3380CC4-5D6E-409C-BE32-E72D297353CC}">
                <c16:uniqueId val="{0000002B-FA3E-4872-B6E1-C4ABDF5766E2}"/>
              </c:ext>
            </c:extLst>
          </c:dPt>
          <c:dPt>
            <c:idx val="21"/>
            <c:invertIfNegative val="1"/>
            <c:bubble3D val="0"/>
            <c:spPr>
              <a:solidFill>
                <a:srgbClr val="AEABAB"/>
              </a:solidFill>
            </c:spPr>
            <c:extLst>
              <c:ext xmlns:c16="http://schemas.microsoft.com/office/drawing/2014/chart" uri="{C3380CC4-5D6E-409C-BE32-E72D297353CC}">
                <c16:uniqueId val="{0000002D-FA3E-4872-B6E1-C4ABDF5766E2}"/>
              </c:ext>
            </c:extLst>
          </c:dPt>
          <c:dPt>
            <c:idx val="22"/>
            <c:invertIfNegative val="1"/>
            <c:bubble3D val="0"/>
            <c:spPr>
              <a:solidFill>
                <a:srgbClr val="AEABAB"/>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24</c:f>
              <c:strCache>
                <c:ptCount val="23"/>
                <c:pt idx="0">
                  <c:v>CHAMPAGNE E.NICOLAS BRUT 1CT X 750ML</c:v>
                </c:pt>
                <c:pt idx="1">
                  <c:v>CHAMPAGNE NICOLAS BLC/BLC BS 1CT X 750ML</c:v>
                </c:pt>
                <c:pt idx="2">
                  <c:v>CHAMPAGNE E.NICOLAS ROSE 1CT X 750ML</c:v>
                </c:pt>
                <c:pt idx="3">
                  <c:v>CHAMPAGNE NICOLAS 1ERE CUVEE 1CT X 750ML</c:v>
                </c:pt>
                <c:pt idx="4">
                  <c:v>MG CHAMPAGNE E.NICOLAS BRUT 1CT X 1500ML</c:v>
                </c:pt>
                <c:pt idx="5">
                  <c:v>MG CHAMPAGNE NICOLAS BLC/BL BS 1CT X 1500ML</c:v>
                </c:pt>
                <c:pt idx="6">
                  <c:v>1/2 CHAMP NICOLAS BLC/BLC BS 1CT X 375ML</c:v>
                </c:pt>
                <c:pt idx="7">
                  <c:v>CHAMPAGNE NICOLAS ROSE 1ERE CU 1CT X 750ML</c:v>
                </c:pt>
                <c:pt idx="8">
                  <c:v>1/2 CHAMPAGNE NICOLAS 1ERE CUV 1CT X 375ML</c:v>
                </c:pt>
                <c:pt idx="9">
                  <c:v>1/2 CHAMP NICOLAS ROSE 1E C BS 1CT X 375ML</c:v>
                </c:pt>
                <c:pt idx="10">
                  <c:v>MG CHAMPAGNE NICOLAS 1ERE CUVE 1CT X 1500ML</c:v>
                </c:pt>
                <c:pt idx="11">
                  <c:v>CHAMPAGNE NICOLAS BLC DE NOIRS 1CT X 750ML</c:v>
                </c:pt>
                <c:pt idx="12">
                  <c:v>CHAMPAGNE NICOLAS BLC/BLC 2002 1CT X 750ML</c:v>
                </c:pt>
                <c:pt idx="13">
                  <c:v>CHAMPAGNE NICOLAS BIO NAT 2017 1CT X 750ML</c:v>
                </c:pt>
                <c:pt idx="14">
                  <c:v>CHAMPAGNE NICOLAS BLC/BL BS ET 1CT X 750ML</c:v>
                </c:pt>
                <c:pt idx="15">
                  <c:v>CHAMPAGNE NICOLAS 1ER CRU BS 1CT X 750ML</c:v>
                </c:pt>
                <c:pt idx="16">
                  <c:v>CHAMPAGNE NICOLAS 1ER CRU ETUI 1CT X 750ML</c:v>
                </c:pt>
                <c:pt idx="17">
                  <c:v>CHAMPAGNE NICOLAS ROSE 1ERE ET 1CT X 750ML</c:v>
                </c:pt>
                <c:pt idx="18">
                  <c:v>CHAMPAGNE NICOLAS ROSE 1E C BS 1CT X 750ML</c:v>
                </c:pt>
                <c:pt idx="19">
                  <c:v>CHAMPAGNE NICOLAS 1ERE CUV ETU 1CT X 750ML</c:v>
                </c:pt>
                <c:pt idx="20">
                  <c:v>MG CHAMPAGNE NICOLAS 1E CRU BS 1CT X 1500ML</c:v>
                </c:pt>
                <c:pt idx="21">
                  <c:v>1/2 CHAMPAGNE NICOLAS 1E C BS 1CT X 375ML</c:v>
                </c:pt>
                <c:pt idx="22">
                  <c:v>CHAMPAGNE NICOLAS BIO 2018 1CT X 750ML</c:v>
                </c:pt>
              </c:strCache>
            </c:strRef>
          </c:cat>
          <c:val>
            <c:numRef>
              <c:f>Sheet1!$C$2:$C$24</c:f>
              <c:numCache>
                <c:formatCode>General</c:formatCode>
                <c:ptCount val="23"/>
                <c:pt idx="0">
                  <c:v>0.7089298413149927</c:v>
                </c:pt>
                <c:pt idx="1">
                  <c:v>0.78191681735985519</c:v>
                </c:pt>
                <c:pt idx="2">
                  <c:v>0.83625982892090112</c:v>
                </c:pt>
                <c:pt idx="3">
                  <c:v>0.8778633399028789</c:v>
                </c:pt>
                <c:pt idx="4">
                  <c:v>0.89456082248003721</c:v>
                </c:pt>
                <c:pt idx="5">
                  <c:v>0.9088770140398641</c:v>
                </c:pt>
                <c:pt idx="6">
                  <c:v>0.91967815998537072</c:v>
                </c:pt>
                <c:pt idx="7">
                  <c:v>0.92939431497246872</c:v>
                </c:pt>
                <c:pt idx="8">
                  <c:v>0.93904138813824478</c:v>
                </c:pt>
                <c:pt idx="9">
                  <c:v>0.94745311579332336</c:v>
                </c:pt>
                <c:pt idx="10">
                  <c:v>0.95546660706666386</c:v>
                </c:pt>
                <c:pt idx="11">
                  <c:v>0.9627689619440436</c:v>
                </c:pt>
                <c:pt idx="12">
                  <c:v>0.96955523497978324</c:v>
                </c:pt>
                <c:pt idx="13">
                  <c:v>0.97552878070585347</c:v>
                </c:pt>
                <c:pt idx="14">
                  <c:v>0.98074242639738285</c:v>
                </c:pt>
                <c:pt idx="15">
                  <c:v>0.98588292663104193</c:v>
                </c:pt>
                <c:pt idx="16">
                  <c:v>0.99062112684641468</c:v>
                </c:pt>
                <c:pt idx="17">
                  <c:v>0.99499359977243618</c:v>
                </c:pt>
                <c:pt idx="18">
                  <c:v>0.9973261271511874</c:v>
                </c:pt>
                <c:pt idx="19">
                  <c:v>0.99883779994717248</c:v>
                </c:pt>
                <c:pt idx="20">
                  <c:v>0.99945140906597285</c:v>
                </c:pt>
                <c:pt idx="21">
                  <c:v>0.99981307271877573</c:v>
                </c:pt>
                <c:pt idx="22">
                  <c:v>0.99999999999999967</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24</c:f>
              <c:strCache>
                <c:ptCount val="23"/>
                <c:pt idx="0">
                  <c:v>CHAMPAGNE E.NICOLAS BRUT 1CT X 750ML</c:v>
                </c:pt>
                <c:pt idx="1">
                  <c:v>CHAMPAGNE NICOLAS BLC/BLC BS 1CT X 750ML</c:v>
                </c:pt>
                <c:pt idx="2">
                  <c:v>CHAMPAGNE E.NICOLAS ROSE 1CT X 750ML</c:v>
                </c:pt>
                <c:pt idx="3">
                  <c:v>CHAMPAGNE NICOLAS 1ERE CUVEE 1CT X 750ML</c:v>
                </c:pt>
                <c:pt idx="4">
                  <c:v>MG CHAMPAGNE E.NICOLAS BRUT 1CT X 1500ML</c:v>
                </c:pt>
                <c:pt idx="5">
                  <c:v>MG CHAMPAGNE NICOLAS BLC/BL BS 1CT X 1500ML</c:v>
                </c:pt>
                <c:pt idx="6">
                  <c:v>1/2 CHAMP NICOLAS BLC/BLC BS 1CT X 375ML</c:v>
                </c:pt>
                <c:pt idx="7">
                  <c:v>CHAMPAGNE NICOLAS ROSE 1ERE CU 1CT X 750ML</c:v>
                </c:pt>
                <c:pt idx="8">
                  <c:v>1/2 CHAMPAGNE NICOLAS 1ERE CUV 1CT X 375ML</c:v>
                </c:pt>
                <c:pt idx="9">
                  <c:v>1/2 CHAMP NICOLAS ROSE 1E C BS 1CT X 375ML</c:v>
                </c:pt>
                <c:pt idx="10">
                  <c:v>MG CHAMPAGNE NICOLAS 1ERE CUVE 1CT X 1500ML</c:v>
                </c:pt>
                <c:pt idx="11">
                  <c:v>CHAMPAGNE NICOLAS BLC DE NOIRS 1CT X 750ML</c:v>
                </c:pt>
                <c:pt idx="12">
                  <c:v>CHAMPAGNE NICOLAS BLC/BLC 2002 1CT X 750ML</c:v>
                </c:pt>
                <c:pt idx="13">
                  <c:v>CHAMPAGNE NICOLAS BIO NAT 2017 1CT X 750ML</c:v>
                </c:pt>
                <c:pt idx="14">
                  <c:v>CHAMPAGNE NICOLAS BLC/BL BS ET 1CT X 750ML</c:v>
                </c:pt>
                <c:pt idx="15">
                  <c:v>CHAMPAGNE NICOLAS 1ER CRU BS 1CT X 750ML</c:v>
                </c:pt>
                <c:pt idx="16">
                  <c:v>CHAMPAGNE NICOLAS 1ER CRU ETUI 1CT X 750ML</c:v>
                </c:pt>
                <c:pt idx="17">
                  <c:v>CHAMPAGNE NICOLAS ROSE 1ERE ET 1CT X 750ML</c:v>
                </c:pt>
                <c:pt idx="18">
                  <c:v>CHAMPAGNE NICOLAS ROSE 1E C BS 1CT X 750ML</c:v>
                </c:pt>
                <c:pt idx="19">
                  <c:v>CHAMPAGNE NICOLAS 1ERE CUV ETU 1CT X 750ML</c:v>
                </c:pt>
                <c:pt idx="20">
                  <c:v>MG CHAMPAGNE NICOLAS 1E CRU BS 1CT X 1500ML</c:v>
                </c:pt>
                <c:pt idx="21">
                  <c:v>1/2 CHAMPAGNE NICOLAS 1E C BS 1CT X 375ML</c:v>
                </c:pt>
                <c:pt idx="22">
                  <c:v>CHAMPAGNE NICOLAS BIO 2018 1CT X 750ML</c:v>
                </c:pt>
              </c:strCache>
            </c:strRef>
          </c:cat>
          <c:val>
            <c:numRef>
              <c:f>Sheet1!$D$2:$D$24</c:f>
              <c:numCache>
                <c:formatCode>General</c:formatCode>
                <c:ptCount val="23"/>
                <c:pt idx="0">
                  <c:v>1744.57</c:v>
                </c:pt>
                <c:pt idx="1">
                  <c:v>276.32307692307694</c:v>
                </c:pt>
                <c:pt idx="2">
                  <c:v>163.08536585365854</c:v>
                </c:pt>
                <c:pt idx="3">
                  <c:v>134.71052631578948</c:v>
                </c:pt>
                <c:pt idx="4">
                  <c:v>117.4</c:v>
                </c:pt>
                <c:pt idx="5">
                  <c:v>103.61764705882354</c:v>
                </c:pt>
                <c:pt idx="6">
                  <c:v>50.150943396226417</c:v>
                </c:pt>
                <c:pt idx="7">
                  <c:v>61.307692307692307</c:v>
                </c:pt>
                <c:pt idx="8">
                  <c:v>38.918032786885249</c:v>
                </c:pt>
                <c:pt idx="9">
                  <c:v>48.139534883720927</c:v>
                </c:pt>
                <c:pt idx="10">
                  <c:v>54.777777777777779</c:v>
                </c:pt>
                <c:pt idx="11">
                  <c:v>78.130434782608702</c:v>
                </c:pt>
                <c:pt idx="12">
                  <c:v>98.235294117647058</c:v>
                </c:pt>
                <c:pt idx="13">
                  <c:v>81.666666666666671</c:v>
                </c:pt>
                <c:pt idx="14">
                  <c:v>256.60000000000002</c:v>
                </c:pt>
                <c:pt idx="15">
                  <c:v>79.0625</c:v>
                </c:pt>
                <c:pt idx="16">
                  <c:v>55.523809523809526</c:v>
                </c:pt>
                <c:pt idx="17">
                  <c:v>51.238095238095241</c:v>
                </c:pt>
                <c:pt idx="18">
                  <c:v>63.777777777777779</c:v>
                </c:pt>
                <c:pt idx="19">
                  <c:v>41.333333333333336</c:v>
                </c:pt>
                <c:pt idx="20">
                  <c:v>50.333333333333336</c:v>
                </c:pt>
                <c:pt idx="21">
                  <c:v>29.666666666666668</c:v>
                </c:pt>
                <c:pt idx="22">
                  <c:v>9.1999999999999993</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23</c:f>
              <c:strCache>
                <c:ptCount val="22"/>
                <c:pt idx="0">
                  <c:v>CHAMPAGNE E.NICOLAS BRUT 1CT X 750ML</c:v>
                </c:pt>
                <c:pt idx="1">
                  <c:v>CHAMPAGNE NICOLAS BLC/BLC BS 1CT X 750ML</c:v>
                </c:pt>
                <c:pt idx="2">
                  <c:v>CHAMPAGNE E.NICOLAS ROSE 1CT X 750ML</c:v>
                </c:pt>
                <c:pt idx="3">
                  <c:v>CHAMPAGNE NICOLAS 1ERE CUVEE 1CT X 750ML</c:v>
                </c:pt>
                <c:pt idx="4">
                  <c:v>1/2 CHAMPAGNE NICOLAS 1ERE CUV 1CT X 375ML</c:v>
                </c:pt>
                <c:pt idx="5">
                  <c:v>MG CHAMPAGNE E.NICOLAS BRUT 1CT X 1500ML</c:v>
                </c:pt>
                <c:pt idx="6">
                  <c:v>CHAMPAGNE NICOLAS ROSE 1ERE CU 1CT X 750ML</c:v>
                </c:pt>
                <c:pt idx="7">
                  <c:v>CHAMPAGNE NICOLAS BIO NAT 2017 1CT X 750ML</c:v>
                </c:pt>
                <c:pt idx="8">
                  <c:v>1/2 CHAMP NICOLAS BLC/BLC BS 1CT X 375ML</c:v>
                </c:pt>
                <c:pt idx="9">
                  <c:v>MG CHAMPAGNE NICOLAS BLC/BL BS 1CT X 1500ML</c:v>
                </c:pt>
                <c:pt idx="10">
                  <c:v>1/2 CHAMP NICOLAS ROSE 1E C BS 1CT X 375ML</c:v>
                </c:pt>
                <c:pt idx="11">
                  <c:v>CHAMPAGNE NICOLAS BLC DE NOIRS 1CT X 750ML</c:v>
                </c:pt>
                <c:pt idx="12">
                  <c:v>CHAMPAGNE NICOLAS 1ER CRU BS 1CT X 750ML</c:v>
                </c:pt>
                <c:pt idx="13">
                  <c:v>MG CHAMPAGNE NICOLAS 1ERE CUVE 1CT X 1500ML</c:v>
                </c:pt>
                <c:pt idx="14">
                  <c:v>CHAMPAGNE NICOLAS 1ER CRU ETUI 1CT X 750ML</c:v>
                </c:pt>
                <c:pt idx="15">
                  <c:v>CHAMPAGNE NICOLAS BLC/BLC 2002 1CT X 750ML</c:v>
                </c:pt>
                <c:pt idx="16">
                  <c:v>CHAMPAGNE NICOLAS ROSE 1ERE ET 1CT X 750ML</c:v>
                </c:pt>
                <c:pt idx="17">
                  <c:v>CHAMPAGNE NICOLAS 1ERE CUV ETU 1CT X 750ML</c:v>
                </c:pt>
                <c:pt idx="18">
                  <c:v>CHAMPAGNE NICOLAS ROSE 1E C BS 1CT X 750ML</c:v>
                </c:pt>
                <c:pt idx="19">
                  <c:v>MG CHAMPAGNE NICOLAS 1E CRU BS 1CT X 1500ML</c:v>
                </c:pt>
                <c:pt idx="20">
                  <c:v>CHAMPAGNE NICOLAS BLC/BL BS ET 1CT X 750ML</c:v>
                </c:pt>
                <c:pt idx="21">
                  <c:v>1/2 CHAMPAGNE NICOLAS 1E C BS 1CT X 375ML</c:v>
                </c:pt>
              </c:strCache>
            </c:strRef>
          </c:cat>
          <c:val>
            <c:numRef>
              <c:f>Sheet1!$B$2:$B$23</c:f>
              <c:numCache>
                <c:formatCode>General</c:formatCode>
                <c:ptCount val="22"/>
                <c:pt idx="0">
                  <c:v>0.99</c:v>
                </c:pt>
                <c:pt idx="1">
                  <c:v>0.55000000000000004</c:v>
                </c:pt>
                <c:pt idx="2">
                  <c:v>0.59</c:v>
                </c:pt>
                <c:pt idx="3">
                  <c:v>0.78</c:v>
                </c:pt>
                <c:pt idx="4">
                  <c:v>0.32</c:v>
                </c:pt>
                <c:pt idx="5">
                  <c:v>0.16</c:v>
                </c:pt>
                <c:pt idx="6">
                  <c:v>0.33</c:v>
                </c:pt>
                <c:pt idx="7">
                  <c:v>0.15</c:v>
                </c:pt>
                <c:pt idx="8">
                  <c:v>0.24</c:v>
                </c:pt>
                <c:pt idx="9">
                  <c:v>0.14000000000000001</c:v>
                </c:pt>
                <c:pt idx="10">
                  <c:v>0.27</c:v>
                </c:pt>
                <c:pt idx="11">
                  <c:v>0.18</c:v>
                </c:pt>
                <c:pt idx="12">
                  <c:v>0.32</c:v>
                </c:pt>
                <c:pt idx="13">
                  <c:v>0.18</c:v>
                </c:pt>
                <c:pt idx="14">
                  <c:v>0.18</c:v>
                </c:pt>
                <c:pt idx="15">
                  <c:v>0.04</c:v>
                </c:pt>
                <c:pt idx="16">
                  <c:v>0.09</c:v>
                </c:pt>
                <c:pt idx="17">
                  <c:v>0.11</c:v>
                </c:pt>
                <c:pt idx="18">
                  <c:v>0.05</c:v>
                </c:pt>
                <c:pt idx="19">
                  <c:v>0.04</c:v>
                </c:pt>
                <c:pt idx="20">
                  <c:v>0.02</c:v>
                </c:pt>
                <c:pt idx="21">
                  <c:v>0.01</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7ECAC4"/>
              </a:solidFill>
            </c:spPr>
            <c:extLst>
              <c:ext xmlns:c16="http://schemas.microsoft.com/office/drawing/2014/chart" uri="{C3380CC4-5D6E-409C-BE32-E72D297353CC}">
                <c16:uniqueId val="{00000006-E902-46E2-9A54-39A26B3DFDC1}"/>
              </c:ext>
            </c:extLst>
          </c:dPt>
          <c:dPt>
            <c:idx val="3"/>
            <c:invertIfNegative val="0"/>
            <c:bubble3D val="0"/>
            <c:spPr>
              <a:solidFill>
                <a:srgbClr val="7ECAC4"/>
              </a:solidFill>
            </c:spPr>
            <c:extLst>
              <c:ext xmlns:c16="http://schemas.microsoft.com/office/drawing/2014/chart" uri="{C3380CC4-5D6E-409C-BE32-E72D297353CC}">
                <c16:uniqueId val="{00000007-E902-46E2-9A54-39A26B3DFDC1}"/>
              </c:ext>
            </c:extLst>
          </c:dPt>
          <c:dPt>
            <c:idx val="4"/>
            <c:invertIfNegative val="1"/>
            <c:bubble3D val="0"/>
            <c:spPr>
              <a:solidFill>
                <a:srgbClr val="7ECAC4"/>
              </a:solidFill>
            </c:spPr>
            <c:extLst>
              <c:ext xmlns:c16="http://schemas.microsoft.com/office/drawing/2014/chart" uri="{C3380CC4-5D6E-409C-BE32-E72D297353CC}">
                <c16:uniqueId val="{0000000B-FA3E-4872-B6E1-C4ABDF5766E2}"/>
              </c:ext>
            </c:extLst>
          </c:dPt>
          <c:dPt>
            <c:idx val="5"/>
            <c:invertIfNegative val="1"/>
            <c:bubble3D val="0"/>
            <c:spPr>
              <a:solidFill>
                <a:srgbClr val="7ECAC4"/>
              </a:solidFill>
            </c:spPr>
            <c:extLst>
              <c:ext xmlns:c16="http://schemas.microsoft.com/office/drawing/2014/chart" uri="{C3380CC4-5D6E-409C-BE32-E72D297353CC}">
                <c16:uniqueId val="{0000000D-FA3E-4872-B6E1-C4ABDF5766E2}"/>
              </c:ext>
            </c:extLst>
          </c:dPt>
          <c:dPt>
            <c:idx val="6"/>
            <c:invertIfNegative val="1"/>
            <c:bubble3D val="0"/>
            <c:spPr>
              <a:solidFill>
                <a:srgbClr val="7ECAC4"/>
              </a:solidFill>
            </c:spPr>
            <c:extLst>
              <c:ext xmlns:c16="http://schemas.microsoft.com/office/drawing/2014/chart" uri="{C3380CC4-5D6E-409C-BE32-E72D297353CC}">
                <c16:uniqueId val="{0000000F-FA3E-4872-B6E1-C4ABDF5766E2}"/>
              </c:ext>
            </c:extLst>
          </c:dPt>
          <c:dPt>
            <c:idx val="7"/>
            <c:invertIfNegative val="1"/>
            <c:bubble3D val="0"/>
            <c:spPr>
              <a:solidFill>
                <a:srgbClr val="7ECAC4"/>
              </a:solidFill>
            </c:spPr>
            <c:extLst>
              <c:ext xmlns:c16="http://schemas.microsoft.com/office/drawing/2014/chart" uri="{C3380CC4-5D6E-409C-BE32-E72D297353CC}">
                <c16:uniqueId val="{00000011-FA3E-4872-B6E1-C4ABDF5766E2}"/>
              </c:ext>
            </c:extLst>
          </c:dPt>
          <c:dPt>
            <c:idx val="8"/>
            <c:invertIfNegative val="1"/>
            <c:bubble3D val="0"/>
            <c:spPr>
              <a:solidFill>
                <a:srgbClr val="7ECAC4"/>
              </a:solidFill>
            </c:spPr>
            <c:extLst>
              <c:ext xmlns:c16="http://schemas.microsoft.com/office/drawing/2014/chart" uri="{C3380CC4-5D6E-409C-BE32-E72D297353CC}">
                <c16:uniqueId val="{00000013-FA3E-4872-B6E1-C4ABDF5766E2}"/>
              </c:ext>
            </c:extLst>
          </c:dPt>
          <c:dPt>
            <c:idx val="9"/>
            <c:invertIfNegative val="1"/>
            <c:bubble3D val="0"/>
            <c:spPr>
              <a:solidFill>
                <a:srgbClr val="AEABAB"/>
              </a:solidFill>
            </c:spPr>
            <c:extLst>
              <c:ext xmlns:c16="http://schemas.microsoft.com/office/drawing/2014/chart" uri="{C3380CC4-5D6E-409C-BE32-E72D297353CC}">
                <c16:uniqueId val="{00000015-FA3E-4872-B6E1-C4ABDF5766E2}"/>
              </c:ext>
            </c:extLst>
          </c:dPt>
          <c:dPt>
            <c:idx val="10"/>
            <c:invertIfNegative val="1"/>
            <c:bubble3D val="0"/>
            <c:spPr>
              <a:solidFill>
                <a:srgbClr val="AEABAB"/>
              </a:solidFill>
            </c:spPr>
            <c:extLst>
              <c:ext xmlns:c16="http://schemas.microsoft.com/office/drawing/2014/chart" uri="{C3380CC4-5D6E-409C-BE32-E72D297353CC}">
                <c16:uniqueId val="{00000017-FA3E-4872-B6E1-C4ABDF5766E2}"/>
              </c:ext>
            </c:extLst>
          </c:dPt>
          <c:dPt>
            <c:idx val="11"/>
            <c:invertIfNegative val="1"/>
            <c:bubble3D val="0"/>
            <c:spPr>
              <a:solidFill>
                <a:srgbClr val="AEABAB"/>
              </a:solidFill>
            </c:spPr>
            <c:extLst>
              <c:ext xmlns:c16="http://schemas.microsoft.com/office/drawing/2014/chart" uri="{C3380CC4-5D6E-409C-BE32-E72D297353CC}">
                <c16:uniqueId val="{00000019-FA3E-4872-B6E1-C4ABDF5766E2}"/>
              </c:ext>
            </c:extLst>
          </c:dPt>
          <c:dPt>
            <c:idx val="12"/>
            <c:invertIfNegative val="1"/>
            <c:bubble3D val="0"/>
            <c:spPr>
              <a:solidFill>
                <a:srgbClr val="AEABAB"/>
              </a:solidFill>
            </c:spPr>
            <c:extLst>
              <c:ext xmlns:c16="http://schemas.microsoft.com/office/drawing/2014/chart" uri="{C3380CC4-5D6E-409C-BE32-E72D297353CC}">
                <c16:uniqueId val="{0000001B-FA3E-4872-B6E1-C4ABDF5766E2}"/>
              </c:ext>
            </c:extLst>
          </c:dPt>
          <c:dPt>
            <c:idx val="13"/>
            <c:invertIfNegative val="1"/>
            <c:bubble3D val="0"/>
            <c:spPr>
              <a:solidFill>
                <a:srgbClr val="AEABAB"/>
              </a:solidFill>
            </c:spPr>
            <c:extLst>
              <c:ext xmlns:c16="http://schemas.microsoft.com/office/drawing/2014/chart" uri="{C3380CC4-5D6E-409C-BE32-E72D297353CC}">
                <c16:uniqueId val="{0000001D-FA3E-4872-B6E1-C4ABDF5766E2}"/>
              </c:ext>
            </c:extLst>
          </c:dPt>
          <c:dPt>
            <c:idx val="14"/>
            <c:invertIfNegative val="1"/>
            <c:bubble3D val="0"/>
            <c:spPr>
              <a:solidFill>
                <a:srgbClr val="AEABAB"/>
              </a:solidFill>
            </c:spPr>
            <c:extLst>
              <c:ext xmlns:c16="http://schemas.microsoft.com/office/drawing/2014/chart" uri="{C3380CC4-5D6E-409C-BE32-E72D297353CC}">
                <c16:uniqueId val="{0000001F-FA3E-4872-B6E1-C4ABDF5766E2}"/>
              </c:ext>
            </c:extLst>
          </c:dPt>
          <c:dPt>
            <c:idx val="15"/>
            <c:invertIfNegative val="1"/>
            <c:bubble3D val="0"/>
            <c:spPr>
              <a:solidFill>
                <a:srgbClr val="AEABAB"/>
              </a:solidFill>
            </c:spPr>
            <c:extLst>
              <c:ext xmlns:c16="http://schemas.microsoft.com/office/drawing/2014/chart" uri="{C3380CC4-5D6E-409C-BE32-E72D297353CC}">
                <c16:uniqueId val="{00000021-FA3E-4872-B6E1-C4ABDF5766E2}"/>
              </c:ext>
            </c:extLst>
          </c:dPt>
          <c:dPt>
            <c:idx val="16"/>
            <c:invertIfNegative val="1"/>
            <c:bubble3D val="0"/>
            <c:spPr>
              <a:solidFill>
                <a:srgbClr val="AEABAB"/>
              </a:solidFill>
            </c:spPr>
            <c:extLst>
              <c:ext xmlns:c16="http://schemas.microsoft.com/office/drawing/2014/chart" uri="{C3380CC4-5D6E-409C-BE32-E72D297353CC}">
                <c16:uniqueId val="{00000023-FA3E-4872-B6E1-C4ABDF5766E2}"/>
              </c:ext>
            </c:extLst>
          </c:dPt>
          <c:dPt>
            <c:idx val="17"/>
            <c:invertIfNegative val="1"/>
            <c:bubble3D val="0"/>
            <c:spPr>
              <a:solidFill>
                <a:srgbClr val="AEABAB"/>
              </a:solidFill>
            </c:spPr>
            <c:extLst>
              <c:ext xmlns:c16="http://schemas.microsoft.com/office/drawing/2014/chart" uri="{C3380CC4-5D6E-409C-BE32-E72D297353CC}">
                <c16:uniqueId val="{00000025-FA3E-4872-B6E1-C4ABDF5766E2}"/>
              </c:ext>
            </c:extLst>
          </c:dPt>
          <c:dPt>
            <c:idx val="18"/>
            <c:invertIfNegative val="1"/>
            <c:bubble3D val="0"/>
            <c:spPr>
              <a:solidFill>
                <a:srgbClr val="AEABAB"/>
              </a:solidFill>
            </c:spPr>
            <c:extLst>
              <c:ext xmlns:c16="http://schemas.microsoft.com/office/drawing/2014/chart" uri="{C3380CC4-5D6E-409C-BE32-E72D297353CC}">
                <c16:uniqueId val="{00000027-FA3E-4872-B6E1-C4ABDF5766E2}"/>
              </c:ext>
            </c:extLst>
          </c:dPt>
          <c:dPt>
            <c:idx val="19"/>
            <c:invertIfNegative val="1"/>
            <c:bubble3D val="0"/>
            <c:spPr>
              <a:solidFill>
                <a:srgbClr val="AEABAB"/>
              </a:solidFill>
            </c:spPr>
            <c:extLst>
              <c:ext xmlns:c16="http://schemas.microsoft.com/office/drawing/2014/chart" uri="{C3380CC4-5D6E-409C-BE32-E72D297353CC}">
                <c16:uniqueId val="{00000029-FA3E-4872-B6E1-C4ABDF5766E2}"/>
              </c:ext>
            </c:extLst>
          </c:dPt>
          <c:dPt>
            <c:idx val="20"/>
            <c:invertIfNegative val="1"/>
            <c:bubble3D val="0"/>
            <c:spPr>
              <a:solidFill>
                <a:srgbClr val="AEABAB"/>
              </a:solidFill>
            </c:spPr>
            <c:extLst>
              <c:ext xmlns:c16="http://schemas.microsoft.com/office/drawing/2014/chart" uri="{C3380CC4-5D6E-409C-BE32-E72D297353CC}">
                <c16:uniqueId val="{0000002B-FA3E-4872-B6E1-C4ABDF5766E2}"/>
              </c:ext>
            </c:extLst>
          </c:dPt>
          <c:dPt>
            <c:idx val="21"/>
            <c:invertIfNegative val="1"/>
            <c:bubble3D val="0"/>
            <c:spPr>
              <a:solidFill>
                <a:srgbClr val="AEABAB"/>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23</c:f>
              <c:strCache>
                <c:ptCount val="22"/>
                <c:pt idx="0">
                  <c:v>CHAMPAGNE E.NICOLAS BRUT 1CT X 750ML</c:v>
                </c:pt>
                <c:pt idx="1">
                  <c:v>CHAMPAGNE NICOLAS BLC/BLC BS 1CT X 750ML</c:v>
                </c:pt>
                <c:pt idx="2">
                  <c:v>CHAMPAGNE E.NICOLAS ROSE 1CT X 750ML</c:v>
                </c:pt>
                <c:pt idx="3">
                  <c:v>CHAMPAGNE NICOLAS 1ERE CUVEE 1CT X 750ML</c:v>
                </c:pt>
                <c:pt idx="4">
                  <c:v>1/2 CHAMPAGNE NICOLAS 1ERE CUV 1CT X 375ML</c:v>
                </c:pt>
                <c:pt idx="5">
                  <c:v>MG CHAMPAGNE E.NICOLAS BRUT 1CT X 1500ML</c:v>
                </c:pt>
                <c:pt idx="6">
                  <c:v>CHAMPAGNE NICOLAS ROSE 1ERE CU 1CT X 750ML</c:v>
                </c:pt>
                <c:pt idx="7">
                  <c:v>CHAMPAGNE NICOLAS BIO NAT 2017 1CT X 750ML</c:v>
                </c:pt>
                <c:pt idx="8">
                  <c:v>1/2 CHAMP NICOLAS BLC/BLC BS 1CT X 375ML</c:v>
                </c:pt>
                <c:pt idx="9">
                  <c:v>MG CHAMPAGNE NICOLAS BLC/BL BS 1CT X 1500ML</c:v>
                </c:pt>
                <c:pt idx="10">
                  <c:v>1/2 CHAMP NICOLAS ROSE 1E C BS 1CT X 375ML</c:v>
                </c:pt>
                <c:pt idx="11">
                  <c:v>CHAMPAGNE NICOLAS BLC DE NOIRS 1CT X 750ML</c:v>
                </c:pt>
                <c:pt idx="12">
                  <c:v>CHAMPAGNE NICOLAS 1ER CRU BS 1CT X 750ML</c:v>
                </c:pt>
                <c:pt idx="13">
                  <c:v>MG CHAMPAGNE NICOLAS 1ERE CUVE 1CT X 1500ML</c:v>
                </c:pt>
                <c:pt idx="14">
                  <c:v>CHAMPAGNE NICOLAS 1ER CRU ETUI 1CT X 750ML</c:v>
                </c:pt>
                <c:pt idx="15">
                  <c:v>CHAMPAGNE NICOLAS BLC/BLC 2002 1CT X 750ML</c:v>
                </c:pt>
                <c:pt idx="16">
                  <c:v>CHAMPAGNE NICOLAS ROSE 1ERE ET 1CT X 750ML</c:v>
                </c:pt>
                <c:pt idx="17">
                  <c:v>CHAMPAGNE NICOLAS 1ERE CUV ETU 1CT X 750ML</c:v>
                </c:pt>
                <c:pt idx="18">
                  <c:v>CHAMPAGNE NICOLAS ROSE 1E C BS 1CT X 750ML</c:v>
                </c:pt>
                <c:pt idx="19">
                  <c:v>MG CHAMPAGNE NICOLAS 1E CRU BS 1CT X 1500ML</c:v>
                </c:pt>
                <c:pt idx="20">
                  <c:v>CHAMPAGNE NICOLAS BLC/BL BS ET 1CT X 750ML</c:v>
                </c:pt>
                <c:pt idx="21">
                  <c:v>1/2 CHAMPAGNE NICOLAS 1E C BS 1CT X 375ML</c:v>
                </c:pt>
              </c:strCache>
            </c:strRef>
          </c:cat>
          <c:val>
            <c:numRef>
              <c:f>Sheet1!$C$2:$C$23</c:f>
              <c:numCache>
                <c:formatCode>General</c:formatCode>
                <c:ptCount val="22"/>
                <c:pt idx="0">
                  <c:v>0.72326493770759182</c:v>
                </c:pt>
                <c:pt idx="1">
                  <c:v>0.79426046817287477</c:v>
                </c:pt>
                <c:pt idx="2">
                  <c:v>0.84078849612759088</c:v>
                </c:pt>
                <c:pt idx="3">
                  <c:v>0.88256142476151267</c:v>
                </c:pt>
                <c:pt idx="4">
                  <c:v>0.90020229692120712</c:v>
                </c:pt>
                <c:pt idx="5">
                  <c:v>0.91359005116145875</c:v>
                </c:pt>
                <c:pt idx="6">
                  <c:v>0.92493741727665846</c:v>
                </c:pt>
                <c:pt idx="7">
                  <c:v>0.9361174562580743</c:v>
                </c:pt>
                <c:pt idx="8">
                  <c:v>0.94627479390918667</c:v>
                </c:pt>
                <c:pt idx="9">
                  <c:v>0.95572033143440782</c:v>
                </c:pt>
                <c:pt idx="10">
                  <c:v>0.96463459211371905</c:v>
                </c:pt>
                <c:pt idx="11">
                  <c:v>0.97171010178187556</c:v>
                </c:pt>
                <c:pt idx="12">
                  <c:v>0.97821817716354109</c:v>
                </c:pt>
                <c:pt idx="13">
                  <c:v>0.98354546138345755</c:v>
                </c:pt>
                <c:pt idx="14">
                  <c:v>0.98778063254407178</c:v>
                </c:pt>
                <c:pt idx="15">
                  <c:v>0.99093292794772214</c:v>
                </c:pt>
                <c:pt idx="16">
                  <c:v>0.99364368029960526</c:v>
                </c:pt>
                <c:pt idx="17">
                  <c:v>0.99619607889711881</c:v>
                </c:pt>
                <c:pt idx="18">
                  <c:v>0.99754868388235896</c:v>
                </c:pt>
                <c:pt idx="19">
                  <c:v>0.99885087958912477</c:v>
                </c:pt>
                <c:pt idx="20">
                  <c:v>0.99993032434807738</c:v>
                </c:pt>
                <c:pt idx="21">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23</c:f>
              <c:strCache>
                <c:ptCount val="22"/>
                <c:pt idx="0">
                  <c:v>CHAMPAGNE E.NICOLAS BRUT 1CT X 750ML</c:v>
                </c:pt>
                <c:pt idx="1">
                  <c:v>CHAMPAGNE NICOLAS BLC/BLC BS 1CT X 750ML</c:v>
                </c:pt>
                <c:pt idx="2">
                  <c:v>CHAMPAGNE E.NICOLAS ROSE 1CT X 750ML</c:v>
                </c:pt>
                <c:pt idx="3">
                  <c:v>CHAMPAGNE NICOLAS 1ERE CUVEE 1CT X 750ML</c:v>
                </c:pt>
                <c:pt idx="4">
                  <c:v>1/2 CHAMPAGNE NICOLAS 1ERE CUV 1CT X 375ML</c:v>
                </c:pt>
                <c:pt idx="5">
                  <c:v>MG CHAMPAGNE E.NICOLAS BRUT 1CT X 1500ML</c:v>
                </c:pt>
                <c:pt idx="6">
                  <c:v>CHAMPAGNE NICOLAS ROSE 1ERE CU 1CT X 750ML</c:v>
                </c:pt>
                <c:pt idx="7">
                  <c:v>CHAMPAGNE NICOLAS BIO NAT 2017 1CT X 750ML</c:v>
                </c:pt>
                <c:pt idx="8">
                  <c:v>1/2 CHAMP NICOLAS BLC/BLC BS 1CT X 375ML</c:v>
                </c:pt>
                <c:pt idx="9">
                  <c:v>MG CHAMPAGNE NICOLAS BLC/BL BS 1CT X 1500ML</c:v>
                </c:pt>
                <c:pt idx="10">
                  <c:v>1/2 CHAMP NICOLAS ROSE 1E C BS 1CT X 375ML</c:v>
                </c:pt>
                <c:pt idx="11">
                  <c:v>CHAMPAGNE NICOLAS BLC DE NOIRS 1CT X 750ML</c:v>
                </c:pt>
                <c:pt idx="12">
                  <c:v>CHAMPAGNE NICOLAS 1ER CRU BS 1CT X 750ML</c:v>
                </c:pt>
                <c:pt idx="13">
                  <c:v>MG CHAMPAGNE NICOLAS 1ERE CUVE 1CT X 1500ML</c:v>
                </c:pt>
                <c:pt idx="14">
                  <c:v>CHAMPAGNE NICOLAS 1ER CRU ETUI 1CT X 750ML</c:v>
                </c:pt>
                <c:pt idx="15">
                  <c:v>CHAMPAGNE NICOLAS BLC/BLC 2002 1CT X 750ML</c:v>
                </c:pt>
                <c:pt idx="16">
                  <c:v>CHAMPAGNE NICOLAS ROSE 1ERE ET 1CT X 750ML</c:v>
                </c:pt>
                <c:pt idx="17">
                  <c:v>CHAMPAGNE NICOLAS 1ERE CUV ETU 1CT X 750ML</c:v>
                </c:pt>
                <c:pt idx="18">
                  <c:v>CHAMPAGNE NICOLAS ROSE 1E C BS 1CT X 750ML</c:v>
                </c:pt>
                <c:pt idx="19">
                  <c:v>MG CHAMPAGNE NICOLAS 1E CRU BS 1CT X 1500ML</c:v>
                </c:pt>
                <c:pt idx="20">
                  <c:v>CHAMPAGNE NICOLAS BLC/BL BS ET 1CT X 750ML</c:v>
                </c:pt>
                <c:pt idx="21">
                  <c:v>1/2 CHAMPAGNE NICOLAS 1E C BS 1CT X 375ML</c:v>
                </c:pt>
              </c:strCache>
            </c:strRef>
          </c:cat>
          <c:val>
            <c:numRef>
              <c:f>Sheet1!$D$2:$D$23</c:f>
              <c:numCache>
                <c:formatCode>General</c:formatCode>
                <c:ptCount val="22"/>
                <c:pt idx="0">
                  <c:v>27681.21212121212</c:v>
                </c:pt>
                <c:pt idx="1">
                  <c:v>4890.9272727272719</c:v>
                </c:pt>
                <c:pt idx="2">
                  <c:v>2988.0338983050847</c:v>
                </c:pt>
                <c:pt idx="3">
                  <c:v>2029.1923076923076</c:v>
                </c:pt>
                <c:pt idx="4">
                  <c:v>2088.78125</c:v>
                </c:pt>
                <c:pt idx="5">
                  <c:v>3170.375</c:v>
                </c:pt>
                <c:pt idx="6">
                  <c:v>1302.878787878788</c:v>
                </c:pt>
                <c:pt idx="7">
                  <c:v>2824.0666666666666</c:v>
                </c:pt>
                <c:pt idx="8">
                  <c:v>1603.5833333333333</c:v>
                </c:pt>
                <c:pt idx="9">
                  <c:v>2556.3571428571427</c:v>
                </c:pt>
                <c:pt idx="10">
                  <c:v>1250.962962962963</c:v>
                </c:pt>
                <c:pt idx="11">
                  <c:v>1489.3888888888889</c:v>
                </c:pt>
                <c:pt idx="12">
                  <c:v>770.59375</c:v>
                </c:pt>
                <c:pt idx="13">
                  <c:v>1121.3888888888889</c:v>
                </c:pt>
                <c:pt idx="14">
                  <c:v>891.5</c:v>
                </c:pt>
                <c:pt idx="15">
                  <c:v>2986</c:v>
                </c:pt>
                <c:pt idx="16">
                  <c:v>1141.2222222222222</c:v>
                </c:pt>
                <c:pt idx="17">
                  <c:v>879.18181818181813</c:v>
                </c:pt>
                <c:pt idx="18">
                  <c:v>1025</c:v>
                </c:pt>
                <c:pt idx="19">
                  <c:v>1233.5</c:v>
                </c:pt>
                <c:pt idx="20">
                  <c:v>2045</c:v>
                </c:pt>
                <c:pt idx="21">
                  <c:v>264</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23</c:f>
              <c:strCache>
                <c:ptCount val="22"/>
                <c:pt idx="0">
                  <c:v>CHAMPAGNE E.NICOLAS BRUT 1CT X 750ML</c:v>
                </c:pt>
                <c:pt idx="1">
                  <c:v>CHAMPAGNE NICOLAS BLC/BLC BS 1CT X 750ML</c:v>
                </c:pt>
                <c:pt idx="2">
                  <c:v>CHAMPAGNE E.NICOLAS ROSE 1CT X 750ML</c:v>
                </c:pt>
                <c:pt idx="3">
                  <c:v>CHAMPAGNE NICOLAS 1ERE CUVEE 1CT X 750ML</c:v>
                </c:pt>
                <c:pt idx="4">
                  <c:v>MG CHAMPAGNE E.NICOLAS BRUT 1CT X 1500ML</c:v>
                </c:pt>
                <c:pt idx="5">
                  <c:v>1/2 CHAMPAGNE NICOLAS 1ERE CUV 1CT X 375ML</c:v>
                </c:pt>
                <c:pt idx="6">
                  <c:v>1/2 CHAMP NICOLAS BLC/BLC BS 1CT X 375ML</c:v>
                </c:pt>
                <c:pt idx="7">
                  <c:v>CHAMPAGNE NICOLAS ROSE 1ERE CU 1CT X 750ML</c:v>
                </c:pt>
                <c:pt idx="8">
                  <c:v>MG CHAMPAGNE NICOLAS BLC/BL BS 1CT X 1500ML</c:v>
                </c:pt>
                <c:pt idx="9">
                  <c:v>CHAMPAGNE NICOLAS BIO NAT 2017 1CT X 750ML</c:v>
                </c:pt>
                <c:pt idx="10">
                  <c:v>MG CHAMPAGNE NICOLAS 1ERE CUVE 1CT X 1500ML</c:v>
                </c:pt>
                <c:pt idx="11">
                  <c:v>CHAMPAGNE NICOLAS 1ER CRU BS 1CT X 750ML</c:v>
                </c:pt>
                <c:pt idx="12">
                  <c:v>1/2 CHAMP NICOLAS ROSE 1E C BS 1CT X 375ML</c:v>
                </c:pt>
                <c:pt idx="13">
                  <c:v>CHAMPAGNE NICOLAS BLC/BLC 2002 1CT X 750ML</c:v>
                </c:pt>
                <c:pt idx="14">
                  <c:v>CHAMPAGNE NICOLAS 1ER CRU ETUI 1CT X 750ML</c:v>
                </c:pt>
                <c:pt idx="15">
                  <c:v>CHAMPAGNE NICOLAS BLC DE NOIRS 1CT X 750ML</c:v>
                </c:pt>
                <c:pt idx="16">
                  <c:v>CHAMPAGNE NICOLAS ROSE 1ERE ET 1CT X 750ML</c:v>
                </c:pt>
                <c:pt idx="17">
                  <c:v>CHAMPAGNE NICOLAS 1ERE CUV ETU 1CT X 750ML</c:v>
                </c:pt>
                <c:pt idx="18">
                  <c:v>CHAMPAGNE NICOLAS ROSE 1E C BS 1CT X 750ML</c:v>
                </c:pt>
                <c:pt idx="19">
                  <c:v>MG CHAMPAGNE NICOLAS 1E CRU BS 1CT X 1500ML</c:v>
                </c:pt>
                <c:pt idx="20">
                  <c:v>CHAMPAGNE NICOLAS BLC/BL BS ET 1CT X 750ML</c:v>
                </c:pt>
                <c:pt idx="21">
                  <c:v>CHAMPAGNE NICOLAS BIO 2018 1CT X 750ML</c:v>
                </c:pt>
              </c:strCache>
            </c:strRef>
          </c:cat>
          <c:val>
            <c:numRef>
              <c:f>Sheet1!$B$2:$B$23</c:f>
              <c:numCache>
                <c:formatCode>General</c:formatCode>
                <c:ptCount val="22"/>
                <c:pt idx="0">
                  <c:v>1</c:v>
                </c:pt>
                <c:pt idx="1">
                  <c:v>0.73</c:v>
                </c:pt>
                <c:pt idx="2">
                  <c:v>0.86</c:v>
                </c:pt>
                <c:pt idx="3">
                  <c:v>0.78</c:v>
                </c:pt>
                <c:pt idx="4">
                  <c:v>0.39</c:v>
                </c:pt>
                <c:pt idx="5">
                  <c:v>0.44</c:v>
                </c:pt>
                <c:pt idx="6">
                  <c:v>0.37</c:v>
                </c:pt>
                <c:pt idx="7">
                  <c:v>0.43</c:v>
                </c:pt>
                <c:pt idx="8">
                  <c:v>0.2</c:v>
                </c:pt>
                <c:pt idx="9">
                  <c:v>0.19</c:v>
                </c:pt>
                <c:pt idx="10">
                  <c:v>0.26</c:v>
                </c:pt>
                <c:pt idx="11">
                  <c:v>0.25</c:v>
                </c:pt>
                <c:pt idx="12">
                  <c:v>0.41</c:v>
                </c:pt>
                <c:pt idx="13">
                  <c:v>0.17</c:v>
                </c:pt>
                <c:pt idx="14">
                  <c:v>0.16</c:v>
                </c:pt>
                <c:pt idx="15">
                  <c:v>0.2</c:v>
                </c:pt>
                <c:pt idx="16">
                  <c:v>0.09</c:v>
                </c:pt>
                <c:pt idx="17">
                  <c:v>0.14000000000000001</c:v>
                </c:pt>
                <c:pt idx="18">
                  <c:v>0.08</c:v>
                </c:pt>
                <c:pt idx="19">
                  <c:v>0.04</c:v>
                </c:pt>
                <c:pt idx="20">
                  <c:v>0.03</c:v>
                </c:pt>
                <c:pt idx="21">
                  <c:v>0.02</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7ECAC4"/>
              </a:solidFill>
            </c:spPr>
            <c:extLst>
              <c:ext xmlns:c16="http://schemas.microsoft.com/office/drawing/2014/chart" uri="{C3380CC4-5D6E-409C-BE32-E72D297353CC}">
                <c16:uniqueId val="{00000006-E902-46E2-9A54-39A26B3DFDC1}"/>
              </c:ext>
            </c:extLst>
          </c:dPt>
          <c:dPt>
            <c:idx val="3"/>
            <c:invertIfNegative val="0"/>
            <c:bubble3D val="0"/>
            <c:spPr>
              <a:solidFill>
                <a:srgbClr val="7ECAC4"/>
              </a:solidFill>
            </c:spPr>
            <c:extLst>
              <c:ext xmlns:c16="http://schemas.microsoft.com/office/drawing/2014/chart" uri="{C3380CC4-5D6E-409C-BE32-E72D297353CC}">
                <c16:uniqueId val="{00000007-E902-46E2-9A54-39A26B3DFDC1}"/>
              </c:ext>
            </c:extLst>
          </c:dPt>
          <c:dPt>
            <c:idx val="4"/>
            <c:invertIfNegative val="1"/>
            <c:bubble3D val="0"/>
            <c:spPr>
              <a:solidFill>
                <a:srgbClr val="7ECAC4"/>
              </a:solidFill>
            </c:spPr>
            <c:extLst>
              <c:ext xmlns:c16="http://schemas.microsoft.com/office/drawing/2014/chart" uri="{C3380CC4-5D6E-409C-BE32-E72D297353CC}">
                <c16:uniqueId val="{0000000B-FA3E-4872-B6E1-C4ABDF5766E2}"/>
              </c:ext>
            </c:extLst>
          </c:dPt>
          <c:dPt>
            <c:idx val="5"/>
            <c:invertIfNegative val="1"/>
            <c:bubble3D val="0"/>
            <c:spPr>
              <a:solidFill>
                <a:srgbClr val="7ECAC4"/>
              </a:solidFill>
            </c:spPr>
            <c:extLst>
              <c:ext xmlns:c16="http://schemas.microsoft.com/office/drawing/2014/chart" uri="{C3380CC4-5D6E-409C-BE32-E72D297353CC}">
                <c16:uniqueId val="{0000000D-FA3E-4872-B6E1-C4ABDF5766E2}"/>
              </c:ext>
            </c:extLst>
          </c:dPt>
          <c:dPt>
            <c:idx val="6"/>
            <c:invertIfNegative val="1"/>
            <c:bubble3D val="0"/>
            <c:spPr>
              <a:solidFill>
                <a:srgbClr val="7ECAC4"/>
              </a:solidFill>
            </c:spPr>
            <c:extLst>
              <c:ext xmlns:c16="http://schemas.microsoft.com/office/drawing/2014/chart" uri="{C3380CC4-5D6E-409C-BE32-E72D297353CC}">
                <c16:uniqueId val="{0000000F-FA3E-4872-B6E1-C4ABDF5766E2}"/>
              </c:ext>
            </c:extLst>
          </c:dPt>
          <c:dPt>
            <c:idx val="7"/>
            <c:invertIfNegative val="1"/>
            <c:bubble3D val="0"/>
            <c:spPr>
              <a:solidFill>
                <a:srgbClr val="7ECAC4"/>
              </a:solidFill>
            </c:spPr>
            <c:extLst>
              <c:ext xmlns:c16="http://schemas.microsoft.com/office/drawing/2014/chart" uri="{C3380CC4-5D6E-409C-BE32-E72D297353CC}">
                <c16:uniqueId val="{00000011-FA3E-4872-B6E1-C4ABDF5766E2}"/>
              </c:ext>
            </c:extLst>
          </c:dPt>
          <c:dPt>
            <c:idx val="8"/>
            <c:invertIfNegative val="1"/>
            <c:bubble3D val="0"/>
            <c:spPr>
              <a:solidFill>
                <a:srgbClr val="AEABAB"/>
              </a:solidFill>
            </c:spPr>
            <c:extLst>
              <c:ext xmlns:c16="http://schemas.microsoft.com/office/drawing/2014/chart" uri="{C3380CC4-5D6E-409C-BE32-E72D297353CC}">
                <c16:uniqueId val="{00000013-FA3E-4872-B6E1-C4ABDF5766E2}"/>
              </c:ext>
            </c:extLst>
          </c:dPt>
          <c:dPt>
            <c:idx val="9"/>
            <c:invertIfNegative val="1"/>
            <c:bubble3D val="0"/>
            <c:spPr>
              <a:solidFill>
                <a:srgbClr val="AEABAB"/>
              </a:solidFill>
            </c:spPr>
            <c:extLst>
              <c:ext xmlns:c16="http://schemas.microsoft.com/office/drawing/2014/chart" uri="{C3380CC4-5D6E-409C-BE32-E72D297353CC}">
                <c16:uniqueId val="{00000015-FA3E-4872-B6E1-C4ABDF5766E2}"/>
              </c:ext>
            </c:extLst>
          </c:dPt>
          <c:dPt>
            <c:idx val="10"/>
            <c:invertIfNegative val="1"/>
            <c:bubble3D val="0"/>
            <c:spPr>
              <a:solidFill>
                <a:srgbClr val="AEABAB"/>
              </a:solidFill>
            </c:spPr>
            <c:extLst>
              <c:ext xmlns:c16="http://schemas.microsoft.com/office/drawing/2014/chart" uri="{C3380CC4-5D6E-409C-BE32-E72D297353CC}">
                <c16:uniqueId val="{00000017-FA3E-4872-B6E1-C4ABDF5766E2}"/>
              </c:ext>
            </c:extLst>
          </c:dPt>
          <c:dPt>
            <c:idx val="11"/>
            <c:invertIfNegative val="1"/>
            <c:bubble3D val="0"/>
            <c:spPr>
              <a:solidFill>
                <a:srgbClr val="AEABAB"/>
              </a:solidFill>
            </c:spPr>
            <c:extLst>
              <c:ext xmlns:c16="http://schemas.microsoft.com/office/drawing/2014/chart" uri="{C3380CC4-5D6E-409C-BE32-E72D297353CC}">
                <c16:uniqueId val="{00000019-FA3E-4872-B6E1-C4ABDF5766E2}"/>
              </c:ext>
            </c:extLst>
          </c:dPt>
          <c:dPt>
            <c:idx val="12"/>
            <c:invertIfNegative val="1"/>
            <c:bubble3D val="0"/>
            <c:spPr>
              <a:solidFill>
                <a:srgbClr val="AEABAB"/>
              </a:solidFill>
            </c:spPr>
            <c:extLst>
              <c:ext xmlns:c16="http://schemas.microsoft.com/office/drawing/2014/chart" uri="{C3380CC4-5D6E-409C-BE32-E72D297353CC}">
                <c16:uniqueId val="{0000001B-FA3E-4872-B6E1-C4ABDF5766E2}"/>
              </c:ext>
            </c:extLst>
          </c:dPt>
          <c:dPt>
            <c:idx val="13"/>
            <c:invertIfNegative val="1"/>
            <c:bubble3D val="0"/>
            <c:spPr>
              <a:solidFill>
                <a:srgbClr val="AEABAB"/>
              </a:solidFill>
            </c:spPr>
            <c:extLst>
              <c:ext xmlns:c16="http://schemas.microsoft.com/office/drawing/2014/chart" uri="{C3380CC4-5D6E-409C-BE32-E72D297353CC}">
                <c16:uniqueId val="{0000001D-FA3E-4872-B6E1-C4ABDF5766E2}"/>
              </c:ext>
            </c:extLst>
          </c:dPt>
          <c:dPt>
            <c:idx val="14"/>
            <c:invertIfNegative val="1"/>
            <c:bubble3D val="0"/>
            <c:spPr>
              <a:solidFill>
                <a:srgbClr val="AEABAB"/>
              </a:solidFill>
            </c:spPr>
            <c:extLst>
              <c:ext xmlns:c16="http://schemas.microsoft.com/office/drawing/2014/chart" uri="{C3380CC4-5D6E-409C-BE32-E72D297353CC}">
                <c16:uniqueId val="{0000001F-FA3E-4872-B6E1-C4ABDF5766E2}"/>
              </c:ext>
            </c:extLst>
          </c:dPt>
          <c:dPt>
            <c:idx val="15"/>
            <c:invertIfNegative val="1"/>
            <c:bubble3D val="0"/>
            <c:spPr>
              <a:solidFill>
                <a:srgbClr val="AEABAB"/>
              </a:solidFill>
            </c:spPr>
            <c:extLst>
              <c:ext xmlns:c16="http://schemas.microsoft.com/office/drawing/2014/chart" uri="{C3380CC4-5D6E-409C-BE32-E72D297353CC}">
                <c16:uniqueId val="{00000021-FA3E-4872-B6E1-C4ABDF5766E2}"/>
              </c:ext>
            </c:extLst>
          </c:dPt>
          <c:dPt>
            <c:idx val="16"/>
            <c:invertIfNegative val="1"/>
            <c:bubble3D val="0"/>
            <c:spPr>
              <a:solidFill>
                <a:srgbClr val="AEABAB"/>
              </a:solidFill>
            </c:spPr>
            <c:extLst>
              <c:ext xmlns:c16="http://schemas.microsoft.com/office/drawing/2014/chart" uri="{C3380CC4-5D6E-409C-BE32-E72D297353CC}">
                <c16:uniqueId val="{00000023-FA3E-4872-B6E1-C4ABDF5766E2}"/>
              </c:ext>
            </c:extLst>
          </c:dPt>
          <c:dPt>
            <c:idx val="17"/>
            <c:invertIfNegative val="1"/>
            <c:bubble3D val="0"/>
            <c:spPr>
              <a:solidFill>
                <a:srgbClr val="AEABAB"/>
              </a:solidFill>
            </c:spPr>
            <c:extLst>
              <c:ext xmlns:c16="http://schemas.microsoft.com/office/drawing/2014/chart" uri="{C3380CC4-5D6E-409C-BE32-E72D297353CC}">
                <c16:uniqueId val="{00000025-FA3E-4872-B6E1-C4ABDF5766E2}"/>
              </c:ext>
            </c:extLst>
          </c:dPt>
          <c:dPt>
            <c:idx val="18"/>
            <c:invertIfNegative val="1"/>
            <c:bubble3D val="0"/>
            <c:spPr>
              <a:solidFill>
                <a:srgbClr val="AEABAB"/>
              </a:solidFill>
            </c:spPr>
            <c:extLst>
              <c:ext xmlns:c16="http://schemas.microsoft.com/office/drawing/2014/chart" uri="{C3380CC4-5D6E-409C-BE32-E72D297353CC}">
                <c16:uniqueId val="{00000027-FA3E-4872-B6E1-C4ABDF5766E2}"/>
              </c:ext>
            </c:extLst>
          </c:dPt>
          <c:dPt>
            <c:idx val="19"/>
            <c:invertIfNegative val="1"/>
            <c:bubble3D val="0"/>
            <c:spPr>
              <a:solidFill>
                <a:srgbClr val="AEABAB"/>
              </a:solidFill>
            </c:spPr>
            <c:extLst>
              <c:ext xmlns:c16="http://schemas.microsoft.com/office/drawing/2014/chart" uri="{C3380CC4-5D6E-409C-BE32-E72D297353CC}">
                <c16:uniqueId val="{00000029-FA3E-4872-B6E1-C4ABDF5766E2}"/>
              </c:ext>
            </c:extLst>
          </c:dPt>
          <c:dPt>
            <c:idx val="20"/>
            <c:invertIfNegative val="1"/>
            <c:bubble3D val="0"/>
            <c:spPr>
              <a:solidFill>
                <a:srgbClr val="AEABAB"/>
              </a:solidFill>
            </c:spPr>
            <c:extLst>
              <c:ext xmlns:c16="http://schemas.microsoft.com/office/drawing/2014/chart" uri="{C3380CC4-5D6E-409C-BE32-E72D297353CC}">
                <c16:uniqueId val="{0000002B-FA3E-4872-B6E1-C4ABDF5766E2}"/>
              </c:ext>
            </c:extLst>
          </c:dPt>
          <c:dPt>
            <c:idx val="21"/>
            <c:invertIfNegative val="1"/>
            <c:bubble3D val="0"/>
            <c:spPr>
              <a:solidFill>
                <a:srgbClr val="AEABAB"/>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23</c:f>
              <c:strCache>
                <c:ptCount val="22"/>
                <c:pt idx="0">
                  <c:v>CHAMPAGNE E.NICOLAS BRUT 1CT X 750ML</c:v>
                </c:pt>
                <c:pt idx="1">
                  <c:v>CHAMPAGNE NICOLAS BLC/BLC BS 1CT X 750ML</c:v>
                </c:pt>
                <c:pt idx="2">
                  <c:v>CHAMPAGNE E.NICOLAS ROSE 1CT X 750ML</c:v>
                </c:pt>
                <c:pt idx="3">
                  <c:v>CHAMPAGNE NICOLAS 1ERE CUVEE 1CT X 750ML</c:v>
                </c:pt>
                <c:pt idx="4">
                  <c:v>MG CHAMPAGNE E.NICOLAS BRUT 1CT X 1500ML</c:v>
                </c:pt>
                <c:pt idx="5">
                  <c:v>1/2 CHAMPAGNE NICOLAS 1ERE CUV 1CT X 375ML</c:v>
                </c:pt>
                <c:pt idx="6">
                  <c:v>1/2 CHAMP NICOLAS BLC/BLC BS 1CT X 375ML</c:v>
                </c:pt>
                <c:pt idx="7">
                  <c:v>CHAMPAGNE NICOLAS ROSE 1ERE CU 1CT X 750ML</c:v>
                </c:pt>
                <c:pt idx="8">
                  <c:v>MG CHAMPAGNE NICOLAS BLC/BL BS 1CT X 1500ML</c:v>
                </c:pt>
                <c:pt idx="9">
                  <c:v>CHAMPAGNE NICOLAS BIO NAT 2017 1CT X 750ML</c:v>
                </c:pt>
                <c:pt idx="10">
                  <c:v>MG CHAMPAGNE NICOLAS 1ERE CUVE 1CT X 1500ML</c:v>
                </c:pt>
                <c:pt idx="11">
                  <c:v>CHAMPAGNE NICOLAS 1ER CRU BS 1CT X 750ML</c:v>
                </c:pt>
                <c:pt idx="12">
                  <c:v>1/2 CHAMP NICOLAS ROSE 1E C BS 1CT X 375ML</c:v>
                </c:pt>
                <c:pt idx="13">
                  <c:v>CHAMPAGNE NICOLAS BLC/BLC 2002 1CT X 750ML</c:v>
                </c:pt>
                <c:pt idx="14">
                  <c:v>CHAMPAGNE NICOLAS 1ER CRU ETUI 1CT X 750ML</c:v>
                </c:pt>
                <c:pt idx="15">
                  <c:v>CHAMPAGNE NICOLAS BLC DE NOIRS 1CT X 750ML</c:v>
                </c:pt>
                <c:pt idx="16">
                  <c:v>CHAMPAGNE NICOLAS ROSE 1ERE ET 1CT X 750ML</c:v>
                </c:pt>
                <c:pt idx="17">
                  <c:v>CHAMPAGNE NICOLAS 1ERE CUV ETU 1CT X 750ML</c:v>
                </c:pt>
                <c:pt idx="18">
                  <c:v>CHAMPAGNE NICOLAS ROSE 1E C BS 1CT X 750ML</c:v>
                </c:pt>
                <c:pt idx="19">
                  <c:v>MG CHAMPAGNE NICOLAS 1E CRU BS 1CT X 1500ML</c:v>
                </c:pt>
                <c:pt idx="20">
                  <c:v>CHAMPAGNE NICOLAS BLC/BL BS ET 1CT X 750ML</c:v>
                </c:pt>
                <c:pt idx="21">
                  <c:v>CHAMPAGNE NICOLAS BIO 2018 1CT X 750ML</c:v>
                </c:pt>
              </c:strCache>
            </c:strRef>
          </c:cat>
          <c:val>
            <c:numRef>
              <c:f>Sheet1!$C$2:$C$23</c:f>
              <c:numCache>
                <c:formatCode>General</c:formatCode>
                <c:ptCount val="22"/>
                <c:pt idx="0">
                  <c:v>0.72793603642018267</c:v>
                </c:pt>
                <c:pt idx="1">
                  <c:v>0.79492881927657377</c:v>
                </c:pt>
                <c:pt idx="2">
                  <c:v>0.84345630323099152</c:v>
                </c:pt>
                <c:pt idx="3">
                  <c:v>0.87858459655802656</c:v>
                </c:pt>
                <c:pt idx="4">
                  <c:v>0.90226817719965968</c:v>
                </c:pt>
                <c:pt idx="5">
                  <c:v>0.91695291657882361</c:v>
                </c:pt>
                <c:pt idx="6">
                  <c:v>0.92952307884963215</c:v>
                </c:pt>
                <c:pt idx="7">
                  <c:v>0.94136566174057923</c:v>
                </c:pt>
                <c:pt idx="8">
                  <c:v>0.95185770512903844</c:v>
                </c:pt>
                <c:pt idx="9">
                  <c:v>0.9597517036294958</c:v>
                </c:pt>
                <c:pt idx="10">
                  <c:v>0.96755534913506835</c:v>
                </c:pt>
                <c:pt idx="11">
                  <c:v>0.97447607151518811</c:v>
                </c:pt>
                <c:pt idx="12">
                  <c:v>0.98133972884590703</c:v>
                </c:pt>
                <c:pt idx="13">
                  <c:v>0.98719523697054345</c:v>
                </c:pt>
                <c:pt idx="14">
                  <c:v>0.99070949292948196</c:v>
                </c:pt>
                <c:pt idx="15">
                  <c:v>0.99383221924391985</c:v>
                </c:pt>
                <c:pt idx="16">
                  <c:v>0.99603397906663771</c:v>
                </c:pt>
                <c:pt idx="17">
                  <c:v>0.9977094723226585</c:v>
                </c:pt>
                <c:pt idx="18">
                  <c:v>0.99932473024875612</c:v>
                </c:pt>
                <c:pt idx="19">
                  <c:v>0.99980344260761922</c:v>
                </c:pt>
                <c:pt idx="20">
                  <c:v>0.99992708354798787</c:v>
                </c:pt>
                <c:pt idx="21">
                  <c:v>1.000000000000000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23</c:f>
              <c:strCache>
                <c:ptCount val="22"/>
                <c:pt idx="0">
                  <c:v>CHAMPAGNE E.NICOLAS BRUT 1CT X 750ML</c:v>
                </c:pt>
                <c:pt idx="1">
                  <c:v>CHAMPAGNE NICOLAS BLC/BLC BS 1CT X 750ML</c:v>
                </c:pt>
                <c:pt idx="2">
                  <c:v>CHAMPAGNE E.NICOLAS ROSE 1CT X 750ML</c:v>
                </c:pt>
                <c:pt idx="3">
                  <c:v>CHAMPAGNE NICOLAS 1ERE CUVEE 1CT X 750ML</c:v>
                </c:pt>
                <c:pt idx="4">
                  <c:v>MG CHAMPAGNE E.NICOLAS BRUT 1CT X 1500ML</c:v>
                </c:pt>
                <c:pt idx="5">
                  <c:v>1/2 CHAMPAGNE NICOLAS 1ERE CUV 1CT X 375ML</c:v>
                </c:pt>
                <c:pt idx="6">
                  <c:v>1/2 CHAMP NICOLAS BLC/BLC BS 1CT X 375ML</c:v>
                </c:pt>
                <c:pt idx="7">
                  <c:v>CHAMPAGNE NICOLAS ROSE 1ERE CU 1CT X 750ML</c:v>
                </c:pt>
                <c:pt idx="8">
                  <c:v>MG CHAMPAGNE NICOLAS BLC/BL BS 1CT X 1500ML</c:v>
                </c:pt>
                <c:pt idx="9">
                  <c:v>CHAMPAGNE NICOLAS BIO NAT 2017 1CT X 750ML</c:v>
                </c:pt>
                <c:pt idx="10">
                  <c:v>MG CHAMPAGNE NICOLAS 1ERE CUVE 1CT X 1500ML</c:v>
                </c:pt>
                <c:pt idx="11">
                  <c:v>CHAMPAGNE NICOLAS 1ER CRU BS 1CT X 750ML</c:v>
                </c:pt>
                <c:pt idx="12">
                  <c:v>1/2 CHAMP NICOLAS ROSE 1E C BS 1CT X 375ML</c:v>
                </c:pt>
                <c:pt idx="13">
                  <c:v>CHAMPAGNE NICOLAS BLC/BLC 2002 1CT X 750ML</c:v>
                </c:pt>
                <c:pt idx="14">
                  <c:v>CHAMPAGNE NICOLAS 1ER CRU ETUI 1CT X 750ML</c:v>
                </c:pt>
                <c:pt idx="15">
                  <c:v>CHAMPAGNE NICOLAS BLC DE NOIRS 1CT X 750ML</c:v>
                </c:pt>
                <c:pt idx="16">
                  <c:v>CHAMPAGNE NICOLAS ROSE 1ERE ET 1CT X 750ML</c:v>
                </c:pt>
                <c:pt idx="17">
                  <c:v>CHAMPAGNE NICOLAS 1ERE CUV ETU 1CT X 750ML</c:v>
                </c:pt>
                <c:pt idx="18">
                  <c:v>CHAMPAGNE NICOLAS ROSE 1E C BS 1CT X 750ML</c:v>
                </c:pt>
                <c:pt idx="19">
                  <c:v>MG CHAMPAGNE NICOLAS 1E CRU BS 1CT X 1500ML</c:v>
                </c:pt>
                <c:pt idx="20">
                  <c:v>CHAMPAGNE NICOLAS BLC/BL BS ET 1CT X 750ML</c:v>
                </c:pt>
                <c:pt idx="21">
                  <c:v>CHAMPAGNE NICOLAS BIO 2018 1CT X 750ML</c:v>
                </c:pt>
              </c:strCache>
            </c:strRef>
          </c:cat>
          <c:val>
            <c:numRef>
              <c:f>Sheet1!$D$2:$D$23</c:f>
              <c:numCache>
                <c:formatCode>General</c:formatCode>
                <c:ptCount val="22"/>
                <c:pt idx="0">
                  <c:v>4592.25</c:v>
                </c:pt>
                <c:pt idx="1">
                  <c:v>578.94520547945206</c:v>
                </c:pt>
                <c:pt idx="2">
                  <c:v>355.97674418604652</c:v>
                </c:pt>
                <c:pt idx="3">
                  <c:v>284.11538461538464</c:v>
                </c:pt>
                <c:pt idx="4">
                  <c:v>383.10256410256409</c:v>
                </c:pt>
                <c:pt idx="5">
                  <c:v>210.54545454545453</c:v>
                </c:pt>
                <c:pt idx="6">
                  <c:v>214.32432432432432</c:v>
                </c:pt>
                <c:pt idx="7">
                  <c:v>173.74418604651163</c:v>
                </c:pt>
                <c:pt idx="8">
                  <c:v>330.95</c:v>
                </c:pt>
                <c:pt idx="9">
                  <c:v>262.10526315789474</c:v>
                </c:pt>
                <c:pt idx="10">
                  <c:v>189.34615384615384</c:v>
                </c:pt>
                <c:pt idx="11">
                  <c:v>174.64</c:v>
                </c:pt>
                <c:pt idx="12">
                  <c:v>105.60975609756098</c:v>
                </c:pt>
                <c:pt idx="13">
                  <c:v>217.29411764705881</c:v>
                </c:pt>
                <c:pt idx="14">
                  <c:v>138.5625</c:v>
                </c:pt>
                <c:pt idx="15">
                  <c:v>98.5</c:v>
                </c:pt>
                <c:pt idx="16">
                  <c:v>154.33333333333334</c:v>
                </c:pt>
                <c:pt idx="17">
                  <c:v>75.499999999999986</c:v>
                </c:pt>
                <c:pt idx="18">
                  <c:v>127.375</c:v>
                </c:pt>
                <c:pt idx="19">
                  <c:v>75.5</c:v>
                </c:pt>
                <c:pt idx="20">
                  <c:v>26</c:v>
                </c:pt>
                <c:pt idx="21">
                  <c:v>23</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23</c:f>
              <c:strCache>
                <c:ptCount val="22"/>
                <c:pt idx="0">
                  <c:v>CHAMPAGNE E.NICOLAS BRUT 1CT X 750ML</c:v>
                </c:pt>
                <c:pt idx="1">
                  <c:v>CHAMPAGNE E.NICOLAS ROSE 1CT X 750ML</c:v>
                </c:pt>
                <c:pt idx="2">
                  <c:v>CHAMPAGNE NICOLAS BLC/BLC BS 1CT X 750ML</c:v>
                </c:pt>
                <c:pt idx="3">
                  <c:v>CHAMPAGNE NICOLAS 1ERE CUVEE 1CT X 750ML</c:v>
                </c:pt>
                <c:pt idx="4">
                  <c:v>MG CHAMPAGNE E.NICOLAS BRUT 1CT X 1500ML</c:v>
                </c:pt>
                <c:pt idx="5">
                  <c:v>1/2 CHAMPAGNE NICOLAS 1ERE CUV 1CT X 375ML</c:v>
                </c:pt>
                <c:pt idx="6">
                  <c:v>MG CHAMPAGNE NICOLAS BLC/BL BS 1CT X 1500ML</c:v>
                </c:pt>
                <c:pt idx="7">
                  <c:v>CHAMPAGNE NICOLAS ROSE 1ERE CU 1CT X 750ML</c:v>
                </c:pt>
                <c:pt idx="8">
                  <c:v>CHAMPAGNE NICOLAS BIO NAT 2017 1CT X 750ML</c:v>
                </c:pt>
                <c:pt idx="9">
                  <c:v>1/2 CHAMP NICOLAS ROSE 1E C BS 1CT X 375ML</c:v>
                </c:pt>
                <c:pt idx="10">
                  <c:v>1/2 CHAMP NICOLAS BLC/BLC BS 1CT X 375ML</c:v>
                </c:pt>
                <c:pt idx="11">
                  <c:v>CHAMPAGNE NICOLAS BLC DE NOIRS 1CT X 750ML</c:v>
                </c:pt>
                <c:pt idx="12">
                  <c:v>MG CHAMPAGNE NICOLAS 1ERE CUVE 1CT X 1500ML</c:v>
                </c:pt>
                <c:pt idx="13">
                  <c:v>CHAMPAGNE NICOLAS 1ER CRU BS 1CT X 750ML</c:v>
                </c:pt>
                <c:pt idx="14">
                  <c:v>CHAMPAGNE NICOLAS BLC/BLC 2002 1CT X 750ML</c:v>
                </c:pt>
                <c:pt idx="15">
                  <c:v>CHAMPAGNE NICOLAS 1ER CRU ETUI 1CT X 750ML</c:v>
                </c:pt>
                <c:pt idx="16">
                  <c:v>CHAMPAGNE NICOLAS ROSE 1ERE ET 1CT X 750ML</c:v>
                </c:pt>
                <c:pt idx="17">
                  <c:v>CHAMPAGNE NICOLAS ROSE 1E C BS 1CT X 750ML</c:v>
                </c:pt>
                <c:pt idx="18">
                  <c:v>CHAMPAGNE NICOLAS 1ERE CUV ETU 1CT X 750ML</c:v>
                </c:pt>
                <c:pt idx="19">
                  <c:v>CHAMPAGNE NICOLAS BLC/BL BS ET 1CT X 750ML</c:v>
                </c:pt>
                <c:pt idx="20">
                  <c:v>MG CHAMPAGNE NICOLAS 1E CRU BS 1CT X 1500ML</c:v>
                </c:pt>
                <c:pt idx="21">
                  <c:v>1/2 CHAMPAGNE NICOLAS 1E C BS 1CT X 375ML</c:v>
                </c:pt>
              </c:strCache>
            </c:strRef>
          </c:cat>
          <c:val>
            <c:numRef>
              <c:f>Sheet1!$B$2:$B$23</c:f>
              <c:numCache>
                <c:formatCode>General</c:formatCode>
                <c:ptCount val="22"/>
                <c:pt idx="0">
                  <c:v>1</c:v>
                </c:pt>
                <c:pt idx="1">
                  <c:v>0.72</c:v>
                </c:pt>
                <c:pt idx="2">
                  <c:v>0.63</c:v>
                </c:pt>
                <c:pt idx="3">
                  <c:v>0.72</c:v>
                </c:pt>
                <c:pt idx="4">
                  <c:v>0.4</c:v>
                </c:pt>
                <c:pt idx="5">
                  <c:v>0.56000000000000005</c:v>
                </c:pt>
                <c:pt idx="6">
                  <c:v>0.27</c:v>
                </c:pt>
                <c:pt idx="7">
                  <c:v>0.5</c:v>
                </c:pt>
                <c:pt idx="8">
                  <c:v>0.26</c:v>
                </c:pt>
                <c:pt idx="9">
                  <c:v>0.47</c:v>
                </c:pt>
                <c:pt idx="10">
                  <c:v>0.33</c:v>
                </c:pt>
                <c:pt idx="11">
                  <c:v>0.33</c:v>
                </c:pt>
                <c:pt idx="12">
                  <c:v>0.14000000000000001</c:v>
                </c:pt>
                <c:pt idx="13">
                  <c:v>0.33</c:v>
                </c:pt>
                <c:pt idx="14">
                  <c:v>0.19</c:v>
                </c:pt>
                <c:pt idx="15">
                  <c:v>0.22</c:v>
                </c:pt>
                <c:pt idx="16">
                  <c:v>0.12</c:v>
                </c:pt>
                <c:pt idx="17">
                  <c:v>0.13</c:v>
                </c:pt>
                <c:pt idx="18">
                  <c:v>0.09</c:v>
                </c:pt>
                <c:pt idx="19">
                  <c:v>0.05</c:v>
                </c:pt>
                <c:pt idx="20">
                  <c:v>0.06</c:v>
                </c:pt>
                <c:pt idx="21">
                  <c:v>0.01</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7ECAC4"/>
              </a:solidFill>
            </c:spPr>
            <c:extLst>
              <c:ext xmlns:c16="http://schemas.microsoft.com/office/drawing/2014/chart" uri="{C3380CC4-5D6E-409C-BE32-E72D297353CC}">
                <c16:uniqueId val="{00000007-E902-46E2-9A54-39A26B3DFDC1}"/>
              </c:ext>
            </c:extLst>
          </c:dPt>
          <c:dPt>
            <c:idx val="4"/>
            <c:invertIfNegative val="1"/>
            <c:bubble3D val="0"/>
            <c:spPr>
              <a:solidFill>
                <a:srgbClr val="7ECAC4"/>
              </a:solidFill>
            </c:spPr>
            <c:extLst>
              <c:ext xmlns:c16="http://schemas.microsoft.com/office/drawing/2014/chart" uri="{C3380CC4-5D6E-409C-BE32-E72D297353CC}">
                <c16:uniqueId val="{0000000B-FA3E-4872-B6E1-C4ABDF5766E2}"/>
              </c:ext>
            </c:extLst>
          </c:dPt>
          <c:dPt>
            <c:idx val="5"/>
            <c:invertIfNegative val="1"/>
            <c:bubble3D val="0"/>
            <c:spPr>
              <a:solidFill>
                <a:srgbClr val="7ECAC4"/>
              </a:solidFill>
            </c:spPr>
            <c:extLst>
              <c:ext xmlns:c16="http://schemas.microsoft.com/office/drawing/2014/chart" uri="{C3380CC4-5D6E-409C-BE32-E72D297353CC}">
                <c16:uniqueId val="{0000000D-FA3E-4872-B6E1-C4ABDF5766E2}"/>
              </c:ext>
            </c:extLst>
          </c:dPt>
          <c:dPt>
            <c:idx val="6"/>
            <c:invertIfNegative val="1"/>
            <c:bubble3D val="0"/>
            <c:spPr>
              <a:solidFill>
                <a:srgbClr val="7ECAC4"/>
              </a:solidFill>
            </c:spPr>
            <c:extLst>
              <c:ext xmlns:c16="http://schemas.microsoft.com/office/drawing/2014/chart" uri="{C3380CC4-5D6E-409C-BE32-E72D297353CC}">
                <c16:uniqueId val="{0000000F-FA3E-4872-B6E1-C4ABDF5766E2}"/>
              </c:ext>
            </c:extLst>
          </c:dPt>
          <c:dPt>
            <c:idx val="7"/>
            <c:invertIfNegative val="1"/>
            <c:bubble3D val="0"/>
            <c:spPr>
              <a:solidFill>
                <a:srgbClr val="7ECAC4"/>
              </a:solidFill>
            </c:spPr>
            <c:extLst>
              <c:ext xmlns:c16="http://schemas.microsoft.com/office/drawing/2014/chart" uri="{C3380CC4-5D6E-409C-BE32-E72D297353CC}">
                <c16:uniqueId val="{00000011-FA3E-4872-B6E1-C4ABDF5766E2}"/>
              </c:ext>
            </c:extLst>
          </c:dPt>
          <c:dPt>
            <c:idx val="8"/>
            <c:invertIfNegative val="1"/>
            <c:bubble3D val="0"/>
            <c:spPr>
              <a:solidFill>
                <a:srgbClr val="7ECAC4"/>
              </a:solidFill>
            </c:spPr>
            <c:extLst>
              <c:ext xmlns:c16="http://schemas.microsoft.com/office/drawing/2014/chart" uri="{C3380CC4-5D6E-409C-BE32-E72D297353CC}">
                <c16:uniqueId val="{00000013-FA3E-4872-B6E1-C4ABDF5766E2}"/>
              </c:ext>
            </c:extLst>
          </c:dPt>
          <c:dPt>
            <c:idx val="9"/>
            <c:invertIfNegative val="1"/>
            <c:bubble3D val="0"/>
            <c:spPr>
              <a:solidFill>
                <a:srgbClr val="7ECAC4"/>
              </a:solidFill>
            </c:spPr>
            <c:extLst>
              <c:ext xmlns:c16="http://schemas.microsoft.com/office/drawing/2014/chart" uri="{C3380CC4-5D6E-409C-BE32-E72D297353CC}">
                <c16:uniqueId val="{00000015-FA3E-4872-B6E1-C4ABDF5766E2}"/>
              </c:ext>
            </c:extLst>
          </c:dPt>
          <c:dPt>
            <c:idx val="10"/>
            <c:invertIfNegative val="1"/>
            <c:bubble3D val="0"/>
            <c:spPr>
              <a:solidFill>
                <a:srgbClr val="7ECAC4"/>
              </a:solidFill>
            </c:spPr>
            <c:extLst>
              <c:ext xmlns:c16="http://schemas.microsoft.com/office/drawing/2014/chart" uri="{C3380CC4-5D6E-409C-BE32-E72D297353CC}">
                <c16:uniqueId val="{00000017-FA3E-4872-B6E1-C4ABDF5766E2}"/>
              </c:ext>
            </c:extLst>
          </c:dPt>
          <c:dPt>
            <c:idx val="11"/>
            <c:invertIfNegative val="1"/>
            <c:bubble3D val="0"/>
            <c:spPr>
              <a:solidFill>
                <a:srgbClr val="AEABAB"/>
              </a:solidFill>
            </c:spPr>
            <c:extLst>
              <c:ext xmlns:c16="http://schemas.microsoft.com/office/drawing/2014/chart" uri="{C3380CC4-5D6E-409C-BE32-E72D297353CC}">
                <c16:uniqueId val="{00000019-FA3E-4872-B6E1-C4ABDF5766E2}"/>
              </c:ext>
            </c:extLst>
          </c:dPt>
          <c:dPt>
            <c:idx val="12"/>
            <c:invertIfNegative val="1"/>
            <c:bubble3D val="0"/>
            <c:spPr>
              <a:solidFill>
                <a:srgbClr val="AEABAB"/>
              </a:solidFill>
            </c:spPr>
            <c:extLst>
              <c:ext xmlns:c16="http://schemas.microsoft.com/office/drawing/2014/chart" uri="{C3380CC4-5D6E-409C-BE32-E72D297353CC}">
                <c16:uniqueId val="{0000001B-FA3E-4872-B6E1-C4ABDF5766E2}"/>
              </c:ext>
            </c:extLst>
          </c:dPt>
          <c:dPt>
            <c:idx val="13"/>
            <c:invertIfNegative val="1"/>
            <c:bubble3D val="0"/>
            <c:spPr>
              <a:solidFill>
                <a:srgbClr val="AEABAB"/>
              </a:solidFill>
            </c:spPr>
            <c:extLst>
              <c:ext xmlns:c16="http://schemas.microsoft.com/office/drawing/2014/chart" uri="{C3380CC4-5D6E-409C-BE32-E72D297353CC}">
                <c16:uniqueId val="{0000001D-FA3E-4872-B6E1-C4ABDF5766E2}"/>
              </c:ext>
            </c:extLst>
          </c:dPt>
          <c:dPt>
            <c:idx val="14"/>
            <c:invertIfNegative val="1"/>
            <c:bubble3D val="0"/>
            <c:spPr>
              <a:solidFill>
                <a:srgbClr val="AEABAB"/>
              </a:solidFill>
            </c:spPr>
            <c:extLst>
              <c:ext xmlns:c16="http://schemas.microsoft.com/office/drawing/2014/chart" uri="{C3380CC4-5D6E-409C-BE32-E72D297353CC}">
                <c16:uniqueId val="{0000001F-FA3E-4872-B6E1-C4ABDF5766E2}"/>
              </c:ext>
            </c:extLst>
          </c:dPt>
          <c:dPt>
            <c:idx val="15"/>
            <c:invertIfNegative val="1"/>
            <c:bubble3D val="0"/>
            <c:spPr>
              <a:solidFill>
                <a:srgbClr val="AEABAB"/>
              </a:solidFill>
            </c:spPr>
            <c:extLst>
              <c:ext xmlns:c16="http://schemas.microsoft.com/office/drawing/2014/chart" uri="{C3380CC4-5D6E-409C-BE32-E72D297353CC}">
                <c16:uniqueId val="{00000021-FA3E-4872-B6E1-C4ABDF5766E2}"/>
              </c:ext>
            </c:extLst>
          </c:dPt>
          <c:dPt>
            <c:idx val="16"/>
            <c:invertIfNegative val="1"/>
            <c:bubble3D val="0"/>
            <c:spPr>
              <a:solidFill>
                <a:srgbClr val="AEABAB"/>
              </a:solidFill>
            </c:spPr>
            <c:extLst>
              <c:ext xmlns:c16="http://schemas.microsoft.com/office/drawing/2014/chart" uri="{C3380CC4-5D6E-409C-BE32-E72D297353CC}">
                <c16:uniqueId val="{00000023-FA3E-4872-B6E1-C4ABDF5766E2}"/>
              </c:ext>
            </c:extLst>
          </c:dPt>
          <c:dPt>
            <c:idx val="17"/>
            <c:invertIfNegative val="1"/>
            <c:bubble3D val="0"/>
            <c:spPr>
              <a:solidFill>
                <a:srgbClr val="AEABAB"/>
              </a:solidFill>
            </c:spPr>
            <c:extLst>
              <c:ext xmlns:c16="http://schemas.microsoft.com/office/drawing/2014/chart" uri="{C3380CC4-5D6E-409C-BE32-E72D297353CC}">
                <c16:uniqueId val="{00000025-FA3E-4872-B6E1-C4ABDF5766E2}"/>
              </c:ext>
            </c:extLst>
          </c:dPt>
          <c:dPt>
            <c:idx val="18"/>
            <c:invertIfNegative val="1"/>
            <c:bubble3D val="0"/>
            <c:spPr>
              <a:solidFill>
                <a:srgbClr val="AEABAB"/>
              </a:solidFill>
            </c:spPr>
            <c:extLst>
              <c:ext xmlns:c16="http://schemas.microsoft.com/office/drawing/2014/chart" uri="{C3380CC4-5D6E-409C-BE32-E72D297353CC}">
                <c16:uniqueId val="{00000027-FA3E-4872-B6E1-C4ABDF5766E2}"/>
              </c:ext>
            </c:extLst>
          </c:dPt>
          <c:dPt>
            <c:idx val="19"/>
            <c:invertIfNegative val="1"/>
            <c:bubble3D val="0"/>
            <c:spPr>
              <a:solidFill>
                <a:srgbClr val="AEABAB"/>
              </a:solidFill>
            </c:spPr>
            <c:extLst>
              <c:ext xmlns:c16="http://schemas.microsoft.com/office/drawing/2014/chart" uri="{C3380CC4-5D6E-409C-BE32-E72D297353CC}">
                <c16:uniqueId val="{00000029-FA3E-4872-B6E1-C4ABDF5766E2}"/>
              </c:ext>
            </c:extLst>
          </c:dPt>
          <c:dPt>
            <c:idx val="20"/>
            <c:invertIfNegative val="1"/>
            <c:bubble3D val="0"/>
            <c:spPr>
              <a:solidFill>
                <a:srgbClr val="AEABAB"/>
              </a:solidFill>
            </c:spPr>
            <c:extLst>
              <c:ext xmlns:c16="http://schemas.microsoft.com/office/drawing/2014/chart" uri="{C3380CC4-5D6E-409C-BE32-E72D297353CC}">
                <c16:uniqueId val="{0000002B-FA3E-4872-B6E1-C4ABDF5766E2}"/>
              </c:ext>
            </c:extLst>
          </c:dPt>
          <c:dPt>
            <c:idx val="21"/>
            <c:invertIfNegative val="1"/>
            <c:bubble3D val="0"/>
            <c:spPr>
              <a:solidFill>
                <a:srgbClr val="AEABAB"/>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23</c:f>
              <c:strCache>
                <c:ptCount val="22"/>
                <c:pt idx="0">
                  <c:v>CHAMPAGNE E.NICOLAS BRUT 1CT X 750ML</c:v>
                </c:pt>
                <c:pt idx="1">
                  <c:v>CHAMPAGNE E.NICOLAS ROSE 1CT X 750ML</c:v>
                </c:pt>
                <c:pt idx="2">
                  <c:v>CHAMPAGNE NICOLAS BLC/BLC BS 1CT X 750ML</c:v>
                </c:pt>
                <c:pt idx="3">
                  <c:v>CHAMPAGNE NICOLAS 1ERE CUVEE 1CT X 750ML</c:v>
                </c:pt>
                <c:pt idx="4">
                  <c:v>MG CHAMPAGNE E.NICOLAS BRUT 1CT X 1500ML</c:v>
                </c:pt>
                <c:pt idx="5">
                  <c:v>1/2 CHAMPAGNE NICOLAS 1ERE CUV 1CT X 375ML</c:v>
                </c:pt>
                <c:pt idx="6">
                  <c:v>MG CHAMPAGNE NICOLAS BLC/BL BS 1CT X 1500ML</c:v>
                </c:pt>
                <c:pt idx="7">
                  <c:v>CHAMPAGNE NICOLAS ROSE 1ERE CU 1CT X 750ML</c:v>
                </c:pt>
                <c:pt idx="8">
                  <c:v>CHAMPAGNE NICOLAS BIO NAT 2017 1CT X 750ML</c:v>
                </c:pt>
                <c:pt idx="9">
                  <c:v>1/2 CHAMP NICOLAS ROSE 1E C BS 1CT X 375ML</c:v>
                </c:pt>
                <c:pt idx="10">
                  <c:v>1/2 CHAMP NICOLAS BLC/BLC BS 1CT X 375ML</c:v>
                </c:pt>
                <c:pt idx="11">
                  <c:v>CHAMPAGNE NICOLAS BLC DE NOIRS 1CT X 750ML</c:v>
                </c:pt>
                <c:pt idx="12">
                  <c:v>MG CHAMPAGNE NICOLAS 1ERE CUVE 1CT X 1500ML</c:v>
                </c:pt>
                <c:pt idx="13">
                  <c:v>CHAMPAGNE NICOLAS 1ER CRU BS 1CT X 750ML</c:v>
                </c:pt>
                <c:pt idx="14">
                  <c:v>CHAMPAGNE NICOLAS BLC/BLC 2002 1CT X 750ML</c:v>
                </c:pt>
                <c:pt idx="15">
                  <c:v>CHAMPAGNE NICOLAS 1ER CRU ETUI 1CT X 750ML</c:v>
                </c:pt>
                <c:pt idx="16">
                  <c:v>CHAMPAGNE NICOLAS ROSE 1ERE ET 1CT X 750ML</c:v>
                </c:pt>
                <c:pt idx="17">
                  <c:v>CHAMPAGNE NICOLAS ROSE 1E C BS 1CT X 750ML</c:v>
                </c:pt>
                <c:pt idx="18">
                  <c:v>CHAMPAGNE NICOLAS 1ERE CUV ETU 1CT X 750ML</c:v>
                </c:pt>
                <c:pt idx="19">
                  <c:v>CHAMPAGNE NICOLAS BLC/BL BS ET 1CT X 750ML</c:v>
                </c:pt>
                <c:pt idx="20">
                  <c:v>MG CHAMPAGNE NICOLAS 1E CRU BS 1CT X 1500ML</c:v>
                </c:pt>
                <c:pt idx="21">
                  <c:v>1/2 CHAMPAGNE NICOLAS 1E C BS 1CT X 375ML</c:v>
                </c:pt>
              </c:strCache>
            </c:strRef>
          </c:cat>
          <c:val>
            <c:numRef>
              <c:f>Sheet1!$C$2:$C$23</c:f>
              <c:numCache>
                <c:formatCode>General</c:formatCode>
                <c:ptCount val="22"/>
                <c:pt idx="0">
                  <c:v>0.64260319438029678</c:v>
                </c:pt>
                <c:pt idx="1">
                  <c:v>0.70406690941379091</c:v>
                </c:pt>
                <c:pt idx="2">
                  <c:v>0.76399107779007047</c:v>
                </c:pt>
                <c:pt idx="3">
                  <c:v>0.82099368785870563</c:v>
                </c:pt>
                <c:pt idx="4">
                  <c:v>0.85529693558608411</c:v>
                </c:pt>
                <c:pt idx="5">
                  <c:v>0.87647465297544258</c:v>
                </c:pt>
                <c:pt idx="6">
                  <c:v>0.89401474384449875</c:v>
                </c:pt>
                <c:pt idx="7">
                  <c:v>0.90936008564175841</c:v>
                </c:pt>
                <c:pt idx="8">
                  <c:v>0.92175164606180404</c:v>
                </c:pt>
                <c:pt idx="9">
                  <c:v>0.93286502472225519</c:v>
                </c:pt>
                <c:pt idx="10">
                  <c:v>0.94385667178655452</c:v>
                </c:pt>
                <c:pt idx="11">
                  <c:v>0.95480177441703107</c:v>
                </c:pt>
                <c:pt idx="12">
                  <c:v>0.96566810954411531</c:v>
                </c:pt>
                <c:pt idx="13">
                  <c:v>0.97536009280244051</c:v>
                </c:pt>
                <c:pt idx="14">
                  <c:v>0.98258522106815915</c:v>
                </c:pt>
                <c:pt idx="15">
                  <c:v>0.98742942252679011</c:v>
                </c:pt>
                <c:pt idx="16">
                  <c:v>0.99123532507706702</c:v>
                </c:pt>
                <c:pt idx="17">
                  <c:v>0.99441108760020502</c:v>
                </c:pt>
                <c:pt idx="18">
                  <c:v>0.99717153056000141</c:v>
                </c:pt>
                <c:pt idx="19">
                  <c:v>0.99856070289255783</c:v>
                </c:pt>
                <c:pt idx="20">
                  <c:v>0.99992123249660791</c:v>
                </c:pt>
                <c:pt idx="21">
                  <c:v>1.000000000000000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23</c:f>
              <c:strCache>
                <c:ptCount val="22"/>
                <c:pt idx="0">
                  <c:v>CHAMPAGNE E.NICOLAS BRUT 1CT X 750ML</c:v>
                </c:pt>
                <c:pt idx="1">
                  <c:v>CHAMPAGNE E.NICOLAS ROSE 1CT X 750ML</c:v>
                </c:pt>
                <c:pt idx="2">
                  <c:v>CHAMPAGNE NICOLAS BLC/BLC BS 1CT X 750ML</c:v>
                </c:pt>
                <c:pt idx="3">
                  <c:v>CHAMPAGNE NICOLAS 1ERE CUVEE 1CT X 750ML</c:v>
                </c:pt>
                <c:pt idx="4">
                  <c:v>MG CHAMPAGNE E.NICOLAS BRUT 1CT X 1500ML</c:v>
                </c:pt>
                <c:pt idx="5">
                  <c:v>1/2 CHAMPAGNE NICOLAS 1ERE CUV 1CT X 375ML</c:v>
                </c:pt>
                <c:pt idx="6">
                  <c:v>MG CHAMPAGNE NICOLAS BLC/BL BS 1CT X 1500ML</c:v>
                </c:pt>
                <c:pt idx="7">
                  <c:v>CHAMPAGNE NICOLAS ROSE 1ERE CU 1CT X 750ML</c:v>
                </c:pt>
                <c:pt idx="8">
                  <c:v>CHAMPAGNE NICOLAS BIO NAT 2017 1CT X 750ML</c:v>
                </c:pt>
                <c:pt idx="9">
                  <c:v>1/2 CHAMP NICOLAS ROSE 1E C BS 1CT X 375ML</c:v>
                </c:pt>
                <c:pt idx="10">
                  <c:v>1/2 CHAMP NICOLAS BLC/BLC BS 1CT X 375ML</c:v>
                </c:pt>
                <c:pt idx="11">
                  <c:v>CHAMPAGNE NICOLAS BLC DE NOIRS 1CT X 750ML</c:v>
                </c:pt>
                <c:pt idx="12">
                  <c:v>MG CHAMPAGNE NICOLAS 1ERE CUVE 1CT X 1500ML</c:v>
                </c:pt>
                <c:pt idx="13">
                  <c:v>CHAMPAGNE NICOLAS 1ER CRU BS 1CT X 750ML</c:v>
                </c:pt>
                <c:pt idx="14">
                  <c:v>CHAMPAGNE NICOLAS BLC/BLC 2002 1CT X 750ML</c:v>
                </c:pt>
                <c:pt idx="15">
                  <c:v>CHAMPAGNE NICOLAS 1ER CRU ETUI 1CT X 750ML</c:v>
                </c:pt>
                <c:pt idx="16">
                  <c:v>CHAMPAGNE NICOLAS ROSE 1ERE ET 1CT X 750ML</c:v>
                </c:pt>
                <c:pt idx="17">
                  <c:v>CHAMPAGNE NICOLAS ROSE 1E C BS 1CT X 750ML</c:v>
                </c:pt>
                <c:pt idx="18">
                  <c:v>CHAMPAGNE NICOLAS 1ERE CUV ETU 1CT X 750ML</c:v>
                </c:pt>
                <c:pt idx="19">
                  <c:v>CHAMPAGNE NICOLAS BLC/BL BS ET 1CT X 750ML</c:v>
                </c:pt>
                <c:pt idx="20">
                  <c:v>MG CHAMPAGNE NICOLAS 1E CRU BS 1CT X 1500ML</c:v>
                </c:pt>
                <c:pt idx="21">
                  <c:v>1/2 CHAMPAGNE NICOLAS 1E C BS 1CT X 375ML</c:v>
                </c:pt>
              </c:strCache>
            </c:strRef>
          </c:cat>
          <c:val>
            <c:numRef>
              <c:f>Sheet1!$D$2:$D$23</c:f>
              <c:numCache>
                <c:formatCode>General</c:formatCode>
                <c:ptCount val="22"/>
                <c:pt idx="0">
                  <c:v>1794.81</c:v>
                </c:pt>
                <c:pt idx="1">
                  <c:v>238.43055555555554</c:v>
                </c:pt>
                <c:pt idx="2">
                  <c:v>265.66666666666669</c:v>
                </c:pt>
                <c:pt idx="3">
                  <c:v>221.125</c:v>
                </c:pt>
                <c:pt idx="4">
                  <c:v>239.52500000000001</c:v>
                </c:pt>
                <c:pt idx="5">
                  <c:v>105.62499999999999</c:v>
                </c:pt>
                <c:pt idx="6">
                  <c:v>181.44444444444446</c:v>
                </c:pt>
                <c:pt idx="7">
                  <c:v>85.72</c:v>
                </c:pt>
                <c:pt idx="8">
                  <c:v>133.11538461538461</c:v>
                </c:pt>
                <c:pt idx="9">
                  <c:v>66.042553191489361</c:v>
                </c:pt>
                <c:pt idx="10">
                  <c:v>93.030303030303031</c:v>
                </c:pt>
                <c:pt idx="11">
                  <c:v>92.63636363636364</c:v>
                </c:pt>
                <c:pt idx="12">
                  <c:v>216.78571428571425</c:v>
                </c:pt>
                <c:pt idx="13">
                  <c:v>82.030303030303031</c:v>
                </c:pt>
                <c:pt idx="14">
                  <c:v>106.21052631578948</c:v>
                </c:pt>
                <c:pt idx="15">
                  <c:v>61.5</c:v>
                </c:pt>
                <c:pt idx="16">
                  <c:v>88.583333333333329</c:v>
                </c:pt>
                <c:pt idx="17">
                  <c:v>68.230769230769226</c:v>
                </c:pt>
                <c:pt idx="18">
                  <c:v>85.666666666666671</c:v>
                </c:pt>
                <c:pt idx="19">
                  <c:v>77.599999999999994</c:v>
                </c:pt>
                <c:pt idx="20">
                  <c:v>63.333333333333336</c:v>
                </c:pt>
                <c:pt idx="21">
                  <c:v>22</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23</c:f>
              <c:strCache>
                <c:ptCount val="22"/>
                <c:pt idx="0">
                  <c:v>CHAMPAGNE E.NICOLAS BRUT 1CT X 750ML</c:v>
                </c:pt>
                <c:pt idx="1">
                  <c:v>CHAMPAGNE E.NICOLAS ROSE 1CT X 750ML</c:v>
                </c:pt>
                <c:pt idx="2">
                  <c:v>CHAMPAGNE NICOLAS 1ERE CUVEE 1CT X 750ML</c:v>
                </c:pt>
                <c:pt idx="3">
                  <c:v>CHAMPAGNE NICOLAS BLC/BLC BS 1CT X 750ML</c:v>
                </c:pt>
                <c:pt idx="4">
                  <c:v>1/2 CHAMPAGNE NICOLAS 1ERE CUV 1CT X 375ML</c:v>
                </c:pt>
                <c:pt idx="5">
                  <c:v>MG CHAMPAGNE E.NICOLAS BRUT 1CT X 1500ML</c:v>
                </c:pt>
                <c:pt idx="6">
                  <c:v>CHAMPAGNE NICOLAS ROSE 1ERE CU 1CT X 750ML</c:v>
                </c:pt>
                <c:pt idx="7">
                  <c:v>CHAMPAGNE NICOLAS 1ER CRU BS 1CT X 750ML</c:v>
                </c:pt>
                <c:pt idx="8">
                  <c:v>CHAMPAGNE NICOLAS BIO NAT 2017 1CT X 750ML</c:v>
                </c:pt>
                <c:pt idx="9">
                  <c:v>MG CHAMPAGNE NICOLAS BLC/BL BS 1CT X 1500ML</c:v>
                </c:pt>
                <c:pt idx="10">
                  <c:v>MG CHAMPAGNE NICOLAS 1ERE CUVE 1CT X 1500ML</c:v>
                </c:pt>
                <c:pt idx="11">
                  <c:v>1/2 CHAMP NICOLAS BLC/BLC BS 1CT X 375ML</c:v>
                </c:pt>
                <c:pt idx="12">
                  <c:v>1/2 CHAMP NICOLAS ROSE 1E C BS 1CT X 375ML</c:v>
                </c:pt>
                <c:pt idx="13">
                  <c:v>CHAMPAGNE NICOLAS BLC/BLC 2002 1CT X 750ML</c:v>
                </c:pt>
                <c:pt idx="14">
                  <c:v>CHAMPAGNE NICOLAS ROSE 1E C BS 1CT X 750ML</c:v>
                </c:pt>
                <c:pt idx="15">
                  <c:v>MG CHAMPAGNE NICOLAS 1E CRU BS 1CT X 1500ML</c:v>
                </c:pt>
                <c:pt idx="16">
                  <c:v>CHAMPAGNE NICOLAS 1ER CRU ETUI 1CT X 750ML</c:v>
                </c:pt>
                <c:pt idx="17">
                  <c:v>CHAMPAGNE NICOLAS BLC DE NOIRS 1CT X 750ML</c:v>
                </c:pt>
                <c:pt idx="18">
                  <c:v>CHAMPAGNE NICOLAS 1ERE CUV ETU 1CT X 750ML</c:v>
                </c:pt>
                <c:pt idx="19">
                  <c:v>CHAMPAGNE NICOLAS ROSE 1ERE ET 1CT X 750ML</c:v>
                </c:pt>
                <c:pt idx="20">
                  <c:v>1/2 CHAMPAGNE NICOLAS 1E C BS 1CT X 375ML</c:v>
                </c:pt>
                <c:pt idx="21">
                  <c:v>CHAMPAGNE NICOLAS BLC/BL BS ET 1CT X 750ML</c:v>
                </c:pt>
              </c:strCache>
            </c:strRef>
          </c:cat>
          <c:val>
            <c:numRef>
              <c:f>Sheet1!$B$2:$B$23</c:f>
              <c:numCache>
                <c:formatCode>General</c:formatCode>
                <c:ptCount val="22"/>
                <c:pt idx="0">
                  <c:v>1</c:v>
                </c:pt>
                <c:pt idx="1">
                  <c:v>0.68</c:v>
                </c:pt>
                <c:pt idx="2">
                  <c:v>0.83</c:v>
                </c:pt>
                <c:pt idx="3">
                  <c:v>0.56000000000000005</c:v>
                </c:pt>
                <c:pt idx="4">
                  <c:v>0.51</c:v>
                </c:pt>
                <c:pt idx="5">
                  <c:v>0.36</c:v>
                </c:pt>
                <c:pt idx="6">
                  <c:v>0.47</c:v>
                </c:pt>
                <c:pt idx="7">
                  <c:v>0.38</c:v>
                </c:pt>
                <c:pt idx="8">
                  <c:v>0.28000000000000003</c:v>
                </c:pt>
                <c:pt idx="9">
                  <c:v>0.16</c:v>
                </c:pt>
                <c:pt idx="10">
                  <c:v>0.18</c:v>
                </c:pt>
                <c:pt idx="11">
                  <c:v>0.32</c:v>
                </c:pt>
                <c:pt idx="12">
                  <c:v>0.46</c:v>
                </c:pt>
                <c:pt idx="13">
                  <c:v>0.18</c:v>
                </c:pt>
                <c:pt idx="14">
                  <c:v>0.13</c:v>
                </c:pt>
                <c:pt idx="15">
                  <c:v>0.13</c:v>
                </c:pt>
                <c:pt idx="16">
                  <c:v>0.13</c:v>
                </c:pt>
                <c:pt idx="17">
                  <c:v>0.05</c:v>
                </c:pt>
                <c:pt idx="18">
                  <c:v>0.22</c:v>
                </c:pt>
                <c:pt idx="19">
                  <c:v>0.1</c:v>
                </c:pt>
                <c:pt idx="20">
                  <c:v>0.08</c:v>
                </c:pt>
                <c:pt idx="21">
                  <c:v>0.03</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7ECAC4"/>
              </a:solidFill>
            </c:spPr>
            <c:extLst>
              <c:ext xmlns:c16="http://schemas.microsoft.com/office/drawing/2014/chart" uri="{C3380CC4-5D6E-409C-BE32-E72D297353CC}">
                <c16:uniqueId val="{00000008-D8F4-40C6-A5E0-DB4B53CFB1F3}"/>
              </c:ext>
            </c:extLst>
          </c:dPt>
          <c:dPt>
            <c:idx val="2"/>
            <c:invertIfNegative val="0"/>
            <c:bubble3D val="0"/>
            <c:spPr>
              <a:solidFill>
                <a:srgbClr val="7ECAC4"/>
              </a:solidFill>
            </c:spPr>
            <c:extLst>
              <c:ext xmlns:c16="http://schemas.microsoft.com/office/drawing/2014/chart" uri="{C3380CC4-5D6E-409C-BE32-E72D297353CC}">
                <c16:uniqueId val="{00000006-E902-46E2-9A54-39A26B3DFDC1}"/>
              </c:ext>
            </c:extLst>
          </c:dPt>
          <c:dPt>
            <c:idx val="3"/>
            <c:invertIfNegative val="0"/>
            <c:bubble3D val="0"/>
            <c:spPr>
              <a:solidFill>
                <a:srgbClr val="7ECAC4"/>
              </a:solidFill>
            </c:spPr>
            <c:extLst>
              <c:ext xmlns:c16="http://schemas.microsoft.com/office/drawing/2014/chart" uri="{C3380CC4-5D6E-409C-BE32-E72D297353CC}">
                <c16:uniqueId val="{00000007-E902-46E2-9A54-39A26B3DFDC1}"/>
              </c:ext>
            </c:extLst>
          </c:dPt>
          <c:dPt>
            <c:idx val="4"/>
            <c:invertIfNegative val="1"/>
            <c:bubble3D val="0"/>
            <c:spPr>
              <a:solidFill>
                <a:srgbClr val="7ECAC4"/>
              </a:solidFill>
            </c:spPr>
            <c:extLst>
              <c:ext xmlns:c16="http://schemas.microsoft.com/office/drawing/2014/chart" uri="{C3380CC4-5D6E-409C-BE32-E72D297353CC}">
                <c16:uniqueId val="{0000000B-FA3E-4872-B6E1-C4ABDF5766E2}"/>
              </c:ext>
            </c:extLst>
          </c:dPt>
          <c:dPt>
            <c:idx val="5"/>
            <c:invertIfNegative val="1"/>
            <c:bubble3D val="0"/>
            <c:spPr>
              <a:solidFill>
                <a:srgbClr val="7ECAC4"/>
              </a:solidFill>
            </c:spPr>
            <c:extLst>
              <c:ext xmlns:c16="http://schemas.microsoft.com/office/drawing/2014/chart" uri="{C3380CC4-5D6E-409C-BE32-E72D297353CC}">
                <c16:uniqueId val="{0000000D-FA3E-4872-B6E1-C4ABDF5766E2}"/>
              </c:ext>
            </c:extLst>
          </c:dPt>
          <c:dPt>
            <c:idx val="6"/>
            <c:invertIfNegative val="1"/>
            <c:bubble3D val="0"/>
            <c:spPr>
              <a:solidFill>
                <a:srgbClr val="7ECAC4"/>
              </a:solidFill>
            </c:spPr>
            <c:extLst>
              <c:ext xmlns:c16="http://schemas.microsoft.com/office/drawing/2014/chart" uri="{C3380CC4-5D6E-409C-BE32-E72D297353CC}">
                <c16:uniqueId val="{0000000F-FA3E-4872-B6E1-C4ABDF5766E2}"/>
              </c:ext>
            </c:extLst>
          </c:dPt>
          <c:dPt>
            <c:idx val="7"/>
            <c:invertIfNegative val="1"/>
            <c:bubble3D val="0"/>
            <c:spPr>
              <a:solidFill>
                <a:srgbClr val="AEABAB"/>
              </a:solidFill>
            </c:spPr>
            <c:extLst>
              <c:ext xmlns:c16="http://schemas.microsoft.com/office/drawing/2014/chart" uri="{C3380CC4-5D6E-409C-BE32-E72D297353CC}">
                <c16:uniqueId val="{00000011-FA3E-4872-B6E1-C4ABDF5766E2}"/>
              </c:ext>
            </c:extLst>
          </c:dPt>
          <c:dPt>
            <c:idx val="8"/>
            <c:invertIfNegative val="1"/>
            <c:bubble3D val="0"/>
            <c:spPr>
              <a:solidFill>
                <a:srgbClr val="AEABAB"/>
              </a:solidFill>
            </c:spPr>
            <c:extLst>
              <c:ext xmlns:c16="http://schemas.microsoft.com/office/drawing/2014/chart" uri="{C3380CC4-5D6E-409C-BE32-E72D297353CC}">
                <c16:uniqueId val="{00000013-FA3E-4872-B6E1-C4ABDF5766E2}"/>
              </c:ext>
            </c:extLst>
          </c:dPt>
          <c:dPt>
            <c:idx val="9"/>
            <c:invertIfNegative val="1"/>
            <c:bubble3D val="0"/>
            <c:spPr>
              <a:solidFill>
                <a:srgbClr val="AEABAB"/>
              </a:solidFill>
            </c:spPr>
            <c:extLst>
              <c:ext xmlns:c16="http://schemas.microsoft.com/office/drawing/2014/chart" uri="{C3380CC4-5D6E-409C-BE32-E72D297353CC}">
                <c16:uniqueId val="{00000015-FA3E-4872-B6E1-C4ABDF5766E2}"/>
              </c:ext>
            </c:extLst>
          </c:dPt>
          <c:dPt>
            <c:idx val="10"/>
            <c:invertIfNegative val="1"/>
            <c:bubble3D val="0"/>
            <c:spPr>
              <a:solidFill>
                <a:srgbClr val="AEABAB"/>
              </a:solidFill>
            </c:spPr>
            <c:extLst>
              <c:ext xmlns:c16="http://schemas.microsoft.com/office/drawing/2014/chart" uri="{C3380CC4-5D6E-409C-BE32-E72D297353CC}">
                <c16:uniqueId val="{00000017-FA3E-4872-B6E1-C4ABDF5766E2}"/>
              </c:ext>
            </c:extLst>
          </c:dPt>
          <c:dPt>
            <c:idx val="11"/>
            <c:invertIfNegative val="1"/>
            <c:bubble3D val="0"/>
            <c:spPr>
              <a:solidFill>
                <a:srgbClr val="AEABAB"/>
              </a:solidFill>
            </c:spPr>
            <c:extLst>
              <c:ext xmlns:c16="http://schemas.microsoft.com/office/drawing/2014/chart" uri="{C3380CC4-5D6E-409C-BE32-E72D297353CC}">
                <c16:uniqueId val="{00000019-FA3E-4872-B6E1-C4ABDF5766E2}"/>
              </c:ext>
            </c:extLst>
          </c:dPt>
          <c:dPt>
            <c:idx val="12"/>
            <c:invertIfNegative val="1"/>
            <c:bubble3D val="0"/>
            <c:spPr>
              <a:solidFill>
                <a:srgbClr val="AEABAB"/>
              </a:solidFill>
            </c:spPr>
            <c:extLst>
              <c:ext xmlns:c16="http://schemas.microsoft.com/office/drawing/2014/chart" uri="{C3380CC4-5D6E-409C-BE32-E72D297353CC}">
                <c16:uniqueId val="{0000001B-FA3E-4872-B6E1-C4ABDF5766E2}"/>
              </c:ext>
            </c:extLst>
          </c:dPt>
          <c:dPt>
            <c:idx val="13"/>
            <c:invertIfNegative val="1"/>
            <c:bubble3D val="0"/>
            <c:spPr>
              <a:solidFill>
                <a:srgbClr val="AEABAB"/>
              </a:solidFill>
            </c:spPr>
            <c:extLst>
              <c:ext xmlns:c16="http://schemas.microsoft.com/office/drawing/2014/chart" uri="{C3380CC4-5D6E-409C-BE32-E72D297353CC}">
                <c16:uniqueId val="{0000001D-FA3E-4872-B6E1-C4ABDF5766E2}"/>
              </c:ext>
            </c:extLst>
          </c:dPt>
          <c:dPt>
            <c:idx val="14"/>
            <c:invertIfNegative val="1"/>
            <c:bubble3D val="0"/>
            <c:spPr>
              <a:solidFill>
                <a:srgbClr val="AEABAB"/>
              </a:solidFill>
            </c:spPr>
            <c:extLst>
              <c:ext xmlns:c16="http://schemas.microsoft.com/office/drawing/2014/chart" uri="{C3380CC4-5D6E-409C-BE32-E72D297353CC}">
                <c16:uniqueId val="{0000001F-FA3E-4872-B6E1-C4ABDF5766E2}"/>
              </c:ext>
            </c:extLst>
          </c:dPt>
          <c:dPt>
            <c:idx val="15"/>
            <c:invertIfNegative val="1"/>
            <c:bubble3D val="0"/>
            <c:spPr>
              <a:solidFill>
                <a:srgbClr val="AEABAB"/>
              </a:solidFill>
            </c:spPr>
            <c:extLst>
              <c:ext xmlns:c16="http://schemas.microsoft.com/office/drawing/2014/chart" uri="{C3380CC4-5D6E-409C-BE32-E72D297353CC}">
                <c16:uniqueId val="{00000021-FA3E-4872-B6E1-C4ABDF5766E2}"/>
              </c:ext>
            </c:extLst>
          </c:dPt>
          <c:dPt>
            <c:idx val="16"/>
            <c:invertIfNegative val="1"/>
            <c:bubble3D val="0"/>
            <c:spPr>
              <a:solidFill>
                <a:srgbClr val="AEABAB"/>
              </a:solidFill>
            </c:spPr>
            <c:extLst>
              <c:ext xmlns:c16="http://schemas.microsoft.com/office/drawing/2014/chart" uri="{C3380CC4-5D6E-409C-BE32-E72D297353CC}">
                <c16:uniqueId val="{00000023-FA3E-4872-B6E1-C4ABDF5766E2}"/>
              </c:ext>
            </c:extLst>
          </c:dPt>
          <c:dPt>
            <c:idx val="17"/>
            <c:invertIfNegative val="1"/>
            <c:bubble3D val="0"/>
            <c:spPr>
              <a:solidFill>
                <a:srgbClr val="AEABAB"/>
              </a:solidFill>
            </c:spPr>
            <c:extLst>
              <c:ext xmlns:c16="http://schemas.microsoft.com/office/drawing/2014/chart" uri="{C3380CC4-5D6E-409C-BE32-E72D297353CC}">
                <c16:uniqueId val="{00000025-FA3E-4872-B6E1-C4ABDF5766E2}"/>
              </c:ext>
            </c:extLst>
          </c:dPt>
          <c:dPt>
            <c:idx val="18"/>
            <c:invertIfNegative val="1"/>
            <c:bubble3D val="0"/>
            <c:spPr>
              <a:solidFill>
                <a:srgbClr val="AEABAB"/>
              </a:solidFill>
            </c:spPr>
            <c:extLst>
              <c:ext xmlns:c16="http://schemas.microsoft.com/office/drawing/2014/chart" uri="{C3380CC4-5D6E-409C-BE32-E72D297353CC}">
                <c16:uniqueId val="{00000027-FA3E-4872-B6E1-C4ABDF5766E2}"/>
              </c:ext>
            </c:extLst>
          </c:dPt>
          <c:dPt>
            <c:idx val="19"/>
            <c:invertIfNegative val="1"/>
            <c:bubble3D val="0"/>
            <c:spPr>
              <a:solidFill>
                <a:srgbClr val="AEABAB"/>
              </a:solidFill>
            </c:spPr>
            <c:extLst>
              <c:ext xmlns:c16="http://schemas.microsoft.com/office/drawing/2014/chart" uri="{C3380CC4-5D6E-409C-BE32-E72D297353CC}">
                <c16:uniqueId val="{00000029-FA3E-4872-B6E1-C4ABDF5766E2}"/>
              </c:ext>
            </c:extLst>
          </c:dPt>
          <c:dPt>
            <c:idx val="20"/>
            <c:invertIfNegative val="1"/>
            <c:bubble3D val="0"/>
            <c:spPr>
              <a:solidFill>
                <a:srgbClr val="AEABAB"/>
              </a:solidFill>
            </c:spPr>
            <c:extLst>
              <c:ext xmlns:c16="http://schemas.microsoft.com/office/drawing/2014/chart" uri="{C3380CC4-5D6E-409C-BE32-E72D297353CC}">
                <c16:uniqueId val="{0000002B-FA3E-4872-B6E1-C4ABDF5766E2}"/>
              </c:ext>
            </c:extLst>
          </c:dPt>
          <c:dPt>
            <c:idx val="21"/>
            <c:invertIfNegative val="1"/>
            <c:bubble3D val="0"/>
            <c:spPr>
              <a:solidFill>
                <a:srgbClr val="AEABAB"/>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23</c:f>
              <c:strCache>
                <c:ptCount val="22"/>
                <c:pt idx="0">
                  <c:v>CHAMPAGNE E.NICOLAS BRUT 1CT X 750ML</c:v>
                </c:pt>
                <c:pt idx="1">
                  <c:v>CHAMPAGNE E.NICOLAS ROSE 1CT X 750ML</c:v>
                </c:pt>
                <c:pt idx="2">
                  <c:v>CHAMPAGNE NICOLAS 1ERE CUVEE 1CT X 750ML</c:v>
                </c:pt>
                <c:pt idx="3">
                  <c:v>CHAMPAGNE NICOLAS BLC/BLC BS 1CT X 750ML</c:v>
                </c:pt>
                <c:pt idx="4">
                  <c:v>1/2 CHAMPAGNE NICOLAS 1ERE CUV 1CT X 375ML</c:v>
                </c:pt>
                <c:pt idx="5">
                  <c:v>MG CHAMPAGNE E.NICOLAS BRUT 1CT X 1500ML</c:v>
                </c:pt>
                <c:pt idx="6">
                  <c:v>CHAMPAGNE NICOLAS ROSE 1ERE CU 1CT X 750ML</c:v>
                </c:pt>
                <c:pt idx="7">
                  <c:v>CHAMPAGNE NICOLAS 1ER CRU BS 1CT X 750ML</c:v>
                </c:pt>
                <c:pt idx="8">
                  <c:v>CHAMPAGNE NICOLAS BIO NAT 2017 1CT X 750ML</c:v>
                </c:pt>
                <c:pt idx="9">
                  <c:v>MG CHAMPAGNE NICOLAS BLC/BL BS 1CT X 1500ML</c:v>
                </c:pt>
                <c:pt idx="10">
                  <c:v>MG CHAMPAGNE NICOLAS 1ERE CUVE 1CT X 1500ML</c:v>
                </c:pt>
                <c:pt idx="11">
                  <c:v>1/2 CHAMP NICOLAS BLC/BLC BS 1CT X 375ML</c:v>
                </c:pt>
                <c:pt idx="12">
                  <c:v>1/2 CHAMP NICOLAS ROSE 1E C BS 1CT X 375ML</c:v>
                </c:pt>
                <c:pt idx="13">
                  <c:v>CHAMPAGNE NICOLAS BLC/BLC 2002 1CT X 750ML</c:v>
                </c:pt>
                <c:pt idx="14">
                  <c:v>CHAMPAGNE NICOLAS ROSE 1E C BS 1CT X 750ML</c:v>
                </c:pt>
                <c:pt idx="15">
                  <c:v>MG CHAMPAGNE NICOLAS 1E CRU BS 1CT X 1500ML</c:v>
                </c:pt>
                <c:pt idx="16">
                  <c:v>CHAMPAGNE NICOLAS 1ER CRU ETUI 1CT X 750ML</c:v>
                </c:pt>
                <c:pt idx="17">
                  <c:v>CHAMPAGNE NICOLAS BLC DE NOIRS 1CT X 750ML</c:v>
                </c:pt>
                <c:pt idx="18">
                  <c:v>CHAMPAGNE NICOLAS 1ERE CUV ETU 1CT X 750ML</c:v>
                </c:pt>
                <c:pt idx="19">
                  <c:v>CHAMPAGNE NICOLAS ROSE 1ERE ET 1CT X 750ML</c:v>
                </c:pt>
                <c:pt idx="20">
                  <c:v>1/2 CHAMPAGNE NICOLAS 1E C BS 1CT X 375ML</c:v>
                </c:pt>
                <c:pt idx="21">
                  <c:v>CHAMPAGNE NICOLAS BLC/BL BS ET 1CT X 750ML</c:v>
                </c:pt>
              </c:strCache>
            </c:strRef>
          </c:cat>
          <c:val>
            <c:numRef>
              <c:f>Sheet1!$C$2:$C$23</c:f>
              <c:numCache>
                <c:formatCode>General</c:formatCode>
                <c:ptCount val="22"/>
                <c:pt idx="0">
                  <c:v>0.76032516121884675</c:v>
                </c:pt>
                <c:pt idx="1">
                  <c:v>0.81222447387493013</c:v>
                </c:pt>
                <c:pt idx="2">
                  <c:v>0.86133563525072587</c:v>
                </c:pt>
                <c:pt idx="3">
                  <c:v>0.90210080736367371</c:v>
                </c:pt>
                <c:pt idx="4">
                  <c:v>0.91934210708532016</c:v>
                </c:pt>
                <c:pt idx="5">
                  <c:v>0.93475079743896294</c:v>
                </c:pt>
                <c:pt idx="6">
                  <c:v>0.94342914910608355</c:v>
                </c:pt>
                <c:pt idx="7">
                  <c:v>0.95139199837511712</c:v>
                </c:pt>
                <c:pt idx="8">
                  <c:v>0.95904094981789312</c:v>
                </c:pt>
                <c:pt idx="9">
                  <c:v>0.96578513693792667</c:v>
                </c:pt>
                <c:pt idx="10">
                  <c:v>0.97173073105880503</c:v>
                </c:pt>
                <c:pt idx="11">
                  <c:v>0.97758400228960762</c:v>
                </c:pt>
                <c:pt idx="12">
                  <c:v>0.98298950750354286</c:v>
                </c:pt>
                <c:pt idx="13">
                  <c:v>0.98683475587519787</c:v>
                </c:pt>
                <c:pt idx="14">
                  <c:v>0.99024608666349689</c:v>
                </c:pt>
                <c:pt idx="15">
                  <c:v>0.99338044878156861</c:v>
                </c:pt>
                <c:pt idx="16">
                  <c:v>0.99574853091201165</c:v>
                </c:pt>
                <c:pt idx="17">
                  <c:v>0.99756729184650395</c:v>
                </c:pt>
                <c:pt idx="18">
                  <c:v>0.99895213519764026</c:v>
                </c:pt>
                <c:pt idx="19">
                  <c:v>0.99951992097160614</c:v>
                </c:pt>
                <c:pt idx="20">
                  <c:v>0.99982458650885608</c:v>
                </c:pt>
                <c:pt idx="21">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23</c:f>
              <c:strCache>
                <c:ptCount val="22"/>
                <c:pt idx="0">
                  <c:v>CHAMPAGNE E.NICOLAS BRUT 1CT X 750ML</c:v>
                </c:pt>
                <c:pt idx="1">
                  <c:v>CHAMPAGNE E.NICOLAS ROSE 1CT X 750ML</c:v>
                </c:pt>
                <c:pt idx="2">
                  <c:v>CHAMPAGNE NICOLAS 1ERE CUVEE 1CT X 750ML</c:v>
                </c:pt>
                <c:pt idx="3">
                  <c:v>CHAMPAGNE NICOLAS BLC/BLC BS 1CT X 750ML</c:v>
                </c:pt>
                <c:pt idx="4">
                  <c:v>1/2 CHAMPAGNE NICOLAS 1ERE CUV 1CT X 375ML</c:v>
                </c:pt>
                <c:pt idx="5">
                  <c:v>MG CHAMPAGNE E.NICOLAS BRUT 1CT X 1500ML</c:v>
                </c:pt>
                <c:pt idx="6">
                  <c:v>CHAMPAGNE NICOLAS ROSE 1ERE CU 1CT X 750ML</c:v>
                </c:pt>
                <c:pt idx="7">
                  <c:v>CHAMPAGNE NICOLAS 1ER CRU BS 1CT X 750ML</c:v>
                </c:pt>
                <c:pt idx="8">
                  <c:v>CHAMPAGNE NICOLAS BIO NAT 2017 1CT X 750ML</c:v>
                </c:pt>
                <c:pt idx="9">
                  <c:v>MG CHAMPAGNE NICOLAS BLC/BL BS 1CT X 1500ML</c:v>
                </c:pt>
                <c:pt idx="10">
                  <c:v>MG CHAMPAGNE NICOLAS 1ERE CUVE 1CT X 1500ML</c:v>
                </c:pt>
                <c:pt idx="11">
                  <c:v>1/2 CHAMP NICOLAS BLC/BLC BS 1CT X 375ML</c:v>
                </c:pt>
                <c:pt idx="12">
                  <c:v>1/2 CHAMP NICOLAS ROSE 1E C BS 1CT X 375ML</c:v>
                </c:pt>
                <c:pt idx="13">
                  <c:v>CHAMPAGNE NICOLAS BLC/BLC 2002 1CT X 750ML</c:v>
                </c:pt>
                <c:pt idx="14">
                  <c:v>CHAMPAGNE NICOLAS ROSE 1E C BS 1CT X 750ML</c:v>
                </c:pt>
                <c:pt idx="15">
                  <c:v>MG CHAMPAGNE NICOLAS 1E CRU BS 1CT X 1500ML</c:v>
                </c:pt>
                <c:pt idx="16">
                  <c:v>CHAMPAGNE NICOLAS 1ER CRU ETUI 1CT X 750ML</c:v>
                </c:pt>
                <c:pt idx="17">
                  <c:v>CHAMPAGNE NICOLAS BLC DE NOIRS 1CT X 750ML</c:v>
                </c:pt>
                <c:pt idx="18">
                  <c:v>CHAMPAGNE NICOLAS 1ERE CUV ETU 1CT X 750ML</c:v>
                </c:pt>
                <c:pt idx="19">
                  <c:v>CHAMPAGNE NICOLAS ROSE 1ERE ET 1CT X 750ML</c:v>
                </c:pt>
                <c:pt idx="20">
                  <c:v>1/2 CHAMPAGNE NICOLAS 1E C BS 1CT X 375ML</c:v>
                </c:pt>
                <c:pt idx="21">
                  <c:v>CHAMPAGNE NICOLAS BLC/BL BS ET 1CT X 750ML</c:v>
                </c:pt>
              </c:strCache>
            </c:strRef>
          </c:cat>
          <c:val>
            <c:numRef>
              <c:f>Sheet1!$D$2:$D$23</c:f>
              <c:numCache>
                <c:formatCode>General</c:formatCode>
                <c:ptCount val="22"/>
                <c:pt idx="0">
                  <c:v>1647.1</c:v>
                </c:pt>
                <c:pt idx="1">
                  <c:v>165.33823529411765</c:v>
                </c:pt>
                <c:pt idx="2">
                  <c:v>128.18072289156626</c:v>
                </c:pt>
                <c:pt idx="3">
                  <c:v>157.69642857142856</c:v>
                </c:pt>
                <c:pt idx="4">
                  <c:v>73.235294117647058</c:v>
                </c:pt>
                <c:pt idx="5">
                  <c:v>92.722222222222229</c:v>
                </c:pt>
                <c:pt idx="6">
                  <c:v>40</c:v>
                </c:pt>
                <c:pt idx="7">
                  <c:v>45.39473684210526</c:v>
                </c:pt>
                <c:pt idx="8">
                  <c:v>59.178571428571423</c:v>
                </c:pt>
                <c:pt idx="9">
                  <c:v>91.3125</c:v>
                </c:pt>
                <c:pt idx="10">
                  <c:v>71.555555555555557</c:v>
                </c:pt>
                <c:pt idx="11">
                  <c:v>39.625</c:v>
                </c:pt>
                <c:pt idx="12">
                  <c:v>25.456521739130434</c:v>
                </c:pt>
                <c:pt idx="13">
                  <c:v>46.277777777777779</c:v>
                </c:pt>
                <c:pt idx="14">
                  <c:v>56.846153846153847</c:v>
                </c:pt>
                <c:pt idx="15">
                  <c:v>52.230769230769234</c:v>
                </c:pt>
                <c:pt idx="16">
                  <c:v>39.46153846153846</c:v>
                </c:pt>
                <c:pt idx="17">
                  <c:v>78.8</c:v>
                </c:pt>
                <c:pt idx="18">
                  <c:v>13.636363636363637</c:v>
                </c:pt>
                <c:pt idx="19">
                  <c:v>12.3</c:v>
                </c:pt>
                <c:pt idx="20">
                  <c:v>8.25</c:v>
                </c:pt>
                <c:pt idx="21">
                  <c:v>12.666666666666666</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23</c:f>
              <c:strCache>
                <c:ptCount val="22"/>
                <c:pt idx="0">
                  <c:v>CHAMPAGNE E.NICOLAS BRUT 1CT X 750ML</c:v>
                </c:pt>
                <c:pt idx="1">
                  <c:v>CHAMPAGNE E.NICOLAS ROSE 1CT X 750ML</c:v>
                </c:pt>
                <c:pt idx="2">
                  <c:v>CHAMPAGNE NICOLAS BLC/BLC BS 1CT X 750ML</c:v>
                </c:pt>
                <c:pt idx="3">
                  <c:v>CHAMPAGNE NICOLAS 1ERE CUVEE 1CT X 750ML</c:v>
                </c:pt>
                <c:pt idx="4">
                  <c:v>CHAMPAGNE NICOLAS BIO NAT 2017 1CT X 750ML</c:v>
                </c:pt>
                <c:pt idx="5">
                  <c:v>CHAMPAGNE NICOLAS BLC DE NOIRS 1CT X 750ML</c:v>
                </c:pt>
                <c:pt idx="6">
                  <c:v>MG CHAMPAGNE E.NICOLAS BRUT 1CT X 1500ML</c:v>
                </c:pt>
                <c:pt idx="7">
                  <c:v>1/2 CHAMP NICOLAS BLC/BLC BS 1CT X 375ML</c:v>
                </c:pt>
                <c:pt idx="8">
                  <c:v>1/2 CHAMP NICOLAS ROSE 1E C BS 1CT X 375ML</c:v>
                </c:pt>
                <c:pt idx="9">
                  <c:v>1/2 CHAMPAGNE NICOLAS 1ERE CUV 1CT X 375ML</c:v>
                </c:pt>
                <c:pt idx="10">
                  <c:v>CHAMPAGNE NICOLAS ROSE 1ERE CU 1CT X 750ML</c:v>
                </c:pt>
                <c:pt idx="11">
                  <c:v>MG CHAMPAGNE NICOLAS BLC/BL BS 1CT X 1500ML</c:v>
                </c:pt>
                <c:pt idx="12">
                  <c:v>CHAMPAGNE NICOLAS 1ER CRU BS 1CT X 750ML</c:v>
                </c:pt>
                <c:pt idx="13">
                  <c:v>CHAMPAGNE NICOLAS BLC/BLC 2002 1CT X 750ML</c:v>
                </c:pt>
                <c:pt idx="14">
                  <c:v>CHAMPAGNE NICOLAS 1ERE CUV ETU 1CT X 750ML</c:v>
                </c:pt>
                <c:pt idx="15">
                  <c:v>CHAMPAGNE NICOLAS ROSE 1ERE ET 1CT X 750ML</c:v>
                </c:pt>
                <c:pt idx="16">
                  <c:v>CHAMPAGNE NICOLAS BLC/BL BS ET 1CT X 750ML</c:v>
                </c:pt>
                <c:pt idx="17">
                  <c:v>MG CHAMPAGNE NICOLAS 1ERE CUVE 1CT X 1500ML</c:v>
                </c:pt>
                <c:pt idx="18">
                  <c:v>CHAMPAGNE NICOLAS ROSE 1E C BS 1CT X 750ML</c:v>
                </c:pt>
                <c:pt idx="19">
                  <c:v>MG CHAMPAGNE NICOLAS 1E CRU BS 1CT X 1500ML</c:v>
                </c:pt>
                <c:pt idx="20">
                  <c:v>CHAMPAGNE NICOLAS 1ER CRU ETUI 1CT X 750ML</c:v>
                </c:pt>
                <c:pt idx="21">
                  <c:v>1/2 CHAMPAGNE NICOLAS 1E C BS 1CT X 375ML</c:v>
                </c:pt>
              </c:strCache>
            </c:strRef>
          </c:cat>
          <c:val>
            <c:numRef>
              <c:f>Sheet1!$B$2:$B$23</c:f>
              <c:numCache>
                <c:formatCode>General</c:formatCode>
                <c:ptCount val="22"/>
                <c:pt idx="0">
                  <c:v>1</c:v>
                </c:pt>
                <c:pt idx="1">
                  <c:v>0.74</c:v>
                </c:pt>
                <c:pt idx="2">
                  <c:v>0.43</c:v>
                </c:pt>
                <c:pt idx="3">
                  <c:v>0.56999999999999995</c:v>
                </c:pt>
                <c:pt idx="4">
                  <c:v>0.27</c:v>
                </c:pt>
                <c:pt idx="5">
                  <c:v>0.42</c:v>
                </c:pt>
                <c:pt idx="6">
                  <c:v>0.32</c:v>
                </c:pt>
                <c:pt idx="7">
                  <c:v>0.33</c:v>
                </c:pt>
                <c:pt idx="8">
                  <c:v>0.34</c:v>
                </c:pt>
                <c:pt idx="9">
                  <c:v>0.5</c:v>
                </c:pt>
                <c:pt idx="10">
                  <c:v>0.25</c:v>
                </c:pt>
                <c:pt idx="11">
                  <c:v>0.34</c:v>
                </c:pt>
                <c:pt idx="12">
                  <c:v>0.41</c:v>
                </c:pt>
                <c:pt idx="13">
                  <c:v>0.26</c:v>
                </c:pt>
                <c:pt idx="14">
                  <c:v>0.28000000000000003</c:v>
                </c:pt>
                <c:pt idx="15">
                  <c:v>0.23</c:v>
                </c:pt>
                <c:pt idx="16">
                  <c:v>0.13</c:v>
                </c:pt>
                <c:pt idx="17">
                  <c:v>0.15</c:v>
                </c:pt>
                <c:pt idx="18">
                  <c:v>0.03</c:v>
                </c:pt>
                <c:pt idx="19">
                  <c:v>0.02</c:v>
                </c:pt>
                <c:pt idx="20">
                  <c:v>0.08</c:v>
                </c:pt>
                <c:pt idx="21">
                  <c:v>0.05</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7ECAC4"/>
              </a:solidFill>
            </c:spPr>
            <c:extLst>
              <c:ext xmlns:c16="http://schemas.microsoft.com/office/drawing/2014/chart" uri="{C3380CC4-5D6E-409C-BE32-E72D297353CC}">
                <c16:uniqueId val="{00000006-E902-46E2-9A54-39A26B3DFDC1}"/>
              </c:ext>
            </c:extLst>
          </c:dPt>
          <c:dPt>
            <c:idx val="3"/>
            <c:invertIfNegative val="0"/>
            <c:bubble3D val="0"/>
            <c:spPr>
              <a:solidFill>
                <a:srgbClr val="7ECAC4"/>
              </a:solidFill>
            </c:spPr>
            <c:extLst>
              <c:ext xmlns:c16="http://schemas.microsoft.com/office/drawing/2014/chart" uri="{C3380CC4-5D6E-409C-BE32-E72D297353CC}">
                <c16:uniqueId val="{00000007-E902-46E2-9A54-39A26B3DFDC1}"/>
              </c:ext>
            </c:extLst>
          </c:dPt>
          <c:dPt>
            <c:idx val="4"/>
            <c:invertIfNegative val="1"/>
            <c:bubble3D val="0"/>
            <c:spPr>
              <a:solidFill>
                <a:srgbClr val="7ECAC4"/>
              </a:solidFill>
            </c:spPr>
            <c:extLst>
              <c:ext xmlns:c16="http://schemas.microsoft.com/office/drawing/2014/chart" uri="{C3380CC4-5D6E-409C-BE32-E72D297353CC}">
                <c16:uniqueId val="{0000000B-FA3E-4872-B6E1-C4ABDF5766E2}"/>
              </c:ext>
            </c:extLst>
          </c:dPt>
          <c:dPt>
            <c:idx val="5"/>
            <c:invertIfNegative val="1"/>
            <c:bubble3D val="0"/>
            <c:spPr>
              <a:solidFill>
                <a:srgbClr val="7ECAC4"/>
              </a:solidFill>
            </c:spPr>
            <c:extLst>
              <c:ext xmlns:c16="http://schemas.microsoft.com/office/drawing/2014/chart" uri="{C3380CC4-5D6E-409C-BE32-E72D297353CC}">
                <c16:uniqueId val="{0000000D-FA3E-4872-B6E1-C4ABDF5766E2}"/>
              </c:ext>
            </c:extLst>
          </c:dPt>
          <c:dPt>
            <c:idx val="6"/>
            <c:invertIfNegative val="1"/>
            <c:bubble3D val="0"/>
            <c:spPr>
              <a:solidFill>
                <a:srgbClr val="7ECAC4"/>
              </a:solidFill>
            </c:spPr>
            <c:extLst>
              <c:ext xmlns:c16="http://schemas.microsoft.com/office/drawing/2014/chart" uri="{C3380CC4-5D6E-409C-BE32-E72D297353CC}">
                <c16:uniqueId val="{0000000F-FA3E-4872-B6E1-C4ABDF5766E2}"/>
              </c:ext>
            </c:extLst>
          </c:dPt>
          <c:dPt>
            <c:idx val="7"/>
            <c:invertIfNegative val="1"/>
            <c:bubble3D val="0"/>
            <c:spPr>
              <a:solidFill>
                <a:srgbClr val="7ECAC4"/>
              </a:solidFill>
            </c:spPr>
            <c:extLst>
              <c:ext xmlns:c16="http://schemas.microsoft.com/office/drawing/2014/chart" uri="{C3380CC4-5D6E-409C-BE32-E72D297353CC}">
                <c16:uniqueId val="{00000011-FA3E-4872-B6E1-C4ABDF5766E2}"/>
              </c:ext>
            </c:extLst>
          </c:dPt>
          <c:dPt>
            <c:idx val="8"/>
            <c:invertIfNegative val="1"/>
            <c:bubble3D val="0"/>
            <c:spPr>
              <a:solidFill>
                <a:srgbClr val="7ECAC4"/>
              </a:solidFill>
            </c:spPr>
            <c:extLst>
              <c:ext xmlns:c16="http://schemas.microsoft.com/office/drawing/2014/chart" uri="{C3380CC4-5D6E-409C-BE32-E72D297353CC}">
                <c16:uniqueId val="{00000013-FA3E-4872-B6E1-C4ABDF5766E2}"/>
              </c:ext>
            </c:extLst>
          </c:dPt>
          <c:dPt>
            <c:idx val="9"/>
            <c:invertIfNegative val="1"/>
            <c:bubble3D val="0"/>
            <c:spPr>
              <a:solidFill>
                <a:srgbClr val="7ECAC4"/>
              </a:solidFill>
            </c:spPr>
            <c:extLst>
              <c:ext xmlns:c16="http://schemas.microsoft.com/office/drawing/2014/chart" uri="{C3380CC4-5D6E-409C-BE32-E72D297353CC}">
                <c16:uniqueId val="{00000015-FA3E-4872-B6E1-C4ABDF5766E2}"/>
              </c:ext>
            </c:extLst>
          </c:dPt>
          <c:dPt>
            <c:idx val="10"/>
            <c:invertIfNegative val="1"/>
            <c:bubble3D val="0"/>
            <c:spPr>
              <a:solidFill>
                <a:srgbClr val="AEABAB"/>
              </a:solidFill>
            </c:spPr>
            <c:extLst>
              <c:ext xmlns:c16="http://schemas.microsoft.com/office/drawing/2014/chart" uri="{C3380CC4-5D6E-409C-BE32-E72D297353CC}">
                <c16:uniqueId val="{00000017-FA3E-4872-B6E1-C4ABDF5766E2}"/>
              </c:ext>
            </c:extLst>
          </c:dPt>
          <c:dPt>
            <c:idx val="11"/>
            <c:invertIfNegative val="1"/>
            <c:bubble3D val="0"/>
            <c:spPr>
              <a:solidFill>
                <a:srgbClr val="AEABAB"/>
              </a:solidFill>
            </c:spPr>
            <c:extLst>
              <c:ext xmlns:c16="http://schemas.microsoft.com/office/drawing/2014/chart" uri="{C3380CC4-5D6E-409C-BE32-E72D297353CC}">
                <c16:uniqueId val="{00000019-FA3E-4872-B6E1-C4ABDF5766E2}"/>
              </c:ext>
            </c:extLst>
          </c:dPt>
          <c:dPt>
            <c:idx val="12"/>
            <c:invertIfNegative val="1"/>
            <c:bubble3D val="0"/>
            <c:spPr>
              <a:solidFill>
                <a:srgbClr val="AEABAB"/>
              </a:solidFill>
            </c:spPr>
            <c:extLst>
              <c:ext xmlns:c16="http://schemas.microsoft.com/office/drawing/2014/chart" uri="{C3380CC4-5D6E-409C-BE32-E72D297353CC}">
                <c16:uniqueId val="{0000001B-FA3E-4872-B6E1-C4ABDF5766E2}"/>
              </c:ext>
            </c:extLst>
          </c:dPt>
          <c:dPt>
            <c:idx val="13"/>
            <c:invertIfNegative val="1"/>
            <c:bubble3D val="0"/>
            <c:spPr>
              <a:solidFill>
                <a:srgbClr val="AEABAB"/>
              </a:solidFill>
            </c:spPr>
            <c:extLst>
              <c:ext xmlns:c16="http://schemas.microsoft.com/office/drawing/2014/chart" uri="{C3380CC4-5D6E-409C-BE32-E72D297353CC}">
                <c16:uniqueId val="{0000001D-FA3E-4872-B6E1-C4ABDF5766E2}"/>
              </c:ext>
            </c:extLst>
          </c:dPt>
          <c:dPt>
            <c:idx val="14"/>
            <c:invertIfNegative val="1"/>
            <c:bubble3D val="0"/>
            <c:spPr>
              <a:solidFill>
                <a:srgbClr val="AEABAB"/>
              </a:solidFill>
            </c:spPr>
            <c:extLst>
              <c:ext xmlns:c16="http://schemas.microsoft.com/office/drawing/2014/chart" uri="{C3380CC4-5D6E-409C-BE32-E72D297353CC}">
                <c16:uniqueId val="{0000001F-FA3E-4872-B6E1-C4ABDF5766E2}"/>
              </c:ext>
            </c:extLst>
          </c:dPt>
          <c:dPt>
            <c:idx val="15"/>
            <c:invertIfNegative val="1"/>
            <c:bubble3D val="0"/>
            <c:spPr>
              <a:solidFill>
                <a:srgbClr val="AEABAB"/>
              </a:solidFill>
            </c:spPr>
            <c:extLst>
              <c:ext xmlns:c16="http://schemas.microsoft.com/office/drawing/2014/chart" uri="{C3380CC4-5D6E-409C-BE32-E72D297353CC}">
                <c16:uniqueId val="{00000021-FA3E-4872-B6E1-C4ABDF5766E2}"/>
              </c:ext>
            </c:extLst>
          </c:dPt>
          <c:dPt>
            <c:idx val="16"/>
            <c:invertIfNegative val="1"/>
            <c:bubble3D val="0"/>
            <c:spPr>
              <a:solidFill>
                <a:srgbClr val="AEABAB"/>
              </a:solidFill>
            </c:spPr>
            <c:extLst>
              <c:ext xmlns:c16="http://schemas.microsoft.com/office/drawing/2014/chart" uri="{C3380CC4-5D6E-409C-BE32-E72D297353CC}">
                <c16:uniqueId val="{00000023-FA3E-4872-B6E1-C4ABDF5766E2}"/>
              </c:ext>
            </c:extLst>
          </c:dPt>
          <c:dPt>
            <c:idx val="17"/>
            <c:invertIfNegative val="1"/>
            <c:bubble3D val="0"/>
            <c:spPr>
              <a:solidFill>
                <a:srgbClr val="AEABAB"/>
              </a:solidFill>
            </c:spPr>
            <c:extLst>
              <c:ext xmlns:c16="http://schemas.microsoft.com/office/drawing/2014/chart" uri="{C3380CC4-5D6E-409C-BE32-E72D297353CC}">
                <c16:uniqueId val="{00000025-FA3E-4872-B6E1-C4ABDF5766E2}"/>
              </c:ext>
            </c:extLst>
          </c:dPt>
          <c:dPt>
            <c:idx val="18"/>
            <c:invertIfNegative val="1"/>
            <c:bubble3D val="0"/>
            <c:spPr>
              <a:solidFill>
                <a:srgbClr val="AEABAB"/>
              </a:solidFill>
            </c:spPr>
            <c:extLst>
              <c:ext xmlns:c16="http://schemas.microsoft.com/office/drawing/2014/chart" uri="{C3380CC4-5D6E-409C-BE32-E72D297353CC}">
                <c16:uniqueId val="{00000027-FA3E-4872-B6E1-C4ABDF5766E2}"/>
              </c:ext>
            </c:extLst>
          </c:dPt>
          <c:dPt>
            <c:idx val="19"/>
            <c:invertIfNegative val="1"/>
            <c:bubble3D val="0"/>
            <c:spPr>
              <a:solidFill>
                <a:srgbClr val="AEABAB"/>
              </a:solidFill>
            </c:spPr>
            <c:extLst>
              <c:ext xmlns:c16="http://schemas.microsoft.com/office/drawing/2014/chart" uri="{C3380CC4-5D6E-409C-BE32-E72D297353CC}">
                <c16:uniqueId val="{00000029-FA3E-4872-B6E1-C4ABDF5766E2}"/>
              </c:ext>
            </c:extLst>
          </c:dPt>
          <c:dPt>
            <c:idx val="20"/>
            <c:invertIfNegative val="1"/>
            <c:bubble3D val="0"/>
            <c:spPr>
              <a:solidFill>
                <a:srgbClr val="AEABAB"/>
              </a:solidFill>
            </c:spPr>
            <c:extLst>
              <c:ext xmlns:c16="http://schemas.microsoft.com/office/drawing/2014/chart" uri="{C3380CC4-5D6E-409C-BE32-E72D297353CC}">
                <c16:uniqueId val="{0000002B-FA3E-4872-B6E1-C4ABDF5766E2}"/>
              </c:ext>
            </c:extLst>
          </c:dPt>
          <c:dPt>
            <c:idx val="21"/>
            <c:invertIfNegative val="1"/>
            <c:bubble3D val="0"/>
            <c:spPr>
              <a:solidFill>
                <a:srgbClr val="AEABAB"/>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23</c:f>
              <c:strCache>
                <c:ptCount val="22"/>
                <c:pt idx="0">
                  <c:v>CHAMPAGNE E.NICOLAS BRUT 1CT X 750ML</c:v>
                </c:pt>
                <c:pt idx="1">
                  <c:v>CHAMPAGNE E.NICOLAS ROSE 1CT X 750ML</c:v>
                </c:pt>
                <c:pt idx="2">
                  <c:v>CHAMPAGNE NICOLAS BLC/BLC BS 1CT X 750ML</c:v>
                </c:pt>
                <c:pt idx="3">
                  <c:v>CHAMPAGNE NICOLAS 1ERE CUVEE 1CT X 750ML</c:v>
                </c:pt>
                <c:pt idx="4">
                  <c:v>CHAMPAGNE NICOLAS BIO NAT 2017 1CT X 750ML</c:v>
                </c:pt>
                <c:pt idx="5">
                  <c:v>CHAMPAGNE NICOLAS BLC DE NOIRS 1CT X 750ML</c:v>
                </c:pt>
                <c:pt idx="6">
                  <c:v>MG CHAMPAGNE E.NICOLAS BRUT 1CT X 1500ML</c:v>
                </c:pt>
                <c:pt idx="7">
                  <c:v>1/2 CHAMP NICOLAS BLC/BLC BS 1CT X 375ML</c:v>
                </c:pt>
                <c:pt idx="8">
                  <c:v>1/2 CHAMP NICOLAS ROSE 1E C BS 1CT X 375ML</c:v>
                </c:pt>
                <c:pt idx="9">
                  <c:v>1/2 CHAMPAGNE NICOLAS 1ERE CUV 1CT X 375ML</c:v>
                </c:pt>
                <c:pt idx="10">
                  <c:v>CHAMPAGNE NICOLAS ROSE 1ERE CU 1CT X 750ML</c:v>
                </c:pt>
                <c:pt idx="11">
                  <c:v>MG CHAMPAGNE NICOLAS BLC/BL BS 1CT X 1500ML</c:v>
                </c:pt>
                <c:pt idx="12">
                  <c:v>CHAMPAGNE NICOLAS 1ER CRU BS 1CT X 750ML</c:v>
                </c:pt>
                <c:pt idx="13">
                  <c:v>CHAMPAGNE NICOLAS BLC/BLC 2002 1CT X 750ML</c:v>
                </c:pt>
                <c:pt idx="14">
                  <c:v>CHAMPAGNE NICOLAS 1ERE CUV ETU 1CT X 750ML</c:v>
                </c:pt>
                <c:pt idx="15">
                  <c:v>CHAMPAGNE NICOLAS ROSE 1ERE ET 1CT X 750ML</c:v>
                </c:pt>
                <c:pt idx="16">
                  <c:v>CHAMPAGNE NICOLAS BLC/BL BS ET 1CT X 750ML</c:v>
                </c:pt>
                <c:pt idx="17">
                  <c:v>MG CHAMPAGNE NICOLAS 1ERE CUVE 1CT X 1500ML</c:v>
                </c:pt>
                <c:pt idx="18">
                  <c:v>CHAMPAGNE NICOLAS ROSE 1E C BS 1CT X 750ML</c:v>
                </c:pt>
                <c:pt idx="19">
                  <c:v>MG CHAMPAGNE NICOLAS 1E CRU BS 1CT X 1500ML</c:v>
                </c:pt>
                <c:pt idx="20">
                  <c:v>CHAMPAGNE NICOLAS 1ER CRU ETUI 1CT X 750ML</c:v>
                </c:pt>
                <c:pt idx="21">
                  <c:v>1/2 CHAMPAGNE NICOLAS 1E C BS 1CT X 375ML</c:v>
                </c:pt>
              </c:strCache>
            </c:strRef>
          </c:cat>
          <c:val>
            <c:numRef>
              <c:f>Sheet1!$C$2:$C$23</c:f>
              <c:numCache>
                <c:formatCode>General</c:formatCode>
                <c:ptCount val="22"/>
                <c:pt idx="0">
                  <c:v>0.69585692956319845</c:v>
                </c:pt>
                <c:pt idx="1">
                  <c:v>0.79199142314041981</c:v>
                </c:pt>
                <c:pt idx="2">
                  <c:v>0.84642554115116719</c:v>
                </c:pt>
                <c:pt idx="3">
                  <c:v>0.86667061307444904</c:v>
                </c:pt>
                <c:pt idx="4">
                  <c:v>0.88231154258502875</c:v>
                </c:pt>
                <c:pt idx="5">
                  <c:v>0.89764991416563089</c:v>
                </c:pt>
                <c:pt idx="6">
                  <c:v>0.91223189092128909</c:v>
                </c:pt>
                <c:pt idx="7">
                  <c:v>0.9250116747896896</c:v>
                </c:pt>
                <c:pt idx="8">
                  <c:v>0.93767964377092439</c:v>
                </c:pt>
                <c:pt idx="9">
                  <c:v>0.9492952373435416</c:v>
                </c:pt>
                <c:pt idx="10">
                  <c:v>0.95857587297828839</c:v>
                </c:pt>
                <c:pt idx="11">
                  <c:v>0.96740267171806882</c:v>
                </c:pt>
                <c:pt idx="12">
                  <c:v>0.97494031058229269</c:v>
                </c:pt>
                <c:pt idx="13">
                  <c:v>0.98172813196787645</c:v>
                </c:pt>
                <c:pt idx="14">
                  <c:v>0.98731229897985384</c:v>
                </c:pt>
                <c:pt idx="15">
                  <c:v>0.99187039996842896</c:v>
                </c:pt>
                <c:pt idx="16">
                  <c:v>0.9951985371981823</c:v>
                </c:pt>
                <c:pt idx="17">
                  <c:v>0.99764531002321832</c:v>
                </c:pt>
                <c:pt idx="18">
                  <c:v>0.99872399481705143</c:v>
                </c:pt>
                <c:pt idx="19">
                  <c:v>0.9992238731361448</c:v>
                </c:pt>
                <c:pt idx="20">
                  <c:v>0.99970401941632658</c:v>
                </c:pt>
                <c:pt idx="21">
                  <c:v>1.000000000000000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23</c:f>
              <c:strCache>
                <c:ptCount val="22"/>
                <c:pt idx="0">
                  <c:v>CHAMPAGNE E.NICOLAS BRUT 1CT X 750ML</c:v>
                </c:pt>
                <c:pt idx="1">
                  <c:v>CHAMPAGNE E.NICOLAS ROSE 1CT X 750ML</c:v>
                </c:pt>
                <c:pt idx="2">
                  <c:v>CHAMPAGNE NICOLAS BLC/BLC BS 1CT X 750ML</c:v>
                </c:pt>
                <c:pt idx="3">
                  <c:v>CHAMPAGNE NICOLAS 1ERE CUVEE 1CT X 750ML</c:v>
                </c:pt>
                <c:pt idx="4">
                  <c:v>CHAMPAGNE NICOLAS BIO NAT 2017 1CT X 750ML</c:v>
                </c:pt>
                <c:pt idx="5">
                  <c:v>CHAMPAGNE NICOLAS BLC DE NOIRS 1CT X 750ML</c:v>
                </c:pt>
                <c:pt idx="6">
                  <c:v>MG CHAMPAGNE E.NICOLAS BRUT 1CT X 1500ML</c:v>
                </c:pt>
                <c:pt idx="7">
                  <c:v>1/2 CHAMP NICOLAS BLC/BLC BS 1CT X 375ML</c:v>
                </c:pt>
                <c:pt idx="8">
                  <c:v>1/2 CHAMP NICOLAS ROSE 1E C BS 1CT X 375ML</c:v>
                </c:pt>
                <c:pt idx="9">
                  <c:v>1/2 CHAMPAGNE NICOLAS 1ERE CUV 1CT X 375ML</c:v>
                </c:pt>
                <c:pt idx="10">
                  <c:v>CHAMPAGNE NICOLAS ROSE 1ERE CU 1CT X 750ML</c:v>
                </c:pt>
                <c:pt idx="11">
                  <c:v>MG CHAMPAGNE NICOLAS BLC/BL BS 1CT X 1500ML</c:v>
                </c:pt>
                <c:pt idx="12">
                  <c:v>CHAMPAGNE NICOLAS 1ER CRU BS 1CT X 750ML</c:v>
                </c:pt>
                <c:pt idx="13">
                  <c:v>CHAMPAGNE NICOLAS BLC/BLC 2002 1CT X 750ML</c:v>
                </c:pt>
                <c:pt idx="14">
                  <c:v>CHAMPAGNE NICOLAS 1ERE CUV ETU 1CT X 750ML</c:v>
                </c:pt>
                <c:pt idx="15">
                  <c:v>CHAMPAGNE NICOLAS ROSE 1ERE ET 1CT X 750ML</c:v>
                </c:pt>
                <c:pt idx="16">
                  <c:v>CHAMPAGNE NICOLAS BLC/BL BS ET 1CT X 750ML</c:v>
                </c:pt>
                <c:pt idx="17">
                  <c:v>MG CHAMPAGNE NICOLAS 1ERE CUVE 1CT X 1500ML</c:v>
                </c:pt>
                <c:pt idx="18">
                  <c:v>CHAMPAGNE NICOLAS ROSE 1E C BS 1CT X 750ML</c:v>
                </c:pt>
                <c:pt idx="19">
                  <c:v>MG CHAMPAGNE NICOLAS 1E CRU BS 1CT X 1500ML</c:v>
                </c:pt>
                <c:pt idx="20">
                  <c:v>CHAMPAGNE NICOLAS 1ER CRU ETUI 1CT X 750ML</c:v>
                </c:pt>
                <c:pt idx="21">
                  <c:v>1/2 CHAMPAGNE NICOLAS 1E C BS 1CT X 375ML</c:v>
                </c:pt>
              </c:strCache>
            </c:strRef>
          </c:cat>
          <c:val>
            <c:numRef>
              <c:f>Sheet1!$D$2:$D$23</c:f>
              <c:numCache>
                <c:formatCode>General</c:formatCode>
                <c:ptCount val="22"/>
                <c:pt idx="0">
                  <c:v>1057.96</c:v>
                </c:pt>
                <c:pt idx="1">
                  <c:v>197.51351351351352</c:v>
                </c:pt>
                <c:pt idx="2">
                  <c:v>192.46511627906978</c:v>
                </c:pt>
                <c:pt idx="3">
                  <c:v>54.000000000000007</c:v>
                </c:pt>
                <c:pt idx="4">
                  <c:v>88.074074074074076</c:v>
                </c:pt>
                <c:pt idx="5">
                  <c:v>55.523809523809526</c:v>
                </c:pt>
                <c:pt idx="6">
                  <c:v>69.28125</c:v>
                </c:pt>
                <c:pt idx="7">
                  <c:v>58.878787878787875</c:v>
                </c:pt>
                <c:pt idx="8">
                  <c:v>56.647058823529413</c:v>
                </c:pt>
                <c:pt idx="9">
                  <c:v>35.32</c:v>
                </c:pt>
                <c:pt idx="10">
                  <c:v>56.44</c:v>
                </c:pt>
                <c:pt idx="11">
                  <c:v>39.470588235294116</c:v>
                </c:pt>
                <c:pt idx="12">
                  <c:v>27.951219512195124</c:v>
                </c:pt>
                <c:pt idx="13">
                  <c:v>39.692307692307693</c:v>
                </c:pt>
                <c:pt idx="14">
                  <c:v>30.321428571428566</c:v>
                </c:pt>
                <c:pt idx="15">
                  <c:v>30.130434782608695</c:v>
                </c:pt>
                <c:pt idx="16">
                  <c:v>38.92307692307692</c:v>
                </c:pt>
                <c:pt idx="17">
                  <c:v>24.8</c:v>
                </c:pt>
                <c:pt idx="18">
                  <c:v>54.666666666666664</c:v>
                </c:pt>
                <c:pt idx="19">
                  <c:v>38</c:v>
                </c:pt>
                <c:pt idx="20">
                  <c:v>9.125</c:v>
                </c:pt>
                <c:pt idx="21">
                  <c:v>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23</c:f>
              <c:strCache>
                <c:ptCount val="22"/>
                <c:pt idx="0">
                  <c:v>CHAMPAGNE E.NICOLAS BRUT 1CT X 750ML</c:v>
                </c:pt>
                <c:pt idx="1">
                  <c:v>CHAMPAGNE NICOLAS BLC/BLC BS 1CT X 750ML</c:v>
                </c:pt>
                <c:pt idx="2">
                  <c:v>CHAMPAGNE E.NICOLAS ROSE 1CT X 750ML</c:v>
                </c:pt>
                <c:pt idx="3">
                  <c:v>CHAMPAGNE NICOLAS 1ERE CUVEE 1CT X 750ML</c:v>
                </c:pt>
                <c:pt idx="4">
                  <c:v>MG CHAMPAGNE E.NICOLAS BRUT 1CT X 1500ML</c:v>
                </c:pt>
                <c:pt idx="5">
                  <c:v>1/2 CHAMPAGNE NICOLAS 1ERE CUV 1CT X 375ML</c:v>
                </c:pt>
                <c:pt idx="6">
                  <c:v>MG CHAMPAGNE NICOLAS BLC/BL BS 1CT X 1500ML</c:v>
                </c:pt>
                <c:pt idx="7">
                  <c:v>1/2 CHAMP NICOLAS BLC/BLC BS 1CT X 375ML</c:v>
                </c:pt>
                <c:pt idx="8">
                  <c:v>CHAMPAGNE NICOLAS ROSE 1ERE CU 1CT X 750ML</c:v>
                </c:pt>
                <c:pt idx="9">
                  <c:v>CHAMPAGNE NICOLAS BIO NAT 2017 1CT X 750ML</c:v>
                </c:pt>
                <c:pt idx="10">
                  <c:v>1/2 CHAMP NICOLAS ROSE 1E C BS 1CT X 375ML</c:v>
                </c:pt>
                <c:pt idx="11">
                  <c:v>CHAMPAGNE NICOLAS BLC DE NOIRS 1CT X 750ML</c:v>
                </c:pt>
                <c:pt idx="12">
                  <c:v>MG CHAMPAGNE NICOLAS 1ERE CUVE 1CT X 1500ML</c:v>
                </c:pt>
                <c:pt idx="13">
                  <c:v>CHAMPAGNE NICOLAS BLC/BLC 2002 1CT X 750ML</c:v>
                </c:pt>
                <c:pt idx="14">
                  <c:v>CHAMPAGNE NICOLAS ROSE 1ERE ET 1CT X 750ML</c:v>
                </c:pt>
                <c:pt idx="15">
                  <c:v>CHAMPAGNE NICOLAS 1ER CRU BS 1CT X 750ML</c:v>
                </c:pt>
                <c:pt idx="16">
                  <c:v>CHAMPAGNE NICOLAS 1ER CRU ETUI 1CT X 750ML</c:v>
                </c:pt>
                <c:pt idx="17">
                  <c:v>MG CHAMPAGNE NICOLAS 1E CRU BS 1CT X 1500ML</c:v>
                </c:pt>
                <c:pt idx="18">
                  <c:v>CHAMPAGNE NICOLAS ROSE 1E C BS 1CT X 750ML</c:v>
                </c:pt>
                <c:pt idx="19">
                  <c:v>CHAMPAGNE NICOLAS 1ERE CUV ETU 1CT X 750ML</c:v>
                </c:pt>
                <c:pt idx="20">
                  <c:v>CHAMPAGNE NICOLAS BLC/BL BS ET 1CT X 750ML</c:v>
                </c:pt>
                <c:pt idx="21">
                  <c:v>1/2 CHAMPAGNE NICOLAS 1E C BS 1CT X 375ML</c:v>
                </c:pt>
              </c:strCache>
            </c:strRef>
          </c:cat>
          <c:val>
            <c:numRef>
              <c:f>Sheet1!$B$2:$B$23</c:f>
              <c:numCache>
                <c:formatCode>General</c:formatCode>
                <c:ptCount val="22"/>
                <c:pt idx="0">
                  <c:v>1</c:v>
                </c:pt>
                <c:pt idx="1">
                  <c:v>0.7</c:v>
                </c:pt>
                <c:pt idx="2">
                  <c:v>0.73</c:v>
                </c:pt>
                <c:pt idx="3">
                  <c:v>0.9</c:v>
                </c:pt>
                <c:pt idx="4">
                  <c:v>0.34</c:v>
                </c:pt>
                <c:pt idx="5">
                  <c:v>0.43</c:v>
                </c:pt>
                <c:pt idx="6">
                  <c:v>0.23</c:v>
                </c:pt>
                <c:pt idx="7">
                  <c:v>0.35</c:v>
                </c:pt>
                <c:pt idx="8">
                  <c:v>0.42</c:v>
                </c:pt>
                <c:pt idx="9">
                  <c:v>0.28000000000000003</c:v>
                </c:pt>
                <c:pt idx="10">
                  <c:v>0.42</c:v>
                </c:pt>
                <c:pt idx="11">
                  <c:v>0.25</c:v>
                </c:pt>
                <c:pt idx="12">
                  <c:v>0.24</c:v>
                </c:pt>
                <c:pt idx="13">
                  <c:v>7.0000000000000007E-2</c:v>
                </c:pt>
                <c:pt idx="14">
                  <c:v>0.14000000000000001</c:v>
                </c:pt>
                <c:pt idx="15">
                  <c:v>0.31</c:v>
                </c:pt>
                <c:pt idx="16">
                  <c:v>0.21</c:v>
                </c:pt>
                <c:pt idx="17">
                  <c:v>7.0000000000000007E-2</c:v>
                </c:pt>
                <c:pt idx="18">
                  <c:v>7.0000000000000007E-2</c:v>
                </c:pt>
                <c:pt idx="19">
                  <c:v>7.0000000000000007E-2</c:v>
                </c:pt>
                <c:pt idx="20">
                  <c:v>0.02</c:v>
                </c:pt>
                <c:pt idx="21">
                  <c:v>0.02</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7ECAC4"/>
              </a:solidFill>
            </c:spPr>
            <c:extLst>
              <c:ext xmlns:c16="http://schemas.microsoft.com/office/drawing/2014/chart" uri="{C3380CC4-5D6E-409C-BE32-E72D297353CC}">
                <c16:uniqueId val="{00000006-E902-46E2-9A54-39A26B3DFDC1}"/>
              </c:ext>
            </c:extLst>
          </c:dPt>
          <c:dPt>
            <c:idx val="3"/>
            <c:invertIfNegative val="0"/>
            <c:bubble3D val="0"/>
            <c:spPr>
              <a:solidFill>
                <a:srgbClr val="7ECAC4"/>
              </a:solidFill>
            </c:spPr>
            <c:extLst>
              <c:ext xmlns:c16="http://schemas.microsoft.com/office/drawing/2014/chart" uri="{C3380CC4-5D6E-409C-BE32-E72D297353CC}">
                <c16:uniqueId val="{00000007-E902-46E2-9A54-39A26B3DFDC1}"/>
              </c:ext>
            </c:extLst>
          </c:dPt>
          <c:dPt>
            <c:idx val="4"/>
            <c:invertIfNegative val="1"/>
            <c:bubble3D val="0"/>
            <c:spPr>
              <a:solidFill>
                <a:srgbClr val="7ECAC4"/>
              </a:solidFill>
            </c:spPr>
            <c:extLst>
              <c:ext xmlns:c16="http://schemas.microsoft.com/office/drawing/2014/chart" uri="{C3380CC4-5D6E-409C-BE32-E72D297353CC}">
                <c16:uniqueId val="{0000000B-FA3E-4872-B6E1-C4ABDF5766E2}"/>
              </c:ext>
            </c:extLst>
          </c:dPt>
          <c:dPt>
            <c:idx val="5"/>
            <c:invertIfNegative val="1"/>
            <c:bubble3D val="0"/>
            <c:spPr>
              <a:solidFill>
                <a:srgbClr val="7ECAC4"/>
              </a:solidFill>
            </c:spPr>
            <c:extLst>
              <c:ext xmlns:c16="http://schemas.microsoft.com/office/drawing/2014/chart" uri="{C3380CC4-5D6E-409C-BE32-E72D297353CC}">
                <c16:uniqueId val="{0000000D-FA3E-4872-B6E1-C4ABDF5766E2}"/>
              </c:ext>
            </c:extLst>
          </c:dPt>
          <c:dPt>
            <c:idx val="6"/>
            <c:invertIfNegative val="1"/>
            <c:bubble3D val="0"/>
            <c:spPr>
              <a:solidFill>
                <a:srgbClr val="7ECAC4"/>
              </a:solidFill>
            </c:spPr>
            <c:extLst>
              <c:ext xmlns:c16="http://schemas.microsoft.com/office/drawing/2014/chart" uri="{C3380CC4-5D6E-409C-BE32-E72D297353CC}">
                <c16:uniqueId val="{0000000F-FA3E-4872-B6E1-C4ABDF5766E2}"/>
              </c:ext>
            </c:extLst>
          </c:dPt>
          <c:dPt>
            <c:idx val="7"/>
            <c:invertIfNegative val="1"/>
            <c:bubble3D val="0"/>
            <c:spPr>
              <a:solidFill>
                <a:srgbClr val="7ECAC4"/>
              </a:solidFill>
            </c:spPr>
            <c:extLst>
              <c:ext xmlns:c16="http://schemas.microsoft.com/office/drawing/2014/chart" uri="{C3380CC4-5D6E-409C-BE32-E72D297353CC}">
                <c16:uniqueId val="{00000011-FA3E-4872-B6E1-C4ABDF5766E2}"/>
              </c:ext>
            </c:extLst>
          </c:dPt>
          <c:dPt>
            <c:idx val="8"/>
            <c:invertIfNegative val="1"/>
            <c:bubble3D val="0"/>
            <c:spPr>
              <a:solidFill>
                <a:srgbClr val="AEABAB"/>
              </a:solidFill>
            </c:spPr>
            <c:extLst>
              <c:ext xmlns:c16="http://schemas.microsoft.com/office/drawing/2014/chart" uri="{C3380CC4-5D6E-409C-BE32-E72D297353CC}">
                <c16:uniqueId val="{00000013-FA3E-4872-B6E1-C4ABDF5766E2}"/>
              </c:ext>
            </c:extLst>
          </c:dPt>
          <c:dPt>
            <c:idx val="9"/>
            <c:invertIfNegative val="1"/>
            <c:bubble3D val="0"/>
            <c:spPr>
              <a:solidFill>
                <a:srgbClr val="AEABAB"/>
              </a:solidFill>
            </c:spPr>
            <c:extLst>
              <c:ext xmlns:c16="http://schemas.microsoft.com/office/drawing/2014/chart" uri="{C3380CC4-5D6E-409C-BE32-E72D297353CC}">
                <c16:uniqueId val="{00000015-FA3E-4872-B6E1-C4ABDF5766E2}"/>
              </c:ext>
            </c:extLst>
          </c:dPt>
          <c:dPt>
            <c:idx val="10"/>
            <c:invertIfNegative val="1"/>
            <c:bubble3D val="0"/>
            <c:spPr>
              <a:solidFill>
                <a:srgbClr val="AEABAB"/>
              </a:solidFill>
            </c:spPr>
            <c:extLst>
              <c:ext xmlns:c16="http://schemas.microsoft.com/office/drawing/2014/chart" uri="{C3380CC4-5D6E-409C-BE32-E72D297353CC}">
                <c16:uniqueId val="{00000017-FA3E-4872-B6E1-C4ABDF5766E2}"/>
              </c:ext>
            </c:extLst>
          </c:dPt>
          <c:dPt>
            <c:idx val="11"/>
            <c:invertIfNegative val="1"/>
            <c:bubble3D val="0"/>
            <c:spPr>
              <a:solidFill>
                <a:srgbClr val="AEABAB"/>
              </a:solidFill>
            </c:spPr>
            <c:extLst>
              <c:ext xmlns:c16="http://schemas.microsoft.com/office/drawing/2014/chart" uri="{C3380CC4-5D6E-409C-BE32-E72D297353CC}">
                <c16:uniqueId val="{00000019-FA3E-4872-B6E1-C4ABDF5766E2}"/>
              </c:ext>
            </c:extLst>
          </c:dPt>
          <c:dPt>
            <c:idx val="12"/>
            <c:invertIfNegative val="1"/>
            <c:bubble3D val="0"/>
            <c:spPr>
              <a:solidFill>
                <a:srgbClr val="AEABAB"/>
              </a:solidFill>
            </c:spPr>
            <c:extLst>
              <c:ext xmlns:c16="http://schemas.microsoft.com/office/drawing/2014/chart" uri="{C3380CC4-5D6E-409C-BE32-E72D297353CC}">
                <c16:uniqueId val="{0000001B-FA3E-4872-B6E1-C4ABDF5766E2}"/>
              </c:ext>
            </c:extLst>
          </c:dPt>
          <c:dPt>
            <c:idx val="13"/>
            <c:invertIfNegative val="1"/>
            <c:bubble3D val="0"/>
            <c:spPr>
              <a:solidFill>
                <a:srgbClr val="AEABAB"/>
              </a:solidFill>
            </c:spPr>
            <c:extLst>
              <c:ext xmlns:c16="http://schemas.microsoft.com/office/drawing/2014/chart" uri="{C3380CC4-5D6E-409C-BE32-E72D297353CC}">
                <c16:uniqueId val="{0000001D-FA3E-4872-B6E1-C4ABDF5766E2}"/>
              </c:ext>
            </c:extLst>
          </c:dPt>
          <c:dPt>
            <c:idx val="14"/>
            <c:invertIfNegative val="1"/>
            <c:bubble3D val="0"/>
            <c:spPr>
              <a:solidFill>
                <a:srgbClr val="AEABAB"/>
              </a:solidFill>
            </c:spPr>
            <c:extLst>
              <c:ext xmlns:c16="http://schemas.microsoft.com/office/drawing/2014/chart" uri="{C3380CC4-5D6E-409C-BE32-E72D297353CC}">
                <c16:uniqueId val="{0000001F-FA3E-4872-B6E1-C4ABDF5766E2}"/>
              </c:ext>
            </c:extLst>
          </c:dPt>
          <c:dPt>
            <c:idx val="15"/>
            <c:invertIfNegative val="1"/>
            <c:bubble3D val="0"/>
            <c:spPr>
              <a:solidFill>
                <a:srgbClr val="AEABAB"/>
              </a:solidFill>
            </c:spPr>
            <c:extLst>
              <c:ext xmlns:c16="http://schemas.microsoft.com/office/drawing/2014/chart" uri="{C3380CC4-5D6E-409C-BE32-E72D297353CC}">
                <c16:uniqueId val="{00000021-FA3E-4872-B6E1-C4ABDF5766E2}"/>
              </c:ext>
            </c:extLst>
          </c:dPt>
          <c:dPt>
            <c:idx val="16"/>
            <c:invertIfNegative val="1"/>
            <c:bubble3D val="0"/>
            <c:spPr>
              <a:solidFill>
                <a:srgbClr val="AEABAB"/>
              </a:solidFill>
            </c:spPr>
            <c:extLst>
              <c:ext xmlns:c16="http://schemas.microsoft.com/office/drawing/2014/chart" uri="{C3380CC4-5D6E-409C-BE32-E72D297353CC}">
                <c16:uniqueId val="{00000023-FA3E-4872-B6E1-C4ABDF5766E2}"/>
              </c:ext>
            </c:extLst>
          </c:dPt>
          <c:dPt>
            <c:idx val="17"/>
            <c:invertIfNegative val="1"/>
            <c:bubble3D val="0"/>
            <c:spPr>
              <a:solidFill>
                <a:srgbClr val="AEABAB"/>
              </a:solidFill>
            </c:spPr>
            <c:extLst>
              <c:ext xmlns:c16="http://schemas.microsoft.com/office/drawing/2014/chart" uri="{C3380CC4-5D6E-409C-BE32-E72D297353CC}">
                <c16:uniqueId val="{00000025-FA3E-4872-B6E1-C4ABDF5766E2}"/>
              </c:ext>
            </c:extLst>
          </c:dPt>
          <c:dPt>
            <c:idx val="18"/>
            <c:invertIfNegative val="1"/>
            <c:bubble3D val="0"/>
            <c:spPr>
              <a:solidFill>
                <a:srgbClr val="AEABAB"/>
              </a:solidFill>
            </c:spPr>
            <c:extLst>
              <c:ext xmlns:c16="http://schemas.microsoft.com/office/drawing/2014/chart" uri="{C3380CC4-5D6E-409C-BE32-E72D297353CC}">
                <c16:uniqueId val="{00000027-FA3E-4872-B6E1-C4ABDF5766E2}"/>
              </c:ext>
            </c:extLst>
          </c:dPt>
          <c:dPt>
            <c:idx val="19"/>
            <c:invertIfNegative val="1"/>
            <c:bubble3D val="0"/>
            <c:spPr>
              <a:solidFill>
                <a:srgbClr val="AEABAB"/>
              </a:solidFill>
            </c:spPr>
            <c:extLst>
              <c:ext xmlns:c16="http://schemas.microsoft.com/office/drawing/2014/chart" uri="{C3380CC4-5D6E-409C-BE32-E72D297353CC}">
                <c16:uniqueId val="{00000029-FA3E-4872-B6E1-C4ABDF5766E2}"/>
              </c:ext>
            </c:extLst>
          </c:dPt>
          <c:dPt>
            <c:idx val="20"/>
            <c:invertIfNegative val="1"/>
            <c:bubble3D val="0"/>
            <c:spPr>
              <a:solidFill>
                <a:srgbClr val="AEABAB"/>
              </a:solidFill>
            </c:spPr>
            <c:extLst>
              <c:ext xmlns:c16="http://schemas.microsoft.com/office/drawing/2014/chart" uri="{C3380CC4-5D6E-409C-BE32-E72D297353CC}">
                <c16:uniqueId val="{0000002B-FA3E-4872-B6E1-C4ABDF5766E2}"/>
              </c:ext>
            </c:extLst>
          </c:dPt>
          <c:dPt>
            <c:idx val="21"/>
            <c:invertIfNegative val="1"/>
            <c:bubble3D val="0"/>
            <c:spPr>
              <a:solidFill>
                <a:srgbClr val="AEABAB"/>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23</c:f>
              <c:strCache>
                <c:ptCount val="22"/>
                <c:pt idx="0">
                  <c:v>CHAMPAGNE E.NICOLAS BRUT 1CT X 750ML</c:v>
                </c:pt>
                <c:pt idx="1">
                  <c:v>CHAMPAGNE NICOLAS BLC/BLC BS 1CT X 750ML</c:v>
                </c:pt>
                <c:pt idx="2">
                  <c:v>CHAMPAGNE E.NICOLAS ROSE 1CT X 750ML</c:v>
                </c:pt>
                <c:pt idx="3">
                  <c:v>CHAMPAGNE NICOLAS 1ERE CUVEE 1CT X 750ML</c:v>
                </c:pt>
                <c:pt idx="4">
                  <c:v>MG CHAMPAGNE E.NICOLAS BRUT 1CT X 1500ML</c:v>
                </c:pt>
                <c:pt idx="5">
                  <c:v>1/2 CHAMPAGNE NICOLAS 1ERE CUV 1CT X 375ML</c:v>
                </c:pt>
                <c:pt idx="6">
                  <c:v>MG CHAMPAGNE NICOLAS BLC/BL BS 1CT X 1500ML</c:v>
                </c:pt>
                <c:pt idx="7">
                  <c:v>1/2 CHAMP NICOLAS BLC/BLC BS 1CT X 375ML</c:v>
                </c:pt>
                <c:pt idx="8">
                  <c:v>CHAMPAGNE NICOLAS ROSE 1ERE CU 1CT X 750ML</c:v>
                </c:pt>
                <c:pt idx="9">
                  <c:v>CHAMPAGNE NICOLAS BIO NAT 2017 1CT X 750ML</c:v>
                </c:pt>
                <c:pt idx="10">
                  <c:v>1/2 CHAMP NICOLAS ROSE 1E C BS 1CT X 375ML</c:v>
                </c:pt>
                <c:pt idx="11">
                  <c:v>CHAMPAGNE NICOLAS BLC DE NOIRS 1CT X 750ML</c:v>
                </c:pt>
                <c:pt idx="12">
                  <c:v>MG CHAMPAGNE NICOLAS 1ERE CUVE 1CT X 1500ML</c:v>
                </c:pt>
                <c:pt idx="13">
                  <c:v>CHAMPAGNE NICOLAS BLC/BLC 2002 1CT X 750ML</c:v>
                </c:pt>
                <c:pt idx="14">
                  <c:v>CHAMPAGNE NICOLAS ROSE 1ERE ET 1CT X 750ML</c:v>
                </c:pt>
                <c:pt idx="15">
                  <c:v>CHAMPAGNE NICOLAS 1ER CRU BS 1CT X 750ML</c:v>
                </c:pt>
                <c:pt idx="16">
                  <c:v>CHAMPAGNE NICOLAS 1ER CRU ETUI 1CT X 750ML</c:v>
                </c:pt>
                <c:pt idx="17">
                  <c:v>MG CHAMPAGNE NICOLAS 1E CRU BS 1CT X 1500ML</c:v>
                </c:pt>
                <c:pt idx="18">
                  <c:v>CHAMPAGNE NICOLAS ROSE 1E C BS 1CT X 750ML</c:v>
                </c:pt>
                <c:pt idx="19">
                  <c:v>CHAMPAGNE NICOLAS 1ERE CUV ETU 1CT X 750ML</c:v>
                </c:pt>
                <c:pt idx="20">
                  <c:v>CHAMPAGNE NICOLAS BLC/BL BS ET 1CT X 750ML</c:v>
                </c:pt>
                <c:pt idx="21">
                  <c:v>1/2 CHAMPAGNE NICOLAS 1E C BS 1CT X 375ML</c:v>
                </c:pt>
              </c:strCache>
            </c:strRef>
          </c:cat>
          <c:val>
            <c:numRef>
              <c:f>Sheet1!$C$2:$C$23</c:f>
              <c:numCache>
                <c:formatCode>General</c:formatCode>
                <c:ptCount val="22"/>
                <c:pt idx="0">
                  <c:v>0.71508220675081546</c:v>
                </c:pt>
                <c:pt idx="1">
                  <c:v>0.78900028089100538</c:v>
                </c:pt>
                <c:pt idx="2">
                  <c:v>0.838937370873858</c:v>
                </c:pt>
                <c:pt idx="3">
                  <c:v>0.88555092567596649</c:v>
                </c:pt>
                <c:pt idx="4">
                  <c:v>0.90377808653766634</c:v>
                </c:pt>
                <c:pt idx="5">
                  <c:v>0.91882386630408253</c:v>
                </c:pt>
                <c:pt idx="6">
                  <c:v>0.92979365104315803</c:v>
                </c:pt>
                <c:pt idx="7">
                  <c:v>0.9404073671354789</c:v>
                </c:pt>
                <c:pt idx="8">
                  <c:v>0.95086389361406931</c:v>
                </c:pt>
                <c:pt idx="9">
                  <c:v>0.96048731513988839</c:v>
                </c:pt>
                <c:pt idx="10">
                  <c:v>0.96982984566030217</c:v>
                </c:pt>
                <c:pt idx="11">
                  <c:v>0.97719725451253781</c:v>
                </c:pt>
                <c:pt idx="12">
                  <c:v>0.98325383867288219</c:v>
                </c:pt>
                <c:pt idx="13">
                  <c:v>0.98758407081460431</c:v>
                </c:pt>
                <c:pt idx="14">
                  <c:v>0.99119396446557917</c:v>
                </c:pt>
                <c:pt idx="15">
                  <c:v>0.99434185733880709</c:v>
                </c:pt>
                <c:pt idx="16">
                  <c:v>0.99731957536934424</c:v>
                </c:pt>
                <c:pt idx="17">
                  <c:v>0.99825246155517922</c:v>
                </c:pt>
                <c:pt idx="18">
                  <c:v>0.99911905473000617</c:v>
                </c:pt>
                <c:pt idx="19">
                  <c:v>0.9998742483090155</c:v>
                </c:pt>
                <c:pt idx="20">
                  <c:v>0.99995420998208706</c:v>
                </c:pt>
                <c:pt idx="21">
                  <c:v>0.99999999999999989</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23</c:f>
              <c:strCache>
                <c:ptCount val="22"/>
                <c:pt idx="0">
                  <c:v>CHAMPAGNE E.NICOLAS BRUT 1CT X 750ML</c:v>
                </c:pt>
                <c:pt idx="1">
                  <c:v>CHAMPAGNE NICOLAS BLC/BLC BS 1CT X 750ML</c:v>
                </c:pt>
                <c:pt idx="2">
                  <c:v>CHAMPAGNE E.NICOLAS ROSE 1CT X 750ML</c:v>
                </c:pt>
                <c:pt idx="3">
                  <c:v>CHAMPAGNE NICOLAS 1ERE CUVEE 1CT X 750ML</c:v>
                </c:pt>
                <c:pt idx="4">
                  <c:v>MG CHAMPAGNE E.NICOLAS BRUT 1CT X 1500ML</c:v>
                </c:pt>
                <c:pt idx="5">
                  <c:v>1/2 CHAMPAGNE NICOLAS 1ERE CUV 1CT X 375ML</c:v>
                </c:pt>
                <c:pt idx="6">
                  <c:v>MG CHAMPAGNE NICOLAS BLC/BL BS 1CT X 1500ML</c:v>
                </c:pt>
                <c:pt idx="7">
                  <c:v>1/2 CHAMP NICOLAS BLC/BLC BS 1CT X 375ML</c:v>
                </c:pt>
                <c:pt idx="8">
                  <c:v>CHAMPAGNE NICOLAS ROSE 1ERE CU 1CT X 750ML</c:v>
                </c:pt>
                <c:pt idx="9">
                  <c:v>CHAMPAGNE NICOLAS BIO NAT 2017 1CT X 750ML</c:v>
                </c:pt>
                <c:pt idx="10">
                  <c:v>1/2 CHAMP NICOLAS ROSE 1E C BS 1CT X 375ML</c:v>
                </c:pt>
                <c:pt idx="11">
                  <c:v>CHAMPAGNE NICOLAS BLC DE NOIRS 1CT X 750ML</c:v>
                </c:pt>
                <c:pt idx="12">
                  <c:v>MG CHAMPAGNE NICOLAS 1ERE CUVE 1CT X 1500ML</c:v>
                </c:pt>
                <c:pt idx="13">
                  <c:v>CHAMPAGNE NICOLAS BLC/BLC 2002 1CT X 750ML</c:v>
                </c:pt>
                <c:pt idx="14">
                  <c:v>CHAMPAGNE NICOLAS ROSE 1ERE ET 1CT X 750ML</c:v>
                </c:pt>
                <c:pt idx="15">
                  <c:v>CHAMPAGNE NICOLAS 1ER CRU BS 1CT X 750ML</c:v>
                </c:pt>
                <c:pt idx="16">
                  <c:v>CHAMPAGNE NICOLAS 1ER CRU ETUI 1CT X 750ML</c:v>
                </c:pt>
                <c:pt idx="17">
                  <c:v>MG CHAMPAGNE NICOLAS 1E CRU BS 1CT X 1500ML</c:v>
                </c:pt>
                <c:pt idx="18">
                  <c:v>CHAMPAGNE NICOLAS ROSE 1E C BS 1CT X 750ML</c:v>
                </c:pt>
                <c:pt idx="19">
                  <c:v>CHAMPAGNE NICOLAS 1ERE CUV ETU 1CT X 750ML</c:v>
                </c:pt>
                <c:pt idx="20">
                  <c:v>CHAMPAGNE NICOLAS BLC/BL BS ET 1CT X 750ML</c:v>
                </c:pt>
                <c:pt idx="21">
                  <c:v>1/2 CHAMPAGNE NICOLAS 1E C BS 1CT X 375ML</c:v>
                </c:pt>
              </c:strCache>
            </c:strRef>
          </c:cat>
          <c:val>
            <c:numRef>
              <c:f>Sheet1!$D$2:$D$23</c:f>
              <c:numCache>
                <c:formatCode>General</c:formatCode>
                <c:ptCount val="22"/>
                <c:pt idx="0">
                  <c:v>10463.09</c:v>
                </c:pt>
                <c:pt idx="1">
                  <c:v>1545.1</c:v>
                </c:pt>
                <c:pt idx="2">
                  <c:v>1000.931506849315</c:v>
                </c:pt>
                <c:pt idx="3">
                  <c:v>757.83333333333337</c:v>
                </c:pt>
                <c:pt idx="4">
                  <c:v>784.41176470588232</c:v>
                </c:pt>
                <c:pt idx="5">
                  <c:v>511.97674418604652</c:v>
                </c:pt>
                <c:pt idx="6">
                  <c:v>697.86956521739125</c:v>
                </c:pt>
                <c:pt idx="7">
                  <c:v>443.71428571428572</c:v>
                </c:pt>
                <c:pt idx="8">
                  <c:v>364.28571428571428</c:v>
                </c:pt>
                <c:pt idx="9">
                  <c:v>502.89285714285705</c:v>
                </c:pt>
                <c:pt idx="10">
                  <c:v>325.47619047619048</c:v>
                </c:pt>
                <c:pt idx="11">
                  <c:v>431.2</c:v>
                </c:pt>
                <c:pt idx="12">
                  <c:v>369.25</c:v>
                </c:pt>
                <c:pt idx="13">
                  <c:v>905.142857142857</c:v>
                </c:pt>
                <c:pt idx="14">
                  <c:v>377.28571428571422</c:v>
                </c:pt>
                <c:pt idx="15">
                  <c:v>148.58064516129033</c:v>
                </c:pt>
                <c:pt idx="16">
                  <c:v>207.47619047619048</c:v>
                </c:pt>
                <c:pt idx="17">
                  <c:v>194.99999999999997</c:v>
                </c:pt>
                <c:pt idx="18">
                  <c:v>181.14285714285711</c:v>
                </c:pt>
                <c:pt idx="19">
                  <c:v>157.85714285714283</c:v>
                </c:pt>
                <c:pt idx="20">
                  <c:v>58.5</c:v>
                </c:pt>
                <c:pt idx="21">
                  <c:v>33.5</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24</c:f>
              <c:strCache>
                <c:ptCount val="23"/>
                <c:pt idx="0">
                  <c:v>CHAMPAGNE E.NICOLAS BRUT 1CT X 750ML</c:v>
                </c:pt>
                <c:pt idx="1">
                  <c:v>CHAMPAGNE NICOLAS BLC/BLC BS 1CT X 750ML</c:v>
                </c:pt>
                <c:pt idx="2">
                  <c:v>CHAMPAGNE E.NICOLAS ROSE 1CT X 750ML</c:v>
                </c:pt>
                <c:pt idx="3">
                  <c:v>CHAMPAGNE NICOLAS 1ERE CUVEE 1CT X 750ML</c:v>
                </c:pt>
                <c:pt idx="4">
                  <c:v>1/2 CHAMPAGNE NICOLAS 1ERE CUV 1CT X 375ML</c:v>
                </c:pt>
                <c:pt idx="5">
                  <c:v>MG CHAMPAGNE E.NICOLAS BRUT 1CT X 1500ML</c:v>
                </c:pt>
                <c:pt idx="6">
                  <c:v>CHAMPAGNE NICOLAS ROSE 1ERE CU 1CT X 750ML</c:v>
                </c:pt>
                <c:pt idx="7">
                  <c:v>MG CHAMPAGNE NICOLAS BLC/BL BS 1CT X 1500ML</c:v>
                </c:pt>
                <c:pt idx="8">
                  <c:v>CHAMPAGNE NICOLAS BIO NAT 2017 1CT X 750ML</c:v>
                </c:pt>
                <c:pt idx="9">
                  <c:v>1/2 CHAMP NICOLAS BLC/BLC BS 1CT X 375ML</c:v>
                </c:pt>
                <c:pt idx="10">
                  <c:v>1/2 CHAMP NICOLAS ROSE 1E C BS 1CT X 375ML</c:v>
                </c:pt>
                <c:pt idx="11">
                  <c:v>CHAMPAGNE NICOLAS BLC DE NOIRS 1CT X 750ML</c:v>
                </c:pt>
                <c:pt idx="12">
                  <c:v>MG CHAMPAGNE NICOLAS 1ERE CUVE 1CT X 1500ML</c:v>
                </c:pt>
                <c:pt idx="13">
                  <c:v>CHAMPAGNE NICOLAS 1ER CRU ETUI 1CT X 750ML</c:v>
                </c:pt>
                <c:pt idx="14">
                  <c:v>CHAMPAGNE NICOLAS 1ER CRU BS 1CT X 750ML</c:v>
                </c:pt>
                <c:pt idx="15">
                  <c:v>CHAMPAGNE NICOLAS BLC/BLC 2002 1CT X 750ML</c:v>
                </c:pt>
                <c:pt idx="16">
                  <c:v>CHAMPAGNE NICOLAS ROSE 1ERE ET 1CT X 750ML</c:v>
                </c:pt>
                <c:pt idx="17">
                  <c:v>CHAMPAGNE NICOLAS 1ERE CUV ETU 1CT X 750ML</c:v>
                </c:pt>
                <c:pt idx="18">
                  <c:v>MG CHAMPAGNE NICOLAS 1E CRU BS 1CT X 1500ML</c:v>
                </c:pt>
                <c:pt idx="19">
                  <c:v>CHAMPAGNE NICOLAS ROSE 1E C BS 1CT X 750ML</c:v>
                </c:pt>
                <c:pt idx="20">
                  <c:v>CHAMPAGNE NICOLAS BLC/BL BS ET 1CT X 750ML</c:v>
                </c:pt>
                <c:pt idx="21">
                  <c:v>MG CHAMPAGNE NICOLAS BRUT 1CT X 1500ML</c:v>
                </c:pt>
                <c:pt idx="22">
                  <c:v>1/2 CHAMPAGNE NICOLAS 1E C BS 1CT X 375ML</c:v>
                </c:pt>
              </c:strCache>
            </c:strRef>
          </c:cat>
          <c:val>
            <c:numRef>
              <c:f>Sheet1!$B$2:$B$24</c:f>
              <c:numCache>
                <c:formatCode>General</c:formatCode>
                <c:ptCount val="23"/>
                <c:pt idx="0">
                  <c:v>1</c:v>
                </c:pt>
                <c:pt idx="1">
                  <c:v>0.69</c:v>
                </c:pt>
                <c:pt idx="2">
                  <c:v>0.75</c:v>
                </c:pt>
                <c:pt idx="3">
                  <c:v>0.91</c:v>
                </c:pt>
                <c:pt idx="4">
                  <c:v>0.45</c:v>
                </c:pt>
                <c:pt idx="5">
                  <c:v>0.21</c:v>
                </c:pt>
                <c:pt idx="6">
                  <c:v>0.32</c:v>
                </c:pt>
                <c:pt idx="7">
                  <c:v>0.19</c:v>
                </c:pt>
                <c:pt idx="8">
                  <c:v>0.21</c:v>
                </c:pt>
                <c:pt idx="9">
                  <c:v>0.3</c:v>
                </c:pt>
                <c:pt idx="10">
                  <c:v>0.32</c:v>
                </c:pt>
                <c:pt idx="11">
                  <c:v>0.21</c:v>
                </c:pt>
                <c:pt idx="12">
                  <c:v>0.12</c:v>
                </c:pt>
                <c:pt idx="13">
                  <c:v>0.23</c:v>
                </c:pt>
                <c:pt idx="14">
                  <c:v>0.44</c:v>
                </c:pt>
                <c:pt idx="15">
                  <c:v>0.05</c:v>
                </c:pt>
                <c:pt idx="16">
                  <c:v>0.16</c:v>
                </c:pt>
                <c:pt idx="17">
                  <c:v>0.12</c:v>
                </c:pt>
                <c:pt idx="18">
                  <c:v>0.04</c:v>
                </c:pt>
                <c:pt idx="19">
                  <c:v>0.04</c:v>
                </c:pt>
                <c:pt idx="20">
                  <c:v>0.05</c:v>
                </c:pt>
                <c:pt idx="21">
                  <c:v>0.01</c:v>
                </c:pt>
                <c:pt idx="22">
                  <c:v>0.01</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7ECAC4"/>
              </a:solidFill>
            </c:spPr>
            <c:extLst>
              <c:ext xmlns:c16="http://schemas.microsoft.com/office/drawing/2014/chart" uri="{C3380CC4-5D6E-409C-BE32-E72D297353CC}">
                <c16:uniqueId val="{00000008-D8F4-40C6-A5E0-DB4B53CFB1F3}"/>
              </c:ext>
            </c:extLst>
          </c:dPt>
          <c:dPt>
            <c:idx val="2"/>
            <c:invertIfNegative val="0"/>
            <c:bubble3D val="0"/>
            <c:spPr>
              <a:solidFill>
                <a:srgbClr val="7ECAC4"/>
              </a:solidFill>
            </c:spPr>
            <c:extLst>
              <c:ext xmlns:c16="http://schemas.microsoft.com/office/drawing/2014/chart" uri="{C3380CC4-5D6E-409C-BE32-E72D297353CC}">
                <c16:uniqueId val="{00000006-E902-46E2-9A54-39A26B3DFDC1}"/>
              </c:ext>
            </c:extLst>
          </c:dPt>
          <c:dPt>
            <c:idx val="3"/>
            <c:invertIfNegative val="0"/>
            <c:bubble3D val="0"/>
            <c:spPr>
              <a:solidFill>
                <a:srgbClr val="7ECAC4"/>
              </a:solidFill>
            </c:spPr>
            <c:extLst>
              <c:ext xmlns:c16="http://schemas.microsoft.com/office/drawing/2014/chart" uri="{C3380CC4-5D6E-409C-BE32-E72D297353CC}">
                <c16:uniqueId val="{00000007-E902-46E2-9A54-39A26B3DFDC1}"/>
              </c:ext>
            </c:extLst>
          </c:dPt>
          <c:dPt>
            <c:idx val="4"/>
            <c:invertIfNegative val="1"/>
            <c:bubble3D val="0"/>
            <c:spPr>
              <a:solidFill>
                <a:srgbClr val="7ECAC4"/>
              </a:solidFill>
            </c:spPr>
            <c:extLst>
              <c:ext xmlns:c16="http://schemas.microsoft.com/office/drawing/2014/chart" uri="{C3380CC4-5D6E-409C-BE32-E72D297353CC}">
                <c16:uniqueId val="{0000000B-FA3E-4872-B6E1-C4ABDF5766E2}"/>
              </c:ext>
            </c:extLst>
          </c:dPt>
          <c:dPt>
            <c:idx val="5"/>
            <c:invertIfNegative val="1"/>
            <c:bubble3D val="0"/>
            <c:spPr>
              <a:solidFill>
                <a:srgbClr val="7ECAC4"/>
              </a:solidFill>
            </c:spPr>
            <c:extLst>
              <c:ext xmlns:c16="http://schemas.microsoft.com/office/drawing/2014/chart" uri="{C3380CC4-5D6E-409C-BE32-E72D297353CC}">
                <c16:uniqueId val="{0000000D-FA3E-4872-B6E1-C4ABDF5766E2}"/>
              </c:ext>
            </c:extLst>
          </c:dPt>
          <c:dPt>
            <c:idx val="6"/>
            <c:invertIfNegative val="1"/>
            <c:bubble3D val="0"/>
            <c:spPr>
              <a:solidFill>
                <a:srgbClr val="7ECAC4"/>
              </a:solidFill>
            </c:spPr>
            <c:extLst>
              <c:ext xmlns:c16="http://schemas.microsoft.com/office/drawing/2014/chart" uri="{C3380CC4-5D6E-409C-BE32-E72D297353CC}">
                <c16:uniqueId val="{0000000F-FA3E-4872-B6E1-C4ABDF5766E2}"/>
              </c:ext>
            </c:extLst>
          </c:dPt>
          <c:dPt>
            <c:idx val="7"/>
            <c:invertIfNegative val="1"/>
            <c:bubble3D val="0"/>
            <c:spPr>
              <a:solidFill>
                <a:srgbClr val="7ECAC4"/>
              </a:solidFill>
            </c:spPr>
            <c:extLst>
              <c:ext xmlns:c16="http://schemas.microsoft.com/office/drawing/2014/chart" uri="{C3380CC4-5D6E-409C-BE32-E72D297353CC}">
                <c16:uniqueId val="{00000011-FA3E-4872-B6E1-C4ABDF5766E2}"/>
              </c:ext>
            </c:extLst>
          </c:dPt>
          <c:dPt>
            <c:idx val="8"/>
            <c:invertIfNegative val="1"/>
            <c:bubble3D val="0"/>
            <c:spPr>
              <a:solidFill>
                <a:srgbClr val="7ECAC4"/>
              </a:solidFill>
            </c:spPr>
            <c:extLst>
              <c:ext xmlns:c16="http://schemas.microsoft.com/office/drawing/2014/chart" uri="{C3380CC4-5D6E-409C-BE32-E72D297353CC}">
                <c16:uniqueId val="{00000013-FA3E-4872-B6E1-C4ABDF5766E2}"/>
              </c:ext>
            </c:extLst>
          </c:dPt>
          <c:dPt>
            <c:idx val="9"/>
            <c:invertIfNegative val="1"/>
            <c:bubble3D val="0"/>
            <c:spPr>
              <a:solidFill>
                <a:srgbClr val="AEABAB"/>
              </a:solidFill>
            </c:spPr>
            <c:extLst>
              <c:ext xmlns:c16="http://schemas.microsoft.com/office/drawing/2014/chart" uri="{C3380CC4-5D6E-409C-BE32-E72D297353CC}">
                <c16:uniqueId val="{00000015-FA3E-4872-B6E1-C4ABDF5766E2}"/>
              </c:ext>
            </c:extLst>
          </c:dPt>
          <c:dPt>
            <c:idx val="10"/>
            <c:invertIfNegative val="1"/>
            <c:bubble3D val="0"/>
            <c:spPr>
              <a:solidFill>
                <a:srgbClr val="AEABAB"/>
              </a:solidFill>
            </c:spPr>
            <c:extLst>
              <c:ext xmlns:c16="http://schemas.microsoft.com/office/drawing/2014/chart" uri="{C3380CC4-5D6E-409C-BE32-E72D297353CC}">
                <c16:uniqueId val="{00000017-FA3E-4872-B6E1-C4ABDF5766E2}"/>
              </c:ext>
            </c:extLst>
          </c:dPt>
          <c:dPt>
            <c:idx val="11"/>
            <c:invertIfNegative val="1"/>
            <c:bubble3D val="0"/>
            <c:spPr>
              <a:solidFill>
                <a:srgbClr val="AEABAB"/>
              </a:solidFill>
            </c:spPr>
            <c:extLst>
              <c:ext xmlns:c16="http://schemas.microsoft.com/office/drawing/2014/chart" uri="{C3380CC4-5D6E-409C-BE32-E72D297353CC}">
                <c16:uniqueId val="{00000019-FA3E-4872-B6E1-C4ABDF5766E2}"/>
              </c:ext>
            </c:extLst>
          </c:dPt>
          <c:dPt>
            <c:idx val="12"/>
            <c:invertIfNegative val="1"/>
            <c:bubble3D val="0"/>
            <c:spPr>
              <a:solidFill>
                <a:srgbClr val="AEABAB"/>
              </a:solidFill>
            </c:spPr>
            <c:extLst>
              <c:ext xmlns:c16="http://schemas.microsoft.com/office/drawing/2014/chart" uri="{C3380CC4-5D6E-409C-BE32-E72D297353CC}">
                <c16:uniqueId val="{0000001B-FA3E-4872-B6E1-C4ABDF5766E2}"/>
              </c:ext>
            </c:extLst>
          </c:dPt>
          <c:dPt>
            <c:idx val="13"/>
            <c:invertIfNegative val="1"/>
            <c:bubble3D val="0"/>
            <c:spPr>
              <a:solidFill>
                <a:srgbClr val="AEABAB"/>
              </a:solidFill>
            </c:spPr>
            <c:extLst>
              <c:ext xmlns:c16="http://schemas.microsoft.com/office/drawing/2014/chart" uri="{C3380CC4-5D6E-409C-BE32-E72D297353CC}">
                <c16:uniqueId val="{0000001D-FA3E-4872-B6E1-C4ABDF5766E2}"/>
              </c:ext>
            </c:extLst>
          </c:dPt>
          <c:dPt>
            <c:idx val="14"/>
            <c:invertIfNegative val="1"/>
            <c:bubble3D val="0"/>
            <c:spPr>
              <a:solidFill>
                <a:srgbClr val="AEABAB"/>
              </a:solidFill>
            </c:spPr>
            <c:extLst>
              <c:ext xmlns:c16="http://schemas.microsoft.com/office/drawing/2014/chart" uri="{C3380CC4-5D6E-409C-BE32-E72D297353CC}">
                <c16:uniqueId val="{0000001F-FA3E-4872-B6E1-C4ABDF5766E2}"/>
              </c:ext>
            </c:extLst>
          </c:dPt>
          <c:dPt>
            <c:idx val="15"/>
            <c:invertIfNegative val="1"/>
            <c:bubble3D val="0"/>
            <c:spPr>
              <a:solidFill>
                <a:srgbClr val="AEABAB"/>
              </a:solidFill>
            </c:spPr>
            <c:extLst>
              <c:ext xmlns:c16="http://schemas.microsoft.com/office/drawing/2014/chart" uri="{C3380CC4-5D6E-409C-BE32-E72D297353CC}">
                <c16:uniqueId val="{00000021-FA3E-4872-B6E1-C4ABDF5766E2}"/>
              </c:ext>
            </c:extLst>
          </c:dPt>
          <c:dPt>
            <c:idx val="16"/>
            <c:invertIfNegative val="1"/>
            <c:bubble3D val="0"/>
            <c:spPr>
              <a:solidFill>
                <a:srgbClr val="AEABAB"/>
              </a:solidFill>
            </c:spPr>
            <c:extLst>
              <c:ext xmlns:c16="http://schemas.microsoft.com/office/drawing/2014/chart" uri="{C3380CC4-5D6E-409C-BE32-E72D297353CC}">
                <c16:uniqueId val="{00000023-FA3E-4872-B6E1-C4ABDF5766E2}"/>
              </c:ext>
            </c:extLst>
          </c:dPt>
          <c:dPt>
            <c:idx val="17"/>
            <c:invertIfNegative val="1"/>
            <c:bubble3D val="0"/>
            <c:spPr>
              <a:solidFill>
                <a:srgbClr val="AEABAB"/>
              </a:solidFill>
            </c:spPr>
            <c:extLst>
              <c:ext xmlns:c16="http://schemas.microsoft.com/office/drawing/2014/chart" uri="{C3380CC4-5D6E-409C-BE32-E72D297353CC}">
                <c16:uniqueId val="{00000025-FA3E-4872-B6E1-C4ABDF5766E2}"/>
              </c:ext>
            </c:extLst>
          </c:dPt>
          <c:dPt>
            <c:idx val="18"/>
            <c:invertIfNegative val="1"/>
            <c:bubble3D val="0"/>
            <c:spPr>
              <a:solidFill>
                <a:srgbClr val="AEABAB"/>
              </a:solidFill>
            </c:spPr>
            <c:extLst>
              <c:ext xmlns:c16="http://schemas.microsoft.com/office/drawing/2014/chart" uri="{C3380CC4-5D6E-409C-BE32-E72D297353CC}">
                <c16:uniqueId val="{00000027-FA3E-4872-B6E1-C4ABDF5766E2}"/>
              </c:ext>
            </c:extLst>
          </c:dPt>
          <c:dPt>
            <c:idx val="19"/>
            <c:invertIfNegative val="1"/>
            <c:bubble3D val="0"/>
            <c:spPr>
              <a:solidFill>
                <a:srgbClr val="AEABAB"/>
              </a:solidFill>
            </c:spPr>
            <c:extLst>
              <c:ext xmlns:c16="http://schemas.microsoft.com/office/drawing/2014/chart" uri="{C3380CC4-5D6E-409C-BE32-E72D297353CC}">
                <c16:uniqueId val="{00000029-FA3E-4872-B6E1-C4ABDF5766E2}"/>
              </c:ext>
            </c:extLst>
          </c:dPt>
          <c:dPt>
            <c:idx val="20"/>
            <c:invertIfNegative val="1"/>
            <c:bubble3D val="0"/>
            <c:spPr>
              <a:solidFill>
                <a:srgbClr val="AEABAB"/>
              </a:solidFill>
            </c:spPr>
            <c:extLst>
              <c:ext xmlns:c16="http://schemas.microsoft.com/office/drawing/2014/chart" uri="{C3380CC4-5D6E-409C-BE32-E72D297353CC}">
                <c16:uniqueId val="{0000002B-FA3E-4872-B6E1-C4ABDF5766E2}"/>
              </c:ext>
            </c:extLst>
          </c:dPt>
          <c:dPt>
            <c:idx val="21"/>
            <c:invertIfNegative val="1"/>
            <c:bubble3D val="0"/>
            <c:spPr>
              <a:solidFill>
                <a:srgbClr val="AEABAB"/>
              </a:solidFill>
            </c:spPr>
            <c:extLst>
              <c:ext xmlns:c16="http://schemas.microsoft.com/office/drawing/2014/chart" uri="{C3380CC4-5D6E-409C-BE32-E72D297353CC}">
                <c16:uniqueId val="{0000002D-FA3E-4872-B6E1-C4ABDF5766E2}"/>
              </c:ext>
            </c:extLst>
          </c:dPt>
          <c:dPt>
            <c:idx val="22"/>
            <c:invertIfNegative val="1"/>
            <c:bubble3D val="0"/>
            <c:spPr>
              <a:solidFill>
                <a:srgbClr val="AEABAB"/>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24</c:f>
              <c:strCache>
                <c:ptCount val="23"/>
                <c:pt idx="0">
                  <c:v>CHAMPAGNE E.NICOLAS BRUT 1CT X 750ML</c:v>
                </c:pt>
                <c:pt idx="1">
                  <c:v>CHAMPAGNE NICOLAS BLC/BLC BS 1CT X 750ML</c:v>
                </c:pt>
                <c:pt idx="2">
                  <c:v>CHAMPAGNE E.NICOLAS ROSE 1CT X 750ML</c:v>
                </c:pt>
                <c:pt idx="3">
                  <c:v>CHAMPAGNE NICOLAS 1ERE CUVEE 1CT X 750ML</c:v>
                </c:pt>
                <c:pt idx="4">
                  <c:v>1/2 CHAMPAGNE NICOLAS 1ERE CUV 1CT X 375ML</c:v>
                </c:pt>
                <c:pt idx="5">
                  <c:v>MG CHAMPAGNE E.NICOLAS BRUT 1CT X 1500ML</c:v>
                </c:pt>
                <c:pt idx="6">
                  <c:v>CHAMPAGNE NICOLAS ROSE 1ERE CU 1CT X 750ML</c:v>
                </c:pt>
                <c:pt idx="7">
                  <c:v>MG CHAMPAGNE NICOLAS BLC/BL BS 1CT X 1500ML</c:v>
                </c:pt>
                <c:pt idx="8">
                  <c:v>CHAMPAGNE NICOLAS BIO NAT 2017 1CT X 750ML</c:v>
                </c:pt>
                <c:pt idx="9">
                  <c:v>1/2 CHAMP NICOLAS BLC/BLC BS 1CT X 375ML</c:v>
                </c:pt>
                <c:pt idx="10">
                  <c:v>1/2 CHAMP NICOLAS ROSE 1E C BS 1CT X 375ML</c:v>
                </c:pt>
                <c:pt idx="11">
                  <c:v>CHAMPAGNE NICOLAS BLC DE NOIRS 1CT X 750ML</c:v>
                </c:pt>
                <c:pt idx="12">
                  <c:v>MG CHAMPAGNE NICOLAS 1ERE CUVE 1CT X 1500ML</c:v>
                </c:pt>
                <c:pt idx="13">
                  <c:v>CHAMPAGNE NICOLAS 1ER CRU ETUI 1CT X 750ML</c:v>
                </c:pt>
                <c:pt idx="14">
                  <c:v>CHAMPAGNE NICOLAS 1ER CRU BS 1CT X 750ML</c:v>
                </c:pt>
                <c:pt idx="15">
                  <c:v>CHAMPAGNE NICOLAS BLC/BLC 2002 1CT X 750ML</c:v>
                </c:pt>
                <c:pt idx="16">
                  <c:v>CHAMPAGNE NICOLAS ROSE 1ERE ET 1CT X 750ML</c:v>
                </c:pt>
                <c:pt idx="17">
                  <c:v>CHAMPAGNE NICOLAS 1ERE CUV ETU 1CT X 750ML</c:v>
                </c:pt>
                <c:pt idx="18">
                  <c:v>MG CHAMPAGNE NICOLAS 1E CRU BS 1CT X 1500ML</c:v>
                </c:pt>
                <c:pt idx="19">
                  <c:v>CHAMPAGNE NICOLAS ROSE 1E C BS 1CT X 750ML</c:v>
                </c:pt>
                <c:pt idx="20">
                  <c:v>CHAMPAGNE NICOLAS BLC/BL BS ET 1CT X 750ML</c:v>
                </c:pt>
                <c:pt idx="21">
                  <c:v>MG CHAMPAGNE NICOLAS BRUT 1CT X 1500ML</c:v>
                </c:pt>
                <c:pt idx="22">
                  <c:v>1/2 CHAMPAGNE NICOLAS 1E C BS 1CT X 375ML</c:v>
                </c:pt>
              </c:strCache>
            </c:strRef>
          </c:cat>
          <c:val>
            <c:numRef>
              <c:f>Sheet1!$C$2:$C$24</c:f>
              <c:numCache>
                <c:formatCode>General</c:formatCode>
                <c:ptCount val="23"/>
                <c:pt idx="0">
                  <c:v>0.74037128159248489</c:v>
                </c:pt>
                <c:pt idx="1">
                  <c:v>0.80469340427786085</c:v>
                </c:pt>
                <c:pt idx="2">
                  <c:v>0.85033137529576575</c:v>
                </c:pt>
                <c:pt idx="3">
                  <c:v>0.88900634498346076</c:v>
                </c:pt>
                <c:pt idx="4">
                  <c:v>0.90833912111973081</c:v>
                </c:pt>
                <c:pt idx="5">
                  <c:v>0.91974243369551156</c:v>
                </c:pt>
                <c:pt idx="6">
                  <c:v>0.92999564444549099</c:v>
                </c:pt>
                <c:pt idx="7">
                  <c:v>0.9402135398886392</c:v>
                </c:pt>
                <c:pt idx="8">
                  <c:v>0.94958033643715656</c:v>
                </c:pt>
                <c:pt idx="9">
                  <c:v>0.95757336754994182</c:v>
                </c:pt>
                <c:pt idx="10">
                  <c:v>0.96550753981800852</c:v>
                </c:pt>
                <c:pt idx="11">
                  <c:v>0.97184546021730689</c:v>
                </c:pt>
                <c:pt idx="12">
                  <c:v>0.97763128465314486</c:v>
                </c:pt>
                <c:pt idx="13">
                  <c:v>0.98333117517569368</c:v>
                </c:pt>
                <c:pt idx="14">
                  <c:v>0.98870263334471276</c:v>
                </c:pt>
                <c:pt idx="15">
                  <c:v>0.99210820610013073</c:v>
                </c:pt>
                <c:pt idx="16">
                  <c:v>0.99542666776536515</c:v>
                </c:pt>
                <c:pt idx="17">
                  <c:v>0.99726777242816278</c:v>
                </c:pt>
                <c:pt idx="18">
                  <c:v>0.99833429469446378</c:v>
                </c:pt>
                <c:pt idx="19">
                  <c:v>0.9992395437262358</c:v>
                </c:pt>
                <c:pt idx="20">
                  <c:v>0.99992701503254899</c:v>
                </c:pt>
                <c:pt idx="21">
                  <c:v>0.99997527928521823</c:v>
                </c:pt>
                <c:pt idx="22">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24</c:f>
              <c:strCache>
                <c:ptCount val="23"/>
                <c:pt idx="0">
                  <c:v>CHAMPAGNE E.NICOLAS BRUT 1CT X 750ML</c:v>
                </c:pt>
                <c:pt idx="1">
                  <c:v>CHAMPAGNE NICOLAS BLC/BLC BS 1CT X 750ML</c:v>
                </c:pt>
                <c:pt idx="2">
                  <c:v>CHAMPAGNE E.NICOLAS ROSE 1CT X 750ML</c:v>
                </c:pt>
                <c:pt idx="3">
                  <c:v>CHAMPAGNE NICOLAS 1ERE CUVEE 1CT X 750ML</c:v>
                </c:pt>
                <c:pt idx="4">
                  <c:v>1/2 CHAMPAGNE NICOLAS 1ERE CUV 1CT X 375ML</c:v>
                </c:pt>
                <c:pt idx="5">
                  <c:v>MG CHAMPAGNE E.NICOLAS BRUT 1CT X 1500ML</c:v>
                </c:pt>
                <c:pt idx="6">
                  <c:v>CHAMPAGNE NICOLAS ROSE 1ERE CU 1CT X 750ML</c:v>
                </c:pt>
                <c:pt idx="7">
                  <c:v>MG CHAMPAGNE NICOLAS BLC/BL BS 1CT X 1500ML</c:v>
                </c:pt>
                <c:pt idx="8">
                  <c:v>CHAMPAGNE NICOLAS BIO NAT 2017 1CT X 750ML</c:v>
                </c:pt>
                <c:pt idx="9">
                  <c:v>1/2 CHAMP NICOLAS BLC/BLC BS 1CT X 375ML</c:v>
                </c:pt>
                <c:pt idx="10">
                  <c:v>1/2 CHAMP NICOLAS ROSE 1E C BS 1CT X 375ML</c:v>
                </c:pt>
                <c:pt idx="11">
                  <c:v>CHAMPAGNE NICOLAS BLC DE NOIRS 1CT X 750ML</c:v>
                </c:pt>
                <c:pt idx="12">
                  <c:v>MG CHAMPAGNE NICOLAS 1ERE CUVE 1CT X 1500ML</c:v>
                </c:pt>
                <c:pt idx="13">
                  <c:v>CHAMPAGNE NICOLAS 1ER CRU ETUI 1CT X 750ML</c:v>
                </c:pt>
                <c:pt idx="14">
                  <c:v>CHAMPAGNE NICOLAS 1ER CRU BS 1CT X 750ML</c:v>
                </c:pt>
                <c:pt idx="15">
                  <c:v>CHAMPAGNE NICOLAS BLC/BLC 2002 1CT X 750ML</c:v>
                </c:pt>
                <c:pt idx="16">
                  <c:v>CHAMPAGNE NICOLAS ROSE 1ERE ET 1CT X 750ML</c:v>
                </c:pt>
                <c:pt idx="17">
                  <c:v>CHAMPAGNE NICOLAS 1ERE CUV ETU 1CT X 750ML</c:v>
                </c:pt>
                <c:pt idx="18">
                  <c:v>MG CHAMPAGNE NICOLAS 1E CRU BS 1CT X 1500ML</c:v>
                </c:pt>
                <c:pt idx="19">
                  <c:v>CHAMPAGNE NICOLAS ROSE 1E C BS 1CT X 750ML</c:v>
                </c:pt>
                <c:pt idx="20">
                  <c:v>CHAMPAGNE NICOLAS BLC/BL BS ET 1CT X 750ML</c:v>
                </c:pt>
                <c:pt idx="21">
                  <c:v>MG CHAMPAGNE NICOLAS BRUT 1CT X 1500ML</c:v>
                </c:pt>
                <c:pt idx="22">
                  <c:v>1/2 CHAMPAGNE NICOLAS 1E C BS 1CT X 375ML</c:v>
                </c:pt>
              </c:strCache>
            </c:strRef>
          </c:cat>
          <c:val>
            <c:numRef>
              <c:f>Sheet1!$D$2:$D$24</c:f>
              <c:numCache>
                <c:formatCode>General</c:formatCode>
                <c:ptCount val="23"/>
                <c:pt idx="0">
                  <c:v>6289.38</c:v>
                </c:pt>
                <c:pt idx="1">
                  <c:v>791.89855072463763</c:v>
                </c:pt>
                <c:pt idx="2">
                  <c:v>516.91999999999996</c:v>
                </c:pt>
                <c:pt idx="3">
                  <c:v>361.03296703296701</c:v>
                </c:pt>
                <c:pt idx="4">
                  <c:v>364.95555555555558</c:v>
                </c:pt>
                <c:pt idx="5">
                  <c:v>461.28571428571428</c:v>
                </c:pt>
                <c:pt idx="6">
                  <c:v>272.1875</c:v>
                </c:pt>
                <c:pt idx="7">
                  <c:v>456.84210526315792</c:v>
                </c:pt>
                <c:pt idx="8">
                  <c:v>378.90476190476193</c:v>
                </c:pt>
                <c:pt idx="9">
                  <c:v>226.33333333333334</c:v>
                </c:pt>
                <c:pt idx="10">
                  <c:v>210.625</c:v>
                </c:pt>
                <c:pt idx="11">
                  <c:v>256.38095238095241</c:v>
                </c:pt>
                <c:pt idx="12">
                  <c:v>409.58333333333331</c:v>
                </c:pt>
                <c:pt idx="13">
                  <c:v>210.52173913043478</c:v>
                </c:pt>
                <c:pt idx="14">
                  <c:v>103.70454545454545</c:v>
                </c:pt>
                <c:pt idx="15">
                  <c:v>578.6</c:v>
                </c:pt>
                <c:pt idx="16">
                  <c:v>176.1875</c:v>
                </c:pt>
                <c:pt idx="17">
                  <c:v>130.33333333333334</c:v>
                </c:pt>
                <c:pt idx="18">
                  <c:v>226.5</c:v>
                </c:pt>
                <c:pt idx="19">
                  <c:v>192.25</c:v>
                </c:pt>
                <c:pt idx="20">
                  <c:v>116.8</c:v>
                </c:pt>
                <c:pt idx="21">
                  <c:v>41</c:v>
                </c:pt>
                <c:pt idx="22">
                  <c:v>21</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24</c:f>
              <c:strCache>
                <c:ptCount val="23"/>
                <c:pt idx="0">
                  <c:v>CHAMPAGNE E.NICOLAS BRUT 1CT X 750ML</c:v>
                </c:pt>
                <c:pt idx="1">
                  <c:v>CHAMPAGNE NICOLAS BLC/BLC BS 1CT X 750ML</c:v>
                </c:pt>
                <c:pt idx="2">
                  <c:v>CHAMPAGNE E.NICOLAS ROSE 1CT X 750ML</c:v>
                </c:pt>
                <c:pt idx="3">
                  <c:v>CHAMPAGNE NICOLAS 1ERE CUVEE 1CT X 750ML</c:v>
                </c:pt>
                <c:pt idx="4">
                  <c:v>1/2 CHAMPAGNE NICOLAS 1ERE CUV 1CT X 375ML</c:v>
                </c:pt>
                <c:pt idx="5">
                  <c:v>MG CHAMPAGNE E.NICOLAS BRUT 1CT X 1500ML</c:v>
                </c:pt>
                <c:pt idx="6">
                  <c:v>CHAMPAGNE NICOLAS ROSE 1ERE CU 1CT X 750ML</c:v>
                </c:pt>
                <c:pt idx="7">
                  <c:v>1/2 CHAMP NICOLAS BLC/BLC BS 1CT X 375ML</c:v>
                </c:pt>
                <c:pt idx="8">
                  <c:v>CHAMPAGNE NICOLAS BIO NAT 2017 1CT X 750ML</c:v>
                </c:pt>
                <c:pt idx="9">
                  <c:v>MG CHAMPAGNE NICOLAS BLC/BL BS 1CT X 1500ML</c:v>
                </c:pt>
                <c:pt idx="10">
                  <c:v>1/2 CHAMP NICOLAS ROSE 1E C BS 1CT X 375ML</c:v>
                </c:pt>
                <c:pt idx="11">
                  <c:v>CHAMPAGNE NICOLAS BLC DE NOIRS 1CT X 750ML</c:v>
                </c:pt>
                <c:pt idx="12">
                  <c:v>MG CHAMPAGNE NICOLAS 1ERE CUVE 1CT X 1500ML</c:v>
                </c:pt>
                <c:pt idx="13">
                  <c:v>CHAMPAGNE NICOLAS 1ER CRU BS 1CT X 750ML</c:v>
                </c:pt>
                <c:pt idx="14">
                  <c:v>CHAMPAGNE NICOLAS 1ER CRU ETUI 1CT X 750ML</c:v>
                </c:pt>
                <c:pt idx="15">
                  <c:v>CHAMPAGNE NICOLAS BLC/BLC 2002 1CT X 750ML</c:v>
                </c:pt>
                <c:pt idx="16">
                  <c:v>CHAMPAGNE NICOLAS ROSE 1ERE ET 1CT X 750ML</c:v>
                </c:pt>
                <c:pt idx="17">
                  <c:v>CHAMPAGNE NICOLAS 1ERE CUV ETU 1CT X 750ML</c:v>
                </c:pt>
                <c:pt idx="18">
                  <c:v>CHAMPAGNE NICOLAS ROSE 1E C BS 1CT X 750ML</c:v>
                </c:pt>
                <c:pt idx="19">
                  <c:v>CHAMPAGNE NICOLAS BLC/BL BS ET 1CT X 750ML</c:v>
                </c:pt>
                <c:pt idx="20">
                  <c:v>MG CHAMPAGNE NICOLAS 1E CRU BS 1CT X 1500ML</c:v>
                </c:pt>
                <c:pt idx="21">
                  <c:v>CHAMPAGNE NICOLAS BIO 2018 1CT X 750ML</c:v>
                </c:pt>
                <c:pt idx="22">
                  <c:v>1/2 CHAMPAGNE NICOLAS 1E C BS 1CT X 375ML</c:v>
                </c:pt>
              </c:strCache>
            </c:strRef>
          </c:cat>
          <c:val>
            <c:numRef>
              <c:f>Sheet1!$B$2:$B$24</c:f>
              <c:numCache>
                <c:formatCode>General</c:formatCode>
                <c:ptCount val="23"/>
                <c:pt idx="0">
                  <c:v>1</c:v>
                </c:pt>
                <c:pt idx="1">
                  <c:v>0.51</c:v>
                </c:pt>
                <c:pt idx="2">
                  <c:v>0.56000000000000005</c:v>
                </c:pt>
                <c:pt idx="3">
                  <c:v>0.77</c:v>
                </c:pt>
                <c:pt idx="4">
                  <c:v>0.36</c:v>
                </c:pt>
                <c:pt idx="5">
                  <c:v>0.17</c:v>
                </c:pt>
                <c:pt idx="6">
                  <c:v>0.32</c:v>
                </c:pt>
                <c:pt idx="7">
                  <c:v>0.25</c:v>
                </c:pt>
                <c:pt idx="8">
                  <c:v>0.18</c:v>
                </c:pt>
                <c:pt idx="9">
                  <c:v>0.13</c:v>
                </c:pt>
                <c:pt idx="10">
                  <c:v>0.23</c:v>
                </c:pt>
                <c:pt idx="11">
                  <c:v>0.17</c:v>
                </c:pt>
                <c:pt idx="12">
                  <c:v>0.06</c:v>
                </c:pt>
                <c:pt idx="13">
                  <c:v>0.28000000000000003</c:v>
                </c:pt>
                <c:pt idx="14">
                  <c:v>0.19</c:v>
                </c:pt>
                <c:pt idx="15">
                  <c:v>0.06</c:v>
                </c:pt>
                <c:pt idx="16">
                  <c:v>0.09</c:v>
                </c:pt>
                <c:pt idx="17">
                  <c:v>0.16</c:v>
                </c:pt>
                <c:pt idx="18">
                  <c:v>0.06</c:v>
                </c:pt>
                <c:pt idx="19">
                  <c:v>0.03</c:v>
                </c:pt>
                <c:pt idx="20">
                  <c:v>0.05</c:v>
                </c:pt>
                <c:pt idx="21">
                  <c:v>0.02</c:v>
                </c:pt>
                <c:pt idx="22">
                  <c:v>0.01</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7ECAC4"/>
              </a:solidFill>
            </c:spPr>
            <c:extLst>
              <c:ext xmlns:c16="http://schemas.microsoft.com/office/drawing/2014/chart" uri="{C3380CC4-5D6E-409C-BE32-E72D297353CC}">
                <c16:uniqueId val="{00000006-E902-46E2-9A54-39A26B3DFDC1}"/>
              </c:ext>
            </c:extLst>
          </c:dPt>
          <c:dPt>
            <c:idx val="3"/>
            <c:invertIfNegative val="0"/>
            <c:bubble3D val="0"/>
            <c:spPr>
              <a:solidFill>
                <a:srgbClr val="7ECAC4"/>
              </a:solidFill>
            </c:spPr>
            <c:extLst>
              <c:ext xmlns:c16="http://schemas.microsoft.com/office/drawing/2014/chart" uri="{C3380CC4-5D6E-409C-BE32-E72D297353CC}">
                <c16:uniqueId val="{00000007-E902-46E2-9A54-39A26B3DFDC1}"/>
              </c:ext>
            </c:extLst>
          </c:dPt>
          <c:dPt>
            <c:idx val="4"/>
            <c:invertIfNegative val="1"/>
            <c:bubble3D val="0"/>
            <c:spPr>
              <a:solidFill>
                <a:srgbClr val="7ECAC4"/>
              </a:solidFill>
            </c:spPr>
            <c:extLst>
              <c:ext xmlns:c16="http://schemas.microsoft.com/office/drawing/2014/chart" uri="{C3380CC4-5D6E-409C-BE32-E72D297353CC}">
                <c16:uniqueId val="{0000000B-FA3E-4872-B6E1-C4ABDF5766E2}"/>
              </c:ext>
            </c:extLst>
          </c:dPt>
          <c:dPt>
            <c:idx val="5"/>
            <c:invertIfNegative val="1"/>
            <c:bubble3D val="0"/>
            <c:spPr>
              <a:solidFill>
                <a:srgbClr val="7ECAC4"/>
              </a:solidFill>
            </c:spPr>
            <c:extLst>
              <c:ext xmlns:c16="http://schemas.microsoft.com/office/drawing/2014/chart" uri="{C3380CC4-5D6E-409C-BE32-E72D297353CC}">
                <c16:uniqueId val="{0000000D-FA3E-4872-B6E1-C4ABDF5766E2}"/>
              </c:ext>
            </c:extLst>
          </c:dPt>
          <c:dPt>
            <c:idx val="6"/>
            <c:invertIfNegative val="1"/>
            <c:bubble3D val="0"/>
            <c:spPr>
              <a:solidFill>
                <a:srgbClr val="7ECAC4"/>
              </a:solidFill>
            </c:spPr>
            <c:extLst>
              <c:ext xmlns:c16="http://schemas.microsoft.com/office/drawing/2014/chart" uri="{C3380CC4-5D6E-409C-BE32-E72D297353CC}">
                <c16:uniqueId val="{0000000F-FA3E-4872-B6E1-C4ABDF5766E2}"/>
              </c:ext>
            </c:extLst>
          </c:dPt>
          <c:dPt>
            <c:idx val="7"/>
            <c:invertIfNegative val="1"/>
            <c:bubble3D val="0"/>
            <c:spPr>
              <a:solidFill>
                <a:srgbClr val="7ECAC4"/>
              </a:solidFill>
            </c:spPr>
            <c:extLst>
              <c:ext xmlns:c16="http://schemas.microsoft.com/office/drawing/2014/chart" uri="{C3380CC4-5D6E-409C-BE32-E72D297353CC}">
                <c16:uniqueId val="{00000011-FA3E-4872-B6E1-C4ABDF5766E2}"/>
              </c:ext>
            </c:extLst>
          </c:dPt>
          <c:dPt>
            <c:idx val="8"/>
            <c:invertIfNegative val="1"/>
            <c:bubble3D val="0"/>
            <c:spPr>
              <a:solidFill>
                <a:srgbClr val="7ECAC4"/>
              </a:solidFill>
            </c:spPr>
            <c:extLst>
              <c:ext xmlns:c16="http://schemas.microsoft.com/office/drawing/2014/chart" uri="{C3380CC4-5D6E-409C-BE32-E72D297353CC}">
                <c16:uniqueId val="{00000013-FA3E-4872-B6E1-C4ABDF5766E2}"/>
              </c:ext>
            </c:extLst>
          </c:dPt>
          <c:dPt>
            <c:idx val="9"/>
            <c:invertIfNegative val="1"/>
            <c:bubble3D val="0"/>
            <c:spPr>
              <a:solidFill>
                <a:srgbClr val="AEABAB"/>
              </a:solidFill>
            </c:spPr>
            <c:extLst>
              <c:ext xmlns:c16="http://schemas.microsoft.com/office/drawing/2014/chart" uri="{C3380CC4-5D6E-409C-BE32-E72D297353CC}">
                <c16:uniqueId val="{00000015-FA3E-4872-B6E1-C4ABDF5766E2}"/>
              </c:ext>
            </c:extLst>
          </c:dPt>
          <c:dPt>
            <c:idx val="10"/>
            <c:invertIfNegative val="1"/>
            <c:bubble3D val="0"/>
            <c:spPr>
              <a:solidFill>
                <a:srgbClr val="AEABAB"/>
              </a:solidFill>
            </c:spPr>
            <c:extLst>
              <c:ext xmlns:c16="http://schemas.microsoft.com/office/drawing/2014/chart" uri="{C3380CC4-5D6E-409C-BE32-E72D297353CC}">
                <c16:uniqueId val="{00000017-FA3E-4872-B6E1-C4ABDF5766E2}"/>
              </c:ext>
            </c:extLst>
          </c:dPt>
          <c:dPt>
            <c:idx val="11"/>
            <c:invertIfNegative val="1"/>
            <c:bubble3D val="0"/>
            <c:spPr>
              <a:solidFill>
                <a:srgbClr val="AEABAB"/>
              </a:solidFill>
            </c:spPr>
            <c:extLst>
              <c:ext xmlns:c16="http://schemas.microsoft.com/office/drawing/2014/chart" uri="{C3380CC4-5D6E-409C-BE32-E72D297353CC}">
                <c16:uniqueId val="{00000019-FA3E-4872-B6E1-C4ABDF5766E2}"/>
              </c:ext>
            </c:extLst>
          </c:dPt>
          <c:dPt>
            <c:idx val="12"/>
            <c:invertIfNegative val="1"/>
            <c:bubble3D val="0"/>
            <c:spPr>
              <a:solidFill>
                <a:srgbClr val="AEABAB"/>
              </a:solidFill>
            </c:spPr>
            <c:extLst>
              <c:ext xmlns:c16="http://schemas.microsoft.com/office/drawing/2014/chart" uri="{C3380CC4-5D6E-409C-BE32-E72D297353CC}">
                <c16:uniqueId val="{0000001B-FA3E-4872-B6E1-C4ABDF5766E2}"/>
              </c:ext>
            </c:extLst>
          </c:dPt>
          <c:dPt>
            <c:idx val="13"/>
            <c:invertIfNegative val="1"/>
            <c:bubble3D val="0"/>
            <c:spPr>
              <a:solidFill>
                <a:srgbClr val="AEABAB"/>
              </a:solidFill>
            </c:spPr>
            <c:extLst>
              <c:ext xmlns:c16="http://schemas.microsoft.com/office/drawing/2014/chart" uri="{C3380CC4-5D6E-409C-BE32-E72D297353CC}">
                <c16:uniqueId val="{0000001D-FA3E-4872-B6E1-C4ABDF5766E2}"/>
              </c:ext>
            </c:extLst>
          </c:dPt>
          <c:dPt>
            <c:idx val="14"/>
            <c:invertIfNegative val="1"/>
            <c:bubble3D val="0"/>
            <c:spPr>
              <a:solidFill>
                <a:srgbClr val="AEABAB"/>
              </a:solidFill>
            </c:spPr>
            <c:extLst>
              <c:ext xmlns:c16="http://schemas.microsoft.com/office/drawing/2014/chart" uri="{C3380CC4-5D6E-409C-BE32-E72D297353CC}">
                <c16:uniqueId val="{0000001F-FA3E-4872-B6E1-C4ABDF5766E2}"/>
              </c:ext>
            </c:extLst>
          </c:dPt>
          <c:dPt>
            <c:idx val="15"/>
            <c:invertIfNegative val="1"/>
            <c:bubble3D val="0"/>
            <c:spPr>
              <a:solidFill>
                <a:srgbClr val="AEABAB"/>
              </a:solidFill>
            </c:spPr>
            <c:extLst>
              <c:ext xmlns:c16="http://schemas.microsoft.com/office/drawing/2014/chart" uri="{C3380CC4-5D6E-409C-BE32-E72D297353CC}">
                <c16:uniqueId val="{00000021-FA3E-4872-B6E1-C4ABDF5766E2}"/>
              </c:ext>
            </c:extLst>
          </c:dPt>
          <c:dPt>
            <c:idx val="16"/>
            <c:invertIfNegative val="1"/>
            <c:bubble3D val="0"/>
            <c:spPr>
              <a:solidFill>
                <a:srgbClr val="AEABAB"/>
              </a:solidFill>
            </c:spPr>
            <c:extLst>
              <c:ext xmlns:c16="http://schemas.microsoft.com/office/drawing/2014/chart" uri="{C3380CC4-5D6E-409C-BE32-E72D297353CC}">
                <c16:uniqueId val="{00000023-FA3E-4872-B6E1-C4ABDF5766E2}"/>
              </c:ext>
            </c:extLst>
          </c:dPt>
          <c:dPt>
            <c:idx val="17"/>
            <c:invertIfNegative val="1"/>
            <c:bubble3D val="0"/>
            <c:spPr>
              <a:solidFill>
                <a:srgbClr val="AEABAB"/>
              </a:solidFill>
            </c:spPr>
            <c:extLst>
              <c:ext xmlns:c16="http://schemas.microsoft.com/office/drawing/2014/chart" uri="{C3380CC4-5D6E-409C-BE32-E72D297353CC}">
                <c16:uniqueId val="{00000025-FA3E-4872-B6E1-C4ABDF5766E2}"/>
              </c:ext>
            </c:extLst>
          </c:dPt>
          <c:dPt>
            <c:idx val="18"/>
            <c:invertIfNegative val="1"/>
            <c:bubble3D val="0"/>
            <c:spPr>
              <a:solidFill>
                <a:srgbClr val="AEABAB"/>
              </a:solidFill>
            </c:spPr>
            <c:extLst>
              <c:ext xmlns:c16="http://schemas.microsoft.com/office/drawing/2014/chart" uri="{C3380CC4-5D6E-409C-BE32-E72D297353CC}">
                <c16:uniqueId val="{00000027-FA3E-4872-B6E1-C4ABDF5766E2}"/>
              </c:ext>
            </c:extLst>
          </c:dPt>
          <c:dPt>
            <c:idx val="19"/>
            <c:invertIfNegative val="1"/>
            <c:bubble3D val="0"/>
            <c:spPr>
              <a:solidFill>
                <a:srgbClr val="AEABAB"/>
              </a:solidFill>
            </c:spPr>
            <c:extLst>
              <c:ext xmlns:c16="http://schemas.microsoft.com/office/drawing/2014/chart" uri="{C3380CC4-5D6E-409C-BE32-E72D297353CC}">
                <c16:uniqueId val="{00000029-FA3E-4872-B6E1-C4ABDF5766E2}"/>
              </c:ext>
            </c:extLst>
          </c:dPt>
          <c:dPt>
            <c:idx val="20"/>
            <c:invertIfNegative val="1"/>
            <c:bubble3D val="0"/>
            <c:spPr>
              <a:solidFill>
                <a:srgbClr val="AEABAB"/>
              </a:solidFill>
            </c:spPr>
            <c:extLst>
              <c:ext xmlns:c16="http://schemas.microsoft.com/office/drawing/2014/chart" uri="{C3380CC4-5D6E-409C-BE32-E72D297353CC}">
                <c16:uniqueId val="{0000002B-FA3E-4872-B6E1-C4ABDF5766E2}"/>
              </c:ext>
            </c:extLst>
          </c:dPt>
          <c:dPt>
            <c:idx val="21"/>
            <c:invertIfNegative val="1"/>
            <c:bubble3D val="0"/>
            <c:spPr>
              <a:solidFill>
                <a:srgbClr val="AEABAB"/>
              </a:solidFill>
            </c:spPr>
            <c:extLst>
              <c:ext xmlns:c16="http://schemas.microsoft.com/office/drawing/2014/chart" uri="{C3380CC4-5D6E-409C-BE32-E72D297353CC}">
                <c16:uniqueId val="{0000002D-FA3E-4872-B6E1-C4ABDF5766E2}"/>
              </c:ext>
            </c:extLst>
          </c:dPt>
          <c:dPt>
            <c:idx val="22"/>
            <c:invertIfNegative val="1"/>
            <c:bubble3D val="0"/>
            <c:spPr>
              <a:solidFill>
                <a:srgbClr val="AEABAB"/>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24</c:f>
              <c:strCache>
                <c:ptCount val="23"/>
                <c:pt idx="0">
                  <c:v>CHAMPAGNE E.NICOLAS BRUT 1CT X 750ML</c:v>
                </c:pt>
                <c:pt idx="1">
                  <c:v>CHAMPAGNE NICOLAS BLC/BLC BS 1CT X 750ML</c:v>
                </c:pt>
                <c:pt idx="2">
                  <c:v>CHAMPAGNE E.NICOLAS ROSE 1CT X 750ML</c:v>
                </c:pt>
                <c:pt idx="3">
                  <c:v>CHAMPAGNE NICOLAS 1ERE CUVEE 1CT X 750ML</c:v>
                </c:pt>
                <c:pt idx="4">
                  <c:v>1/2 CHAMPAGNE NICOLAS 1ERE CUV 1CT X 375ML</c:v>
                </c:pt>
                <c:pt idx="5">
                  <c:v>MG CHAMPAGNE E.NICOLAS BRUT 1CT X 1500ML</c:v>
                </c:pt>
                <c:pt idx="6">
                  <c:v>CHAMPAGNE NICOLAS ROSE 1ERE CU 1CT X 750ML</c:v>
                </c:pt>
                <c:pt idx="7">
                  <c:v>1/2 CHAMP NICOLAS BLC/BLC BS 1CT X 375ML</c:v>
                </c:pt>
                <c:pt idx="8">
                  <c:v>CHAMPAGNE NICOLAS BIO NAT 2017 1CT X 750ML</c:v>
                </c:pt>
                <c:pt idx="9">
                  <c:v>MG CHAMPAGNE NICOLAS BLC/BL BS 1CT X 1500ML</c:v>
                </c:pt>
                <c:pt idx="10">
                  <c:v>1/2 CHAMP NICOLAS ROSE 1E C BS 1CT X 375ML</c:v>
                </c:pt>
                <c:pt idx="11">
                  <c:v>CHAMPAGNE NICOLAS BLC DE NOIRS 1CT X 750ML</c:v>
                </c:pt>
                <c:pt idx="12">
                  <c:v>MG CHAMPAGNE NICOLAS 1ERE CUVE 1CT X 1500ML</c:v>
                </c:pt>
                <c:pt idx="13">
                  <c:v>CHAMPAGNE NICOLAS 1ER CRU BS 1CT X 750ML</c:v>
                </c:pt>
                <c:pt idx="14">
                  <c:v>CHAMPAGNE NICOLAS 1ER CRU ETUI 1CT X 750ML</c:v>
                </c:pt>
                <c:pt idx="15">
                  <c:v>CHAMPAGNE NICOLAS BLC/BLC 2002 1CT X 750ML</c:v>
                </c:pt>
                <c:pt idx="16">
                  <c:v>CHAMPAGNE NICOLAS ROSE 1ERE ET 1CT X 750ML</c:v>
                </c:pt>
                <c:pt idx="17">
                  <c:v>CHAMPAGNE NICOLAS 1ERE CUV ETU 1CT X 750ML</c:v>
                </c:pt>
                <c:pt idx="18">
                  <c:v>CHAMPAGNE NICOLAS ROSE 1E C BS 1CT X 750ML</c:v>
                </c:pt>
                <c:pt idx="19">
                  <c:v>CHAMPAGNE NICOLAS BLC/BL BS ET 1CT X 750ML</c:v>
                </c:pt>
                <c:pt idx="20">
                  <c:v>MG CHAMPAGNE NICOLAS 1E CRU BS 1CT X 1500ML</c:v>
                </c:pt>
                <c:pt idx="21">
                  <c:v>CHAMPAGNE NICOLAS BIO 2018 1CT X 750ML</c:v>
                </c:pt>
                <c:pt idx="22">
                  <c:v>1/2 CHAMPAGNE NICOLAS 1E C BS 1CT X 375ML</c:v>
                </c:pt>
              </c:strCache>
            </c:strRef>
          </c:cat>
          <c:val>
            <c:numRef>
              <c:f>Sheet1!$C$2:$C$24</c:f>
              <c:numCache>
                <c:formatCode>General</c:formatCode>
                <c:ptCount val="23"/>
                <c:pt idx="0">
                  <c:v>0.72139874810344584</c:v>
                </c:pt>
                <c:pt idx="1">
                  <c:v>0.78524668677007814</c:v>
                </c:pt>
                <c:pt idx="2">
                  <c:v>0.83080117888064031</c:v>
                </c:pt>
                <c:pt idx="3">
                  <c:v>0.87633821396395206</c:v>
                </c:pt>
                <c:pt idx="4">
                  <c:v>0.89373452111958751</c:v>
                </c:pt>
                <c:pt idx="5">
                  <c:v>0.91047581025273983</c:v>
                </c:pt>
                <c:pt idx="6">
                  <c:v>0.92305094188252035</c:v>
                </c:pt>
                <c:pt idx="7">
                  <c:v>0.93490274538318563</c:v>
                </c:pt>
                <c:pt idx="8">
                  <c:v>0.94503009819198336</c:v>
                </c:pt>
                <c:pt idx="9">
                  <c:v>0.95437264377569697</c:v>
                </c:pt>
                <c:pt idx="10">
                  <c:v>0.96310647040920039</c:v>
                </c:pt>
                <c:pt idx="11">
                  <c:v>0.9704945879420519</c:v>
                </c:pt>
                <c:pt idx="12">
                  <c:v>0.97734457363487959</c:v>
                </c:pt>
                <c:pt idx="13">
                  <c:v>0.9830317695125923</c:v>
                </c:pt>
                <c:pt idx="14">
                  <c:v>0.98752581552779817</c:v>
                </c:pt>
                <c:pt idx="15">
                  <c:v>0.99181037721599896</c:v>
                </c:pt>
                <c:pt idx="16">
                  <c:v>0.99448889239716121</c:v>
                </c:pt>
                <c:pt idx="17">
                  <c:v>0.99662244472763639</c:v>
                </c:pt>
                <c:pt idx="18">
                  <c:v>0.99840609751191833</c:v>
                </c:pt>
                <c:pt idx="19">
                  <c:v>0.99920228975477443</c:v>
                </c:pt>
                <c:pt idx="20">
                  <c:v>0.99994914692061843</c:v>
                </c:pt>
                <c:pt idx="21">
                  <c:v>0.99998406097511927</c:v>
                </c:pt>
                <c:pt idx="22">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24</c:f>
              <c:strCache>
                <c:ptCount val="23"/>
                <c:pt idx="0">
                  <c:v>CHAMPAGNE E.NICOLAS BRUT 1CT X 750ML</c:v>
                </c:pt>
                <c:pt idx="1">
                  <c:v>CHAMPAGNE NICOLAS BLC/BLC BS 1CT X 750ML</c:v>
                </c:pt>
                <c:pt idx="2">
                  <c:v>CHAMPAGNE E.NICOLAS ROSE 1CT X 750ML</c:v>
                </c:pt>
                <c:pt idx="3">
                  <c:v>CHAMPAGNE NICOLAS 1ERE CUVEE 1CT X 750ML</c:v>
                </c:pt>
                <c:pt idx="4">
                  <c:v>1/2 CHAMPAGNE NICOLAS 1ERE CUV 1CT X 375ML</c:v>
                </c:pt>
                <c:pt idx="5">
                  <c:v>MG CHAMPAGNE E.NICOLAS BRUT 1CT X 1500ML</c:v>
                </c:pt>
                <c:pt idx="6">
                  <c:v>CHAMPAGNE NICOLAS ROSE 1ERE CU 1CT X 750ML</c:v>
                </c:pt>
                <c:pt idx="7">
                  <c:v>1/2 CHAMP NICOLAS BLC/BLC BS 1CT X 375ML</c:v>
                </c:pt>
                <c:pt idx="8">
                  <c:v>CHAMPAGNE NICOLAS BIO NAT 2017 1CT X 750ML</c:v>
                </c:pt>
                <c:pt idx="9">
                  <c:v>MG CHAMPAGNE NICOLAS BLC/BL BS 1CT X 1500ML</c:v>
                </c:pt>
                <c:pt idx="10">
                  <c:v>1/2 CHAMP NICOLAS ROSE 1E C BS 1CT X 375ML</c:v>
                </c:pt>
                <c:pt idx="11">
                  <c:v>CHAMPAGNE NICOLAS BLC DE NOIRS 1CT X 750ML</c:v>
                </c:pt>
                <c:pt idx="12">
                  <c:v>MG CHAMPAGNE NICOLAS 1ERE CUVE 1CT X 1500ML</c:v>
                </c:pt>
                <c:pt idx="13">
                  <c:v>CHAMPAGNE NICOLAS 1ER CRU BS 1CT X 750ML</c:v>
                </c:pt>
                <c:pt idx="14">
                  <c:v>CHAMPAGNE NICOLAS 1ER CRU ETUI 1CT X 750ML</c:v>
                </c:pt>
                <c:pt idx="15">
                  <c:v>CHAMPAGNE NICOLAS BLC/BLC 2002 1CT X 750ML</c:v>
                </c:pt>
                <c:pt idx="16">
                  <c:v>CHAMPAGNE NICOLAS ROSE 1ERE ET 1CT X 750ML</c:v>
                </c:pt>
                <c:pt idx="17">
                  <c:v>CHAMPAGNE NICOLAS 1ERE CUV ETU 1CT X 750ML</c:v>
                </c:pt>
                <c:pt idx="18">
                  <c:v>CHAMPAGNE NICOLAS ROSE 1E C BS 1CT X 750ML</c:v>
                </c:pt>
                <c:pt idx="19">
                  <c:v>CHAMPAGNE NICOLAS BLC/BL BS ET 1CT X 750ML</c:v>
                </c:pt>
                <c:pt idx="20">
                  <c:v>MG CHAMPAGNE NICOLAS 1E CRU BS 1CT X 1500ML</c:v>
                </c:pt>
                <c:pt idx="21">
                  <c:v>CHAMPAGNE NICOLAS BIO 2018 1CT X 750ML</c:v>
                </c:pt>
                <c:pt idx="22">
                  <c:v>1/2 CHAMPAGNE NICOLAS 1E C BS 1CT X 375ML</c:v>
                </c:pt>
              </c:strCache>
            </c:strRef>
          </c:cat>
          <c:val>
            <c:numRef>
              <c:f>Sheet1!$D$2:$D$24</c:f>
              <c:numCache>
                <c:formatCode>General</c:formatCode>
                <c:ptCount val="23"/>
                <c:pt idx="0">
                  <c:v>9504.58</c:v>
                </c:pt>
                <c:pt idx="1">
                  <c:v>1649.4313725490197</c:v>
                </c:pt>
                <c:pt idx="2">
                  <c:v>1071.7678571428571</c:v>
                </c:pt>
                <c:pt idx="3">
                  <c:v>779.16883116883116</c:v>
                </c:pt>
                <c:pt idx="4">
                  <c:v>636.66666666666663</c:v>
                </c:pt>
                <c:pt idx="5">
                  <c:v>1297.4705882352941</c:v>
                </c:pt>
                <c:pt idx="6">
                  <c:v>517.75</c:v>
                </c:pt>
                <c:pt idx="7">
                  <c:v>624.6</c:v>
                </c:pt>
                <c:pt idx="8">
                  <c:v>741.27777777777783</c:v>
                </c:pt>
                <c:pt idx="9">
                  <c:v>946.84615384615381</c:v>
                </c:pt>
                <c:pt idx="10">
                  <c:v>500.30434782608694</c:v>
                </c:pt>
                <c:pt idx="11">
                  <c:v>572.58823529411768</c:v>
                </c:pt>
                <c:pt idx="12">
                  <c:v>1504.1666666666667</c:v>
                </c:pt>
                <c:pt idx="13">
                  <c:v>267.60714285714283</c:v>
                </c:pt>
                <c:pt idx="14">
                  <c:v>311.63157894736844</c:v>
                </c:pt>
                <c:pt idx="15">
                  <c:v>940.83333333333337</c:v>
                </c:pt>
                <c:pt idx="16">
                  <c:v>392.11111111111109</c:v>
                </c:pt>
                <c:pt idx="17">
                  <c:v>175.6875</c:v>
                </c:pt>
                <c:pt idx="18">
                  <c:v>391.66666666666669</c:v>
                </c:pt>
                <c:pt idx="19">
                  <c:v>349.66666666666669</c:v>
                </c:pt>
                <c:pt idx="20">
                  <c:v>196.8</c:v>
                </c:pt>
                <c:pt idx="21">
                  <c:v>23</c:v>
                </c:pt>
                <c:pt idx="22">
                  <c:v>21</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23</c:f>
              <c:strCache>
                <c:ptCount val="22"/>
                <c:pt idx="0">
                  <c:v>CHAMPAGNE E.NICOLAS BRUT 1CT X 750ML</c:v>
                </c:pt>
                <c:pt idx="1">
                  <c:v>CHAMPAGNE NICOLAS BLC/BLC BS 1CT X 750ML</c:v>
                </c:pt>
                <c:pt idx="2">
                  <c:v>CHAMPAGNE E.NICOLAS ROSE 1CT X 750ML</c:v>
                </c:pt>
                <c:pt idx="3">
                  <c:v>CHAMPAGNE NICOLAS 1ERE CUVEE 1CT X 750ML</c:v>
                </c:pt>
                <c:pt idx="4">
                  <c:v>1/2 CHAMPAGNE NICOLAS 1ERE CUV 1CT X 375ML</c:v>
                </c:pt>
                <c:pt idx="5">
                  <c:v>MG CHAMPAGNE E.NICOLAS BRUT 1CT X 1500ML</c:v>
                </c:pt>
                <c:pt idx="6">
                  <c:v>CHAMPAGNE NICOLAS ROSE 1ERE CU 1CT X 750ML</c:v>
                </c:pt>
                <c:pt idx="7">
                  <c:v>CHAMPAGNE NICOLAS BIO NAT 2017 1CT X 750ML</c:v>
                </c:pt>
                <c:pt idx="8">
                  <c:v>1/2 CHAMP NICOLAS BLC/BLC BS 1CT X 375ML</c:v>
                </c:pt>
                <c:pt idx="9">
                  <c:v>CHAMPAGNE NICOLAS 1ER CRU BS 1CT X 750ML</c:v>
                </c:pt>
                <c:pt idx="10">
                  <c:v>MG CHAMPAGNE NICOLAS BLC/BL BS 1CT X 1500ML</c:v>
                </c:pt>
                <c:pt idx="11">
                  <c:v>1/2 CHAMP NICOLAS ROSE 1E C BS 1CT X 375ML</c:v>
                </c:pt>
                <c:pt idx="12">
                  <c:v>MG CHAMPAGNE NICOLAS 1ERE CUVE 1CT X 1500ML</c:v>
                </c:pt>
                <c:pt idx="13">
                  <c:v>CHAMPAGNE NICOLAS BLC DE NOIRS 1CT X 750ML</c:v>
                </c:pt>
                <c:pt idx="14">
                  <c:v>CHAMPAGNE NICOLAS 1ER CRU ETUI 1CT X 750ML</c:v>
                </c:pt>
                <c:pt idx="15">
                  <c:v>CHAMPAGNE NICOLAS 1ERE CUV ETU 1CT X 750ML</c:v>
                </c:pt>
                <c:pt idx="16">
                  <c:v>CHAMPAGNE NICOLAS BLC/BLC 2002 1CT X 750ML</c:v>
                </c:pt>
                <c:pt idx="17">
                  <c:v>CHAMPAGNE NICOLAS ROSE 1ERE ET 1CT X 750ML</c:v>
                </c:pt>
                <c:pt idx="18">
                  <c:v>CHAMPAGNE NICOLAS ROSE 1E C BS 1CT X 750ML</c:v>
                </c:pt>
                <c:pt idx="19">
                  <c:v>MG CHAMPAGNE NICOLAS 1E CRU BS 1CT X 1500ML</c:v>
                </c:pt>
                <c:pt idx="20">
                  <c:v>CHAMPAGNE NICOLAS BLC/BL BS ET 1CT X 750ML</c:v>
                </c:pt>
                <c:pt idx="21">
                  <c:v>1/2 CHAMPAGNE NICOLAS 1E C BS 1CT X 375ML</c:v>
                </c:pt>
              </c:strCache>
            </c:strRef>
          </c:cat>
          <c:val>
            <c:numRef>
              <c:f>Sheet1!$B$2:$B$23</c:f>
              <c:numCache>
                <c:formatCode>General</c:formatCode>
                <c:ptCount val="22"/>
                <c:pt idx="0">
                  <c:v>0.99</c:v>
                </c:pt>
                <c:pt idx="1">
                  <c:v>0.51</c:v>
                </c:pt>
                <c:pt idx="2">
                  <c:v>0.53</c:v>
                </c:pt>
                <c:pt idx="3">
                  <c:v>0.62</c:v>
                </c:pt>
                <c:pt idx="4">
                  <c:v>0.25</c:v>
                </c:pt>
                <c:pt idx="5">
                  <c:v>0.15</c:v>
                </c:pt>
                <c:pt idx="6">
                  <c:v>0.28000000000000003</c:v>
                </c:pt>
                <c:pt idx="7">
                  <c:v>0.18</c:v>
                </c:pt>
                <c:pt idx="8">
                  <c:v>0.15</c:v>
                </c:pt>
                <c:pt idx="9">
                  <c:v>0.28000000000000003</c:v>
                </c:pt>
                <c:pt idx="10">
                  <c:v>0.08</c:v>
                </c:pt>
                <c:pt idx="11">
                  <c:v>0.18</c:v>
                </c:pt>
                <c:pt idx="12">
                  <c:v>0.06</c:v>
                </c:pt>
                <c:pt idx="13">
                  <c:v>0.13</c:v>
                </c:pt>
                <c:pt idx="14">
                  <c:v>0.1</c:v>
                </c:pt>
                <c:pt idx="15">
                  <c:v>0.15</c:v>
                </c:pt>
                <c:pt idx="16">
                  <c:v>0.03</c:v>
                </c:pt>
                <c:pt idx="17">
                  <c:v>0.05</c:v>
                </c:pt>
                <c:pt idx="18">
                  <c:v>7.0000000000000007E-2</c:v>
                </c:pt>
                <c:pt idx="19">
                  <c:v>0.03</c:v>
                </c:pt>
                <c:pt idx="20">
                  <c:v>0.04</c:v>
                </c:pt>
                <c:pt idx="21">
                  <c:v>0.01</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7ECAC4"/>
              </a:solidFill>
            </c:spPr>
            <c:extLst>
              <c:ext xmlns:c16="http://schemas.microsoft.com/office/drawing/2014/chart" uri="{C3380CC4-5D6E-409C-BE32-E72D297353CC}">
                <c16:uniqueId val="{00000006-E902-46E2-9A54-39A26B3DFDC1}"/>
              </c:ext>
            </c:extLst>
          </c:dPt>
          <c:dPt>
            <c:idx val="3"/>
            <c:invertIfNegative val="0"/>
            <c:bubble3D val="0"/>
            <c:spPr>
              <a:solidFill>
                <a:srgbClr val="7ECAC4"/>
              </a:solidFill>
            </c:spPr>
            <c:extLst>
              <c:ext xmlns:c16="http://schemas.microsoft.com/office/drawing/2014/chart" uri="{C3380CC4-5D6E-409C-BE32-E72D297353CC}">
                <c16:uniqueId val="{00000007-E902-46E2-9A54-39A26B3DFDC1}"/>
              </c:ext>
            </c:extLst>
          </c:dPt>
          <c:dPt>
            <c:idx val="4"/>
            <c:invertIfNegative val="1"/>
            <c:bubble3D val="0"/>
            <c:spPr>
              <a:solidFill>
                <a:srgbClr val="7ECAC4"/>
              </a:solidFill>
            </c:spPr>
            <c:extLst>
              <c:ext xmlns:c16="http://schemas.microsoft.com/office/drawing/2014/chart" uri="{C3380CC4-5D6E-409C-BE32-E72D297353CC}">
                <c16:uniqueId val="{0000000B-FA3E-4872-B6E1-C4ABDF5766E2}"/>
              </c:ext>
            </c:extLst>
          </c:dPt>
          <c:dPt>
            <c:idx val="5"/>
            <c:invertIfNegative val="1"/>
            <c:bubble3D val="0"/>
            <c:spPr>
              <a:solidFill>
                <a:srgbClr val="7ECAC4"/>
              </a:solidFill>
            </c:spPr>
            <c:extLst>
              <c:ext xmlns:c16="http://schemas.microsoft.com/office/drawing/2014/chart" uri="{C3380CC4-5D6E-409C-BE32-E72D297353CC}">
                <c16:uniqueId val="{0000000D-FA3E-4872-B6E1-C4ABDF5766E2}"/>
              </c:ext>
            </c:extLst>
          </c:dPt>
          <c:dPt>
            <c:idx val="6"/>
            <c:invertIfNegative val="1"/>
            <c:bubble3D val="0"/>
            <c:spPr>
              <a:solidFill>
                <a:srgbClr val="7ECAC4"/>
              </a:solidFill>
            </c:spPr>
            <c:extLst>
              <c:ext xmlns:c16="http://schemas.microsoft.com/office/drawing/2014/chart" uri="{C3380CC4-5D6E-409C-BE32-E72D297353CC}">
                <c16:uniqueId val="{0000000F-FA3E-4872-B6E1-C4ABDF5766E2}"/>
              </c:ext>
            </c:extLst>
          </c:dPt>
          <c:dPt>
            <c:idx val="7"/>
            <c:invertIfNegative val="1"/>
            <c:bubble3D val="0"/>
            <c:spPr>
              <a:solidFill>
                <a:srgbClr val="7ECAC4"/>
              </a:solidFill>
            </c:spPr>
            <c:extLst>
              <c:ext xmlns:c16="http://schemas.microsoft.com/office/drawing/2014/chart" uri="{C3380CC4-5D6E-409C-BE32-E72D297353CC}">
                <c16:uniqueId val="{00000011-FA3E-4872-B6E1-C4ABDF5766E2}"/>
              </c:ext>
            </c:extLst>
          </c:dPt>
          <c:dPt>
            <c:idx val="8"/>
            <c:invertIfNegative val="1"/>
            <c:bubble3D val="0"/>
            <c:spPr>
              <a:solidFill>
                <a:srgbClr val="7ECAC4"/>
              </a:solidFill>
            </c:spPr>
            <c:extLst>
              <c:ext xmlns:c16="http://schemas.microsoft.com/office/drawing/2014/chart" uri="{C3380CC4-5D6E-409C-BE32-E72D297353CC}">
                <c16:uniqueId val="{00000013-FA3E-4872-B6E1-C4ABDF5766E2}"/>
              </c:ext>
            </c:extLst>
          </c:dPt>
          <c:dPt>
            <c:idx val="9"/>
            <c:invertIfNegative val="1"/>
            <c:bubble3D val="0"/>
            <c:spPr>
              <a:solidFill>
                <a:srgbClr val="AEABAB"/>
              </a:solidFill>
            </c:spPr>
            <c:extLst>
              <c:ext xmlns:c16="http://schemas.microsoft.com/office/drawing/2014/chart" uri="{C3380CC4-5D6E-409C-BE32-E72D297353CC}">
                <c16:uniqueId val="{00000015-FA3E-4872-B6E1-C4ABDF5766E2}"/>
              </c:ext>
            </c:extLst>
          </c:dPt>
          <c:dPt>
            <c:idx val="10"/>
            <c:invertIfNegative val="1"/>
            <c:bubble3D val="0"/>
            <c:spPr>
              <a:solidFill>
                <a:srgbClr val="AEABAB"/>
              </a:solidFill>
            </c:spPr>
            <c:extLst>
              <c:ext xmlns:c16="http://schemas.microsoft.com/office/drawing/2014/chart" uri="{C3380CC4-5D6E-409C-BE32-E72D297353CC}">
                <c16:uniqueId val="{00000017-FA3E-4872-B6E1-C4ABDF5766E2}"/>
              </c:ext>
            </c:extLst>
          </c:dPt>
          <c:dPt>
            <c:idx val="11"/>
            <c:invertIfNegative val="1"/>
            <c:bubble3D val="0"/>
            <c:spPr>
              <a:solidFill>
                <a:srgbClr val="AEABAB"/>
              </a:solidFill>
            </c:spPr>
            <c:extLst>
              <c:ext xmlns:c16="http://schemas.microsoft.com/office/drawing/2014/chart" uri="{C3380CC4-5D6E-409C-BE32-E72D297353CC}">
                <c16:uniqueId val="{00000019-FA3E-4872-B6E1-C4ABDF5766E2}"/>
              </c:ext>
            </c:extLst>
          </c:dPt>
          <c:dPt>
            <c:idx val="12"/>
            <c:invertIfNegative val="1"/>
            <c:bubble3D val="0"/>
            <c:spPr>
              <a:solidFill>
                <a:srgbClr val="AEABAB"/>
              </a:solidFill>
            </c:spPr>
            <c:extLst>
              <c:ext xmlns:c16="http://schemas.microsoft.com/office/drawing/2014/chart" uri="{C3380CC4-5D6E-409C-BE32-E72D297353CC}">
                <c16:uniqueId val="{0000001B-FA3E-4872-B6E1-C4ABDF5766E2}"/>
              </c:ext>
            </c:extLst>
          </c:dPt>
          <c:dPt>
            <c:idx val="13"/>
            <c:invertIfNegative val="1"/>
            <c:bubble3D val="0"/>
            <c:spPr>
              <a:solidFill>
                <a:srgbClr val="AEABAB"/>
              </a:solidFill>
            </c:spPr>
            <c:extLst>
              <c:ext xmlns:c16="http://schemas.microsoft.com/office/drawing/2014/chart" uri="{C3380CC4-5D6E-409C-BE32-E72D297353CC}">
                <c16:uniqueId val="{0000001D-FA3E-4872-B6E1-C4ABDF5766E2}"/>
              </c:ext>
            </c:extLst>
          </c:dPt>
          <c:dPt>
            <c:idx val="14"/>
            <c:invertIfNegative val="1"/>
            <c:bubble3D val="0"/>
            <c:spPr>
              <a:solidFill>
                <a:srgbClr val="AEABAB"/>
              </a:solidFill>
            </c:spPr>
            <c:extLst>
              <c:ext xmlns:c16="http://schemas.microsoft.com/office/drawing/2014/chart" uri="{C3380CC4-5D6E-409C-BE32-E72D297353CC}">
                <c16:uniqueId val="{0000001F-FA3E-4872-B6E1-C4ABDF5766E2}"/>
              </c:ext>
            </c:extLst>
          </c:dPt>
          <c:dPt>
            <c:idx val="15"/>
            <c:invertIfNegative val="1"/>
            <c:bubble3D val="0"/>
            <c:spPr>
              <a:solidFill>
                <a:srgbClr val="AEABAB"/>
              </a:solidFill>
            </c:spPr>
            <c:extLst>
              <c:ext xmlns:c16="http://schemas.microsoft.com/office/drawing/2014/chart" uri="{C3380CC4-5D6E-409C-BE32-E72D297353CC}">
                <c16:uniqueId val="{00000021-FA3E-4872-B6E1-C4ABDF5766E2}"/>
              </c:ext>
            </c:extLst>
          </c:dPt>
          <c:dPt>
            <c:idx val="16"/>
            <c:invertIfNegative val="1"/>
            <c:bubble3D val="0"/>
            <c:spPr>
              <a:solidFill>
                <a:srgbClr val="AEABAB"/>
              </a:solidFill>
            </c:spPr>
            <c:extLst>
              <c:ext xmlns:c16="http://schemas.microsoft.com/office/drawing/2014/chart" uri="{C3380CC4-5D6E-409C-BE32-E72D297353CC}">
                <c16:uniqueId val="{00000023-FA3E-4872-B6E1-C4ABDF5766E2}"/>
              </c:ext>
            </c:extLst>
          </c:dPt>
          <c:dPt>
            <c:idx val="17"/>
            <c:invertIfNegative val="1"/>
            <c:bubble3D val="0"/>
            <c:spPr>
              <a:solidFill>
                <a:srgbClr val="AEABAB"/>
              </a:solidFill>
            </c:spPr>
            <c:extLst>
              <c:ext xmlns:c16="http://schemas.microsoft.com/office/drawing/2014/chart" uri="{C3380CC4-5D6E-409C-BE32-E72D297353CC}">
                <c16:uniqueId val="{00000025-FA3E-4872-B6E1-C4ABDF5766E2}"/>
              </c:ext>
            </c:extLst>
          </c:dPt>
          <c:dPt>
            <c:idx val="18"/>
            <c:invertIfNegative val="1"/>
            <c:bubble3D val="0"/>
            <c:spPr>
              <a:solidFill>
                <a:srgbClr val="AEABAB"/>
              </a:solidFill>
            </c:spPr>
            <c:extLst>
              <c:ext xmlns:c16="http://schemas.microsoft.com/office/drawing/2014/chart" uri="{C3380CC4-5D6E-409C-BE32-E72D297353CC}">
                <c16:uniqueId val="{00000027-FA3E-4872-B6E1-C4ABDF5766E2}"/>
              </c:ext>
            </c:extLst>
          </c:dPt>
          <c:dPt>
            <c:idx val="19"/>
            <c:invertIfNegative val="1"/>
            <c:bubble3D val="0"/>
            <c:spPr>
              <a:solidFill>
                <a:srgbClr val="AEABAB"/>
              </a:solidFill>
            </c:spPr>
            <c:extLst>
              <c:ext xmlns:c16="http://schemas.microsoft.com/office/drawing/2014/chart" uri="{C3380CC4-5D6E-409C-BE32-E72D297353CC}">
                <c16:uniqueId val="{00000029-FA3E-4872-B6E1-C4ABDF5766E2}"/>
              </c:ext>
            </c:extLst>
          </c:dPt>
          <c:dPt>
            <c:idx val="20"/>
            <c:invertIfNegative val="1"/>
            <c:bubble3D val="0"/>
            <c:spPr>
              <a:solidFill>
                <a:srgbClr val="AEABAB"/>
              </a:solidFill>
            </c:spPr>
            <c:extLst>
              <c:ext xmlns:c16="http://schemas.microsoft.com/office/drawing/2014/chart" uri="{C3380CC4-5D6E-409C-BE32-E72D297353CC}">
                <c16:uniqueId val="{0000002B-FA3E-4872-B6E1-C4ABDF5766E2}"/>
              </c:ext>
            </c:extLst>
          </c:dPt>
          <c:dPt>
            <c:idx val="21"/>
            <c:invertIfNegative val="1"/>
            <c:bubble3D val="0"/>
            <c:spPr>
              <a:solidFill>
                <a:srgbClr val="AEABAB"/>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23</c:f>
              <c:strCache>
                <c:ptCount val="22"/>
                <c:pt idx="0">
                  <c:v>CHAMPAGNE E.NICOLAS BRUT 1CT X 750ML</c:v>
                </c:pt>
                <c:pt idx="1">
                  <c:v>CHAMPAGNE NICOLAS BLC/BLC BS 1CT X 750ML</c:v>
                </c:pt>
                <c:pt idx="2">
                  <c:v>CHAMPAGNE E.NICOLAS ROSE 1CT X 750ML</c:v>
                </c:pt>
                <c:pt idx="3">
                  <c:v>CHAMPAGNE NICOLAS 1ERE CUVEE 1CT X 750ML</c:v>
                </c:pt>
                <c:pt idx="4">
                  <c:v>1/2 CHAMPAGNE NICOLAS 1ERE CUV 1CT X 375ML</c:v>
                </c:pt>
                <c:pt idx="5">
                  <c:v>MG CHAMPAGNE E.NICOLAS BRUT 1CT X 1500ML</c:v>
                </c:pt>
                <c:pt idx="6">
                  <c:v>CHAMPAGNE NICOLAS ROSE 1ERE CU 1CT X 750ML</c:v>
                </c:pt>
                <c:pt idx="7">
                  <c:v>CHAMPAGNE NICOLAS BIO NAT 2017 1CT X 750ML</c:v>
                </c:pt>
                <c:pt idx="8">
                  <c:v>1/2 CHAMP NICOLAS BLC/BLC BS 1CT X 375ML</c:v>
                </c:pt>
                <c:pt idx="9">
                  <c:v>CHAMPAGNE NICOLAS 1ER CRU BS 1CT X 750ML</c:v>
                </c:pt>
                <c:pt idx="10">
                  <c:v>MG CHAMPAGNE NICOLAS BLC/BL BS 1CT X 1500ML</c:v>
                </c:pt>
                <c:pt idx="11">
                  <c:v>1/2 CHAMP NICOLAS ROSE 1E C BS 1CT X 375ML</c:v>
                </c:pt>
                <c:pt idx="12">
                  <c:v>MG CHAMPAGNE NICOLAS 1ERE CUVE 1CT X 1500ML</c:v>
                </c:pt>
                <c:pt idx="13">
                  <c:v>CHAMPAGNE NICOLAS BLC DE NOIRS 1CT X 750ML</c:v>
                </c:pt>
                <c:pt idx="14">
                  <c:v>CHAMPAGNE NICOLAS 1ER CRU ETUI 1CT X 750ML</c:v>
                </c:pt>
                <c:pt idx="15">
                  <c:v>CHAMPAGNE NICOLAS 1ERE CUV ETU 1CT X 750ML</c:v>
                </c:pt>
                <c:pt idx="16">
                  <c:v>CHAMPAGNE NICOLAS BLC/BLC 2002 1CT X 750ML</c:v>
                </c:pt>
                <c:pt idx="17">
                  <c:v>CHAMPAGNE NICOLAS ROSE 1ERE ET 1CT X 750ML</c:v>
                </c:pt>
                <c:pt idx="18">
                  <c:v>CHAMPAGNE NICOLAS ROSE 1E C BS 1CT X 750ML</c:v>
                </c:pt>
                <c:pt idx="19">
                  <c:v>MG CHAMPAGNE NICOLAS 1E CRU BS 1CT X 1500ML</c:v>
                </c:pt>
                <c:pt idx="20">
                  <c:v>CHAMPAGNE NICOLAS BLC/BL BS ET 1CT X 750ML</c:v>
                </c:pt>
                <c:pt idx="21">
                  <c:v>1/2 CHAMPAGNE NICOLAS 1E C BS 1CT X 375ML</c:v>
                </c:pt>
              </c:strCache>
            </c:strRef>
          </c:cat>
          <c:val>
            <c:numRef>
              <c:f>Sheet1!$C$2:$C$23</c:f>
              <c:numCache>
                <c:formatCode>General</c:formatCode>
                <c:ptCount val="22"/>
                <c:pt idx="0">
                  <c:v>0.71336255755595346</c:v>
                </c:pt>
                <c:pt idx="1">
                  <c:v>0.77642003924358394</c:v>
                </c:pt>
                <c:pt idx="2">
                  <c:v>0.82817153823904199</c:v>
                </c:pt>
                <c:pt idx="3">
                  <c:v>0.87143719853970103</c:v>
                </c:pt>
                <c:pt idx="4">
                  <c:v>0.89001047537895084</c:v>
                </c:pt>
                <c:pt idx="5">
                  <c:v>0.90689713803266137</c:v>
                </c:pt>
                <c:pt idx="6">
                  <c:v>0.92042816157099416</c:v>
                </c:pt>
                <c:pt idx="7">
                  <c:v>0.93354779196210103</c:v>
                </c:pt>
                <c:pt idx="8">
                  <c:v>0.94312709605297107</c:v>
                </c:pt>
                <c:pt idx="9">
                  <c:v>0.95126701271898628</c:v>
                </c:pt>
                <c:pt idx="10">
                  <c:v>0.95916067980518926</c:v>
                </c:pt>
                <c:pt idx="11">
                  <c:v>0.96695076571893157</c:v>
                </c:pt>
                <c:pt idx="12">
                  <c:v>0.97369526809934415</c:v>
                </c:pt>
                <c:pt idx="13">
                  <c:v>0.97972447408125463</c:v>
                </c:pt>
                <c:pt idx="14">
                  <c:v>0.98495239174790306</c:v>
                </c:pt>
                <c:pt idx="15">
                  <c:v>0.98868424549910494</c:v>
                </c:pt>
                <c:pt idx="16">
                  <c:v>0.99236528584494876</c:v>
                </c:pt>
                <c:pt idx="17">
                  <c:v>0.99543363378387884</c:v>
                </c:pt>
                <c:pt idx="18">
                  <c:v>0.99713686004424673</c:v>
                </c:pt>
                <c:pt idx="19">
                  <c:v>0.99876777492006663</c:v>
                </c:pt>
                <c:pt idx="20">
                  <c:v>0.99987101212486029</c:v>
                </c:pt>
                <c:pt idx="21">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23</c:f>
              <c:strCache>
                <c:ptCount val="22"/>
                <c:pt idx="0">
                  <c:v>CHAMPAGNE E.NICOLAS BRUT 1CT X 750ML</c:v>
                </c:pt>
                <c:pt idx="1">
                  <c:v>CHAMPAGNE NICOLAS BLC/BLC BS 1CT X 750ML</c:v>
                </c:pt>
                <c:pt idx="2">
                  <c:v>CHAMPAGNE E.NICOLAS ROSE 1CT X 750ML</c:v>
                </c:pt>
                <c:pt idx="3">
                  <c:v>CHAMPAGNE NICOLAS 1ERE CUVEE 1CT X 750ML</c:v>
                </c:pt>
                <c:pt idx="4">
                  <c:v>1/2 CHAMPAGNE NICOLAS 1ERE CUV 1CT X 375ML</c:v>
                </c:pt>
                <c:pt idx="5">
                  <c:v>MG CHAMPAGNE E.NICOLAS BRUT 1CT X 1500ML</c:v>
                </c:pt>
                <c:pt idx="6">
                  <c:v>CHAMPAGNE NICOLAS ROSE 1ERE CU 1CT X 750ML</c:v>
                </c:pt>
                <c:pt idx="7">
                  <c:v>CHAMPAGNE NICOLAS BIO NAT 2017 1CT X 750ML</c:v>
                </c:pt>
                <c:pt idx="8">
                  <c:v>1/2 CHAMP NICOLAS BLC/BLC BS 1CT X 375ML</c:v>
                </c:pt>
                <c:pt idx="9">
                  <c:v>CHAMPAGNE NICOLAS 1ER CRU BS 1CT X 750ML</c:v>
                </c:pt>
                <c:pt idx="10">
                  <c:v>MG CHAMPAGNE NICOLAS BLC/BL BS 1CT X 1500ML</c:v>
                </c:pt>
                <c:pt idx="11">
                  <c:v>1/2 CHAMP NICOLAS ROSE 1E C BS 1CT X 375ML</c:v>
                </c:pt>
                <c:pt idx="12">
                  <c:v>MG CHAMPAGNE NICOLAS 1ERE CUVE 1CT X 1500ML</c:v>
                </c:pt>
                <c:pt idx="13">
                  <c:v>CHAMPAGNE NICOLAS BLC DE NOIRS 1CT X 750ML</c:v>
                </c:pt>
                <c:pt idx="14">
                  <c:v>CHAMPAGNE NICOLAS 1ER CRU ETUI 1CT X 750ML</c:v>
                </c:pt>
                <c:pt idx="15">
                  <c:v>CHAMPAGNE NICOLAS 1ERE CUV ETU 1CT X 750ML</c:v>
                </c:pt>
                <c:pt idx="16">
                  <c:v>CHAMPAGNE NICOLAS BLC/BLC 2002 1CT X 750ML</c:v>
                </c:pt>
                <c:pt idx="17">
                  <c:v>CHAMPAGNE NICOLAS ROSE 1ERE ET 1CT X 750ML</c:v>
                </c:pt>
                <c:pt idx="18">
                  <c:v>CHAMPAGNE NICOLAS ROSE 1E C BS 1CT X 750ML</c:v>
                </c:pt>
                <c:pt idx="19">
                  <c:v>MG CHAMPAGNE NICOLAS 1E CRU BS 1CT X 1500ML</c:v>
                </c:pt>
                <c:pt idx="20">
                  <c:v>CHAMPAGNE NICOLAS BLC/BL BS ET 1CT X 750ML</c:v>
                </c:pt>
                <c:pt idx="21">
                  <c:v>1/2 CHAMPAGNE NICOLAS 1E C BS 1CT X 375ML</c:v>
                </c:pt>
              </c:strCache>
            </c:strRef>
          </c:cat>
          <c:val>
            <c:numRef>
              <c:f>Sheet1!$D$2:$D$23</c:f>
              <c:numCache>
                <c:formatCode>General</c:formatCode>
                <c:ptCount val="22"/>
                <c:pt idx="0">
                  <c:v>7373.9494949494947</c:v>
                </c:pt>
                <c:pt idx="1">
                  <c:v>1265.2941176470588</c:v>
                </c:pt>
                <c:pt idx="2">
                  <c:v>999.24528301886789</c:v>
                </c:pt>
                <c:pt idx="3">
                  <c:v>714.12903225806451</c:v>
                </c:pt>
                <c:pt idx="4">
                  <c:v>760.28</c:v>
                </c:pt>
                <c:pt idx="5">
                  <c:v>1152.0666666666666</c:v>
                </c:pt>
                <c:pt idx="6">
                  <c:v>494.53571428571422</c:v>
                </c:pt>
                <c:pt idx="7">
                  <c:v>745.88888888888891</c:v>
                </c:pt>
                <c:pt idx="8">
                  <c:v>653.5333333333333</c:v>
                </c:pt>
                <c:pt idx="9">
                  <c:v>297.49999999999994</c:v>
                </c:pt>
                <c:pt idx="10">
                  <c:v>1009.75</c:v>
                </c:pt>
                <c:pt idx="11">
                  <c:v>442.88888888888891</c:v>
                </c:pt>
                <c:pt idx="12">
                  <c:v>1150.3333333333333</c:v>
                </c:pt>
                <c:pt idx="13">
                  <c:v>474.61538461538464</c:v>
                </c:pt>
                <c:pt idx="14">
                  <c:v>535</c:v>
                </c:pt>
                <c:pt idx="15">
                  <c:v>254.6</c:v>
                </c:pt>
                <c:pt idx="16">
                  <c:v>1255.6666666666667</c:v>
                </c:pt>
                <c:pt idx="17">
                  <c:v>628</c:v>
                </c:pt>
                <c:pt idx="18">
                  <c:v>248.99999999999997</c:v>
                </c:pt>
                <c:pt idx="19">
                  <c:v>556.33333333333337</c:v>
                </c:pt>
                <c:pt idx="20">
                  <c:v>282.25</c:v>
                </c:pt>
                <c:pt idx="21">
                  <c:v>132</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24</c:f>
              <c:strCache>
                <c:ptCount val="23"/>
                <c:pt idx="0">
                  <c:v>CHAMPAGNE E.NICOLAS BRUT 1CT X 750ML</c:v>
                </c:pt>
                <c:pt idx="1">
                  <c:v>CHAMPAGNE NICOLAS BLC/BLC BS 1CT X 750ML</c:v>
                </c:pt>
                <c:pt idx="2">
                  <c:v>CHAMPAGNE E.NICOLAS ROSE 1CT X 750ML</c:v>
                </c:pt>
                <c:pt idx="3">
                  <c:v>CHAMPAGNE NICOLAS 1ERE CUVEE 1CT X 750ML</c:v>
                </c:pt>
                <c:pt idx="4">
                  <c:v>MG CHAMPAGNE E.NICOLAS BRUT 1CT X 1500ML</c:v>
                </c:pt>
                <c:pt idx="5">
                  <c:v>MG CHAMPAGNE NICOLAS BLC/BL BS 1CT X 1500ML</c:v>
                </c:pt>
                <c:pt idx="6">
                  <c:v>1/2 CHAMP NICOLAS BLC/BLC BS 1CT X 375ML</c:v>
                </c:pt>
                <c:pt idx="7">
                  <c:v>CHAMPAGNE NICOLAS ROSE 1ERE CU 1CT X 750ML</c:v>
                </c:pt>
                <c:pt idx="8">
                  <c:v>1/2 CHAMPAGNE NICOLAS 1ERE CUV 1CT X 375ML</c:v>
                </c:pt>
                <c:pt idx="9">
                  <c:v>1/2 CHAMP NICOLAS ROSE 1E C BS 1CT X 375ML</c:v>
                </c:pt>
                <c:pt idx="10">
                  <c:v>MG CHAMPAGNE NICOLAS 1ERE CUVE 1CT X 1500ML</c:v>
                </c:pt>
                <c:pt idx="11">
                  <c:v>CHAMPAGNE NICOLAS BLC DE NOIRS 1CT X 750ML</c:v>
                </c:pt>
                <c:pt idx="12">
                  <c:v>CHAMPAGNE NICOLAS BLC/BLC 2002 1CT X 750ML</c:v>
                </c:pt>
                <c:pt idx="13">
                  <c:v>CHAMPAGNE NICOLAS BIO NAT 2017 1CT X 750ML</c:v>
                </c:pt>
                <c:pt idx="14">
                  <c:v>CHAMPAGNE NICOLAS BLC/BL BS ET 1CT X 750ML</c:v>
                </c:pt>
                <c:pt idx="15">
                  <c:v>CHAMPAGNE NICOLAS 1ER CRU BS 1CT X 750ML</c:v>
                </c:pt>
                <c:pt idx="16">
                  <c:v>CHAMPAGNE NICOLAS 1ER CRU ETUI 1CT X 750ML</c:v>
                </c:pt>
                <c:pt idx="17">
                  <c:v>CHAMPAGNE NICOLAS ROSE 1ERE ET 1CT X 750ML</c:v>
                </c:pt>
                <c:pt idx="18">
                  <c:v>CHAMPAGNE NICOLAS ROSE 1E C BS 1CT X 750ML</c:v>
                </c:pt>
                <c:pt idx="19">
                  <c:v>CHAMPAGNE NICOLAS 1ERE CUV ETU 1CT X 750ML</c:v>
                </c:pt>
                <c:pt idx="20">
                  <c:v>MG CHAMPAGNE NICOLAS 1E CRU BS 1CT X 1500ML</c:v>
                </c:pt>
                <c:pt idx="21">
                  <c:v>1/2 CHAMPAGNE NICOLAS 1E C BS 1CT X 375ML</c:v>
                </c:pt>
                <c:pt idx="22">
                  <c:v>CHAMPAGNE NICOLAS BIO 2018 1CT X 750ML</c:v>
                </c:pt>
              </c:strCache>
            </c:strRef>
          </c:cat>
          <c:val>
            <c:numRef>
              <c:f>Sheet1!$B$2:$B$24</c:f>
              <c:numCache>
                <c:formatCode>General</c:formatCode>
                <c:ptCount val="23"/>
                <c:pt idx="0">
                  <c:v>1</c:v>
                </c:pt>
                <c:pt idx="1">
                  <c:v>0.65</c:v>
                </c:pt>
                <c:pt idx="2">
                  <c:v>0.82</c:v>
                </c:pt>
                <c:pt idx="3">
                  <c:v>0.76</c:v>
                </c:pt>
                <c:pt idx="4">
                  <c:v>0.35</c:v>
                </c:pt>
                <c:pt idx="5">
                  <c:v>0.34</c:v>
                </c:pt>
                <c:pt idx="6">
                  <c:v>0.53</c:v>
                </c:pt>
                <c:pt idx="7">
                  <c:v>0.39</c:v>
                </c:pt>
                <c:pt idx="8">
                  <c:v>0.61</c:v>
                </c:pt>
                <c:pt idx="9">
                  <c:v>0.43</c:v>
                </c:pt>
                <c:pt idx="10">
                  <c:v>0.36</c:v>
                </c:pt>
                <c:pt idx="11">
                  <c:v>0.23</c:v>
                </c:pt>
                <c:pt idx="12">
                  <c:v>0.17</c:v>
                </c:pt>
                <c:pt idx="13">
                  <c:v>0.18</c:v>
                </c:pt>
                <c:pt idx="14">
                  <c:v>0.05</c:v>
                </c:pt>
                <c:pt idx="15">
                  <c:v>0.16</c:v>
                </c:pt>
                <c:pt idx="16">
                  <c:v>0.21</c:v>
                </c:pt>
                <c:pt idx="17">
                  <c:v>0.21</c:v>
                </c:pt>
                <c:pt idx="18">
                  <c:v>0.09</c:v>
                </c:pt>
                <c:pt idx="19">
                  <c:v>0.09</c:v>
                </c:pt>
                <c:pt idx="20">
                  <c:v>0.03</c:v>
                </c:pt>
                <c:pt idx="21">
                  <c:v>0.03</c:v>
                </c:pt>
                <c:pt idx="22">
                  <c:v>0.05</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7ECAC4"/>
              </a:solidFill>
            </c:spPr>
            <c:extLst>
              <c:ext xmlns:c16="http://schemas.microsoft.com/office/drawing/2014/chart" uri="{C3380CC4-5D6E-409C-BE32-E72D297353CC}">
                <c16:uniqueId val="{00000006-E902-46E2-9A54-39A26B3DFDC1}"/>
              </c:ext>
            </c:extLst>
          </c:dPt>
          <c:dPt>
            <c:idx val="3"/>
            <c:invertIfNegative val="0"/>
            <c:bubble3D val="0"/>
            <c:spPr>
              <a:solidFill>
                <a:srgbClr val="7ECAC4"/>
              </a:solidFill>
            </c:spPr>
            <c:extLst>
              <c:ext xmlns:c16="http://schemas.microsoft.com/office/drawing/2014/chart" uri="{C3380CC4-5D6E-409C-BE32-E72D297353CC}">
                <c16:uniqueId val="{00000007-E902-46E2-9A54-39A26B3DFDC1}"/>
              </c:ext>
            </c:extLst>
          </c:dPt>
          <c:dPt>
            <c:idx val="4"/>
            <c:invertIfNegative val="1"/>
            <c:bubble3D val="0"/>
            <c:spPr>
              <a:solidFill>
                <a:srgbClr val="7ECAC4"/>
              </a:solidFill>
            </c:spPr>
            <c:extLst>
              <c:ext xmlns:c16="http://schemas.microsoft.com/office/drawing/2014/chart" uri="{C3380CC4-5D6E-409C-BE32-E72D297353CC}">
                <c16:uniqueId val="{0000000B-FA3E-4872-B6E1-C4ABDF5766E2}"/>
              </c:ext>
            </c:extLst>
          </c:dPt>
          <c:dPt>
            <c:idx val="5"/>
            <c:invertIfNegative val="1"/>
            <c:bubble3D val="0"/>
            <c:spPr>
              <a:solidFill>
                <a:srgbClr val="7ECAC4"/>
              </a:solidFill>
            </c:spPr>
            <c:extLst>
              <c:ext xmlns:c16="http://schemas.microsoft.com/office/drawing/2014/chart" uri="{C3380CC4-5D6E-409C-BE32-E72D297353CC}">
                <c16:uniqueId val="{0000000D-FA3E-4872-B6E1-C4ABDF5766E2}"/>
              </c:ext>
            </c:extLst>
          </c:dPt>
          <c:dPt>
            <c:idx val="6"/>
            <c:invertIfNegative val="1"/>
            <c:bubble3D val="0"/>
            <c:spPr>
              <a:solidFill>
                <a:srgbClr val="7ECAC4"/>
              </a:solidFill>
            </c:spPr>
            <c:extLst>
              <c:ext xmlns:c16="http://schemas.microsoft.com/office/drawing/2014/chart" uri="{C3380CC4-5D6E-409C-BE32-E72D297353CC}">
                <c16:uniqueId val="{0000000F-FA3E-4872-B6E1-C4ABDF5766E2}"/>
              </c:ext>
            </c:extLst>
          </c:dPt>
          <c:dPt>
            <c:idx val="7"/>
            <c:invertIfNegative val="1"/>
            <c:bubble3D val="0"/>
            <c:spPr>
              <a:solidFill>
                <a:srgbClr val="7ECAC4"/>
              </a:solidFill>
            </c:spPr>
            <c:extLst>
              <c:ext xmlns:c16="http://schemas.microsoft.com/office/drawing/2014/chart" uri="{C3380CC4-5D6E-409C-BE32-E72D297353CC}">
                <c16:uniqueId val="{00000011-FA3E-4872-B6E1-C4ABDF5766E2}"/>
              </c:ext>
            </c:extLst>
          </c:dPt>
          <c:dPt>
            <c:idx val="8"/>
            <c:invertIfNegative val="1"/>
            <c:bubble3D val="0"/>
            <c:spPr>
              <a:solidFill>
                <a:srgbClr val="7ECAC4"/>
              </a:solidFill>
            </c:spPr>
            <c:extLst>
              <c:ext xmlns:c16="http://schemas.microsoft.com/office/drawing/2014/chart" uri="{C3380CC4-5D6E-409C-BE32-E72D297353CC}">
                <c16:uniqueId val="{00000013-FA3E-4872-B6E1-C4ABDF5766E2}"/>
              </c:ext>
            </c:extLst>
          </c:dPt>
          <c:dPt>
            <c:idx val="9"/>
            <c:invertIfNegative val="1"/>
            <c:bubble3D val="0"/>
            <c:spPr>
              <a:solidFill>
                <a:srgbClr val="7ECAC4"/>
              </a:solidFill>
            </c:spPr>
            <c:extLst>
              <c:ext xmlns:c16="http://schemas.microsoft.com/office/drawing/2014/chart" uri="{C3380CC4-5D6E-409C-BE32-E72D297353CC}">
                <c16:uniqueId val="{00000015-FA3E-4872-B6E1-C4ABDF5766E2}"/>
              </c:ext>
            </c:extLst>
          </c:dPt>
          <c:dPt>
            <c:idx val="10"/>
            <c:invertIfNegative val="1"/>
            <c:bubble3D val="0"/>
            <c:spPr>
              <a:solidFill>
                <a:srgbClr val="AEABAB"/>
              </a:solidFill>
            </c:spPr>
            <c:extLst>
              <c:ext xmlns:c16="http://schemas.microsoft.com/office/drawing/2014/chart" uri="{C3380CC4-5D6E-409C-BE32-E72D297353CC}">
                <c16:uniqueId val="{00000017-FA3E-4872-B6E1-C4ABDF5766E2}"/>
              </c:ext>
            </c:extLst>
          </c:dPt>
          <c:dPt>
            <c:idx val="11"/>
            <c:invertIfNegative val="1"/>
            <c:bubble3D val="0"/>
            <c:spPr>
              <a:solidFill>
                <a:srgbClr val="AEABAB"/>
              </a:solidFill>
            </c:spPr>
            <c:extLst>
              <c:ext xmlns:c16="http://schemas.microsoft.com/office/drawing/2014/chart" uri="{C3380CC4-5D6E-409C-BE32-E72D297353CC}">
                <c16:uniqueId val="{00000019-FA3E-4872-B6E1-C4ABDF5766E2}"/>
              </c:ext>
            </c:extLst>
          </c:dPt>
          <c:dPt>
            <c:idx val="12"/>
            <c:invertIfNegative val="1"/>
            <c:bubble3D val="0"/>
            <c:spPr>
              <a:solidFill>
                <a:srgbClr val="AEABAB"/>
              </a:solidFill>
            </c:spPr>
            <c:extLst>
              <c:ext xmlns:c16="http://schemas.microsoft.com/office/drawing/2014/chart" uri="{C3380CC4-5D6E-409C-BE32-E72D297353CC}">
                <c16:uniqueId val="{0000001B-FA3E-4872-B6E1-C4ABDF5766E2}"/>
              </c:ext>
            </c:extLst>
          </c:dPt>
          <c:dPt>
            <c:idx val="13"/>
            <c:invertIfNegative val="1"/>
            <c:bubble3D val="0"/>
            <c:spPr>
              <a:solidFill>
                <a:srgbClr val="AEABAB"/>
              </a:solidFill>
            </c:spPr>
            <c:extLst>
              <c:ext xmlns:c16="http://schemas.microsoft.com/office/drawing/2014/chart" uri="{C3380CC4-5D6E-409C-BE32-E72D297353CC}">
                <c16:uniqueId val="{0000001D-FA3E-4872-B6E1-C4ABDF5766E2}"/>
              </c:ext>
            </c:extLst>
          </c:dPt>
          <c:dPt>
            <c:idx val="14"/>
            <c:invertIfNegative val="1"/>
            <c:bubble3D val="0"/>
            <c:spPr>
              <a:solidFill>
                <a:srgbClr val="AEABAB"/>
              </a:solidFill>
            </c:spPr>
            <c:extLst>
              <c:ext xmlns:c16="http://schemas.microsoft.com/office/drawing/2014/chart" uri="{C3380CC4-5D6E-409C-BE32-E72D297353CC}">
                <c16:uniqueId val="{0000001F-FA3E-4872-B6E1-C4ABDF5766E2}"/>
              </c:ext>
            </c:extLst>
          </c:dPt>
          <c:dPt>
            <c:idx val="15"/>
            <c:invertIfNegative val="1"/>
            <c:bubble3D val="0"/>
            <c:spPr>
              <a:solidFill>
                <a:srgbClr val="AEABAB"/>
              </a:solidFill>
            </c:spPr>
            <c:extLst>
              <c:ext xmlns:c16="http://schemas.microsoft.com/office/drawing/2014/chart" uri="{C3380CC4-5D6E-409C-BE32-E72D297353CC}">
                <c16:uniqueId val="{00000021-FA3E-4872-B6E1-C4ABDF5766E2}"/>
              </c:ext>
            </c:extLst>
          </c:dPt>
          <c:dPt>
            <c:idx val="16"/>
            <c:invertIfNegative val="1"/>
            <c:bubble3D val="0"/>
            <c:spPr>
              <a:solidFill>
                <a:srgbClr val="AEABAB"/>
              </a:solidFill>
            </c:spPr>
            <c:extLst>
              <c:ext xmlns:c16="http://schemas.microsoft.com/office/drawing/2014/chart" uri="{C3380CC4-5D6E-409C-BE32-E72D297353CC}">
                <c16:uniqueId val="{00000023-FA3E-4872-B6E1-C4ABDF5766E2}"/>
              </c:ext>
            </c:extLst>
          </c:dPt>
          <c:dPt>
            <c:idx val="17"/>
            <c:invertIfNegative val="1"/>
            <c:bubble3D val="0"/>
            <c:spPr>
              <a:solidFill>
                <a:srgbClr val="AEABAB"/>
              </a:solidFill>
            </c:spPr>
            <c:extLst>
              <c:ext xmlns:c16="http://schemas.microsoft.com/office/drawing/2014/chart" uri="{C3380CC4-5D6E-409C-BE32-E72D297353CC}">
                <c16:uniqueId val="{00000025-FA3E-4872-B6E1-C4ABDF5766E2}"/>
              </c:ext>
            </c:extLst>
          </c:dPt>
          <c:dPt>
            <c:idx val="18"/>
            <c:invertIfNegative val="1"/>
            <c:bubble3D val="0"/>
            <c:spPr>
              <a:solidFill>
                <a:srgbClr val="AEABAB"/>
              </a:solidFill>
            </c:spPr>
            <c:extLst>
              <c:ext xmlns:c16="http://schemas.microsoft.com/office/drawing/2014/chart" uri="{C3380CC4-5D6E-409C-BE32-E72D297353CC}">
                <c16:uniqueId val="{00000027-FA3E-4872-B6E1-C4ABDF5766E2}"/>
              </c:ext>
            </c:extLst>
          </c:dPt>
          <c:dPt>
            <c:idx val="19"/>
            <c:invertIfNegative val="1"/>
            <c:bubble3D val="0"/>
            <c:spPr>
              <a:solidFill>
                <a:srgbClr val="AEABAB"/>
              </a:solidFill>
            </c:spPr>
            <c:extLst>
              <c:ext xmlns:c16="http://schemas.microsoft.com/office/drawing/2014/chart" uri="{C3380CC4-5D6E-409C-BE32-E72D297353CC}">
                <c16:uniqueId val="{00000029-FA3E-4872-B6E1-C4ABDF5766E2}"/>
              </c:ext>
            </c:extLst>
          </c:dPt>
          <c:dPt>
            <c:idx val="20"/>
            <c:invertIfNegative val="1"/>
            <c:bubble3D val="0"/>
            <c:spPr>
              <a:solidFill>
                <a:srgbClr val="AEABAB"/>
              </a:solidFill>
            </c:spPr>
            <c:extLst>
              <c:ext xmlns:c16="http://schemas.microsoft.com/office/drawing/2014/chart" uri="{C3380CC4-5D6E-409C-BE32-E72D297353CC}">
                <c16:uniqueId val="{0000002B-FA3E-4872-B6E1-C4ABDF5766E2}"/>
              </c:ext>
            </c:extLst>
          </c:dPt>
          <c:dPt>
            <c:idx val="21"/>
            <c:invertIfNegative val="1"/>
            <c:bubble3D val="0"/>
            <c:spPr>
              <a:solidFill>
                <a:srgbClr val="AEABAB"/>
              </a:solidFill>
            </c:spPr>
            <c:extLst>
              <c:ext xmlns:c16="http://schemas.microsoft.com/office/drawing/2014/chart" uri="{C3380CC4-5D6E-409C-BE32-E72D297353CC}">
                <c16:uniqueId val="{0000002D-FA3E-4872-B6E1-C4ABDF5766E2}"/>
              </c:ext>
            </c:extLst>
          </c:dPt>
          <c:dPt>
            <c:idx val="22"/>
            <c:invertIfNegative val="1"/>
            <c:bubble3D val="0"/>
            <c:spPr>
              <a:solidFill>
                <a:srgbClr val="AEABAB"/>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24</c:f>
              <c:strCache>
                <c:ptCount val="23"/>
                <c:pt idx="0">
                  <c:v>CHAMPAGNE E.NICOLAS BRUT 1CT X 750ML</c:v>
                </c:pt>
                <c:pt idx="1">
                  <c:v>CHAMPAGNE NICOLAS BLC/BLC BS 1CT X 750ML</c:v>
                </c:pt>
                <c:pt idx="2">
                  <c:v>CHAMPAGNE E.NICOLAS ROSE 1CT X 750ML</c:v>
                </c:pt>
                <c:pt idx="3">
                  <c:v>CHAMPAGNE NICOLAS 1ERE CUVEE 1CT X 750ML</c:v>
                </c:pt>
                <c:pt idx="4">
                  <c:v>MG CHAMPAGNE E.NICOLAS BRUT 1CT X 1500ML</c:v>
                </c:pt>
                <c:pt idx="5">
                  <c:v>MG CHAMPAGNE NICOLAS BLC/BL BS 1CT X 1500ML</c:v>
                </c:pt>
                <c:pt idx="6">
                  <c:v>1/2 CHAMP NICOLAS BLC/BLC BS 1CT X 375ML</c:v>
                </c:pt>
                <c:pt idx="7">
                  <c:v>CHAMPAGNE NICOLAS ROSE 1ERE CU 1CT X 750ML</c:v>
                </c:pt>
                <c:pt idx="8">
                  <c:v>1/2 CHAMPAGNE NICOLAS 1ERE CUV 1CT X 375ML</c:v>
                </c:pt>
                <c:pt idx="9">
                  <c:v>1/2 CHAMP NICOLAS ROSE 1E C BS 1CT X 375ML</c:v>
                </c:pt>
                <c:pt idx="10">
                  <c:v>MG CHAMPAGNE NICOLAS 1ERE CUVE 1CT X 1500ML</c:v>
                </c:pt>
                <c:pt idx="11">
                  <c:v>CHAMPAGNE NICOLAS BLC DE NOIRS 1CT X 750ML</c:v>
                </c:pt>
                <c:pt idx="12">
                  <c:v>CHAMPAGNE NICOLAS BLC/BLC 2002 1CT X 750ML</c:v>
                </c:pt>
                <c:pt idx="13">
                  <c:v>CHAMPAGNE NICOLAS BIO NAT 2017 1CT X 750ML</c:v>
                </c:pt>
                <c:pt idx="14">
                  <c:v>CHAMPAGNE NICOLAS BLC/BL BS ET 1CT X 750ML</c:v>
                </c:pt>
                <c:pt idx="15">
                  <c:v>CHAMPAGNE NICOLAS 1ER CRU BS 1CT X 750ML</c:v>
                </c:pt>
                <c:pt idx="16">
                  <c:v>CHAMPAGNE NICOLAS 1ER CRU ETUI 1CT X 750ML</c:v>
                </c:pt>
                <c:pt idx="17">
                  <c:v>CHAMPAGNE NICOLAS ROSE 1ERE ET 1CT X 750ML</c:v>
                </c:pt>
                <c:pt idx="18">
                  <c:v>CHAMPAGNE NICOLAS ROSE 1E C BS 1CT X 750ML</c:v>
                </c:pt>
                <c:pt idx="19">
                  <c:v>CHAMPAGNE NICOLAS 1ERE CUV ETU 1CT X 750ML</c:v>
                </c:pt>
                <c:pt idx="20">
                  <c:v>MG CHAMPAGNE NICOLAS 1E CRU BS 1CT X 1500ML</c:v>
                </c:pt>
                <c:pt idx="21">
                  <c:v>1/2 CHAMPAGNE NICOLAS 1E C BS 1CT X 375ML</c:v>
                </c:pt>
                <c:pt idx="22">
                  <c:v>CHAMPAGNE NICOLAS BIO 2018 1CT X 750ML</c:v>
                </c:pt>
              </c:strCache>
            </c:strRef>
          </c:cat>
          <c:val>
            <c:numRef>
              <c:f>Sheet1!$C$2:$C$24</c:f>
              <c:numCache>
                <c:formatCode>General</c:formatCode>
                <c:ptCount val="23"/>
                <c:pt idx="0">
                  <c:v>0.70892984131499281</c:v>
                </c:pt>
                <c:pt idx="1">
                  <c:v>0.78191681735985541</c:v>
                </c:pt>
                <c:pt idx="2">
                  <c:v>0.83625982892090134</c:v>
                </c:pt>
                <c:pt idx="3">
                  <c:v>0.87786333990287913</c:v>
                </c:pt>
                <c:pt idx="4">
                  <c:v>0.89456082248003743</c:v>
                </c:pt>
                <c:pt idx="5">
                  <c:v>0.90887701403986432</c:v>
                </c:pt>
                <c:pt idx="6">
                  <c:v>0.91967815998537095</c:v>
                </c:pt>
                <c:pt idx="7">
                  <c:v>0.92939431497246894</c:v>
                </c:pt>
                <c:pt idx="8">
                  <c:v>0.939041388138245</c:v>
                </c:pt>
                <c:pt idx="9">
                  <c:v>0.94745311579332359</c:v>
                </c:pt>
                <c:pt idx="10">
                  <c:v>0.95546660706666409</c:v>
                </c:pt>
                <c:pt idx="11">
                  <c:v>0.96276896194404382</c:v>
                </c:pt>
                <c:pt idx="12">
                  <c:v>0.96955523497978346</c:v>
                </c:pt>
                <c:pt idx="13">
                  <c:v>0.97552878070585369</c:v>
                </c:pt>
                <c:pt idx="14">
                  <c:v>0.98074242639738307</c:v>
                </c:pt>
                <c:pt idx="15">
                  <c:v>0.98588292663104216</c:v>
                </c:pt>
                <c:pt idx="16">
                  <c:v>0.9906211268464149</c:v>
                </c:pt>
                <c:pt idx="17">
                  <c:v>0.9949935997724364</c:v>
                </c:pt>
                <c:pt idx="18">
                  <c:v>0.99732612715118762</c:v>
                </c:pt>
                <c:pt idx="19">
                  <c:v>0.9988377999471727</c:v>
                </c:pt>
                <c:pt idx="20">
                  <c:v>0.99945140906597307</c:v>
                </c:pt>
                <c:pt idx="21">
                  <c:v>0.99981307271877595</c:v>
                </c:pt>
                <c:pt idx="22">
                  <c:v>0.99999999999999989</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24</c:f>
              <c:strCache>
                <c:ptCount val="23"/>
                <c:pt idx="0">
                  <c:v>CHAMPAGNE E.NICOLAS BRUT 1CT X 750ML</c:v>
                </c:pt>
                <c:pt idx="1">
                  <c:v>CHAMPAGNE NICOLAS BLC/BLC BS 1CT X 750ML</c:v>
                </c:pt>
                <c:pt idx="2">
                  <c:v>CHAMPAGNE E.NICOLAS ROSE 1CT X 750ML</c:v>
                </c:pt>
                <c:pt idx="3">
                  <c:v>CHAMPAGNE NICOLAS 1ERE CUVEE 1CT X 750ML</c:v>
                </c:pt>
                <c:pt idx="4">
                  <c:v>MG CHAMPAGNE E.NICOLAS BRUT 1CT X 1500ML</c:v>
                </c:pt>
                <c:pt idx="5">
                  <c:v>MG CHAMPAGNE NICOLAS BLC/BL BS 1CT X 1500ML</c:v>
                </c:pt>
                <c:pt idx="6">
                  <c:v>1/2 CHAMP NICOLAS BLC/BLC BS 1CT X 375ML</c:v>
                </c:pt>
                <c:pt idx="7">
                  <c:v>CHAMPAGNE NICOLAS ROSE 1ERE CU 1CT X 750ML</c:v>
                </c:pt>
                <c:pt idx="8">
                  <c:v>1/2 CHAMPAGNE NICOLAS 1ERE CUV 1CT X 375ML</c:v>
                </c:pt>
                <c:pt idx="9">
                  <c:v>1/2 CHAMP NICOLAS ROSE 1E C BS 1CT X 375ML</c:v>
                </c:pt>
                <c:pt idx="10">
                  <c:v>MG CHAMPAGNE NICOLAS 1ERE CUVE 1CT X 1500ML</c:v>
                </c:pt>
                <c:pt idx="11">
                  <c:v>CHAMPAGNE NICOLAS BLC DE NOIRS 1CT X 750ML</c:v>
                </c:pt>
                <c:pt idx="12">
                  <c:v>CHAMPAGNE NICOLAS BLC/BLC 2002 1CT X 750ML</c:v>
                </c:pt>
                <c:pt idx="13">
                  <c:v>CHAMPAGNE NICOLAS BIO NAT 2017 1CT X 750ML</c:v>
                </c:pt>
                <c:pt idx="14">
                  <c:v>CHAMPAGNE NICOLAS BLC/BL BS ET 1CT X 750ML</c:v>
                </c:pt>
                <c:pt idx="15">
                  <c:v>CHAMPAGNE NICOLAS 1ER CRU BS 1CT X 750ML</c:v>
                </c:pt>
                <c:pt idx="16">
                  <c:v>CHAMPAGNE NICOLAS 1ER CRU ETUI 1CT X 750ML</c:v>
                </c:pt>
                <c:pt idx="17">
                  <c:v>CHAMPAGNE NICOLAS ROSE 1ERE ET 1CT X 750ML</c:v>
                </c:pt>
                <c:pt idx="18">
                  <c:v>CHAMPAGNE NICOLAS ROSE 1E C BS 1CT X 750ML</c:v>
                </c:pt>
                <c:pt idx="19">
                  <c:v>CHAMPAGNE NICOLAS 1ERE CUV ETU 1CT X 750ML</c:v>
                </c:pt>
                <c:pt idx="20">
                  <c:v>MG CHAMPAGNE NICOLAS 1E CRU BS 1CT X 1500ML</c:v>
                </c:pt>
                <c:pt idx="21">
                  <c:v>1/2 CHAMPAGNE NICOLAS 1E C BS 1CT X 375ML</c:v>
                </c:pt>
                <c:pt idx="22">
                  <c:v>CHAMPAGNE NICOLAS BIO 2018 1CT X 750ML</c:v>
                </c:pt>
              </c:strCache>
            </c:strRef>
          </c:cat>
          <c:val>
            <c:numRef>
              <c:f>Sheet1!$D$2:$D$24</c:f>
              <c:numCache>
                <c:formatCode>General</c:formatCode>
                <c:ptCount val="23"/>
                <c:pt idx="0">
                  <c:v>1744.57</c:v>
                </c:pt>
                <c:pt idx="1">
                  <c:v>276.32307692307694</c:v>
                </c:pt>
                <c:pt idx="2">
                  <c:v>163.08536585365854</c:v>
                </c:pt>
                <c:pt idx="3">
                  <c:v>134.71052631578948</c:v>
                </c:pt>
                <c:pt idx="4">
                  <c:v>117.4</c:v>
                </c:pt>
                <c:pt idx="5">
                  <c:v>103.61764705882354</c:v>
                </c:pt>
                <c:pt idx="6">
                  <c:v>50.150943396226417</c:v>
                </c:pt>
                <c:pt idx="7">
                  <c:v>61.307692307692307</c:v>
                </c:pt>
                <c:pt idx="8">
                  <c:v>38.918032786885249</c:v>
                </c:pt>
                <c:pt idx="9">
                  <c:v>48.139534883720927</c:v>
                </c:pt>
                <c:pt idx="10">
                  <c:v>54.777777777777779</c:v>
                </c:pt>
                <c:pt idx="11">
                  <c:v>78.130434782608702</c:v>
                </c:pt>
                <c:pt idx="12">
                  <c:v>98.235294117647058</c:v>
                </c:pt>
                <c:pt idx="13">
                  <c:v>81.666666666666671</c:v>
                </c:pt>
                <c:pt idx="14">
                  <c:v>256.60000000000002</c:v>
                </c:pt>
                <c:pt idx="15">
                  <c:v>79.0625</c:v>
                </c:pt>
                <c:pt idx="16">
                  <c:v>55.523809523809526</c:v>
                </c:pt>
                <c:pt idx="17">
                  <c:v>51.238095238095241</c:v>
                </c:pt>
                <c:pt idx="18">
                  <c:v>63.777777777777779</c:v>
                </c:pt>
                <c:pt idx="19">
                  <c:v>41.333333333333336</c:v>
                </c:pt>
                <c:pt idx="20">
                  <c:v>50.333333333333336</c:v>
                </c:pt>
                <c:pt idx="21">
                  <c:v>29.666666666666668</c:v>
                </c:pt>
                <c:pt idx="22">
                  <c:v>9.1999999999999993</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23</c:f>
              <c:strCache>
                <c:ptCount val="22"/>
                <c:pt idx="0">
                  <c:v>CHAMPAGNE E.NICOLAS BRUT 1CT X 750ML</c:v>
                </c:pt>
                <c:pt idx="1">
                  <c:v>CHAMPAGNE NICOLAS BLC/BLC BS 1CT X 750ML</c:v>
                </c:pt>
                <c:pt idx="2">
                  <c:v>CHAMPAGNE E.NICOLAS ROSE 1CT X 750ML</c:v>
                </c:pt>
                <c:pt idx="3">
                  <c:v>CHAMPAGNE NICOLAS 1ERE CUVEE 1CT X 750ML</c:v>
                </c:pt>
                <c:pt idx="4">
                  <c:v>1/2 CHAMPAGNE NICOLAS 1ERE CUV 1CT X 375ML</c:v>
                </c:pt>
                <c:pt idx="5">
                  <c:v>MG CHAMPAGNE E.NICOLAS BRUT 1CT X 1500ML</c:v>
                </c:pt>
                <c:pt idx="6">
                  <c:v>CHAMPAGNE NICOLAS ROSE 1ERE CU 1CT X 750ML</c:v>
                </c:pt>
                <c:pt idx="7">
                  <c:v>CHAMPAGNE NICOLAS BIO NAT 2017 1CT X 750ML</c:v>
                </c:pt>
                <c:pt idx="8">
                  <c:v>1/2 CHAMP NICOLAS BLC/BLC BS 1CT X 375ML</c:v>
                </c:pt>
                <c:pt idx="9">
                  <c:v>MG CHAMPAGNE NICOLAS BLC/BL BS 1CT X 1500ML</c:v>
                </c:pt>
                <c:pt idx="10">
                  <c:v>1/2 CHAMP NICOLAS ROSE 1E C BS 1CT X 375ML</c:v>
                </c:pt>
                <c:pt idx="11">
                  <c:v>CHAMPAGNE NICOLAS BLC DE NOIRS 1CT X 750ML</c:v>
                </c:pt>
                <c:pt idx="12">
                  <c:v>CHAMPAGNE NICOLAS 1ER CRU BS 1CT X 750ML</c:v>
                </c:pt>
                <c:pt idx="13">
                  <c:v>MG CHAMPAGNE NICOLAS 1ERE CUVE 1CT X 1500ML</c:v>
                </c:pt>
                <c:pt idx="14">
                  <c:v>CHAMPAGNE NICOLAS 1ER CRU ETUI 1CT X 750ML</c:v>
                </c:pt>
                <c:pt idx="15">
                  <c:v>CHAMPAGNE NICOLAS BLC/BLC 2002 1CT X 750ML</c:v>
                </c:pt>
                <c:pt idx="16">
                  <c:v>CHAMPAGNE NICOLAS ROSE 1ERE ET 1CT X 750ML</c:v>
                </c:pt>
                <c:pt idx="17">
                  <c:v>CHAMPAGNE NICOLAS 1ERE CUV ETU 1CT X 750ML</c:v>
                </c:pt>
                <c:pt idx="18">
                  <c:v>CHAMPAGNE NICOLAS ROSE 1E C BS 1CT X 750ML</c:v>
                </c:pt>
                <c:pt idx="19">
                  <c:v>MG CHAMPAGNE NICOLAS 1E CRU BS 1CT X 1500ML</c:v>
                </c:pt>
                <c:pt idx="20">
                  <c:v>CHAMPAGNE NICOLAS BLC/BL BS ET 1CT X 750ML</c:v>
                </c:pt>
                <c:pt idx="21">
                  <c:v>1/2 CHAMPAGNE NICOLAS 1E C BS 1CT X 375ML</c:v>
                </c:pt>
              </c:strCache>
            </c:strRef>
          </c:cat>
          <c:val>
            <c:numRef>
              <c:f>Sheet1!$B$2:$B$23</c:f>
              <c:numCache>
                <c:formatCode>General</c:formatCode>
                <c:ptCount val="22"/>
                <c:pt idx="0">
                  <c:v>0.99</c:v>
                </c:pt>
                <c:pt idx="1">
                  <c:v>0.55000000000000004</c:v>
                </c:pt>
                <c:pt idx="2">
                  <c:v>0.59</c:v>
                </c:pt>
                <c:pt idx="3">
                  <c:v>0.78</c:v>
                </c:pt>
                <c:pt idx="4">
                  <c:v>0.32</c:v>
                </c:pt>
                <c:pt idx="5">
                  <c:v>0.16</c:v>
                </c:pt>
                <c:pt idx="6">
                  <c:v>0.33</c:v>
                </c:pt>
                <c:pt idx="7">
                  <c:v>0.15</c:v>
                </c:pt>
                <c:pt idx="8">
                  <c:v>0.24</c:v>
                </c:pt>
                <c:pt idx="9">
                  <c:v>0.14000000000000001</c:v>
                </c:pt>
                <c:pt idx="10">
                  <c:v>0.27</c:v>
                </c:pt>
                <c:pt idx="11">
                  <c:v>0.18</c:v>
                </c:pt>
                <c:pt idx="12">
                  <c:v>0.32</c:v>
                </c:pt>
                <c:pt idx="13">
                  <c:v>0.18</c:v>
                </c:pt>
                <c:pt idx="14">
                  <c:v>0.18</c:v>
                </c:pt>
                <c:pt idx="15">
                  <c:v>0.04</c:v>
                </c:pt>
                <c:pt idx="16">
                  <c:v>0.09</c:v>
                </c:pt>
                <c:pt idx="17">
                  <c:v>0.11</c:v>
                </c:pt>
                <c:pt idx="18">
                  <c:v>0.05</c:v>
                </c:pt>
                <c:pt idx="19">
                  <c:v>0.04</c:v>
                </c:pt>
                <c:pt idx="20">
                  <c:v>0.02</c:v>
                </c:pt>
                <c:pt idx="21">
                  <c:v>0.01</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7ECAC4"/>
              </a:solidFill>
            </c:spPr>
            <c:extLst>
              <c:ext xmlns:c16="http://schemas.microsoft.com/office/drawing/2014/chart" uri="{C3380CC4-5D6E-409C-BE32-E72D297353CC}">
                <c16:uniqueId val="{00000006-E902-46E2-9A54-39A26B3DFDC1}"/>
              </c:ext>
            </c:extLst>
          </c:dPt>
          <c:dPt>
            <c:idx val="3"/>
            <c:invertIfNegative val="0"/>
            <c:bubble3D val="0"/>
            <c:spPr>
              <a:solidFill>
                <a:srgbClr val="7ECAC4"/>
              </a:solidFill>
            </c:spPr>
            <c:extLst>
              <c:ext xmlns:c16="http://schemas.microsoft.com/office/drawing/2014/chart" uri="{C3380CC4-5D6E-409C-BE32-E72D297353CC}">
                <c16:uniqueId val="{00000007-E902-46E2-9A54-39A26B3DFDC1}"/>
              </c:ext>
            </c:extLst>
          </c:dPt>
          <c:dPt>
            <c:idx val="4"/>
            <c:invertIfNegative val="1"/>
            <c:bubble3D val="0"/>
            <c:spPr>
              <a:solidFill>
                <a:srgbClr val="7ECAC4"/>
              </a:solidFill>
            </c:spPr>
            <c:extLst>
              <c:ext xmlns:c16="http://schemas.microsoft.com/office/drawing/2014/chart" uri="{C3380CC4-5D6E-409C-BE32-E72D297353CC}">
                <c16:uniqueId val="{0000000B-FA3E-4872-B6E1-C4ABDF5766E2}"/>
              </c:ext>
            </c:extLst>
          </c:dPt>
          <c:dPt>
            <c:idx val="5"/>
            <c:invertIfNegative val="1"/>
            <c:bubble3D val="0"/>
            <c:spPr>
              <a:solidFill>
                <a:srgbClr val="7ECAC4"/>
              </a:solidFill>
            </c:spPr>
            <c:extLst>
              <c:ext xmlns:c16="http://schemas.microsoft.com/office/drawing/2014/chart" uri="{C3380CC4-5D6E-409C-BE32-E72D297353CC}">
                <c16:uniqueId val="{0000000D-FA3E-4872-B6E1-C4ABDF5766E2}"/>
              </c:ext>
            </c:extLst>
          </c:dPt>
          <c:dPt>
            <c:idx val="6"/>
            <c:invertIfNegative val="1"/>
            <c:bubble3D val="0"/>
            <c:spPr>
              <a:solidFill>
                <a:srgbClr val="7ECAC4"/>
              </a:solidFill>
            </c:spPr>
            <c:extLst>
              <c:ext xmlns:c16="http://schemas.microsoft.com/office/drawing/2014/chart" uri="{C3380CC4-5D6E-409C-BE32-E72D297353CC}">
                <c16:uniqueId val="{0000000F-FA3E-4872-B6E1-C4ABDF5766E2}"/>
              </c:ext>
            </c:extLst>
          </c:dPt>
          <c:dPt>
            <c:idx val="7"/>
            <c:invertIfNegative val="1"/>
            <c:bubble3D val="0"/>
            <c:spPr>
              <a:solidFill>
                <a:srgbClr val="7ECAC4"/>
              </a:solidFill>
            </c:spPr>
            <c:extLst>
              <c:ext xmlns:c16="http://schemas.microsoft.com/office/drawing/2014/chart" uri="{C3380CC4-5D6E-409C-BE32-E72D297353CC}">
                <c16:uniqueId val="{00000011-FA3E-4872-B6E1-C4ABDF5766E2}"/>
              </c:ext>
            </c:extLst>
          </c:dPt>
          <c:dPt>
            <c:idx val="8"/>
            <c:invertIfNegative val="1"/>
            <c:bubble3D val="0"/>
            <c:spPr>
              <a:solidFill>
                <a:srgbClr val="7ECAC4"/>
              </a:solidFill>
            </c:spPr>
            <c:extLst>
              <c:ext xmlns:c16="http://schemas.microsoft.com/office/drawing/2014/chart" uri="{C3380CC4-5D6E-409C-BE32-E72D297353CC}">
                <c16:uniqueId val="{00000013-FA3E-4872-B6E1-C4ABDF5766E2}"/>
              </c:ext>
            </c:extLst>
          </c:dPt>
          <c:dPt>
            <c:idx val="9"/>
            <c:invertIfNegative val="1"/>
            <c:bubble3D val="0"/>
            <c:spPr>
              <a:solidFill>
                <a:srgbClr val="AEABAB"/>
              </a:solidFill>
            </c:spPr>
            <c:extLst>
              <c:ext xmlns:c16="http://schemas.microsoft.com/office/drawing/2014/chart" uri="{C3380CC4-5D6E-409C-BE32-E72D297353CC}">
                <c16:uniqueId val="{00000015-FA3E-4872-B6E1-C4ABDF5766E2}"/>
              </c:ext>
            </c:extLst>
          </c:dPt>
          <c:dPt>
            <c:idx val="10"/>
            <c:invertIfNegative val="1"/>
            <c:bubble3D val="0"/>
            <c:spPr>
              <a:solidFill>
                <a:srgbClr val="AEABAB"/>
              </a:solidFill>
            </c:spPr>
            <c:extLst>
              <c:ext xmlns:c16="http://schemas.microsoft.com/office/drawing/2014/chart" uri="{C3380CC4-5D6E-409C-BE32-E72D297353CC}">
                <c16:uniqueId val="{00000017-FA3E-4872-B6E1-C4ABDF5766E2}"/>
              </c:ext>
            </c:extLst>
          </c:dPt>
          <c:dPt>
            <c:idx val="11"/>
            <c:invertIfNegative val="1"/>
            <c:bubble3D val="0"/>
            <c:spPr>
              <a:solidFill>
                <a:srgbClr val="AEABAB"/>
              </a:solidFill>
            </c:spPr>
            <c:extLst>
              <c:ext xmlns:c16="http://schemas.microsoft.com/office/drawing/2014/chart" uri="{C3380CC4-5D6E-409C-BE32-E72D297353CC}">
                <c16:uniqueId val="{00000019-FA3E-4872-B6E1-C4ABDF5766E2}"/>
              </c:ext>
            </c:extLst>
          </c:dPt>
          <c:dPt>
            <c:idx val="12"/>
            <c:invertIfNegative val="1"/>
            <c:bubble3D val="0"/>
            <c:spPr>
              <a:solidFill>
                <a:srgbClr val="AEABAB"/>
              </a:solidFill>
            </c:spPr>
            <c:extLst>
              <c:ext xmlns:c16="http://schemas.microsoft.com/office/drawing/2014/chart" uri="{C3380CC4-5D6E-409C-BE32-E72D297353CC}">
                <c16:uniqueId val="{0000001B-FA3E-4872-B6E1-C4ABDF5766E2}"/>
              </c:ext>
            </c:extLst>
          </c:dPt>
          <c:dPt>
            <c:idx val="13"/>
            <c:invertIfNegative val="1"/>
            <c:bubble3D val="0"/>
            <c:spPr>
              <a:solidFill>
                <a:srgbClr val="AEABAB"/>
              </a:solidFill>
            </c:spPr>
            <c:extLst>
              <c:ext xmlns:c16="http://schemas.microsoft.com/office/drawing/2014/chart" uri="{C3380CC4-5D6E-409C-BE32-E72D297353CC}">
                <c16:uniqueId val="{0000001D-FA3E-4872-B6E1-C4ABDF5766E2}"/>
              </c:ext>
            </c:extLst>
          </c:dPt>
          <c:dPt>
            <c:idx val="14"/>
            <c:invertIfNegative val="1"/>
            <c:bubble3D val="0"/>
            <c:spPr>
              <a:solidFill>
                <a:srgbClr val="AEABAB"/>
              </a:solidFill>
            </c:spPr>
            <c:extLst>
              <c:ext xmlns:c16="http://schemas.microsoft.com/office/drawing/2014/chart" uri="{C3380CC4-5D6E-409C-BE32-E72D297353CC}">
                <c16:uniqueId val="{0000001F-FA3E-4872-B6E1-C4ABDF5766E2}"/>
              </c:ext>
            </c:extLst>
          </c:dPt>
          <c:dPt>
            <c:idx val="15"/>
            <c:invertIfNegative val="1"/>
            <c:bubble3D val="0"/>
            <c:spPr>
              <a:solidFill>
                <a:srgbClr val="AEABAB"/>
              </a:solidFill>
            </c:spPr>
            <c:extLst>
              <c:ext xmlns:c16="http://schemas.microsoft.com/office/drawing/2014/chart" uri="{C3380CC4-5D6E-409C-BE32-E72D297353CC}">
                <c16:uniqueId val="{00000021-FA3E-4872-B6E1-C4ABDF5766E2}"/>
              </c:ext>
            </c:extLst>
          </c:dPt>
          <c:dPt>
            <c:idx val="16"/>
            <c:invertIfNegative val="1"/>
            <c:bubble3D val="0"/>
            <c:spPr>
              <a:solidFill>
                <a:srgbClr val="AEABAB"/>
              </a:solidFill>
            </c:spPr>
            <c:extLst>
              <c:ext xmlns:c16="http://schemas.microsoft.com/office/drawing/2014/chart" uri="{C3380CC4-5D6E-409C-BE32-E72D297353CC}">
                <c16:uniqueId val="{00000023-FA3E-4872-B6E1-C4ABDF5766E2}"/>
              </c:ext>
            </c:extLst>
          </c:dPt>
          <c:dPt>
            <c:idx val="17"/>
            <c:invertIfNegative val="1"/>
            <c:bubble3D val="0"/>
            <c:spPr>
              <a:solidFill>
                <a:srgbClr val="AEABAB"/>
              </a:solidFill>
            </c:spPr>
            <c:extLst>
              <c:ext xmlns:c16="http://schemas.microsoft.com/office/drawing/2014/chart" uri="{C3380CC4-5D6E-409C-BE32-E72D297353CC}">
                <c16:uniqueId val="{00000025-FA3E-4872-B6E1-C4ABDF5766E2}"/>
              </c:ext>
            </c:extLst>
          </c:dPt>
          <c:dPt>
            <c:idx val="18"/>
            <c:invertIfNegative val="1"/>
            <c:bubble3D val="0"/>
            <c:spPr>
              <a:solidFill>
                <a:srgbClr val="AEABAB"/>
              </a:solidFill>
            </c:spPr>
            <c:extLst>
              <c:ext xmlns:c16="http://schemas.microsoft.com/office/drawing/2014/chart" uri="{C3380CC4-5D6E-409C-BE32-E72D297353CC}">
                <c16:uniqueId val="{00000027-FA3E-4872-B6E1-C4ABDF5766E2}"/>
              </c:ext>
            </c:extLst>
          </c:dPt>
          <c:dPt>
            <c:idx val="19"/>
            <c:invertIfNegative val="1"/>
            <c:bubble3D val="0"/>
            <c:spPr>
              <a:solidFill>
                <a:srgbClr val="AEABAB"/>
              </a:solidFill>
            </c:spPr>
            <c:extLst>
              <c:ext xmlns:c16="http://schemas.microsoft.com/office/drawing/2014/chart" uri="{C3380CC4-5D6E-409C-BE32-E72D297353CC}">
                <c16:uniqueId val="{00000029-FA3E-4872-B6E1-C4ABDF5766E2}"/>
              </c:ext>
            </c:extLst>
          </c:dPt>
          <c:dPt>
            <c:idx val="20"/>
            <c:invertIfNegative val="1"/>
            <c:bubble3D val="0"/>
            <c:spPr>
              <a:solidFill>
                <a:srgbClr val="AEABAB"/>
              </a:solidFill>
            </c:spPr>
            <c:extLst>
              <c:ext xmlns:c16="http://schemas.microsoft.com/office/drawing/2014/chart" uri="{C3380CC4-5D6E-409C-BE32-E72D297353CC}">
                <c16:uniqueId val="{0000002B-FA3E-4872-B6E1-C4ABDF5766E2}"/>
              </c:ext>
            </c:extLst>
          </c:dPt>
          <c:dPt>
            <c:idx val="21"/>
            <c:invertIfNegative val="1"/>
            <c:bubble3D val="0"/>
            <c:spPr>
              <a:solidFill>
                <a:srgbClr val="AEABAB"/>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23</c:f>
              <c:strCache>
                <c:ptCount val="22"/>
                <c:pt idx="0">
                  <c:v>CHAMPAGNE E.NICOLAS BRUT 1CT X 750ML</c:v>
                </c:pt>
                <c:pt idx="1">
                  <c:v>CHAMPAGNE NICOLAS BLC/BLC BS 1CT X 750ML</c:v>
                </c:pt>
                <c:pt idx="2">
                  <c:v>CHAMPAGNE E.NICOLAS ROSE 1CT X 750ML</c:v>
                </c:pt>
                <c:pt idx="3">
                  <c:v>CHAMPAGNE NICOLAS 1ERE CUVEE 1CT X 750ML</c:v>
                </c:pt>
                <c:pt idx="4">
                  <c:v>1/2 CHAMPAGNE NICOLAS 1ERE CUV 1CT X 375ML</c:v>
                </c:pt>
                <c:pt idx="5">
                  <c:v>MG CHAMPAGNE E.NICOLAS BRUT 1CT X 1500ML</c:v>
                </c:pt>
                <c:pt idx="6">
                  <c:v>CHAMPAGNE NICOLAS ROSE 1ERE CU 1CT X 750ML</c:v>
                </c:pt>
                <c:pt idx="7">
                  <c:v>CHAMPAGNE NICOLAS BIO NAT 2017 1CT X 750ML</c:v>
                </c:pt>
                <c:pt idx="8">
                  <c:v>1/2 CHAMP NICOLAS BLC/BLC BS 1CT X 375ML</c:v>
                </c:pt>
                <c:pt idx="9">
                  <c:v>MG CHAMPAGNE NICOLAS BLC/BL BS 1CT X 1500ML</c:v>
                </c:pt>
                <c:pt idx="10">
                  <c:v>1/2 CHAMP NICOLAS ROSE 1E C BS 1CT X 375ML</c:v>
                </c:pt>
                <c:pt idx="11">
                  <c:v>CHAMPAGNE NICOLAS BLC DE NOIRS 1CT X 750ML</c:v>
                </c:pt>
                <c:pt idx="12">
                  <c:v>CHAMPAGNE NICOLAS 1ER CRU BS 1CT X 750ML</c:v>
                </c:pt>
                <c:pt idx="13">
                  <c:v>MG CHAMPAGNE NICOLAS 1ERE CUVE 1CT X 1500ML</c:v>
                </c:pt>
                <c:pt idx="14">
                  <c:v>CHAMPAGNE NICOLAS 1ER CRU ETUI 1CT X 750ML</c:v>
                </c:pt>
                <c:pt idx="15">
                  <c:v>CHAMPAGNE NICOLAS BLC/BLC 2002 1CT X 750ML</c:v>
                </c:pt>
                <c:pt idx="16">
                  <c:v>CHAMPAGNE NICOLAS ROSE 1ERE ET 1CT X 750ML</c:v>
                </c:pt>
                <c:pt idx="17">
                  <c:v>CHAMPAGNE NICOLAS 1ERE CUV ETU 1CT X 750ML</c:v>
                </c:pt>
                <c:pt idx="18">
                  <c:v>CHAMPAGNE NICOLAS ROSE 1E C BS 1CT X 750ML</c:v>
                </c:pt>
                <c:pt idx="19">
                  <c:v>MG CHAMPAGNE NICOLAS 1E CRU BS 1CT X 1500ML</c:v>
                </c:pt>
                <c:pt idx="20">
                  <c:v>CHAMPAGNE NICOLAS BLC/BL BS ET 1CT X 750ML</c:v>
                </c:pt>
                <c:pt idx="21">
                  <c:v>1/2 CHAMPAGNE NICOLAS 1E C BS 1CT X 375ML</c:v>
                </c:pt>
              </c:strCache>
            </c:strRef>
          </c:cat>
          <c:val>
            <c:numRef>
              <c:f>Sheet1!$C$2:$C$23</c:f>
              <c:numCache>
                <c:formatCode>General</c:formatCode>
                <c:ptCount val="22"/>
                <c:pt idx="0">
                  <c:v>0.72326493770759182</c:v>
                </c:pt>
                <c:pt idx="1">
                  <c:v>0.79426046817287477</c:v>
                </c:pt>
                <c:pt idx="2">
                  <c:v>0.84078849612759088</c:v>
                </c:pt>
                <c:pt idx="3">
                  <c:v>0.88256142476151267</c:v>
                </c:pt>
                <c:pt idx="4">
                  <c:v>0.90020229692120712</c:v>
                </c:pt>
                <c:pt idx="5">
                  <c:v>0.91359005116145875</c:v>
                </c:pt>
                <c:pt idx="6">
                  <c:v>0.92493741727665846</c:v>
                </c:pt>
                <c:pt idx="7">
                  <c:v>0.9361174562580743</c:v>
                </c:pt>
                <c:pt idx="8">
                  <c:v>0.94627479390918667</c:v>
                </c:pt>
                <c:pt idx="9">
                  <c:v>0.95572033143440782</c:v>
                </c:pt>
                <c:pt idx="10">
                  <c:v>0.96463459211371905</c:v>
                </c:pt>
                <c:pt idx="11">
                  <c:v>0.97171010178187556</c:v>
                </c:pt>
                <c:pt idx="12">
                  <c:v>0.97821817716354109</c:v>
                </c:pt>
                <c:pt idx="13">
                  <c:v>0.98354546138345755</c:v>
                </c:pt>
                <c:pt idx="14">
                  <c:v>0.98778063254407178</c:v>
                </c:pt>
                <c:pt idx="15">
                  <c:v>0.99093292794772214</c:v>
                </c:pt>
                <c:pt idx="16">
                  <c:v>0.99364368029960526</c:v>
                </c:pt>
                <c:pt idx="17">
                  <c:v>0.99619607889711881</c:v>
                </c:pt>
                <c:pt idx="18">
                  <c:v>0.99754868388235896</c:v>
                </c:pt>
                <c:pt idx="19">
                  <c:v>0.99885087958912477</c:v>
                </c:pt>
                <c:pt idx="20">
                  <c:v>0.99993032434807738</c:v>
                </c:pt>
                <c:pt idx="21">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23</c:f>
              <c:strCache>
                <c:ptCount val="22"/>
                <c:pt idx="0">
                  <c:v>CHAMPAGNE E.NICOLAS BRUT 1CT X 750ML</c:v>
                </c:pt>
                <c:pt idx="1">
                  <c:v>CHAMPAGNE NICOLAS BLC/BLC BS 1CT X 750ML</c:v>
                </c:pt>
                <c:pt idx="2">
                  <c:v>CHAMPAGNE E.NICOLAS ROSE 1CT X 750ML</c:v>
                </c:pt>
                <c:pt idx="3">
                  <c:v>CHAMPAGNE NICOLAS 1ERE CUVEE 1CT X 750ML</c:v>
                </c:pt>
                <c:pt idx="4">
                  <c:v>1/2 CHAMPAGNE NICOLAS 1ERE CUV 1CT X 375ML</c:v>
                </c:pt>
                <c:pt idx="5">
                  <c:v>MG CHAMPAGNE E.NICOLAS BRUT 1CT X 1500ML</c:v>
                </c:pt>
                <c:pt idx="6">
                  <c:v>CHAMPAGNE NICOLAS ROSE 1ERE CU 1CT X 750ML</c:v>
                </c:pt>
                <c:pt idx="7">
                  <c:v>CHAMPAGNE NICOLAS BIO NAT 2017 1CT X 750ML</c:v>
                </c:pt>
                <c:pt idx="8">
                  <c:v>1/2 CHAMP NICOLAS BLC/BLC BS 1CT X 375ML</c:v>
                </c:pt>
                <c:pt idx="9">
                  <c:v>MG CHAMPAGNE NICOLAS BLC/BL BS 1CT X 1500ML</c:v>
                </c:pt>
                <c:pt idx="10">
                  <c:v>1/2 CHAMP NICOLAS ROSE 1E C BS 1CT X 375ML</c:v>
                </c:pt>
                <c:pt idx="11">
                  <c:v>CHAMPAGNE NICOLAS BLC DE NOIRS 1CT X 750ML</c:v>
                </c:pt>
                <c:pt idx="12">
                  <c:v>CHAMPAGNE NICOLAS 1ER CRU BS 1CT X 750ML</c:v>
                </c:pt>
                <c:pt idx="13">
                  <c:v>MG CHAMPAGNE NICOLAS 1ERE CUVE 1CT X 1500ML</c:v>
                </c:pt>
                <c:pt idx="14">
                  <c:v>CHAMPAGNE NICOLAS 1ER CRU ETUI 1CT X 750ML</c:v>
                </c:pt>
                <c:pt idx="15">
                  <c:v>CHAMPAGNE NICOLAS BLC/BLC 2002 1CT X 750ML</c:v>
                </c:pt>
                <c:pt idx="16">
                  <c:v>CHAMPAGNE NICOLAS ROSE 1ERE ET 1CT X 750ML</c:v>
                </c:pt>
                <c:pt idx="17">
                  <c:v>CHAMPAGNE NICOLAS 1ERE CUV ETU 1CT X 750ML</c:v>
                </c:pt>
                <c:pt idx="18">
                  <c:v>CHAMPAGNE NICOLAS ROSE 1E C BS 1CT X 750ML</c:v>
                </c:pt>
                <c:pt idx="19">
                  <c:v>MG CHAMPAGNE NICOLAS 1E CRU BS 1CT X 1500ML</c:v>
                </c:pt>
                <c:pt idx="20">
                  <c:v>CHAMPAGNE NICOLAS BLC/BL BS ET 1CT X 750ML</c:v>
                </c:pt>
                <c:pt idx="21">
                  <c:v>1/2 CHAMPAGNE NICOLAS 1E C BS 1CT X 375ML</c:v>
                </c:pt>
              </c:strCache>
            </c:strRef>
          </c:cat>
          <c:val>
            <c:numRef>
              <c:f>Sheet1!$D$2:$D$23</c:f>
              <c:numCache>
                <c:formatCode>General</c:formatCode>
                <c:ptCount val="22"/>
                <c:pt idx="0">
                  <c:v>27681.21212121212</c:v>
                </c:pt>
                <c:pt idx="1">
                  <c:v>4890.9272727272719</c:v>
                </c:pt>
                <c:pt idx="2">
                  <c:v>2988.0338983050847</c:v>
                </c:pt>
                <c:pt idx="3">
                  <c:v>2029.1923076923076</c:v>
                </c:pt>
                <c:pt idx="4">
                  <c:v>2088.78125</c:v>
                </c:pt>
                <c:pt idx="5">
                  <c:v>3170.375</c:v>
                </c:pt>
                <c:pt idx="6">
                  <c:v>1302.878787878788</c:v>
                </c:pt>
                <c:pt idx="7">
                  <c:v>2824.0666666666666</c:v>
                </c:pt>
                <c:pt idx="8">
                  <c:v>1603.5833333333333</c:v>
                </c:pt>
                <c:pt idx="9">
                  <c:v>2556.3571428571427</c:v>
                </c:pt>
                <c:pt idx="10">
                  <c:v>1250.962962962963</c:v>
                </c:pt>
                <c:pt idx="11">
                  <c:v>1489.3888888888889</c:v>
                </c:pt>
                <c:pt idx="12">
                  <c:v>770.59375</c:v>
                </c:pt>
                <c:pt idx="13">
                  <c:v>1121.3888888888889</c:v>
                </c:pt>
                <c:pt idx="14">
                  <c:v>891.5</c:v>
                </c:pt>
                <c:pt idx="15">
                  <c:v>2986</c:v>
                </c:pt>
                <c:pt idx="16">
                  <c:v>1141.2222222222222</c:v>
                </c:pt>
                <c:pt idx="17">
                  <c:v>879.18181818181813</c:v>
                </c:pt>
                <c:pt idx="18">
                  <c:v>1025</c:v>
                </c:pt>
                <c:pt idx="19">
                  <c:v>1233.5</c:v>
                </c:pt>
                <c:pt idx="20">
                  <c:v>2045</c:v>
                </c:pt>
                <c:pt idx="21">
                  <c:v>264</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Nicolas</c:v>
                </c:pt>
                <c:pt idx="2">
                  <c:v>Deutz</c:v>
                </c:pt>
                <c:pt idx="3">
                  <c:v>Malard</c:v>
                </c:pt>
                <c:pt idx="4">
                  <c:v>Laurent Perrier</c:v>
                </c:pt>
                <c:pt idx="5">
                  <c:v>Nicolas Feuillatte</c:v>
                </c:pt>
                <c:pt idx="6">
                  <c:v>Taittinger</c:v>
                </c:pt>
                <c:pt idx="7">
                  <c:v>Roederer</c:v>
                </c:pt>
                <c:pt idx="8">
                  <c:v>Canard Duchêne</c:v>
                </c:pt>
                <c:pt idx="9">
                  <c:v>Others</c:v>
                </c:pt>
              </c:strCache>
            </c:strRef>
          </c:cat>
          <c:val>
            <c:numRef>
              <c:f>Sheet1!$B$2:$B$11</c:f>
              <c:numCache>
                <c:formatCode>General</c:formatCode>
                <c:ptCount val="10"/>
                <c:pt idx="0">
                  <c:v>0.31621150617633531</c:v>
                </c:pt>
                <c:pt idx="1">
                  <c:v>7.0815052957694274E-2</c:v>
                </c:pt>
                <c:pt idx="2">
                  <c:v>6.8812197161585001E-2</c:v>
                </c:pt>
                <c:pt idx="3">
                  <c:v>3.9409928754735916E-2</c:v>
                </c:pt>
                <c:pt idx="4">
                  <c:v>3.6671829200141122E-2</c:v>
                </c:pt>
                <c:pt idx="5">
                  <c:v>3.099304237824162E-2</c:v>
                </c:pt>
                <c:pt idx="6">
                  <c:v>2.8389329843299557E-2</c:v>
                </c:pt>
                <c:pt idx="7">
                  <c:v>2.8201705995732997E-2</c:v>
                </c:pt>
                <c:pt idx="8">
                  <c:v>2.6601723491944548E-2</c:v>
                </c:pt>
                <c:pt idx="9">
                  <c:v>0.35389368404028965</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Nicolas</c:v>
                </c:pt>
                <c:pt idx="2">
                  <c:v>Deutz</c:v>
                </c:pt>
                <c:pt idx="3">
                  <c:v>Malard</c:v>
                </c:pt>
                <c:pt idx="4">
                  <c:v>Laurent Perrier</c:v>
                </c:pt>
                <c:pt idx="5">
                  <c:v>Nicolas Feuillatte</c:v>
                </c:pt>
                <c:pt idx="6">
                  <c:v>Taittinger</c:v>
                </c:pt>
                <c:pt idx="7">
                  <c:v>Roederer</c:v>
                </c:pt>
                <c:pt idx="8">
                  <c:v>Canard Duchêne</c:v>
                </c:pt>
                <c:pt idx="9">
                  <c:v>Others</c:v>
                </c:pt>
              </c:strCache>
            </c:strRef>
          </c:cat>
          <c:val>
            <c:numRef>
              <c:f>Sheet1!$C$2:$C$11</c:f>
              <c:numCache>
                <c:formatCode>General</c:formatCode>
                <c:ptCount val="10"/>
                <c:pt idx="0">
                  <c:v>0.10459160751190576</c:v>
                </c:pt>
                <c:pt idx="1">
                  <c:v>6.9548027675442506E-2</c:v>
                </c:pt>
                <c:pt idx="2">
                  <c:v>4.4118968460778132E-2</c:v>
                </c:pt>
                <c:pt idx="3">
                  <c:v>3.6840686494743445E-2</c:v>
                </c:pt>
                <c:pt idx="4">
                  <c:v>4.0614610477131788E-2</c:v>
                </c:pt>
                <c:pt idx="5">
                  <c:v>3.0191391859106818E-2</c:v>
                </c:pt>
                <c:pt idx="6">
                  <c:v>1.9947883906909863E-2</c:v>
                </c:pt>
                <c:pt idx="7">
                  <c:v>4.825231377482251E-2</c:v>
                </c:pt>
                <c:pt idx="8">
                  <c:v>3.8188516488453561E-2</c:v>
                </c:pt>
                <c:pt idx="9">
                  <c:v>0.56770599335070504</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Nicolas</c:v>
                </c:pt>
                <c:pt idx="2">
                  <c:v>Deutz</c:v>
                </c:pt>
                <c:pt idx="3">
                  <c:v>Malard</c:v>
                </c:pt>
                <c:pt idx="4">
                  <c:v>Laurent Perrier</c:v>
                </c:pt>
                <c:pt idx="5">
                  <c:v>Nicolas Feuillatte</c:v>
                </c:pt>
                <c:pt idx="6">
                  <c:v>Taittinger</c:v>
                </c:pt>
                <c:pt idx="7">
                  <c:v>Roederer</c:v>
                </c:pt>
                <c:pt idx="8">
                  <c:v>Canard Duchêne</c:v>
                </c:pt>
                <c:pt idx="9">
                  <c:v>Others</c:v>
                </c:pt>
              </c:strCache>
            </c:strRef>
          </c:cat>
          <c:val>
            <c:numRef>
              <c:f>Sheet1!$D$2:$D$11</c:f>
              <c:numCache>
                <c:formatCode>General</c:formatCode>
                <c:ptCount val="10"/>
                <c:pt idx="0">
                  <c:v>33.076471117904312</c:v>
                </c:pt>
                <c:pt idx="1">
                  <c:v>98.210796674813324</c:v>
                </c:pt>
                <c:pt idx="2">
                  <c:v>64.115041054680816</c:v>
                </c:pt>
                <c:pt idx="3">
                  <c:v>93.48072340860621</c:v>
                </c:pt>
                <c:pt idx="4">
                  <c:v>110.75152607052252</c:v>
                </c:pt>
                <c:pt idx="5">
                  <c:v>97.413450059689538</c:v>
                </c:pt>
                <c:pt idx="6">
                  <c:v>70.265427246842734</c:v>
                </c:pt>
                <c:pt idx="7">
                  <c:v>171.0971449107484</c:v>
                </c:pt>
                <c:pt idx="8">
                  <c:v>143.5565500108205</c:v>
                </c:pt>
                <c:pt idx="9">
                  <c:v>160.41710235384522</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23</c:f>
              <c:strCache>
                <c:ptCount val="22"/>
                <c:pt idx="0">
                  <c:v>CHAMPAGNE E.NICOLAS BRUT 1CT X 750ML</c:v>
                </c:pt>
                <c:pt idx="1">
                  <c:v>CHAMPAGNE NICOLAS BLC/BLC BS 1CT X 750ML</c:v>
                </c:pt>
                <c:pt idx="2">
                  <c:v>CHAMPAGNE E.NICOLAS ROSE 1CT X 750ML</c:v>
                </c:pt>
                <c:pt idx="3">
                  <c:v>CHAMPAGNE NICOLAS 1ERE CUVEE 1CT X 750ML</c:v>
                </c:pt>
                <c:pt idx="4">
                  <c:v>MG CHAMPAGNE E.NICOLAS BRUT 1CT X 1500ML</c:v>
                </c:pt>
                <c:pt idx="5">
                  <c:v>1/2 CHAMPAGNE NICOLAS 1ERE CUV 1CT X 375ML</c:v>
                </c:pt>
                <c:pt idx="6">
                  <c:v>1/2 CHAMP NICOLAS BLC/BLC BS 1CT X 375ML</c:v>
                </c:pt>
                <c:pt idx="7">
                  <c:v>CHAMPAGNE NICOLAS ROSE 1ERE CU 1CT X 750ML</c:v>
                </c:pt>
                <c:pt idx="8">
                  <c:v>MG CHAMPAGNE NICOLAS BLC/BL BS 1CT X 1500ML</c:v>
                </c:pt>
                <c:pt idx="9">
                  <c:v>CHAMPAGNE NICOLAS BIO NAT 2017 1CT X 750ML</c:v>
                </c:pt>
                <c:pt idx="10">
                  <c:v>MG CHAMPAGNE NICOLAS 1ERE CUVE 1CT X 1500ML</c:v>
                </c:pt>
                <c:pt idx="11">
                  <c:v>CHAMPAGNE NICOLAS 1ER CRU BS 1CT X 750ML</c:v>
                </c:pt>
                <c:pt idx="12">
                  <c:v>1/2 CHAMP NICOLAS ROSE 1E C BS 1CT X 375ML</c:v>
                </c:pt>
                <c:pt idx="13">
                  <c:v>CHAMPAGNE NICOLAS BLC/BLC 2002 1CT X 750ML</c:v>
                </c:pt>
                <c:pt idx="14">
                  <c:v>CHAMPAGNE NICOLAS 1ER CRU ETUI 1CT X 750ML</c:v>
                </c:pt>
                <c:pt idx="15">
                  <c:v>CHAMPAGNE NICOLAS BLC DE NOIRS 1CT X 750ML</c:v>
                </c:pt>
                <c:pt idx="16">
                  <c:v>CHAMPAGNE NICOLAS ROSE 1ERE ET 1CT X 750ML</c:v>
                </c:pt>
                <c:pt idx="17">
                  <c:v>CHAMPAGNE NICOLAS 1ERE CUV ETU 1CT X 750ML</c:v>
                </c:pt>
                <c:pt idx="18">
                  <c:v>CHAMPAGNE NICOLAS ROSE 1E C BS 1CT X 750ML</c:v>
                </c:pt>
                <c:pt idx="19">
                  <c:v>MG CHAMPAGNE NICOLAS 1E CRU BS 1CT X 1500ML</c:v>
                </c:pt>
                <c:pt idx="20">
                  <c:v>CHAMPAGNE NICOLAS BLC/BL BS ET 1CT X 750ML</c:v>
                </c:pt>
                <c:pt idx="21">
                  <c:v>CHAMPAGNE NICOLAS BIO 2018 1CT X 750ML</c:v>
                </c:pt>
              </c:strCache>
            </c:strRef>
          </c:cat>
          <c:val>
            <c:numRef>
              <c:f>Sheet1!$B$2:$B$23</c:f>
              <c:numCache>
                <c:formatCode>General</c:formatCode>
                <c:ptCount val="22"/>
                <c:pt idx="0">
                  <c:v>1</c:v>
                </c:pt>
                <c:pt idx="1">
                  <c:v>0.73</c:v>
                </c:pt>
                <c:pt idx="2">
                  <c:v>0.86</c:v>
                </c:pt>
                <c:pt idx="3">
                  <c:v>0.78</c:v>
                </c:pt>
                <c:pt idx="4">
                  <c:v>0.39</c:v>
                </c:pt>
                <c:pt idx="5">
                  <c:v>0.44</c:v>
                </c:pt>
                <c:pt idx="6">
                  <c:v>0.37</c:v>
                </c:pt>
                <c:pt idx="7">
                  <c:v>0.43</c:v>
                </c:pt>
                <c:pt idx="8">
                  <c:v>0.2</c:v>
                </c:pt>
                <c:pt idx="9">
                  <c:v>0.19</c:v>
                </c:pt>
                <c:pt idx="10">
                  <c:v>0.26</c:v>
                </c:pt>
                <c:pt idx="11">
                  <c:v>0.25</c:v>
                </c:pt>
                <c:pt idx="12">
                  <c:v>0.41</c:v>
                </c:pt>
                <c:pt idx="13">
                  <c:v>0.17</c:v>
                </c:pt>
                <c:pt idx="14">
                  <c:v>0.16</c:v>
                </c:pt>
                <c:pt idx="15">
                  <c:v>0.2</c:v>
                </c:pt>
                <c:pt idx="16">
                  <c:v>0.09</c:v>
                </c:pt>
                <c:pt idx="17">
                  <c:v>0.14000000000000001</c:v>
                </c:pt>
                <c:pt idx="18">
                  <c:v>0.08</c:v>
                </c:pt>
                <c:pt idx="19">
                  <c:v>0.04</c:v>
                </c:pt>
                <c:pt idx="20">
                  <c:v>0.03</c:v>
                </c:pt>
                <c:pt idx="21">
                  <c:v>0.02</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7ECAC4"/>
              </a:solidFill>
            </c:spPr>
            <c:extLst>
              <c:ext xmlns:c16="http://schemas.microsoft.com/office/drawing/2014/chart" uri="{C3380CC4-5D6E-409C-BE32-E72D297353CC}">
                <c16:uniqueId val="{00000006-E902-46E2-9A54-39A26B3DFDC1}"/>
              </c:ext>
            </c:extLst>
          </c:dPt>
          <c:dPt>
            <c:idx val="3"/>
            <c:invertIfNegative val="0"/>
            <c:bubble3D val="0"/>
            <c:spPr>
              <a:solidFill>
                <a:srgbClr val="7ECAC4"/>
              </a:solidFill>
            </c:spPr>
            <c:extLst>
              <c:ext xmlns:c16="http://schemas.microsoft.com/office/drawing/2014/chart" uri="{C3380CC4-5D6E-409C-BE32-E72D297353CC}">
                <c16:uniqueId val="{00000007-E902-46E2-9A54-39A26B3DFDC1}"/>
              </c:ext>
            </c:extLst>
          </c:dPt>
          <c:dPt>
            <c:idx val="4"/>
            <c:invertIfNegative val="1"/>
            <c:bubble3D val="0"/>
            <c:spPr>
              <a:solidFill>
                <a:srgbClr val="7ECAC4"/>
              </a:solidFill>
            </c:spPr>
            <c:extLst>
              <c:ext xmlns:c16="http://schemas.microsoft.com/office/drawing/2014/chart" uri="{C3380CC4-5D6E-409C-BE32-E72D297353CC}">
                <c16:uniqueId val="{0000000B-FA3E-4872-B6E1-C4ABDF5766E2}"/>
              </c:ext>
            </c:extLst>
          </c:dPt>
          <c:dPt>
            <c:idx val="5"/>
            <c:invertIfNegative val="1"/>
            <c:bubble3D val="0"/>
            <c:spPr>
              <a:solidFill>
                <a:srgbClr val="7ECAC4"/>
              </a:solidFill>
            </c:spPr>
            <c:extLst>
              <c:ext xmlns:c16="http://schemas.microsoft.com/office/drawing/2014/chart" uri="{C3380CC4-5D6E-409C-BE32-E72D297353CC}">
                <c16:uniqueId val="{0000000D-FA3E-4872-B6E1-C4ABDF5766E2}"/>
              </c:ext>
            </c:extLst>
          </c:dPt>
          <c:dPt>
            <c:idx val="6"/>
            <c:invertIfNegative val="1"/>
            <c:bubble3D val="0"/>
            <c:spPr>
              <a:solidFill>
                <a:srgbClr val="7ECAC4"/>
              </a:solidFill>
            </c:spPr>
            <c:extLst>
              <c:ext xmlns:c16="http://schemas.microsoft.com/office/drawing/2014/chart" uri="{C3380CC4-5D6E-409C-BE32-E72D297353CC}">
                <c16:uniqueId val="{0000000F-FA3E-4872-B6E1-C4ABDF5766E2}"/>
              </c:ext>
            </c:extLst>
          </c:dPt>
          <c:dPt>
            <c:idx val="7"/>
            <c:invertIfNegative val="1"/>
            <c:bubble3D val="0"/>
            <c:spPr>
              <a:solidFill>
                <a:srgbClr val="7ECAC4"/>
              </a:solidFill>
            </c:spPr>
            <c:extLst>
              <c:ext xmlns:c16="http://schemas.microsoft.com/office/drawing/2014/chart" uri="{C3380CC4-5D6E-409C-BE32-E72D297353CC}">
                <c16:uniqueId val="{00000011-FA3E-4872-B6E1-C4ABDF5766E2}"/>
              </c:ext>
            </c:extLst>
          </c:dPt>
          <c:dPt>
            <c:idx val="8"/>
            <c:invertIfNegative val="1"/>
            <c:bubble3D val="0"/>
            <c:spPr>
              <a:solidFill>
                <a:srgbClr val="AEABAB"/>
              </a:solidFill>
            </c:spPr>
            <c:extLst>
              <c:ext xmlns:c16="http://schemas.microsoft.com/office/drawing/2014/chart" uri="{C3380CC4-5D6E-409C-BE32-E72D297353CC}">
                <c16:uniqueId val="{00000013-FA3E-4872-B6E1-C4ABDF5766E2}"/>
              </c:ext>
            </c:extLst>
          </c:dPt>
          <c:dPt>
            <c:idx val="9"/>
            <c:invertIfNegative val="1"/>
            <c:bubble3D val="0"/>
            <c:spPr>
              <a:solidFill>
                <a:srgbClr val="AEABAB"/>
              </a:solidFill>
            </c:spPr>
            <c:extLst>
              <c:ext xmlns:c16="http://schemas.microsoft.com/office/drawing/2014/chart" uri="{C3380CC4-5D6E-409C-BE32-E72D297353CC}">
                <c16:uniqueId val="{00000015-FA3E-4872-B6E1-C4ABDF5766E2}"/>
              </c:ext>
            </c:extLst>
          </c:dPt>
          <c:dPt>
            <c:idx val="10"/>
            <c:invertIfNegative val="1"/>
            <c:bubble3D val="0"/>
            <c:spPr>
              <a:solidFill>
                <a:srgbClr val="AEABAB"/>
              </a:solidFill>
            </c:spPr>
            <c:extLst>
              <c:ext xmlns:c16="http://schemas.microsoft.com/office/drawing/2014/chart" uri="{C3380CC4-5D6E-409C-BE32-E72D297353CC}">
                <c16:uniqueId val="{00000017-FA3E-4872-B6E1-C4ABDF5766E2}"/>
              </c:ext>
            </c:extLst>
          </c:dPt>
          <c:dPt>
            <c:idx val="11"/>
            <c:invertIfNegative val="1"/>
            <c:bubble3D val="0"/>
            <c:spPr>
              <a:solidFill>
                <a:srgbClr val="AEABAB"/>
              </a:solidFill>
            </c:spPr>
            <c:extLst>
              <c:ext xmlns:c16="http://schemas.microsoft.com/office/drawing/2014/chart" uri="{C3380CC4-5D6E-409C-BE32-E72D297353CC}">
                <c16:uniqueId val="{00000019-FA3E-4872-B6E1-C4ABDF5766E2}"/>
              </c:ext>
            </c:extLst>
          </c:dPt>
          <c:dPt>
            <c:idx val="12"/>
            <c:invertIfNegative val="1"/>
            <c:bubble3D val="0"/>
            <c:spPr>
              <a:solidFill>
                <a:srgbClr val="AEABAB"/>
              </a:solidFill>
            </c:spPr>
            <c:extLst>
              <c:ext xmlns:c16="http://schemas.microsoft.com/office/drawing/2014/chart" uri="{C3380CC4-5D6E-409C-BE32-E72D297353CC}">
                <c16:uniqueId val="{0000001B-FA3E-4872-B6E1-C4ABDF5766E2}"/>
              </c:ext>
            </c:extLst>
          </c:dPt>
          <c:dPt>
            <c:idx val="13"/>
            <c:invertIfNegative val="1"/>
            <c:bubble3D val="0"/>
            <c:spPr>
              <a:solidFill>
                <a:srgbClr val="AEABAB"/>
              </a:solidFill>
            </c:spPr>
            <c:extLst>
              <c:ext xmlns:c16="http://schemas.microsoft.com/office/drawing/2014/chart" uri="{C3380CC4-5D6E-409C-BE32-E72D297353CC}">
                <c16:uniqueId val="{0000001D-FA3E-4872-B6E1-C4ABDF5766E2}"/>
              </c:ext>
            </c:extLst>
          </c:dPt>
          <c:dPt>
            <c:idx val="14"/>
            <c:invertIfNegative val="1"/>
            <c:bubble3D val="0"/>
            <c:spPr>
              <a:solidFill>
                <a:srgbClr val="AEABAB"/>
              </a:solidFill>
            </c:spPr>
            <c:extLst>
              <c:ext xmlns:c16="http://schemas.microsoft.com/office/drawing/2014/chart" uri="{C3380CC4-5D6E-409C-BE32-E72D297353CC}">
                <c16:uniqueId val="{0000001F-FA3E-4872-B6E1-C4ABDF5766E2}"/>
              </c:ext>
            </c:extLst>
          </c:dPt>
          <c:dPt>
            <c:idx val="15"/>
            <c:invertIfNegative val="1"/>
            <c:bubble3D val="0"/>
            <c:spPr>
              <a:solidFill>
                <a:srgbClr val="AEABAB"/>
              </a:solidFill>
            </c:spPr>
            <c:extLst>
              <c:ext xmlns:c16="http://schemas.microsoft.com/office/drawing/2014/chart" uri="{C3380CC4-5D6E-409C-BE32-E72D297353CC}">
                <c16:uniqueId val="{00000021-FA3E-4872-B6E1-C4ABDF5766E2}"/>
              </c:ext>
            </c:extLst>
          </c:dPt>
          <c:dPt>
            <c:idx val="16"/>
            <c:invertIfNegative val="1"/>
            <c:bubble3D val="0"/>
            <c:spPr>
              <a:solidFill>
                <a:srgbClr val="AEABAB"/>
              </a:solidFill>
            </c:spPr>
            <c:extLst>
              <c:ext xmlns:c16="http://schemas.microsoft.com/office/drawing/2014/chart" uri="{C3380CC4-5D6E-409C-BE32-E72D297353CC}">
                <c16:uniqueId val="{00000023-FA3E-4872-B6E1-C4ABDF5766E2}"/>
              </c:ext>
            </c:extLst>
          </c:dPt>
          <c:dPt>
            <c:idx val="17"/>
            <c:invertIfNegative val="1"/>
            <c:bubble3D val="0"/>
            <c:spPr>
              <a:solidFill>
                <a:srgbClr val="AEABAB"/>
              </a:solidFill>
            </c:spPr>
            <c:extLst>
              <c:ext xmlns:c16="http://schemas.microsoft.com/office/drawing/2014/chart" uri="{C3380CC4-5D6E-409C-BE32-E72D297353CC}">
                <c16:uniqueId val="{00000025-FA3E-4872-B6E1-C4ABDF5766E2}"/>
              </c:ext>
            </c:extLst>
          </c:dPt>
          <c:dPt>
            <c:idx val="18"/>
            <c:invertIfNegative val="1"/>
            <c:bubble3D val="0"/>
            <c:spPr>
              <a:solidFill>
                <a:srgbClr val="AEABAB"/>
              </a:solidFill>
            </c:spPr>
            <c:extLst>
              <c:ext xmlns:c16="http://schemas.microsoft.com/office/drawing/2014/chart" uri="{C3380CC4-5D6E-409C-BE32-E72D297353CC}">
                <c16:uniqueId val="{00000027-FA3E-4872-B6E1-C4ABDF5766E2}"/>
              </c:ext>
            </c:extLst>
          </c:dPt>
          <c:dPt>
            <c:idx val="19"/>
            <c:invertIfNegative val="1"/>
            <c:bubble3D val="0"/>
            <c:spPr>
              <a:solidFill>
                <a:srgbClr val="AEABAB"/>
              </a:solidFill>
            </c:spPr>
            <c:extLst>
              <c:ext xmlns:c16="http://schemas.microsoft.com/office/drawing/2014/chart" uri="{C3380CC4-5D6E-409C-BE32-E72D297353CC}">
                <c16:uniqueId val="{00000029-FA3E-4872-B6E1-C4ABDF5766E2}"/>
              </c:ext>
            </c:extLst>
          </c:dPt>
          <c:dPt>
            <c:idx val="20"/>
            <c:invertIfNegative val="1"/>
            <c:bubble3D val="0"/>
            <c:spPr>
              <a:solidFill>
                <a:srgbClr val="AEABAB"/>
              </a:solidFill>
            </c:spPr>
            <c:extLst>
              <c:ext xmlns:c16="http://schemas.microsoft.com/office/drawing/2014/chart" uri="{C3380CC4-5D6E-409C-BE32-E72D297353CC}">
                <c16:uniqueId val="{0000002B-FA3E-4872-B6E1-C4ABDF5766E2}"/>
              </c:ext>
            </c:extLst>
          </c:dPt>
          <c:dPt>
            <c:idx val="21"/>
            <c:invertIfNegative val="1"/>
            <c:bubble3D val="0"/>
            <c:spPr>
              <a:solidFill>
                <a:srgbClr val="AEABAB"/>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23</c:f>
              <c:strCache>
                <c:ptCount val="22"/>
                <c:pt idx="0">
                  <c:v>CHAMPAGNE E.NICOLAS BRUT 1CT X 750ML</c:v>
                </c:pt>
                <c:pt idx="1">
                  <c:v>CHAMPAGNE NICOLAS BLC/BLC BS 1CT X 750ML</c:v>
                </c:pt>
                <c:pt idx="2">
                  <c:v>CHAMPAGNE E.NICOLAS ROSE 1CT X 750ML</c:v>
                </c:pt>
                <c:pt idx="3">
                  <c:v>CHAMPAGNE NICOLAS 1ERE CUVEE 1CT X 750ML</c:v>
                </c:pt>
                <c:pt idx="4">
                  <c:v>MG CHAMPAGNE E.NICOLAS BRUT 1CT X 1500ML</c:v>
                </c:pt>
                <c:pt idx="5">
                  <c:v>1/2 CHAMPAGNE NICOLAS 1ERE CUV 1CT X 375ML</c:v>
                </c:pt>
                <c:pt idx="6">
                  <c:v>1/2 CHAMP NICOLAS BLC/BLC BS 1CT X 375ML</c:v>
                </c:pt>
                <c:pt idx="7">
                  <c:v>CHAMPAGNE NICOLAS ROSE 1ERE CU 1CT X 750ML</c:v>
                </c:pt>
                <c:pt idx="8">
                  <c:v>MG CHAMPAGNE NICOLAS BLC/BL BS 1CT X 1500ML</c:v>
                </c:pt>
                <c:pt idx="9">
                  <c:v>CHAMPAGNE NICOLAS BIO NAT 2017 1CT X 750ML</c:v>
                </c:pt>
                <c:pt idx="10">
                  <c:v>MG CHAMPAGNE NICOLAS 1ERE CUVE 1CT X 1500ML</c:v>
                </c:pt>
                <c:pt idx="11">
                  <c:v>CHAMPAGNE NICOLAS 1ER CRU BS 1CT X 750ML</c:v>
                </c:pt>
                <c:pt idx="12">
                  <c:v>1/2 CHAMP NICOLAS ROSE 1E C BS 1CT X 375ML</c:v>
                </c:pt>
                <c:pt idx="13">
                  <c:v>CHAMPAGNE NICOLAS BLC/BLC 2002 1CT X 750ML</c:v>
                </c:pt>
                <c:pt idx="14">
                  <c:v>CHAMPAGNE NICOLAS 1ER CRU ETUI 1CT X 750ML</c:v>
                </c:pt>
                <c:pt idx="15">
                  <c:v>CHAMPAGNE NICOLAS BLC DE NOIRS 1CT X 750ML</c:v>
                </c:pt>
                <c:pt idx="16">
                  <c:v>CHAMPAGNE NICOLAS ROSE 1ERE ET 1CT X 750ML</c:v>
                </c:pt>
                <c:pt idx="17">
                  <c:v>CHAMPAGNE NICOLAS 1ERE CUV ETU 1CT X 750ML</c:v>
                </c:pt>
                <c:pt idx="18">
                  <c:v>CHAMPAGNE NICOLAS ROSE 1E C BS 1CT X 750ML</c:v>
                </c:pt>
                <c:pt idx="19">
                  <c:v>MG CHAMPAGNE NICOLAS 1E CRU BS 1CT X 1500ML</c:v>
                </c:pt>
                <c:pt idx="20">
                  <c:v>CHAMPAGNE NICOLAS BLC/BL BS ET 1CT X 750ML</c:v>
                </c:pt>
                <c:pt idx="21">
                  <c:v>CHAMPAGNE NICOLAS BIO 2018 1CT X 750ML</c:v>
                </c:pt>
              </c:strCache>
            </c:strRef>
          </c:cat>
          <c:val>
            <c:numRef>
              <c:f>Sheet1!$C$2:$C$23</c:f>
              <c:numCache>
                <c:formatCode>General</c:formatCode>
                <c:ptCount val="22"/>
                <c:pt idx="0">
                  <c:v>0.72793603642018256</c:v>
                </c:pt>
                <c:pt idx="1">
                  <c:v>0.79492881927657355</c:v>
                </c:pt>
                <c:pt idx="2">
                  <c:v>0.8434563032309913</c:v>
                </c:pt>
                <c:pt idx="3">
                  <c:v>0.87858459655802634</c:v>
                </c:pt>
                <c:pt idx="4">
                  <c:v>0.90226817719965946</c:v>
                </c:pt>
                <c:pt idx="5">
                  <c:v>0.91695291657882338</c:v>
                </c:pt>
                <c:pt idx="6">
                  <c:v>0.92952307884963192</c:v>
                </c:pt>
                <c:pt idx="7">
                  <c:v>0.94136566174057901</c:v>
                </c:pt>
                <c:pt idx="8">
                  <c:v>0.95185770512903822</c:v>
                </c:pt>
                <c:pt idx="9">
                  <c:v>0.95975170362949558</c:v>
                </c:pt>
                <c:pt idx="10">
                  <c:v>0.96755534913506813</c:v>
                </c:pt>
                <c:pt idx="11">
                  <c:v>0.97447607151518789</c:v>
                </c:pt>
                <c:pt idx="12">
                  <c:v>0.98133972884590681</c:v>
                </c:pt>
                <c:pt idx="13">
                  <c:v>0.98719523697054323</c:v>
                </c:pt>
                <c:pt idx="14">
                  <c:v>0.99070949292948174</c:v>
                </c:pt>
                <c:pt idx="15">
                  <c:v>0.99383221924391962</c:v>
                </c:pt>
                <c:pt idx="16">
                  <c:v>0.99603397906663749</c:v>
                </c:pt>
                <c:pt idx="17">
                  <c:v>0.99770947232265828</c:v>
                </c:pt>
                <c:pt idx="18">
                  <c:v>0.9993247302487559</c:v>
                </c:pt>
                <c:pt idx="19">
                  <c:v>0.999803442607619</c:v>
                </c:pt>
                <c:pt idx="20">
                  <c:v>0.99992708354798765</c:v>
                </c:pt>
                <c:pt idx="21">
                  <c:v>0.99999999999999989</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23</c:f>
              <c:strCache>
                <c:ptCount val="22"/>
                <c:pt idx="0">
                  <c:v>CHAMPAGNE E.NICOLAS BRUT 1CT X 750ML</c:v>
                </c:pt>
                <c:pt idx="1">
                  <c:v>CHAMPAGNE NICOLAS BLC/BLC BS 1CT X 750ML</c:v>
                </c:pt>
                <c:pt idx="2">
                  <c:v>CHAMPAGNE E.NICOLAS ROSE 1CT X 750ML</c:v>
                </c:pt>
                <c:pt idx="3">
                  <c:v>CHAMPAGNE NICOLAS 1ERE CUVEE 1CT X 750ML</c:v>
                </c:pt>
                <c:pt idx="4">
                  <c:v>MG CHAMPAGNE E.NICOLAS BRUT 1CT X 1500ML</c:v>
                </c:pt>
                <c:pt idx="5">
                  <c:v>1/2 CHAMPAGNE NICOLAS 1ERE CUV 1CT X 375ML</c:v>
                </c:pt>
                <c:pt idx="6">
                  <c:v>1/2 CHAMP NICOLAS BLC/BLC BS 1CT X 375ML</c:v>
                </c:pt>
                <c:pt idx="7">
                  <c:v>CHAMPAGNE NICOLAS ROSE 1ERE CU 1CT X 750ML</c:v>
                </c:pt>
                <c:pt idx="8">
                  <c:v>MG CHAMPAGNE NICOLAS BLC/BL BS 1CT X 1500ML</c:v>
                </c:pt>
                <c:pt idx="9">
                  <c:v>CHAMPAGNE NICOLAS BIO NAT 2017 1CT X 750ML</c:v>
                </c:pt>
                <c:pt idx="10">
                  <c:v>MG CHAMPAGNE NICOLAS 1ERE CUVE 1CT X 1500ML</c:v>
                </c:pt>
                <c:pt idx="11">
                  <c:v>CHAMPAGNE NICOLAS 1ER CRU BS 1CT X 750ML</c:v>
                </c:pt>
                <c:pt idx="12">
                  <c:v>1/2 CHAMP NICOLAS ROSE 1E C BS 1CT X 375ML</c:v>
                </c:pt>
                <c:pt idx="13">
                  <c:v>CHAMPAGNE NICOLAS BLC/BLC 2002 1CT X 750ML</c:v>
                </c:pt>
                <c:pt idx="14">
                  <c:v>CHAMPAGNE NICOLAS 1ER CRU ETUI 1CT X 750ML</c:v>
                </c:pt>
                <c:pt idx="15">
                  <c:v>CHAMPAGNE NICOLAS BLC DE NOIRS 1CT X 750ML</c:v>
                </c:pt>
                <c:pt idx="16">
                  <c:v>CHAMPAGNE NICOLAS ROSE 1ERE ET 1CT X 750ML</c:v>
                </c:pt>
                <c:pt idx="17">
                  <c:v>CHAMPAGNE NICOLAS 1ERE CUV ETU 1CT X 750ML</c:v>
                </c:pt>
                <c:pt idx="18">
                  <c:v>CHAMPAGNE NICOLAS ROSE 1E C BS 1CT X 750ML</c:v>
                </c:pt>
                <c:pt idx="19">
                  <c:v>MG CHAMPAGNE NICOLAS 1E CRU BS 1CT X 1500ML</c:v>
                </c:pt>
                <c:pt idx="20">
                  <c:v>CHAMPAGNE NICOLAS BLC/BL BS ET 1CT X 750ML</c:v>
                </c:pt>
                <c:pt idx="21">
                  <c:v>CHAMPAGNE NICOLAS BIO 2018 1CT X 750ML</c:v>
                </c:pt>
              </c:strCache>
            </c:strRef>
          </c:cat>
          <c:val>
            <c:numRef>
              <c:f>Sheet1!$D$2:$D$23</c:f>
              <c:numCache>
                <c:formatCode>General</c:formatCode>
                <c:ptCount val="22"/>
                <c:pt idx="0">
                  <c:v>4592.25</c:v>
                </c:pt>
                <c:pt idx="1">
                  <c:v>578.94520547945206</c:v>
                </c:pt>
                <c:pt idx="2">
                  <c:v>355.97674418604652</c:v>
                </c:pt>
                <c:pt idx="3">
                  <c:v>284.11538461538464</c:v>
                </c:pt>
                <c:pt idx="4">
                  <c:v>383.10256410256409</c:v>
                </c:pt>
                <c:pt idx="5">
                  <c:v>210.54545454545453</c:v>
                </c:pt>
                <c:pt idx="6">
                  <c:v>214.32432432432432</c:v>
                </c:pt>
                <c:pt idx="7">
                  <c:v>173.74418604651163</c:v>
                </c:pt>
                <c:pt idx="8">
                  <c:v>330.95</c:v>
                </c:pt>
                <c:pt idx="9">
                  <c:v>262.10526315789474</c:v>
                </c:pt>
                <c:pt idx="10">
                  <c:v>189.34615384615384</c:v>
                </c:pt>
                <c:pt idx="11">
                  <c:v>174.64</c:v>
                </c:pt>
                <c:pt idx="12">
                  <c:v>105.60975609756098</c:v>
                </c:pt>
                <c:pt idx="13">
                  <c:v>217.29411764705881</c:v>
                </c:pt>
                <c:pt idx="14">
                  <c:v>138.5625</c:v>
                </c:pt>
                <c:pt idx="15">
                  <c:v>98.5</c:v>
                </c:pt>
                <c:pt idx="16">
                  <c:v>154.33333333333334</c:v>
                </c:pt>
                <c:pt idx="17">
                  <c:v>75.499999999999986</c:v>
                </c:pt>
                <c:pt idx="18">
                  <c:v>127.375</c:v>
                </c:pt>
                <c:pt idx="19">
                  <c:v>75.5</c:v>
                </c:pt>
                <c:pt idx="20">
                  <c:v>26</c:v>
                </c:pt>
                <c:pt idx="21">
                  <c:v>23</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23</c:f>
              <c:strCache>
                <c:ptCount val="22"/>
                <c:pt idx="0">
                  <c:v>CHAMPAGNE E.NICOLAS BRUT 1CT X 750ML</c:v>
                </c:pt>
                <c:pt idx="1">
                  <c:v>CHAMPAGNE E.NICOLAS ROSE 1CT X 750ML</c:v>
                </c:pt>
                <c:pt idx="2">
                  <c:v>CHAMPAGNE NICOLAS BLC/BLC BS 1CT X 750ML</c:v>
                </c:pt>
                <c:pt idx="3">
                  <c:v>CHAMPAGNE NICOLAS 1ERE CUVEE 1CT X 750ML</c:v>
                </c:pt>
                <c:pt idx="4">
                  <c:v>MG CHAMPAGNE E.NICOLAS BRUT 1CT X 1500ML</c:v>
                </c:pt>
                <c:pt idx="5">
                  <c:v>1/2 CHAMPAGNE NICOLAS 1ERE CUV 1CT X 375ML</c:v>
                </c:pt>
                <c:pt idx="6">
                  <c:v>MG CHAMPAGNE NICOLAS BLC/BL BS 1CT X 1500ML</c:v>
                </c:pt>
                <c:pt idx="7">
                  <c:v>CHAMPAGNE NICOLAS ROSE 1ERE CU 1CT X 750ML</c:v>
                </c:pt>
                <c:pt idx="8">
                  <c:v>CHAMPAGNE NICOLAS BIO NAT 2017 1CT X 750ML</c:v>
                </c:pt>
                <c:pt idx="9">
                  <c:v>1/2 CHAMP NICOLAS ROSE 1E C BS 1CT X 375ML</c:v>
                </c:pt>
                <c:pt idx="10">
                  <c:v>1/2 CHAMP NICOLAS BLC/BLC BS 1CT X 375ML</c:v>
                </c:pt>
                <c:pt idx="11">
                  <c:v>CHAMPAGNE NICOLAS BLC DE NOIRS 1CT X 750ML</c:v>
                </c:pt>
                <c:pt idx="12">
                  <c:v>MG CHAMPAGNE NICOLAS 1ERE CUVE 1CT X 1500ML</c:v>
                </c:pt>
                <c:pt idx="13">
                  <c:v>CHAMPAGNE NICOLAS 1ER CRU BS 1CT X 750ML</c:v>
                </c:pt>
                <c:pt idx="14">
                  <c:v>CHAMPAGNE NICOLAS BLC/BLC 2002 1CT X 750ML</c:v>
                </c:pt>
                <c:pt idx="15">
                  <c:v>CHAMPAGNE NICOLAS 1ER CRU ETUI 1CT X 750ML</c:v>
                </c:pt>
                <c:pt idx="16">
                  <c:v>CHAMPAGNE NICOLAS ROSE 1ERE ET 1CT X 750ML</c:v>
                </c:pt>
                <c:pt idx="17">
                  <c:v>CHAMPAGNE NICOLAS ROSE 1E C BS 1CT X 750ML</c:v>
                </c:pt>
                <c:pt idx="18">
                  <c:v>CHAMPAGNE NICOLAS 1ERE CUV ETU 1CT X 750ML</c:v>
                </c:pt>
                <c:pt idx="19">
                  <c:v>CHAMPAGNE NICOLAS BLC/BL BS ET 1CT X 750ML</c:v>
                </c:pt>
                <c:pt idx="20">
                  <c:v>MG CHAMPAGNE NICOLAS 1E CRU BS 1CT X 1500ML</c:v>
                </c:pt>
                <c:pt idx="21">
                  <c:v>1/2 CHAMPAGNE NICOLAS 1E C BS 1CT X 375ML</c:v>
                </c:pt>
              </c:strCache>
            </c:strRef>
          </c:cat>
          <c:val>
            <c:numRef>
              <c:f>Sheet1!$B$2:$B$23</c:f>
              <c:numCache>
                <c:formatCode>General</c:formatCode>
                <c:ptCount val="22"/>
                <c:pt idx="0">
                  <c:v>1</c:v>
                </c:pt>
                <c:pt idx="1">
                  <c:v>0.72</c:v>
                </c:pt>
                <c:pt idx="2">
                  <c:v>0.63</c:v>
                </c:pt>
                <c:pt idx="3">
                  <c:v>0.72</c:v>
                </c:pt>
                <c:pt idx="4">
                  <c:v>0.4</c:v>
                </c:pt>
                <c:pt idx="5">
                  <c:v>0.56000000000000005</c:v>
                </c:pt>
                <c:pt idx="6">
                  <c:v>0.27</c:v>
                </c:pt>
                <c:pt idx="7">
                  <c:v>0.5</c:v>
                </c:pt>
                <c:pt idx="8">
                  <c:v>0.26</c:v>
                </c:pt>
                <c:pt idx="9">
                  <c:v>0.47</c:v>
                </c:pt>
                <c:pt idx="10">
                  <c:v>0.33</c:v>
                </c:pt>
                <c:pt idx="11">
                  <c:v>0.33</c:v>
                </c:pt>
                <c:pt idx="12">
                  <c:v>0.14000000000000001</c:v>
                </c:pt>
                <c:pt idx="13">
                  <c:v>0.33</c:v>
                </c:pt>
                <c:pt idx="14">
                  <c:v>0.19</c:v>
                </c:pt>
                <c:pt idx="15">
                  <c:v>0.22</c:v>
                </c:pt>
                <c:pt idx="16">
                  <c:v>0.12</c:v>
                </c:pt>
                <c:pt idx="17">
                  <c:v>0.13</c:v>
                </c:pt>
                <c:pt idx="18">
                  <c:v>0.09</c:v>
                </c:pt>
                <c:pt idx="19">
                  <c:v>0.05</c:v>
                </c:pt>
                <c:pt idx="20">
                  <c:v>0.06</c:v>
                </c:pt>
                <c:pt idx="21">
                  <c:v>0.01</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7ECAC4"/>
              </a:solidFill>
            </c:spPr>
            <c:extLst>
              <c:ext xmlns:c16="http://schemas.microsoft.com/office/drawing/2014/chart" uri="{C3380CC4-5D6E-409C-BE32-E72D297353CC}">
                <c16:uniqueId val="{00000007-E902-46E2-9A54-39A26B3DFDC1}"/>
              </c:ext>
            </c:extLst>
          </c:dPt>
          <c:dPt>
            <c:idx val="4"/>
            <c:invertIfNegative val="1"/>
            <c:bubble3D val="0"/>
            <c:spPr>
              <a:solidFill>
                <a:srgbClr val="7ECAC4"/>
              </a:solidFill>
            </c:spPr>
            <c:extLst>
              <c:ext xmlns:c16="http://schemas.microsoft.com/office/drawing/2014/chart" uri="{C3380CC4-5D6E-409C-BE32-E72D297353CC}">
                <c16:uniqueId val="{0000000B-FA3E-4872-B6E1-C4ABDF5766E2}"/>
              </c:ext>
            </c:extLst>
          </c:dPt>
          <c:dPt>
            <c:idx val="5"/>
            <c:invertIfNegative val="1"/>
            <c:bubble3D val="0"/>
            <c:spPr>
              <a:solidFill>
                <a:srgbClr val="7ECAC4"/>
              </a:solidFill>
            </c:spPr>
            <c:extLst>
              <c:ext xmlns:c16="http://schemas.microsoft.com/office/drawing/2014/chart" uri="{C3380CC4-5D6E-409C-BE32-E72D297353CC}">
                <c16:uniqueId val="{0000000D-FA3E-4872-B6E1-C4ABDF5766E2}"/>
              </c:ext>
            </c:extLst>
          </c:dPt>
          <c:dPt>
            <c:idx val="6"/>
            <c:invertIfNegative val="1"/>
            <c:bubble3D val="0"/>
            <c:spPr>
              <a:solidFill>
                <a:srgbClr val="7ECAC4"/>
              </a:solidFill>
            </c:spPr>
            <c:extLst>
              <c:ext xmlns:c16="http://schemas.microsoft.com/office/drawing/2014/chart" uri="{C3380CC4-5D6E-409C-BE32-E72D297353CC}">
                <c16:uniqueId val="{0000000F-FA3E-4872-B6E1-C4ABDF5766E2}"/>
              </c:ext>
            </c:extLst>
          </c:dPt>
          <c:dPt>
            <c:idx val="7"/>
            <c:invertIfNegative val="1"/>
            <c:bubble3D val="0"/>
            <c:spPr>
              <a:solidFill>
                <a:srgbClr val="7ECAC4"/>
              </a:solidFill>
            </c:spPr>
            <c:extLst>
              <c:ext xmlns:c16="http://schemas.microsoft.com/office/drawing/2014/chart" uri="{C3380CC4-5D6E-409C-BE32-E72D297353CC}">
                <c16:uniqueId val="{00000011-FA3E-4872-B6E1-C4ABDF5766E2}"/>
              </c:ext>
            </c:extLst>
          </c:dPt>
          <c:dPt>
            <c:idx val="8"/>
            <c:invertIfNegative val="1"/>
            <c:bubble3D val="0"/>
            <c:spPr>
              <a:solidFill>
                <a:srgbClr val="7ECAC4"/>
              </a:solidFill>
            </c:spPr>
            <c:extLst>
              <c:ext xmlns:c16="http://schemas.microsoft.com/office/drawing/2014/chart" uri="{C3380CC4-5D6E-409C-BE32-E72D297353CC}">
                <c16:uniqueId val="{00000013-FA3E-4872-B6E1-C4ABDF5766E2}"/>
              </c:ext>
            </c:extLst>
          </c:dPt>
          <c:dPt>
            <c:idx val="9"/>
            <c:invertIfNegative val="1"/>
            <c:bubble3D val="0"/>
            <c:spPr>
              <a:solidFill>
                <a:srgbClr val="7ECAC4"/>
              </a:solidFill>
            </c:spPr>
            <c:extLst>
              <c:ext xmlns:c16="http://schemas.microsoft.com/office/drawing/2014/chart" uri="{C3380CC4-5D6E-409C-BE32-E72D297353CC}">
                <c16:uniqueId val="{00000015-FA3E-4872-B6E1-C4ABDF5766E2}"/>
              </c:ext>
            </c:extLst>
          </c:dPt>
          <c:dPt>
            <c:idx val="10"/>
            <c:invertIfNegative val="1"/>
            <c:bubble3D val="0"/>
            <c:spPr>
              <a:solidFill>
                <a:srgbClr val="7ECAC4"/>
              </a:solidFill>
            </c:spPr>
            <c:extLst>
              <c:ext xmlns:c16="http://schemas.microsoft.com/office/drawing/2014/chart" uri="{C3380CC4-5D6E-409C-BE32-E72D297353CC}">
                <c16:uniqueId val="{00000017-FA3E-4872-B6E1-C4ABDF5766E2}"/>
              </c:ext>
            </c:extLst>
          </c:dPt>
          <c:dPt>
            <c:idx val="11"/>
            <c:invertIfNegative val="1"/>
            <c:bubble3D val="0"/>
            <c:spPr>
              <a:solidFill>
                <a:srgbClr val="AEABAB"/>
              </a:solidFill>
            </c:spPr>
            <c:extLst>
              <c:ext xmlns:c16="http://schemas.microsoft.com/office/drawing/2014/chart" uri="{C3380CC4-5D6E-409C-BE32-E72D297353CC}">
                <c16:uniqueId val="{00000019-FA3E-4872-B6E1-C4ABDF5766E2}"/>
              </c:ext>
            </c:extLst>
          </c:dPt>
          <c:dPt>
            <c:idx val="12"/>
            <c:invertIfNegative val="1"/>
            <c:bubble3D val="0"/>
            <c:spPr>
              <a:solidFill>
                <a:srgbClr val="AEABAB"/>
              </a:solidFill>
            </c:spPr>
            <c:extLst>
              <c:ext xmlns:c16="http://schemas.microsoft.com/office/drawing/2014/chart" uri="{C3380CC4-5D6E-409C-BE32-E72D297353CC}">
                <c16:uniqueId val="{0000001B-FA3E-4872-B6E1-C4ABDF5766E2}"/>
              </c:ext>
            </c:extLst>
          </c:dPt>
          <c:dPt>
            <c:idx val="13"/>
            <c:invertIfNegative val="1"/>
            <c:bubble3D val="0"/>
            <c:spPr>
              <a:solidFill>
                <a:srgbClr val="AEABAB"/>
              </a:solidFill>
            </c:spPr>
            <c:extLst>
              <c:ext xmlns:c16="http://schemas.microsoft.com/office/drawing/2014/chart" uri="{C3380CC4-5D6E-409C-BE32-E72D297353CC}">
                <c16:uniqueId val="{0000001D-FA3E-4872-B6E1-C4ABDF5766E2}"/>
              </c:ext>
            </c:extLst>
          </c:dPt>
          <c:dPt>
            <c:idx val="14"/>
            <c:invertIfNegative val="1"/>
            <c:bubble3D val="0"/>
            <c:spPr>
              <a:solidFill>
                <a:srgbClr val="AEABAB"/>
              </a:solidFill>
            </c:spPr>
            <c:extLst>
              <c:ext xmlns:c16="http://schemas.microsoft.com/office/drawing/2014/chart" uri="{C3380CC4-5D6E-409C-BE32-E72D297353CC}">
                <c16:uniqueId val="{0000001F-FA3E-4872-B6E1-C4ABDF5766E2}"/>
              </c:ext>
            </c:extLst>
          </c:dPt>
          <c:dPt>
            <c:idx val="15"/>
            <c:invertIfNegative val="1"/>
            <c:bubble3D val="0"/>
            <c:spPr>
              <a:solidFill>
                <a:srgbClr val="AEABAB"/>
              </a:solidFill>
            </c:spPr>
            <c:extLst>
              <c:ext xmlns:c16="http://schemas.microsoft.com/office/drawing/2014/chart" uri="{C3380CC4-5D6E-409C-BE32-E72D297353CC}">
                <c16:uniqueId val="{00000021-FA3E-4872-B6E1-C4ABDF5766E2}"/>
              </c:ext>
            </c:extLst>
          </c:dPt>
          <c:dPt>
            <c:idx val="16"/>
            <c:invertIfNegative val="1"/>
            <c:bubble3D val="0"/>
            <c:spPr>
              <a:solidFill>
                <a:srgbClr val="AEABAB"/>
              </a:solidFill>
            </c:spPr>
            <c:extLst>
              <c:ext xmlns:c16="http://schemas.microsoft.com/office/drawing/2014/chart" uri="{C3380CC4-5D6E-409C-BE32-E72D297353CC}">
                <c16:uniqueId val="{00000023-FA3E-4872-B6E1-C4ABDF5766E2}"/>
              </c:ext>
            </c:extLst>
          </c:dPt>
          <c:dPt>
            <c:idx val="17"/>
            <c:invertIfNegative val="1"/>
            <c:bubble3D val="0"/>
            <c:spPr>
              <a:solidFill>
                <a:srgbClr val="AEABAB"/>
              </a:solidFill>
            </c:spPr>
            <c:extLst>
              <c:ext xmlns:c16="http://schemas.microsoft.com/office/drawing/2014/chart" uri="{C3380CC4-5D6E-409C-BE32-E72D297353CC}">
                <c16:uniqueId val="{00000025-FA3E-4872-B6E1-C4ABDF5766E2}"/>
              </c:ext>
            </c:extLst>
          </c:dPt>
          <c:dPt>
            <c:idx val="18"/>
            <c:invertIfNegative val="1"/>
            <c:bubble3D val="0"/>
            <c:spPr>
              <a:solidFill>
                <a:srgbClr val="AEABAB"/>
              </a:solidFill>
            </c:spPr>
            <c:extLst>
              <c:ext xmlns:c16="http://schemas.microsoft.com/office/drawing/2014/chart" uri="{C3380CC4-5D6E-409C-BE32-E72D297353CC}">
                <c16:uniqueId val="{00000027-FA3E-4872-B6E1-C4ABDF5766E2}"/>
              </c:ext>
            </c:extLst>
          </c:dPt>
          <c:dPt>
            <c:idx val="19"/>
            <c:invertIfNegative val="1"/>
            <c:bubble3D val="0"/>
            <c:spPr>
              <a:solidFill>
                <a:srgbClr val="AEABAB"/>
              </a:solidFill>
            </c:spPr>
            <c:extLst>
              <c:ext xmlns:c16="http://schemas.microsoft.com/office/drawing/2014/chart" uri="{C3380CC4-5D6E-409C-BE32-E72D297353CC}">
                <c16:uniqueId val="{00000029-FA3E-4872-B6E1-C4ABDF5766E2}"/>
              </c:ext>
            </c:extLst>
          </c:dPt>
          <c:dPt>
            <c:idx val="20"/>
            <c:invertIfNegative val="1"/>
            <c:bubble3D val="0"/>
            <c:spPr>
              <a:solidFill>
                <a:srgbClr val="AEABAB"/>
              </a:solidFill>
            </c:spPr>
            <c:extLst>
              <c:ext xmlns:c16="http://schemas.microsoft.com/office/drawing/2014/chart" uri="{C3380CC4-5D6E-409C-BE32-E72D297353CC}">
                <c16:uniqueId val="{0000002B-FA3E-4872-B6E1-C4ABDF5766E2}"/>
              </c:ext>
            </c:extLst>
          </c:dPt>
          <c:dPt>
            <c:idx val="21"/>
            <c:invertIfNegative val="1"/>
            <c:bubble3D val="0"/>
            <c:spPr>
              <a:solidFill>
                <a:srgbClr val="AEABAB"/>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23</c:f>
              <c:strCache>
                <c:ptCount val="22"/>
                <c:pt idx="0">
                  <c:v>CHAMPAGNE E.NICOLAS BRUT 1CT X 750ML</c:v>
                </c:pt>
                <c:pt idx="1">
                  <c:v>CHAMPAGNE E.NICOLAS ROSE 1CT X 750ML</c:v>
                </c:pt>
                <c:pt idx="2">
                  <c:v>CHAMPAGNE NICOLAS BLC/BLC BS 1CT X 750ML</c:v>
                </c:pt>
                <c:pt idx="3">
                  <c:v>CHAMPAGNE NICOLAS 1ERE CUVEE 1CT X 750ML</c:v>
                </c:pt>
                <c:pt idx="4">
                  <c:v>MG CHAMPAGNE E.NICOLAS BRUT 1CT X 1500ML</c:v>
                </c:pt>
                <c:pt idx="5">
                  <c:v>1/2 CHAMPAGNE NICOLAS 1ERE CUV 1CT X 375ML</c:v>
                </c:pt>
                <c:pt idx="6">
                  <c:v>MG CHAMPAGNE NICOLAS BLC/BL BS 1CT X 1500ML</c:v>
                </c:pt>
                <c:pt idx="7">
                  <c:v>CHAMPAGNE NICOLAS ROSE 1ERE CU 1CT X 750ML</c:v>
                </c:pt>
                <c:pt idx="8">
                  <c:v>CHAMPAGNE NICOLAS BIO NAT 2017 1CT X 750ML</c:v>
                </c:pt>
                <c:pt idx="9">
                  <c:v>1/2 CHAMP NICOLAS ROSE 1E C BS 1CT X 375ML</c:v>
                </c:pt>
                <c:pt idx="10">
                  <c:v>1/2 CHAMP NICOLAS BLC/BLC BS 1CT X 375ML</c:v>
                </c:pt>
                <c:pt idx="11">
                  <c:v>CHAMPAGNE NICOLAS BLC DE NOIRS 1CT X 750ML</c:v>
                </c:pt>
                <c:pt idx="12">
                  <c:v>MG CHAMPAGNE NICOLAS 1ERE CUVE 1CT X 1500ML</c:v>
                </c:pt>
                <c:pt idx="13">
                  <c:v>CHAMPAGNE NICOLAS 1ER CRU BS 1CT X 750ML</c:v>
                </c:pt>
                <c:pt idx="14">
                  <c:v>CHAMPAGNE NICOLAS BLC/BLC 2002 1CT X 750ML</c:v>
                </c:pt>
                <c:pt idx="15">
                  <c:v>CHAMPAGNE NICOLAS 1ER CRU ETUI 1CT X 750ML</c:v>
                </c:pt>
                <c:pt idx="16">
                  <c:v>CHAMPAGNE NICOLAS ROSE 1ERE ET 1CT X 750ML</c:v>
                </c:pt>
                <c:pt idx="17">
                  <c:v>CHAMPAGNE NICOLAS ROSE 1E C BS 1CT X 750ML</c:v>
                </c:pt>
                <c:pt idx="18">
                  <c:v>CHAMPAGNE NICOLAS 1ERE CUV ETU 1CT X 750ML</c:v>
                </c:pt>
                <c:pt idx="19">
                  <c:v>CHAMPAGNE NICOLAS BLC/BL BS ET 1CT X 750ML</c:v>
                </c:pt>
                <c:pt idx="20">
                  <c:v>MG CHAMPAGNE NICOLAS 1E CRU BS 1CT X 1500ML</c:v>
                </c:pt>
                <c:pt idx="21">
                  <c:v>1/2 CHAMPAGNE NICOLAS 1E C BS 1CT X 375ML</c:v>
                </c:pt>
              </c:strCache>
            </c:strRef>
          </c:cat>
          <c:val>
            <c:numRef>
              <c:f>Sheet1!$C$2:$C$23</c:f>
              <c:numCache>
                <c:formatCode>General</c:formatCode>
                <c:ptCount val="22"/>
                <c:pt idx="0">
                  <c:v>0.64260319438029667</c:v>
                </c:pt>
                <c:pt idx="1">
                  <c:v>0.7040669094137908</c:v>
                </c:pt>
                <c:pt idx="2">
                  <c:v>0.76399107779007036</c:v>
                </c:pt>
                <c:pt idx="3">
                  <c:v>0.82099368785870552</c:v>
                </c:pt>
                <c:pt idx="4">
                  <c:v>0.855296935586084</c:v>
                </c:pt>
                <c:pt idx="5">
                  <c:v>0.87647465297544247</c:v>
                </c:pt>
                <c:pt idx="6">
                  <c:v>0.89401474384449864</c:v>
                </c:pt>
                <c:pt idx="7">
                  <c:v>0.9093600856417583</c:v>
                </c:pt>
                <c:pt idx="8">
                  <c:v>0.92175164606180393</c:v>
                </c:pt>
                <c:pt idx="9">
                  <c:v>0.93286502472225508</c:v>
                </c:pt>
                <c:pt idx="10">
                  <c:v>0.94385667178655441</c:v>
                </c:pt>
                <c:pt idx="11">
                  <c:v>0.95480177441703096</c:v>
                </c:pt>
                <c:pt idx="12">
                  <c:v>0.96566810954411519</c:v>
                </c:pt>
                <c:pt idx="13">
                  <c:v>0.9753600928024404</c:v>
                </c:pt>
                <c:pt idx="14">
                  <c:v>0.98258522106815904</c:v>
                </c:pt>
                <c:pt idx="15">
                  <c:v>0.98742942252679</c:v>
                </c:pt>
                <c:pt idx="16">
                  <c:v>0.99123532507706691</c:v>
                </c:pt>
                <c:pt idx="17">
                  <c:v>0.99441108760020491</c:v>
                </c:pt>
                <c:pt idx="18">
                  <c:v>0.9971715305600013</c:v>
                </c:pt>
                <c:pt idx="19">
                  <c:v>0.99856070289255772</c:v>
                </c:pt>
                <c:pt idx="20">
                  <c:v>0.9999212324966078</c:v>
                </c:pt>
                <c:pt idx="21">
                  <c:v>1.000000000000000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23</c:f>
              <c:strCache>
                <c:ptCount val="22"/>
                <c:pt idx="0">
                  <c:v>CHAMPAGNE E.NICOLAS BRUT 1CT X 750ML</c:v>
                </c:pt>
                <c:pt idx="1">
                  <c:v>CHAMPAGNE E.NICOLAS ROSE 1CT X 750ML</c:v>
                </c:pt>
                <c:pt idx="2">
                  <c:v>CHAMPAGNE NICOLAS BLC/BLC BS 1CT X 750ML</c:v>
                </c:pt>
                <c:pt idx="3">
                  <c:v>CHAMPAGNE NICOLAS 1ERE CUVEE 1CT X 750ML</c:v>
                </c:pt>
                <c:pt idx="4">
                  <c:v>MG CHAMPAGNE E.NICOLAS BRUT 1CT X 1500ML</c:v>
                </c:pt>
                <c:pt idx="5">
                  <c:v>1/2 CHAMPAGNE NICOLAS 1ERE CUV 1CT X 375ML</c:v>
                </c:pt>
                <c:pt idx="6">
                  <c:v>MG CHAMPAGNE NICOLAS BLC/BL BS 1CT X 1500ML</c:v>
                </c:pt>
                <c:pt idx="7">
                  <c:v>CHAMPAGNE NICOLAS ROSE 1ERE CU 1CT X 750ML</c:v>
                </c:pt>
                <c:pt idx="8">
                  <c:v>CHAMPAGNE NICOLAS BIO NAT 2017 1CT X 750ML</c:v>
                </c:pt>
                <c:pt idx="9">
                  <c:v>1/2 CHAMP NICOLAS ROSE 1E C BS 1CT X 375ML</c:v>
                </c:pt>
                <c:pt idx="10">
                  <c:v>1/2 CHAMP NICOLAS BLC/BLC BS 1CT X 375ML</c:v>
                </c:pt>
                <c:pt idx="11">
                  <c:v>CHAMPAGNE NICOLAS BLC DE NOIRS 1CT X 750ML</c:v>
                </c:pt>
                <c:pt idx="12">
                  <c:v>MG CHAMPAGNE NICOLAS 1ERE CUVE 1CT X 1500ML</c:v>
                </c:pt>
                <c:pt idx="13">
                  <c:v>CHAMPAGNE NICOLAS 1ER CRU BS 1CT X 750ML</c:v>
                </c:pt>
                <c:pt idx="14">
                  <c:v>CHAMPAGNE NICOLAS BLC/BLC 2002 1CT X 750ML</c:v>
                </c:pt>
                <c:pt idx="15">
                  <c:v>CHAMPAGNE NICOLAS 1ER CRU ETUI 1CT X 750ML</c:v>
                </c:pt>
                <c:pt idx="16">
                  <c:v>CHAMPAGNE NICOLAS ROSE 1ERE ET 1CT X 750ML</c:v>
                </c:pt>
                <c:pt idx="17">
                  <c:v>CHAMPAGNE NICOLAS ROSE 1E C BS 1CT X 750ML</c:v>
                </c:pt>
                <c:pt idx="18">
                  <c:v>CHAMPAGNE NICOLAS 1ERE CUV ETU 1CT X 750ML</c:v>
                </c:pt>
                <c:pt idx="19">
                  <c:v>CHAMPAGNE NICOLAS BLC/BL BS ET 1CT X 750ML</c:v>
                </c:pt>
                <c:pt idx="20">
                  <c:v>MG CHAMPAGNE NICOLAS 1E CRU BS 1CT X 1500ML</c:v>
                </c:pt>
                <c:pt idx="21">
                  <c:v>1/2 CHAMPAGNE NICOLAS 1E C BS 1CT X 375ML</c:v>
                </c:pt>
              </c:strCache>
            </c:strRef>
          </c:cat>
          <c:val>
            <c:numRef>
              <c:f>Sheet1!$D$2:$D$23</c:f>
              <c:numCache>
                <c:formatCode>General</c:formatCode>
                <c:ptCount val="22"/>
                <c:pt idx="0">
                  <c:v>1794.81</c:v>
                </c:pt>
                <c:pt idx="1">
                  <c:v>238.43055555555554</c:v>
                </c:pt>
                <c:pt idx="2">
                  <c:v>265.66666666666669</c:v>
                </c:pt>
                <c:pt idx="3">
                  <c:v>221.125</c:v>
                </c:pt>
                <c:pt idx="4">
                  <c:v>239.52500000000001</c:v>
                </c:pt>
                <c:pt idx="5">
                  <c:v>105.62499999999999</c:v>
                </c:pt>
                <c:pt idx="6">
                  <c:v>181.44444444444446</c:v>
                </c:pt>
                <c:pt idx="7">
                  <c:v>85.72</c:v>
                </c:pt>
                <c:pt idx="8">
                  <c:v>133.11538461538461</c:v>
                </c:pt>
                <c:pt idx="9">
                  <c:v>66.042553191489361</c:v>
                </c:pt>
                <c:pt idx="10">
                  <c:v>93.030303030303031</c:v>
                </c:pt>
                <c:pt idx="11">
                  <c:v>92.63636363636364</c:v>
                </c:pt>
                <c:pt idx="12">
                  <c:v>216.78571428571425</c:v>
                </c:pt>
                <c:pt idx="13">
                  <c:v>82.030303030303031</c:v>
                </c:pt>
                <c:pt idx="14">
                  <c:v>106.21052631578948</c:v>
                </c:pt>
                <c:pt idx="15">
                  <c:v>61.5</c:v>
                </c:pt>
                <c:pt idx="16">
                  <c:v>88.583333333333329</c:v>
                </c:pt>
                <c:pt idx="17">
                  <c:v>68.230769230769226</c:v>
                </c:pt>
                <c:pt idx="18">
                  <c:v>85.666666666666671</c:v>
                </c:pt>
                <c:pt idx="19">
                  <c:v>77.599999999999994</c:v>
                </c:pt>
                <c:pt idx="20">
                  <c:v>63.333333333333336</c:v>
                </c:pt>
                <c:pt idx="21">
                  <c:v>22</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23</c:f>
              <c:strCache>
                <c:ptCount val="22"/>
                <c:pt idx="0">
                  <c:v>CHAMPAGNE E.NICOLAS BRUT 1CT X 750ML</c:v>
                </c:pt>
                <c:pt idx="1">
                  <c:v>CHAMPAGNE E.NICOLAS ROSE 1CT X 750ML</c:v>
                </c:pt>
                <c:pt idx="2">
                  <c:v>CHAMPAGNE NICOLAS 1ERE CUVEE 1CT X 750ML</c:v>
                </c:pt>
                <c:pt idx="3">
                  <c:v>CHAMPAGNE NICOLAS BLC/BLC BS 1CT X 750ML</c:v>
                </c:pt>
                <c:pt idx="4">
                  <c:v>1/2 CHAMPAGNE NICOLAS 1ERE CUV 1CT X 375ML</c:v>
                </c:pt>
                <c:pt idx="5">
                  <c:v>MG CHAMPAGNE E.NICOLAS BRUT 1CT X 1500ML</c:v>
                </c:pt>
                <c:pt idx="6">
                  <c:v>CHAMPAGNE NICOLAS ROSE 1ERE CU 1CT X 750ML</c:v>
                </c:pt>
                <c:pt idx="7">
                  <c:v>CHAMPAGNE NICOLAS 1ER CRU BS 1CT X 750ML</c:v>
                </c:pt>
                <c:pt idx="8">
                  <c:v>CHAMPAGNE NICOLAS BIO NAT 2017 1CT X 750ML</c:v>
                </c:pt>
                <c:pt idx="9">
                  <c:v>MG CHAMPAGNE NICOLAS BLC/BL BS 1CT X 1500ML</c:v>
                </c:pt>
                <c:pt idx="10">
                  <c:v>MG CHAMPAGNE NICOLAS 1ERE CUVE 1CT X 1500ML</c:v>
                </c:pt>
                <c:pt idx="11">
                  <c:v>1/2 CHAMP NICOLAS BLC/BLC BS 1CT X 375ML</c:v>
                </c:pt>
                <c:pt idx="12">
                  <c:v>1/2 CHAMP NICOLAS ROSE 1E C BS 1CT X 375ML</c:v>
                </c:pt>
                <c:pt idx="13">
                  <c:v>CHAMPAGNE NICOLAS BLC/BLC 2002 1CT X 750ML</c:v>
                </c:pt>
                <c:pt idx="14">
                  <c:v>CHAMPAGNE NICOLAS ROSE 1E C BS 1CT X 750ML</c:v>
                </c:pt>
                <c:pt idx="15">
                  <c:v>MG CHAMPAGNE NICOLAS 1E CRU BS 1CT X 1500ML</c:v>
                </c:pt>
                <c:pt idx="16">
                  <c:v>CHAMPAGNE NICOLAS 1ER CRU ETUI 1CT X 750ML</c:v>
                </c:pt>
                <c:pt idx="17">
                  <c:v>CHAMPAGNE NICOLAS BLC DE NOIRS 1CT X 750ML</c:v>
                </c:pt>
                <c:pt idx="18">
                  <c:v>CHAMPAGNE NICOLAS 1ERE CUV ETU 1CT X 750ML</c:v>
                </c:pt>
                <c:pt idx="19">
                  <c:v>CHAMPAGNE NICOLAS ROSE 1ERE ET 1CT X 750ML</c:v>
                </c:pt>
                <c:pt idx="20">
                  <c:v>1/2 CHAMPAGNE NICOLAS 1E C BS 1CT X 375ML</c:v>
                </c:pt>
                <c:pt idx="21">
                  <c:v>CHAMPAGNE NICOLAS BLC/BL BS ET 1CT X 750ML</c:v>
                </c:pt>
              </c:strCache>
            </c:strRef>
          </c:cat>
          <c:val>
            <c:numRef>
              <c:f>Sheet1!$B$2:$B$23</c:f>
              <c:numCache>
                <c:formatCode>General</c:formatCode>
                <c:ptCount val="22"/>
                <c:pt idx="0">
                  <c:v>1</c:v>
                </c:pt>
                <c:pt idx="1">
                  <c:v>0.68</c:v>
                </c:pt>
                <c:pt idx="2">
                  <c:v>0.83</c:v>
                </c:pt>
                <c:pt idx="3">
                  <c:v>0.56000000000000005</c:v>
                </c:pt>
                <c:pt idx="4">
                  <c:v>0.51</c:v>
                </c:pt>
                <c:pt idx="5">
                  <c:v>0.36</c:v>
                </c:pt>
                <c:pt idx="6">
                  <c:v>0.47</c:v>
                </c:pt>
                <c:pt idx="7">
                  <c:v>0.38</c:v>
                </c:pt>
                <c:pt idx="8">
                  <c:v>0.28000000000000003</c:v>
                </c:pt>
                <c:pt idx="9">
                  <c:v>0.16</c:v>
                </c:pt>
                <c:pt idx="10">
                  <c:v>0.18</c:v>
                </c:pt>
                <c:pt idx="11">
                  <c:v>0.32</c:v>
                </c:pt>
                <c:pt idx="12">
                  <c:v>0.46</c:v>
                </c:pt>
                <c:pt idx="13">
                  <c:v>0.18</c:v>
                </c:pt>
                <c:pt idx="14">
                  <c:v>0.13</c:v>
                </c:pt>
                <c:pt idx="15">
                  <c:v>0.13</c:v>
                </c:pt>
                <c:pt idx="16">
                  <c:v>0.13</c:v>
                </c:pt>
                <c:pt idx="17">
                  <c:v>0.05</c:v>
                </c:pt>
                <c:pt idx="18">
                  <c:v>0.22</c:v>
                </c:pt>
                <c:pt idx="19">
                  <c:v>0.1</c:v>
                </c:pt>
                <c:pt idx="20">
                  <c:v>0.08</c:v>
                </c:pt>
                <c:pt idx="21">
                  <c:v>0.03</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7ECAC4"/>
              </a:solidFill>
            </c:spPr>
            <c:extLst>
              <c:ext xmlns:c16="http://schemas.microsoft.com/office/drawing/2014/chart" uri="{C3380CC4-5D6E-409C-BE32-E72D297353CC}">
                <c16:uniqueId val="{00000008-D8F4-40C6-A5E0-DB4B53CFB1F3}"/>
              </c:ext>
            </c:extLst>
          </c:dPt>
          <c:dPt>
            <c:idx val="2"/>
            <c:invertIfNegative val="0"/>
            <c:bubble3D val="0"/>
            <c:spPr>
              <a:solidFill>
                <a:srgbClr val="7ECAC4"/>
              </a:solidFill>
            </c:spPr>
            <c:extLst>
              <c:ext xmlns:c16="http://schemas.microsoft.com/office/drawing/2014/chart" uri="{C3380CC4-5D6E-409C-BE32-E72D297353CC}">
                <c16:uniqueId val="{00000006-E902-46E2-9A54-39A26B3DFDC1}"/>
              </c:ext>
            </c:extLst>
          </c:dPt>
          <c:dPt>
            <c:idx val="3"/>
            <c:invertIfNegative val="0"/>
            <c:bubble3D val="0"/>
            <c:spPr>
              <a:solidFill>
                <a:srgbClr val="7ECAC4"/>
              </a:solidFill>
            </c:spPr>
            <c:extLst>
              <c:ext xmlns:c16="http://schemas.microsoft.com/office/drawing/2014/chart" uri="{C3380CC4-5D6E-409C-BE32-E72D297353CC}">
                <c16:uniqueId val="{00000007-E902-46E2-9A54-39A26B3DFDC1}"/>
              </c:ext>
            </c:extLst>
          </c:dPt>
          <c:dPt>
            <c:idx val="4"/>
            <c:invertIfNegative val="1"/>
            <c:bubble3D val="0"/>
            <c:spPr>
              <a:solidFill>
                <a:srgbClr val="7ECAC4"/>
              </a:solidFill>
            </c:spPr>
            <c:extLst>
              <c:ext xmlns:c16="http://schemas.microsoft.com/office/drawing/2014/chart" uri="{C3380CC4-5D6E-409C-BE32-E72D297353CC}">
                <c16:uniqueId val="{0000000B-FA3E-4872-B6E1-C4ABDF5766E2}"/>
              </c:ext>
            </c:extLst>
          </c:dPt>
          <c:dPt>
            <c:idx val="5"/>
            <c:invertIfNegative val="1"/>
            <c:bubble3D val="0"/>
            <c:spPr>
              <a:solidFill>
                <a:srgbClr val="7ECAC4"/>
              </a:solidFill>
            </c:spPr>
            <c:extLst>
              <c:ext xmlns:c16="http://schemas.microsoft.com/office/drawing/2014/chart" uri="{C3380CC4-5D6E-409C-BE32-E72D297353CC}">
                <c16:uniqueId val="{0000000D-FA3E-4872-B6E1-C4ABDF5766E2}"/>
              </c:ext>
            </c:extLst>
          </c:dPt>
          <c:dPt>
            <c:idx val="6"/>
            <c:invertIfNegative val="1"/>
            <c:bubble3D val="0"/>
            <c:spPr>
              <a:solidFill>
                <a:srgbClr val="7ECAC4"/>
              </a:solidFill>
            </c:spPr>
            <c:extLst>
              <c:ext xmlns:c16="http://schemas.microsoft.com/office/drawing/2014/chart" uri="{C3380CC4-5D6E-409C-BE32-E72D297353CC}">
                <c16:uniqueId val="{0000000F-FA3E-4872-B6E1-C4ABDF5766E2}"/>
              </c:ext>
            </c:extLst>
          </c:dPt>
          <c:dPt>
            <c:idx val="7"/>
            <c:invertIfNegative val="1"/>
            <c:bubble3D val="0"/>
            <c:spPr>
              <a:solidFill>
                <a:srgbClr val="AEABAB"/>
              </a:solidFill>
            </c:spPr>
            <c:extLst>
              <c:ext xmlns:c16="http://schemas.microsoft.com/office/drawing/2014/chart" uri="{C3380CC4-5D6E-409C-BE32-E72D297353CC}">
                <c16:uniqueId val="{00000011-FA3E-4872-B6E1-C4ABDF5766E2}"/>
              </c:ext>
            </c:extLst>
          </c:dPt>
          <c:dPt>
            <c:idx val="8"/>
            <c:invertIfNegative val="1"/>
            <c:bubble3D val="0"/>
            <c:spPr>
              <a:solidFill>
                <a:srgbClr val="AEABAB"/>
              </a:solidFill>
            </c:spPr>
            <c:extLst>
              <c:ext xmlns:c16="http://schemas.microsoft.com/office/drawing/2014/chart" uri="{C3380CC4-5D6E-409C-BE32-E72D297353CC}">
                <c16:uniqueId val="{00000013-FA3E-4872-B6E1-C4ABDF5766E2}"/>
              </c:ext>
            </c:extLst>
          </c:dPt>
          <c:dPt>
            <c:idx val="9"/>
            <c:invertIfNegative val="1"/>
            <c:bubble3D val="0"/>
            <c:spPr>
              <a:solidFill>
                <a:srgbClr val="AEABAB"/>
              </a:solidFill>
            </c:spPr>
            <c:extLst>
              <c:ext xmlns:c16="http://schemas.microsoft.com/office/drawing/2014/chart" uri="{C3380CC4-5D6E-409C-BE32-E72D297353CC}">
                <c16:uniqueId val="{00000015-FA3E-4872-B6E1-C4ABDF5766E2}"/>
              </c:ext>
            </c:extLst>
          </c:dPt>
          <c:dPt>
            <c:idx val="10"/>
            <c:invertIfNegative val="1"/>
            <c:bubble3D val="0"/>
            <c:spPr>
              <a:solidFill>
                <a:srgbClr val="AEABAB"/>
              </a:solidFill>
            </c:spPr>
            <c:extLst>
              <c:ext xmlns:c16="http://schemas.microsoft.com/office/drawing/2014/chart" uri="{C3380CC4-5D6E-409C-BE32-E72D297353CC}">
                <c16:uniqueId val="{00000017-FA3E-4872-B6E1-C4ABDF5766E2}"/>
              </c:ext>
            </c:extLst>
          </c:dPt>
          <c:dPt>
            <c:idx val="11"/>
            <c:invertIfNegative val="1"/>
            <c:bubble3D val="0"/>
            <c:spPr>
              <a:solidFill>
                <a:srgbClr val="AEABAB"/>
              </a:solidFill>
            </c:spPr>
            <c:extLst>
              <c:ext xmlns:c16="http://schemas.microsoft.com/office/drawing/2014/chart" uri="{C3380CC4-5D6E-409C-BE32-E72D297353CC}">
                <c16:uniqueId val="{00000019-FA3E-4872-B6E1-C4ABDF5766E2}"/>
              </c:ext>
            </c:extLst>
          </c:dPt>
          <c:dPt>
            <c:idx val="12"/>
            <c:invertIfNegative val="1"/>
            <c:bubble3D val="0"/>
            <c:spPr>
              <a:solidFill>
                <a:srgbClr val="AEABAB"/>
              </a:solidFill>
            </c:spPr>
            <c:extLst>
              <c:ext xmlns:c16="http://schemas.microsoft.com/office/drawing/2014/chart" uri="{C3380CC4-5D6E-409C-BE32-E72D297353CC}">
                <c16:uniqueId val="{0000001B-FA3E-4872-B6E1-C4ABDF5766E2}"/>
              </c:ext>
            </c:extLst>
          </c:dPt>
          <c:dPt>
            <c:idx val="13"/>
            <c:invertIfNegative val="1"/>
            <c:bubble3D val="0"/>
            <c:spPr>
              <a:solidFill>
                <a:srgbClr val="AEABAB"/>
              </a:solidFill>
            </c:spPr>
            <c:extLst>
              <c:ext xmlns:c16="http://schemas.microsoft.com/office/drawing/2014/chart" uri="{C3380CC4-5D6E-409C-BE32-E72D297353CC}">
                <c16:uniqueId val="{0000001D-FA3E-4872-B6E1-C4ABDF5766E2}"/>
              </c:ext>
            </c:extLst>
          </c:dPt>
          <c:dPt>
            <c:idx val="14"/>
            <c:invertIfNegative val="1"/>
            <c:bubble3D val="0"/>
            <c:spPr>
              <a:solidFill>
                <a:srgbClr val="AEABAB"/>
              </a:solidFill>
            </c:spPr>
            <c:extLst>
              <c:ext xmlns:c16="http://schemas.microsoft.com/office/drawing/2014/chart" uri="{C3380CC4-5D6E-409C-BE32-E72D297353CC}">
                <c16:uniqueId val="{0000001F-FA3E-4872-B6E1-C4ABDF5766E2}"/>
              </c:ext>
            </c:extLst>
          </c:dPt>
          <c:dPt>
            <c:idx val="15"/>
            <c:invertIfNegative val="1"/>
            <c:bubble3D val="0"/>
            <c:spPr>
              <a:solidFill>
                <a:srgbClr val="AEABAB"/>
              </a:solidFill>
            </c:spPr>
            <c:extLst>
              <c:ext xmlns:c16="http://schemas.microsoft.com/office/drawing/2014/chart" uri="{C3380CC4-5D6E-409C-BE32-E72D297353CC}">
                <c16:uniqueId val="{00000021-FA3E-4872-B6E1-C4ABDF5766E2}"/>
              </c:ext>
            </c:extLst>
          </c:dPt>
          <c:dPt>
            <c:idx val="16"/>
            <c:invertIfNegative val="1"/>
            <c:bubble3D val="0"/>
            <c:spPr>
              <a:solidFill>
                <a:srgbClr val="AEABAB"/>
              </a:solidFill>
            </c:spPr>
            <c:extLst>
              <c:ext xmlns:c16="http://schemas.microsoft.com/office/drawing/2014/chart" uri="{C3380CC4-5D6E-409C-BE32-E72D297353CC}">
                <c16:uniqueId val="{00000023-FA3E-4872-B6E1-C4ABDF5766E2}"/>
              </c:ext>
            </c:extLst>
          </c:dPt>
          <c:dPt>
            <c:idx val="17"/>
            <c:invertIfNegative val="1"/>
            <c:bubble3D val="0"/>
            <c:spPr>
              <a:solidFill>
                <a:srgbClr val="AEABAB"/>
              </a:solidFill>
            </c:spPr>
            <c:extLst>
              <c:ext xmlns:c16="http://schemas.microsoft.com/office/drawing/2014/chart" uri="{C3380CC4-5D6E-409C-BE32-E72D297353CC}">
                <c16:uniqueId val="{00000025-FA3E-4872-B6E1-C4ABDF5766E2}"/>
              </c:ext>
            </c:extLst>
          </c:dPt>
          <c:dPt>
            <c:idx val="18"/>
            <c:invertIfNegative val="1"/>
            <c:bubble3D val="0"/>
            <c:spPr>
              <a:solidFill>
                <a:srgbClr val="AEABAB"/>
              </a:solidFill>
            </c:spPr>
            <c:extLst>
              <c:ext xmlns:c16="http://schemas.microsoft.com/office/drawing/2014/chart" uri="{C3380CC4-5D6E-409C-BE32-E72D297353CC}">
                <c16:uniqueId val="{00000027-FA3E-4872-B6E1-C4ABDF5766E2}"/>
              </c:ext>
            </c:extLst>
          </c:dPt>
          <c:dPt>
            <c:idx val="19"/>
            <c:invertIfNegative val="1"/>
            <c:bubble3D val="0"/>
            <c:spPr>
              <a:solidFill>
                <a:srgbClr val="AEABAB"/>
              </a:solidFill>
            </c:spPr>
            <c:extLst>
              <c:ext xmlns:c16="http://schemas.microsoft.com/office/drawing/2014/chart" uri="{C3380CC4-5D6E-409C-BE32-E72D297353CC}">
                <c16:uniqueId val="{00000029-FA3E-4872-B6E1-C4ABDF5766E2}"/>
              </c:ext>
            </c:extLst>
          </c:dPt>
          <c:dPt>
            <c:idx val="20"/>
            <c:invertIfNegative val="1"/>
            <c:bubble3D val="0"/>
            <c:spPr>
              <a:solidFill>
                <a:srgbClr val="AEABAB"/>
              </a:solidFill>
            </c:spPr>
            <c:extLst>
              <c:ext xmlns:c16="http://schemas.microsoft.com/office/drawing/2014/chart" uri="{C3380CC4-5D6E-409C-BE32-E72D297353CC}">
                <c16:uniqueId val="{0000002B-FA3E-4872-B6E1-C4ABDF5766E2}"/>
              </c:ext>
            </c:extLst>
          </c:dPt>
          <c:dPt>
            <c:idx val="21"/>
            <c:invertIfNegative val="1"/>
            <c:bubble3D val="0"/>
            <c:spPr>
              <a:solidFill>
                <a:srgbClr val="AEABAB"/>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23</c:f>
              <c:strCache>
                <c:ptCount val="22"/>
                <c:pt idx="0">
                  <c:v>CHAMPAGNE E.NICOLAS BRUT 1CT X 750ML</c:v>
                </c:pt>
                <c:pt idx="1">
                  <c:v>CHAMPAGNE E.NICOLAS ROSE 1CT X 750ML</c:v>
                </c:pt>
                <c:pt idx="2">
                  <c:v>CHAMPAGNE NICOLAS 1ERE CUVEE 1CT X 750ML</c:v>
                </c:pt>
                <c:pt idx="3">
                  <c:v>CHAMPAGNE NICOLAS BLC/BLC BS 1CT X 750ML</c:v>
                </c:pt>
                <c:pt idx="4">
                  <c:v>1/2 CHAMPAGNE NICOLAS 1ERE CUV 1CT X 375ML</c:v>
                </c:pt>
                <c:pt idx="5">
                  <c:v>MG CHAMPAGNE E.NICOLAS BRUT 1CT X 1500ML</c:v>
                </c:pt>
                <c:pt idx="6">
                  <c:v>CHAMPAGNE NICOLAS ROSE 1ERE CU 1CT X 750ML</c:v>
                </c:pt>
                <c:pt idx="7">
                  <c:v>CHAMPAGNE NICOLAS 1ER CRU BS 1CT X 750ML</c:v>
                </c:pt>
                <c:pt idx="8">
                  <c:v>CHAMPAGNE NICOLAS BIO NAT 2017 1CT X 750ML</c:v>
                </c:pt>
                <c:pt idx="9">
                  <c:v>MG CHAMPAGNE NICOLAS BLC/BL BS 1CT X 1500ML</c:v>
                </c:pt>
                <c:pt idx="10">
                  <c:v>MG CHAMPAGNE NICOLAS 1ERE CUVE 1CT X 1500ML</c:v>
                </c:pt>
                <c:pt idx="11">
                  <c:v>1/2 CHAMP NICOLAS BLC/BLC BS 1CT X 375ML</c:v>
                </c:pt>
                <c:pt idx="12">
                  <c:v>1/2 CHAMP NICOLAS ROSE 1E C BS 1CT X 375ML</c:v>
                </c:pt>
                <c:pt idx="13">
                  <c:v>CHAMPAGNE NICOLAS BLC/BLC 2002 1CT X 750ML</c:v>
                </c:pt>
                <c:pt idx="14">
                  <c:v>CHAMPAGNE NICOLAS ROSE 1E C BS 1CT X 750ML</c:v>
                </c:pt>
                <c:pt idx="15">
                  <c:v>MG CHAMPAGNE NICOLAS 1E CRU BS 1CT X 1500ML</c:v>
                </c:pt>
                <c:pt idx="16">
                  <c:v>CHAMPAGNE NICOLAS 1ER CRU ETUI 1CT X 750ML</c:v>
                </c:pt>
                <c:pt idx="17">
                  <c:v>CHAMPAGNE NICOLAS BLC DE NOIRS 1CT X 750ML</c:v>
                </c:pt>
                <c:pt idx="18">
                  <c:v>CHAMPAGNE NICOLAS 1ERE CUV ETU 1CT X 750ML</c:v>
                </c:pt>
                <c:pt idx="19">
                  <c:v>CHAMPAGNE NICOLAS ROSE 1ERE ET 1CT X 750ML</c:v>
                </c:pt>
                <c:pt idx="20">
                  <c:v>1/2 CHAMPAGNE NICOLAS 1E C BS 1CT X 375ML</c:v>
                </c:pt>
                <c:pt idx="21">
                  <c:v>CHAMPAGNE NICOLAS BLC/BL BS ET 1CT X 750ML</c:v>
                </c:pt>
              </c:strCache>
            </c:strRef>
          </c:cat>
          <c:val>
            <c:numRef>
              <c:f>Sheet1!$C$2:$C$23</c:f>
              <c:numCache>
                <c:formatCode>General</c:formatCode>
                <c:ptCount val="22"/>
                <c:pt idx="0">
                  <c:v>0.76032516121884675</c:v>
                </c:pt>
                <c:pt idx="1">
                  <c:v>0.81222447387493013</c:v>
                </c:pt>
                <c:pt idx="2">
                  <c:v>0.86133563525072587</c:v>
                </c:pt>
                <c:pt idx="3">
                  <c:v>0.90210080736367371</c:v>
                </c:pt>
                <c:pt idx="4">
                  <c:v>0.91934210708532016</c:v>
                </c:pt>
                <c:pt idx="5">
                  <c:v>0.93475079743896294</c:v>
                </c:pt>
                <c:pt idx="6">
                  <c:v>0.94342914910608355</c:v>
                </c:pt>
                <c:pt idx="7">
                  <c:v>0.95139199837511712</c:v>
                </c:pt>
                <c:pt idx="8">
                  <c:v>0.95904094981789312</c:v>
                </c:pt>
                <c:pt idx="9">
                  <c:v>0.96578513693792667</c:v>
                </c:pt>
                <c:pt idx="10">
                  <c:v>0.97173073105880503</c:v>
                </c:pt>
                <c:pt idx="11">
                  <c:v>0.97758400228960762</c:v>
                </c:pt>
                <c:pt idx="12">
                  <c:v>0.98298950750354286</c:v>
                </c:pt>
                <c:pt idx="13">
                  <c:v>0.98683475587519787</c:v>
                </c:pt>
                <c:pt idx="14">
                  <c:v>0.99024608666349689</c:v>
                </c:pt>
                <c:pt idx="15">
                  <c:v>0.99338044878156861</c:v>
                </c:pt>
                <c:pt idx="16">
                  <c:v>0.99574853091201165</c:v>
                </c:pt>
                <c:pt idx="17">
                  <c:v>0.99756729184650395</c:v>
                </c:pt>
                <c:pt idx="18">
                  <c:v>0.99895213519764026</c:v>
                </c:pt>
                <c:pt idx="19">
                  <c:v>0.99951992097160614</c:v>
                </c:pt>
                <c:pt idx="20">
                  <c:v>0.99982458650885608</c:v>
                </c:pt>
                <c:pt idx="21">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23</c:f>
              <c:strCache>
                <c:ptCount val="22"/>
                <c:pt idx="0">
                  <c:v>CHAMPAGNE E.NICOLAS BRUT 1CT X 750ML</c:v>
                </c:pt>
                <c:pt idx="1">
                  <c:v>CHAMPAGNE E.NICOLAS ROSE 1CT X 750ML</c:v>
                </c:pt>
                <c:pt idx="2">
                  <c:v>CHAMPAGNE NICOLAS 1ERE CUVEE 1CT X 750ML</c:v>
                </c:pt>
                <c:pt idx="3">
                  <c:v>CHAMPAGNE NICOLAS BLC/BLC BS 1CT X 750ML</c:v>
                </c:pt>
                <c:pt idx="4">
                  <c:v>1/2 CHAMPAGNE NICOLAS 1ERE CUV 1CT X 375ML</c:v>
                </c:pt>
                <c:pt idx="5">
                  <c:v>MG CHAMPAGNE E.NICOLAS BRUT 1CT X 1500ML</c:v>
                </c:pt>
                <c:pt idx="6">
                  <c:v>CHAMPAGNE NICOLAS ROSE 1ERE CU 1CT X 750ML</c:v>
                </c:pt>
                <c:pt idx="7">
                  <c:v>CHAMPAGNE NICOLAS 1ER CRU BS 1CT X 750ML</c:v>
                </c:pt>
                <c:pt idx="8">
                  <c:v>CHAMPAGNE NICOLAS BIO NAT 2017 1CT X 750ML</c:v>
                </c:pt>
                <c:pt idx="9">
                  <c:v>MG CHAMPAGNE NICOLAS BLC/BL BS 1CT X 1500ML</c:v>
                </c:pt>
                <c:pt idx="10">
                  <c:v>MG CHAMPAGNE NICOLAS 1ERE CUVE 1CT X 1500ML</c:v>
                </c:pt>
                <c:pt idx="11">
                  <c:v>1/2 CHAMP NICOLAS BLC/BLC BS 1CT X 375ML</c:v>
                </c:pt>
                <c:pt idx="12">
                  <c:v>1/2 CHAMP NICOLAS ROSE 1E C BS 1CT X 375ML</c:v>
                </c:pt>
                <c:pt idx="13">
                  <c:v>CHAMPAGNE NICOLAS BLC/BLC 2002 1CT X 750ML</c:v>
                </c:pt>
                <c:pt idx="14">
                  <c:v>CHAMPAGNE NICOLAS ROSE 1E C BS 1CT X 750ML</c:v>
                </c:pt>
                <c:pt idx="15">
                  <c:v>MG CHAMPAGNE NICOLAS 1E CRU BS 1CT X 1500ML</c:v>
                </c:pt>
                <c:pt idx="16">
                  <c:v>CHAMPAGNE NICOLAS 1ER CRU ETUI 1CT X 750ML</c:v>
                </c:pt>
                <c:pt idx="17">
                  <c:v>CHAMPAGNE NICOLAS BLC DE NOIRS 1CT X 750ML</c:v>
                </c:pt>
                <c:pt idx="18">
                  <c:v>CHAMPAGNE NICOLAS 1ERE CUV ETU 1CT X 750ML</c:v>
                </c:pt>
                <c:pt idx="19">
                  <c:v>CHAMPAGNE NICOLAS ROSE 1ERE ET 1CT X 750ML</c:v>
                </c:pt>
                <c:pt idx="20">
                  <c:v>1/2 CHAMPAGNE NICOLAS 1E C BS 1CT X 375ML</c:v>
                </c:pt>
                <c:pt idx="21">
                  <c:v>CHAMPAGNE NICOLAS BLC/BL BS ET 1CT X 750ML</c:v>
                </c:pt>
              </c:strCache>
            </c:strRef>
          </c:cat>
          <c:val>
            <c:numRef>
              <c:f>Sheet1!$D$2:$D$23</c:f>
              <c:numCache>
                <c:formatCode>General</c:formatCode>
                <c:ptCount val="22"/>
                <c:pt idx="0">
                  <c:v>1647.1</c:v>
                </c:pt>
                <c:pt idx="1">
                  <c:v>165.33823529411765</c:v>
                </c:pt>
                <c:pt idx="2">
                  <c:v>128.18072289156626</c:v>
                </c:pt>
                <c:pt idx="3">
                  <c:v>157.69642857142856</c:v>
                </c:pt>
                <c:pt idx="4">
                  <c:v>73.235294117647058</c:v>
                </c:pt>
                <c:pt idx="5">
                  <c:v>92.722222222222229</c:v>
                </c:pt>
                <c:pt idx="6">
                  <c:v>40</c:v>
                </c:pt>
                <c:pt idx="7">
                  <c:v>45.39473684210526</c:v>
                </c:pt>
                <c:pt idx="8">
                  <c:v>59.178571428571423</c:v>
                </c:pt>
                <c:pt idx="9">
                  <c:v>91.3125</c:v>
                </c:pt>
                <c:pt idx="10">
                  <c:v>71.555555555555557</c:v>
                </c:pt>
                <c:pt idx="11">
                  <c:v>39.625</c:v>
                </c:pt>
                <c:pt idx="12">
                  <c:v>25.456521739130434</c:v>
                </c:pt>
                <c:pt idx="13">
                  <c:v>46.277777777777779</c:v>
                </c:pt>
                <c:pt idx="14">
                  <c:v>56.846153846153847</c:v>
                </c:pt>
                <c:pt idx="15">
                  <c:v>52.230769230769234</c:v>
                </c:pt>
                <c:pt idx="16">
                  <c:v>39.46153846153846</c:v>
                </c:pt>
                <c:pt idx="17">
                  <c:v>78.8</c:v>
                </c:pt>
                <c:pt idx="18">
                  <c:v>13.636363636363637</c:v>
                </c:pt>
                <c:pt idx="19">
                  <c:v>12.3</c:v>
                </c:pt>
                <c:pt idx="20">
                  <c:v>8.25</c:v>
                </c:pt>
                <c:pt idx="21">
                  <c:v>12.666666666666666</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23</c:f>
              <c:strCache>
                <c:ptCount val="22"/>
                <c:pt idx="0">
                  <c:v>CHAMPAGNE E.NICOLAS BRUT 1CT X 750ML</c:v>
                </c:pt>
                <c:pt idx="1">
                  <c:v>CHAMPAGNE E.NICOLAS ROSE 1CT X 750ML</c:v>
                </c:pt>
                <c:pt idx="2">
                  <c:v>CHAMPAGNE NICOLAS BLC/BLC BS 1CT X 750ML</c:v>
                </c:pt>
                <c:pt idx="3">
                  <c:v>CHAMPAGNE NICOLAS 1ERE CUVEE 1CT X 750ML</c:v>
                </c:pt>
                <c:pt idx="4">
                  <c:v>CHAMPAGNE NICOLAS BIO NAT 2017 1CT X 750ML</c:v>
                </c:pt>
                <c:pt idx="5">
                  <c:v>CHAMPAGNE NICOLAS BLC DE NOIRS 1CT X 750ML</c:v>
                </c:pt>
                <c:pt idx="6">
                  <c:v>MG CHAMPAGNE E.NICOLAS BRUT 1CT X 1500ML</c:v>
                </c:pt>
                <c:pt idx="7">
                  <c:v>1/2 CHAMP NICOLAS BLC/BLC BS 1CT X 375ML</c:v>
                </c:pt>
                <c:pt idx="8">
                  <c:v>1/2 CHAMP NICOLAS ROSE 1E C BS 1CT X 375ML</c:v>
                </c:pt>
                <c:pt idx="9">
                  <c:v>1/2 CHAMPAGNE NICOLAS 1ERE CUV 1CT X 375ML</c:v>
                </c:pt>
                <c:pt idx="10">
                  <c:v>CHAMPAGNE NICOLAS ROSE 1ERE CU 1CT X 750ML</c:v>
                </c:pt>
                <c:pt idx="11">
                  <c:v>MG CHAMPAGNE NICOLAS BLC/BL BS 1CT X 1500ML</c:v>
                </c:pt>
                <c:pt idx="12">
                  <c:v>CHAMPAGNE NICOLAS 1ER CRU BS 1CT X 750ML</c:v>
                </c:pt>
                <c:pt idx="13">
                  <c:v>CHAMPAGNE NICOLAS BLC/BLC 2002 1CT X 750ML</c:v>
                </c:pt>
                <c:pt idx="14">
                  <c:v>CHAMPAGNE NICOLAS 1ERE CUV ETU 1CT X 750ML</c:v>
                </c:pt>
                <c:pt idx="15">
                  <c:v>CHAMPAGNE NICOLAS ROSE 1ERE ET 1CT X 750ML</c:v>
                </c:pt>
                <c:pt idx="16">
                  <c:v>CHAMPAGNE NICOLAS BLC/BL BS ET 1CT X 750ML</c:v>
                </c:pt>
                <c:pt idx="17">
                  <c:v>MG CHAMPAGNE NICOLAS 1ERE CUVE 1CT X 1500ML</c:v>
                </c:pt>
                <c:pt idx="18">
                  <c:v>CHAMPAGNE NICOLAS ROSE 1E C BS 1CT X 750ML</c:v>
                </c:pt>
                <c:pt idx="19">
                  <c:v>MG CHAMPAGNE NICOLAS 1E CRU BS 1CT X 1500ML</c:v>
                </c:pt>
                <c:pt idx="20">
                  <c:v>CHAMPAGNE NICOLAS 1ER CRU ETUI 1CT X 750ML</c:v>
                </c:pt>
                <c:pt idx="21">
                  <c:v>1/2 CHAMPAGNE NICOLAS 1E C BS 1CT X 375ML</c:v>
                </c:pt>
              </c:strCache>
            </c:strRef>
          </c:cat>
          <c:val>
            <c:numRef>
              <c:f>Sheet1!$B$2:$B$23</c:f>
              <c:numCache>
                <c:formatCode>General</c:formatCode>
                <c:ptCount val="22"/>
                <c:pt idx="0">
                  <c:v>1</c:v>
                </c:pt>
                <c:pt idx="1">
                  <c:v>0.74</c:v>
                </c:pt>
                <c:pt idx="2">
                  <c:v>0.43</c:v>
                </c:pt>
                <c:pt idx="3">
                  <c:v>0.56999999999999995</c:v>
                </c:pt>
                <c:pt idx="4">
                  <c:v>0.27</c:v>
                </c:pt>
                <c:pt idx="5">
                  <c:v>0.42</c:v>
                </c:pt>
                <c:pt idx="6">
                  <c:v>0.32</c:v>
                </c:pt>
                <c:pt idx="7">
                  <c:v>0.33</c:v>
                </c:pt>
                <c:pt idx="8">
                  <c:v>0.34</c:v>
                </c:pt>
                <c:pt idx="9">
                  <c:v>0.5</c:v>
                </c:pt>
                <c:pt idx="10">
                  <c:v>0.25</c:v>
                </c:pt>
                <c:pt idx="11">
                  <c:v>0.34</c:v>
                </c:pt>
                <c:pt idx="12">
                  <c:v>0.41</c:v>
                </c:pt>
                <c:pt idx="13">
                  <c:v>0.26</c:v>
                </c:pt>
                <c:pt idx="14">
                  <c:v>0.28000000000000003</c:v>
                </c:pt>
                <c:pt idx="15">
                  <c:v>0.23</c:v>
                </c:pt>
                <c:pt idx="16">
                  <c:v>0.13</c:v>
                </c:pt>
                <c:pt idx="17">
                  <c:v>0.15</c:v>
                </c:pt>
                <c:pt idx="18">
                  <c:v>0.03</c:v>
                </c:pt>
                <c:pt idx="19">
                  <c:v>0.02</c:v>
                </c:pt>
                <c:pt idx="20">
                  <c:v>0.08</c:v>
                </c:pt>
                <c:pt idx="21">
                  <c:v>0.05</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7ECAC4"/>
              </a:solidFill>
            </c:spPr>
            <c:extLst>
              <c:ext xmlns:c16="http://schemas.microsoft.com/office/drawing/2014/chart" uri="{C3380CC4-5D6E-409C-BE32-E72D297353CC}">
                <c16:uniqueId val="{00000006-E902-46E2-9A54-39A26B3DFDC1}"/>
              </c:ext>
            </c:extLst>
          </c:dPt>
          <c:dPt>
            <c:idx val="3"/>
            <c:invertIfNegative val="0"/>
            <c:bubble3D val="0"/>
            <c:spPr>
              <a:solidFill>
                <a:srgbClr val="7ECAC4"/>
              </a:solidFill>
            </c:spPr>
            <c:extLst>
              <c:ext xmlns:c16="http://schemas.microsoft.com/office/drawing/2014/chart" uri="{C3380CC4-5D6E-409C-BE32-E72D297353CC}">
                <c16:uniqueId val="{00000007-E902-46E2-9A54-39A26B3DFDC1}"/>
              </c:ext>
            </c:extLst>
          </c:dPt>
          <c:dPt>
            <c:idx val="4"/>
            <c:invertIfNegative val="1"/>
            <c:bubble3D val="0"/>
            <c:spPr>
              <a:solidFill>
                <a:srgbClr val="7ECAC4"/>
              </a:solidFill>
            </c:spPr>
            <c:extLst>
              <c:ext xmlns:c16="http://schemas.microsoft.com/office/drawing/2014/chart" uri="{C3380CC4-5D6E-409C-BE32-E72D297353CC}">
                <c16:uniqueId val="{0000000B-FA3E-4872-B6E1-C4ABDF5766E2}"/>
              </c:ext>
            </c:extLst>
          </c:dPt>
          <c:dPt>
            <c:idx val="5"/>
            <c:invertIfNegative val="1"/>
            <c:bubble3D val="0"/>
            <c:spPr>
              <a:solidFill>
                <a:srgbClr val="7ECAC4"/>
              </a:solidFill>
            </c:spPr>
            <c:extLst>
              <c:ext xmlns:c16="http://schemas.microsoft.com/office/drawing/2014/chart" uri="{C3380CC4-5D6E-409C-BE32-E72D297353CC}">
                <c16:uniqueId val="{0000000D-FA3E-4872-B6E1-C4ABDF5766E2}"/>
              </c:ext>
            </c:extLst>
          </c:dPt>
          <c:dPt>
            <c:idx val="6"/>
            <c:invertIfNegative val="1"/>
            <c:bubble3D val="0"/>
            <c:spPr>
              <a:solidFill>
                <a:srgbClr val="7ECAC4"/>
              </a:solidFill>
            </c:spPr>
            <c:extLst>
              <c:ext xmlns:c16="http://schemas.microsoft.com/office/drawing/2014/chart" uri="{C3380CC4-5D6E-409C-BE32-E72D297353CC}">
                <c16:uniqueId val="{0000000F-FA3E-4872-B6E1-C4ABDF5766E2}"/>
              </c:ext>
            </c:extLst>
          </c:dPt>
          <c:dPt>
            <c:idx val="7"/>
            <c:invertIfNegative val="1"/>
            <c:bubble3D val="0"/>
            <c:spPr>
              <a:solidFill>
                <a:srgbClr val="7ECAC4"/>
              </a:solidFill>
            </c:spPr>
            <c:extLst>
              <c:ext xmlns:c16="http://schemas.microsoft.com/office/drawing/2014/chart" uri="{C3380CC4-5D6E-409C-BE32-E72D297353CC}">
                <c16:uniqueId val="{00000011-FA3E-4872-B6E1-C4ABDF5766E2}"/>
              </c:ext>
            </c:extLst>
          </c:dPt>
          <c:dPt>
            <c:idx val="8"/>
            <c:invertIfNegative val="1"/>
            <c:bubble3D val="0"/>
            <c:spPr>
              <a:solidFill>
                <a:srgbClr val="7ECAC4"/>
              </a:solidFill>
            </c:spPr>
            <c:extLst>
              <c:ext xmlns:c16="http://schemas.microsoft.com/office/drawing/2014/chart" uri="{C3380CC4-5D6E-409C-BE32-E72D297353CC}">
                <c16:uniqueId val="{00000013-FA3E-4872-B6E1-C4ABDF5766E2}"/>
              </c:ext>
            </c:extLst>
          </c:dPt>
          <c:dPt>
            <c:idx val="9"/>
            <c:invertIfNegative val="1"/>
            <c:bubble3D val="0"/>
            <c:spPr>
              <a:solidFill>
                <a:srgbClr val="7ECAC4"/>
              </a:solidFill>
            </c:spPr>
            <c:extLst>
              <c:ext xmlns:c16="http://schemas.microsoft.com/office/drawing/2014/chart" uri="{C3380CC4-5D6E-409C-BE32-E72D297353CC}">
                <c16:uniqueId val="{00000015-FA3E-4872-B6E1-C4ABDF5766E2}"/>
              </c:ext>
            </c:extLst>
          </c:dPt>
          <c:dPt>
            <c:idx val="10"/>
            <c:invertIfNegative val="1"/>
            <c:bubble3D val="0"/>
            <c:spPr>
              <a:solidFill>
                <a:srgbClr val="AEABAB"/>
              </a:solidFill>
            </c:spPr>
            <c:extLst>
              <c:ext xmlns:c16="http://schemas.microsoft.com/office/drawing/2014/chart" uri="{C3380CC4-5D6E-409C-BE32-E72D297353CC}">
                <c16:uniqueId val="{00000017-FA3E-4872-B6E1-C4ABDF5766E2}"/>
              </c:ext>
            </c:extLst>
          </c:dPt>
          <c:dPt>
            <c:idx val="11"/>
            <c:invertIfNegative val="1"/>
            <c:bubble3D val="0"/>
            <c:spPr>
              <a:solidFill>
                <a:srgbClr val="AEABAB"/>
              </a:solidFill>
            </c:spPr>
            <c:extLst>
              <c:ext xmlns:c16="http://schemas.microsoft.com/office/drawing/2014/chart" uri="{C3380CC4-5D6E-409C-BE32-E72D297353CC}">
                <c16:uniqueId val="{00000019-FA3E-4872-B6E1-C4ABDF5766E2}"/>
              </c:ext>
            </c:extLst>
          </c:dPt>
          <c:dPt>
            <c:idx val="12"/>
            <c:invertIfNegative val="1"/>
            <c:bubble3D val="0"/>
            <c:spPr>
              <a:solidFill>
                <a:srgbClr val="AEABAB"/>
              </a:solidFill>
            </c:spPr>
            <c:extLst>
              <c:ext xmlns:c16="http://schemas.microsoft.com/office/drawing/2014/chart" uri="{C3380CC4-5D6E-409C-BE32-E72D297353CC}">
                <c16:uniqueId val="{0000001B-FA3E-4872-B6E1-C4ABDF5766E2}"/>
              </c:ext>
            </c:extLst>
          </c:dPt>
          <c:dPt>
            <c:idx val="13"/>
            <c:invertIfNegative val="1"/>
            <c:bubble3D val="0"/>
            <c:spPr>
              <a:solidFill>
                <a:srgbClr val="AEABAB"/>
              </a:solidFill>
            </c:spPr>
            <c:extLst>
              <c:ext xmlns:c16="http://schemas.microsoft.com/office/drawing/2014/chart" uri="{C3380CC4-5D6E-409C-BE32-E72D297353CC}">
                <c16:uniqueId val="{0000001D-FA3E-4872-B6E1-C4ABDF5766E2}"/>
              </c:ext>
            </c:extLst>
          </c:dPt>
          <c:dPt>
            <c:idx val="14"/>
            <c:invertIfNegative val="1"/>
            <c:bubble3D val="0"/>
            <c:spPr>
              <a:solidFill>
                <a:srgbClr val="AEABAB"/>
              </a:solidFill>
            </c:spPr>
            <c:extLst>
              <c:ext xmlns:c16="http://schemas.microsoft.com/office/drawing/2014/chart" uri="{C3380CC4-5D6E-409C-BE32-E72D297353CC}">
                <c16:uniqueId val="{0000001F-FA3E-4872-B6E1-C4ABDF5766E2}"/>
              </c:ext>
            </c:extLst>
          </c:dPt>
          <c:dPt>
            <c:idx val="15"/>
            <c:invertIfNegative val="1"/>
            <c:bubble3D val="0"/>
            <c:spPr>
              <a:solidFill>
                <a:srgbClr val="AEABAB"/>
              </a:solidFill>
            </c:spPr>
            <c:extLst>
              <c:ext xmlns:c16="http://schemas.microsoft.com/office/drawing/2014/chart" uri="{C3380CC4-5D6E-409C-BE32-E72D297353CC}">
                <c16:uniqueId val="{00000021-FA3E-4872-B6E1-C4ABDF5766E2}"/>
              </c:ext>
            </c:extLst>
          </c:dPt>
          <c:dPt>
            <c:idx val="16"/>
            <c:invertIfNegative val="1"/>
            <c:bubble3D val="0"/>
            <c:spPr>
              <a:solidFill>
                <a:srgbClr val="AEABAB"/>
              </a:solidFill>
            </c:spPr>
            <c:extLst>
              <c:ext xmlns:c16="http://schemas.microsoft.com/office/drawing/2014/chart" uri="{C3380CC4-5D6E-409C-BE32-E72D297353CC}">
                <c16:uniqueId val="{00000023-FA3E-4872-B6E1-C4ABDF5766E2}"/>
              </c:ext>
            </c:extLst>
          </c:dPt>
          <c:dPt>
            <c:idx val="17"/>
            <c:invertIfNegative val="1"/>
            <c:bubble3D val="0"/>
            <c:spPr>
              <a:solidFill>
                <a:srgbClr val="AEABAB"/>
              </a:solidFill>
            </c:spPr>
            <c:extLst>
              <c:ext xmlns:c16="http://schemas.microsoft.com/office/drawing/2014/chart" uri="{C3380CC4-5D6E-409C-BE32-E72D297353CC}">
                <c16:uniqueId val="{00000025-FA3E-4872-B6E1-C4ABDF5766E2}"/>
              </c:ext>
            </c:extLst>
          </c:dPt>
          <c:dPt>
            <c:idx val="18"/>
            <c:invertIfNegative val="1"/>
            <c:bubble3D val="0"/>
            <c:spPr>
              <a:solidFill>
                <a:srgbClr val="AEABAB"/>
              </a:solidFill>
            </c:spPr>
            <c:extLst>
              <c:ext xmlns:c16="http://schemas.microsoft.com/office/drawing/2014/chart" uri="{C3380CC4-5D6E-409C-BE32-E72D297353CC}">
                <c16:uniqueId val="{00000027-FA3E-4872-B6E1-C4ABDF5766E2}"/>
              </c:ext>
            </c:extLst>
          </c:dPt>
          <c:dPt>
            <c:idx val="19"/>
            <c:invertIfNegative val="1"/>
            <c:bubble3D val="0"/>
            <c:spPr>
              <a:solidFill>
                <a:srgbClr val="AEABAB"/>
              </a:solidFill>
            </c:spPr>
            <c:extLst>
              <c:ext xmlns:c16="http://schemas.microsoft.com/office/drawing/2014/chart" uri="{C3380CC4-5D6E-409C-BE32-E72D297353CC}">
                <c16:uniqueId val="{00000029-FA3E-4872-B6E1-C4ABDF5766E2}"/>
              </c:ext>
            </c:extLst>
          </c:dPt>
          <c:dPt>
            <c:idx val="20"/>
            <c:invertIfNegative val="1"/>
            <c:bubble3D val="0"/>
            <c:spPr>
              <a:solidFill>
                <a:srgbClr val="AEABAB"/>
              </a:solidFill>
            </c:spPr>
            <c:extLst>
              <c:ext xmlns:c16="http://schemas.microsoft.com/office/drawing/2014/chart" uri="{C3380CC4-5D6E-409C-BE32-E72D297353CC}">
                <c16:uniqueId val="{0000002B-FA3E-4872-B6E1-C4ABDF5766E2}"/>
              </c:ext>
            </c:extLst>
          </c:dPt>
          <c:dPt>
            <c:idx val="21"/>
            <c:invertIfNegative val="1"/>
            <c:bubble3D val="0"/>
            <c:spPr>
              <a:solidFill>
                <a:srgbClr val="AEABAB"/>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23</c:f>
              <c:strCache>
                <c:ptCount val="22"/>
                <c:pt idx="0">
                  <c:v>CHAMPAGNE E.NICOLAS BRUT 1CT X 750ML</c:v>
                </c:pt>
                <c:pt idx="1">
                  <c:v>CHAMPAGNE E.NICOLAS ROSE 1CT X 750ML</c:v>
                </c:pt>
                <c:pt idx="2">
                  <c:v>CHAMPAGNE NICOLAS BLC/BLC BS 1CT X 750ML</c:v>
                </c:pt>
                <c:pt idx="3">
                  <c:v>CHAMPAGNE NICOLAS 1ERE CUVEE 1CT X 750ML</c:v>
                </c:pt>
                <c:pt idx="4">
                  <c:v>CHAMPAGNE NICOLAS BIO NAT 2017 1CT X 750ML</c:v>
                </c:pt>
                <c:pt idx="5">
                  <c:v>CHAMPAGNE NICOLAS BLC DE NOIRS 1CT X 750ML</c:v>
                </c:pt>
                <c:pt idx="6">
                  <c:v>MG CHAMPAGNE E.NICOLAS BRUT 1CT X 1500ML</c:v>
                </c:pt>
                <c:pt idx="7">
                  <c:v>1/2 CHAMP NICOLAS BLC/BLC BS 1CT X 375ML</c:v>
                </c:pt>
                <c:pt idx="8">
                  <c:v>1/2 CHAMP NICOLAS ROSE 1E C BS 1CT X 375ML</c:v>
                </c:pt>
                <c:pt idx="9">
                  <c:v>1/2 CHAMPAGNE NICOLAS 1ERE CUV 1CT X 375ML</c:v>
                </c:pt>
                <c:pt idx="10">
                  <c:v>CHAMPAGNE NICOLAS ROSE 1ERE CU 1CT X 750ML</c:v>
                </c:pt>
                <c:pt idx="11">
                  <c:v>MG CHAMPAGNE NICOLAS BLC/BL BS 1CT X 1500ML</c:v>
                </c:pt>
                <c:pt idx="12">
                  <c:v>CHAMPAGNE NICOLAS 1ER CRU BS 1CT X 750ML</c:v>
                </c:pt>
                <c:pt idx="13">
                  <c:v>CHAMPAGNE NICOLAS BLC/BLC 2002 1CT X 750ML</c:v>
                </c:pt>
                <c:pt idx="14">
                  <c:v>CHAMPAGNE NICOLAS 1ERE CUV ETU 1CT X 750ML</c:v>
                </c:pt>
                <c:pt idx="15">
                  <c:v>CHAMPAGNE NICOLAS ROSE 1ERE ET 1CT X 750ML</c:v>
                </c:pt>
                <c:pt idx="16">
                  <c:v>CHAMPAGNE NICOLAS BLC/BL BS ET 1CT X 750ML</c:v>
                </c:pt>
                <c:pt idx="17">
                  <c:v>MG CHAMPAGNE NICOLAS 1ERE CUVE 1CT X 1500ML</c:v>
                </c:pt>
                <c:pt idx="18">
                  <c:v>CHAMPAGNE NICOLAS ROSE 1E C BS 1CT X 750ML</c:v>
                </c:pt>
                <c:pt idx="19">
                  <c:v>MG CHAMPAGNE NICOLAS 1E CRU BS 1CT X 1500ML</c:v>
                </c:pt>
                <c:pt idx="20">
                  <c:v>CHAMPAGNE NICOLAS 1ER CRU ETUI 1CT X 750ML</c:v>
                </c:pt>
                <c:pt idx="21">
                  <c:v>1/2 CHAMPAGNE NICOLAS 1E C BS 1CT X 375ML</c:v>
                </c:pt>
              </c:strCache>
            </c:strRef>
          </c:cat>
          <c:val>
            <c:numRef>
              <c:f>Sheet1!$C$2:$C$23</c:f>
              <c:numCache>
                <c:formatCode>General</c:formatCode>
                <c:ptCount val="22"/>
                <c:pt idx="0">
                  <c:v>0.69585692956319833</c:v>
                </c:pt>
                <c:pt idx="1">
                  <c:v>0.7919914231404197</c:v>
                </c:pt>
                <c:pt idx="2">
                  <c:v>0.84642554115116708</c:v>
                </c:pt>
                <c:pt idx="3">
                  <c:v>0.86667061307444893</c:v>
                </c:pt>
                <c:pt idx="4">
                  <c:v>0.88231154258502864</c:v>
                </c:pt>
                <c:pt idx="5">
                  <c:v>0.89764991416563078</c:v>
                </c:pt>
                <c:pt idx="6">
                  <c:v>0.91223189092128898</c:v>
                </c:pt>
                <c:pt idx="7">
                  <c:v>0.92501167478968949</c:v>
                </c:pt>
                <c:pt idx="8">
                  <c:v>0.93767964377092428</c:v>
                </c:pt>
                <c:pt idx="9">
                  <c:v>0.94929523734354149</c:v>
                </c:pt>
                <c:pt idx="10">
                  <c:v>0.95857587297828828</c:v>
                </c:pt>
                <c:pt idx="11">
                  <c:v>0.96740267171806871</c:v>
                </c:pt>
                <c:pt idx="12">
                  <c:v>0.97494031058229258</c:v>
                </c:pt>
                <c:pt idx="13">
                  <c:v>0.98172813196787634</c:v>
                </c:pt>
                <c:pt idx="14">
                  <c:v>0.98731229897985373</c:v>
                </c:pt>
                <c:pt idx="15">
                  <c:v>0.99187039996842885</c:v>
                </c:pt>
                <c:pt idx="16">
                  <c:v>0.99519853719818219</c:v>
                </c:pt>
                <c:pt idx="17">
                  <c:v>0.99764531002321821</c:v>
                </c:pt>
                <c:pt idx="18">
                  <c:v>0.99872399481705132</c:v>
                </c:pt>
                <c:pt idx="19">
                  <c:v>0.99922387313614469</c:v>
                </c:pt>
                <c:pt idx="20">
                  <c:v>0.99970401941632647</c:v>
                </c:pt>
                <c:pt idx="21">
                  <c:v>1.000000000000000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23</c:f>
              <c:strCache>
                <c:ptCount val="22"/>
                <c:pt idx="0">
                  <c:v>CHAMPAGNE E.NICOLAS BRUT 1CT X 750ML</c:v>
                </c:pt>
                <c:pt idx="1">
                  <c:v>CHAMPAGNE E.NICOLAS ROSE 1CT X 750ML</c:v>
                </c:pt>
                <c:pt idx="2">
                  <c:v>CHAMPAGNE NICOLAS BLC/BLC BS 1CT X 750ML</c:v>
                </c:pt>
                <c:pt idx="3">
                  <c:v>CHAMPAGNE NICOLAS 1ERE CUVEE 1CT X 750ML</c:v>
                </c:pt>
                <c:pt idx="4">
                  <c:v>CHAMPAGNE NICOLAS BIO NAT 2017 1CT X 750ML</c:v>
                </c:pt>
                <c:pt idx="5">
                  <c:v>CHAMPAGNE NICOLAS BLC DE NOIRS 1CT X 750ML</c:v>
                </c:pt>
                <c:pt idx="6">
                  <c:v>MG CHAMPAGNE E.NICOLAS BRUT 1CT X 1500ML</c:v>
                </c:pt>
                <c:pt idx="7">
                  <c:v>1/2 CHAMP NICOLAS BLC/BLC BS 1CT X 375ML</c:v>
                </c:pt>
                <c:pt idx="8">
                  <c:v>1/2 CHAMP NICOLAS ROSE 1E C BS 1CT X 375ML</c:v>
                </c:pt>
                <c:pt idx="9">
                  <c:v>1/2 CHAMPAGNE NICOLAS 1ERE CUV 1CT X 375ML</c:v>
                </c:pt>
                <c:pt idx="10">
                  <c:v>CHAMPAGNE NICOLAS ROSE 1ERE CU 1CT X 750ML</c:v>
                </c:pt>
                <c:pt idx="11">
                  <c:v>MG CHAMPAGNE NICOLAS BLC/BL BS 1CT X 1500ML</c:v>
                </c:pt>
                <c:pt idx="12">
                  <c:v>CHAMPAGNE NICOLAS 1ER CRU BS 1CT X 750ML</c:v>
                </c:pt>
                <c:pt idx="13">
                  <c:v>CHAMPAGNE NICOLAS BLC/BLC 2002 1CT X 750ML</c:v>
                </c:pt>
                <c:pt idx="14">
                  <c:v>CHAMPAGNE NICOLAS 1ERE CUV ETU 1CT X 750ML</c:v>
                </c:pt>
                <c:pt idx="15">
                  <c:v>CHAMPAGNE NICOLAS ROSE 1ERE ET 1CT X 750ML</c:v>
                </c:pt>
                <c:pt idx="16">
                  <c:v>CHAMPAGNE NICOLAS BLC/BL BS ET 1CT X 750ML</c:v>
                </c:pt>
                <c:pt idx="17">
                  <c:v>MG CHAMPAGNE NICOLAS 1ERE CUVE 1CT X 1500ML</c:v>
                </c:pt>
                <c:pt idx="18">
                  <c:v>CHAMPAGNE NICOLAS ROSE 1E C BS 1CT X 750ML</c:v>
                </c:pt>
                <c:pt idx="19">
                  <c:v>MG CHAMPAGNE NICOLAS 1E CRU BS 1CT X 1500ML</c:v>
                </c:pt>
                <c:pt idx="20">
                  <c:v>CHAMPAGNE NICOLAS 1ER CRU ETUI 1CT X 750ML</c:v>
                </c:pt>
                <c:pt idx="21">
                  <c:v>1/2 CHAMPAGNE NICOLAS 1E C BS 1CT X 375ML</c:v>
                </c:pt>
              </c:strCache>
            </c:strRef>
          </c:cat>
          <c:val>
            <c:numRef>
              <c:f>Sheet1!$D$2:$D$23</c:f>
              <c:numCache>
                <c:formatCode>General</c:formatCode>
                <c:ptCount val="22"/>
                <c:pt idx="0">
                  <c:v>1057.96</c:v>
                </c:pt>
                <c:pt idx="1">
                  <c:v>197.51351351351352</c:v>
                </c:pt>
                <c:pt idx="2">
                  <c:v>192.46511627906978</c:v>
                </c:pt>
                <c:pt idx="3">
                  <c:v>54.000000000000007</c:v>
                </c:pt>
                <c:pt idx="4">
                  <c:v>88.074074074074076</c:v>
                </c:pt>
                <c:pt idx="5">
                  <c:v>55.523809523809526</c:v>
                </c:pt>
                <c:pt idx="6">
                  <c:v>69.28125</c:v>
                </c:pt>
                <c:pt idx="7">
                  <c:v>58.878787878787875</c:v>
                </c:pt>
                <c:pt idx="8">
                  <c:v>56.647058823529413</c:v>
                </c:pt>
                <c:pt idx="9">
                  <c:v>35.32</c:v>
                </c:pt>
                <c:pt idx="10">
                  <c:v>56.44</c:v>
                </c:pt>
                <c:pt idx="11">
                  <c:v>39.470588235294116</c:v>
                </c:pt>
                <c:pt idx="12">
                  <c:v>27.951219512195124</c:v>
                </c:pt>
                <c:pt idx="13">
                  <c:v>39.692307692307693</c:v>
                </c:pt>
                <c:pt idx="14">
                  <c:v>30.321428571428566</c:v>
                </c:pt>
                <c:pt idx="15">
                  <c:v>30.130434782608695</c:v>
                </c:pt>
                <c:pt idx="16">
                  <c:v>38.92307692307692</c:v>
                </c:pt>
                <c:pt idx="17">
                  <c:v>24.8</c:v>
                </c:pt>
                <c:pt idx="18">
                  <c:v>54.666666666666664</c:v>
                </c:pt>
                <c:pt idx="19">
                  <c:v>38</c:v>
                </c:pt>
                <c:pt idx="20">
                  <c:v>9.125</c:v>
                </c:pt>
                <c:pt idx="21">
                  <c:v>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23</c:f>
              <c:strCache>
                <c:ptCount val="22"/>
                <c:pt idx="0">
                  <c:v>CHAMPAGNE E.NICOLAS BRUT 1CT X 750ML</c:v>
                </c:pt>
                <c:pt idx="1">
                  <c:v>CHAMPAGNE NICOLAS BLC/BLC BS 1CT X 750ML</c:v>
                </c:pt>
                <c:pt idx="2">
                  <c:v>CHAMPAGNE E.NICOLAS ROSE 1CT X 750ML</c:v>
                </c:pt>
                <c:pt idx="3">
                  <c:v>CHAMPAGNE NICOLAS 1ERE CUVEE 1CT X 750ML</c:v>
                </c:pt>
                <c:pt idx="4">
                  <c:v>MG CHAMPAGNE E.NICOLAS BRUT 1CT X 1500ML</c:v>
                </c:pt>
                <c:pt idx="5">
                  <c:v>1/2 CHAMPAGNE NICOLAS 1ERE CUV 1CT X 375ML</c:v>
                </c:pt>
                <c:pt idx="6">
                  <c:v>MG CHAMPAGNE NICOLAS BLC/BL BS 1CT X 1500ML</c:v>
                </c:pt>
                <c:pt idx="7">
                  <c:v>1/2 CHAMP NICOLAS BLC/BLC BS 1CT X 375ML</c:v>
                </c:pt>
                <c:pt idx="8">
                  <c:v>CHAMPAGNE NICOLAS ROSE 1ERE CU 1CT X 750ML</c:v>
                </c:pt>
                <c:pt idx="9">
                  <c:v>CHAMPAGNE NICOLAS BIO NAT 2017 1CT X 750ML</c:v>
                </c:pt>
                <c:pt idx="10">
                  <c:v>1/2 CHAMP NICOLAS ROSE 1E C BS 1CT X 375ML</c:v>
                </c:pt>
                <c:pt idx="11">
                  <c:v>CHAMPAGNE NICOLAS BLC DE NOIRS 1CT X 750ML</c:v>
                </c:pt>
                <c:pt idx="12">
                  <c:v>MG CHAMPAGNE NICOLAS 1ERE CUVE 1CT X 1500ML</c:v>
                </c:pt>
                <c:pt idx="13">
                  <c:v>CHAMPAGNE NICOLAS BLC/BLC 2002 1CT X 750ML</c:v>
                </c:pt>
                <c:pt idx="14">
                  <c:v>CHAMPAGNE NICOLAS ROSE 1ERE ET 1CT X 750ML</c:v>
                </c:pt>
                <c:pt idx="15">
                  <c:v>CHAMPAGNE NICOLAS 1ER CRU BS 1CT X 750ML</c:v>
                </c:pt>
                <c:pt idx="16">
                  <c:v>CHAMPAGNE NICOLAS 1ER CRU ETUI 1CT X 750ML</c:v>
                </c:pt>
                <c:pt idx="17">
                  <c:v>MG CHAMPAGNE NICOLAS 1E CRU BS 1CT X 1500ML</c:v>
                </c:pt>
                <c:pt idx="18">
                  <c:v>CHAMPAGNE NICOLAS ROSE 1E C BS 1CT X 750ML</c:v>
                </c:pt>
                <c:pt idx="19">
                  <c:v>CHAMPAGNE NICOLAS 1ERE CUV ETU 1CT X 750ML</c:v>
                </c:pt>
                <c:pt idx="20">
                  <c:v>CHAMPAGNE NICOLAS BLC/BL BS ET 1CT X 750ML</c:v>
                </c:pt>
                <c:pt idx="21">
                  <c:v>1/2 CHAMPAGNE NICOLAS 1E C BS 1CT X 375ML</c:v>
                </c:pt>
              </c:strCache>
            </c:strRef>
          </c:cat>
          <c:val>
            <c:numRef>
              <c:f>Sheet1!$B$2:$B$23</c:f>
              <c:numCache>
                <c:formatCode>General</c:formatCode>
                <c:ptCount val="22"/>
                <c:pt idx="0">
                  <c:v>1</c:v>
                </c:pt>
                <c:pt idx="1">
                  <c:v>0.7</c:v>
                </c:pt>
                <c:pt idx="2">
                  <c:v>0.73</c:v>
                </c:pt>
                <c:pt idx="3">
                  <c:v>0.9</c:v>
                </c:pt>
                <c:pt idx="4">
                  <c:v>0.34</c:v>
                </c:pt>
                <c:pt idx="5">
                  <c:v>0.43</c:v>
                </c:pt>
                <c:pt idx="6">
                  <c:v>0.23</c:v>
                </c:pt>
                <c:pt idx="7">
                  <c:v>0.35</c:v>
                </c:pt>
                <c:pt idx="8">
                  <c:v>0.42</c:v>
                </c:pt>
                <c:pt idx="9">
                  <c:v>0.28000000000000003</c:v>
                </c:pt>
                <c:pt idx="10">
                  <c:v>0.42</c:v>
                </c:pt>
                <c:pt idx="11">
                  <c:v>0.25</c:v>
                </c:pt>
                <c:pt idx="12">
                  <c:v>0.24</c:v>
                </c:pt>
                <c:pt idx="13">
                  <c:v>7.0000000000000007E-2</c:v>
                </c:pt>
                <c:pt idx="14">
                  <c:v>0.14000000000000001</c:v>
                </c:pt>
                <c:pt idx="15">
                  <c:v>0.31</c:v>
                </c:pt>
                <c:pt idx="16">
                  <c:v>0.21</c:v>
                </c:pt>
                <c:pt idx="17">
                  <c:v>7.0000000000000007E-2</c:v>
                </c:pt>
                <c:pt idx="18">
                  <c:v>7.0000000000000007E-2</c:v>
                </c:pt>
                <c:pt idx="19">
                  <c:v>7.0000000000000007E-2</c:v>
                </c:pt>
                <c:pt idx="20">
                  <c:v>0.02</c:v>
                </c:pt>
                <c:pt idx="21">
                  <c:v>0.02</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7ECAC4"/>
              </a:solidFill>
            </c:spPr>
            <c:extLst>
              <c:ext xmlns:c16="http://schemas.microsoft.com/office/drawing/2014/chart" uri="{C3380CC4-5D6E-409C-BE32-E72D297353CC}">
                <c16:uniqueId val="{00000006-E902-46E2-9A54-39A26B3DFDC1}"/>
              </c:ext>
            </c:extLst>
          </c:dPt>
          <c:dPt>
            <c:idx val="3"/>
            <c:invertIfNegative val="0"/>
            <c:bubble3D val="0"/>
            <c:spPr>
              <a:solidFill>
                <a:srgbClr val="7ECAC4"/>
              </a:solidFill>
            </c:spPr>
            <c:extLst>
              <c:ext xmlns:c16="http://schemas.microsoft.com/office/drawing/2014/chart" uri="{C3380CC4-5D6E-409C-BE32-E72D297353CC}">
                <c16:uniqueId val="{00000007-E902-46E2-9A54-39A26B3DFDC1}"/>
              </c:ext>
            </c:extLst>
          </c:dPt>
          <c:dPt>
            <c:idx val="4"/>
            <c:invertIfNegative val="1"/>
            <c:bubble3D val="0"/>
            <c:spPr>
              <a:solidFill>
                <a:srgbClr val="7ECAC4"/>
              </a:solidFill>
            </c:spPr>
            <c:extLst>
              <c:ext xmlns:c16="http://schemas.microsoft.com/office/drawing/2014/chart" uri="{C3380CC4-5D6E-409C-BE32-E72D297353CC}">
                <c16:uniqueId val="{0000000B-FA3E-4872-B6E1-C4ABDF5766E2}"/>
              </c:ext>
            </c:extLst>
          </c:dPt>
          <c:dPt>
            <c:idx val="5"/>
            <c:invertIfNegative val="1"/>
            <c:bubble3D val="0"/>
            <c:spPr>
              <a:solidFill>
                <a:srgbClr val="7ECAC4"/>
              </a:solidFill>
            </c:spPr>
            <c:extLst>
              <c:ext xmlns:c16="http://schemas.microsoft.com/office/drawing/2014/chart" uri="{C3380CC4-5D6E-409C-BE32-E72D297353CC}">
                <c16:uniqueId val="{0000000D-FA3E-4872-B6E1-C4ABDF5766E2}"/>
              </c:ext>
            </c:extLst>
          </c:dPt>
          <c:dPt>
            <c:idx val="6"/>
            <c:invertIfNegative val="1"/>
            <c:bubble3D val="0"/>
            <c:spPr>
              <a:solidFill>
                <a:srgbClr val="7ECAC4"/>
              </a:solidFill>
            </c:spPr>
            <c:extLst>
              <c:ext xmlns:c16="http://schemas.microsoft.com/office/drawing/2014/chart" uri="{C3380CC4-5D6E-409C-BE32-E72D297353CC}">
                <c16:uniqueId val="{0000000F-FA3E-4872-B6E1-C4ABDF5766E2}"/>
              </c:ext>
            </c:extLst>
          </c:dPt>
          <c:dPt>
            <c:idx val="7"/>
            <c:invertIfNegative val="1"/>
            <c:bubble3D val="0"/>
            <c:spPr>
              <a:solidFill>
                <a:srgbClr val="7ECAC4"/>
              </a:solidFill>
            </c:spPr>
            <c:extLst>
              <c:ext xmlns:c16="http://schemas.microsoft.com/office/drawing/2014/chart" uri="{C3380CC4-5D6E-409C-BE32-E72D297353CC}">
                <c16:uniqueId val="{00000011-FA3E-4872-B6E1-C4ABDF5766E2}"/>
              </c:ext>
            </c:extLst>
          </c:dPt>
          <c:dPt>
            <c:idx val="8"/>
            <c:invertIfNegative val="1"/>
            <c:bubble3D val="0"/>
            <c:spPr>
              <a:solidFill>
                <a:srgbClr val="AEABAB"/>
              </a:solidFill>
            </c:spPr>
            <c:extLst>
              <c:ext xmlns:c16="http://schemas.microsoft.com/office/drawing/2014/chart" uri="{C3380CC4-5D6E-409C-BE32-E72D297353CC}">
                <c16:uniqueId val="{00000013-FA3E-4872-B6E1-C4ABDF5766E2}"/>
              </c:ext>
            </c:extLst>
          </c:dPt>
          <c:dPt>
            <c:idx val="9"/>
            <c:invertIfNegative val="1"/>
            <c:bubble3D val="0"/>
            <c:spPr>
              <a:solidFill>
                <a:srgbClr val="AEABAB"/>
              </a:solidFill>
            </c:spPr>
            <c:extLst>
              <c:ext xmlns:c16="http://schemas.microsoft.com/office/drawing/2014/chart" uri="{C3380CC4-5D6E-409C-BE32-E72D297353CC}">
                <c16:uniqueId val="{00000015-FA3E-4872-B6E1-C4ABDF5766E2}"/>
              </c:ext>
            </c:extLst>
          </c:dPt>
          <c:dPt>
            <c:idx val="10"/>
            <c:invertIfNegative val="1"/>
            <c:bubble3D val="0"/>
            <c:spPr>
              <a:solidFill>
                <a:srgbClr val="AEABAB"/>
              </a:solidFill>
            </c:spPr>
            <c:extLst>
              <c:ext xmlns:c16="http://schemas.microsoft.com/office/drawing/2014/chart" uri="{C3380CC4-5D6E-409C-BE32-E72D297353CC}">
                <c16:uniqueId val="{00000017-FA3E-4872-B6E1-C4ABDF5766E2}"/>
              </c:ext>
            </c:extLst>
          </c:dPt>
          <c:dPt>
            <c:idx val="11"/>
            <c:invertIfNegative val="1"/>
            <c:bubble3D val="0"/>
            <c:spPr>
              <a:solidFill>
                <a:srgbClr val="AEABAB"/>
              </a:solidFill>
            </c:spPr>
            <c:extLst>
              <c:ext xmlns:c16="http://schemas.microsoft.com/office/drawing/2014/chart" uri="{C3380CC4-5D6E-409C-BE32-E72D297353CC}">
                <c16:uniqueId val="{00000019-FA3E-4872-B6E1-C4ABDF5766E2}"/>
              </c:ext>
            </c:extLst>
          </c:dPt>
          <c:dPt>
            <c:idx val="12"/>
            <c:invertIfNegative val="1"/>
            <c:bubble3D val="0"/>
            <c:spPr>
              <a:solidFill>
                <a:srgbClr val="AEABAB"/>
              </a:solidFill>
            </c:spPr>
            <c:extLst>
              <c:ext xmlns:c16="http://schemas.microsoft.com/office/drawing/2014/chart" uri="{C3380CC4-5D6E-409C-BE32-E72D297353CC}">
                <c16:uniqueId val="{0000001B-FA3E-4872-B6E1-C4ABDF5766E2}"/>
              </c:ext>
            </c:extLst>
          </c:dPt>
          <c:dPt>
            <c:idx val="13"/>
            <c:invertIfNegative val="1"/>
            <c:bubble3D val="0"/>
            <c:spPr>
              <a:solidFill>
                <a:srgbClr val="AEABAB"/>
              </a:solidFill>
            </c:spPr>
            <c:extLst>
              <c:ext xmlns:c16="http://schemas.microsoft.com/office/drawing/2014/chart" uri="{C3380CC4-5D6E-409C-BE32-E72D297353CC}">
                <c16:uniqueId val="{0000001D-FA3E-4872-B6E1-C4ABDF5766E2}"/>
              </c:ext>
            </c:extLst>
          </c:dPt>
          <c:dPt>
            <c:idx val="14"/>
            <c:invertIfNegative val="1"/>
            <c:bubble3D val="0"/>
            <c:spPr>
              <a:solidFill>
                <a:srgbClr val="AEABAB"/>
              </a:solidFill>
            </c:spPr>
            <c:extLst>
              <c:ext xmlns:c16="http://schemas.microsoft.com/office/drawing/2014/chart" uri="{C3380CC4-5D6E-409C-BE32-E72D297353CC}">
                <c16:uniqueId val="{0000001F-FA3E-4872-B6E1-C4ABDF5766E2}"/>
              </c:ext>
            </c:extLst>
          </c:dPt>
          <c:dPt>
            <c:idx val="15"/>
            <c:invertIfNegative val="1"/>
            <c:bubble3D val="0"/>
            <c:spPr>
              <a:solidFill>
                <a:srgbClr val="AEABAB"/>
              </a:solidFill>
            </c:spPr>
            <c:extLst>
              <c:ext xmlns:c16="http://schemas.microsoft.com/office/drawing/2014/chart" uri="{C3380CC4-5D6E-409C-BE32-E72D297353CC}">
                <c16:uniqueId val="{00000021-FA3E-4872-B6E1-C4ABDF5766E2}"/>
              </c:ext>
            </c:extLst>
          </c:dPt>
          <c:dPt>
            <c:idx val="16"/>
            <c:invertIfNegative val="1"/>
            <c:bubble3D val="0"/>
            <c:spPr>
              <a:solidFill>
                <a:srgbClr val="AEABAB"/>
              </a:solidFill>
            </c:spPr>
            <c:extLst>
              <c:ext xmlns:c16="http://schemas.microsoft.com/office/drawing/2014/chart" uri="{C3380CC4-5D6E-409C-BE32-E72D297353CC}">
                <c16:uniqueId val="{00000023-FA3E-4872-B6E1-C4ABDF5766E2}"/>
              </c:ext>
            </c:extLst>
          </c:dPt>
          <c:dPt>
            <c:idx val="17"/>
            <c:invertIfNegative val="1"/>
            <c:bubble3D val="0"/>
            <c:spPr>
              <a:solidFill>
                <a:srgbClr val="AEABAB"/>
              </a:solidFill>
            </c:spPr>
            <c:extLst>
              <c:ext xmlns:c16="http://schemas.microsoft.com/office/drawing/2014/chart" uri="{C3380CC4-5D6E-409C-BE32-E72D297353CC}">
                <c16:uniqueId val="{00000025-FA3E-4872-B6E1-C4ABDF5766E2}"/>
              </c:ext>
            </c:extLst>
          </c:dPt>
          <c:dPt>
            <c:idx val="18"/>
            <c:invertIfNegative val="1"/>
            <c:bubble3D val="0"/>
            <c:spPr>
              <a:solidFill>
                <a:srgbClr val="AEABAB"/>
              </a:solidFill>
            </c:spPr>
            <c:extLst>
              <c:ext xmlns:c16="http://schemas.microsoft.com/office/drawing/2014/chart" uri="{C3380CC4-5D6E-409C-BE32-E72D297353CC}">
                <c16:uniqueId val="{00000027-FA3E-4872-B6E1-C4ABDF5766E2}"/>
              </c:ext>
            </c:extLst>
          </c:dPt>
          <c:dPt>
            <c:idx val="19"/>
            <c:invertIfNegative val="1"/>
            <c:bubble3D val="0"/>
            <c:spPr>
              <a:solidFill>
                <a:srgbClr val="AEABAB"/>
              </a:solidFill>
            </c:spPr>
            <c:extLst>
              <c:ext xmlns:c16="http://schemas.microsoft.com/office/drawing/2014/chart" uri="{C3380CC4-5D6E-409C-BE32-E72D297353CC}">
                <c16:uniqueId val="{00000029-FA3E-4872-B6E1-C4ABDF5766E2}"/>
              </c:ext>
            </c:extLst>
          </c:dPt>
          <c:dPt>
            <c:idx val="20"/>
            <c:invertIfNegative val="1"/>
            <c:bubble3D val="0"/>
            <c:spPr>
              <a:solidFill>
                <a:srgbClr val="AEABAB"/>
              </a:solidFill>
            </c:spPr>
            <c:extLst>
              <c:ext xmlns:c16="http://schemas.microsoft.com/office/drawing/2014/chart" uri="{C3380CC4-5D6E-409C-BE32-E72D297353CC}">
                <c16:uniqueId val="{0000002B-FA3E-4872-B6E1-C4ABDF5766E2}"/>
              </c:ext>
            </c:extLst>
          </c:dPt>
          <c:dPt>
            <c:idx val="21"/>
            <c:invertIfNegative val="1"/>
            <c:bubble3D val="0"/>
            <c:spPr>
              <a:solidFill>
                <a:srgbClr val="AEABAB"/>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23</c:f>
              <c:strCache>
                <c:ptCount val="22"/>
                <c:pt idx="0">
                  <c:v>CHAMPAGNE E.NICOLAS BRUT 1CT X 750ML</c:v>
                </c:pt>
                <c:pt idx="1">
                  <c:v>CHAMPAGNE NICOLAS BLC/BLC BS 1CT X 750ML</c:v>
                </c:pt>
                <c:pt idx="2">
                  <c:v>CHAMPAGNE E.NICOLAS ROSE 1CT X 750ML</c:v>
                </c:pt>
                <c:pt idx="3">
                  <c:v>CHAMPAGNE NICOLAS 1ERE CUVEE 1CT X 750ML</c:v>
                </c:pt>
                <c:pt idx="4">
                  <c:v>MG CHAMPAGNE E.NICOLAS BRUT 1CT X 1500ML</c:v>
                </c:pt>
                <c:pt idx="5">
                  <c:v>1/2 CHAMPAGNE NICOLAS 1ERE CUV 1CT X 375ML</c:v>
                </c:pt>
                <c:pt idx="6">
                  <c:v>MG CHAMPAGNE NICOLAS BLC/BL BS 1CT X 1500ML</c:v>
                </c:pt>
                <c:pt idx="7">
                  <c:v>1/2 CHAMP NICOLAS BLC/BLC BS 1CT X 375ML</c:v>
                </c:pt>
                <c:pt idx="8">
                  <c:v>CHAMPAGNE NICOLAS ROSE 1ERE CU 1CT X 750ML</c:v>
                </c:pt>
                <c:pt idx="9">
                  <c:v>CHAMPAGNE NICOLAS BIO NAT 2017 1CT X 750ML</c:v>
                </c:pt>
                <c:pt idx="10">
                  <c:v>1/2 CHAMP NICOLAS ROSE 1E C BS 1CT X 375ML</c:v>
                </c:pt>
                <c:pt idx="11">
                  <c:v>CHAMPAGNE NICOLAS BLC DE NOIRS 1CT X 750ML</c:v>
                </c:pt>
                <c:pt idx="12">
                  <c:v>MG CHAMPAGNE NICOLAS 1ERE CUVE 1CT X 1500ML</c:v>
                </c:pt>
                <c:pt idx="13">
                  <c:v>CHAMPAGNE NICOLAS BLC/BLC 2002 1CT X 750ML</c:v>
                </c:pt>
                <c:pt idx="14">
                  <c:v>CHAMPAGNE NICOLAS ROSE 1ERE ET 1CT X 750ML</c:v>
                </c:pt>
                <c:pt idx="15">
                  <c:v>CHAMPAGNE NICOLAS 1ER CRU BS 1CT X 750ML</c:v>
                </c:pt>
                <c:pt idx="16">
                  <c:v>CHAMPAGNE NICOLAS 1ER CRU ETUI 1CT X 750ML</c:v>
                </c:pt>
                <c:pt idx="17">
                  <c:v>MG CHAMPAGNE NICOLAS 1E CRU BS 1CT X 1500ML</c:v>
                </c:pt>
                <c:pt idx="18">
                  <c:v>CHAMPAGNE NICOLAS ROSE 1E C BS 1CT X 750ML</c:v>
                </c:pt>
                <c:pt idx="19">
                  <c:v>CHAMPAGNE NICOLAS 1ERE CUV ETU 1CT X 750ML</c:v>
                </c:pt>
                <c:pt idx="20">
                  <c:v>CHAMPAGNE NICOLAS BLC/BL BS ET 1CT X 750ML</c:v>
                </c:pt>
                <c:pt idx="21">
                  <c:v>1/2 CHAMPAGNE NICOLAS 1E C BS 1CT X 375ML</c:v>
                </c:pt>
              </c:strCache>
            </c:strRef>
          </c:cat>
          <c:val>
            <c:numRef>
              <c:f>Sheet1!$C$2:$C$23</c:f>
              <c:numCache>
                <c:formatCode>General</c:formatCode>
                <c:ptCount val="22"/>
                <c:pt idx="0">
                  <c:v>0.71508220675081557</c:v>
                </c:pt>
                <c:pt idx="1">
                  <c:v>0.78900028089100549</c:v>
                </c:pt>
                <c:pt idx="2">
                  <c:v>0.83893737087385811</c:v>
                </c:pt>
                <c:pt idx="3">
                  <c:v>0.8855509256759666</c:v>
                </c:pt>
                <c:pt idx="4">
                  <c:v>0.90377808653766645</c:v>
                </c:pt>
                <c:pt idx="5">
                  <c:v>0.91882386630408264</c:v>
                </c:pt>
                <c:pt idx="6">
                  <c:v>0.92979365104315814</c:v>
                </c:pt>
                <c:pt idx="7">
                  <c:v>0.94040736713547901</c:v>
                </c:pt>
                <c:pt idx="8">
                  <c:v>0.95086389361406942</c:v>
                </c:pt>
                <c:pt idx="9">
                  <c:v>0.9604873151398885</c:v>
                </c:pt>
                <c:pt idx="10">
                  <c:v>0.96982984566030228</c:v>
                </c:pt>
                <c:pt idx="11">
                  <c:v>0.97719725451253792</c:v>
                </c:pt>
                <c:pt idx="12">
                  <c:v>0.9832538386728823</c:v>
                </c:pt>
                <c:pt idx="13">
                  <c:v>0.98758407081460442</c:v>
                </c:pt>
                <c:pt idx="14">
                  <c:v>0.99119396446557928</c:v>
                </c:pt>
                <c:pt idx="15">
                  <c:v>0.9943418573388072</c:v>
                </c:pt>
                <c:pt idx="16">
                  <c:v>0.99731957536934435</c:v>
                </c:pt>
                <c:pt idx="17">
                  <c:v>0.99825246155517933</c:v>
                </c:pt>
                <c:pt idx="18">
                  <c:v>0.99911905473000628</c:v>
                </c:pt>
                <c:pt idx="19">
                  <c:v>0.99987424830901561</c:v>
                </c:pt>
                <c:pt idx="20">
                  <c:v>0.99995420998208717</c:v>
                </c:pt>
                <c:pt idx="21">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23</c:f>
              <c:strCache>
                <c:ptCount val="22"/>
                <c:pt idx="0">
                  <c:v>CHAMPAGNE E.NICOLAS BRUT 1CT X 750ML</c:v>
                </c:pt>
                <c:pt idx="1">
                  <c:v>CHAMPAGNE NICOLAS BLC/BLC BS 1CT X 750ML</c:v>
                </c:pt>
                <c:pt idx="2">
                  <c:v>CHAMPAGNE E.NICOLAS ROSE 1CT X 750ML</c:v>
                </c:pt>
                <c:pt idx="3">
                  <c:v>CHAMPAGNE NICOLAS 1ERE CUVEE 1CT X 750ML</c:v>
                </c:pt>
                <c:pt idx="4">
                  <c:v>MG CHAMPAGNE E.NICOLAS BRUT 1CT X 1500ML</c:v>
                </c:pt>
                <c:pt idx="5">
                  <c:v>1/2 CHAMPAGNE NICOLAS 1ERE CUV 1CT X 375ML</c:v>
                </c:pt>
                <c:pt idx="6">
                  <c:v>MG CHAMPAGNE NICOLAS BLC/BL BS 1CT X 1500ML</c:v>
                </c:pt>
                <c:pt idx="7">
                  <c:v>1/2 CHAMP NICOLAS BLC/BLC BS 1CT X 375ML</c:v>
                </c:pt>
                <c:pt idx="8">
                  <c:v>CHAMPAGNE NICOLAS ROSE 1ERE CU 1CT X 750ML</c:v>
                </c:pt>
                <c:pt idx="9">
                  <c:v>CHAMPAGNE NICOLAS BIO NAT 2017 1CT X 750ML</c:v>
                </c:pt>
                <c:pt idx="10">
                  <c:v>1/2 CHAMP NICOLAS ROSE 1E C BS 1CT X 375ML</c:v>
                </c:pt>
                <c:pt idx="11">
                  <c:v>CHAMPAGNE NICOLAS BLC DE NOIRS 1CT X 750ML</c:v>
                </c:pt>
                <c:pt idx="12">
                  <c:v>MG CHAMPAGNE NICOLAS 1ERE CUVE 1CT X 1500ML</c:v>
                </c:pt>
                <c:pt idx="13">
                  <c:v>CHAMPAGNE NICOLAS BLC/BLC 2002 1CT X 750ML</c:v>
                </c:pt>
                <c:pt idx="14">
                  <c:v>CHAMPAGNE NICOLAS ROSE 1ERE ET 1CT X 750ML</c:v>
                </c:pt>
                <c:pt idx="15">
                  <c:v>CHAMPAGNE NICOLAS 1ER CRU BS 1CT X 750ML</c:v>
                </c:pt>
                <c:pt idx="16">
                  <c:v>CHAMPAGNE NICOLAS 1ER CRU ETUI 1CT X 750ML</c:v>
                </c:pt>
                <c:pt idx="17">
                  <c:v>MG CHAMPAGNE NICOLAS 1E CRU BS 1CT X 1500ML</c:v>
                </c:pt>
                <c:pt idx="18">
                  <c:v>CHAMPAGNE NICOLAS ROSE 1E C BS 1CT X 750ML</c:v>
                </c:pt>
                <c:pt idx="19">
                  <c:v>CHAMPAGNE NICOLAS 1ERE CUV ETU 1CT X 750ML</c:v>
                </c:pt>
                <c:pt idx="20">
                  <c:v>CHAMPAGNE NICOLAS BLC/BL BS ET 1CT X 750ML</c:v>
                </c:pt>
                <c:pt idx="21">
                  <c:v>1/2 CHAMPAGNE NICOLAS 1E C BS 1CT X 375ML</c:v>
                </c:pt>
              </c:strCache>
            </c:strRef>
          </c:cat>
          <c:val>
            <c:numRef>
              <c:f>Sheet1!$D$2:$D$23</c:f>
              <c:numCache>
                <c:formatCode>General</c:formatCode>
                <c:ptCount val="22"/>
                <c:pt idx="0">
                  <c:v>10463.09</c:v>
                </c:pt>
                <c:pt idx="1">
                  <c:v>1545.1</c:v>
                </c:pt>
                <c:pt idx="2">
                  <c:v>1000.931506849315</c:v>
                </c:pt>
                <c:pt idx="3">
                  <c:v>757.83333333333337</c:v>
                </c:pt>
                <c:pt idx="4">
                  <c:v>784.41176470588232</c:v>
                </c:pt>
                <c:pt idx="5">
                  <c:v>511.97674418604652</c:v>
                </c:pt>
                <c:pt idx="6">
                  <c:v>697.86956521739125</c:v>
                </c:pt>
                <c:pt idx="7">
                  <c:v>443.71428571428572</c:v>
                </c:pt>
                <c:pt idx="8">
                  <c:v>364.28571428571428</c:v>
                </c:pt>
                <c:pt idx="9">
                  <c:v>502.89285714285705</c:v>
                </c:pt>
                <c:pt idx="10">
                  <c:v>325.47619047619048</c:v>
                </c:pt>
                <c:pt idx="11">
                  <c:v>431.2</c:v>
                </c:pt>
                <c:pt idx="12">
                  <c:v>369.25</c:v>
                </c:pt>
                <c:pt idx="13">
                  <c:v>905.142857142857</c:v>
                </c:pt>
                <c:pt idx="14">
                  <c:v>377.28571428571422</c:v>
                </c:pt>
                <c:pt idx="15">
                  <c:v>148.58064516129033</c:v>
                </c:pt>
                <c:pt idx="16">
                  <c:v>207.47619047619048</c:v>
                </c:pt>
                <c:pt idx="17">
                  <c:v>194.99999999999997</c:v>
                </c:pt>
                <c:pt idx="18">
                  <c:v>181.14285714285711</c:v>
                </c:pt>
                <c:pt idx="19">
                  <c:v>157.85714285714283</c:v>
                </c:pt>
                <c:pt idx="20">
                  <c:v>58.5</c:v>
                </c:pt>
                <c:pt idx="21">
                  <c:v>33.5</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24</c:f>
              <c:strCache>
                <c:ptCount val="23"/>
                <c:pt idx="0">
                  <c:v>CHAMPAGNE E.NICOLAS BRUT 1CT X 750ML</c:v>
                </c:pt>
                <c:pt idx="1">
                  <c:v>CHAMPAGNE NICOLAS BLC/BLC BS 1CT X 750ML</c:v>
                </c:pt>
                <c:pt idx="2">
                  <c:v>CHAMPAGNE E.NICOLAS ROSE 1CT X 750ML</c:v>
                </c:pt>
                <c:pt idx="3">
                  <c:v>CHAMPAGNE NICOLAS 1ERE CUVEE 1CT X 750ML</c:v>
                </c:pt>
                <c:pt idx="4">
                  <c:v>1/2 CHAMPAGNE NICOLAS 1ERE CUV 1CT X 375ML</c:v>
                </c:pt>
                <c:pt idx="5">
                  <c:v>MG CHAMPAGNE E.NICOLAS BRUT 1CT X 1500ML</c:v>
                </c:pt>
                <c:pt idx="6">
                  <c:v>CHAMPAGNE NICOLAS ROSE 1ERE CU 1CT X 750ML</c:v>
                </c:pt>
                <c:pt idx="7">
                  <c:v>MG CHAMPAGNE NICOLAS BLC/BL BS 1CT X 1500ML</c:v>
                </c:pt>
                <c:pt idx="8">
                  <c:v>CHAMPAGNE NICOLAS BIO NAT 2017 1CT X 750ML</c:v>
                </c:pt>
                <c:pt idx="9">
                  <c:v>1/2 CHAMP NICOLAS BLC/BLC BS 1CT X 375ML</c:v>
                </c:pt>
                <c:pt idx="10">
                  <c:v>1/2 CHAMP NICOLAS ROSE 1E C BS 1CT X 375ML</c:v>
                </c:pt>
                <c:pt idx="11">
                  <c:v>CHAMPAGNE NICOLAS BLC DE NOIRS 1CT X 750ML</c:v>
                </c:pt>
                <c:pt idx="12">
                  <c:v>MG CHAMPAGNE NICOLAS 1ERE CUVE 1CT X 1500ML</c:v>
                </c:pt>
                <c:pt idx="13">
                  <c:v>CHAMPAGNE NICOLAS 1ER CRU ETUI 1CT X 750ML</c:v>
                </c:pt>
                <c:pt idx="14">
                  <c:v>CHAMPAGNE NICOLAS 1ER CRU BS 1CT X 750ML</c:v>
                </c:pt>
                <c:pt idx="15">
                  <c:v>CHAMPAGNE NICOLAS BLC/BLC 2002 1CT X 750ML</c:v>
                </c:pt>
                <c:pt idx="16">
                  <c:v>CHAMPAGNE NICOLAS ROSE 1ERE ET 1CT X 750ML</c:v>
                </c:pt>
                <c:pt idx="17">
                  <c:v>CHAMPAGNE NICOLAS 1ERE CUV ETU 1CT X 750ML</c:v>
                </c:pt>
                <c:pt idx="18">
                  <c:v>MG CHAMPAGNE NICOLAS 1E CRU BS 1CT X 1500ML</c:v>
                </c:pt>
                <c:pt idx="19">
                  <c:v>CHAMPAGNE NICOLAS ROSE 1E C BS 1CT X 750ML</c:v>
                </c:pt>
                <c:pt idx="20">
                  <c:v>CHAMPAGNE NICOLAS BLC/BL BS ET 1CT X 750ML</c:v>
                </c:pt>
                <c:pt idx="21">
                  <c:v>MG CHAMPAGNE NICOLAS BRUT 1CT X 1500ML</c:v>
                </c:pt>
                <c:pt idx="22">
                  <c:v>1/2 CHAMPAGNE NICOLAS 1E C BS 1CT X 375ML</c:v>
                </c:pt>
              </c:strCache>
            </c:strRef>
          </c:cat>
          <c:val>
            <c:numRef>
              <c:f>Sheet1!$B$2:$B$24</c:f>
              <c:numCache>
                <c:formatCode>General</c:formatCode>
                <c:ptCount val="23"/>
                <c:pt idx="0">
                  <c:v>1</c:v>
                </c:pt>
                <c:pt idx="1">
                  <c:v>0.69</c:v>
                </c:pt>
                <c:pt idx="2">
                  <c:v>0.75</c:v>
                </c:pt>
                <c:pt idx="3">
                  <c:v>0.91</c:v>
                </c:pt>
                <c:pt idx="4">
                  <c:v>0.45</c:v>
                </c:pt>
                <c:pt idx="5">
                  <c:v>0.21</c:v>
                </c:pt>
                <c:pt idx="6">
                  <c:v>0.32</c:v>
                </c:pt>
                <c:pt idx="7">
                  <c:v>0.19</c:v>
                </c:pt>
                <c:pt idx="8">
                  <c:v>0.21</c:v>
                </c:pt>
                <c:pt idx="9">
                  <c:v>0.3</c:v>
                </c:pt>
                <c:pt idx="10">
                  <c:v>0.32</c:v>
                </c:pt>
                <c:pt idx="11">
                  <c:v>0.21</c:v>
                </c:pt>
                <c:pt idx="12">
                  <c:v>0.12</c:v>
                </c:pt>
                <c:pt idx="13">
                  <c:v>0.23</c:v>
                </c:pt>
                <c:pt idx="14">
                  <c:v>0.44</c:v>
                </c:pt>
                <c:pt idx="15">
                  <c:v>0.05</c:v>
                </c:pt>
                <c:pt idx="16">
                  <c:v>0.16</c:v>
                </c:pt>
                <c:pt idx="17">
                  <c:v>0.12</c:v>
                </c:pt>
                <c:pt idx="18">
                  <c:v>0.04</c:v>
                </c:pt>
                <c:pt idx="19">
                  <c:v>0.04</c:v>
                </c:pt>
                <c:pt idx="20">
                  <c:v>0.05</c:v>
                </c:pt>
                <c:pt idx="21">
                  <c:v>0.01</c:v>
                </c:pt>
                <c:pt idx="22">
                  <c:v>0.01</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7ECAC4"/>
              </a:solidFill>
            </c:spPr>
            <c:extLst>
              <c:ext xmlns:c16="http://schemas.microsoft.com/office/drawing/2014/chart" uri="{C3380CC4-5D6E-409C-BE32-E72D297353CC}">
                <c16:uniqueId val="{00000008-D8F4-40C6-A5E0-DB4B53CFB1F3}"/>
              </c:ext>
            </c:extLst>
          </c:dPt>
          <c:dPt>
            <c:idx val="2"/>
            <c:invertIfNegative val="0"/>
            <c:bubble3D val="0"/>
            <c:spPr>
              <a:solidFill>
                <a:srgbClr val="7ECAC4"/>
              </a:solidFill>
            </c:spPr>
            <c:extLst>
              <c:ext xmlns:c16="http://schemas.microsoft.com/office/drawing/2014/chart" uri="{C3380CC4-5D6E-409C-BE32-E72D297353CC}">
                <c16:uniqueId val="{00000006-E902-46E2-9A54-39A26B3DFDC1}"/>
              </c:ext>
            </c:extLst>
          </c:dPt>
          <c:dPt>
            <c:idx val="3"/>
            <c:invertIfNegative val="0"/>
            <c:bubble3D val="0"/>
            <c:spPr>
              <a:solidFill>
                <a:srgbClr val="7ECAC4"/>
              </a:solidFill>
            </c:spPr>
            <c:extLst>
              <c:ext xmlns:c16="http://schemas.microsoft.com/office/drawing/2014/chart" uri="{C3380CC4-5D6E-409C-BE32-E72D297353CC}">
                <c16:uniqueId val="{00000007-E902-46E2-9A54-39A26B3DFDC1}"/>
              </c:ext>
            </c:extLst>
          </c:dPt>
          <c:dPt>
            <c:idx val="4"/>
            <c:invertIfNegative val="1"/>
            <c:bubble3D val="0"/>
            <c:spPr>
              <a:solidFill>
                <a:srgbClr val="7ECAC4"/>
              </a:solidFill>
            </c:spPr>
            <c:extLst>
              <c:ext xmlns:c16="http://schemas.microsoft.com/office/drawing/2014/chart" uri="{C3380CC4-5D6E-409C-BE32-E72D297353CC}">
                <c16:uniqueId val="{0000000B-FA3E-4872-B6E1-C4ABDF5766E2}"/>
              </c:ext>
            </c:extLst>
          </c:dPt>
          <c:dPt>
            <c:idx val="5"/>
            <c:invertIfNegative val="1"/>
            <c:bubble3D val="0"/>
            <c:spPr>
              <a:solidFill>
                <a:srgbClr val="7ECAC4"/>
              </a:solidFill>
            </c:spPr>
            <c:extLst>
              <c:ext xmlns:c16="http://schemas.microsoft.com/office/drawing/2014/chart" uri="{C3380CC4-5D6E-409C-BE32-E72D297353CC}">
                <c16:uniqueId val="{0000000D-FA3E-4872-B6E1-C4ABDF5766E2}"/>
              </c:ext>
            </c:extLst>
          </c:dPt>
          <c:dPt>
            <c:idx val="6"/>
            <c:invertIfNegative val="1"/>
            <c:bubble3D val="0"/>
            <c:spPr>
              <a:solidFill>
                <a:srgbClr val="7ECAC4"/>
              </a:solidFill>
            </c:spPr>
            <c:extLst>
              <c:ext xmlns:c16="http://schemas.microsoft.com/office/drawing/2014/chart" uri="{C3380CC4-5D6E-409C-BE32-E72D297353CC}">
                <c16:uniqueId val="{0000000F-FA3E-4872-B6E1-C4ABDF5766E2}"/>
              </c:ext>
            </c:extLst>
          </c:dPt>
          <c:dPt>
            <c:idx val="7"/>
            <c:invertIfNegative val="1"/>
            <c:bubble3D val="0"/>
            <c:spPr>
              <a:solidFill>
                <a:srgbClr val="7ECAC4"/>
              </a:solidFill>
            </c:spPr>
            <c:extLst>
              <c:ext xmlns:c16="http://schemas.microsoft.com/office/drawing/2014/chart" uri="{C3380CC4-5D6E-409C-BE32-E72D297353CC}">
                <c16:uniqueId val="{00000011-FA3E-4872-B6E1-C4ABDF5766E2}"/>
              </c:ext>
            </c:extLst>
          </c:dPt>
          <c:dPt>
            <c:idx val="8"/>
            <c:invertIfNegative val="1"/>
            <c:bubble3D val="0"/>
            <c:spPr>
              <a:solidFill>
                <a:srgbClr val="7ECAC4"/>
              </a:solidFill>
            </c:spPr>
            <c:extLst>
              <c:ext xmlns:c16="http://schemas.microsoft.com/office/drawing/2014/chart" uri="{C3380CC4-5D6E-409C-BE32-E72D297353CC}">
                <c16:uniqueId val="{00000013-FA3E-4872-B6E1-C4ABDF5766E2}"/>
              </c:ext>
            </c:extLst>
          </c:dPt>
          <c:dPt>
            <c:idx val="9"/>
            <c:invertIfNegative val="1"/>
            <c:bubble3D val="0"/>
            <c:spPr>
              <a:solidFill>
                <a:srgbClr val="AEABAB"/>
              </a:solidFill>
            </c:spPr>
            <c:extLst>
              <c:ext xmlns:c16="http://schemas.microsoft.com/office/drawing/2014/chart" uri="{C3380CC4-5D6E-409C-BE32-E72D297353CC}">
                <c16:uniqueId val="{00000015-FA3E-4872-B6E1-C4ABDF5766E2}"/>
              </c:ext>
            </c:extLst>
          </c:dPt>
          <c:dPt>
            <c:idx val="10"/>
            <c:invertIfNegative val="1"/>
            <c:bubble3D val="0"/>
            <c:spPr>
              <a:solidFill>
                <a:srgbClr val="AEABAB"/>
              </a:solidFill>
            </c:spPr>
            <c:extLst>
              <c:ext xmlns:c16="http://schemas.microsoft.com/office/drawing/2014/chart" uri="{C3380CC4-5D6E-409C-BE32-E72D297353CC}">
                <c16:uniqueId val="{00000017-FA3E-4872-B6E1-C4ABDF5766E2}"/>
              </c:ext>
            </c:extLst>
          </c:dPt>
          <c:dPt>
            <c:idx val="11"/>
            <c:invertIfNegative val="1"/>
            <c:bubble3D val="0"/>
            <c:spPr>
              <a:solidFill>
                <a:srgbClr val="AEABAB"/>
              </a:solidFill>
            </c:spPr>
            <c:extLst>
              <c:ext xmlns:c16="http://schemas.microsoft.com/office/drawing/2014/chart" uri="{C3380CC4-5D6E-409C-BE32-E72D297353CC}">
                <c16:uniqueId val="{00000019-FA3E-4872-B6E1-C4ABDF5766E2}"/>
              </c:ext>
            </c:extLst>
          </c:dPt>
          <c:dPt>
            <c:idx val="12"/>
            <c:invertIfNegative val="1"/>
            <c:bubble3D val="0"/>
            <c:spPr>
              <a:solidFill>
                <a:srgbClr val="AEABAB"/>
              </a:solidFill>
            </c:spPr>
            <c:extLst>
              <c:ext xmlns:c16="http://schemas.microsoft.com/office/drawing/2014/chart" uri="{C3380CC4-5D6E-409C-BE32-E72D297353CC}">
                <c16:uniqueId val="{0000001B-FA3E-4872-B6E1-C4ABDF5766E2}"/>
              </c:ext>
            </c:extLst>
          </c:dPt>
          <c:dPt>
            <c:idx val="13"/>
            <c:invertIfNegative val="1"/>
            <c:bubble3D val="0"/>
            <c:spPr>
              <a:solidFill>
                <a:srgbClr val="AEABAB"/>
              </a:solidFill>
            </c:spPr>
            <c:extLst>
              <c:ext xmlns:c16="http://schemas.microsoft.com/office/drawing/2014/chart" uri="{C3380CC4-5D6E-409C-BE32-E72D297353CC}">
                <c16:uniqueId val="{0000001D-FA3E-4872-B6E1-C4ABDF5766E2}"/>
              </c:ext>
            </c:extLst>
          </c:dPt>
          <c:dPt>
            <c:idx val="14"/>
            <c:invertIfNegative val="1"/>
            <c:bubble3D val="0"/>
            <c:spPr>
              <a:solidFill>
                <a:srgbClr val="AEABAB"/>
              </a:solidFill>
            </c:spPr>
            <c:extLst>
              <c:ext xmlns:c16="http://schemas.microsoft.com/office/drawing/2014/chart" uri="{C3380CC4-5D6E-409C-BE32-E72D297353CC}">
                <c16:uniqueId val="{0000001F-FA3E-4872-B6E1-C4ABDF5766E2}"/>
              </c:ext>
            </c:extLst>
          </c:dPt>
          <c:dPt>
            <c:idx val="15"/>
            <c:invertIfNegative val="1"/>
            <c:bubble3D val="0"/>
            <c:spPr>
              <a:solidFill>
                <a:srgbClr val="AEABAB"/>
              </a:solidFill>
            </c:spPr>
            <c:extLst>
              <c:ext xmlns:c16="http://schemas.microsoft.com/office/drawing/2014/chart" uri="{C3380CC4-5D6E-409C-BE32-E72D297353CC}">
                <c16:uniqueId val="{00000021-FA3E-4872-B6E1-C4ABDF5766E2}"/>
              </c:ext>
            </c:extLst>
          </c:dPt>
          <c:dPt>
            <c:idx val="16"/>
            <c:invertIfNegative val="1"/>
            <c:bubble3D val="0"/>
            <c:spPr>
              <a:solidFill>
                <a:srgbClr val="AEABAB"/>
              </a:solidFill>
            </c:spPr>
            <c:extLst>
              <c:ext xmlns:c16="http://schemas.microsoft.com/office/drawing/2014/chart" uri="{C3380CC4-5D6E-409C-BE32-E72D297353CC}">
                <c16:uniqueId val="{00000023-FA3E-4872-B6E1-C4ABDF5766E2}"/>
              </c:ext>
            </c:extLst>
          </c:dPt>
          <c:dPt>
            <c:idx val="17"/>
            <c:invertIfNegative val="1"/>
            <c:bubble3D val="0"/>
            <c:spPr>
              <a:solidFill>
                <a:srgbClr val="AEABAB"/>
              </a:solidFill>
            </c:spPr>
            <c:extLst>
              <c:ext xmlns:c16="http://schemas.microsoft.com/office/drawing/2014/chart" uri="{C3380CC4-5D6E-409C-BE32-E72D297353CC}">
                <c16:uniqueId val="{00000025-FA3E-4872-B6E1-C4ABDF5766E2}"/>
              </c:ext>
            </c:extLst>
          </c:dPt>
          <c:dPt>
            <c:idx val="18"/>
            <c:invertIfNegative val="1"/>
            <c:bubble3D val="0"/>
            <c:spPr>
              <a:solidFill>
                <a:srgbClr val="AEABAB"/>
              </a:solidFill>
            </c:spPr>
            <c:extLst>
              <c:ext xmlns:c16="http://schemas.microsoft.com/office/drawing/2014/chart" uri="{C3380CC4-5D6E-409C-BE32-E72D297353CC}">
                <c16:uniqueId val="{00000027-FA3E-4872-B6E1-C4ABDF5766E2}"/>
              </c:ext>
            </c:extLst>
          </c:dPt>
          <c:dPt>
            <c:idx val="19"/>
            <c:invertIfNegative val="1"/>
            <c:bubble3D val="0"/>
            <c:spPr>
              <a:solidFill>
                <a:srgbClr val="AEABAB"/>
              </a:solidFill>
            </c:spPr>
            <c:extLst>
              <c:ext xmlns:c16="http://schemas.microsoft.com/office/drawing/2014/chart" uri="{C3380CC4-5D6E-409C-BE32-E72D297353CC}">
                <c16:uniqueId val="{00000029-FA3E-4872-B6E1-C4ABDF5766E2}"/>
              </c:ext>
            </c:extLst>
          </c:dPt>
          <c:dPt>
            <c:idx val="20"/>
            <c:invertIfNegative val="1"/>
            <c:bubble3D val="0"/>
            <c:spPr>
              <a:solidFill>
                <a:srgbClr val="AEABAB"/>
              </a:solidFill>
            </c:spPr>
            <c:extLst>
              <c:ext xmlns:c16="http://schemas.microsoft.com/office/drawing/2014/chart" uri="{C3380CC4-5D6E-409C-BE32-E72D297353CC}">
                <c16:uniqueId val="{0000002B-FA3E-4872-B6E1-C4ABDF5766E2}"/>
              </c:ext>
            </c:extLst>
          </c:dPt>
          <c:dPt>
            <c:idx val="21"/>
            <c:invertIfNegative val="1"/>
            <c:bubble3D val="0"/>
            <c:spPr>
              <a:solidFill>
                <a:srgbClr val="AEABAB"/>
              </a:solidFill>
            </c:spPr>
            <c:extLst>
              <c:ext xmlns:c16="http://schemas.microsoft.com/office/drawing/2014/chart" uri="{C3380CC4-5D6E-409C-BE32-E72D297353CC}">
                <c16:uniqueId val="{0000002D-FA3E-4872-B6E1-C4ABDF5766E2}"/>
              </c:ext>
            </c:extLst>
          </c:dPt>
          <c:dPt>
            <c:idx val="22"/>
            <c:invertIfNegative val="1"/>
            <c:bubble3D val="0"/>
            <c:spPr>
              <a:solidFill>
                <a:srgbClr val="AEABAB"/>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24</c:f>
              <c:strCache>
                <c:ptCount val="23"/>
                <c:pt idx="0">
                  <c:v>CHAMPAGNE E.NICOLAS BRUT 1CT X 750ML</c:v>
                </c:pt>
                <c:pt idx="1">
                  <c:v>CHAMPAGNE NICOLAS BLC/BLC BS 1CT X 750ML</c:v>
                </c:pt>
                <c:pt idx="2">
                  <c:v>CHAMPAGNE E.NICOLAS ROSE 1CT X 750ML</c:v>
                </c:pt>
                <c:pt idx="3">
                  <c:v>CHAMPAGNE NICOLAS 1ERE CUVEE 1CT X 750ML</c:v>
                </c:pt>
                <c:pt idx="4">
                  <c:v>1/2 CHAMPAGNE NICOLAS 1ERE CUV 1CT X 375ML</c:v>
                </c:pt>
                <c:pt idx="5">
                  <c:v>MG CHAMPAGNE E.NICOLAS BRUT 1CT X 1500ML</c:v>
                </c:pt>
                <c:pt idx="6">
                  <c:v>CHAMPAGNE NICOLAS ROSE 1ERE CU 1CT X 750ML</c:v>
                </c:pt>
                <c:pt idx="7">
                  <c:v>MG CHAMPAGNE NICOLAS BLC/BL BS 1CT X 1500ML</c:v>
                </c:pt>
                <c:pt idx="8">
                  <c:v>CHAMPAGNE NICOLAS BIO NAT 2017 1CT X 750ML</c:v>
                </c:pt>
                <c:pt idx="9">
                  <c:v>1/2 CHAMP NICOLAS BLC/BLC BS 1CT X 375ML</c:v>
                </c:pt>
                <c:pt idx="10">
                  <c:v>1/2 CHAMP NICOLAS ROSE 1E C BS 1CT X 375ML</c:v>
                </c:pt>
                <c:pt idx="11">
                  <c:v>CHAMPAGNE NICOLAS BLC DE NOIRS 1CT X 750ML</c:v>
                </c:pt>
                <c:pt idx="12">
                  <c:v>MG CHAMPAGNE NICOLAS 1ERE CUVE 1CT X 1500ML</c:v>
                </c:pt>
                <c:pt idx="13">
                  <c:v>CHAMPAGNE NICOLAS 1ER CRU ETUI 1CT X 750ML</c:v>
                </c:pt>
                <c:pt idx="14">
                  <c:v>CHAMPAGNE NICOLAS 1ER CRU BS 1CT X 750ML</c:v>
                </c:pt>
                <c:pt idx="15">
                  <c:v>CHAMPAGNE NICOLAS BLC/BLC 2002 1CT X 750ML</c:v>
                </c:pt>
                <c:pt idx="16">
                  <c:v>CHAMPAGNE NICOLAS ROSE 1ERE ET 1CT X 750ML</c:v>
                </c:pt>
                <c:pt idx="17">
                  <c:v>CHAMPAGNE NICOLAS 1ERE CUV ETU 1CT X 750ML</c:v>
                </c:pt>
                <c:pt idx="18">
                  <c:v>MG CHAMPAGNE NICOLAS 1E CRU BS 1CT X 1500ML</c:v>
                </c:pt>
                <c:pt idx="19">
                  <c:v>CHAMPAGNE NICOLAS ROSE 1E C BS 1CT X 750ML</c:v>
                </c:pt>
                <c:pt idx="20">
                  <c:v>CHAMPAGNE NICOLAS BLC/BL BS ET 1CT X 750ML</c:v>
                </c:pt>
                <c:pt idx="21">
                  <c:v>MG CHAMPAGNE NICOLAS BRUT 1CT X 1500ML</c:v>
                </c:pt>
                <c:pt idx="22">
                  <c:v>1/2 CHAMPAGNE NICOLAS 1E C BS 1CT X 375ML</c:v>
                </c:pt>
              </c:strCache>
            </c:strRef>
          </c:cat>
          <c:val>
            <c:numRef>
              <c:f>Sheet1!$C$2:$C$24</c:f>
              <c:numCache>
                <c:formatCode>General</c:formatCode>
                <c:ptCount val="23"/>
                <c:pt idx="0">
                  <c:v>0.74037128159248489</c:v>
                </c:pt>
                <c:pt idx="1">
                  <c:v>0.80469340427786085</c:v>
                </c:pt>
                <c:pt idx="2">
                  <c:v>0.85033137529576575</c:v>
                </c:pt>
                <c:pt idx="3">
                  <c:v>0.88900634498346076</c:v>
                </c:pt>
                <c:pt idx="4">
                  <c:v>0.90833912111973081</c:v>
                </c:pt>
                <c:pt idx="5">
                  <c:v>0.91974243369551156</c:v>
                </c:pt>
                <c:pt idx="6">
                  <c:v>0.92999564444549099</c:v>
                </c:pt>
                <c:pt idx="7">
                  <c:v>0.9402135398886392</c:v>
                </c:pt>
                <c:pt idx="8">
                  <c:v>0.94958033643715656</c:v>
                </c:pt>
                <c:pt idx="9">
                  <c:v>0.95757336754994182</c:v>
                </c:pt>
                <c:pt idx="10">
                  <c:v>0.96550753981800852</c:v>
                </c:pt>
                <c:pt idx="11">
                  <c:v>0.97184546021730689</c:v>
                </c:pt>
                <c:pt idx="12">
                  <c:v>0.97763128465314486</c:v>
                </c:pt>
                <c:pt idx="13">
                  <c:v>0.98333117517569368</c:v>
                </c:pt>
                <c:pt idx="14">
                  <c:v>0.98870263334471276</c:v>
                </c:pt>
                <c:pt idx="15">
                  <c:v>0.99210820610013073</c:v>
                </c:pt>
                <c:pt idx="16">
                  <c:v>0.99542666776536515</c:v>
                </c:pt>
                <c:pt idx="17">
                  <c:v>0.99726777242816278</c:v>
                </c:pt>
                <c:pt idx="18">
                  <c:v>0.99833429469446378</c:v>
                </c:pt>
                <c:pt idx="19">
                  <c:v>0.9992395437262358</c:v>
                </c:pt>
                <c:pt idx="20">
                  <c:v>0.99992701503254899</c:v>
                </c:pt>
                <c:pt idx="21">
                  <c:v>0.99997527928521823</c:v>
                </c:pt>
                <c:pt idx="22">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24</c:f>
              <c:strCache>
                <c:ptCount val="23"/>
                <c:pt idx="0">
                  <c:v>CHAMPAGNE E.NICOLAS BRUT 1CT X 750ML</c:v>
                </c:pt>
                <c:pt idx="1">
                  <c:v>CHAMPAGNE NICOLAS BLC/BLC BS 1CT X 750ML</c:v>
                </c:pt>
                <c:pt idx="2">
                  <c:v>CHAMPAGNE E.NICOLAS ROSE 1CT X 750ML</c:v>
                </c:pt>
                <c:pt idx="3">
                  <c:v>CHAMPAGNE NICOLAS 1ERE CUVEE 1CT X 750ML</c:v>
                </c:pt>
                <c:pt idx="4">
                  <c:v>1/2 CHAMPAGNE NICOLAS 1ERE CUV 1CT X 375ML</c:v>
                </c:pt>
                <c:pt idx="5">
                  <c:v>MG CHAMPAGNE E.NICOLAS BRUT 1CT X 1500ML</c:v>
                </c:pt>
                <c:pt idx="6">
                  <c:v>CHAMPAGNE NICOLAS ROSE 1ERE CU 1CT X 750ML</c:v>
                </c:pt>
                <c:pt idx="7">
                  <c:v>MG CHAMPAGNE NICOLAS BLC/BL BS 1CT X 1500ML</c:v>
                </c:pt>
                <c:pt idx="8">
                  <c:v>CHAMPAGNE NICOLAS BIO NAT 2017 1CT X 750ML</c:v>
                </c:pt>
                <c:pt idx="9">
                  <c:v>1/2 CHAMP NICOLAS BLC/BLC BS 1CT X 375ML</c:v>
                </c:pt>
                <c:pt idx="10">
                  <c:v>1/2 CHAMP NICOLAS ROSE 1E C BS 1CT X 375ML</c:v>
                </c:pt>
                <c:pt idx="11">
                  <c:v>CHAMPAGNE NICOLAS BLC DE NOIRS 1CT X 750ML</c:v>
                </c:pt>
                <c:pt idx="12">
                  <c:v>MG CHAMPAGNE NICOLAS 1ERE CUVE 1CT X 1500ML</c:v>
                </c:pt>
                <c:pt idx="13">
                  <c:v>CHAMPAGNE NICOLAS 1ER CRU ETUI 1CT X 750ML</c:v>
                </c:pt>
                <c:pt idx="14">
                  <c:v>CHAMPAGNE NICOLAS 1ER CRU BS 1CT X 750ML</c:v>
                </c:pt>
                <c:pt idx="15">
                  <c:v>CHAMPAGNE NICOLAS BLC/BLC 2002 1CT X 750ML</c:v>
                </c:pt>
                <c:pt idx="16">
                  <c:v>CHAMPAGNE NICOLAS ROSE 1ERE ET 1CT X 750ML</c:v>
                </c:pt>
                <c:pt idx="17">
                  <c:v>CHAMPAGNE NICOLAS 1ERE CUV ETU 1CT X 750ML</c:v>
                </c:pt>
                <c:pt idx="18">
                  <c:v>MG CHAMPAGNE NICOLAS 1E CRU BS 1CT X 1500ML</c:v>
                </c:pt>
                <c:pt idx="19">
                  <c:v>CHAMPAGNE NICOLAS ROSE 1E C BS 1CT X 750ML</c:v>
                </c:pt>
                <c:pt idx="20">
                  <c:v>CHAMPAGNE NICOLAS BLC/BL BS ET 1CT X 750ML</c:v>
                </c:pt>
                <c:pt idx="21">
                  <c:v>MG CHAMPAGNE NICOLAS BRUT 1CT X 1500ML</c:v>
                </c:pt>
                <c:pt idx="22">
                  <c:v>1/2 CHAMPAGNE NICOLAS 1E C BS 1CT X 375ML</c:v>
                </c:pt>
              </c:strCache>
            </c:strRef>
          </c:cat>
          <c:val>
            <c:numRef>
              <c:f>Sheet1!$D$2:$D$24</c:f>
              <c:numCache>
                <c:formatCode>General</c:formatCode>
                <c:ptCount val="23"/>
                <c:pt idx="0">
                  <c:v>6289.38</c:v>
                </c:pt>
                <c:pt idx="1">
                  <c:v>791.89855072463763</c:v>
                </c:pt>
                <c:pt idx="2">
                  <c:v>516.91999999999996</c:v>
                </c:pt>
                <c:pt idx="3">
                  <c:v>361.03296703296701</c:v>
                </c:pt>
                <c:pt idx="4">
                  <c:v>364.95555555555558</c:v>
                </c:pt>
                <c:pt idx="5">
                  <c:v>461.28571428571428</c:v>
                </c:pt>
                <c:pt idx="6">
                  <c:v>272.1875</c:v>
                </c:pt>
                <c:pt idx="7">
                  <c:v>456.84210526315792</c:v>
                </c:pt>
                <c:pt idx="8">
                  <c:v>378.90476190476193</c:v>
                </c:pt>
                <c:pt idx="9">
                  <c:v>226.33333333333334</c:v>
                </c:pt>
                <c:pt idx="10">
                  <c:v>210.625</c:v>
                </c:pt>
                <c:pt idx="11">
                  <c:v>256.38095238095241</c:v>
                </c:pt>
                <c:pt idx="12">
                  <c:v>409.58333333333331</c:v>
                </c:pt>
                <c:pt idx="13">
                  <c:v>210.52173913043478</c:v>
                </c:pt>
                <c:pt idx="14">
                  <c:v>103.70454545454545</c:v>
                </c:pt>
                <c:pt idx="15">
                  <c:v>578.6</c:v>
                </c:pt>
                <c:pt idx="16">
                  <c:v>176.1875</c:v>
                </c:pt>
                <c:pt idx="17">
                  <c:v>130.33333333333334</c:v>
                </c:pt>
                <c:pt idx="18">
                  <c:v>226.5</c:v>
                </c:pt>
                <c:pt idx="19">
                  <c:v>192.25</c:v>
                </c:pt>
                <c:pt idx="20">
                  <c:v>116.8</c:v>
                </c:pt>
                <c:pt idx="21">
                  <c:v>41</c:v>
                </c:pt>
                <c:pt idx="22">
                  <c:v>21</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24</c:f>
              <c:strCache>
                <c:ptCount val="23"/>
                <c:pt idx="0">
                  <c:v>CHAMPAGNE E.NICOLAS BRUT 1CT X 750ML</c:v>
                </c:pt>
                <c:pt idx="1">
                  <c:v>CHAMPAGNE NICOLAS BLC/BLC BS 1CT X 750ML</c:v>
                </c:pt>
                <c:pt idx="2">
                  <c:v>CHAMPAGNE E.NICOLAS ROSE 1CT X 750ML</c:v>
                </c:pt>
                <c:pt idx="3">
                  <c:v>CHAMPAGNE NICOLAS 1ERE CUVEE 1CT X 750ML</c:v>
                </c:pt>
                <c:pt idx="4">
                  <c:v>1/2 CHAMPAGNE NICOLAS 1ERE CUV 1CT X 375ML</c:v>
                </c:pt>
                <c:pt idx="5">
                  <c:v>MG CHAMPAGNE E.NICOLAS BRUT 1CT X 1500ML</c:v>
                </c:pt>
                <c:pt idx="6">
                  <c:v>CHAMPAGNE NICOLAS ROSE 1ERE CU 1CT X 750ML</c:v>
                </c:pt>
                <c:pt idx="7">
                  <c:v>1/2 CHAMP NICOLAS BLC/BLC BS 1CT X 375ML</c:v>
                </c:pt>
                <c:pt idx="8">
                  <c:v>CHAMPAGNE NICOLAS BIO NAT 2017 1CT X 750ML</c:v>
                </c:pt>
                <c:pt idx="9">
                  <c:v>MG CHAMPAGNE NICOLAS BLC/BL BS 1CT X 1500ML</c:v>
                </c:pt>
                <c:pt idx="10">
                  <c:v>1/2 CHAMP NICOLAS ROSE 1E C BS 1CT X 375ML</c:v>
                </c:pt>
                <c:pt idx="11">
                  <c:v>CHAMPAGNE NICOLAS BLC DE NOIRS 1CT X 750ML</c:v>
                </c:pt>
                <c:pt idx="12">
                  <c:v>MG CHAMPAGNE NICOLAS 1ERE CUVE 1CT X 1500ML</c:v>
                </c:pt>
                <c:pt idx="13">
                  <c:v>CHAMPAGNE NICOLAS 1ER CRU BS 1CT X 750ML</c:v>
                </c:pt>
                <c:pt idx="14">
                  <c:v>CHAMPAGNE NICOLAS 1ER CRU ETUI 1CT X 750ML</c:v>
                </c:pt>
                <c:pt idx="15">
                  <c:v>CHAMPAGNE NICOLAS BLC/BLC 2002 1CT X 750ML</c:v>
                </c:pt>
                <c:pt idx="16">
                  <c:v>CHAMPAGNE NICOLAS ROSE 1ERE ET 1CT X 750ML</c:v>
                </c:pt>
                <c:pt idx="17">
                  <c:v>CHAMPAGNE NICOLAS 1ERE CUV ETU 1CT X 750ML</c:v>
                </c:pt>
                <c:pt idx="18">
                  <c:v>CHAMPAGNE NICOLAS ROSE 1E C BS 1CT X 750ML</c:v>
                </c:pt>
                <c:pt idx="19">
                  <c:v>CHAMPAGNE NICOLAS BLC/BL BS ET 1CT X 750ML</c:v>
                </c:pt>
                <c:pt idx="20">
                  <c:v>MG CHAMPAGNE NICOLAS 1E CRU BS 1CT X 1500ML</c:v>
                </c:pt>
                <c:pt idx="21">
                  <c:v>CHAMPAGNE NICOLAS BIO 2018 1CT X 750ML</c:v>
                </c:pt>
                <c:pt idx="22">
                  <c:v>1/2 CHAMPAGNE NICOLAS 1E C BS 1CT X 375ML</c:v>
                </c:pt>
              </c:strCache>
            </c:strRef>
          </c:cat>
          <c:val>
            <c:numRef>
              <c:f>Sheet1!$B$2:$B$24</c:f>
              <c:numCache>
                <c:formatCode>General</c:formatCode>
                <c:ptCount val="23"/>
                <c:pt idx="0">
                  <c:v>1</c:v>
                </c:pt>
                <c:pt idx="1">
                  <c:v>0.51</c:v>
                </c:pt>
                <c:pt idx="2">
                  <c:v>0.56000000000000005</c:v>
                </c:pt>
                <c:pt idx="3">
                  <c:v>0.77</c:v>
                </c:pt>
                <c:pt idx="4">
                  <c:v>0.36</c:v>
                </c:pt>
                <c:pt idx="5">
                  <c:v>0.17</c:v>
                </c:pt>
                <c:pt idx="6">
                  <c:v>0.32</c:v>
                </c:pt>
                <c:pt idx="7">
                  <c:v>0.25</c:v>
                </c:pt>
                <c:pt idx="8">
                  <c:v>0.18</c:v>
                </c:pt>
                <c:pt idx="9">
                  <c:v>0.13</c:v>
                </c:pt>
                <c:pt idx="10">
                  <c:v>0.23</c:v>
                </c:pt>
                <c:pt idx="11">
                  <c:v>0.17</c:v>
                </c:pt>
                <c:pt idx="12">
                  <c:v>0.06</c:v>
                </c:pt>
                <c:pt idx="13">
                  <c:v>0.28000000000000003</c:v>
                </c:pt>
                <c:pt idx="14">
                  <c:v>0.19</c:v>
                </c:pt>
                <c:pt idx="15">
                  <c:v>0.06</c:v>
                </c:pt>
                <c:pt idx="16">
                  <c:v>0.09</c:v>
                </c:pt>
                <c:pt idx="17">
                  <c:v>0.16</c:v>
                </c:pt>
                <c:pt idx="18">
                  <c:v>0.06</c:v>
                </c:pt>
                <c:pt idx="19">
                  <c:v>0.03</c:v>
                </c:pt>
                <c:pt idx="20">
                  <c:v>0.05</c:v>
                </c:pt>
                <c:pt idx="21">
                  <c:v>0.02</c:v>
                </c:pt>
                <c:pt idx="22">
                  <c:v>0.01</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7ECAC4"/>
              </a:solidFill>
            </c:spPr>
            <c:extLst>
              <c:ext xmlns:c16="http://schemas.microsoft.com/office/drawing/2014/chart" uri="{C3380CC4-5D6E-409C-BE32-E72D297353CC}">
                <c16:uniqueId val="{00000006-E902-46E2-9A54-39A26B3DFDC1}"/>
              </c:ext>
            </c:extLst>
          </c:dPt>
          <c:dPt>
            <c:idx val="3"/>
            <c:invertIfNegative val="0"/>
            <c:bubble3D val="0"/>
            <c:spPr>
              <a:solidFill>
                <a:srgbClr val="7ECAC4"/>
              </a:solidFill>
            </c:spPr>
            <c:extLst>
              <c:ext xmlns:c16="http://schemas.microsoft.com/office/drawing/2014/chart" uri="{C3380CC4-5D6E-409C-BE32-E72D297353CC}">
                <c16:uniqueId val="{00000007-E902-46E2-9A54-39A26B3DFDC1}"/>
              </c:ext>
            </c:extLst>
          </c:dPt>
          <c:dPt>
            <c:idx val="4"/>
            <c:invertIfNegative val="1"/>
            <c:bubble3D val="0"/>
            <c:spPr>
              <a:solidFill>
                <a:srgbClr val="7ECAC4"/>
              </a:solidFill>
            </c:spPr>
            <c:extLst>
              <c:ext xmlns:c16="http://schemas.microsoft.com/office/drawing/2014/chart" uri="{C3380CC4-5D6E-409C-BE32-E72D297353CC}">
                <c16:uniqueId val="{0000000B-FA3E-4872-B6E1-C4ABDF5766E2}"/>
              </c:ext>
            </c:extLst>
          </c:dPt>
          <c:dPt>
            <c:idx val="5"/>
            <c:invertIfNegative val="1"/>
            <c:bubble3D val="0"/>
            <c:spPr>
              <a:solidFill>
                <a:srgbClr val="7ECAC4"/>
              </a:solidFill>
            </c:spPr>
            <c:extLst>
              <c:ext xmlns:c16="http://schemas.microsoft.com/office/drawing/2014/chart" uri="{C3380CC4-5D6E-409C-BE32-E72D297353CC}">
                <c16:uniqueId val="{0000000D-FA3E-4872-B6E1-C4ABDF5766E2}"/>
              </c:ext>
            </c:extLst>
          </c:dPt>
          <c:dPt>
            <c:idx val="6"/>
            <c:invertIfNegative val="1"/>
            <c:bubble3D val="0"/>
            <c:spPr>
              <a:solidFill>
                <a:srgbClr val="7ECAC4"/>
              </a:solidFill>
            </c:spPr>
            <c:extLst>
              <c:ext xmlns:c16="http://schemas.microsoft.com/office/drawing/2014/chart" uri="{C3380CC4-5D6E-409C-BE32-E72D297353CC}">
                <c16:uniqueId val="{0000000F-FA3E-4872-B6E1-C4ABDF5766E2}"/>
              </c:ext>
            </c:extLst>
          </c:dPt>
          <c:dPt>
            <c:idx val="7"/>
            <c:invertIfNegative val="1"/>
            <c:bubble3D val="0"/>
            <c:spPr>
              <a:solidFill>
                <a:srgbClr val="7ECAC4"/>
              </a:solidFill>
            </c:spPr>
            <c:extLst>
              <c:ext xmlns:c16="http://schemas.microsoft.com/office/drawing/2014/chart" uri="{C3380CC4-5D6E-409C-BE32-E72D297353CC}">
                <c16:uniqueId val="{00000011-FA3E-4872-B6E1-C4ABDF5766E2}"/>
              </c:ext>
            </c:extLst>
          </c:dPt>
          <c:dPt>
            <c:idx val="8"/>
            <c:invertIfNegative val="1"/>
            <c:bubble3D val="0"/>
            <c:spPr>
              <a:solidFill>
                <a:srgbClr val="7ECAC4"/>
              </a:solidFill>
            </c:spPr>
            <c:extLst>
              <c:ext xmlns:c16="http://schemas.microsoft.com/office/drawing/2014/chart" uri="{C3380CC4-5D6E-409C-BE32-E72D297353CC}">
                <c16:uniqueId val="{00000013-FA3E-4872-B6E1-C4ABDF5766E2}"/>
              </c:ext>
            </c:extLst>
          </c:dPt>
          <c:dPt>
            <c:idx val="9"/>
            <c:invertIfNegative val="1"/>
            <c:bubble3D val="0"/>
            <c:spPr>
              <a:solidFill>
                <a:srgbClr val="AEABAB"/>
              </a:solidFill>
            </c:spPr>
            <c:extLst>
              <c:ext xmlns:c16="http://schemas.microsoft.com/office/drawing/2014/chart" uri="{C3380CC4-5D6E-409C-BE32-E72D297353CC}">
                <c16:uniqueId val="{00000015-FA3E-4872-B6E1-C4ABDF5766E2}"/>
              </c:ext>
            </c:extLst>
          </c:dPt>
          <c:dPt>
            <c:idx val="10"/>
            <c:invertIfNegative val="1"/>
            <c:bubble3D val="0"/>
            <c:spPr>
              <a:solidFill>
                <a:srgbClr val="AEABAB"/>
              </a:solidFill>
            </c:spPr>
            <c:extLst>
              <c:ext xmlns:c16="http://schemas.microsoft.com/office/drawing/2014/chart" uri="{C3380CC4-5D6E-409C-BE32-E72D297353CC}">
                <c16:uniqueId val="{00000017-FA3E-4872-B6E1-C4ABDF5766E2}"/>
              </c:ext>
            </c:extLst>
          </c:dPt>
          <c:dPt>
            <c:idx val="11"/>
            <c:invertIfNegative val="1"/>
            <c:bubble3D val="0"/>
            <c:spPr>
              <a:solidFill>
                <a:srgbClr val="AEABAB"/>
              </a:solidFill>
            </c:spPr>
            <c:extLst>
              <c:ext xmlns:c16="http://schemas.microsoft.com/office/drawing/2014/chart" uri="{C3380CC4-5D6E-409C-BE32-E72D297353CC}">
                <c16:uniqueId val="{00000019-FA3E-4872-B6E1-C4ABDF5766E2}"/>
              </c:ext>
            </c:extLst>
          </c:dPt>
          <c:dPt>
            <c:idx val="12"/>
            <c:invertIfNegative val="1"/>
            <c:bubble3D val="0"/>
            <c:spPr>
              <a:solidFill>
                <a:srgbClr val="AEABAB"/>
              </a:solidFill>
            </c:spPr>
            <c:extLst>
              <c:ext xmlns:c16="http://schemas.microsoft.com/office/drawing/2014/chart" uri="{C3380CC4-5D6E-409C-BE32-E72D297353CC}">
                <c16:uniqueId val="{0000001B-FA3E-4872-B6E1-C4ABDF5766E2}"/>
              </c:ext>
            </c:extLst>
          </c:dPt>
          <c:dPt>
            <c:idx val="13"/>
            <c:invertIfNegative val="1"/>
            <c:bubble3D val="0"/>
            <c:spPr>
              <a:solidFill>
                <a:srgbClr val="AEABAB"/>
              </a:solidFill>
            </c:spPr>
            <c:extLst>
              <c:ext xmlns:c16="http://schemas.microsoft.com/office/drawing/2014/chart" uri="{C3380CC4-5D6E-409C-BE32-E72D297353CC}">
                <c16:uniqueId val="{0000001D-FA3E-4872-B6E1-C4ABDF5766E2}"/>
              </c:ext>
            </c:extLst>
          </c:dPt>
          <c:dPt>
            <c:idx val="14"/>
            <c:invertIfNegative val="1"/>
            <c:bubble3D val="0"/>
            <c:spPr>
              <a:solidFill>
                <a:srgbClr val="AEABAB"/>
              </a:solidFill>
            </c:spPr>
            <c:extLst>
              <c:ext xmlns:c16="http://schemas.microsoft.com/office/drawing/2014/chart" uri="{C3380CC4-5D6E-409C-BE32-E72D297353CC}">
                <c16:uniqueId val="{0000001F-FA3E-4872-B6E1-C4ABDF5766E2}"/>
              </c:ext>
            </c:extLst>
          </c:dPt>
          <c:dPt>
            <c:idx val="15"/>
            <c:invertIfNegative val="1"/>
            <c:bubble3D val="0"/>
            <c:spPr>
              <a:solidFill>
                <a:srgbClr val="AEABAB"/>
              </a:solidFill>
            </c:spPr>
            <c:extLst>
              <c:ext xmlns:c16="http://schemas.microsoft.com/office/drawing/2014/chart" uri="{C3380CC4-5D6E-409C-BE32-E72D297353CC}">
                <c16:uniqueId val="{00000021-FA3E-4872-B6E1-C4ABDF5766E2}"/>
              </c:ext>
            </c:extLst>
          </c:dPt>
          <c:dPt>
            <c:idx val="16"/>
            <c:invertIfNegative val="1"/>
            <c:bubble3D val="0"/>
            <c:spPr>
              <a:solidFill>
                <a:srgbClr val="AEABAB"/>
              </a:solidFill>
            </c:spPr>
            <c:extLst>
              <c:ext xmlns:c16="http://schemas.microsoft.com/office/drawing/2014/chart" uri="{C3380CC4-5D6E-409C-BE32-E72D297353CC}">
                <c16:uniqueId val="{00000023-FA3E-4872-B6E1-C4ABDF5766E2}"/>
              </c:ext>
            </c:extLst>
          </c:dPt>
          <c:dPt>
            <c:idx val="17"/>
            <c:invertIfNegative val="1"/>
            <c:bubble3D val="0"/>
            <c:spPr>
              <a:solidFill>
                <a:srgbClr val="AEABAB"/>
              </a:solidFill>
            </c:spPr>
            <c:extLst>
              <c:ext xmlns:c16="http://schemas.microsoft.com/office/drawing/2014/chart" uri="{C3380CC4-5D6E-409C-BE32-E72D297353CC}">
                <c16:uniqueId val="{00000025-FA3E-4872-B6E1-C4ABDF5766E2}"/>
              </c:ext>
            </c:extLst>
          </c:dPt>
          <c:dPt>
            <c:idx val="18"/>
            <c:invertIfNegative val="1"/>
            <c:bubble3D val="0"/>
            <c:spPr>
              <a:solidFill>
                <a:srgbClr val="AEABAB"/>
              </a:solidFill>
            </c:spPr>
            <c:extLst>
              <c:ext xmlns:c16="http://schemas.microsoft.com/office/drawing/2014/chart" uri="{C3380CC4-5D6E-409C-BE32-E72D297353CC}">
                <c16:uniqueId val="{00000027-FA3E-4872-B6E1-C4ABDF5766E2}"/>
              </c:ext>
            </c:extLst>
          </c:dPt>
          <c:dPt>
            <c:idx val="19"/>
            <c:invertIfNegative val="1"/>
            <c:bubble3D val="0"/>
            <c:spPr>
              <a:solidFill>
                <a:srgbClr val="AEABAB"/>
              </a:solidFill>
            </c:spPr>
            <c:extLst>
              <c:ext xmlns:c16="http://schemas.microsoft.com/office/drawing/2014/chart" uri="{C3380CC4-5D6E-409C-BE32-E72D297353CC}">
                <c16:uniqueId val="{00000029-FA3E-4872-B6E1-C4ABDF5766E2}"/>
              </c:ext>
            </c:extLst>
          </c:dPt>
          <c:dPt>
            <c:idx val="20"/>
            <c:invertIfNegative val="1"/>
            <c:bubble3D val="0"/>
            <c:spPr>
              <a:solidFill>
                <a:srgbClr val="AEABAB"/>
              </a:solidFill>
            </c:spPr>
            <c:extLst>
              <c:ext xmlns:c16="http://schemas.microsoft.com/office/drawing/2014/chart" uri="{C3380CC4-5D6E-409C-BE32-E72D297353CC}">
                <c16:uniqueId val="{0000002B-FA3E-4872-B6E1-C4ABDF5766E2}"/>
              </c:ext>
            </c:extLst>
          </c:dPt>
          <c:dPt>
            <c:idx val="21"/>
            <c:invertIfNegative val="1"/>
            <c:bubble3D val="0"/>
            <c:spPr>
              <a:solidFill>
                <a:srgbClr val="AEABAB"/>
              </a:solidFill>
            </c:spPr>
            <c:extLst>
              <c:ext xmlns:c16="http://schemas.microsoft.com/office/drawing/2014/chart" uri="{C3380CC4-5D6E-409C-BE32-E72D297353CC}">
                <c16:uniqueId val="{0000002D-FA3E-4872-B6E1-C4ABDF5766E2}"/>
              </c:ext>
            </c:extLst>
          </c:dPt>
          <c:dPt>
            <c:idx val="22"/>
            <c:invertIfNegative val="1"/>
            <c:bubble3D val="0"/>
            <c:spPr>
              <a:solidFill>
                <a:srgbClr val="AEABAB"/>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24</c:f>
              <c:strCache>
                <c:ptCount val="23"/>
                <c:pt idx="0">
                  <c:v>CHAMPAGNE E.NICOLAS BRUT 1CT X 750ML</c:v>
                </c:pt>
                <c:pt idx="1">
                  <c:v>CHAMPAGNE NICOLAS BLC/BLC BS 1CT X 750ML</c:v>
                </c:pt>
                <c:pt idx="2">
                  <c:v>CHAMPAGNE E.NICOLAS ROSE 1CT X 750ML</c:v>
                </c:pt>
                <c:pt idx="3">
                  <c:v>CHAMPAGNE NICOLAS 1ERE CUVEE 1CT X 750ML</c:v>
                </c:pt>
                <c:pt idx="4">
                  <c:v>1/2 CHAMPAGNE NICOLAS 1ERE CUV 1CT X 375ML</c:v>
                </c:pt>
                <c:pt idx="5">
                  <c:v>MG CHAMPAGNE E.NICOLAS BRUT 1CT X 1500ML</c:v>
                </c:pt>
                <c:pt idx="6">
                  <c:v>CHAMPAGNE NICOLAS ROSE 1ERE CU 1CT X 750ML</c:v>
                </c:pt>
                <c:pt idx="7">
                  <c:v>1/2 CHAMP NICOLAS BLC/BLC BS 1CT X 375ML</c:v>
                </c:pt>
                <c:pt idx="8">
                  <c:v>CHAMPAGNE NICOLAS BIO NAT 2017 1CT X 750ML</c:v>
                </c:pt>
                <c:pt idx="9">
                  <c:v>MG CHAMPAGNE NICOLAS BLC/BL BS 1CT X 1500ML</c:v>
                </c:pt>
                <c:pt idx="10">
                  <c:v>1/2 CHAMP NICOLAS ROSE 1E C BS 1CT X 375ML</c:v>
                </c:pt>
                <c:pt idx="11">
                  <c:v>CHAMPAGNE NICOLAS BLC DE NOIRS 1CT X 750ML</c:v>
                </c:pt>
                <c:pt idx="12">
                  <c:v>MG CHAMPAGNE NICOLAS 1ERE CUVE 1CT X 1500ML</c:v>
                </c:pt>
                <c:pt idx="13">
                  <c:v>CHAMPAGNE NICOLAS 1ER CRU BS 1CT X 750ML</c:v>
                </c:pt>
                <c:pt idx="14">
                  <c:v>CHAMPAGNE NICOLAS 1ER CRU ETUI 1CT X 750ML</c:v>
                </c:pt>
                <c:pt idx="15">
                  <c:v>CHAMPAGNE NICOLAS BLC/BLC 2002 1CT X 750ML</c:v>
                </c:pt>
                <c:pt idx="16">
                  <c:v>CHAMPAGNE NICOLAS ROSE 1ERE ET 1CT X 750ML</c:v>
                </c:pt>
                <c:pt idx="17">
                  <c:v>CHAMPAGNE NICOLAS 1ERE CUV ETU 1CT X 750ML</c:v>
                </c:pt>
                <c:pt idx="18">
                  <c:v>CHAMPAGNE NICOLAS ROSE 1E C BS 1CT X 750ML</c:v>
                </c:pt>
                <c:pt idx="19">
                  <c:v>CHAMPAGNE NICOLAS BLC/BL BS ET 1CT X 750ML</c:v>
                </c:pt>
                <c:pt idx="20">
                  <c:v>MG CHAMPAGNE NICOLAS 1E CRU BS 1CT X 1500ML</c:v>
                </c:pt>
                <c:pt idx="21">
                  <c:v>CHAMPAGNE NICOLAS BIO 2018 1CT X 750ML</c:v>
                </c:pt>
                <c:pt idx="22">
                  <c:v>1/2 CHAMPAGNE NICOLAS 1E C BS 1CT X 375ML</c:v>
                </c:pt>
              </c:strCache>
            </c:strRef>
          </c:cat>
          <c:val>
            <c:numRef>
              <c:f>Sheet1!$C$2:$C$24</c:f>
              <c:numCache>
                <c:formatCode>General</c:formatCode>
                <c:ptCount val="23"/>
                <c:pt idx="0">
                  <c:v>0.72139874810344573</c:v>
                </c:pt>
                <c:pt idx="1">
                  <c:v>0.78524668677007803</c:v>
                </c:pt>
                <c:pt idx="2">
                  <c:v>0.8308011788806402</c:v>
                </c:pt>
                <c:pt idx="3">
                  <c:v>0.87633821396395195</c:v>
                </c:pt>
                <c:pt idx="4">
                  <c:v>0.8937345211195874</c:v>
                </c:pt>
                <c:pt idx="5">
                  <c:v>0.91047581025273971</c:v>
                </c:pt>
                <c:pt idx="6">
                  <c:v>0.92305094188252024</c:v>
                </c:pt>
                <c:pt idx="7">
                  <c:v>0.93490274538318552</c:v>
                </c:pt>
                <c:pt idx="8">
                  <c:v>0.94503009819198325</c:v>
                </c:pt>
                <c:pt idx="9">
                  <c:v>0.95437264377569686</c:v>
                </c:pt>
                <c:pt idx="10">
                  <c:v>0.96310647040920028</c:v>
                </c:pt>
                <c:pt idx="11">
                  <c:v>0.97049458794205179</c:v>
                </c:pt>
                <c:pt idx="12">
                  <c:v>0.97734457363487948</c:v>
                </c:pt>
                <c:pt idx="13">
                  <c:v>0.98303176951259219</c:v>
                </c:pt>
                <c:pt idx="14">
                  <c:v>0.98752581552779806</c:v>
                </c:pt>
                <c:pt idx="15">
                  <c:v>0.99181037721599885</c:v>
                </c:pt>
                <c:pt idx="16">
                  <c:v>0.9944888923971611</c:v>
                </c:pt>
                <c:pt idx="17">
                  <c:v>0.99662244472763628</c:v>
                </c:pt>
                <c:pt idx="18">
                  <c:v>0.99840609751191822</c:v>
                </c:pt>
                <c:pt idx="19">
                  <c:v>0.99920228975477432</c:v>
                </c:pt>
                <c:pt idx="20">
                  <c:v>0.99994914692061831</c:v>
                </c:pt>
                <c:pt idx="21">
                  <c:v>0.99998406097511916</c:v>
                </c:pt>
                <c:pt idx="22">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24</c:f>
              <c:strCache>
                <c:ptCount val="23"/>
                <c:pt idx="0">
                  <c:v>CHAMPAGNE E.NICOLAS BRUT 1CT X 750ML</c:v>
                </c:pt>
                <c:pt idx="1">
                  <c:v>CHAMPAGNE NICOLAS BLC/BLC BS 1CT X 750ML</c:v>
                </c:pt>
                <c:pt idx="2">
                  <c:v>CHAMPAGNE E.NICOLAS ROSE 1CT X 750ML</c:v>
                </c:pt>
                <c:pt idx="3">
                  <c:v>CHAMPAGNE NICOLAS 1ERE CUVEE 1CT X 750ML</c:v>
                </c:pt>
                <c:pt idx="4">
                  <c:v>1/2 CHAMPAGNE NICOLAS 1ERE CUV 1CT X 375ML</c:v>
                </c:pt>
                <c:pt idx="5">
                  <c:v>MG CHAMPAGNE E.NICOLAS BRUT 1CT X 1500ML</c:v>
                </c:pt>
                <c:pt idx="6">
                  <c:v>CHAMPAGNE NICOLAS ROSE 1ERE CU 1CT X 750ML</c:v>
                </c:pt>
                <c:pt idx="7">
                  <c:v>1/2 CHAMP NICOLAS BLC/BLC BS 1CT X 375ML</c:v>
                </c:pt>
                <c:pt idx="8">
                  <c:v>CHAMPAGNE NICOLAS BIO NAT 2017 1CT X 750ML</c:v>
                </c:pt>
                <c:pt idx="9">
                  <c:v>MG CHAMPAGNE NICOLAS BLC/BL BS 1CT X 1500ML</c:v>
                </c:pt>
                <c:pt idx="10">
                  <c:v>1/2 CHAMP NICOLAS ROSE 1E C BS 1CT X 375ML</c:v>
                </c:pt>
                <c:pt idx="11">
                  <c:v>CHAMPAGNE NICOLAS BLC DE NOIRS 1CT X 750ML</c:v>
                </c:pt>
                <c:pt idx="12">
                  <c:v>MG CHAMPAGNE NICOLAS 1ERE CUVE 1CT X 1500ML</c:v>
                </c:pt>
                <c:pt idx="13">
                  <c:v>CHAMPAGNE NICOLAS 1ER CRU BS 1CT X 750ML</c:v>
                </c:pt>
                <c:pt idx="14">
                  <c:v>CHAMPAGNE NICOLAS 1ER CRU ETUI 1CT X 750ML</c:v>
                </c:pt>
                <c:pt idx="15">
                  <c:v>CHAMPAGNE NICOLAS BLC/BLC 2002 1CT X 750ML</c:v>
                </c:pt>
                <c:pt idx="16">
                  <c:v>CHAMPAGNE NICOLAS ROSE 1ERE ET 1CT X 750ML</c:v>
                </c:pt>
                <c:pt idx="17">
                  <c:v>CHAMPAGNE NICOLAS 1ERE CUV ETU 1CT X 750ML</c:v>
                </c:pt>
                <c:pt idx="18">
                  <c:v>CHAMPAGNE NICOLAS ROSE 1E C BS 1CT X 750ML</c:v>
                </c:pt>
                <c:pt idx="19">
                  <c:v>CHAMPAGNE NICOLAS BLC/BL BS ET 1CT X 750ML</c:v>
                </c:pt>
                <c:pt idx="20">
                  <c:v>MG CHAMPAGNE NICOLAS 1E CRU BS 1CT X 1500ML</c:v>
                </c:pt>
                <c:pt idx="21">
                  <c:v>CHAMPAGNE NICOLAS BIO 2018 1CT X 750ML</c:v>
                </c:pt>
                <c:pt idx="22">
                  <c:v>1/2 CHAMPAGNE NICOLAS 1E C BS 1CT X 375ML</c:v>
                </c:pt>
              </c:strCache>
            </c:strRef>
          </c:cat>
          <c:val>
            <c:numRef>
              <c:f>Sheet1!$D$2:$D$24</c:f>
              <c:numCache>
                <c:formatCode>General</c:formatCode>
                <c:ptCount val="23"/>
                <c:pt idx="0">
                  <c:v>9504.58</c:v>
                </c:pt>
                <c:pt idx="1">
                  <c:v>1649.4313725490197</c:v>
                </c:pt>
                <c:pt idx="2">
                  <c:v>1071.7678571428571</c:v>
                </c:pt>
                <c:pt idx="3">
                  <c:v>779.16883116883116</c:v>
                </c:pt>
                <c:pt idx="4">
                  <c:v>636.66666666666663</c:v>
                </c:pt>
                <c:pt idx="5">
                  <c:v>1297.4705882352941</c:v>
                </c:pt>
                <c:pt idx="6">
                  <c:v>517.75</c:v>
                </c:pt>
                <c:pt idx="7">
                  <c:v>624.6</c:v>
                </c:pt>
                <c:pt idx="8">
                  <c:v>741.27777777777783</c:v>
                </c:pt>
                <c:pt idx="9">
                  <c:v>946.84615384615381</c:v>
                </c:pt>
                <c:pt idx="10">
                  <c:v>500.30434782608694</c:v>
                </c:pt>
                <c:pt idx="11">
                  <c:v>572.58823529411768</c:v>
                </c:pt>
                <c:pt idx="12">
                  <c:v>1504.1666666666667</c:v>
                </c:pt>
                <c:pt idx="13">
                  <c:v>267.60714285714283</c:v>
                </c:pt>
                <c:pt idx="14">
                  <c:v>311.63157894736844</c:v>
                </c:pt>
                <c:pt idx="15">
                  <c:v>940.83333333333337</c:v>
                </c:pt>
                <c:pt idx="16">
                  <c:v>392.11111111111109</c:v>
                </c:pt>
                <c:pt idx="17">
                  <c:v>175.6875</c:v>
                </c:pt>
                <c:pt idx="18">
                  <c:v>391.66666666666669</c:v>
                </c:pt>
                <c:pt idx="19">
                  <c:v>349.66666666666669</c:v>
                </c:pt>
                <c:pt idx="20">
                  <c:v>196.8</c:v>
                </c:pt>
                <c:pt idx="21">
                  <c:v>23</c:v>
                </c:pt>
                <c:pt idx="22">
                  <c:v>21</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23</c:f>
              <c:strCache>
                <c:ptCount val="22"/>
                <c:pt idx="0">
                  <c:v>CHAMPAGNE E.NICOLAS BRUT 1CT X 750ML</c:v>
                </c:pt>
                <c:pt idx="1">
                  <c:v>CHAMPAGNE NICOLAS BLC/BLC BS 1CT X 750ML</c:v>
                </c:pt>
                <c:pt idx="2">
                  <c:v>CHAMPAGNE E.NICOLAS ROSE 1CT X 750ML</c:v>
                </c:pt>
                <c:pt idx="3">
                  <c:v>CHAMPAGNE NICOLAS 1ERE CUVEE 1CT X 750ML</c:v>
                </c:pt>
                <c:pt idx="4">
                  <c:v>1/2 CHAMPAGNE NICOLAS 1ERE CUV 1CT X 375ML</c:v>
                </c:pt>
                <c:pt idx="5">
                  <c:v>MG CHAMPAGNE E.NICOLAS BRUT 1CT X 1500ML</c:v>
                </c:pt>
                <c:pt idx="6">
                  <c:v>CHAMPAGNE NICOLAS ROSE 1ERE CU 1CT X 750ML</c:v>
                </c:pt>
                <c:pt idx="7">
                  <c:v>CHAMPAGNE NICOLAS BIO NAT 2017 1CT X 750ML</c:v>
                </c:pt>
                <c:pt idx="8">
                  <c:v>1/2 CHAMP NICOLAS BLC/BLC BS 1CT X 375ML</c:v>
                </c:pt>
                <c:pt idx="9">
                  <c:v>CHAMPAGNE NICOLAS 1ER CRU BS 1CT X 750ML</c:v>
                </c:pt>
                <c:pt idx="10">
                  <c:v>MG CHAMPAGNE NICOLAS BLC/BL BS 1CT X 1500ML</c:v>
                </c:pt>
                <c:pt idx="11">
                  <c:v>1/2 CHAMP NICOLAS ROSE 1E C BS 1CT X 375ML</c:v>
                </c:pt>
                <c:pt idx="12">
                  <c:v>MG CHAMPAGNE NICOLAS 1ERE CUVE 1CT X 1500ML</c:v>
                </c:pt>
                <c:pt idx="13">
                  <c:v>CHAMPAGNE NICOLAS BLC DE NOIRS 1CT X 750ML</c:v>
                </c:pt>
                <c:pt idx="14">
                  <c:v>CHAMPAGNE NICOLAS 1ER CRU ETUI 1CT X 750ML</c:v>
                </c:pt>
                <c:pt idx="15">
                  <c:v>CHAMPAGNE NICOLAS 1ERE CUV ETU 1CT X 750ML</c:v>
                </c:pt>
                <c:pt idx="16">
                  <c:v>CHAMPAGNE NICOLAS BLC/BLC 2002 1CT X 750ML</c:v>
                </c:pt>
                <c:pt idx="17">
                  <c:v>CHAMPAGNE NICOLAS ROSE 1ERE ET 1CT X 750ML</c:v>
                </c:pt>
                <c:pt idx="18">
                  <c:v>CHAMPAGNE NICOLAS ROSE 1E C BS 1CT X 750ML</c:v>
                </c:pt>
                <c:pt idx="19">
                  <c:v>MG CHAMPAGNE NICOLAS 1E CRU BS 1CT X 1500ML</c:v>
                </c:pt>
                <c:pt idx="20">
                  <c:v>CHAMPAGNE NICOLAS BLC/BL BS ET 1CT X 750ML</c:v>
                </c:pt>
                <c:pt idx="21">
                  <c:v>1/2 CHAMPAGNE NICOLAS 1E C BS 1CT X 375ML</c:v>
                </c:pt>
              </c:strCache>
            </c:strRef>
          </c:cat>
          <c:val>
            <c:numRef>
              <c:f>Sheet1!$B$2:$B$23</c:f>
              <c:numCache>
                <c:formatCode>General</c:formatCode>
                <c:ptCount val="22"/>
                <c:pt idx="0">
                  <c:v>0.99</c:v>
                </c:pt>
                <c:pt idx="1">
                  <c:v>0.51</c:v>
                </c:pt>
                <c:pt idx="2">
                  <c:v>0.53</c:v>
                </c:pt>
                <c:pt idx="3">
                  <c:v>0.62</c:v>
                </c:pt>
                <c:pt idx="4">
                  <c:v>0.25</c:v>
                </c:pt>
                <c:pt idx="5">
                  <c:v>0.15</c:v>
                </c:pt>
                <c:pt idx="6">
                  <c:v>0.28000000000000003</c:v>
                </c:pt>
                <c:pt idx="7">
                  <c:v>0.18</c:v>
                </c:pt>
                <c:pt idx="8">
                  <c:v>0.15</c:v>
                </c:pt>
                <c:pt idx="9">
                  <c:v>0.28000000000000003</c:v>
                </c:pt>
                <c:pt idx="10">
                  <c:v>0.08</c:v>
                </c:pt>
                <c:pt idx="11">
                  <c:v>0.18</c:v>
                </c:pt>
                <c:pt idx="12">
                  <c:v>0.06</c:v>
                </c:pt>
                <c:pt idx="13">
                  <c:v>0.13</c:v>
                </c:pt>
                <c:pt idx="14">
                  <c:v>0.1</c:v>
                </c:pt>
                <c:pt idx="15">
                  <c:v>0.15</c:v>
                </c:pt>
                <c:pt idx="16">
                  <c:v>0.03</c:v>
                </c:pt>
                <c:pt idx="17">
                  <c:v>0.05</c:v>
                </c:pt>
                <c:pt idx="18">
                  <c:v>7.0000000000000007E-2</c:v>
                </c:pt>
                <c:pt idx="19">
                  <c:v>0.03</c:v>
                </c:pt>
                <c:pt idx="20">
                  <c:v>0.04</c:v>
                </c:pt>
                <c:pt idx="21">
                  <c:v>0.01</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7ECAC4"/>
              </a:solidFill>
            </c:spPr>
            <c:extLst>
              <c:ext xmlns:c16="http://schemas.microsoft.com/office/drawing/2014/chart" uri="{C3380CC4-5D6E-409C-BE32-E72D297353CC}">
                <c16:uniqueId val="{00000006-E902-46E2-9A54-39A26B3DFDC1}"/>
              </c:ext>
            </c:extLst>
          </c:dPt>
          <c:dPt>
            <c:idx val="3"/>
            <c:invertIfNegative val="0"/>
            <c:bubble3D val="0"/>
            <c:spPr>
              <a:solidFill>
                <a:srgbClr val="7ECAC4"/>
              </a:solidFill>
            </c:spPr>
            <c:extLst>
              <c:ext xmlns:c16="http://schemas.microsoft.com/office/drawing/2014/chart" uri="{C3380CC4-5D6E-409C-BE32-E72D297353CC}">
                <c16:uniqueId val="{00000007-E902-46E2-9A54-39A26B3DFDC1}"/>
              </c:ext>
            </c:extLst>
          </c:dPt>
          <c:dPt>
            <c:idx val="4"/>
            <c:invertIfNegative val="1"/>
            <c:bubble3D val="0"/>
            <c:spPr>
              <a:solidFill>
                <a:srgbClr val="7ECAC4"/>
              </a:solidFill>
            </c:spPr>
            <c:extLst>
              <c:ext xmlns:c16="http://schemas.microsoft.com/office/drawing/2014/chart" uri="{C3380CC4-5D6E-409C-BE32-E72D297353CC}">
                <c16:uniqueId val="{0000000B-FA3E-4872-B6E1-C4ABDF5766E2}"/>
              </c:ext>
            </c:extLst>
          </c:dPt>
          <c:dPt>
            <c:idx val="5"/>
            <c:invertIfNegative val="1"/>
            <c:bubble3D val="0"/>
            <c:spPr>
              <a:solidFill>
                <a:srgbClr val="7ECAC4"/>
              </a:solidFill>
            </c:spPr>
            <c:extLst>
              <c:ext xmlns:c16="http://schemas.microsoft.com/office/drawing/2014/chart" uri="{C3380CC4-5D6E-409C-BE32-E72D297353CC}">
                <c16:uniqueId val="{0000000D-FA3E-4872-B6E1-C4ABDF5766E2}"/>
              </c:ext>
            </c:extLst>
          </c:dPt>
          <c:dPt>
            <c:idx val="6"/>
            <c:invertIfNegative val="1"/>
            <c:bubble3D val="0"/>
            <c:spPr>
              <a:solidFill>
                <a:srgbClr val="7ECAC4"/>
              </a:solidFill>
            </c:spPr>
            <c:extLst>
              <c:ext xmlns:c16="http://schemas.microsoft.com/office/drawing/2014/chart" uri="{C3380CC4-5D6E-409C-BE32-E72D297353CC}">
                <c16:uniqueId val="{0000000F-FA3E-4872-B6E1-C4ABDF5766E2}"/>
              </c:ext>
            </c:extLst>
          </c:dPt>
          <c:dPt>
            <c:idx val="7"/>
            <c:invertIfNegative val="1"/>
            <c:bubble3D val="0"/>
            <c:spPr>
              <a:solidFill>
                <a:srgbClr val="7ECAC4"/>
              </a:solidFill>
            </c:spPr>
            <c:extLst>
              <c:ext xmlns:c16="http://schemas.microsoft.com/office/drawing/2014/chart" uri="{C3380CC4-5D6E-409C-BE32-E72D297353CC}">
                <c16:uniqueId val="{00000011-FA3E-4872-B6E1-C4ABDF5766E2}"/>
              </c:ext>
            </c:extLst>
          </c:dPt>
          <c:dPt>
            <c:idx val="8"/>
            <c:invertIfNegative val="1"/>
            <c:bubble3D val="0"/>
            <c:spPr>
              <a:solidFill>
                <a:srgbClr val="7ECAC4"/>
              </a:solidFill>
            </c:spPr>
            <c:extLst>
              <c:ext xmlns:c16="http://schemas.microsoft.com/office/drawing/2014/chart" uri="{C3380CC4-5D6E-409C-BE32-E72D297353CC}">
                <c16:uniqueId val="{00000013-FA3E-4872-B6E1-C4ABDF5766E2}"/>
              </c:ext>
            </c:extLst>
          </c:dPt>
          <c:dPt>
            <c:idx val="9"/>
            <c:invertIfNegative val="1"/>
            <c:bubble3D val="0"/>
            <c:spPr>
              <a:solidFill>
                <a:srgbClr val="AEABAB"/>
              </a:solidFill>
            </c:spPr>
            <c:extLst>
              <c:ext xmlns:c16="http://schemas.microsoft.com/office/drawing/2014/chart" uri="{C3380CC4-5D6E-409C-BE32-E72D297353CC}">
                <c16:uniqueId val="{00000015-FA3E-4872-B6E1-C4ABDF5766E2}"/>
              </c:ext>
            </c:extLst>
          </c:dPt>
          <c:dPt>
            <c:idx val="10"/>
            <c:invertIfNegative val="1"/>
            <c:bubble3D val="0"/>
            <c:spPr>
              <a:solidFill>
                <a:srgbClr val="AEABAB"/>
              </a:solidFill>
            </c:spPr>
            <c:extLst>
              <c:ext xmlns:c16="http://schemas.microsoft.com/office/drawing/2014/chart" uri="{C3380CC4-5D6E-409C-BE32-E72D297353CC}">
                <c16:uniqueId val="{00000017-FA3E-4872-B6E1-C4ABDF5766E2}"/>
              </c:ext>
            </c:extLst>
          </c:dPt>
          <c:dPt>
            <c:idx val="11"/>
            <c:invertIfNegative val="1"/>
            <c:bubble3D val="0"/>
            <c:spPr>
              <a:solidFill>
                <a:srgbClr val="AEABAB"/>
              </a:solidFill>
            </c:spPr>
            <c:extLst>
              <c:ext xmlns:c16="http://schemas.microsoft.com/office/drawing/2014/chart" uri="{C3380CC4-5D6E-409C-BE32-E72D297353CC}">
                <c16:uniqueId val="{00000019-FA3E-4872-B6E1-C4ABDF5766E2}"/>
              </c:ext>
            </c:extLst>
          </c:dPt>
          <c:dPt>
            <c:idx val="12"/>
            <c:invertIfNegative val="1"/>
            <c:bubble3D val="0"/>
            <c:spPr>
              <a:solidFill>
                <a:srgbClr val="AEABAB"/>
              </a:solidFill>
            </c:spPr>
            <c:extLst>
              <c:ext xmlns:c16="http://schemas.microsoft.com/office/drawing/2014/chart" uri="{C3380CC4-5D6E-409C-BE32-E72D297353CC}">
                <c16:uniqueId val="{0000001B-FA3E-4872-B6E1-C4ABDF5766E2}"/>
              </c:ext>
            </c:extLst>
          </c:dPt>
          <c:dPt>
            <c:idx val="13"/>
            <c:invertIfNegative val="1"/>
            <c:bubble3D val="0"/>
            <c:spPr>
              <a:solidFill>
                <a:srgbClr val="AEABAB"/>
              </a:solidFill>
            </c:spPr>
            <c:extLst>
              <c:ext xmlns:c16="http://schemas.microsoft.com/office/drawing/2014/chart" uri="{C3380CC4-5D6E-409C-BE32-E72D297353CC}">
                <c16:uniqueId val="{0000001D-FA3E-4872-B6E1-C4ABDF5766E2}"/>
              </c:ext>
            </c:extLst>
          </c:dPt>
          <c:dPt>
            <c:idx val="14"/>
            <c:invertIfNegative val="1"/>
            <c:bubble3D val="0"/>
            <c:spPr>
              <a:solidFill>
                <a:srgbClr val="AEABAB"/>
              </a:solidFill>
            </c:spPr>
            <c:extLst>
              <c:ext xmlns:c16="http://schemas.microsoft.com/office/drawing/2014/chart" uri="{C3380CC4-5D6E-409C-BE32-E72D297353CC}">
                <c16:uniqueId val="{0000001F-FA3E-4872-B6E1-C4ABDF5766E2}"/>
              </c:ext>
            </c:extLst>
          </c:dPt>
          <c:dPt>
            <c:idx val="15"/>
            <c:invertIfNegative val="1"/>
            <c:bubble3D val="0"/>
            <c:spPr>
              <a:solidFill>
                <a:srgbClr val="AEABAB"/>
              </a:solidFill>
            </c:spPr>
            <c:extLst>
              <c:ext xmlns:c16="http://schemas.microsoft.com/office/drawing/2014/chart" uri="{C3380CC4-5D6E-409C-BE32-E72D297353CC}">
                <c16:uniqueId val="{00000021-FA3E-4872-B6E1-C4ABDF5766E2}"/>
              </c:ext>
            </c:extLst>
          </c:dPt>
          <c:dPt>
            <c:idx val="16"/>
            <c:invertIfNegative val="1"/>
            <c:bubble3D val="0"/>
            <c:spPr>
              <a:solidFill>
                <a:srgbClr val="AEABAB"/>
              </a:solidFill>
            </c:spPr>
            <c:extLst>
              <c:ext xmlns:c16="http://schemas.microsoft.com/office/drawing/2014/chart" uri="{C3380CC4-5D6E-409C-BE32-E72D297353CC}">
                <c16:uniqueId val="{00000023-FA3E-4872-B6E1-C4ABDF5766E2}"/>
              </c:ext>
            </c:extLst>
          </c:dPt>
          <c:dPt>
            <c:idx val="17"/>
            <c:invertIfNegative val="1"/>
            <c:bubble3D val="0"/>
            <c:spPr>
              <a:solidFill>
                <a:srgbClr val="AEABAB"/>
              </a:solidFill>
            </c:spPr>
            <c:extLst>
              <c:ext xmlns:c16="http://schemas.microsoft.com/office/drawing/2014/chart" uri="{C3380CC4-5D6E-409C-BE32-E72D297353CC}">
                <c16:uniqueId val="{00000025-FA3E-4872-B6E1-C4ABDF5766E2}"/>
              </c:ext>
            </c:extLst>
          </c:dPt>
          <c:dPt>
            <c:idx val="18"/>
            <c:invertIfNegative val="1"/>
            <c:bubble3D val="0"/>
            <c:spPr>
              <a:solidFill>
                <a:srgbClr val="AEABAB"/>
              </a:solidFill>
            </c:spPr>
            <c:extLst>
              <c:ext xmlns:c16="http://schemas.microsoft.com/office/drawing/2014/chart" uri="{C3380CC4-5D6E-409C-BE32-E72D297353CC}">
                <c16:uniqueId val="{00000027-FA3E-4872-B6E1-C4ABDF5766E2}"/>
              </c:ext>
            </c:extLst>
          </c:dPt>
          <c:dPt>
            <c:idx val="19"/>
            <c:invertIfNegative val="1"/>
            <c:bubble3D val="0"/>
            <c:spPr>
              <a:solidFill>
                <a:srgbClr val="AEABAB"/>
              </a:solidFill>
            </c:spPr>
            <c:extLst>
              <c:ext xmlns:c16="http://schemas.microsoft.com/office/drawing/2014/chart" uri="{C3380CC4-5D6E-409C-BE32-E72D297353CC}">
                <c16:uniqueId val="{00000029-FA3E-4872-B6E1-C4ABDF5766E2}"/>
              </c:ext>
            </c:extLst>
          </c:dPt>
          <c:dPt>
            <c:idx val="20"/>
            <c:invertIfNegative val="1"/>
            <c:bubble3D val="0"/>
            <c:spPr>
              <a:solidFill>
                <a:srgbClr val="AEABAB"/>
              </a:solidFill>
            </c:spPr>
            <c:extLst>
              <c:ext xmlns:c16="http://schemas.microsoft.com/office/drawing/2014/chart" uri="{C3380CC4-5D6E-409C-BE32-E72D297353CC}">
                <c16:uniqueId val="{0000002B-FA3E-4872-B6E1-C4ABDF5766E2}"/>
              </c:ext>
            </c:extLst>
          </c:dPt>
          <c:dPt>
            <c:idx val="21"/>
            <c:invertIfNegative val="1"/>
            <c:bubble3D val="0"/>
            <c:spPr>
              <a:solidFill>
                <a:srgbClr val="AEABAB"/>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23</c:f>
              <c:strCache>
                <c:ptCount val="22"/>
                <c:pt idx="0">
                  <c:v>CHAMPAGNE E.NICOLAS BRUT 1CT X 750ML</c:v>
                </c:pt>
                <c:pt idx="1">
                  <c:v>CHAMPAGNE NICOLAS BLC/BLC BS 1CT X 750ML</c:v>
                </c:pt>
                <c:pt idx="2">
                  <c:v>CHAMPAGNE E.NICOLAS ROSE 1CT X 750ML</c:v>
                </c:pt>
                <c:pt idx="3">
                  <c:v>CHAMPAGNE NICOLAS 1ERE CUVEE 1CT X 750ML</c:v>
                </c:pt>
                <c:pt idx="4">
                  <c:v>1/2 CHAMPAGNE NICOLAS 1ERE CUV 1CT X 375ML</c:v>
                </c:pt>
                <c:pt idx="5">
                  <c:v>MG CHAMPAGNE E.NICOLAS BRUT 1CT X 1500ML</c:v>
                </c:pt>
                <c:pt idx="6">
                  <c:v>CHAMPAGNE NICOLAS ROSE 1ERE CU 1CT X 750ML</c:v>
                </c:pt>
                <c:pt idx="7">
                  <c:v>CHAMPAGNE NICOLAS BIO NAT 2017 1CT X 750ML</c:v>
                </c:pt>
                <c:pt idx="8">
                  <c:v>1/2 CHAMP NICOLAS BLC/BLC BS 1CT X 375ML</c:v>
                </c:pt>
                <c:pt idx="9">
                  <c:v>CHAMPAGNE NICOLAS 1ER CRU BS 1CT X 750ML</c:v>
                </c:pt>
                <c:pt idx="10">
                  <c:v>MG CHAMPAGNE NICOLAS BLC/BL BS 1CT X 1500ML</c:v>
                </c:pt>
                <c:pt idx="11">
                  <c:v>1/2 CHAMP NICOLAS ROSE 1E C BS 1CT X 375ML</c:v>
                </c:pt>
                <c:pt idx="12">
                  <c:v>MG CHAMPAGNE NICOLAS 1ERE CUVE 1CT X 1500ML</c:v>
                </c:pt>
                <c:pt idx="13">
                  <c:v>CHAMPAGNE NICOLAS BLC DE NOIRS 1CT X 750ML</c:v>
                </c:pt>
                <c:pt idx="14">
                  <c:v>CHAMPAGNE NICOLAS 1ER CRU ETUI 1CT X 750ML</c:v>
                </c:pt>
                <c:pt idx="15">
                  <c:v>CHAMPAGNE NICOLAS 1ERE CUV ETU 1CT X 750ML</c:v>
                </c:pt>
                <c:pt idx="16">
                  <c:v>CHAMPAGNE NICOLAS BLC/BLC 2002 1CT X 750ML</c:v>
                </c:pt>
                <c:pt idx="17">
                  <c:v>CHAMPAGNE NICOLAS ROSE 1ERE ET 1CT X 750ML</c:v>
                </c:pt>
                <c:pt idx="18">
                  <c:v>CHAMPAGNE NICOLAS ROSE 1E C BS 1CT X 750ML</c:v>
                </c:pt>
                <c:pt idx="19">
                  <c:v>MG CHAMPAGNE NICOLAS 1E CRU BS 1CT X 1500ML</c:v>
                </c:pt>
                <c:pt idx="20">
                  <c:v>CHAMPAGNE NICOLAS BLC/BL BS ET 1CT X 750ML</c:v>
                </c:pt>
                <c:pt idx="21">
                  <c:v>1/2 CHAMPAGNE NICOLAS 1E C BS 1CT X 375ML</c:v>
                </c:pt>
              </c:strCache>
            </c:strRef>
          </c:cat>
          <c:val>
            <c:numRef>
              <c:f>Sheet1!$C$2:$C$23</c:f>
              <c:numCache>
                <c:formatCode>General</c:formatCode>
                <c:ptCount val="22"/>
                <c:pt idx="0">
                  <c:v>0.71336255755595335</c:v>
                </c:pt>
                <c:pt idx="1">
                  <c:v>0.77642003924358383</c:v>
                </c:pt>
                <c:pt idx="2">
                  <c:v>0.82817153823904188</c:v>
                </c:pt>
                <c:pt idx="3">
                  <c:v>0.87143719853970092</c:v>
                </c:pt>
                <c:pt idx="4">
                  <c:v>0.89001047537895073</c:v>
                </c:pt>
                <c:pt idx="5">
                  <c:v>0.90689713803266125</c:v>
                </c:pt>
                <c:pt idx="6">
                  <c:v>0.92042816157099405</c:v>
                </c:pt>
                <c:pt idx="7">
                  <c:v>0.93354779196210091</c:v>
                </c:pt>
                <c:pt idx="8">
                  <c:v>0.94312709605297096</c:v>
                </c:pt>
                <c:pt idx="9">
                  <c:v>0.95126701271898617</c:v>
                </c:pt>
                <c:pt idx="10">
                  <c:v>0.95916067980518915</c:v>
                </c:pt>
                <c:pt idx="11">
                  <c:v>0.96695076571893146</c:v>
                </c:pt>
                <c:pt idx="12">
                  <c:v>0.97369526809934404</c:v>
                </c:pt>
                <c:pt idx="13">
                  <c:v>0.97972447408125451</c:v>
                </c:pt>
                <c:pt idx="14">
                  <c:v>0.98495239174790294</c:v>
                </c:pt>
                <c:pt idx="15">
                  <c:v>0.98868424549910483</c:v>
                </c:pt>
                <c:pt idx="16">
                  <c:v>0.99236528584494865</c:v>
                </c:pt>
                <c:pt idx="17">
                  <c:v>0.99543363378387872</c:v>
                </c:pt>
                <c:pt idx="18">
                  <c:v>0.99713686004424662</c:v>
                </c:pt>
                <c:pt idx="19">
                  <c:v>0.99876777492006652</c:v>
                </c:pt>
                <c:pt idx="20">
                  <c:v>0.99987101212486018</c:v>
                </c:pt>
                <c:pt idx="21">
                  <c:v>0.99999999999999989</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23</c:f>
              <c:strCache>
                <c:ptCount val="22"/>
                <c:pt idx="0">
                  <c:v>CHAMPAGNE E.NICOLAS BRUT 1CT X 750ML</c:v>
                </c:pt>
                <c:pt idx="1">
                  <c:v>CHAMPAGNE NICOLAS BLC/BLC BS 1CT X 750ML</c:v>
                </c:pt>
                <c:pt idx="2">
                  <c:v>CHAMPAGNE E.NICOLAS ROSE 1CT X 750ML</c:v>
                </c:pt>
                <c:pt idx="3">
                  <c:v>CHAMPAGNE NICOLAS 1ERE CUVEE 1CT X 750ML</c:v>
                </c:pt>
                <c:pt idx="4">
                  <c:v>1/2 CHAMPAGNE NICOLAS 1ERE CUV 1CT X 375ML</c:v>
                </c:pt>
                <c:pt idx="5">
                  <c:v>MG CHAMPAGNE E.NICOLAS BRUT 1CT X 1500ML</c:v>
                </c:pt>
                <c:pt idx="6">
                  <c:v>CHAMPAGNE NICOLAS ROSE 1ERE CU 1CT X 750ML</c:v>
                </c:pt>
                <c:pt idx="7">
                  <c:v>CHAMPAGNE NICOLAS BIO NAT 2017 1CT X 750ML</c:v>
                </c:pt>
                <c:pt idx="8">
                  <c:v>1/2 CHAMP NICOLAS BLC/BLC BS 1CT X 375ML</c:v>
                </c:pt>
                <c:pt idx="9">
                  <c:v>CHAMPAGNE NICOLAS 1ER CRU BS 1CT X 750ML</c:v>
                </c:pt>
                <c:pt idx="10">
                  <c:v>MG CHAMPAGNE NICOLAS BLC/BL BS 1CT X 1500ML</c:v>
                </c:pt>
                <c:pt idx="11">
                  <c:v>1/2 CHAMP NICOLAS ROSE 1E C BS 1CT X 375ML</c:v>
                </c:pt>
                <c:pt idx="12">
                  <c:v>MG CHAMPAGNE NICOLAS 1ERE CUVE 1CT X 1500ML</c:v>
                </c:pt>
                <c:pt idx="13">
                  <c:v>CHAMPAGNE NICOLAS BLC DE NOIRS 1CT X 750ML</c:v>
                </c:pt>
                <c:pt idx="14">
                  <c:v>CHAMPAGNE NICOLAS 1ER CRU ETUI 1CT X 750ML</c:v>
                </c:pt>
                <c:pt idx="15">
                  <c:v>CHAMPAGNE NICOLAS 1ERE CUV ETU 1CT X 750ML</c:v>
                </c:pt>
                <c:pt idx="16">
                  <c:v>CHAMPAGNE NICOLAS BLC/BLC 2002 1CT X 750ML</c:v>
                </c:pt>
                <c:pt idx="17">
                  <c:v>CHAMPAGNE NICOLAS ROSE 1ERE ET 1CT X 750ML</c:v>
                </c:pt>
                <c:pt idx="18">
                  <c:v>CHAMPAGNE NICOLAS ROSE 1E C BS 1CT X 750ML</c:v>
                </c:pt>
                <c:pt idx="19">
                  <c:v>MG CHAMPAGNE NICOLAS 1E CRU BS 1CT X 1500ML</c:v>
                </c:pt>
                <c:pt idx="20">
                  <c:v>CHAMPAGNE NICOLAS BLC/BL BS ET 1CT X 750ML</c:v>
                </c:pt>
                <c:pt idx="21">
                  <c:v>1/2 CHAMPAGNE NICOLAS 1E C BS 1CT X 375ML</c:v>
                </c:pt>
              </c:strCache>
            </c:strRef>
          </c:cat>
          <c:val>
            <c:numRef>
              <c:f>Sheet1!$D$2:$D$23</c:f>
              <c:numCache>
                <c:formatCode>General</c:formatCode>
                <c:ptCount val="22"/>
                <c:pt idx="0">
                  <c:v>7373.9494949494947</c:v>
                </c:pt>
                <c:pt idx="1">
                  <c:v>1265.2941176470588</c:v>
                </c:pt>
                <c:pt idx="2">
                  <c:v>999.24528301886789</c:v>
                </c:pt>
                <c:pt idx="3">
                  <c:v>714.12903225806451</c:v>
                </c:pt>
                <c:pt idx="4">
                  <c:v>760.28</c:v>
                </c:pt>
                <c:pt idx="5">
                  <c:v>1152.0666666666666</c:v>
                </c:pt>
                <c:pt idx="6">
                  <c:v>494.53571428571422</c:v>
                </c:pt>
                <c:pt idx="7">
                  <c:v>745.88888888888891</c:v>
                </c:pt>
                <c:pt idx="8">
                  <c:v>653.5333333333333</c:v>
                </c:pt>
                <c:pt idx="9">
                  <c:v>297.49999999999994</c:v>
                </c:pt>
                <c:pt idx="10">
                  <c:v>1009.75</c:v>
                </c:pt>
                <c:pt idx="11">
                  <c:v>442.88888888888891</c:v>
                </c:pt>
                <c:pt idx="12">
                  <c:v>1150.3333333333333</c:v>
                </c:pt>
                <c:pt idx="13">
                  <c:v>474.61538461538464</c:v>
                </c:pt>
                <c:pt idx="14">
                  <c:v>535</c:v>
                </c:pt>
                <c:pt idx="15">
                  <c:v>254.6</c:v>
                </c:pt>
                <c:pt idx="16">
                  <c:v>1255.6666666666667</c:v>
                </c:pt>
                <c:pt idx="17">
                  <c:v>628</c:v>
                </c:pt>
                <c:pt idx="18">
                  <c:v>248.99999999999997</c:v>
                </c:pt>
                <c:pt idx="19">
                  <c:v>556.33333333333337</c:v>
                </c:pt>
                <c:pt idx="20">
                  <c:v>282.25</c:v>
                </c:pt>
                <c:pt idx="21">
                  <c:v>132</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23</c:f>
              <c:strCache>
                <c:ptCount val="22"/>
                <c:pt idx="0">
                  <c:v>CHAMPAGNE E.NICOLAS BRUT 1CT X 750ML</c:v>
                </c:pt>
                <c:pt idx="1">
                  <c:v>CHAMPAGNE NICOLAS BLC/BLC BS 1CT X 750ML</c:v>
                </c:pt>
                <c:pt idx="2">
                  <c:v>CHAMPAGNE E.NICOLAS ROSE 1CT X 750ML</c:v>
                </c:pt>
                <c:pt idx="3">
                  <c:v>CHAMPAGNE NICOLAS 1ERE CUVEE 1CT X 750ML</c:v>
                </c:pt>
                <c:pt idx="4">
                  <c:v>MG CHAMPAGNE E.NICOLAS BRUT 1CT X 1500ML</c:v>
                </c:pt>
                <c:pt idx="5">
                  <c:v>1/2 CHAMPAGNE NICOLAS 1ERE CUV 1CT X 375ML</c:v>
                </c:pt>
                <c:pt idx="6">
                  <c:v>CHAMPAGNE NICOLAS 1ER CRU BS 1CT X 750ML</c:v>
                </c:pt>
                <c:pt idx="7">
                  <c:v>MG CHAMPAGNE NICOLAS BLC/BL BS 1CT X 1500ML</c:v>
                </c:pt>
                <c:pt idx="8">
                  <c:v>CHAMPAGNE NICOLAS BIO NAT 2017 1CT X 750ML</c:v>
                </c:pt>
                <c:pt idx="9">
                  <c:v>1/2 CHAMP NICOLAS BLC/BLC BS 1CT X 375ML</c:v>
                </c:pt>
                <c:pt idx="10">
                  <c:v>1/2 CHAMP NICOLAS ROSE 1E C BS 1CT X 375ML</c:v>
                </c:pt>
                <c:pt idx="11">
                  <c:v>CHAMPAGNE NICOLAS ROSE 1ERE CU 1CT X 750ML</c:v>
                </c:pt>
                <c:pt idx="12">
                  <c:v>MG CHAMPAGNE NICOLAS 1ERE CUVE 1CT X 1500ML</c:v>
                </c:pt>
                <c:pt idx="13">
                  <c:v>CHAMPAGNE NICOLAS BLC DE NOIRS 1CT X 750ML</c:v>
                </c:pt>
                <c:pt idx="14">
                  <c:v>CHAMPAGNE NICOLAS 1ERE CUV ETU 1CT X 750ML</c:v>
                </c:pt>
                <c:pt idx="15">
                  <c:v>CHAMPAGNE NICOLAS BLC/BLC 2002 1CT X 750ML</c:v>
                </c:pt>
                <c:pt idx="16">
                  <c:v>CHAMPAGNE NICOLAS ROSE 1E C BS 1CT X 750ML</c:v>
                </c:pt>
                <c:pt idx="17">
                  <c:v>CHAMPAGNE NICOLAS BLC/BL BS ET 1CT X 750ML</c:v>
                </c:pt>
                <c:pt idx="18">
                  <c:v>MG CHAMPAGNE NICOLAS 1E CRU BS 1CT X 1500ML</c:v>
                </c:pt>
                <c:pt idx="19">
                  <c:v>CHAMPAGNE NICOLAS 1ER CRU ETUI 1CT X 750ML</c:v>
                </c:pt>
                <c:pt idx="20">
                  <c:v>CHAMPAGNE NICOLAS ROSE 1ERE ET 1CT X 750ML</c:v>
                </c:pt>
                <c:pt idx="21">
                  <c:v>1/2 CHAMPAGNE NICOLAS 1E C BS 1CT X 375ML</c:v>
                </c:pt>
              </c:strCache>
            </c:strRef>
          </c:cat>
          <c:val>
            <c:numRef>
              <c:f>Sheet1!$B$2:$B$23</c:f>
              <c:numCache>
                <c:formatCode>General</c:formatCode>
                <c:ptCount val="22"/>
                <c:pt idx="0">
                  <c:v>0.97</c:v>
                </c:pt>
                <c:pt idx="1">
                  <c:v>0.34</c:v>
                </c:pt>
                <c:pt idx="2">
                  <c:v>0.45</c:v>
                </c:pt>
                <c:pt idx="3">
                  <c:v>0.55000000000000004</c:v>
                </c:pt>
                <c:pt idx="4">
                  <c:v>0.15</c:v>
                </c:pt>
                <c:pt idx="5">
                  <c:v>0.22</c:v>
                </c:pt>
                <c:pt idx="6">
                  <c:v>0.43</c:v>
                </c:pt>
                <c:pt idx="7">
                  <c:v>0.1</c:v>
                </c:pt>
                <c:pt idx="8">
                  <c:v>0.1</c:v>
                </c:pt>
                <c:pt idx="9">
                  <c:v>0.17</c:v>
                </c:pt>
                <c:pt idx="10">
                  <c:v>0.2</c:v>
                </c:pt>
                <c:pt idx="11">
                  <c:v>0.17</c:v>
                </c:pt>
                <c:pt idx="12">
                  <c:v>0.06</c:v>
                </c:pt>
                <c:pt idx="13">
                  <c:v>7.0000000000000007E-2</c:v>
                </c:pt>
                <c:pt idx="14">
                  <c:v>0.13</c:v>
                </c:pt>
                <c:pt idx="15">
                  <c:v>0.06</c:v>
                </c:pt>
                <c:pt idx="16">
                  <c:v>0.04</c:v>
                </c:pt>
                <c:pt idx="17">
                  <c:v>0.04</c:v>
                </c:pt>
                <c:pt idx="18">
                  <c:v>0.04</c:v>
                </c:pt>
                <c:pt idx="19">
                  <c:v>0.02</c:v>
                </c:pt>
                <c:pt idx="20">
                  <c:v>0.03</c:v>
                </c:pt>
                <c:pt idx="21">
                  <c:v>0.01</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7ECAC4"/>
              </a:solidFill>
            </c:spPr>
            <c:extLst>
              <c:ext xmlns:c16="http://schemas.microsoft.com/office/drawing/2014/chart" uri="{C3380CC4-5D6E-409C-BE32-E72D297353CC}">
                <c16:uniqueId val="{00000006-E902-46E2-9A54-39A26B3DFDC1}"/>
              </c:ext>
            </c:extLst>
          </c:dPt>
          <c:dPt>
            <c:idx val="3"/>
            <c:invertIfNegative val="0"/>
            <c:bubble3D val="0"/>
            <c:spPr>
              <a:solidFill>
                <a:srgbClr val="7ECAC4"/>
              </a:solidFill>
            </c:spPr>
            <c:extLst>
              <c:ext xmlns:c16="http://schemas.microsoft.com/office/drawing/2014/chart" uri="{C3380CC4-5D6E-409C-BE32-E72D297353CC}">
                <c16:uniqueId val="{00000007-E902-46E2-9A54-39A26B3DFDC1}"/>
              </c:ext>
            </c:extLst>
          </c:dPt>
          <c:dPt>
            <c:idx val="4"/>
            <c:invertIfNegative val="1"/>
            <c:bubble3D val="0"/>
            <c:spPr>
              <a:solidFill>
                <a:srgbClr val="7ECAC4"/>
              </a:solidFill>
            </c:spPr>
            <c:extLst>
              <c:ext xmlns:c16="http://schemas.microsoft.com/office/drawing/2014/chart" uri="{C3380CC4-5D6E-409C-BE32-E72D297353CC}">
                <c16:uniqueId val="{0000000B-FA3E-4872-B6E1-C4ABDF5766E2}"/>
              </c:ext>
            </c:extLst>
          </c:dPt>
          <c:dPt>
            <c:idx val="5"/>
            <c:invertIfNegative val="1"/>
            <c:bubble3D val="0"/>
            <c:spPr>
              <a:solidFill>
                <a:srgbClr val="7ECAC4"/>
              </a:solidFill>
            </c:spPr>
            <c:extLst>
              <c:ext xmlns:c16="http://schemas.microsoft.com/office/drawing/2014/chart" uri="{C3380CC4-5D6E-409C-BE32-E72D297353CC}">
                <c16:uniqueId val="{0000000D-FA3E-4872-B6E1-C4ABDF5766E2}"/>
              </c:ext>
            </c:extLst>
          </c:dPt>
          <c:dPt>
            <c:idx val="6"/>
            <c:invertIfNegative val="1"/>
            <c:bubble3D val="0"/>
            <c:spPr>
              <a:solidFill>
                <a:srgbClr val="7ECAC4"/>
              </a:solidFill>
            </c:spPr>
            <c:extLst>
              <c:ext xmlns:c16="http://schemas.microsoft.com/office/drawing/2014/chart" uri="{C3380CC4-5D6E-409C-BE32-E72D297353CC}">
                <c16:uniqueId val="{0000000F-FA3E-4872-B6E1-C4ABDF5766E2}"/>
              </c:ext>
            </c:extLst>
          </c:dPt>
          <c:dPt>
            <c:idx val="7"/>
            <c:invertIfNegative val="1"/>
            <c:bubble3D val="0"/>
            <c:spPr>
              <a:solidFill>
                <a:srgbClr val="7ECAC4"/>
              </a:solidFill>
            </c:spPr>
            <c:extLst>
              <c:ext xmlns:c16="http://schemas.microsoft.com/office/drawing/2014/chart" uri="{C3380CC4-5D6E-409C-BE32-E72D297353CC}">
                <c16:uniqueId val="{00000011-FA3E-4872-B6E1-C4ABDF5766E2}"/>
              </c:ext>
            </c:extLst>
          </c:dPt>
          <c:dPt>
            <c:idx val="8"/>
            <c:invertIfNegative val="1"/>
            <c:bubble3D val="0"/>
            <c:spPr>
              <a:solidFill>
                <a:srgbClr val="7ECAC4"/>
              </a:solidFill>
            </c:spPr>
            <c:extLst>
              <c:ext xmlns:c16="http://schemas.microsoft.com/office/drawing/2014/chart" uri="{C3380CC4-5D6E-409C-BE32-E72D297353CC}">
                <c16:uniqueId val="{00000013-FA3E-4872-B6E1-C4ABDF5766E2}"/>
              </c:ext>
            </c:extLst>
          </c:dPt>
          <c:dPt>
            <c:idx val="9"/>
            <c:invertIfNegative val="1"/>
            <c:bubble3D val="0"/>
            <c:spPr>
              <a:solidFill>
                <a:srgbClr val="AEABAB"/>
              </a:solidFill>
            </c:spPr>
            <c:extLst>
              <c:ext xmlns:c16="http://schemas.microsoft.com/office/drawing/2014/chart" uri="{C3380CC4-5D6E-409C-BE32-E72D297353CC}">
                <c16:uniqueId val="{00000015-FA3E-4872-B6E1-C4ABDF5766E2}"/>
              </c:ext>
            </c:extLst>
          </c:dPt>
          <c:dPt>
            <c:idx val="10"/>
            <c:invertIfNegative val="1"/>
            <c:bubble3D val="0"/>
            <c:spPr>
              <a:solidFill>
                <a:srgbClr val="AEABAB"/>
              </a:solidFill>
            </c:spPr>
            <c:extLst>
              <c:ext xmlns:c16="http://schemas.microsoft.com/office/drawing/2014/chart" uri="{C3380CC4-5D6E-409C-BE32-E72D297353CC}">
                <c16:uniqueId val="{00000017-FA3E-4872-B6E1-C4ABDF5766E2}"/>
              </c:ext>
            </c:extLst>
          </c:dPt>
          <c:dPt>
            <c:idx val="11"/>
            <c:invertIfNegative val="1"/>
            <c:bubble3D val="0"/>
            <c:spPr>
              <a:solidFill>
                <a:srgbClr val="AEABAB"/>
              </a:solidFill>
            </c:spPr>
            <c:extLst>
              <c:ext xmlns:c16="http://schemas.microsoft.com/office/drawing/2014/chart" uri="{C3380CC4-5D6E-409C-BE32-E72D297353CC}">
                <c16:uniqueId val="{00000019-FA3E-4872-B6E1-C4ABDF5766E2}"/>
              </c:ext>
            </c:extLst>
          </c:dPt>
          <c:dPt>
            <c:idx val="12"/>
            <c:invertIfNegative val="1"/>
            <c:bubble3D val="0"/>
            <c:spPr>
              <a:solidFill>
                <a:srgbClr val="AEABAB"/>
              </a:solidFill>
            </c:spPr>
            <c:extLst>
              <c:ext xmlns:c16="http://schemas.microsoft.com/office/drawing/2014/chart" uri="{C3380CC4-5D6E-409C-BE32-E72D297353CC}">
                <c16:uniqueId val="{0000001B-FA3E-4872-B6E1-C4ABDF5766E2}"/>
              </c:ext>
            </c:extLst>
          </c:dPt>
          <c:dPt>
            <c:idx val="13"/>
            <c:invertIfNegative val="1"/>
            <c:bubble3D val="0"/>
            <c:spPr>
              <a:solidFill>
                <a:srgbClr val="AEABAB"/>
              </a:solidFill>
            </c:spPr>
            <c:extLst>
              <c:ext xmlns:c16="http://schemas.microsoft.com/office/drawing/2014/chart" uri="{C3380CC4-5D6E-409C-BE32-E72D297353CC}">
                <c16:uniqueId val="{0000001D-FA3E-4872-B6E1-C4ABDF5766E2}"/>
              </c:ext>
            </c:extLst>
          </c:dPt>
          <c:dPt>
            <c:idx val="14"/>
            <c:invertIfNegative val="1"/>
            <c:bubble3D val="0"/>
            <c:spPr>
              <a:solidFill>
                <a:srgbClr val="AEABAB"/>
              </a:solidFill>
            </c:spPr>
            <c:extLst>
              <c:ext xmlns:c16="http://schemas.microsoft.com/office/drawing/2014/chart" uri="{C3380CC4-5D6E-409C-BE32-E72D297353CC}">
                <c16:uniqueId val="{0000001F-FA3E-4872-B6E1-C4ABDF5766E2}"/>
              </c:ext>
            </c:extLst>
          </c:dPt>
          <c:dPt>
            <c:idx val="15"/>
            <c:invertIfNegative val="1"/>
            <c:bubble3D val="0"/>
            <c:spPr>
              <a:solidFill>
                <a:srgbClr val="AEABAB"/>
              </a:solidFill>
            </c:spPr>
            <c:extLst>
              <c:ext xmlns:c16="http://schemas.microsoft.com/office/drawing/2014/chart" uri="{C3380CC4-5D6E-409C-BE32-E72D297353CC}">
                <c16:uniqueId val="{00000021-FA3E-4872-B6E1-C4ABDF5766E2}"/>
              </c:ext>
            </c:extLst>
          </c:dPt>
          <c:dPt>
            <c:idx val="16"/>
            <c:invertIfNegative val="1"/>
            <c:bubble3D val="0"/>
            <c:spPr>
              <a:solidFill>
                <a:srgbClr val="AEABAB"/>
              </a:solidFill>
            </c:spPr>
            <c:extLst>
              <c:ext xmlns:c16="http://schemas.microsoft.com/office/drawing/2014/chart" uri="{C3380CC4-5D6E-409C-BE32-E72D297353CC}">
                <c16:uniqueId val="{00000023-FA3E-4872-B6E1-C4ABDF5766E2}"/>
              </c:ext>
            </c:extLst>
          </c:dPt>
          <c:dPt>
            <c:idx val="17"/>
            <c:invertIfNegative val="1"/>
            <c:bubble3D val="0"/>
            <c:spPr>
              <a:solidFill>
                <a:srgbClr val="AEABAB"/>
              </a:solidFill>
            </c:spPr>
            <c:extLst>
              <c:ext xmlns:c16="http://schemas.microsoft.com/office/drawing/2014/chart" uri="{C3380CC4-5D6E-409C-BE32-E72D297353CC}">
                <c16:uniqueId val="{00000025-FA3E-4872-B6E1-C4ABDF5766E2}"/>
              </c:ext>
            </c:extLst>
          </c:dPt>
          <c:dPt>
            <c:idx val="18"/>
            <c:invertIfNegative val="1"/>
            <c:bubble3D val="0"/>
            <c:spPr>
              <a:solidFill>
                <a:srgbClr val="AEABAB"/>
              </a:solidFill>
            </c:spPr>
            <c:extLst>
              <c:ext xmlns:c16="http://schemas.microsoft.com/office/drawing/2014/chart" uri="{C3380CC4-5D6E-409C-BE32-E72D297353CC}">
                <c16:uniqueId val="{00000027-FA3E-4872-B6E1-C4ABDF5766E2}"/>
              </c:ext>
            </c:extLst>
          </c:dPt>
          <c:dPt>
            <c:idx val="19"/>
            <c:invertIfNegative val="1"/>
            <c:bubble3D val="0"/>
            <c:spPr>
              <a:solidFill>
                <a:srgbClr val="AEABAB"/>
              </a:solidFill>
            </c:spPr>
            <c:extLst>
              <c:ext xmlns:c16="http://schemas.microsoft.com/office/drawing/2014/chart" uri="{C3380CC4-5D6E-409C-BE32-E72D297353CC}">
                <c16:uniqueId val="{00000029-FA3E-4872-B6E1-C4ABDF5766E2}"/>
              </c:ext>
            </c:extLst>
          </c:dPt>
          <c:dPt>
            <c:idx val="20"/>
            <c:invertIfNegative val="1"/>
            <c:bubble3D val="0"/>
            <c:spPr>
              <a:solidFill>
                <a:srgbClr val="AEABAB"/>
              </a:solidFill>
            </c:spPr>
            <c:extLst>
              <c:ext xmlns:c16="http://schemas.microsoft.com/office/drawing/2014/chart" uri="{C3380CC4-5D6E-409C-BE32-E72D297353CC}">
                <c16:uniqueId val="{0000002B-FA3E-4872-B6E1-C4ABDF5766E2}"/>
              </c:ext>
            </c:extLst>
          </c:dPt>
          <c:dPt>
            <c:idx val="21"/>
            <c:invertIfNegative val="1"/>
            <c:bubble3D val="0"/>
            <c:spPr>
              <a:solidFill>
                <a:srgbClr val="AEABAB"/>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23</c:f>
              <c:strCache>
                <c:ptCount val="22"/>
                <c:pt idx="0">
                  <c:v>CHAMPAGNE E.NICOLAS BRUT 1CT X 750ML</c:v>
                </c:pt>
                <c:pt idx="1">
                  <c:v>CHAMPAGNE NICOLAS BLC/BLC BS 1CT X 750ML</c:v>
                </c:pt>
                <c:pt idx="2">
                  <c:v>CHAMPAGNE E.NICOLAS ROSE 1CT X 750ML</c:v>
                </c:pt>
                <c:pt idx="3">
                  <c:v>CHAMPAGNE NICOLAS 1ERE CUVEE 1CT X 750ML</c:v>
                </c:pt>
                <c:pt idx="4">
                  <c:v>MG CHAMPAGNE E.NICOLAS BRUT 1CT X 1500ML</c:v>
                </c:pt>
                <c:pt idx="5">
                  <c:v>1/2 CHAMPAGNE NICOLAS 1ERE CUV 1CT X 375ML</c:v>
                </c:pt>
                <c:pt idx="6">
                  <c:v>CHAMPAGNE NICOLAS 1ER CRU BS 1CT X 750ML</c:v>
                </c:pt>
                <c:pt idx="7">
                  <c:v>MG CHAMPAGNE NICOLAS BLC/BL BS 1CT X 1500ML</c:v>
                </c:pt>
                <c:pt idx="8">
                  <c:v>CHAMPAGNE NICOLAS BIO NAT 2017 1CT X 750ML</c:v>
                </c:pt>
                <c:pt idx="9">
                  <c:v>1/2 CHAMP NICOLAS BLC/BLC BS 1CT X 375ML</c:v>
                </c:pt>
                <c:pt idx="10">
                  <c:v>1/2 CHAMP NICOLAS ROSE 1E C BS 1CT X 375ML</c:v>
                </c:pt>
                <c:pt idx="11">
                  <c:v>CHAMPAGNE NICOLAS ROSE 1ERE CU 1CT X 750ML</c:v>
                </c:pt>
                <c:pt idx="12">
                  <c:v>MG CHAMPAGNE NICOLAS 1ERE CUVE 1CT X 1500ML</c:v>
                </c:pt>
                <c:pt idx="13">
                  <c:v>CHAMPAGNE NICOLAS BLC DE NOIRS 1CT X 750ML</c:v>
                </c:pt>
                <c:pt idx="14">
                  <c:v>CHAMPAGNE NICOLAS 1ERE CUV ETU 1CT X 750ML</c:v>
                </c:pt>
                <c:pt idx="15">
                  <c:v>CHAMPAGNE NICOLAS BLC/BLC 2002 1CT X 750ML</c:v>
                </c:pt>
                <c:pt idx="16">
                  <c:v>CHAMPAGNE NICOLAS ROSE 1E C BS 1CT X 750ML</c:v>
                </c:pt>
                <c:pt idx="17">
                  <c:v>CHAMPAGNE NICOLAS BLC/BL BS ET 1CT X 750ML</c:v>
                </c:pt>
                <c:pt idx="18">
                  <c:v>MG CHAMPAGNE NICOLAS 1E CRU BS 1CT X 1500ML</c:v>
                </c:pt>
                <c:pt idx="19">
                  <c:v>CHAMPAGNE NICOLAS 1ER CRU ETUI 1CT X 750ML</c:v>
                </c:pt>
                <c:pt idx="20">
                  <c:v>CHAMPAGNE NICOLAS ROSE 1ERE ET 1CT X 750ML</c:v>
                </c:pt>
                <c:pt idx="21">
                  <c:v>1/2 CHAMPAGNE NICOLAS 1E C BS 1CT X 375ML</c:v>
                </c:pt>
              </c:strCache>
            </c:strRef>
          </c:cat>
          <c:val>
            <c:numRef>
              <c:f>Sheet1!$C$2:$C$23</c:f>
              <c:numCache>
                <c:formatCode>General</c:formatCode>
                <c:ptCount val="22"/>
                <c:pt idx="0">
                  <c:v>0.71051923798843397</c:v>
                </c:pt>
                <c:pt idx="1">
                  <c:v>0.78356324515426989</c:v>
                </c:pt>
                <c:pt idx="2">
                  <c:v>0.83437415357127598</c:v>
                </c:pt>
                <c:pt idx="3">
                  <c:v>0.86877491767366954</c:v>
                </c:pt>
                <c:pt idx="4">
                  <c:v>0.88565359741117566</c:v>
                </c:pt>
                <c:pt idx="5">
                  <c:v>0.9023840184753118</c:v>
                </c:pt>
                <c:pt idx="6">
                  <c:v>0.9169855970500328</c:v>
                </c:pt>
                <c:pt idx="7">
                  <c:v>0.92899074808855631</c:v>
                </c:pt>
                <c:pt idx="8">
                  <c:v>0.9404199712036041</c:v>
                </c:pt>
                <c:pt idx="9">
                  <c:v>0.95079237608283507</c:v>
                </c:pt>
                <c:pt idx="10">
                  <c:v>0.95962422128557401</c:v>
                </c:pt>
                <c:pt idx="11">
                  <c:v>0.96738404223471464</c:v>
                </c:pt>
                <c:pt idx="12">
                  <c:v>0.97415737278027803</c:v>
                </c:pt>
                <c:pt idx="13">
                  <c:v>0.97936923537489984</c:v>
                </c:pt>
                <c:pt idx="14">
                  <c:v>0.98410400916162588</c:v>
                </c:pt>
                <c:pt idx="15">
                  <c:v>0.98861069268162893</c:v>
                </c:pt>
                <c:pt idx="16">
                  <c:v>0.99180300603964033</c:v>
                </c:pt>
                <c:pt idx="17">
                  <c:v>0.994913587052076</c:v>
                </c:pt>
                <c:pt idx="18">
                  <c:v>0.9974368356276998</c:v>
                </c:pt>
                <c:pt idx="19">
                  <c:v>0.99901921185309095</c:v>
                </c:pt>
                <c:pt idx="20">
                  <c:v>0.99981277590606488</c:v>
                </c:pt>
                <c:pt idx="21">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23</c:f>
              <c:strCache>
                <c:ptCount val="22"/>
                <c:pt idx="0">
                  <c:v>CHAMPAGNE E.NICOLAS BRUT 1CT X 750ML</c:v>
                </c:pt>
                <c:pt idx="1">
                  <c:v>CHAMPAGNE NICOLAS BLC/BLC BS 1CT X 750ML</c:v>
                </c:pt>
                <c:pt idx="2">
                  <c:v>CHAMPAGNE E.NICOLAS ROSE 1CT X 750ML</c:v>
                </c:pt>
                <c:pt idx="3">
                  <c:v>CHAMPAGNE NICOLAS 1ERE CUVEE 1CT X 750ML</c:v>
                </c:pt>
                <c:pt idx="4">
                  <c:v>MG CHAMPAGNE E.NICOLAS BRUT 1CT X 1500ML</c:v>
                </c:pt>
                <c:pt idx="5">
                  <c:v>1/2 CHAMPAGNE NICOLAS 1ERE CUV 1CT X 375ML</c:v>
                </c:pt>
                <c:pt idx="6">
                  <c:v>CHAMPAGNE NICOLAS 1ER CRU BS 1CT X 750ML</c:v>
                </c:pt>
                <c:pt idx="7">
                  <c:v>MG CHAMPAGNE NICOLAS BLC/BL BS 1CT X 1500ML</c:v>
                </c:pt>
                <c:pt idx="8">
                  <c:v>CHAMPAGNE NICOLAS BIO NAT 2017 1CT X 750ML</c:v>
                </c:pt>
                <c:pt idx="9">
                  <c:v>1/2 CHAMP NICOLAS BLC/BLC BS 1CT X 375ML</c:v>
                </c:pt>
                <c:pt idx="10">
                  <c:v>1/2 CHAMP NICOLAS ROSE 1E C BS 1CT X 375ML</c:v>
                </c:pt>
                <c:pt idx="11">
                  <c:v>CHAMPAGNE NICOLAS ROSE 1ERE CU 1CT X 750ML</c:v>
                </c:pt>
                <c:pt idx="12">
                  <c:v>MG CHAMPAGNE NICOLAS 1ERE CUVE 1CT X 1500ML</c:v>
                </c:pt>
                <c:pt idx="13">
                  <c:v>CHAMPAGNE NICOLAS BLC DE NOIRS 1CT X 750ML</c:v>
                </c:pt>
                <c:pt idx="14">
                  <c:v>CHAMPAGNE NICOLAS 1ERE CUV ETU 1CT X 750ML</c:v>
                </c:pt>
                <c:pt idx="15">
                  <c:v>CHAMPAGNE NICOLAS BLC/BLC 2002 1CT X 750ML</c:v>
                </c:pt>
                <c:pt idx="16">
                  <c:v>CHAMPAGNE NICOLAS ROSE 1E C BS 1CT X 750ML</c:v>
                </c:pt>
                <c:pt idx="17">
                  <c:v>CHAMPAGNE NICOLAS BLC/BL BS ET 1CT X 750ML</c:v>
                </c:pt>
                <c:pt idx="18">
                  <c:v>MG CHAMPAGNE NICOLAS 1E CRU BS 1CT X 1500ML</c:v>
                </c:pt>
                <c:pt idx="19">
                  <c:v>CHAMPAGNE NICOLAS 1ER CRU ETUI 1CT X 750ML</c:v>
                </c:pt>
                <c:pt idx="20">
                  <c:v>CHAMPAGNE NICOLAS ROSE 1ERE ET 1CT X 750ML</c:v>
                </c:pt>
                <c:pt idx="21">
                  <c:v>1/2 CHAMPAGNE NICOLAS 1E C BS 1CT X 375ML</c:v>
                </c:pt>
              </c:strCache>
            </c:strRef>
          </c:cat>
          <c:val>
            <c:numRef>
              <c:f>Sheet1!$D$2:$D$23</c:f>
              <c:numCache>
                <c:formatCode>General</c:formatCode>
                <c:ptCount val="22"/>
                <c:pt idx="0">
                  <c:v>7707.4123711340208</c:v>
                </c:pt>
                <c:pt idx="1">
                  <c:v>2260.5294117647059</c:v>
                </c:pt>
                <c:pt idx="2">
                  <c:v>1188.088888888889</c:v>
                </c:pt>
                <c:pt idx="3">
                  <c:v>658.12727272727261</c:v>
                </c:pt>
                <c:pt idx="4">
                  <c:v>1184</c:v>
                </c:pt>
                <c:pt idx="5">
                  <c:v>800.18181818181813</c:v>
                </c:pt>
                <c:pt idx="6">
                  <c:v>357.30232558139534</c:v>
                </c:pt>
                <c:pt idx="7">
                  <c:v>1263.2</c:v>
                </c:pt>
                <c:pt idx="8">
                  <c:v>1202.5999999999999</c:v>
                </c:pt>
                <c:pt idx="9">
                  <c:v>642</c:v>
                </c:pt>
                <c:pt idx="10">
                  <c:v>464.65</c:v>
                </c:pt>
                <c:pt idx="11">
                  <c:v>480.29411764705884</c:v>
                </c:pt>
                <c:pt idx="12">
                  <c:v>1187.8333333333333</c:v>
                </c:pt>
                <c:pt idx="13">
                  <c:v>783.42857142857133</c:v>
                </c:pt>
                <c:pt idx="14">
                  <c:v>383.23076923076923</c:v>
                </c:pt>
                <c:pt idx="15">
                  <c:v>790.33333333333337</c:v>
                </c:pt>
                <c:pt idx="16">
                  <c:v>839.75</c:v>
                </c:pt>
                <c:pt idx="17">
                  <c:v>818.25</c:v>
                </c:pt>
                <c:pt idx="18">
                  <c:v>663.75</c:v>
                </c:pt>
                <c:pt idx="19">
                  <c:v>832.5</c:v>
                </c:pt>
                <c:pt idx="20">
                  <c:v>278.33333333333331</c:v>
                </c:pt>
                <c:pt idx="21">
                  <c:v>197</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6</c:f>
              <c:strCache>
                <c:ptCount val="5"/>
                <c:pt idx="0">
                  <c:v>CHAMPAGNE NICOLAS BLC/BLC BS 1CT X 750ML</c:v>
                </c:pt>
                <c:pt idx="1">
                  <c:v>1/2 CHAMP NICOLAS BLC/BLC BS 1CT X 375ML</c:v>
                </c:pt>
                <c:pt idx="2">
                  <c:v>MG CHAMPAGNE NICOLAS BLC/BL BS 1CT X 1500ML</c:v>
                </c:pt>
                <c:pt idx="3">
                  <c:v>CHAMPAGNE NICOLAS BLC/BLC 2002 1CT X 750ML</c:v>
                </c:pt>
                <c:pt idx="4">
                  <c:v>CHAMPAGNE NICOLAS BLC/BL BS ET 1CT X 750ML</c:v>
                </c:pt>
              </c:strCache>
            </c:strRef>
          </c:cat>
          <c:val>
            <c:numRef>
              <c:f>Sheet1!$B$2:$B$6</c:f>
              <c:numCache>
                <c:formatCode>General</c:formatCode>
                <c:ptCount val="5"/>
                <c:pt idx="0">
                  <c:v>0.58499999999999996</c:v>
                </c:pt>
                <c:pt idx="1">
                  <c:v>0.315</c:v>
                </c:pt>
                <c:pt idx="2">
                  <c:v>0.17100000000000001</c:v>
                </c:pt>
                <c:pt idx="3">
                  <c:v>9.9000000000000005E-2</c:v>
                </c:pt>
                <c:pt idx="4">
                  <c:v>2.7E-2</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7ECAC4"/>
              </a:solidFill>
            </c:spPr>
            <c:extLst>
              <c:ext xmlns:c16="http://schemas.microsoft.com/office/drawing/2014/chart" uri="{C3380CC4-5D6E-409C-BE32-E72D297353CC}">
                <c16:uniqueId val="{00000008-D8F4-40C6-A5E0-DB4B53CFB1F3}"/>
              </c:ext>
            </c:extLst>
          </c:dPt>
          <c:dPt>
            <c:idx val="2"/>
            <c:invertIfNegative val="0"/>
            <c:bubble3D val="0"/>
            <c:spPr>
              <a:solidFill>
                <a:srgbClr val="7ECAC4"/>
              </a:solidFill>
            </c:spPr>
            <c:extLst>
              <c:ext xmlns:c16="http://schemas.microsoft.com/office/drawing/2014/chart" uri="{C3380CC4-5D6E-409C-BE32-E72D297353CC}">
                <c16:uniqueId val="{00000006-E902-46E2-9A54-39A26B3DFDC1}"/>
              </c:ext>
            </c:extLst>
          </c:dPt>
          <c:dPt>
            <c:idx val="3"/>
            <c:invertIfNegative val="0"/>
            <c:bubble3D val="0"/>
            <c:spPr>
              <a:solidFill>
                <a:srgbClr val="AEABAB"/>
              </a:solidFill>
            </c:spPr>
            <c:extLst>
              <c:ext xmlns:c16="http://schemas.microsoft.com/office/drawing/2014/chart" uri="{C3380CC4-5D6E-409C-BE32-E72D297353CC}">
                <c16:uniqueId val="{00000007-E902-46E2-9A54-39A26B3DFDC1}"/>
              </c:ext>
            </c:extLst>
          </c:dPt>
          <c:dPt>
            <c:idx val="4"/>
            <c:invertIfNegative val="1"/>
            <c:bubble3D val="0"/>
            <c:spPr>
              <a:solidFill>
                <a:srgbClr val="AEABAB"/>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6</c:f>
              <c:strCache>
                <c:ptCount val="5"/>
                <c:pt idx="0">
                  <c:v>CHAMPAGNE NICOLAS BLC/BLC BS 1CT X 750ML</c:v>
                </c:pt>
                <c:pt idx="1">
                  <c:v>1/2 CHAMP NICOLAS BLC/BLC BS 1CT X 375ML</c:v>
                </c:pt>
                <c:pt idx="2">
                  <c:v>MG CHAMPAGNE NICOLAS BLC/BL BS 1CT X 1500ML</c:v>
                </c:pt>
                <c:pt idx="3">
                  <c:v>CHAMPAGNE NICOLAS BLC/BLC 2002 1CT X 750ML</c:v>
                </c:pt>
                <c:pt idx="4">
                  <c:v>CHAMPAGNE NICOLAS BLC/BL BS ET 1CT X 750ML</c:v>
                </c:pt>
              </c:strCache>
            </c:strRef>
          </c:cat>
          <c:val>
            <c:numRef>
              <c:f>Sheet1!$C$2:$C$6</c:f>
              <c:numCache>
                <c:formatCode>General</c:formatCode>
                <c:ptCount val="5"/>
                <c:pt idx="0">
                  <c:v>0.72684523932092726</c:v>
                </c:pt>
                <c:pt idx="1">
                  <c:v>0.836613322001726</c:v>
                </c:pt>
                <c:pt idx="2">
                  <c:v>0.94471161495996814</c:v>
                </c:pt>
                <c:pt idx="3">
                  <c:v>0.9884874363299071</c:v>
                </c:pt>
                <c:pt idx="4">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6</c:f>
              <c:strCache>
                <c:ptCount val="5"/>
                <c:pt idx="0">
                  <c:v>CHAMPAGNE NICOLAS BLC/BLC BS 1CT X 750ML</c:v>
                </c:pt>
                <c:pt idx="1">
                  <c:v>1/2 CHAMP NICOLAS BLC/BLC BS 1CT X 375ML</c:v>
                </c:pt>
                <c:pt idx="2">
                  <c:v>MG CHAMPAGNE NICOLAS BLC/BL BS 1CT X 1500ML</c:v>
                </c:pt>
                <c:pt idx="3">
                  <c:v>CHAMPAGNE NICOLAS BLC/BLC 2002 1CT X 750ML</c:v>
                </c:pt>
                <c:pt idx="4">
                  <c:v>CHAMPAGNE NICOLAS BLC/BL BS ET 1CT X 750ML</c:v>
                </c:pt>
              </c:strCache>
            </c:strRef>
          </c:cat>
          <c:val>
            <c:numRef>
              <c:f>Sheet1!$D$2:$D$6</c:f>
              <c:numCache>
                <c:formatCode>General</c:formatCode>
                <c:ptCount val="5"/>
                <c:pt idx="0">
                  <c:v>6637.264957264957</c:v>
                </c:pt>
                <c:pt idx="1">
                  <c:v>1861.5238095238096</c:v>
                </c:pt>
                <c:pt idx="2">
                  <c:v>3376.9590643274851</c:v>
                </c:pt>
                <c:pt idx="3">
                  <c:v>2362.121212121212</c:v>
                </c:pt>
                <c:pt idx="4">
                  <c:v>2277.7777777777778</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6</c:f>
              <c:strCache>
                <c:ptCount val="5"/>
                <c:pt idx="0">
                  <c:v>CHAMPAGNE NICOLAS BLC/BLC BS 1CT X 750ML</c:v>
                </c:pt>
                <c:pt idx="1">
                  <c:v>MG CHAMPAGNE NICOLAS BLC/BL BS 1CT X 1500ML</c:v>
                </c:pt>
                <c:pt idx="2">
                  <c:v>1/2 CHAMP NICOLAS BLC/BLC BS 1CT X 375ML</c:v>
                </c:pt>
                <c:pt idx="3">
                  <c:v>CHAMPAGNE NICOLAS BLC/BLC 2002 1CT X 750ML</c:v>
                </c:pt>
                <c:pt idx="4">
                  <c:v>CHAMPAGNE NICOLAS BLC/BL BS ET 1CT X 750ML</c:v>
                </c:pt>
              </c:strCache>
            </c:strRef>
          </c:cat>
          <c:val>
            <c:numRef>
              <c:f>Sheet1!$B$2:$B$6</c:f>
              <c:numCache>
                <c:formatCode>General</c:formatCode>
                <c:ptCount val="5"/>
                <c:pt idx="0">
                  <c:v>0.56999999999999995</c:v>
                </c:pt>
                <c:pt idx="1">
                  <c:v>0.12</c:v>
                </c:pt>
                <c:pt idx="2">
                  <c:v>0.28000000000000003</c:v>
                </c:pt>
                <c:pt idx="3">
                  <c:v>0.03</c:v>
                </c:pt>
                <c:pt idx="4">
                  <c:v>0.02</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7ECAC4"/>
              </a:solidFill>
            </c:spPr>
            <c:extLst>
              <c:ext xmlns:c16="http://schemas.microsoft.com/office/drawing/2014/chart" uri="{C3380CC4-5D6E-409C-BE32-E72D297353CC}">
                <c16:uniqueId val="{00000008-D8F4-40C6-A5E0-DB4B53CFB1F3}"/>
              </c:ext>
            </c:extLst>
          </c:dPt>
          <c:dPt>
            <c:idx val="2"/>
            <c:invertIfNegative val="0"/>
            <c:bubble3D val="0"/>
            <c:spPr>
              <a:solidFill>
                <a:srgbClr val="AEABAB"/>
              </a:solidFill>
            </c:spPr>
            <c:extLst>
              <c:ext xmlns:c16="http://schemas.microsoft.com/office/drawing/2014/chart" uri="{C3380CC4-5D6E-409C-BE32-E72D297353CC}">
                <c16:uniqueId val="{00000006-E902-46E2-9A54-39A26B3DFDC1}"/>
              </c:ext>
            </c:extLst>
          </c:dPt>
          <c:dPt>
            <c:idx val="3"/>
            <c:invertIfNegative val="0"/>
            <c:bubble3D val="0"/>
            <c:spPr>
              <a:solidFill>
                <a:srgbClr val="AEABAB"/>
              </a:solidFill>
            </c:spPr>
            <c:extLst>
              <c:ext xmlns:c16="http://schemas.microsoft.com/office/drawing/2014/chart" uri="{C3380CC4-5D6E-409C-BE32-E72D297353CC}">
                <c16:uniqueId val="{00000007-E902-46E2-9A54-39A26B3DFDC1}"/>
              </c:ext>
            </c:extLst>
          </c:dPt>
          <c:dPt>
            <c:idx val="4"/>
            <c:invertIfNegative val="1"/>
            <c:bubble3D val="0"/>
            <c:spPr>
              <a:solidFill>
                <a:srgbClr val="AEABAB"/>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6</c:f>
              <c:strCache>
                <c:ptCount val="5"/>
                <c:pt idx="0">
                  <c:v>CHAMPAGNE NICOLAS BLC/BLC BS 1CT X 750ML</c:v>
                </c:pt>
                <c:pt idx="1">
                  <c:v>MG CHAMPAGNE NICOLAS BLC/BL BS 1CT X 1500ML</c:v>
                </c:pt>
                <c:pt idx="2">
                  <c:v>1/2 CHAMP NICOLAS BLC/BLC BS 1CT X 375ML</c:v>
                </c:pt>
                <c:pt idx="3">
                  <c:v>CHAMPAGNE NICOLAS BLC/BLC 2002 1CT X 750ML</c:v>
                </c:pt>
                <c:pt idx="4">
                  <c:v>CHAMPAGNE NICOLAS BLC/BL BS ET 1CT X 750ML</c:v>
                </c:pt>
              </c:strCache>
            </c:strRef>
          </c:cat>
          <c:val>
            <c:numRef>
              <c:f>Sheet1!$C$2:$C$6</c:f>
              <c:numCache>
                <c:formatCode>General</c:formatCode>
                <c:ptCount val="5"/>
                <c:pt idx="0">
                  <c:v>0.73663486294108749</c:v>
                </c:pt>
                <c:pt idx="1">
                  <c:v>0.84713441941974432</c:v>
                </c:pt>
                <c:pt idx="2">
                  <c:v>0.95459639557776776</c:v>
                </c:pt>
                <c:pt idx="3">
                  <c:v>0.99022089526405754</c:v>
                </c:pt>
                <c:pt idx="4">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6</c:f>
              <c:strCache>
                <c:ptCount val="5"/>
                <c:pt idx="0">
                  <c:v>CHAMPAGNE NICOLAS BLC/BLC BS 1CT X 750ML</c:v>
                </c:pt>
                <c:pt idx="1">
                  <c:v>MG CHAMPAGNE NICOLAS BLC/BL BS 1CT X 1500ML</c:v>
                </c:pt>
                <c:pt idx="2">
                  <c:v>1/2 CHAMP NICOLAS BLC/BLC BS 1CT X 375ML</c:v>
                </c:pt>
                <c:pt idx="3">
                  <c:v>CHAMPAGNE NICOLAS BLC/BLC 2002 1CT X 750ML</c:v>
                </c:pt>
                <c:pt idx="4">
                  <c:v>CHAMPAGNE NICOLAS BLC/BL BS ET 1CT X 750ML</c:v>
                </c:pt>
              </c:strCache>
            </c:strRef>
          </c:cat>
          <c:val>
            <c:numRef>
              <c:f>Sheet1!$D$2:$D$6</c:f>
              <c:numCache>
                <c:formatCode>General</c:formatCode>
                <c:ptCount val="5"/>
                <c:pt idx="0">
                  <c:v>2986.666666666667</c:v>
                </c:pt>
                <c:pt idx="1">
                  <c:v>2128.0833333333335</c:v>
                </c:pt>
                <c:pt idx="2">
                  <c:v>886.96428571428555</c:v>
                </c:pt>
                <c:pt idx="3">
                  <c:v>2744.3333333333335</c:v>
                </c:pt>
                <c:pt idx="4">
                  <c:v>1130</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6</c:f>
              <c:strCache>
                <c:ptCount val="5"/>
                <c:pt idx="0">
                  <c:v>CHAMPAGNE NICOLAS BLC/BLC BS 1CT X 750ML</c:v>
                </c:pt>
                <c:pt idx="1">
                  <c:v>MG CHAMPAGNE NICOLAS BLC/BL BS 1CT X 1500ML</c:v>
                </c:pt>
                <c:pt idx="2">
                  <c:v>1/2 CHAMP NICOLAS BLC/BLC BS 1CT X 375ML</c:v>
                </c:pt>
                <c:pt idx="3">
                  <c:v>CHAMPAGNE NICOLAS BLC/BLC 2002 1CT X 750ML</c:v>
                </c:pt>
                <c:pt idx="4">
                  <c:v>CHAMPAGNE NICOLAS BLC/BL BS ET 1CT X 750ML</c:v>
                </c:pt>
              </c:strCache>
            </c:strRef>
          </c:cat>
          <c:val>
            <c:numRef>
              <c:f>Sheet1!$B$2:$B$6</c:f>
              <c:numCache>
                <c:formatCode>General</c:formatCode>
                <c:ptCount val="5"/>
                <c:pt idx="0">
                  <c:v>0.56999999999999995</c:v>
                </c:pt>
                <c:pt idx="1">
                  <c:v>0.16</c:v>
                </c:pt>
                <c:pt idx="2">
                  <c:v>0.28000000000000003</c:v>
                </c:pt>
                <c:pt idx="3">
                  <c:v>0.08</c:v>
                </c:pt>
                <c:pt idx="4">
                  <c:v>0.04</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7ECAC4"/>
              </a:solidFill>
            </c:spPr>
            <c:extLst>
              <c:ext xmlns:c16="http://schemas.microsoft.com/office/drawing/2014/chart" uri="{C3380CC4-5D6E-409C-BE32-E72D297353CC}">
                <c16:uniqueId val="{00000008-D8F4-40C6-A5E0-DB4B53CFB1F3}"/>
              </c:ext>
            </c:extLst>
          </c:dPt>
          <c:dPt>
            <c:idx val="2"/>
            <c:invertIfNegative val="0"/>
            <c:bubble3D val="0"/>
            <c:spPr>
              <a:solidFill>
                <a:srgbClr val="7ECAC4"/>
              </a:solidFill>
            </c:spPr>
            <c:extLst>
              <c:ext xmlns:c16="http://schemas.microsoft.com/office/drawing/2014/chart" uri="{C3380CC4-5D6E-409C-BE32-E72D297353CC}">
                <c16:uniqueId val="{00000006-E902-46E2-9A54-39A26B3DFDC1}"/>
              </c:ext>
            </c:extLst>
          </c:dPt>
          <c:dPt>
            <c:idx val="3"/>
            <c:invertIfNegative val="0"/>
            <c:bubble3D val="0"/>
            <c:spPr>
              <a:solidFill>
                <a:srgbClr val="AEABAB"/>
              </a:solidFill>
            </c:spPr>
            <c:extLst>
              <c:ext xmlns:c16="http://schemas.microsoft.com/office/drawing/2014/chart" uri="{C3380CC4-5D6E-409C-BE32-E72D297353CC}">
                <c16:uniqueId val="{00000007-E902-46E2-9A54-39A26B3DFDC1}"/>
              </c:ext>
            </c:extLst>
          </c:dPt>
          <c:dPt>
            <c:idx val="4"/>
            <c:invertIfNegative val="1"/>
            <c:bubble3D val="0"/>
            <c:spPr>
              <a:solidFill>
                <a:srgbClr val="AEABAB"/>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6</c:f>
              <c:strCache>
                <c:ptCount val="5"/>
                <c:pt idx="0">
                  <c:v>CHAMPAGNE NICOLAS BLC/BLC BS 1CT X 750ML</c:v>
                </c:pt>
                <c:pt idx="1">
                  <c:v>MG CHAMPAGNE NICOLAS BLC/BL BS 1CT X 1500ML</c:v>
                </c:pt>
                <c:pt idx="2">
                  <c:v>1/2 CHAMP NICOLAS BLC/BLC BS 1CT X 375ML</c:v>
                </c:pt>
                <c:pt idx="3">
                  <c:v>CHAMPAGNE NICOLAS BLC/BLC 2002 1CT X 750ML</c:v>
                </c:pt>
                <c:pt idx="4">
                  <c:v>CHAMPAGNE NICOLAS BLC/BL BS ET 1CT X 750ML</c:v>
                </c:pt>
              </c:strCache>
            </c:strRef>
          </c:cat>
          <c:val>
            <c:numRef>
              <c:f>Sheet1!$C$2:$C$6</c:f>
              <c:numCache>
                <c:formatCode>General</c:formatCode>
                <c:ptCount val="5"/>
                <c:pt idx="0">
                  <c:v>0.7531936435616936</c:v>
                </c:pt>
                <c:pt idx="1">
                  <c:v>0.85357094832427638</c:v>
                </c:pt>
                <c:pt idx="2">
                  <c:v>0.94737508206576326</c:v>
                </c:pt>
                <c:pt idx="3">
                  <c:v>0.98705931673825165</c:v>
                </c:pt>
                <c:pt idx="4">
                  <c:v>0.99999999999999989</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6</c:f>
              <c:strCache>
                <c:ptCount val="5"/>
                <c:pt idx="0">
                  <c:v>CHAMPAGNE NICOLAS BLC/BLC BS 1CT X 750ML</c:v>
                </c:pt>
                <c:pt idx="1">
                  <c:v>MG CHAMPAGNE NICOLAS BLC/BL BS 1CT X 1500ML</c:v>
                </c:pt>
                <c:pt idx="2">
                  <c:v>1/2 CHAMP NICOLAS BLC/BLC BS 1CT X 375ML</c:v>
                </c:pt>
                <c:pt idx="3">
                  <c:v>CHAMPAGNE NICOLAS BLC/BLC 2002 1CT X 750ML</c:v>
                </c:pt>
                <c:pt idx="4">
                  <c:v>CHAMPAGNE NICOLAS BLC/BL BS ET 1CT X 750ML</c:v>
                </c:pt>
              </c:strCache>
            </c:strRef>
          </c:cat>
          <c:val>
            <c:numRef>
              <c:f>Sheet1!$D$2:$D$6</c:f>
              <c:numCache>
                <c:formatCode>General</c:formatCode>
                <c:ptCount val="5"/>
                <c:pt idx="0">
                  <c:v>1670.5438596491231</c:v>
                </c:pt>
                <c:pt idx="1">
                  <c:v>793.125</c:v>
                </c:pt>
                <c:pt idx="2">
                  <c:v>423.53571428571422</c:v>
                </c:pt>
                <c:pt idx="3">
                  <c:v>627.125</c:v>
                </c:pt>
                <c:pt idx="4">
                  <c:v>40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6</c:f>
              <c:strCache>
                <c:ptCount val="5"/>
                <c:pt idx="0">
                  <c:v>CHAMPAGNE NICOLAS BLC/BLC BS 1CT X 750ML</c:v>
                </c:pt>
                <c:pt idx="1">
                  <c:v>1/2 CHAMP NICOLAS BLC/BLC BS 1CT X 375ML</c:v>
                </c:pt>
                <c:pt idx="2">
                  <c:v>MG CHAMPAGNE NICOLAS BLC/BL BS 1CT X 1500ML</c:v>
                </c:pt>
                <c:pt idx="3">
                  <c:v>CHAMPAGNE NICOLAS BLC/BLC 2002 1CT X 750ML</c:v>
                </c:pt>
                <c:pt idx="4">
                  <c:v>CHAMPAGNE NICOLAS BLC/BL BS ET 1CT X 750ML</c:v>
                </c:pt>
              </c:strCache>
            </c:strRef>
          </c:cat>
          <c:val>
            <c:numRef>
              <c:f>Sheet1!$B$2:$B$6</c:f>
              <c:numCache>
                <c:formatCode>General</c:formatCode>
                <c:ptCount val="5"/>
                <c:pt idx="0">
                  <c:v>0.51</c:v>
                </c:pt>
                <c:pt idx="1">
                  <c:v>0.33</c:v>
                </c:pt>
                <c:pt idx="2">
                  <c:v>0.2</c:v>
                </c:pt>
                <c:pt idx="3">
                  <c:v>0.13</c:v>
                </c:pt>
                <c:pt idx="4">
                  <c:v>0.03</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7ECAC4"/>
              </a:solidFill>
            </c:spPr>
            <c:extLst>
              <c:ext xmlns:c16="http://schemas.microsoft.com/office/drawing/2014/chart" uri="{C3380CC4-5D6E-409C-BE32-E72D297353CC}">
                <c16:uniqueId val="{00000008-D8F4-40C6-A5E0-DB4B53CFB1F3}"/>
              </c:ext>
            </c:extLst>
          </c:dPt>
          <c:dPt>
            <c:idx val="2"/>
            <c:invertIfNegative val="0"/>
            <c:bubble3D val="0"/>
            <c:spPr>
              <a:solidFill>
                <a:srgbClr val="7ECAC4"/>
              </a:solidFill>
            </c:spPr>
            <c:extLst>
              <c:ext xmlns:c16="http://schemas.microsoft.com/office/drawing/2014/chart" uri="{C3380CC4-5D6E-409C-BE32-E72D297353CC}">
                <c16:uniqueId val="{00000006-E902-46E2-9A54-39A26B3DFDC1}"/>
              </c:ext>
            </c:extLst>
          </c:dPt>
          <c:dPt>
            <c:idx val="3"/>
            <c:invertIfNegative val="0"/>
            <c:bubble3D val="0"/>
            <c:spPr>
              <a:solidFill>
                <a:srgbClr val="AEABAB"/>
              </a:solidFill>
            </c:spPr>
            <c:extLst>
              <c:ext xmlns:c16="http://schemas.microsoft.com/office/drawing/2014/chart" uri="{C3380CC4-5D6E-409C-BE32-E72D297353CC}">
                <c16:uniqueId val="{00000007-E902-46E2-9A54-39A26B3DFDC1}"/>
              </c:ext>
            </c:extLst>
          </c:dPt>
          <c:dPt>
            <c:idx val="4"/>
            <c:invertIfNegative val="1"/>
            <c:bubble3D val="0"/>
            <c:spPr>
              <a:solidFill>
                <a:srgbClr val="AEABAB"/>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6</c:f>
              <c:strCache>
                <c:ptCount val="5"/>
                <c:pt idx="0">
                  <c:v>CHAMPAGNE NICOLAS BLC/BLC BS 1CT X 750ML</c:v>
                </c:pt>
                <c:pt idx="1">
                  <c:v>1/2 CHAMP NICOLAS BLC/BLC BS 1CT X 375ML</c:v>
                </c:pt>
                <c:pt idx="2">
                  <c:v>MG CHAMPAGNE NICOLAS BLC/BL BS 1CT X 1500ML</c:v>
                </c:pt>
                <c:pt idx="3">
                  <c:v>CHAMPAGNE NICOLAS BLC/BLC 2002 1CT X 750ML</c:v>
                </c:pt>
                <c:pt idx="4">
                  <c:v>CHAMPAGNE NICOLAS BLC/BL BS ET 1CT X 750ML</c:v>
                </c:pt>
              </c:strCache>
            </c:strRef>
          </c:cat>
          <c:val>
            <c:numRef>
              <c:f>Sheet1!$C$2:$C$6</c:f>
              <c:numCache>
                <c:formatCode>General</c:formatCode>
                <c:ptCount val="5"/>
                <c:pt idx="0">
                  <c:v>0.66802173642510465</c:v>
                </c:pt>
                <c:pt idx="1">
                  <c:v>0.81673372879246686</c:v>
                </c:pt>
                <c:pt idx="2">
                  <c:v>0.91998174803998833</c:v>
                </c:pt>
                <c:pt idx="3">
                  <c:v>0.99114365122163683</c:v>
                </c:pt>
                <c:pt idx="4">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6</c:f>
              <c:strCache>
                <c:ptCount val="5"/>
                <c:pt idx="0">
                  <c:v>CHAMPAGNE NICOLAS BLC/BLC BS 1CT X 750ML</c:v>
                </c:pt>
                <c:pt idx="1">
                  <c:v>1/2 CHAMP NICOLAS BLC/BLC BS 1CT X 375ML</c:v>
                </c:pt>
                <c:pt idx="2">
                  <c:v>MG CHAMPAGNE NICOLAS BLC/BL BS 1CT X 1500ML</c:v>
                </c:pt>
                <c:pt idx="3">
                  <c:v>CHAMPAGNE NICOLAS BLC/BLC 2002 1CT X 750ML</c:v>
                </c:pt>
                <c:pt idx="4">
                  <c:v>CHAMPAGNE NICOLAS BLC/BL BS ET 1CT X 750ML</c:v>
                </c:pt>
              </c:strCache>
            </c:strRef>
          </c:cat>
          <c:val>
            <c:numRef>
              <c:f>Sheet1!$D$2:$D$6</c:f>
              <c:numCache>
                <c:formatCode>General</c:formatCode>
                <c:ptCount val="5"/>
                <c:pt idx="0">
                  <c:v>631.52941176470586</c:v>
                </c:pt>
                <c:pt idx="1">
                  <c:v>217.27272727272728</c:v>
                </c:pt>
                <c:pt idx="2">
                  <c:v>248.9</c:v>
                </c:pt>
                <c:pt idx="3">
                  <c:v>263.92307692307691</c:v>
                </c:pt>
                <c:pt idx="4">
                  <c:v>142.33333333333334</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5</c:f>
              <c:strCache>
                <c:ptCount val="4"/>
                <c:pt idx="0">
                  <c:v>CHAMPAGNE NICOLAS BLC/BLC BS 1CT X 750ML</c:v>
                </c:pt>
                <c:pt idx="1">
                  <c:v>1/2 CHAMP NICOLAS BLC/BLC BS 1CT X 375ML</c:v>
                </c:pt>
                <c:pt idx="2">
                  <c:v>MG CHAMPAGNE NICOLAS BLC/BL BS 1CT X 1500ML</c:v>
                </c:pt>
                <c:pt idx="3">
                  <c:v>CHAMPAGNE NICOLAS BLC/BLC 2002 1CT X 750ML</c:v>
                </c:pt>
              </c:strCache>
            </c:strRef>
          </c:cat>
          <c:val>
            <c:numRef>
              <c:f>Sheet1!$B$2:$B$5</c:f>
              <c:numCache>
                <c:formatCode>General</c:formatCode>
                <c:ptCount val="4"/>
                <c:pt idx="0">
                  <c:v>0.59</c:v>
                </c:pt>
                <c:pt idx="1">
                  <c:v>0.39</c:v>
                </c:pt>
                <c:pt idx="2">
                  <c:v>0.19</c:v>
                </c:pt>
                <c:pt idx="3">
                  <c:v>0.28000000000000003</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7ECAC4"/>
              </a:solidFill>
            </c:spPr>
            <c:extLst>
              <c:ext xmlns:c16="http://schemas.microsoft.com/office/drawing/2014/chart" uri="{C3380CC4-5D6E-409C-BE32-E72D297353CC}">
                <c16:uniqueId val="{00000008-D8F4-40C6-A5E0-DB4B53CFB1F3}"/>
              </c:ext>
            </c:extLst>
          </c:dPt>
          <c:dPt>
            <c:idx val="2"/>
            <c:invertIfNegative val="0"/>
            <c:bubble3D val="0"/>
            <c:spPr>
              <a:solidFill>
                <a:srgbClr val="AEABAB"/>
              </a:solidFill>
            </c:spPr>
            <c:extLst>
              <c:ext xmlns:c16="http://schemas.microsoft.com/office/drawing/2014/chart" uri="{C3380CC4-5D6E-409C-BE32-E72D297353CC}">
                <c16:uniqueId val="{00000006-E902-46E2-9A54-39A26B3DFDC1}"/>
              </c:ext>
            </c:extLst>
          </c:dPt>
          <c:dPt>
            <c:idx val="3"/>
            <c:invertIfNegative val="0"/>
            <c:bubble3D val="0"/>
            <c:spPr>
              <a:solidFill>
                <a:srgbClr val="AEABAB"/>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5</c:f>
              <c:strCache>
                <c:ptCount val="4"/>
                <c:pt idx="0">
                  <c:v>CHAMPAGNE NICOLAS BLC/BLC BS 1CT X 750ML</c:v>
                </c:pt>
                <c:pt idx="1">
                  <c:v>1/2 CHAMP NICOLAS BLC/BLC BS 1CT X 375ML</c:v>
                </c:pt>
                <c:pt idx="2">
                  <c:v>MG CHAMPAGNE NICOLAS BLC/BL BS 1CT X 1500ML</c:v>
                </c:pt>
                <c:pt idx="3">
                  <c:v>CHAMPAGNE NICOLAS BLC/BLC 2002 1CT X 750ML</c:v>
                </c:pt>
              </c:strCache>
            </c:strRef>
          </c:cat>
          <c:val>
            <c:numRef>
              <c:f>Sheet1!$C$2:$C$5</c:f>
              <c:numCache>
                <c:formatCode>General</c:formatCode>
                <c:ptCount val="4"/>
                <c:pt idx="0">
                  <c:v>0.71084816241668192</c:v>
                </c:pt>
                <c:pt idx="1">
                  <c:v>0.86849507735583686</c:v>
                </c:pt>
                <c:pt idx="2">
                  <c:v>0.95591023053873903</c:v>
                </c:pt>
                <c:pt idx="3">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5</c:f>
              <c:strCache>
                <c:ptCount val="4"/>
                <c:pt idx="0">
                  <c:v>CHAMPAGNE NICOLAS BLC/BLC BS 1CT X 750ML</c:v>
                </c:pt>
                <c:pt idx="1">
                  <c:v>1/2 CHAMP NICOLAS BLC/BLC BS 1CT X 375ML</c:v>
                </c:pt>
                <c:pt idx="2">
                  <c:v>MG CHAMPAGNE NICOLAS BLC/BL BS 1CT X 1500ML</c:v>
                </c:pt>
                <c:pt idx="3">
                  <c:v>CHAMPAGNE NICOLAS BLC/BLC 2002 1CT X 750ML</c:v>
                </c:pt>
              </c:strCache>
            </c:strRef>
          </c:cat>
          <c:val>
            <c:numRef>
              <c:f>Sheet1!$D$2:$D$5</c:f>
              <c:numCache>
                <c:formatCode>General</c:formatCode>
                <c:ptCount val="4"/>
                <c:pt idx="0">
                  <c:v>394.05084745762713</c:v>
                </c:pt>
                <c:pt idx="1">
                  <c:v>132.2051282051282</c:v>
                </c:pt>
                <c:pt idx="2">
                  <c:v>150.47368421052633</c:v>
                </c:pt>
                <c:pt idx="3">
                  <c:v>51.499999999999993</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6</c:f>
              <c:strCache>
                <c:ptCount val="5"/>
                <c:pt idx="0">
                  <c:v>CHAMPAGNE NICOLAS BLC/BLC BS 1CT X 750ML</c:v>
                </c:pt>
                <c:pt idx="1">
                  <c:v>MG CHAMPAGNE NICOLAS BLC/BL BS 1CT X 1500ML</c:v>
                </c:pt>
                <c:pt idx="2">
                  <c:v>1/2 CHAMP NICOLAS BLC/BLC BS 1CT X 375ML</c:v>
                </c:pt>
                <c:pt idx="3">
                  <c:v>CHAMPAGNE NICOLAS BLC/BLC 2002 1CT X 750ML</c:v>
                </c:pt>
                <c:pt idx="4">
                  <c:v>CHAMPAGNE NICOLAS BLC/BL BS ET 1CT X 750ML</c:v>
                </c:pt>
              </c:strCache>
            </c:strRef>
          </c:cat>
          <c:val>
            <c:numRef>
              <c:f>Sheet1!$B$2:$B$6</c:f>
              <c:numCache>
                <c:formatCode>General</c:formatCode>
                <c:ptCount val="5"/>
                <c:pt idx="0">
                  <c:v>0.65</c:v>
                </c:pt>
                <c:pt idx="1">
                  <c:v>0.34</c:v>
                </c:pt>
                <c:pt idx="2">
                  <c:v>0.53</c:v>
                </c:pt>
                <c:pt idx="3">
                  <c:v>0.17</c:v>
                </c:pt>
                <c:pt idx="4">
                  <c:v>0.05</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7ECAC4"/>
              </a:solidFill>
            </c:spPr>
            <c:extLst>
              <c:ext xmlns:c16="http://schemas.microsoft.com/office/drawing/2014/chart" uri="{C3380CC4-5D6E-409C-BE32-E72D297353CC}">
                <c16:uniqueId val="{00000006-E902-46E2-9A54-39A26B3DFDC1}"/>
              </c:ext>
            </c:extLst>
          </c:dPt>
          <c:dPt>
            <c:idx val="3"/>
            <c:invertIfNegative val="0"/>
            <c:bubble3D val="0"/>
            <c:spPr>
              <a:solidFill>
                <a:srgbClr val="AEABAB"/>
              </a:solidFill>
            </c:spPr>
            <c:extLst>
              <c:ext xmlns:c16="http://schemas.microsoft.com/office/drawing/2014/chart" uri="{C3380CC4-5D6E-409C-BE32-E72D297353CC}">
                <c16:uniqueId val="{00000007-E902-46E2-9A54-39A26B3DFDC1}"/>
              </c:ext>
            </c:extLst>
          </c:dPt>
          <c:dPt>
            <c:idx val="4"/>
            <c:invertIfNegative val="1"/>
            <c:bubble3D val="0"/>
            <c:spPr>
              <a:solidFill>
                <a:srgbClr val="AEABAB"/>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6</c:f>
              <c:strCache>
                <c:ptCount val="5"/>
                <c:pt idx="0">
                  <c:v>CHAMPAGNE NICOLAS BLC/BLC BS 1CT X 750ML</c:v>
                </c:pt>
                <c:pt idx="1">
                  <c:v>MG CHAMPAGNE NICOLAS BLC/BL BS 1CT X 1500ML</c:v>
                </c:pt>
                <c:pt idx="2">
                  <c:v>1/2 CHAMP NICOLAS BLC/BLC BS 1CT X 375ML</c:v>
                </c:pt>
                <c:pt idx="3">
                  <c:v>CHAMPAGNE NICOLAS BLC/BLC 2002 1CT X 750ML</c:v>
                </c:pt>
                <c:pt idx="4">
                  <c:v>CHAMPAGNE NICOLAS BLC/BL BS ET 1CT X 750ML</c:v>
                </c:pt>
              </c:strCache>
            </c:strRef>
          </c:cat>
          <c:val>
            <c:numRef>
              <c:f>Sheet1!$C$2:$C$6</c:f>
              <c:numCache>
                <c:formatCode>General</c:formatCode>
                <c:ptCount val="5"/>
                <c:pt idx="0">
                  <c:v>0.66288983207233809</c:v>
                </c:pt>
                <c:pt idx="1">
                  <c:v>0.79291382173832814</c:v>
                </c:pt>
                <c:pt idx="2">
                  <c:v>0.89101310204834849</c:v>
                </c:pt>
                <c:pt idx="3">
                  <c:v>0.95264809005351547</c:v>
                </c:pt>
                <c:pt idx="4">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6</c:f>
              <c:strCache>
                <c:ptCount val="5"/>
                <c:pt idx="0">
                  <c:v>CHAMPAGNE NICOLAS BLC/BLC BS 1CT X 750ML</c:v>
                </c:pt>
                <c:pt idx="1">
                  <c:v>MG CHAMPAGNE NICOLAS BLC/BL BS 1CT X 1500ML</c:v>
                </c:pt>
                <c:pt idx="2">
                  <c:v>1/2 CHAMP NICOLAS BLC/BLC BS 1CT X 375ML</c:v>
                </c:pt>
                <c:pt idx="3">
                  <c:v>CHAMPAGNE NICOLAS BLC/BLC 2002 1CT X 750ML</c:v>
                </c:pt>
                <c:pt idx="4">
                  <c:v>CHAMPAGNE NICOLAS BLC/BL BS ET 1CT X 750ML</c:v>
                </c:pt>
              </c:strCache>
            </c:strRef>
          </c:cat>
          <c:val>
            <c:numRef>
              <c:f>Sheet1!$D$2:$D$6</c:f>
              <c:numCache>
                <c:formatCode>General</c:formatCode>
                <c:ptCount val="5"/>
                <c:pt idx="0">
                  <c:v>276.32307692307694</c:v>
                </c:pt>
                <c:pt idx="1">
                  <c:v>103.61764705882354</c:v>
                </c:pt>
                <c:pt idx="2">
                  <c:v>50.150943396226417</c:v>
                </c:pt>
                <c:pt idx="3">
                  <c:v>98.235294117647058</c:v>
                </c:pt>
                <c:pt idx="4">
                  <c:v>256.60000000000002</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6</c:f>
              <c:strCache>
                <c:ptCount val="5"/>
                <c:pt idx="0">
                  <c:v>CHAMPAGNE NICOLAS BLC/BLC BS 1CT X 750ML</c:v>
                </c:pt>
                <c:pt idx="1">
                  <c:v>1/2 CHAMP NICOLAS BLC/BLC BS 1CT X 375ML</c:v>
                </c:pt>
                <c:pt idx="2">
                  <c:v>MG CHAMPAGNE NICOLAS BLC/BL BS 1CT X 1500ML</c:v>
                </c:pt>
                <c:pt idx="3">
                  <c:v>CHAMPAGNE NICOLAS BLC/BLC 2002 1CT X 750ML</c:v>
                </c:pt>
                <c:pt idx="4">
                  <c:v>CHAMPAGNE NICOLAS BLC/BL BS ET 1CT X 750ML</c:v>
                </c:pt>
              </c:strCache>
            </c:strRef>
          </c:cat>
          <c:val>
            <c:numRef>
              <c:f>Sheet1!$B$2:$B$6</c:f>
              <c:numCache>
                <c:formatCode>General</c:formatCode>
                <c:ptCount val="5"/>
                <c:pt idx="0">
                  <c:v>0.55000000000000004</c:v>
                </c:pt>
                <c:pt idx="1">
                  <c:v>0.24</c:v>
                </c:pt>
                <c:pt idx="2">
                  <c:v>0.14000000000000001</c:v>
                </c:pt>
                <c:pt idx="3">
                  <c:v>0.04</c:v>
                </c:pt>
                <c:pt idx="4">
                  <c:v>0.02</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7ECAC4"/>
              </a:solidFill>
            </c:spPr>
            <c:extLst>
              <c:ext xmlns:c16="http://schemas.microsoft.com/office/drawing/2014/chart" uri="{C3380CC4-5D6E-409C-BE32-E72D297353CC}">
                <c16:uniqueId val="{00000008-D8F4-40C6-A5E0-DB4B53CFB1F3}"/>
              </c:ext>
            </c:extLst>
          </c:dPt>
          <c:dPt>
            <c:idx val="2"/>
            <c:invertIfNegative val="0"/>
            <c:bubble3D val="0"/>
            <c:spPr>
              <a:solidFill>
                <a:srgbClr val="AEABAB"/>
              </a:solidFill>
            </c:spPr>
            <c:extLst>
              <c:ext xmlns:c16="http://schemas.microsoft.com/office/drawing/2014/chart" uri="{C3380CC4-5D6E-409C-BE32-E72D297353CC}">
                <c16:uniqueId val="{00000006-E902-46E2-9A54-39A26B3DFDC1}"/>
              </c:ext>
            </c:extLst>
          </c:dPt>
          <c:dPt>
            <c:idx val="3"/>
            <c:invertIfNegative val="0"/>
            <c:bubble3D val="0"/>
            <c:spPr>
              <a:solidFill>
                <a:srgbClr val="AEABAB"/>
              </a:solidFill>
            </c:spPr>
            <c:extLst>
              <c:ext xmlns:c16="http://schemas.microsoft.com/office/drawing/2014/chart" uri="{C3380CC4-5D6E-409C-BE32-E72D297353CC}">
                <c16:uniqueId val="{00000007-E902-46E2-9A54-39A26B3DFDC1}"/>
              </c:ext>
            </c:extLst>
          </c:dPt>
          <c:dPt>
            <c:idx val="4"/>
            <c:invertIfNegative val="1"/>
            <c:bubble3D val="0"/>
            <c:spPr>
              <a:solidFill>
                <a:srgbClr val="AEABAB"/>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6</c:f>
              <c:strCache>
                <c:ptCount val="5"/>
                <c:pt idx="0">
                  <c:v>CHAMPAGNE NICOLAS BLC/BLC BS 1CT X 750ML</c:v>
                </c:pt>
                <c:pt idx="1">
                  <c:v>1/2 CHAMP NICOLAS BLC/BLC BS 1CT X 375ML</c:v>
                </c:pt>
                <c:pt idx="2">
                  <c:v>MG CHAMPAGNE NICOLAS BLC/BL BS 1CT X 1500ML</c:v>
                </c:pt>
                <c:pt idx="3">
                  <c:v>CHAMPAGNE NICOLAS BLC/BLC 2002 1CT X 750ML</c:v>
                </c:pt>
                <c:pt idx="4">
                  <c:v>CHAMPAGNE NICOLAS BLC/BL BS ET 1CT X 750ML</c:v>
                </c:pt>
              </c:strCache>
            </c:strRef>
          </c:cat>
          <c:val>
            <c:numRef>
              <c:f>Sheet1!$C$2:$C$6</c:f>
              <c:numCache>
                <c:formatCode>General</c:formatCode>
                <c:ptCount val="5"/>
                <c:pt idx="0">
                  <c:v>0.74865993153544286</c:v>
                </c:pt>
                <c:pt idx="1">
                  <c:v>0.85577078288942687</c:v>
                </c:pt>
                <c:pt idx="2">
                  <c:v>0.95537558097464581</c:v>
                </c:pt>
                <c:pt idx="3">
                  <c:v>0.98861707160947365</c:v>
                </c:pt>
                <c:pt idx="4">
                  <c:v>0.99999999999999989</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6</c:f>
              <c:strCache>
                <c:ptCount val="5"/>
                <c:pt idx="0">
                  <c:v>CHAMPAGNE NICOLAS BLC/BLC BS 1CT X 750ML</c:v>
                </c:pt>
                <c:pt idx="1">
                  <c:v>1/2 CHAMP NICOLAS BLC/BLC BS 1CT X 375ML</c:v>
                </c:pt>
                <c:pt idx="2">
                  <c:v>MG CHAMPAGNE NICOLAS BLC/BL BS 1CT X 1500ML</c:v>
                </c:pt>
                <c:pt idx="3">
                  <c:v>CHAMPAGNE NICOLAS BLC/BLC 2002 1CT X 750ML</c:v>
                </c:pt>
                <c:pt idx="4">
                  <c:v>CHAMPAGNE NICOLAS BLC/BL BS ET 1CT X 750ML</c:v>
                </c:pt>
              </c:strCache>
            </c:strRef>
          </c:cat>
          <c:val>
            <c:numRef>
              <c:f>Sheet1!$D$2:$D$6</c:f>
              <c:numCache>
                <c:formatCode>General</c:formatCode>
                <c:ptCount val="5"/>
                <c:pt idx="0">
                  <c:v>4890.9272727272719</c:v>
                </c:pt>
                <c:pt idx="1">
                  <c:v>1603.5833333333333</c:v>
                </c:pt>
                <c:pt idx="2">
                  <c:v>2556.3571428571427</c:v>
                </c:pt>
                <c:pt idx="3">
                  <c:v>2986</c:v>
                </c:pt>
                <c:pt idx="4">
                  <c:v>2045</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6</c:f>
              <c:strCache>
                <c:ptCount val="5"/>
                <c:pt idx="0">
                  <c:v>CHAMPAGNE NICOLAS BLC/BLC BS 1CT X 750ML</c:v>
                </c:pt>
                <c:pt idx="1">
                  <c:v>1/2 CHAMP NICOLAS BLC/BLC BS 1CT X 375ML</c:v>
                </c:pt>
                <c:pt idx="2">
                  <c:v>MG CHAMPAGNE NICOLAS BLC/BL BS 1CT X 1500ML</c:v>
                </c:pt>
                <c:pt idx="3">
                  <c:v>CHAMPAGNE NICOLAS BLC/BLC 2002 1CT X 750ML</c:v>
                </c:pt>
                <c:pt idx="4">
                  <c:v>CHAMPAGNE NICOLAS BLC/BL BS ET 1CT X 750ML</c:v>
                </c:pt>
              </c:strCache>
            </c:strRef>
          </c:cat>
          <c:val>
            <c:numRef>
              <c:f>Sheet1!$B$2:$B$6</c:f>
              <c:numCache>
                <c:formatCode>General</c:formatCode>
                <c:ptCount val="5"/>
                <c:pt idx="0">
                  <c:v>0.73</c:v>
                </c:pt>
                <c:pt idx="1">
                  <c:v>0.37</c:v>
                </c:pt>
                <c:pt idx="2">
                  <c:v>0.2</c:v>
                </c:pt>
                <c:pt idx="3">
                  <c:v>0.17</c:v>
                </c:pt>
                <c:pt idx="4">
                  <c:v>0.03</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7ECAC4"/>
              </a:solidFill>
            </c:spPr>
            <c:extLst>
              <c:ext xmlns:c16="http://schemas.microsoft.com/office/drawing/2014/chart" uri="{C3380CC4-5D6E-409C-BE32-E72D297353CC}">
                <c16:uniqueId val="{00000008-D8F4-40C6-A5E0-DB4B53CFB1F3}"/>
              </c:ext>
            </c:extLst>
          </c:dPt>
          <c:dPt>
            <c:idx val="2"/>
            <c:invertIfNegative val="0"/>
            <c:bubble3D val="0"/>
            <c:spPr>
              <a:solidFill>
                <a:srgbClr val="7ECAC4"/>
              </a:solidFill>
            </c:spPr>
            <c:extLst>
              <c:ext xmlns:c16="http://schemas.microsoft.com/office/drawing/2014/chart" uri="{C3380CC4-5D6E-409C-BE32-E72D297353CC}">
                <c16:uniqueId val="{00000006-E902-46E2-9A54-39A26B3DFDC1}"/>
              </c:ext>
            </c:extLst>
          </c:dPt>
          <c:dPt>
            <c:idx val="3"/>
            <c:invertIfNegative val="0"/>
            <c:bubble3D val="0"/>
            <c:spPr>
              <a:solidFill>
                <a:srgbClr val="AEABAB"/>
              </a:solidFill>
            </c:spPr>
            <c:extLst>
              <c:ext xmlns:c16="http://schemas.microsoft.com/office/drawing/2014/chart" uri="{C3380CC4-5D6E-409C-BE32-E72D297353CC}">
                <c16:uniqueId val="{00000007-E902-46E2-9A54-39A26B3DFDC1}"/>
              </c:ext>
            </c:extLst>
          </c:dPt>
          <c:dPt>
            <c:idx val="4"/>
            <c:invertIfNegative val="1"/>
            <c:bubble3D val="0"/>
            <c:spPr>
              <a:solidFill>
                <a:srgbClr val="AEABAB"/>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6</c:f>
              <c:strCache>
                <c:ptCount val="5"/>
                <c:pt idx="0">
                  <c:v>CHAMPAGNE NICOLAS BLC/BLC BS 1CT X 750ML</c:v>
                </c:pt>
                <c:pt idx="1">
                  <c:v>1/2 CHAMP NICOLAS BLC/BLC BS 1CT X 375ML</c:v>
                </c:pt>
                <c:pt idx="2">
                  <c:v>MG CHAMPAGNE NICOLAS BLC/BL BS 1CT X 1500ML</c:v>
                </c:pt>
                <c:pt idx="3">
                  <c:v>CHAMPAGNE NICOLAS BLC/BLC 2002 1CT X 750ML</c:v>
                </c:pt>
                <c:pt idx="4">
                  <c:v>CHAMPAGNE NICOLAS BLC/BL BS ET 1CT X 750ML</c:v>
                </c:pt>
              </c:strCache>
            </c:strRef>
          </c:cat>
          <c:val>
            <c:numRef>
              <c:f>Sheet1!$C$2:$C$6</c:f>
              <c:numCache>
                <c:formatCode>General</c:formatCode>
                <c:ptCount val="5"/>
                <c:pt idx="0">
                  <c:v>0.69759342400633839</c:v>
                </c:pt>
                <c:pt idx="1">
                  <c:v>0.82848606892909027</c:v>
                </c:pt>
                <c:pt idx="2">
                  <c:v>0.93773933711871127</c:v>
                </c:pt>
                <c:pt idx="3">
                  <c:v>0.99871253136141558</c:v>
                </c:pt>
                <c:pt idx="4">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6</c:f>
              <c:strCache>
                <c:ptCount val="5"/>
                <c:pt idx="0">
                  <c:v>CHAMPAGNE NICOLAS BLC/BLC BS 1CT X 750ML</c:v>
                </c:pt>
                <c:pt idx="1">
                  <c:v>1/2 CHAMP NICOLAS BLC/BLC BS 1CT X 375ML</c:v>
                </c:pt>
                <c:pt idx="2">
                  <c:v>MG CHAMPAGNE NICOLAS BLC/BL BS 1CT X 1500ML</c:v>
                </c:pt>
                <c:pt idx="3">
                  <c:v>CHAMPAGNE NICOLAS BLC/BLC 2002 1CT X 750ML</c:v>
                </c:pt>
                <c:pt idx="4">
                  <c:v>CHAMPAGNE NICOLAS BLC/BL BS ET 1CT X 750ML</c:v>
                </c:pt>
              </c:strCache>
            </c:strRef>
          </c:cat>
          <c:val>
            <c:numRef>
              <c:f>Sheet1!$D$2:$D$6</c:f>
              <c:numCache>
                <c:formatCode>General</c:formatCode>
                <c:ptCount val="5"/>
                <c:pt idx="0">
                  <c:v>578.94520547945206</c:v>
                </c:pt>
                <c:pt idx="1">
                  <c:v>214.32432432432432</c:v>
                </c:pt>
                <c:pt idx="2">
                  <c:v>330.95</c:v>
                </c:pt>
                <c:pt idx="3">
                  <c:v>217.29411764705881</c:v>
                </c:pt>
                <c:pt idx="4">
                  <c:v>26</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6</c:f>
              <c:strCache>
                <c:ptCount val="5"/>
                <c:pt idx="0">
                  <c:v>CHAMPAGNE NICOLAS BLC/BLC BS 1CT X 750ML</c:v>
                </c:pt>
                <c:pt idx="1">
                  <c:v>MG CHAMPAGNE NICOLAS BLC/BL BS 1CT X 1500ML</c:v>
                </c:pt>
                <c:pt idx="2">
                  <c:v>1/2 CHAMP NICOLAS BLC/BLC BS 1CT X 375ML</c:v>
                </c:pt>
                <c:pt idx="3">
                  <c:v>CHAMPAGNE NICOLAS BLC/BLC 2002 1CT X 750ML</c:v>
                </c:pt>
                <c:pt idx="4">
                  <c:v>CHAMPAGNE NICOLAS BLC/BL BS ET 1CT X 750ML</c:v>
                </c:pt>
              </c:strCache>
            </c:strRef>
          </c:cat>
          <c:val>
            <c:numRef>
              <c:f>Sheet1!$B$2:$B$6</c:f>
              <c:numCache>
                <c:formatCode>General</c:formatCode>
                <c:ptCount val="5"/>
                <c:pt idx="0">
                  <c:v>0.63</c:v>
                </c:pt>
                <c:pt idx="1">
                  <c:v>0.27</c:v>
                </c:pt>
                <c:pt idx="2">
                  <c:v>0.33</c:v>
                </c:pt>
                <c:pt idx="3">
                  <c:v>0.19</c:v>
                </c:pt>
                <c:pt idx="4">
                  <c:v>0.05</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7ECAC4"/>
              </a:solidFill>
            </c:spPr>
            <c:extLst>
              <c:ext xmlns:c16="http://schemas.microsoft.com/office/drawing/2014/chart" uri="{C3380CC4-5D6E-409C-BE32-E72D297353CC}">
                <c16:uniqueId val="{00000006-E902-46E2-9A54-39A26B3DFDC1}"/>
              </c:ext>
            </c:extLst>
          </c:dPt>
          <c:dPt>
            <c:idx val="3"/>
            <c:invertIfNegative val="0"/>
            <c:bubble3D val="0"/>
            <c:spPr>
              <a:solidFill>
                <a:srgbClr val="AEABAB"/>
              </a:solidFill>
            </c:spPr>
            <c:extLst>
              <c:ext xmlns:c16="http://schemas.microsoft.com/office/drawing/2014/chart" uri="{C3380CC4-5D6E-409C-BE32-E72D297353CC}">
                <c16:uniqueId val="{00000007-E902-46E2-9A54-39A26B3DFDC1}"/>
              </c:ext>
            </c:extLst>
          </c:dPt>
          <c:dPt>
            <c:idx val="4"/>
            <c:invertIfNegative val="1"/>
            <c:bubble3D val="0"/>
            <c:spPr>
              <a:solidFill>
                <a:srgbClr val="AEABAB"/>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6</c:f>
              <c:strCache>
                <c:ptCount val="5"/>
                <c:pt idx="0">
                  <c:v>CHAMPAGNE NICOLAS BLC/BLC BS 1CT X 750ML</c:v>
                </c:pt>
                <c:pt idx="1">
                  <c:v>MG CHAMPAGNE NICOLAS BLC/BL BS 1CT X 1500ML</c:v>
                </c:pt>
                <c:pt idx="2">
                  <c:v>1/2 CHAMP NICOLAS BLC/BLC BS 1CT X 375ML</c:v>
                </c:pt>
                <c:pt idx="3">
                  <c:v>CHAMPAGNE NICOLAS BLC/BLC 2002 1CT X 750ML</c:v>
                </c:pt>
                <c:pt idx="4">
                  <c:v>CHAMPAGNE NICOLAS BLC/BL BS ET 1CT X 750ML</c:v>
                </c:pt>
              </c:strCache>
            </c:strRef>
          </c:cat>
          <c:val>
            <c:numRef>
              <c:f>Sheet1!$C$2:$C$6</c:f>
              <c:numCache>
                <c:formatCode>General</c:formatCode>
                <c:ptCount val="5"/>
                <c:pt idx="0">
                  <c:v>0.61732812038949536</c:v>
                </c:pt>
                <c:pt idx="1">
                  <c:v>0.79802301563883149</c:v>
                </c:pt>
                <c:pt idx="2">
                  <c:v>0.91125700796695186</c:v>
                </c:pt>
                <c:pt idx="3">
                  <c:v>0.98568899380348185</c:v>
                </c:pt>
                <c:pt idx="4">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6</c:f>
              <c:strCache>
                <c:ptCount val="5"/>
                <c:pt idx="0">
                  <c:v>CHAMPAGNE NICOLAS BLC/BLC BS 1CT X 750ML</c:v>
                </c:pt>
                <c:pt idx="1">
                  <c:v>MG CHAMPAGNE NICOLAS BLC/BL BS 1CT X 1500ML</c:v>
                </c:pt>
                <c:pt idx="2">
                  <c:v>1/2 CHAMP NICOLAS BLC/BLC BS 1CT X 375ML</c:v>
                </c:pt>
                <c:pt idx="3">
                  <c:v>CHAMPAGNE NICOLAS BLC/BLC 2002 1CT X 750ML</c:v>
                </c:pt>
                <c:pt idx="4">
                  <c:v>CHAMPAGNE NICOLAS BLC/BL BS ET 1CT X 750ML</c:v>
                </c:pt>
              </c:strCache>
            </c:strRef>
          </c:cat>
          <c:val>
            <c:numRef>
              <c:f>Sheet1!$D$2:$D$6</c:f>
              <c:numCache>
                <c:formatCode>General</c:formatCode>
                <c:ptCount val="5"/>
                <c:pt idx="0">
                  <c:v>265.66666666666669</c:v>
                </c:pt>
                <c:pt idx="1">
                  <c:v>181.44444444444446</c:v>
                </c:pt>
                <c:pt idx="2">
                  <c:v>93.030303030303031</c:v>
                </c:pt>
                <c:pt idx="3">
                  <c:v>106.21052631578948</c:v>
                </c:pt>
                <c:pt idx="4">
                  <c:v>77.599999999999994</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6</c:f>
              <c:strCache>
                <c:ptCount val="5"/>
                <c:pt idx="0">
                  <c:v>CHAMPAGNE NICOLAS BLC/BLC BS 1CT X 750ML</c:v>
                </c:pt>
                <c:pt idx="1">
                  <c:v>MG CHAMPAGNE NICOLAS BLC/BL BS 1CT X 1500ML</c:v>
                </c:pt>
                <c:pt idx="2">
                  <c:v>1/2 CHAMP NICOLAS BLC/BLC BS 1CT X 375ML</c:v>
                </c:pt>
                <c:pt idx="3">
                  <c:v>CHAMPAGNE NICOLAS BLC/BLC 2002 1CT X 750ML</c:v>
                </c:pt>
                <c:pt idx="4">
                  <c:v>CHAMPAGNE NICOLAS BLC/BL BS ET 1CT X 750ML</c:v>
                </c:pt>
              </c:strCache>
            </c:strRef>
          </c:cat>
          <c:val>
            <c:numRef>
              <c:f>Sheet1!$B$2:$B$6</c:f>
              <c:numCache>
                <c:formatCode>General</c:formatCode>
                <c:ptCount val="5"/>
                <c:pt idx="0">
                  <c:v>0.56000000000000005</c:v>
                </c:pt>
                <c:pt idx="1">
                  <c:v>0.16</c:v>
                </c:pt>
                <c:pt idx="2">
                  <c:v>0.32</c:v>
                </c:pt>
                <c:pt idx="3">
                  <c:v>0.18</c:v>
                </c:pt>
                <c:pt idx="4">
                  <c:v>0.03</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7ECAC4"/>
              </a:solidFill>
            </c:spPr>
            <c:extLst>
              <c:ext xmlns:c16="http://schemas.microsoft.com/office/drawing/2014/chart" uri="{C3380CC4-5D6E-409C-BE32-E72D297353CC}">
                <c16:uniqueId val="{00000008-D8F4-40C6-A5E0-DB4B53CFB1F3}"/>
              </c:ext>
            </c:extLst>
          </c:dPt>
          <c:dPt>
            <c:idx val="2"/>
            <c:invertIfNegative val="0"/>
            <c:bubble3D val="0"/>
            <c:spPr>
              <a:solidFill>
                <a:srgbClr val="7ECAC4"/>
              </a:solidFill>
            </c:spPr>
            <c:extLst>
              <c:ext xmlns:c16="http://schemas.microsoft.com/office/drawing/2014/chart" uri="{C3380CC4-5D6E-409C-BE32-E72D297353CC}">
                <c16:uniqueId val="{00000006-E902-46E2-9A54-39A26B3DFDC1}"/>
              </c:ext>
            </c:extLst>
          </c:dPt>
          <c:dPt>
            <c:idx val="3"/>
            <c:invertIfNegative val="0"/>
            <c:bubble3D val="0"/>
            <c:spPr>
              <a:solidFill>
                <a:srgbClr val="AEABAB"/>
              </a:solidFill>
            </c:spPr>
            <c:extLst>
              <c:ext xmlns:c16="http://schemas.microsoft.com/office/drawing/2014/chart" uri="{C3380CC4-5D6E-409C-BE32-E72D297353CC}">
                <c16:uniqueId val="{00000007-E902-46E2-9A54-39A26B3DFDC1}"/>
              </c:ext>
            </c:extLst>
          </c:dPt>
          <c:dPt>
            <c:idx val="4"/>
            <c:invertIfNegative val="1"/>
            <c:bubble3D val="0"/>
            <c:spPr>
              <a:solidFill>
                <a:srgbClr val="AEABAB"/>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6</c:f>
              <c:strCache>
                <c:ptCount val="5"/>
                <c:pt idx="0">
                  <c:v>CHAMPAGNE NICOLAS BLC/BLC BS 1CT X 750ML</c:v>
                </c:pt>
                <c:pt idx="1">
                  <c:v>MG CHAMPAGNE NICOLAS BLC/BL BS 1CT X 1500ML</c:v>
                </c:pt>
                <c:pt idx="2">
                  <c:v>1/2 CHAMP NICOLAS BLC/BLC BS 1CT X 375ML</c:v>
                </c:pt>
                <c:pt idx="3">
                  <c:v>CHAMPAGNE NICOLAS BLC/BLC 2002 1CT X 750ML</c:v>
                </c:pt>
                <c:pt idx="4">
                  <c:v>CHAMPAGNE NICOLAS BLC/BL BS ET 1CT X 750ML</c:v>
                </c:pt>
              </c:strCache>
            </c:strRef>
          </c:cat>
          <c:val>
            <c:numRef>
              <c:f>Sheet1!$C$2:$C$6</c:f>
              <c:numCache>
                <c:formatCode>General</c:formatCode>
                <c:ptCount val="5"/>
                <c:pt idx="0">
                  <c:v>0.71040141581530047</c:v>
                </c:pt>
                <c:pt idx="1">
                  <c:v>0.82793017456359108</c:v>
                </c:pt>
                <c:pt idx="2">
                  <c:v>0.92993323143753526</c:v>
                </c:pt>
                <c:pt idx="3">
                  <c:v>0.99694312605582824</c:v>
                </c:pt>
                <c:pt idx="4">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6</c:f>
              <c:strCache>
                <c:ptCount val="5"/>
                <c:pt idx="0">
                  <c:v>CHAMPAGNE NICOLAS BLC/BLC BS 1CT X 750ML</c:v>
                </c:pt>
                <c:pt idx="1">
                  <c:v>MG CHAMPAGNE NICOLAS BLC/BL BS 1CT X 1500ML</c:v>
                </c:pt>
                <c:pt idx="2">
                  <c:v>1/2 CHAMP NICOLAS BLC/BLC BS 1CT X 375ML</c:v>
                </c:pt>
                <c:pt idx="3">
                  <c:v>CHAMPAGNE NICOLAS BLC/BLC 2002 1CT X 750ML</c:v>
                </c:pt>
                <c:pt idx="4">
                  <c:v>CHAMPAGNE NICOLAS BLC/BL BS ET 1CT X 750ML</c:v>
                </c:pt>
              </c:strCache>
            </c:strRef>
          </c:cat>
          <c:val>
            <c:numRef>
              <c:f>Sheet1!$D$2:$D$6</c:f>
              <c:numCache>
                <c:formatCode>General</c:formatCode>
                <c:ptCount val="5"/>
                <c:pt idx="0">
                  <c:v>157.69642857142856</c:v>
                </c:pt>
                <c:pt idx="1">
                  <c:v>91.3125</c:v>
                </c:pt>
                <c:pt idx="2">
                  <c:v>39.625</c:v>
                </c:pt>
                <c:pt idx="3">
                  <c:v>46.277777777777779</c:v>
                </c:pt>
                <c:pt idx="4">
                  <c:v>12.666666666666666</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6</c:f>
              <c:strCache>
                <c:ptCount val="5"/>
                <c:pt idx="0">
                  <c:v>CHAMPAGNE NICOLAS BLC/BLC BS 1CT X 750ML</c:v>
                </c:pt>
                <c:pt idx="1">
                  <c:v>1/2 CHAMP NICOLAS BLC/BLC BS 1CT X 375ML</c:v>
                </c:pt>
                <c:pt idx="2">
                  <c:v>MG CHAMPAGNE NICOLAS BLC/BL BS 1CT X 1500ML</c:v>
                </c:pt>
                <c:pt idx="3">
                  <c:v>CHAMPAGNE NICOLAS BLC/BLC 2002 1CT X 750ML</c:v>
                </c:pt>
                <c:pt idx="4">
                  <c:v>CHAMPAGNE NICOLAS BLC/BL BS ET 1CT X 750ML</c:v>
                </c:pt>
              </c:strCache>
            </c:strRef>
          </c:cat>
          <c:val>
            <c:numRef>
              <c:f>Sheet1!$B$2:$B$6</c:f>
              <c:numCache>
                <c:formatCode>General</c:formatCode>
                <c:ptCount val="5"/>
                <c:pt idx="0">
                  <c:v>0.43</c:v>
                </c:pt>
                <c:pt idx="1">
                  <c:v>0.33</c:v>
                </c:pt>
                <c:pt idx="2">
                  <c:v>0.34</c:v>
                </c:pt>
                <c:pt idx="3">
                  <c:v>0.26</c:v>
                </c:pt>
                <c:pt idx="4">
                  <c:v>0.13</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7ECAC4"/>
              </a:solidFill>
            </c:spPr>
            <c:extLst>
              <c:ext xmlns:c16="http://schemas.microsoft.com/office/drawing/2014/chart" uri="{C3380CC4-5D6E-409C-BE32-E72D297353CC}">
                <c16:uniqueId val="{00000006-E902-46E2-9A54-39A26B3DFDC1}"/>
              </c:ext>
            </c:extLst>
          </c:dPt>
          <c:dPt>
            <c:idx val="3"/>
            <c:invertIfNegative val="0"/>
            <c:bubble3D val="0"/>
            <c:spPr>
              <a:solidFill>
                <a:srgbClr val="AEABAB"/>
              </a:solidFill>
            </c:spPr>
            <c:extLst>
              <c:ext xmlns:c16="http://schemas.microsoft.com/office/drawing/2014/chart" uri="{C3380CC4-5D6E-409C-BE32-E72D297353CC}">
                <c16:uniqueId val="{00000007-E902-46E2-9A54-39A26B3DFDC1}"/>
              </c:ext>
            </c:extLst>
          </c:dPt>
          <c:dPt>
            <c:idx val="4"/>
            <c:invertIfNegative val="1"/>
            <c:bubble3D val="0"/>
            <c:spPr>
              <a:solidFill>
                <a:srgbClr val="AEABAB"/>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6</c:f>
              <c:strCache>
                <c:ptCount val="5"/>
                <c:pt idx="0">
                  <c:v>CHAMPAGNE NICOLAS BLC/BLC BS 1CT X 750ML</c:v>
                </c:pt>
                <c:pt idx="1">
                  <c:v>1/2 CHAMP NICOLAS BLC/BLC BS 1CT X 375ML</c:v>
                </c:pt>
                <c:pt idx="2">
                  <c:v>MG CHAMPAGNE NICOLAS BLC/BL BS 1CT X 1500ML</c:v>
                </c:pt>
                <c:pt idx="3">
                  <c:v>CHAMPAGNE NICOLAS BLC/BLC 2002 1CT X 750ML</c:v>
                </c:pt>
                <c:pt idx="4">
                  <c:v>CHAMPAGNE NICOLAS BLC/BL BS ET 1CT X 750ML</c:v>
                </c:pt>
              </c:strCache>
            </c:strRef>
          </c:cat>
          <c:val>
            <c:numRef>
              <c:f>Sheet1!$C$2:$C$6</c:f>
              <c:numCache>
                <c:formatCode>General</c:formatCode>
                <c:ptCount val="5"/>
                <c:pt idx="0">
                  <c:v>0.63180395450034355</c:v>
                </c:pt>
                <c:pt idx="1">
                  <c:v>0.7801358882357432</c:v>
                </c:pt>
                <c:pt idx="2">
                  <c:v>0.882586456981449</c:v>
                </c:pt>
                <c:pt idx="3">
                  <c:v>0.96137109703030765</c:v>
                </c:pt>
                <c:pt idx="4">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6</c:f>
              <c:strCache>
                <c:ptCount val="5"/>
                <c:pt idx="0">
                  <c:v>CHAMPAGNE NICOLAS BLC/BLC BS 1CT X 750ML</c:v>
                </c:pt>
                <c:pt idx="1">
                  <c:v>1/2 CHAMP NICOLAS BLC/BLC BS 1CT X 375ML</c:v>
                </c:pt>
                <c:pt idx="2">
                  <c:v>MG CHAMPAGNE NICOLAS BLC/BL BS 1CT X 1500ML</c:v>
                </c:pt>
                <c:pt idx="3">
                  <c:v>CHAMPAGNE NICOLAS BLC/BLC 2002 1CT X 750ML</c:v>
                </c:pt>
                <c:pt idx="4">
                  <c:v>CHAMPAGNE NICOLAS BLC/BL BS ET 1CT X 750ML</c:v>
                </c:pt>
              </c:strCache>
            </c:strRef>
          </c:cat>
          <c:val>
            <c:numRef>
              <c:f>Sheet1!$D$2:$D$6</c:f>
              <c:numCache>
                <c:formatCode>General</c:formatCode>
                <c:ptCount val="5"/>
                <c:pt idx="0">
                  <c:v>192.46511627906978</c:v>
                </c:pt>
                <c:pt idx="1">
                  <c:v>58.878787878787875</c:v>
                </c:pt>
                <c:pt idx="2">
                  <c:v>39.470588235294116</c:v>
                </c:pt>
                <c:pt idx="3">
                  <c:v>39.692307692307693</c:v>
                </c:pt>
                <c:pt idx="4">
                  <c:v>38.92307692307692</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6</c:f>
              <c:strCache>
                <c:ptCount val="5"/>
                <c:pt idx="0">
                  <c:v>CHAMPAGNE NICOLAS BLC/BLC BS 1CT X 750ML</c:v>
                </c:pt>
                <c:pt idx="1">
                  <c:v>MG CHAMPAGNE NICOLAS BLC/BL BS 1CT X 1500ML</c:v>
                </c:pt>
                <c:pt idx="2">
                  <c:v>1/2 CHAMP NICOLAS BLC/BLC BS 1CT X 375ML</c:v>
                </c:pt>
                <c:pt idx="3">
                  <c:v>CHAMPAGNE NICOLAS BLC/BLC 2002 1CT X 750ML</c:v>
                </c:pt>
                <c:pt idx="4">
                  <c:v>CHAMPAGNE NICOLAS BLC/BL BS ET 1CT X 750ML</c:v>
                </c:pt>
              </c:strCache>
            </c:strRef>
          </c:cat>
          <c:val>
            <c:numRef>
              <c:f>Sheet1!$B$2:$B$6</c:f>
              <c:numCache>
                <c:formatCode>General</c:formatCode>
                <c:ptCount val="5"/>
                <c:pt idx="0">
                  <c:v>0.7</c:v>
                </c:pt>
                <c:pt idx="1">
                  <c:v>0.23</c:v>
                </c:pt>
                <c:pt idx="2">
                  <c:v>0.35</c:v>
                </c:pt>
                <c:pt idx="3">
                  <c:v>7.0000000000000007E-2</c:v>
                </c:pt>
                <c:pt idx="4">
                  <c:v>0.02</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7ECAC4"/>
              </a:solidFill>
            </c:spPr>
            <c:extLst>
              <c:ext xmlns:c16="http://schemas.microsoft.com/office/drawing/2014/chart" uri="{C3380CC4-5D6E-409C-BE32-E72D297353CC}">
                <c16:uniqueId val="{00000008-D8F4-40C6-A5E0-DB4B53CFB1F3}"/>
              </c:ext>
            </c:extLst>
          </c:dPt>
          <c:dPt>
            <c:idx val="2"/>
            <c:invertIfNegative val="0"/>
            <c:bubble3D val="0"/>
            <c:spPr>
              <a:solidFill>
                <a:srgbClr val="AEABAB"/>
              </a:solidFill>
            </c:spPr>
            <c:extLst>
              <c:ext xmlns:c16="http://schemas.microsoft.com/office/drawing/2014/chart" uri="{C3380CC4-5D6E-409C-BE32-E72D297353CC}">
                <c16:uniqueId val="{00000006-E902-46E2-9A54-39A26B3DFDC1}"/>
              </c:ext>
            </c:extLst>
          </c:dPt>
          <c:dPt>
            <c:idx val="3"/>
            <c:invertIfNegative val="0"/>
            <c:bubble3D val="0"/>
            <c:spPr>
              <a:solidFill>
                <a:srgbClr val="AEABAB"/>
              </a:solidFill>
            </c:spPr>
            <c:extLst>
              <c:ext xmlns:c16="http://schemas.microsoft.com/office/drawing/2014/chart" uri="{C3380CC4-5D6E-409C-BE32-E72D297353CC}">
                <c16:uniqueId val="{00000007-E902-46E2-9A54-39A26B3DFDC1}"/>
              </c:ext>
            </c:extLst>
          </c:dPt>
          <c:dPt>
            <c:idx val="4"/>
            <c:invertIfNegative val="1"/>
            <c:bubble3D val="0"/>
            <c:spPr>
              <a:solidFill>
                <a:srgbClr val="AEABAB"/>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6</c:f>
              <c:strCache>
                <c:ptCount val="5"/>
                <c:pt idx="0">
                  <c:v>CHAMPAGNE NICOLAS BLC/BLC BS 1CT X 750ML</c:v>
                </c:pt>
                <c:pt idx="1">
                  <c:v>MG CHAMPAGNE NICOLAS BLC/BL BS 1CT X 1500ML</c:v>
                </c:pt>
                <c:pt idx="2">
                  <c:v>1/2 CHAMP NICOLAS BLC/BLC BS 1CT X 375ML</c:v>
                </c:pt>
                <c:pt idx="3">
                  <c:v>CHAMPAGNE NICOLAS BLC/BLC 2002 1CT X 750ML</c:v>
                </c:pt>
                <c:pt idx="4">
                  <c:v>CHAMPAGNE NICOLAS BLC/BL BS ET 1CT X 750ML</c:v>
                </c:pt>
              </c:strCache>
            </c:strRef>
          </c:cat>
          <c:val>
            <c:numRef>
              <c:f>Sheet1!$C$2:$C$6</c:f>
              <c:numCache>
                <c:formatCode>General</c:formatCode>
                <c:ptCount val="5"/>
                <c:pt idx="0">
                  <c:v>0.73983350548255367</c:v>
                </c:pt>
                <c:pt idx="1">
                  <c:v>0.84962822608778932</c:v>
                </c:pt>
                <c:pt idx="2">
                  <c:v>0.9558591158142431</c:v>
                </c:pt>
                <c:pt idx="3">
                  <c:v>0.99919967713470736</c:v>
                </c:pt>
                <c:pt idx="4">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6</c:f>
              <c:strCache>
                <c:ptCount val="5"/>
                <c:pt idx="0">
                  <c:v>CHAMPAGNE NICOLAS BLC/BLC BS 1CT X 750ML</c:v>
                </c:pt>
                <c:pt idx="1">
                  <c:v>MG CHAMPAGNE NICOLAS BLC/BL BS 1CT X 1500ML</c:v>
                </c:pt>
                <c:pt idx="2">
                  <c:v>1/2 CHAMP NICOLAS BLC/BLC BS 1CT X 375ML</c:v>
                </c:pt>
                <c:pt idx="3">
                  <c:v>CHAMPAGNE NICOLAS BLC/BLC 2002 1CT X 750ML</c:v>
                </c:pt>
                <c:pt idx="4">
                  <c:v>CHAMPAGNE NICOLAS BLC/BL BS ET 1CT X 750ML</c:v>
                </c:pt>
              </c:strCache>
            </c:strRef>
          </c:cat>
          <c:val>
            <c:numRef>
              <c:f>Sheet1!$D$2:$D$6</c:f>
              <c:numCache>
                <c:formatCode>General</c:formatCode>
                <c:ptCount val="5"/>
                <c:pt idx="0">
                  <c:v>1545.1</c:v>
                </c:pt>
                <c:pt idx="1">
                  <c:v>697.86956521739125</c:v>
                </c:pt>
                <c:pt idx="2">
                  <c:v>443.71428571428572</c:v>
                </c:pt>
                <c:pt idx="3">
                  <c:v>905.142857142857</c:v>
                </c:pt>
                <c:pt idx="4">
                  <c:v>58.5</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6</c:f>
              <c:strCache>
                <c:ptCount val="5"/>
                <c:pt idx="0">
                  <c:v>CHAMPAGNE NICOLAS BLC/BLC BS 1CT X 750ML</c:v>
                </c:pt>
                <c:pt idx="1">
                  <c:v>MG CHAMPAGNE NICOLAS BLC/BL BS 1CT X 1500ML</c:v>
                </c:pt>
                <c:pt idx="2">
                  <c:v>1/2 CHAMP NICOLAS BLC/BLC BS 1CT X 375ML</c:v>
                </c:pt>
                <c:pt idx="3">
                  <c:v>CHAMPAGNE NICOLAS BLC/BLC 2002 1CT X 750ML</c:v>
                </c:pt>
                <c:pt idx="4">
                  <c:v>CHAMPAGNE NICOLAS BLC/BL BS ET 1CT X 750ML</c:v>
                </c:pt>
              </c:strCache>
            </c:strRef>
          </c:cat>
          <c:val>
            <c:numRef>
              <c:f>Sheet1!$B$2:$B$6</c:f>
              <c:numCache>
                <c:formatCode>General</c:formatCode>
                <c:ptCount val="5"/>
                <c:pt idx="0">
                  <c:v>0.69</c:v>
                </c:pt>
                <c:pt idx="1">
                  <c:v>0.19</c:v>
                </c:pt>
                <c:pt idx="2">
                  <c:v>0.3</c:v>
                </c:pt>
                <c:pt idx="3">
                  <c:v>0.05</c:v>
                </c:pt>
                <c:pt idx="4">
                  <c:v>0.05</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7ECAC4"/>
              </a:solidFill>
            </c:spPr>
            <c:extLst>
              <c:ext xmlns:c16="http://schemas.microsoft.com/office/drawing/2014/chart" uri="{C3380CC4-5D6E-409C-BE32-E72D297353CC}">
                <c16:uniqueId val="{00000008-D8F4-40C6-A5E0-DB4B53CFB1F3}"/>
              </c:ext>
            </c:extLst>
          </c:dPt>
          <c:dPt>
            <c:idx val="2"/>
            <c:invertIfNegative val="0"/>
            <c:bubble3D val="0"/>
            <c:spPr>
              <a:solidFill>
                <a:srgbClr val="AEABAB"/>
              </a:solidFill>
            </c:spPr>
            <c:extLst>
              <c:ext xmlns:c16="http://schemas.microsoft.com/office/drawing/2014/chart" uri="{C3380CC4-5D6E-409C-BE32-E72D297353CC}">
                <c16:uniqueId val="{00000006-E902-46E2-9A54-39A26B3DFDC1}"/>
              </c:ext>
            </c:extLst>
          </c:dPt>
          <c:dPt>
            <c:idx val="3"/>
            <c:invertIfNegative val="0"/>
            <c:bubble3D val="0"/>
            <c:spPr>
              <a:solidFill>
                <a:srgbClr val="AEABAB"/>
              </a:solidFill>
            </c:spPr>
            <c:extLst>
              <c:ext xmlns:c16="http://schemas.microsoft.com/office/drawing/2014/chart" uri="{C3380CC4-5D6E-409C-BE32-E72D297353CC}">
                <c16:uniqueId val="{00000007-E902-46E2-9A54-39A26B3DFDC1}"/>
              </c:ext>
            </c:extLst>
          </c:dPt>
          <c:dPt>
            <c:idx val="4"/>
            <c:invertIfNegative val="1"/>
            <c:bubble3D val="0"/>
            <c:spPr>
              <a:solidFill>
                <a:srgbClr val="AEABAB"/>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6</c:f>
              <c:strCache>
                <c:ptCount val="5"/>
                <c:pt idx="0">
                  <c:v>CHAMPAGNE NICOLAS BLC/BLC BS 1CT X 750ML</c:v>
                </c:pt>
                <c:pt idx="1">
                  <c:v>MG CHAMPAGNE NICOLAS BLC/BL BS 1CT X 1500ML</c:v>
                </c:pt>
                <c:pt idx="2">
                  <c:v>1/2 CHAMP NICOLAS BLC/BLC BS 1CT X 375ML</c:v>
                </c:pt>
                <c:pt idx="3">
                  <c:v>CHAMPAGNE NICOLAS BLC/BLC 2002 1CT X 750ML</c:v>
                </c:pt>
                <c:pt idx="4">
                  <c:v>CHAMPAGNE NICOLAS BLC/BL BS ET 1CT X 750ML</c:v>
                </c:pt>
              </c:strCache>
            </c:strRef>
          </c:cat>
          <c:val>
            <c:numRef>
              <c:f>Sheet1!$C$2:$C$6</c:f>
              <c:numCache>
                <c:formatCode>General</c:formatCode>
                <c:ptCount val="5"/>
                <c:pt idx="0">
                  <c:v>0.74252595531880194</c:v>
                </c:pt>
                <c:pt idx="1">
                  <c:v>0.8604799695602543</c:v>
                </c:pt>
                <c:pt idx="2">
                  <c:v>0.95275044844268075</c:v>
                </c:pt>
                <c:pt idx="3">
                  <c:v>0.99206392346578232</c:v>
                </c:pt>
                <c:pt idx="4">
                  <c:v>0.99999999999999989</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6</c:f>
              <c:strCache>
                <c:ptCount val="5"/>
                <c:pt idx="0">
                  <c:v>CHAMPAGNE NICOLAS BLC/BLC BS 1CT X 750ML</c:v>
                </c:pt>
                <c:pt idx="1">
                  <c:v>MG CHAMPAGNE NICOLAS BLC/BL BS 1CT X 1500ML</c:v>
                </c:pt>
                <c:pt idx="2">
                  <c:v>1/2 CHAMP NICOLAS BLC/BLC BS 1CT X 375ML</c:v>
                </c:pt>
                <c:pt idx="3">
                  <c:v>CHAMPAGNE NICOLAS BLC/BLC 2002 1CT X 750ML</c:v>
                </c:pt>
                <c:pt idx="4">
                  <c:v>CHAMPAGNE NICOLAS BLC/BL BS ET 1CT X 750ML</c:v>
                </c:pt>
              </c:strCache>
            </c:strRef>
          </c:cat>
          <c:val>
            <c:numRef>
              <c:f>Sheet1!$D$2:$D$6</c:f>
              <c:numCache>
                <c:formatCode>General</c:formatCode>
                <c:ptCount val="5"/>
                <c:pt idx="0">
                  <c:v>791.89855072463763</c:v>
                </c:pt>
                <c:pt idx="1">
                  <c:v>456.84210526315792</c:v>
                </c:pt>
                <c:pt idx="2">
                  <c:v>226.33333333333334</c:v>
                </c:pt>
                <c:pt idx="3">
                  <c:v>578.6</c:v>
                </c:pt>
                <c:pt idx="4">
                  <c:v>116.8</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6</c:f>
              <c:strCache>
                <c:ptCount val="5"/>
                <c:pt idx="0">
                  <c:v>CHAMPAGNE NICOLAS BLC/BLC BS 1CT X 750ML</c:v>
                </c:pt>
                <c:pt idx="1">
                  <c:v>1/2 CHAMP NICOLAS BLC/BLC BS 1CT X 375ML</c:v>
                </c:pt>
                <c:pt idx="2">
                  <c:v>MG CHAMPAGNE NICOLAS BLC/BL BS 1CT X 1500ML</c:v>
                </c:pt>
                <c:pt idx="3">
                  <c:v>CHAMPAGNE NICOLAS BLC/BLC 2002 1CT X 750ML</c:v>
                </c:pt>
                <c:pt idx="4">
                  <c:v>CHAMPAGNE NICOLAS BLC/BL BS ET 1CT X 750ML</c:v>
                </c:pt>
              </c:strCache>
            </c:strRef>
          </c:cat>
          <c:val>
            <c:numRef>
              <c:f>Sheet1!$B$2:$B$6</c:f>
              <c:numCache>
                <c:formatCode>General</c:formatCode>
                <c:ptCount val="5"/>
                <c:pt idx="0">
                  <c:v>0.51</c:v>
                </c:pt>
                <c:pt idx="1">
                  <c:v>0.25</c:v>
                </c:pt>
                <c:pt idx="2">
                  <c:v>0.13</c:v>
                </c:pt>
                <c:pt idx="3">
                  <c:v>0.06</c:v>
                </c:pt>
                <c:pt idx="4">
                  <c:v>0.03</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7ECAC4"/>
              </a:solidFill>
            </c:spPr>
            <c:extLst>
              <c:ext xmlns:c16="http://schemas.microsoft.com/office/drawing/2014/chart" uri="{C3380CC4-5D6E-409C-BE32-E72D297353CC}">
                <c16:uniqueId val="{00000008-D8F4-40C6-A5E0-DB4B53CFB1F3}"/>
              </c:ext>
            </c:extLst>
          </c:dPt>
          <c:dPt>
            <c:idx val="2"/>
            <c:invertIfNegative val="0"/>
            <c:bubble3D val="0"/>
            <c:spPr>
              <a:solidFill>
                <a:srgbClr val="7ECAC4"/>
              </a:solidFill>
            </c:spPr>
            <c:extLst>
              <c:ext xmlns:c16="http://schemas.microsoft.com/office/drawing/2014/chart" uri="{C3380CC4-5D6E-409C-BE32-E72D297353CC}">
                <c16:uniqueId val="{00000006-E902-46E2-9A54-39A26B3DFDC1}"/>
              </c:ext>
            </c:extLst>
          </c:dPt>
          <c:dPt>
            <c:idx val="3"/>
            <c:invertIfNegative val="0"/>
            <c:bubble3D val="0"/>
            <c:spPr>
              <a:solidFill>
                <a:srgbClr val="AEABAB"/>
              </a:solidFill>
            </c:spPr>
            <c:extLst>
              <c:ext xmlns:c16="http://schemas.microsoft.com/office/drawing/2014/chart" uri="{C3380CC4-5D6E-409C-BE32-E72D297353CC}">
                <c16:uniqueId val="{00000007-E902-46E2-9A54-39A26B3DFDC1}"/>
              </c:ext>
            </c:extLst>
          </c:dPt>
          <c:dPt>
            <c:idx val="4"/>
            <c:invertIfNegative val="1"/>
            <c:bubble3D val="0"/>
            <c:spPr>
              <a:solidFill>
                <a:srgbClr val="AEABAB"/>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6</c:f>
              <c:strCache>
                <c:ptCount val="5"/>
                <c:pt idx="0">
                  <c:v>CHAMPAGNE NICOLAS BLC/BLC BS 1CT X 750ML</c:v>
                </c:pt>
                <c:pt idx="1">
                  <c:v>1/2 CHAMP NICOLAS BLC/BLC BS 1CT X 375ML</c:v>
                </c:pt>
                <c:pt idx="2">
                  <c:v>MG CHAMPAGNE NICOLAS BLC/BL BS 1CT X 1500ML</c:v>
                </c:pt>
                <c:pt idx="3">
                  <c:v>CHAMPAGNE NICOLAS BLC/BLC 2002 1CT X 750ML</c:v>
                </c:pt>
                <c:pt idx="4">
                  <c:v>CHAMPAGNE NICOLAS BLC/BL BS ET 1CT X 750ML</c:v>
                </c:pt>
              </c:strCache>
            </c:strRef>
          </c:cat>
          <c:val>
            <c:numRef>
              <c:f>Sheet1!$C$2:$C$6</c:f>
              <c:numCache>
                <c:formatCode>General</c:formatCode>
                <c:ptCount val="5"/>
                <c:pt idx="0">
                  <c:v>0.70845299354045432</c:v>
                </c:pt>
                <c:pt idx="1">
                  <c:v>0.83995991207606602</c:v>
                </c:pt>
                <c:pt idx="2">
                  <c:v>0.9436242515096136</c:v>
                </c:pt>
                <c:pt idx="3">
                  <c:v>0.99116549743555205</c:v>
                </c:pt>
                <c:pt idx="4">
                  <c:v>1.000000000000000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6</c:f>
              <c:strCache>
                <c:ptCount val="5"/>
                <c:pt idx="0">
                  <c:v>CHAMPAGNE NICOLAS BLC/BLC BS 1CT X 750ML</c:v>
                </c:pt>
                <c:pt idx="1">
                  <c:v>1/2 CHAMP NICOLAS BLC/BLC BS 1CT X 375ML</c:v>
                </c:pt>
                <c:pt idx="2">
                  <c:v>MG CHAMPAGNE NICOLAS BLC/BL BS 1CT X 1500ML</c:v>
                </c:pt>
                <c:pt idx="3">
                  <c:v>CHAMPAGNE NICOLAS BLC/BLC 2002 1CT X 750ML</c:v>
                </c:pt>
                <c:pt idx="4">
                  <c:v>CHAMPAGNE NICOLAS BLC/BL BS ET 1CT X 750ML</c:v>
                </c:pt>
              </c:strCache>
            </c:strRef>
          </c:cat>
          <c:val>
            <c:numRef>
              <c:f>Sheet1!$D$2:$D$6</c:f>
              <c:numCache>
                <c:formatCode>General</c:formatCode>
                <c:ptCount val="5"/>
                <c:pt idx="0">
                  <c:v>1649.4313725490197</c:v>
                </c:pt>
                <c:pt idx="1">
                  <c:v>624.6</c:v>
                </c:pt>
                <c:pt idx="2">
                  <c:v>946.84615384615381</c:v>
                </c:pt>
                <c:pt idx="3">
                  <c:v>940.83333333333337</c:v>
                </c:pt>
                <c:pt idx="4">
                  <c:v>349.6666666666666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6</c:f>
              <c:strCache>
                <c:ptCount val="5"/>
                <c:pt idx="0">
                  <c:v>CHAMPAGNE NICOLAS BLC/BLC BS 1CT X 750ML</c:v>
                </c:pt>
                <c:pt idx="1">
                  <c:v>1/2 CHAMP NICOLAS BLC/BLC BS 1CT X 375ML</c:v>
                </c:pt>
                <c:pt idx="2">
                  <c:v>MG CHAMPAGNE NICOLAS BLC/BL BS 1CT X 1500ML</c:v>
                </c:pt>
                <c:pt idx="3">
                  <c:v>CHAMPAGNE NICOLAS BLC/BLC 2002 1CT X 750ML</c:v>
                </c:pt>
                <c:pt idx="4">
                  <c:v>CHAMPAGNE NICOLAS BLC/BL BS ET 1CT X 750ML</c:v>
                </c:pt>
              </c:strCache>
            </c:strRef>
          </c:cat>
          <c:val>
            <c:numRef>
              <c:f>Sheet1!$B$2:$B$6</c:f>
              <c:numCache>
                <c:formatCode>General</c:formatCode>
                <c:ptCount val="5"/>
                <c:pt idx="0">
                  <c:v>0.51</c:v>
                </c:pt>
                <c:pt idx="1">
                  <c:v>0.15</c:v>
                </c:pt>
                <c:pt idx="2">
                  <c:v>0.08</c:v>
                </c:pt>
                <c:pt idx="3">
                  <c:v>0.03</c:v>
                </c:pt>
                <c:pt idx="4">
                  <c:v>0.04</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7ECAC4"/>
              </a:solidFill>
            </c:spPr>
            <c:extLst>
              <c:ext xmlns:c16="http://schemas.microsoft.com/office/drawing/2014/chart" uri="{C3380CC4-5D6E-409C-BE32-E72D297353CC}">
                <c16:uniqueId val="{00000008-D8F4-40C6-A5E0-DB4B53CFB1F3}"/>
              </c:ext>
            </c:extLst>
          </c:dPt>
          <c:dPt>
            <c:idx val="2"/>
            <c:invertIfNegative val="0"/>
            <c:bubble3D val="0"/>
            <c:spPr>
              <a:solidFill>
                <a:srgbClr val="7ECAC4"/>
              </a:solidFill>
            </c:spPr>
            <c:extLst>
              <c:ext xmlns:c16="http://schemas.microsoft.com/office/drawing/2014/chart" uri="{C3380CC4-5D6E-409C-BE32-E72D297353CC}">
                <c16:uniqueId val="{00000006-E902-46E2-9A54-39A26B3DFDC1}"/>
              </c:ext>
            </c:extLst>
          </c:dPt>
          <c:dPt>
            <c:idx val="3"/>
            <c:invertIfNegative val="0"/>
            <c:bubble3D val="0"/>
            <c:spPr>
              <a:solidFill>
                <a:srgbClr val="AEABAB"/>
              </a:solidFill>
            </c:spPr>
            <c:extLst>
              <c:ext xmlns:c16="http://schemas.microsoft.com/office/drawing/2014/chart" uri="{C3380CC4-5D6E-409C-BE32-E72D297353CC}">
                <c16:uniqueId val="{00000007-E902-46E2-9A54-39A26B3DFDC1}"/>
              </c:ext>
            </c:extLst>
          </c:dPt>
          <c:dPt>
            <c:idx val="4"/>
            <c:invertIfNegative val="1"/>
            <c:bubble3D val="0"/>
            <c:spPr>
              <a:solidFill>
                <a:srgbClr val="AEABAB"/>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6</c:f>
              <c:strCache>
                <c:ptCount val="5"/>
                <c:pt idx="0">
                  <c:v>CHAMPAGNE NICOLAS BLC/BLC BS 1CT X 750ML</c:v>
                </c:pt>
                <c:pt idx="1">
                  <c:v>1/2 CHAMP NICOLAS BLC/BLC BS 1CT X 375ML</c:v>
                </c:pt>
                <c:pt idx="2">
                  <c:v>MG CHAMPAGNE NICOLAS BLC/BL BS 1CT X 1500ML</c:v>
                </c:pt>
                <c:pt idx="3">
                  <c:v>CHAMPAGNE NICOLAS BLC/BLC 2002 1CT X 750ML</c:v>
                </c:pt>
                <c:pt idx="4">
                  <c:v>CHAMPAGNE NICOLAS BLC/BL BS ET 1CT X 750ML</c:v>
                </c:pt>
              </c:strCache>
            </c:strRef>
          </c:cat>
          <c:val>
            <c:numRef>
              <c:f>Sheet1!$C$2:$C$6</c:f>
              <c:numCache>
                <c:formatCode>General</c:formatCode>
                <c:ptCount val="5"/>
                <c:pt idx="0">
                  <c:v>0.73911599299025277</c:v>
                </c:pt>
                <c:pt idx="1">
                  <c:v>0.85139794060040996</c:v>
                </c:pt>
                <c:pt idx="2">
                  <c:v>0.94392202228916344</c:v>
                </c:pt>
                <c:pt idx="3">
                  <c:v>0.9870686199273826</c:v>
                </c:pt>
                <c:pt idx="4">
                  <c:v>0.99999999999999989</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6</c:f>
              <c:strCache>
                <c:ptCount val="5"/>
                <c:pt idx="0">
                  <c:v>CHAMPAGNE NICOLAS BLC/BLC BS 1CT X 750ML</c:v>
                </c:pt>
                <c:pt idx="1">
                  <c:v>1/2 CHAMP NICOLAS BLC/BLC BS 1CT X 375ML</c:v>
                </c:pt>
                <c:pt idx="2">
                  <c:v>MG CHAMPAGNE NICOLAS BLC/BL BS 1CT X 1500ML</c:v>
                </c:pt>
                <c:pt idx="3">
                  <c:v>CHAMPAGNE NICOLAS BLC/BLC 2002 1CT X 750ML</c:v>
                </c:pt>
                <c:pt idx="4">
                  <c:v>CHAMPAGNE NICOLAS BLC/BL BS ET 1CT X 750ML</c:v>
                </c:pt>
              </c:strCache>
            </c:strRef>
          </c:cat>
          <c:val>
            <c:numRef>
              <c:f>Sheet1!$D$2:$D$6</c:f>
              <c:numCache>
                <c:formatCode>General</c:formatCode>
                <c:ptCount val="5"/>
                <c:pt idx="0">
                  <c:v>1265.2941176470588</c:v>
                </c:pt>
                <c:pt idx="1">
                  <c:v>653.5333333333333</c:v>
                </c:pt>
                <c:pt idx="2">
                  <c:v>1009.75</c:v>
                </c:pt>
                <c:pt idx="3">
                  <c:v>1255.6666666666667</c:v>
                </c:pt>
                <c:pt idx="4">
                  <c:v>282.25</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6</c:f>
              <c:strCache>
                <c:ptCount val="5"/>
                <c:pt idx="0">
                  <c:v>CHAMPAGNE NICOLAS BLC/BLC BS 1CT X 750ML</c:v>
                </c:pt>
                <c:pt idx="1">
                  <c:v>MG CHAMPAGNE NICOLAS BLC/BL BS 1CT X 1500ML</c:v>
                </c:pt>
                <c:pt idx="2">
                  <c:v>1/2 CHAMP NICOLAS BLC/BLC BS 1CT X 375ML</c:v>
                </c:pt>
                <c:pt idx="3">
                  <c:v>CHAMPAGNE NICOLAS BLC/BLC 2002 1CT X 750ML</c:v>
                </c:pt>
                <c:pt idx="4">
                  <c:v>CHAMPAGNE NICOLAS BLC/BL BS ET 1CT X 750ML</c:v>
                </c:pt>
              </c:strCache>
            </c:strRef>
          </c:cat>
          <c:val>
            <c:numRef>
              <c:f>Sheet1!$B$2:$B$6</c:f>
              <c:numCache>
                <c:formatCode>General</c:formatCode>
                <c:ptCount val="5"/>
                <c:pt idx="0">
                  <c:v>0.34</c:v>
                </c:pt>
                <c:pt idx="1">
                  <c:v>0.1</c:v>
                </c:pt>
                <c:pt idx="2">
                  <c:v>0.17</c:v>
                </c:pt>
                <c:pt idx="3">
                  <c:v>0.06</c:v>
                </c:pt>
                <c:pt idx="4">
                  <c:v>0.04</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7ECAC4"/>
              </a:solidFill>
            </c:spPr>
            <c:extLst>
              <c:ext xmlns:c16="http://schemas.microsoft.com/office/drawing/2014/chart" uri="{C3380CC4-5D6E-409C-BE32-E72D297353CC}">
                <c16:uniqueId val="{00000008-D8F4-40C6-A5E0-DB4B53CFB1F3}"/>
              </c:ext>
            </c:extLst>
          </c:dPt>
          <c:dPt>
            <c:idx val="2"/>
            <c:invertIfNegative val="0"/>
            <c:bubble3D val="0"/>
            <c:spPr>
              <a:solidFill>
                <a:srgbClr val="7ECAC4"/>
              </a:solidFill>
            </c:spPr>
            <c:extLst>
              <c:ext xmlns:c16="http://schemas.microsoft.com/office/drawing/2014/chart" uri="{C3380CC4-5D6E-409C-BE32-E72D297353CC}">
                <c16:uniqueId val="{00000006-E902-46E2-9A54-39A26B3DFDC1}"/>
              </c:ext>
            </c:extLst>
          </c:dPt>
          <c:dPt>
            <c:idx val="3"/>
            <c:invertIfNegative val="0"/>
            <c:bubble3D val="0"/>
            <c:spPr>
              <a:solidFill>
                <a:srgbClr val="AEABAB"/>
              </a:solidFill>
            </c:spPr>
            <c:extLst>
              <c:ext xmlns:c16="http://schemas.microsoft.com/office/drawing/2014/chart" uri="{C3380CC4-5D6E-409C-BE32-E72D297353CC}">
                <c16:uniqueId val="{00000007-E902-46E2-9A54-39A26B3DFDC1}"/>
              </c:ext>
            </c:extLst>
          </c:dPt>
          <c:dPt>
            <c:idx val="4"/>
            <c:invertIfNegative val="1"/>
            <c:bubble3D val="0"/>
            <c:spPr>
              <a:solidFill>
                <a:srgbClr val="AEABAB"/>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6</c:f>
              <c:strCache>
                <c:ptCount val="5"/>
                <c:pt idx="0">
                  <c:v>CHAMPAGNE NICOLAS BLC/BLC BS 1CT X 750ML</c:v>
                </c:pt>
                <c:pt idx="1">
                  <c:v>MG CHAMPAGNE NICOLAS BLC/BL BS 1CT X 1500ML</c:v>
                </c:pt>
                <c:pt idx="2">
                  <c:v>1/2 CHAMP NICOLAS BLC/BLC BS 1CT X 375ML</c:v>
                </c:pt>
                <c:pt idx="3">
                  <c:v>CHAMPAGNE NICOLAS BLC/BLC 2002 1CT X 750ML</c:v>
                </c:pt>
                <c:pt idx="4">
                  <c:v>CHAMPAGNE NICOLAS BLC/BL BS ET 1CT X 750ML</c:v>
                </c:pt>
              </c:strCache>
            </c:strRef>
          </c:cat>
          <c:val>
            <c:numRef>
              <c:f>Sheet1!$C$2:$C$6</c:f>
              <c:numCache>
                <c:formatCode>General</c:formatCode>
                <c:ptCount val="5"/>
                <c:pt idx="0">
                  <c:v>0.70889788690174227</c:v>
                </c:pt>
                <c:pt idx="1">
                  <c:v>0.82540883055552994</c:v>
                </c:pt>
                <c:pt idx="2">
                  <c:v>0.92607384314557417</c:v>
                </c:pt>
                <c:pt idx="3">
                  <c:v>0.96981156439369487</c:v>
                </c:pt>
                <c:pt idx="4">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6</c:f>
              <c:strCache>
                <c:ptCount val="5"/>
                <c:pt idx="0">
                  <c:v>CHAMPAGNE NICOLAS BLC/BLC BS 1CT X 750ML</c:v>
                </c:pt>
                <c:pt idx="1">
                  <c:v>MG CHAMPAGNE NICOLAS BLC/BL BS 1CT X 1500ML</c:v>
                </c:pt>
                <c:pt idx="2">
                  <c:v>1/2 CHAMP NICOLAS BLC/BLC BS 1CT X 375ML</c:v>
                </c:pt>
                <c:pt idx="3">
                  <c:v>CHAMPAGNE NICOLAS BLC/BLC 2002 1CT X 750ML</c:v>
                </c:pt>
                <c:pt idx="4">
                  <c:v>CHAMPAGNE NICOLAS BLC/BL BS ET 1CT X 750ML</c:v>
                </c:pt>
              </c:strCache>
            </c:strRef>
          </c:cat>
          <c:val>
            <c:numRef>
              <c:f>Sheet1!$D$2:$D$6</c:f>
              <c:numCache>
                <c:formatCode>General</c:formatCode>
                <c:ptCount val="5"/>
                <c:pt idx="0">
                  <c:v>2260.5294117647059</c:v>
                </c:pt>
                <c:pt idx="1">
                  <c:v>1263.2</c:v>
                </c:pt>
                <c:pt idx="2">
                  <c:v>642</c:v>
                </c:pt>
                <c:pt idx="3">
                  <c:v>790.33333333333337</c:v>
                </c:pt>
                <c:pt idx="4">
                  <c:v>818.25</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11</c:f>
              <c:strCache>
                <c:ptCount val="10"/>
                <c:pt idx="0">
                  <c:v>CHAMPAGNE E.NICOLAS BRUT 1CT X 750ML</c:v>
                </c:pt>
                <c:pt idx="1">
                  <c:v>CHAMPAGNE NICOLAS 1ERE CUVEE 1CT X 750ML</c:v>
                </c:pt>
                <c:pt idx="2">
                  <c:v>1/2 CHAMPAGNE NICOLAS 1ERE CUV 1CT X 375ML</c:v>
                </c:pt>
                <c:pt idx="3">
                  <c:v>MG CHAMPAGNE E.NICOLAS BRUT 1CT X 1500ML</c:v>
                </c:pt>
                <c:pt idx="4">
                  <c:v>CHAMPAGNE NICOLAS BIO NAT 2017 1CT X 750ML</c:v>
                </c:pt>
                <c:pt idx="5">
                  <c:v>MG CHAMPAGNE NICOLAS 1ERE CUVE 1CT X 1500ML</c:v>
                </c:pt>
                <c:pt idx="6">
                  <c:v>CHAMPAGNE NICOLAS 1ERE CUV ETU 1CT X 750ML</c:v>
                </c:pt>
                <c:pt idx="7">
                  <c:v>1/2 CHAMPAGNE NICOLAS 1E C BS 1CT X 375ML</c:v>
                </c:pt>
                <c:pt idx="8">
                  <c:v>CHAMPAGNE NICOLAS BIO 2018 1CT X 750ML</c:v>
                </c:pt>
                <c:pt idx="9">
                  <c:v>MG CHAMPAGNE NICOLAS BRUT 1CT X 1500ML</c:v>
                </c:pt>
              </c:strCache>
            </c:strRef>
          </c:cat>
          <c:val>
            <c:numRef>
              <c:f>Sheet1!$B$2:$B$11</c:f>
              <c:numCache>
                <c:formatCode>General</c:formatCode>
                <c:ptCount val="10"/>
                <c:pt idx="0">
                  <c:v>0.998</c:v>
                </c:pt>
                <c:pt idx="1">
                  <c:v>0.76700000000000002</c:v>
                </c:pt>
                <c:pt idx="2">
                  <c:v>0.38800000000000001</c:v>
                </c:pt>
                <c:pt idx="3">
                  <c:v>0.254</c:v>
                </c:pt>
                <c:pt idx="4">
                  <c:v>0.2</c:v>
                </c:pt>
                <c:pt idx="5">
                  <c:v>0.23599999999999999</c:v>
                </c:pt>
                <c:pt idx="6">
                  <c:v>0.13600000000000001</c:v>
                </c:pt>
                <c:pt idx="7">
                  <c:v>0.01</c:v>
                </c:pt>
                <c:pt idx="8">
                  <c:v>2E-3</c:v>
                </c:pt>
                <c:pt idx="9">
                  <c:v>2E-3</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7ECAC4"/>
              </a:solidFill>
            </c:spPr>
            <c:extLst>
              <c:ext xmlns:c16="http://schemas.microsoft.com/office/drawing/2014/chart" uri="{C3380CC4-5D6E-409C-BE32-E72D297353CC}">
                <c16:uniqueId val="{00000006-D8F4-40C6-A5E0-DB4B53CFB1F3}"/>
              </c:ext>
            </c:extLst>
          </c:dPt>
          <c:dPt>
            <c:idx val="1"/>
            <c:invertIfNegative val="0"/>
            <c:bubble3D val="0"/>
            <c:spPr>
              <a:solidFill>
                <a:srgbClr val="7ECAC4"/>
              </a:solidFill>
            </c:spPr>
            <c:extLst>
              <c:ext xmlns:c16="http://schemas.microsoft.com/office/drawing/2014/chart" uri="{C3380CC4-5D6E-409C-BE32-E72D297353CC}">
                <c16:uniqueId val="{00000008-D8F4-40C6-A5E0-DB4B53CFB1F3}"/>
              </c:ext>
            </c:extLst>
          </c:dPt>
          <c:dPt>
            <c:idx val="2"/>
            <c:invertIfNegative val="0"/>
            <c:bubble3D val="0"/>
            <c:spPr>
              <a:solidFill>
                <a:srgbClr val="AEABAB"/>
              </a:solidFill>
            </c:spPr>
            <c:extLst>
              <c:ext xmlns:c16="http://schemas.microsoft.com/office/drawing/2014/chart" uri="{C3380CC4-5D6E-409C-BE32-E72D297353CC}">
                <c16:uniqueId val="{00000006-E902-46E2-9A54-39A26B3DFDC1}"/>
              </c:ext>
            </c:extLst>
          </c:dPt>
          <c:dPt>
            <c:idx val="3"/>
            <c:invertIfNegative val="0"/>
            <c:bubble3D val="0"/>
            <c:spPr>
              <a:solidFill>
                <a:srgbClr val="AEABAB"/>
              </a:solidFill>
            </c:spPr>
            <c:extLst>
              <c:ext xmlns:c16="http://schemas.microsoft.com/office/drawing/2014/chart" uri="{C3380CC4-5D6E-409C-BE32-E72D297353CC}">
                <c16:uniqueId val="{00000007-E902-46E2-9A54-39A26B3DFDC1}"/>
              </c:ext>
            </c:extLst>
          </c:dPt>
          <c:dPt>
            <c:idx val="4"/>
            <c:invertIfNegative val="1"/>
            <c:bubble3D val="0"/>
            <c:spPr>
              <a:solidFill>
                <a:srgbClr val="AEABAB"/>
              </a:solidFill>
            </c:spPr>
            <c:extLst>
              <c:ext xmlns:c16="http://schemas.microsoft.com/office/drawing/2014/chart" uri="{C3380CC4-5D6E-409C-BE32-E72D297353CC}">
                <c16:uniqueId val="{0000000B-FA3E-4872-B6E1-C4ABDF5766E2}"/>
              </c:ext>
            </c:extLst>
          </c:dPt>
          <c:dPt>
            <c:idx val="5"/>
            <c:invertIfNegative val="1"/>
            <c:bubble3D val="0"/>
            <c:spPr>
              <a:solidFill>
                <a:srgbClr val="AEABAB"/>
              </a:solidFill>
            </c:spPr>
            <c:extLst>
              <c:ext xmlns:c16="http://schemas.microsoft.com/office/drawing/2014/chart" uri="{C3380CC4-5D6E-409C-BE32-E72D297353CC}">
                <c16:uniqueId val="{0000000D-FA3E-4872-B6E1-C4ABDF5766E2}"/>
              </c:ext>
            </c:extLst>
          </c:dPt>
          <c:dPt>
            <c:idx val="6"/>
            <c:invertIfNegative val="1"/>
            <c:bubble3D val="0"/>
            <c:spPr>
              <a:solidFill>
                <a:srgbClr val="AEABAB"/>
              </a:solidFill>
            </c:spPr>
            <c:extLst>
              <c:ext xmlns:c16="http://schemas.microsoft.com/office/drawing/2014/chart" uri="{C3380CC4-5D6E-409C-BE32-E72D297353CC}">
                <c16:uniqueId val="{0000000F-FA3E-4872-B6E1-C4ABDF5766E2}"/>
              </c:ext>
            </c:extLst>
          </c:dPt>
          <c:dPt>
            <c:idx val="7"/>
            <c:invertIfNegative val="1"/>
            <c:bubble3D val="0"/>
            <c:spPr>
              <a:solidFill>
                <a:srgbClr val="AEABAB"/>
              </a:solidFill>
            </c:spPr>
            <c:extLst>
              <c:ext xmlns:c16="http://schemas.microsoft.com/office/drawing/2014/chart" uri="{C3380CC4-5D6E-409C-BE32-E72D297353CC}">
                <c16:uniqueId val="{00000011-FA3E-4872-B6E1-C4ABDF5766E2}"/>
              </c:ext>
            </c:extLst>
          </c:dPt>
          <c:dPt>
            <c:idx val="8"/>
            <c:invertIfNegative val="1"/>
            <c:bubble3D val="0"/>
            <c:spPr>
              <a:solidFill>
                <a:srgbClr val="AEABAB"/>
              </a:solidFill>
            </c:spPr>
            <c:extLst>
              <c:ext xmlns:c16="http://schemas.microsoft.com/office/drawing/2014/chart" uri="{C3380CC4-5D6E-409C-BE32-E72D297353CC}">
                <c16:uniqueId val="{00000013-FA3E-4872-B6E1-C4ABDF5766E2}"/>
              </c:ext>
            </c:extLst>
          </c:dPt>
          <c:dPt>
            <c:idx val="9"/>
            <c:invertIfNegative val="1"/>
            <c:bubble3D val="0"/>
            <c:spPr>
              <a:solidFill>
                <a:srgbClr val="AEABAB"/>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11</c:f>
              <c:strCache>
                <c:ptCount val="10"/>
                <c:pt idx="0">
                  <c:v>CHAMPAGNE E.NICOLAS BRUT 1CT X 750ML</c:v>
                </c:pt>
                <c:pt idx="1">
                  <c:v>CHAMPAGNE NICOLAS 1ERE CUVEE 1CT X 750ML</c:v>
                </c:pt>
                <c:pt idx="2">
                  <c:v>1/2 CHAMPAGNE NICOLAS 1ERE CUV 1CT X 375ML</c:v>
                </c:pt>
                <c:pt idx="3">
                  <c:v>MG CHAMPAGNE E.NICOLAS BRUT 1CT X 1500ML</c:v>
                </c:pt>
                <c:pt idx="4">
                  <c:v>CHAMPAGNE NICOLAS BIO NAT 2017 1CT X 750ML</c:v>
                </c:pt>
                <c:pt idx="5">
                  <c:v>MG CHAMPAGNE NICOLAS 1ERE CUVE 1CT X 1500ML</c:v>
                </c:pt>
                <c:pt idx="6">
                  <c:v>CHAMPAGNE NICOLAS 1ERE CUV ETU 1CT X 750ML</c:v>
                </c:pt>
                <c:pt idx="7">
                  <c:v>1/2 CHAMPAGNE NICOLAS 1E C BS 1CT X 375ML</c:v>
                </c:pt>
                <c:pt idx="8">
                  <c:v>CHAMPAGNE NICOLAS BIO 2018 1CT X 750ML</c:v>
                </c:pt>
                <c:pt idx="9">
                  <c:v>MG CHAMPAGNE NICOLAS BRUT 1CT X 1500ML</c:v>
                </c:pt>
              </c:strCache>
            </c:strRef>
          </c:cat>
          <c:val>
            <c:numRef>
              <c:f>Sheet1!$C$2:$C$11</c:f>
              <c:numCache>
                <c:formatCode>General</c:formatCode>
                <c:ptCount val="10"/>
                <c:pt idx="0">
                  <c:v>0.88268315416827914</c:v>
                </c:pt>
                <c:pt idx="1">
                  <c:v>0.93463582129428635</c:v>
                </c:pt>
                <c:pt idx="2">
                  <c:v>0.95570841094475367</c:v>
                </c:pt>
                <c:pt idx="3">
                  <c:v>0.97580889940462834</c:v>
                </c:pt>
                <c:pt idx="4">
                  <c:v>0.98889279201702496</c:v>
                </c:pt>
                <c:pt idx="5">
                  <c:v>0.99681523387326287</c:v>
                </c:pt>
                <c:pt idx="6">
                  <c:v>0.9998870650309668</c:v>
                </c:pt>
                <c:pt idx="7">
                  <c:v>0.99998128506227457</c:v>
                </c:pt>
                <c:pt idx="8">
                  <c:v>0.9999911803167042</c:v>
                </c:pt>
                <c:pt idx="9">
                  <c:v>1.000000000000000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11</c:f>
              <c:strCache>
                <c:ptCount val="10"/>
                <c:pt idx="0">
                  <c:v>CHAMPAGNE E.NICOLAS BRUT 1CT X 750ML</c:v>
                </c:pt>
                <c:pt idx="1">
                  <c:v>CHAMPAGNE NICOLAS 1ERE CUVEE 1CT X 750ML</c:v>
                </c:pt>
                <c:pt idx="2">
                  <c:v>1/2 CHAMPAGNE NICOLAS 1ERE CUV 1CT X 375ML</c:v>
                </c:pt>
                <c:pt idx="3">
                  <c:v>MG CHAMPAGNE E.NICOLAS BRUT 1CT X 1500ML</c:v>
                </c:pt>
                <c:pt idx="4">
                  <c:v>CHAMPAGNE NICOLAS BIO NAT 2017 1CT X 750ML</c:v>
                </c:pt>
                <c:pt idx="5">
                  <c:v>MG CHAMPAGNE NICOLAS 1ERE CUVE 1CT X 1500ML</c:v>
                </c:pt>
                <c:pt idx="6">
                  <c:v>CHAMPAGNE NICOLAS 1ERE CUV ETU 1CT X 750ML</c:v>
                </c:pt>
                <c:pt idx="7">
                  <c:v>1/2 CHAMPAGNE NICOLAS 1E C BS 1CT X 375ML</c:v>
                </c:pt>
                <c:pt idx="8">
                  <c:v>CHAMPAGNE NICOLAS BIO 2018 1CT X 750ML</c:v>
                </c:pt>
                <c:pt idx="9">
                  <c:v>MG CHAMPAGNE NICOLAS BRUT 1CT X 1500ML</c:v>
                </c:pt>
              </c:strCache>
            </c:strRef>
          </c:cat>
          <c:val>
            <c:numRef>
              <c:f>Sheet1!$D$2:$D$11</c:f>
              <c:numCache>
                <c:formatCode>General</c:formatCode>
                <c:ptCount val="10"/>
                <c:pt idx="0">
                  <c:v>41115.460921843689</c:v>
                </c:pt>
                <c:pt idx="1">
                  <c:v>3148.787483702738</c:v>
                </c:pt>
                <c:pt idx="2">
                  <c:v>2524.7422680412369</c:v>
                </c:pt>
                <c:pt idx="3">
                  <c:v>3678.7795275590552</c:v>
                </c:pt>
                <c:pt idx="4">
                  <c:v>3041.15</c:v>
                </c:pt>
                <c:pt idx="5">
                  <c:v>1560.5508474576272</c:v>
                </c:pt>
                <c:pt idx="6">
                  <c:v>1050</c:v>
                </c:pt>
                <c:pt idx="7">
                  <c:v>438</c:v>
                </c:pt>
                <c:pt idx="8">
                  <c:v>230</c:v>
                </c:pt>
                <c:pt idx="9">
                  <c:v>205</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9</c:f>
              <c:strCache>
                <c:ptCount val="8"/>
                <c:pt idx="0">
                  <c:v>CHAMPAGNE E.NICOLAS BRUT 1CT X 750ML</c:v>
                </c:pt>
                <c:pt idx="1">
                  <c:v>CHAMPAGNE NICOLAS 1ERE CUVEE 1CT X 750ML</c:v>
                </c:pt>
                <c:pt idx="2">
                  <c:v>1/2 CHAMPAGNE NICOLAS 1ERE CUV 1CT X 375ML</c:v>
                </c:pt>
                <c:pt idx="3">
                  <c:v>MG CHAMPAGNE E.NICOLAS BRUT 1CT X 1500ML</c:v>
                </c:pt>
                <c:pt idx="4">
                  <c:v>CHAMPAGNE NICOLAS BIO NAT 2017 1CT X 750ML</c:v>
                </c:pt>
                <c:pt idx="5">
                  <c:v>MG CHAMPAGNE NICOLAS 1ERE CUVE 1CT X 1500ML</c:v>
                </c:pt>
                <c:pt idx="6">
                  <c:v>CHAMPAGNE NICOLAS 1ERE CUV ETU 1CT X 750ML</c:v>
                </c:pt>
                <c:pt idx="7">
                  <c:v>1/2 CHAMPAGNE NICOLAS 1E C BS 1CT X 375ML</c:v>
                </c:pt>
              </c:strCache>
            </c:strRef>
          </c:cat>
          <c:val>
            <c:numRef>
              <c:f>Sheet1!$B$2:$B$9</c:f>
              <c:numCache>
                <c:formatCode>General</c:formatCode>
                <c:ptCount val="8"/>
                <c:pt idx="0">
                  <c:v>1</c:v>
                </c:pt>
                <c:pt idx="1">
                  <c:v>0.83</c:v>
                </c:pt>
                <c:pt idx="2">
                  <c:v>0.37</c:v>
                </c:pt>
                <c:pt idx="3">
                  <c:v>0.18</c:v>
                </c:pt>
                <c:pt idx="4">
                  <c:v>0.19</c:v>
                </c:pt>
                <c:pt idx="5">
                  <c:v>0.27</c:v>
                </c:pt>
                <c:pt idx="6">
                  <c:v>0.14000000000000001</c:v>
                </c:pt>
                <c:pt idx="7">
                  <c:v>0.01</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7ECAC4"/>
              </a:solidFill>
            </c:spPr>
            <c:extLst>
              <c:ext xmlns:c16="http://schemas.microsoft.com/office/drawing/2014/chart" uri="{C3380CC4-5D6E-409C-BE32-E72D297353CC}">
                <c16:uniqueId val="{00000006-D8F4-40C6-A5E0-DB4B53CFB1F3}"/>
              </c:ext>
            </c:extLst>
          </c:dPt>
          <c:dPt>
            <c:idx val="1"/>
            <c:invertIfNegative val="0"/>
            <c:bubble3D val="0"/>
            <c:spPr>
              <a:solidFill>
                <a:srgbClr val="7ECAC4"/>
              </a:solidFill>
            </c:spPr>
            <c:extLst>
              <c:ext xmlns:c16="http://schemas.microsoft.com/office/drawing/2014/chart" uri="{C3380CC4-5D6E-409C-BE32-E72D297353CC}">
                <c16:uniqueId val="{00000008-D8F4-40C6-A5E0-DB4B53CFB1F3}"/>
              </c:ext>
            </c:extLst>
          </c:dPt>
          <c:dPt>
            <c:idx val="2"/>
            <c:invertIfNegative val="0"/>
            <c:bubble3D val="0"/>
            <c:spPr>
              <a:solidFill>
                <a:srgbClr val="AEABAB"/>
              </a:solidFill>
            </c:spPr>
            <c:extLst>
              <c:ext xmlns:c16="http://schemas.microsoft.com/office/drawing/2014/chart" uri="{C3380CC4-5D6E-409C-BE32-E72D297353CC}">
                <c16:uniqueId val="{00000006-E902-46E2-9A54-39A26B3DFDC1}"/>
              </c:ext>
            </c:extLst>
          </c:dPt>
          <c:dPt>
            <c:idx val="3"/>
            <c:invertIfNegative val="0"/>
            <c:bubble3D val="0"/>
            <c:spPr>
              <a:solidFill>
                <a:srgbClr val="AEABAB"/>
              </a:solidFill>
            </c:spPr>
            <c:extLst>
              <c:ext xmlns:c16="http://schemas.microsoft.com/office/drawing/2014/chart" uri="{C3380CC4-5D6E-409C-BE32-E72D297353CC}">
                <c16:uniqueId val="{00000007-E902-46E2-9A54-39A26B3DFDC1}"/>
              </c:ext>
            </c:extLst>
          </c:dPt>
          <c:dPt>
            <c:idx val="4"/>
            <c:invertIfNegative val="1"/>
            <c:bubble3D val="0"/>
            <c:spPr>
              <a:solidFill>
                <a:srgbClr val="AEABAB"/>
              </a:solidFill>
            </c:spPr>
            <c:extLst>
              <c:ext xmlns:c16="http://schemas.microsoft.com/office/drawing/2014/chart" uri="{C3380CC4-5D6E-409C-BE32-E72D297353CC}">
                <c16:uniqueId val="{0000000B-FA3E-4872-B6E1-C4ABDF5766E2}"/>
              </c:ext>
            </c:extLst>
          </c:dPt>
          <c:dPt>
            <c:idx val="5"/>
            <c:invertIfNegative val="1"/>
            <c:bubble3D val="0"/>
            <c:spPr>
              <a:solidFill>
                <a:srgbClr val="AEABAB"/>
              </a:solidFill>
            </c:spPr>
            <c:extLst>
              <c:ext xmlns:c16="http://schemas.microsoft.com/office/drawing/2014/chart" uri="{C3380CC4-5D6E-409C-BE32-E72D297353CC}">
                <c16:uniqueId val="{0000000D-FA3E-4872-B6E1-C4ABDF5766E2}"/>
              </c:ext>
            </c:extLst>
          </c:dPt>
          <c:dPt>
            <c:idx val="6"/>
            <c:invertIfNegative val="1"/>
            <c:bubble3D val="0"/>
            <c:spPr>
              <a:solidFill>
                <a:srgbClr val="AEABAB"/>
              </a:solidFill>
            </c:spPr>
            <c:extLst>
              <c:ext xmlns:c16="http://schemas.microsoft.com/office/drawing/2014/chart" uri="{C3380CC4-5D6E-409C-BE32-E72D297353CC}">
                <c16:uniqueId val="{0000000F-FA3E-4872-B6E1-C4ABDF5766E2}"/>
              </c:ext>
            </c:extLst>
          </c:dPt>
          <c:dPt>
            <c:idx val="7"/>
            <c:invertIfNegative val="1"/>
            <c:bubble3D val="0"/>
            <c:spPr>
              <a:solidFill>
                <a:srgbClr val="AEABAB"/>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9</c:f>
              <c:strCache>
                <c:ptCount val="8"/>
                <c:pt idx="0">
                  <c:v>CHAMPAGNE E.NICOLAS BRUT 1CT X 750ML</c:v>
                </c:pt>
                <c:pt idx="1">
                  <c:v>CHAMPAGNE NICOLAS 1ERE CUVEE 1CT X 750ML</c:v>
                </c:pt>
                <c:pt idx="2">
                  <c:v>1/2 CHAMPAGNE NICOLAS 1ERE CUV 1CT X 375ML</c:v>
                </c:pt>
                <c:pt idx="3">
                  <c:v>MG CHAMPAGNE E.NICOLAS BRUT 1CT X 1500ML</c:v>
                </c:pt>
                <c:pt idx="4">
                  <c:v>CHAMPAGNE NICOLAS BIO NAT 2017 1CT X 750ML</c:v>
                </c:pt>
                <c:pt idx="5">
                  <c:v>MG CHAMPAGNE NICOLAS 1ERE CUVE 1CT X 1500ML</c:v>
                </c:pt>
                <c:pt idx="6">
                  <c:v>CHAMPAGNE NICOLAS 1ERE CUV ETU 1CT X 750ML</c:v>
                </c:pt>
                <c:pt idx="7">
                  <c:v>1/2 CHAMPAGNE NICOLAS 1E C BS 1CT X 375ML</c:v>
                </c:pt>
              </c:strCache>
            </c:strRef>
          </c:cat>
          <c:val>
            <c:numRef>
              <c:f>Sheet1!$C$2:$C$9</c:f>
              <c:numCache>
                <c:formatCode>General</c:formatCode>
                <c:ptCount val="8"/>
                <c:pt idx="0">
                  <c:v>0.88039076827212048</c:v>
                </c:pt>
                <c:pt idx="1">
                  <c:v>0.93428836536512649</c:v>
                </c:pt>
                <c:pt idx="2">
                  <c:v>0.95661867527825395</c:v>
                </c:pt>
                <c:pt idx="3">
                  <c:v>0.97563166410921054</c:v>
                </c:pt>
                <c:pt idx="4">
                  <c:v>0.98975689018524982</c:v>
                </c:pt>
                <c:pt idx="5">
                  <c:v>0.99683675815344053</c:v>
                </c:pt>
                <c:pt idx="6">
                  <c:v>0.99993632687739709</c:v>
                </c:pt>
                <c:pt idx="7">
                  <c:v>0.99999999999999989</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9</c:f>
              <c:strCache>
                <c:ptCount val="8"/>
                <c:pt idx="0">
                  <c:v>CHAMPAGNE E.NICOLAS BRUT 1CT X 750ML</c:v>
                </c:pt>
                <c:pt idx="1">
                  <c:v>CHAMPAGNE NICOLAS 1ERE CUVEE 1CT X 750ML</c:v>
                </c:pt>
                <c:pt idx="2">
                  <c:v>1/2 CHAMPAGNE NICOLAS 1ERE CUV 1CT X 375ML</c:v>
                </c:pt>
                <c:pt idx="3">
                  <c:v>MG CHAMPAGNE E.NICOLAS BRUT 1CT X 1500ML</c:v>
                </c:pt>
                <c:pt idx="4">
                  <c:v>CHAMPAGNE NICOLAS BIO NAT 2017 1CT X 750ML</c:v>
                </c:pt>
                <c:pt idx="5">
                  <c:v>MG CHAMPAGNE NICOLAS 1ERE CUVE 1CT X 1500ML</c:v>
                </c:pt>
                <c:pt idx="6">
                  <c:v>CHAMPAGNE NICOLAS 1ERE CUV ETU 1CT X 750ML</c:v>
                </c:pt>
                <c:pt idx="7">
                  <c:v>1/2 CHAMPAGNE NICOLAS 1E C BS 1CT X 375ML</c:v>
                </c:pt>
              </c:strCache>
            </c:strRef>
          </c:cat>
          <c:val>
            <c:numRef>
              <c:f>Sheet1!$D$2:$D$9</c:f>
              <c:numCache>
                <c:formatCode>General</c:formatCode>
                <c:ptCount val="8"/>
                <c:pt idx="0">
                  <c:v>18113.009999999998</c:v>
                </c:pt>
                <c:pt idx="1">
                  <c:v>1336</c:v>
                </c:pt>
                <c:pt idx="2">
                  <c:v>1241.6756756756756</c:v>
                </c:pt>
                <c:pt idx="3">
                  <c:v>2173.1666666666665</c:v>
                </c:pt>
                <c:pt idx="4">
                  <c:v>1529.5263157894738</c:v>
                </c:pt>
                <c:pt idx="5">
                  <c:v>539.48148148148152</c:v>
                </c:pt>
                <c:pt idx="6">
                  <c:v>455.49999999999994</c:v>
                </c:pt>
                <c:pt idx="7">
                  <c:v>131</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9</c:f>
              <c:strCache>
                <c:ptCount val="8"/>
                <c:pt idx="0">
                  <c:v>CHAMPAGNE E.NICOLAS BRUT 1CT X 750ML</c:v>
                </c:pt>
                <c:pt idx="1">
                  <c:v>CHAMPAGNE NICOLAS 1ERE CUVEE 1CT X 750ML</c:v>
                </c:pt>
                <c:pt idx="2">
                  <c:v>MG CHAMPAGNE E.NICOLAS BRUT 1CT X 1500ML</c:v>
                </c:pt>
                <c:pt idx="3">
                  <c:v>1/2 CHAMPAGNE NICOLAS 1ERE CUV 1CT X 375ML</c:v>
                </c:pt>
                <c:pt idx="4">
                  <c:v>CHAMPAGNE NICOLAS BIO NAT 2017 1CT X 750ML</c:v>
                </c:pt>
                <c:pt idx="5">
                  <c:v>MG CHAMPAGNE NICOLAS 1ERE CUVE 1CT X 1500ML</c:v>
                </c:pt>
                <c:pt idx="6">
                  <c:v>CHAMPAGNE NICOLAS 1ERE CUV ETU 1CT X 750ML</c:v>
                </c:pt>
                <c:pt idx="7">
                  <c:v>1/2 CHAMPAGNE NICOLAS 1E C BS 1CT X 375ML</c:v>
                </c:pt>
              </c:strCache>
            </c:strRef>
          </c:cat>
          <c:val>
            <c:numRef>
              <c:f>Sheet1!$B$2:$B$9</c:f>
              <c:numCache>
                <c:formatCode>General</c:formatCode>
                <c:ptCount val="8"/>
                <c:pt idx="0">
                  <c:v>0.99</c:v>
                </c:pt>
                <c:pt idx="1">
                  <c:v>0.74</c:v>
                </c:pt>
                <c:pt idx="2">
                  <c:v>0.24</c:v>
                </c:pt>
                <c:pt idx="3">
                  <c:v>0.26</c:v>
                </c:pt>
                <c:pt idx="4">
                  <c:v>0.14000000000000001</c:v>
                </c:pt>
                <c:pt idx="5">
                  <c:v>0.11</c:v>
                </c:pt>
                <c:pt idx="6">
                  <c:v>0.11</c:v>
                </c:pt>
                <c:pt idx="7">
                  <c:v>0.01</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7ECAC4"/>
              </a:solidFill>
            </c:spPr>
            <c:extLst>
              <c:ext xmlns:c16="http://schemas.microsoft.com/office/drawing/2014/chart" uri="{C3380CC4-5D6E-409C-BE32-E72D297353CC}">
                <c16:uniqueId val="{00000006-D8F4-40C6-A5E0-DB4B53CFB1F3}"/>
              </c:ext>
            </c:extLst>
          </c:dPt>
          <c:dPt>
            <c:idx val="1"/>
            <c:invertIfNegative val="0"/>
            <c:bubble3D val="0"/>
            <c:spPr>
              <a:solidFill>
                <a:srgbClr val="7ECAC4"/>
              </a:solidFill>
            </c:spPr>
            <c:extLst>
              <c:ext xmlns:c16="http://schemas.microsoft.com/office/drawing/2014/chart" uri="{C3380CC4-5D6E-409C-BE32-E72D297353CC}">
                <c16:uniqueId val="{00000008-D8F4-40C6-A5E0-DB4B53CFB1F3}"/>
              </c:ext>
            </c:extLst>
          </c:dPt>
          <c:dPt>
            <c:idx val="2"/>
            <c:invertIfNegative val="0"/>
            <c:bubble3D val="0"/>
            <c:spPr>
              <a:solidFill>
                <a:srgbClr val="AEABAB"/>
              </a:solidFill>
            </c:spPr>
            <c:extLst>
              <c:ext xmlns:c16="http://schemas.microsoft.com/office/drawing/2014/chart" uri="{C3380CC4-5D6E-409C-BE32-E72D297353CC}">
                <c16:uniqueId val="{00000006-E902-46E2-9A54-39A26B3DFDC1}"/>
              </c:ext>
            </c:extLst>
          </c:dPt>
          <c:dPt>
            <c:idx val="3"/>
            <c:invertIfNegative val="0"/>
            <c:bubble3D val="0"/>
            <c:spPr>
              <a:solidFill>
                <a:srgbClr val="AEABAB"/>
              </a:solidFill>
            </c:spPr>
            <c:extLst>
              <c:ext xmlns:c16="http://schemas.microsoft.com/office/drawing/2014/chart" uri="{C3380CC4-5D6E-409C-BE32-E72D297353CC}">
                <c16:uniqueId val="{00000007-E902-46E2-9A54-39A26B3DFDC1}"/>
              </c:ext>
            </c:extLst>
          </c:dPt>
          <c:dPt>
            <c:idx val="4"/>
            <c:invertIfNegative val="1"/>
            <c:bubble3D val="0"/>
            <c:spPr>
              <a:solidFill>
                <a:srgbClr val="AEABAB"/>
              </a:solidFill>
            </c:spPr>
            <c:extLst>
              <c:ext xmlns:c16="http://schemas.microsoft.com/office/drawing/2014/chart" uri="{C3380CC4-5D6E-409C-BE32-E72D297353CC}">
                <c16:uniqueId val="{0000000B-FA3E-4872-B6E1-C4ABDF5766E2}"/>
              </c:ext>
            </c:extLst>
          </c:dPt>
          <c:dPt>
            <c:idx val="5"/>
            <c:invertIfNegative val="1"/>
            <c:bubble3D val="0"/>
            <c:spPr>
              <a:solidFill>
                <a:srgbClr val="AEABAB"/>
              </a:solidFill>
            </c:spPr>
            <c:extLst>
              <c:ext xmlns:c16="http://schemas.microsoft.com/office/drawing/2014/chart" uri="{C3380CC4-5D6E-409C-BE32-E72D297353CC}">
                <c16:uniqueId val="{0000000D-FA3E-4872-B6E1-C4ABDF5766E2}"/>
              </c:ext>
            </c:extLst>
          </c:dPt>
          <c:dPt>
            <c:idx val="6"/>
            <c:invertIfNegative val="1"/>
            <c:bubble3D val="0"/>
            <c:spPr>
              <a:solidFill>
                <a:srgbClr val="AEABAB"/>
              </a:solidFill>
            </c:spPr>
            <c:extLst>
              <c:ext xmlns:c16="http://schemas.microsoft.com/office/drawing/2014/chart" uri="{C3380CC4-5D6E-409C-BE32-E72D297353CC}">
                <c16:uniqueId val="{0000000F-FA3E-4872-B6E1-C4ABDF5766E2}"/>
              </c:ext>
            </c:extLst>
          </c:dPt>
          <c:dPt>
            <c:idx val="7"/>
            <c:invertIfNegative val="1"/>
            <c:bubble3D val="0"/>
            <c:spPr>
              <a:solidFill>
                <a:srgbClr val="AEABAB"/>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9</c:f>
              <c:strCache>
                <c:ptCount val="8"/>
                <c:pt idx="0">
                  <c:v>CHAMPAGNE E.NICOLAS BRUT 1CT X 750ML</c:v>
                </c:pt>
                <c:pt idx="1">
                  <c:v>CHAMPAGNE NICOLAS 1ERE CUVEE 1CT X 750ML</c:v>
                </c:pt>
                <c:pt idx="2">
                  <c:v>MG CHAMPAGNE E.NICOLAS BRUT 1CT X 1500ML</c:v>
                </c:pt>
                <c:pt idx="3">
                  <c:v>1/2 CHAMPAGNE NICOLAS 1ERE CUV 1CT X 375ML</c:v>
                </c:pt>
                <c:pt idx="4">
                  <c:v>CHAMPAGNE NICOLAS BIO NAT 2017 1CT X 750ML</c:v>
                </c:pt>
                <c:pt idx="5">
                  <c:v>MG CHAMPAGNE NICOLAS 1ERE CUVE 1CT X 1500ML</c:v>
                </c:pt>
                <c:pt idx="6">
                  <c:v>CHAMPAGNE NICOLAS 1ERE CUV ETU 1CT X 750ML</c:v>
                </c:pt>
                <c:pt idx="7">
                  <c:v>1/2 CHAMPAGNE NICOLAS 1E C BS 1CT X 375ML</c:v>
                </c:pt>
              </c:strCache>
            </c:strRef>
          </c:cat>
          <c:val>
            <c:numRef>
              <c:f>Sheet1!$C$2:$C$9</c:f>
              <c:numCache>
                <c:formatCode>General</c:formatCode>
                <c:ptCount val="8"/>
                <c:pt idx="0">
                  <c:v>0.88229328260354245</c:v>
                </c:pt>
                <c:pt idx="1">
                  <c:v>0.93966635560663203</c:v>
                </c:pt>
                <c:pt idx="2">
                  <c:v>0.95848798818171899</c:v>
                </c:pt>
                <c:pt idx="3">
                  <c:v>0.97618440358989278</c:v>
                </c:pt>
                <c:pt idx="4">
                  <c:v>0.98682045634807514</c:v>
                </c:pt>
                <c:pt idx="5">
                  <c:v>0.99606524059143409</c:v>
                </c:pt>
                <c:pt idx="6">
                  <c:v>0.99980296197166052</c:v>
                </c:pt>
                <c:pt idx="7">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9</c:f>
              <c:strCache>
                <c:ptCount val="8"/>
                <c:pt idx="0">
                  <c:v>CHAMPAGNE E.NICOLAS BRUT 1CT X 750ML</c:v>
                </c:pt>
                <c:pt idx="1">
                  <c:v>CHAMPAGNE NICOLAS 1ERE CUVEE 1CT X 750ML</c:v>
                </c:pt>
                <c:pt idx="2">
                  <c:v>MG CHAMPAGNE E.NICOLAS BRUT 1CT X 1500ML</c:v>
                </c:pt>
                <c:pt idx="3">
                  <c:v>1/2 CHAMPAGNE NICOLAS 1ERE CUV 1CT X 375ML</c:v>
                </c:pt>
                <c:pt idx="4">
                  <c:v>CHAMPAGNE NICOLAS BIO NAT 2017 1CT X 750ML</c:v>
                </c:pt>
                <c:pt idx="5">
                  <c:v>MG CHAMPAGNE NICOLAS 1ERE CUVE 1CT X 1500ML</c:v>
                </c:pt>
                <c:pt idx="6">
                  <c:v>CHAMPAGNE NICOLAS 1ERE CUV ETU 1CT X 750ML</c:v>
                </c:pt>
                <c:pt idx="7">
                  <c:v>1/2 CHAMPAGNE NICOLAS 1E C BS 1CT X 375ML</c:v>
                </c:pt>
              </c:strCache>
            </c:strRef>
          </c:cat>
          <c:val>
            <c:numRef>
              <c:f>Sheet1!$D$2:$D$9</c:f>
              <c:numCache>
                <c:formatCode>General</c:formatCode>
                <c:ptCount val="8"/>
                <c:pt idx="0">
                  <c:v>8910.3333333333339</c:v>
                </c:pt>
                <c:pt idx="1">
                  <c:v>775.16216216216219</c:v>
                </c:pt>
                <c:pt idx="2">
                  <c:v>784.08333333333337</c:v>
                </c:pt>
                <c:pt idx="3">
                  <c:v>680.5</c:v>
                </c:pt>
                <c:pt idx="4">
                  <c:v>759.57142857142844</c:v>
                </c:pt>
                <c:pt idx="5">
                  <c:v>840.27272727272725</c:v>
                </c:pt>
                <c:pt idx="6">
                  <c:v>339.72727272727275</c:v>
                </c:pt>
                <c:pt idx="7">
                  <c:v>197</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8</c:f>
              <c:strCache>
                <c:ptCount val="7"/>
                <c:pt idx="0">
                  <c:v>CHAMPAGNE E.NICOLAS BRUT 1CT X 750ML</c:v>
                </c:pt>
                <c:pt idx="1">
                  <c:v>CHAMPAGNE NICOLAS 1ERE CUVEE 1CT X 750ML</c:v>
                </c:pt>
                <c:pt idx="2">
                  <c:v>1/2 CHAMPAGNE NICOLAS 1ERE CUV 1CT X 375ML</c:v>
                </c:pt>
                <c:pt idx="3">
                  <c:v>CHAMPAGNE NICOLAS BIO NAT 2017 1CT X 750ML</c:v>
                </c:pt>
                <c:pt idx="4">
                  <c:v>MG CHAMPAGNE E.NICOLAS BRUT 1CT X 1500ML</c:v>
                </c:pt>
                <c:pt idx="5">
                  <c:v>MG CHAMPAGNE NICOLAS 1ERE CUVE 1CT X 1500ML</c:v>
                </c:pt>
                <c:pt idx="6">
                  <c:v>CHAMPAGNE NICOLAS 1ERE CUV ETU 1CT X 750ML</c:v>
                </c:pt>
              </c:strCache>
            </c:strRef>
          </c:cat>
          <c:val>
            <c:numRef>
              <c:f>Sheet1!$B$2:$B$8</c:f>
              <c:numCache>
                <c:formatCode>General</c:formatCode>
                <c:ptCount val="7"/>
                <c:pt idx="0">
                  <c:v>1</c:v>
                </c:pt>
                <c:pt idx="1">
                  <c:v>0.77</c:v>
                </c:pt>
                <c:pt idx="2">
                  <c:v>0.49</c:v>
                </c:pt>
                <c:pt idx="3">
                  <c:v>0.3</c:v>
                </c:pt>
                <c:pt idx="4">
                  <c:v>0.28000000000000003</c:v>
                </c:pt>
                <c:pt idx="5">
                  <c:v>0.19</c:v>
                </c:pt>
                <c:pt idx="6">
                  <c:v>0.18</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7ECAC4"/>
              </a:solidFill>
            </c:spPr>
            <c:extLst>
              <c:ext xmlns:c16="http://schemas.microsoft.com/office/drawing/2014/chart" uri="{C3380CC4-5D6E-409C-BE32-E72D297353CC}">
                <c16:uniqueId val="{00000006-D8F4-40C6-A5E0-DB4B53CFB1F3}"/>
              </c:ext>
            </c:extLst>
          </c:dPt>
          <c:dPt>
            <c:idx val="1"/>
            <c:invertIfNegative val="0"/>
            <c:bubble3D val="0"/>
            <c:spPr>
              <a:solidFill>
                <a:srgbClr val="7ECAC4"/>
              </a:solidFill>
            </c:spPr>
            <c:extLst>
              <c:ext xmlns:c16="http://schemas.microsoft.com/office/drawing/2014/chart" uri="{C3380CC4-5D6E-409C-BE32-E72D297353CC}">
                <c16:uniqueId val="{00000008-D8F4-40C6-A5E0-DB4B53CFB1F3}"/>
              </c:ext>
            </c:extLst>
          </c:dPt>
          <c:dPt>
            <c:idx val="2"/>
            <c:invertIfNegative val="0"/>
            <c:bubble3D val="0"/>
            <c:spPr>
              <a:solidFill>
                <a:srgbClr val="AEABAB"/>
              </a:solidFill>
            </c:spPr>
            <c:extLst>
              <c:ext xmlns:c16="http://schemas.microsoft.com/office/drawing/2014/chart" uri="{C3380CC4-5D6E-409C-BE32-E72D297353CC}">
                <c16:uniqueId val="{00000006-E902-46E2-9A54-39A26B3DFDC1}"/>
              </c:ext>
            </c:extLst>
          </c:dPt>
          <c:dPt>
            <c:idx val="3"/>
            <c:invertIfNegative val="0"/>
            <c:bubble3D val="0"/>
            <c:spPr>
              <a:solidFill>
                <a:srgbClr val="AEABAB"/>
              </a:solidFill>
            </c:spPr>
            <c:extLst>
              <c:ext xmlns:c16="http://schemas.microsoft.com/office/drawing/2014/chart" uri="{C3380CC4-5D6E-409C-BE32-E72D297353CC}">
                <c16:uniqueId val="{00000007-E902-46E2-9A54-39A26B3DFDC1}"/>
              </c:ext>
            </c:extLst>
          </c:dPt>
          <c:dPt>
            <c:idx val="4"/>
            <c:invertIfNegative val="1"/>
            <c:bubble3D val="0"/>
            <c:spPr>
              <a:solidFill>
                <a:srgbClr val="AEABAB"/>
              </a:solidFill>
            </c:spPr>
            <c:extLst>
              <c:ext xmlns:c16="http://schemas.microsoft.com/office/drawing/2014/chart" uri="{C3380CC4-5D6E-409C-BE32-E72D297353CC}">
                <c16:uniqueId val="{0000000B-FA3E-4872-B6E1-C4ABDF5766E2}"/>
              </c:ext>
            </c:extLst>
          </c:dPt>
          <c:dPt>
            <c:idx val="5"/>
            <c:invertIfNegative val="1"/>
            <c:bubble3D val="0"/>
            <c:spPr>
              <a:solidFill>
                <a:srgbClr val="AEABAB"/>
              </a:solidFill>
            </c:spPr>
            <c:extLst>
              <c:ext xmlns:c16="http://schemas.microsoft.com/office/drawing/2014/chart" uri="{C3380CC4-5D6E-409C-BE32-E72D297353CC}">
                <c16:uniqueId val="{0000000D-FA3E-4872-B6E1-C4ABDF5766E2}"/>
              </c:ext>
            </c:extLst>
          </c:dPt>
          <c:dPt>
            <c:idx val="6"/>
            <c:invertIfNegative val="1"/>
            <c:bubble3D val="0"/>
            <c:spPr>
              <a:solidFill>
                <a:srgbClr val="AEABAB"/>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8</c:f>
              <c:strCache>
                <c:ptCount val="7"/>
                <c:pt idx="0">
                  <c:v>CHAMPAGNE E.NICOLAS BRUT 1CT X 750ML</c:v>
                </c:pt>
                <c:pt idx="1">
                  <c:v>CHAMPAGNE NICOLAS 1ERE CUVEE 1CT X 750ML</c:v>
                </c:pt>
                <c:pt idx="2">
                  <c:v>1/2 CHAMPAGNE NICOLAS 1ERE CUV 1CT X 375ML</c:v>
                </c:pt>
                <c:pt idx="3">
                  <c:v>CHAMPAGNE NICOLAS BIO NAT 2017 1CT X 750ML</c:v>
                </c:pt>
                <c:pt idx="4">
                  <c:v>MG CHAMPAGNE E.NICOLAS BRUT 1CT X 1500ML</c:v>
                </c:pt>
                <c:pt idx="5">
                  <c:v>MG CHAMPAGNE NICOLAS 1ERE CUVE 1CT X 1500ML</c:v>
                </c:pt>
                <c:pt idx="6">
                  <c:v>CHAMPAGNE NICOLAS 1ERE CUV ETU 1CT X 750ML</c:v>
                </c:pt>
              </c:strCache>
            </c:strRef>
          </c:cat>
          <c:val>
            <c:numRef>
              <c:f>Sheet1!$C$2:$C$8</c:f>
              <c:numCache>
                <c:formatCode>General</c:formatCode>
                <c:ptCount val="7"/>
                <c:pt idx="0">
                  <c:v>0.88167126990656397</c:v>
                </c:pt>
                <c:pt idx="1">
                  <c:v>0.92405045934457697</c:v>
                </c:pt>
                <c:pt idx="2">
                  <c:v>0.95107441578029817</c:v>
                </c:pt>
                <c:pt idx="3">
                  <c:v>0.96960882254999903</c:v>
                </c:pt>
                <c:pt idx="4">
                  <c:v>0.98810992928639985</c:v>
                </c:pt>
                <c:pt idx="5">
                  <c:v>0.99715970304205592</c:v>
                </c:pt>
                <c:pt idx="6">
                  <c:v>0.99999999999999989</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8</c:f>
              <c:strCache>
                <c:ptCount val="7"/>
                <c:pt idx="0">
                  <c:v>CHAMPAGNE E.NICOLAS BRUT 1CT X 750ML</c:v>
                </c:pt>
                <c:pt idx="1">
                  <c:v>CHAMPAGNE NICOLAS 1ERE CUVEE 1CT X 750ML</c:v>
                </c:pt>
                <c:pt idx="2">
                  <c:v>1/2 CHAMPAGNE NICOLAS 1ERE CUV 1CT X 375ML</c:v>
                </c:pt>
                <c:pt idx="3">
                  <c:v>CHAMPAGNE NICOLAS BIO NAT 2017 1CT X 750ML</c:v>
                </c:pt>
                <c:pt idx="4">
                  <c:v>MG CHAMPAGNE E.NICOLAS BRUT 1CT X 1500ML</c:v>
                </c:pt>
                <c:pt idx="5">
                  <c:v>MG CHAMPAGNE NICOLAS 1ERE CUVE 1CT X 1500ML</c:v>
                </c:pt>
                <c:pt idx="6">
                  <c:v>CHAMPAGNE NICOLAS 1ERE CUV ETU 1CT X 750ML</c:v>
                </c:pt>
              </c:strCache>
            </c:strRef>
          </c:cat>
          <c:val>
            <c:numRef>
              <c:f>Sheet1!$D$2:$D$8</c:f>
              <c:numCache>
                <c:formatCode>General</c:formatCode>
                <c:ptCount val="7"/>
                <c:pt idx="0">
                  <c:v>4501.0200000000004</c:v>
                </c:pt>
                <c:pt idx="1">
                  <c:v>280.97402597402595</c:v>
                </c:pt>
                <c:pt idx="2">
                  <c:v>281.55102040816325</c:v>
                </c:pt>
                <c:pt idx="3">
                  <c:v>315.39999999999998</c:v>
                </c:pt>
                <c:pt idx="4">
                  <c:v>337.32142857142856</c:v>
                </c:pt>
                <c:pt idx="5">
                  <c:v>243.15789473684211</c:v>
                </c:pt>
                <c:pt idx="6">
                  <c:v>80.555555555555557</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9</c:f>
              <c:strCache>
                <c:ptCount val="8"/>
                <c:pt idx="0">
                  <c:v>CHAMPAGNE E.NICOLAS BRUT 1CT X 750ML</c:v>
                </c:pt>
                <c:pt idx="1">
                  <c:v>CHAMPAGNE NICOLAS 1ERE CUVEE 1CT X 750ML</c:v>
                </c:pt>
                <c:pt idx="2">
                  <c:v>1/2 CHAMPAGNE NICOLAS 1ERE CUV 1CT X 375ML</c:v>
                </c:pt>
                <c:pt idx="3">
                  <c:v>MG CHAMPAGNE E.NICOLAS BRUT 1CT X 1500ML</c:v>
                </c:pt>
                <c:pt idx="4">
                  <c:v>CHAMPAGNE NICOLAS BIO NAT 2017 1CT X 750ML</c:v>
                </c:pt>
                <c:pt idx="5">
                  <c:v>MG CHAMPAGNE NICOLAS 1ERE CUVE 1CT X 1500ML</c:v>
                </c:pt>
                <c:pt idx="6">
                  <c:v>CHAMPAGNE NICOLAS 1ERE CUV ETU 1CT X 750ML</c:v>
                </c:pt>
                <c:pt idx="7">
                  <c:v>1/2 CHAMPAGNE NICOLAS 1E C BS 1CT X 375ML</c:v>
                </c:pt>
              </c:strCache>
            </c:strRef>
          </c:cat>
          <c:val>
            <c:numRef>
              <c:f>Sheet1!$B$2:$B$9</c:f>
              <c:numCache>
                <c:formatCode>General</c:formatCode>
                <c:ptCount val="8"/>
                <c:pt idx="0">
                  <c:v>1</c:v>
                </c:pt>
                <c:pt idx="1">
                  <c:v>0.6</c:v>
                </c:pt>
                <c:pt idx="2">
                  <c:v>0.43</c:v>
                </c:pt>
                <c:pt idx="3">
                  <c:v>0.28000000000000003</c:v>
                </c:pt>
                <c:pt idx="4">
                  <c:v>0.15</c:v>
                </c:pt>
                <c:pt idx="5">
                  <c:v>0.16</c:v>
                </c:pt>
                <c:pt idx="6">
                  <c:v>0.14000000000000001</c:v>
                </c:pt>
                <c:pt idx="7">
                  <c:v>0.03</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7ECAC4"/>
              </a:solidFill>
            </c:spPr>
            <c:extLst>
              <c:ext xmlns:c16="http://schemas.microsoft.com/office/drawing/2014/chart" uri="{C3380CC4-5D6E-409C-BE32-E72D297353CC}">
                <c16:uniqueId val="{00000006-D8F4-40C6-A5E0-DB4B53CFB1F3}"/>
              </c:ext>
            </c:extLst>
          </c:dPt>
          <c:dPt>
            <c:idx val="1"/>
            <c:invertIfNegative val="0"/>
            <c:bubble3D val="0"/>
            <c:spPr>
              <a:solidFill>
                <a:srgbClr val="7ECAC4"/>
              </a:solidFill>
            </c:spPr>
            <c:extLst>
              <c:ext xmlns:c16="http://schemas.microsoft.com/office/drawing/2014/chart" uri="{C3380CC4-5D6E-409C-BE32-E72D297353CC}">
                <c16:uniqueId val="{00000008-D8F4-40C6-A5E0-DB4B53CFB1F3}"/>
              </c:ext>
            </c:extLst>
          </c:dPt>
          <c:dPt>
            <c:idx val="2"/>
            <c:invertIfNegative val="0"/>
            <c:bubble3D val="0"/>
            <c:spPr>
              <a:solidFill>
                <a:srgbClr val="AEABAB"/>
              </a:solidFill>
            </c:spPr>
            <c:extLst>
              <c:ext xmlns:c16="http://schemas.microsoft.com/office/drawing/2014/chart" uri="{C3380CC4-5D6E-409C-BE32-E72D297353CC}">
                <c16:uniqueId val="{00000006-E902-46E2-9A54-39A26B3DFDC1}"/>
              </c:ext>
            </c:extLst>
          </c:dPt>
          <c:dPt>
            <c:idx val="3"/>
            <c:invertIfNegative val="0"/>
            <c:bubble3D val="0"/>
            <c:spPr>
              <a:solidFill>
                <a:srgbClr val="AEABAB"/>
              </a:solidFill>
            </c:spPr>
            <c:extLst>
              <c:ext xmlns:c16="http://schemas.microsoft.com/office/drawing/2014/chart" uri="{C3380CC4-5D6E-409C-BE32-E72D297353CC}">
                <c16:uniqueId val="{00000007-E902-46E2-9A54-39A26B3DFDC1}"/>
              </c:ext>
            </c:extLst>
          </c:dPt>
          <c:dPt>
            <c:idx val="4"/>
            <c:invertIfNegative val="1"/>
            <c:bubble3D val="0"/>
            <c:spPr>
              <a:solidFill>
                <a:srgbClr val="AEABAB"/>
              </a:solidFill>
            </c:spPr>
            <c:extLst>
              <c:ext xmlns:c16="http://schemas.microsoft.com/office/drawing/2014/chart" uri="{C3380CC4-5D6E-409C-BE32-E72D297353CC}">
                <c16:uniqueId val="{0000000B-FA3E-4872-B6E1-C4ABDF5766E2}"/>
              </c:ext>
            </c:extLst>
          </c:dPt>
          <c:dPt>
            <c:idx val="5"/>
            <c:invertIfNegative val="1"/>
            <c:bubble3D val="0"/>
            <c:spPr>
              <a:solidFill>
                <a:srgbClr val="AEABAB"/>
              </a:solidFill>
            </c:spPr>
            <c:extLst>
              <c:ext xmlns:c16="http://schemas.microsoft.com/office/drawing/2014/chart" uri="{C3380CC4-5D6E-409C-BE32-E72D297353CC}">
                <c16:uniqueId val="{0000000D-FA3E-4872-B6E1-C4ABDF5766E2}"/>
              </c:ext>
            </c:extLst>
          </c:dPt>
          <c:dPt>
            <c:idx val="6"/>
            <c:invertIfNegative val="1"/>
            <c:bubble3D val="0"/>
            <c:spPr>
              <a:solidFill>
                <a:srgbClr val="AEABAB"/>
              </a:solidFill>
            </c:spPr>
            <c:extLst>
              <c:ext xmlns:c16="http://schemas.microsoft.com/office/drawing/2014/chart" uri="{C3380CC4-5D6E-409C-BE32-E72D297353CC}">
                <c16:uniqueId val="{0000000F-FA3E-4872-B6E1-C4ABDF5766E2}"/>
              </c:ext>
            </c:extLst>
          </c:dPt>
          <c:dPt>
            <c:idx val="7"/>
            <c:invertIfNegative val="1"/>
            <c:bubble3D val="0"/>
            <c:spPr>
              <a:solidFill>
                <a:srgbClr val="AEABAB"/>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9</c:f>
              <c:strCache>
                <c:ptCount val="8"/>
                <c:pt idx="0">
                  <c:v>CHAMPAGNE E.NICOLAS BRUT 1CT X 750ML</c:v>
                </c:pt>
                <c:pt idx="1">
                  <c:v>CHAMPAGNE NICOLAS 1ERE CUVEE 1CT X 750ML</c:v>
                </c:pt>
                <c:pt idx="2">
                  <c:v>1/2 CHAMPAGNE NICOLAS 1ERE CUV 1CT X 375ML</c:v>
                </c:pt>
                <c:pt idx="3">
                  <c:v>MG CHAMPAGNE E.NICOLAS BRUT 1CT X 1500ML</c:v>
                </c:pt>
                <c:pt idx="4">
                  <c:v>CHAMPAGNE NICOLAS BIO NAT 2017 1CT X 750ML</c:v>
                </c:pt>
                <c:pt idx="5">
                  <c:v>MG CHAMPAGNE NICOLAS 1ERE CUVE 1CT X 1500ML</c:v>
                </c:pt>
                <c:pt idx="6">
                  <c:v>CHAMPAGNE NICOLAS 1ERE CUV ETU 1CT X 750ML</c:v>
                </c:pt>
                <c:pt idx="7">
                  <c:v>1/2 CHAMPAGNE NICOLAS 1E C BS 1CT X 375ML</c:v>
                </c:pt>
              </c:strCache>
            </c:strRef>
          </c:cat>
          <c:val>
            <c:numRef>
              <c:f>Sheet1!$C$2:$C$9</c:f>
              <c:numCache>
                <c:formatCode>General</c:formatCode>
                <c:ptCount val="8"/>
                <c:pt idx="0">
                  <c:v>0.90064458123971325</c:v>
                </c:pt>
                <c:pt idx="1">
                  <c:v>0.9375249240496234</c:v>
                </c:pt>
                <c:pt idx="2">
                  <c:v>0.958754776354237</c:v>
                </c:pt>
                <c:pt idx="3">
                  <c:v>0.97844749454389901</c:v>
                </c:pt>
                <c:pt idx="4">
                  <c:v>0.99371007620414886</c:v>
                </c:pt>
                <c:pt idx="5">
                  <c:v>0.99920243041205348</c:v>
                </c:pt>
                <c:pt idx="6">
                  <c:v>0.99992386835751423</c:v>
                </c:pt>
                <c:pt idx="7">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9</c:f>
              <c:strCache>
                <c:ptCount val="8"/>
                <c:pt idx="0">
                  <c:v>CHAMPAGNE E.NICOLAS BRUT 1CT X 750ML</c:v>
                </c:pt>
                <c:pt idx="1">
                  <c:v>CHAMPAGNE NICOLAS 1ERE CUVEE 1CT X 750ML</c:v>
                </c:pt>
                <c:pt idx="2">
                  <c:v>1/2 CHAMPAGNE NICOLAS 1ERE CUV 1CT X 375ML</c:v>
                </c:pt>
                <c:pt idx="3">
                  <c:v>MG CHAMPAGNE E.NICOLAS BRUT 1CT X 1500ML</c:v>
                </c:pt>
                <c:pt idx="4">
                  <c:v>CHAMPAGNE NICOLAS BIO NAT 2017 1CT X 750ML</c:v>
                </c:pt>
                <c:pt idx="5">
                  <c:v>MG CHAMPAGNE NICOLAS 1ERE CUVE 1CT X 1500ML</c:v>
                </c:pt>
                <c:pt idx="6">
                  <c:v>CHAMPAGNE NICOLAS 1ERE CUV ETU 1CT X 750ML</c:v>
                </c:pt>
                <c:pt idx="7">
                  <c:v>1/2 CHAMPAGNE NICOLAS 1E C BS 1CT X 375ML</c:v>
                </c:pt>
              </c:strCache>
            </c:strRef>
          </c:cat>
          <c:val>
            <c:numRef>
              <c:f>Sheet1!$D$2:$D$9</c:f>
              <c:numCache>
                <c:formatCode>General</c:formatCode>
                <c:ptCount val="8"/>
                <c:pt idx="0">
                  <c:v>2484.3200000000002</c:v>
                </c:pt>
                <c:pt idx="1">
                  <c:v>169.55</c:v>
                </c:pt>
                <c:pt idx="2">
                  <c:v>136.18604651162789</c:v>
                </c:pt>
                <c:pt idx="3">
                  <c:v>193.99999999999997</c:v>
                </c:pt>
                <c:pt idx="4">
                  <c:v>280.66666666666669</c:v>
                </c:pt>
                <c:pt idx="5">
                  <c:v>94.6875</c:v>
                </c:pt>
                <c:pt idx="6">
                  <c:v>14.214285714285712</c:v>
                </c:pt>
                <c:pt idx="7">
                  <c:v>7</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10</c:f>
              <c:strCache>
                <c:ptCount val="9"/>
                <c:pt idx="0">
                  <c:v>CHAMPAGNE E.NICOLAS BRUT 1CT X 750ML</c:v>
                </c:pt>
                <c:pt idx="1">
                  <c:v>CHAMPAGNE NICOLAS 1ERE CUVEE 1CT X 750ML</c:v>
                </c:pt>
                <c:pt idx="2">
                  <c:v>MG CHAMPAGNE E.NICOLAS BRUT 1CT X 1500ML</c:v>
                </c:pt>
                <c:pt idx="3">
                  <c:v>1/2 CHAMPAGNE NICOLAS 1ERE CUV 1CT X 375ML</c:v>
                </c:pt>
                <c:pt idx="4">
                  <c:v>MG CHAMPAGNE NICOLAS 1ERE CUVE 1CT X 1500ML</c:v>
                </c:pt>
                <c:pt idx="5">
                  <c:v>CHAMPAGNE NICOLAS BIO NAT 2017 1CT X 750ML</c:v>
                </c:pt>
                <c:pt idx="6">
                  <c:v>CHAMPAGNE NICOLAS 1ERE CUV ETU 1CT X 750ML</c:v>
                </c:pt>
                <c:pt idx="7">
                  <c:v>1/2 CHAMPAGNE NICOLAS 1E C BS 1CT X 375ML</c:v>
                </c:pt>
                <c:pt idx="8">
                  <c:v>CHAMPAGNE NICOLAS BIO 2018 1CT X 750ML</c:v>
                </c:pt>
              </c:strCache>
            </c:strRef>
          </c:cat>
          <c:val>
            <c:numRef>
              <c:f>Sheet1!$B$2:$B$10</c:f>
              <c:numCache>
                <c:formatCode>General</c:formatCode>
                <c:ptCount val="9"/>
                <c:pt idx="0">
                  <c:v>1</c:v>
                </c:pt>
                <c:pt idx="1">
                  <c:v>0.76</c:v>
                </c:pt>
                <c:pt idx="2">
                  <c:v>0.35</c:v>
                </c:pt>
                <c:pt idx="3">
                  <c:v>0.61</c:v>
                </c:pt>
                <c:pt idx="4">
                  <c:v>0.36</c:v>
                </c:pt>
                <c:pt idx="5">
                  <c:v>0.18</c:v>
                </c:pt>
                <c:pt idx="6">
                  <c:v>0.09</c:v>
                </c:pt>
                <c:pt idx="7">
                  <c:v>0.03</c:v>
                </c:pt>
                <c:pt idx="8">
                  <c:v>0.05</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7ECAC4"/>
              </a:solidFill>
            </c:spPr>
            <c:extLst>
              <c:ext xmlns:c16="http://schemas.microsoft.com/office/drawing/2014/chart" uri="{C3380CC4-5D6E-409C-BE32-E72D297353CC}">
                <c16:uniqueId val="{00000006-D8F4-40C6-A5E0-DB4B53CFB1F3}"/>
              </c:ext>
            </c:extLst>
          </c:dPt>
          <c:dPt>
            <c:idx val="1"/>
            <c:invertIfNegative val="0"/>
            <c:bubble3D val="0"/>
            <c:spPr>
              <a:solidFill>
                <a:srgbClr val="7ECAC4"/>
              </a:solidFill>
            </c:spPr>
            <c:extLst>
              <c:ext xmlns:c16="http://schemas.microsoft.com/office/drawing/2014/chart" uri="{C3380CC4-5D6E-409C-BE32-E72D297353CC}">
                <c16:uniqueId val="{00000008-D8F4-40C6-A5E0-DB4B53CFB1F3}"/>
              </c:ext>
            </c:extLst>
          </c:dPt>
          <c:dPt>
            <c:idx val="2"/>
            <c:invertIfNegative val="0"/>
            <c:bubble3D val="0"/>
            <c:spPr>
              <a:solidFill>
                <a:srgbClr val="AEABAB"/>
              </a:solidFill>
            </c:spPr>
            <c:extLst>
              <c:ext xmlns:c16="http://schemas.microsoft.com/office/drawing/2014/chart" uri="{C3380CC4-5D6E-409C-BE32-E72D297353CC}">
                <c16:uniqueId val="{00000006-E902-46E2-9A54-39A26B3DFDC1}"/>
              </c:ext>
            </c:extLst>
          </c:dPt>
          <c:dPt>
            <c:idx val="3"/>
            <c:invertIfNegative val="0"/>
            <c:bubble3D val="0"/>
            <c:spPr>
              <a:solidFill>
                <a:srgbClr val="AEABAB"/>
              </a:solidFill>
            </c:spPr>
            <c:extLst>
              <c:ext xmlns:c16="http://schemas.microsoft.com/office/drawing/2014/chart" uri="{C3380CC4-5D6E-409C-BE32-E72D297353CC}">
                <c16:uniqueId val="{00000007-E902-46E2-9A54-39A26B3DFDC1}"/>
              </c:ext>
            </c:extLst>
          </c:dPt>
          <c:dPt>
            <c:idx val="4"/>
            <c:invertIfNegative val="1"/>
            <c:bubble3D val="0"/>
            <c:spPr>
              <a:solidFill>
                <a:srgbClr val="AEABAB"/>
              </a:solidFill>
            </c:spPr>
            <c:extLst>
              <c:ext xmlns:c16="http://schemas.microsoft.com/office/drawing/2014/chart" uri="{C3380CC4-5D6E-409C-BE32-E72D297353CC}">
                <c16:uniqueId val="{0000000B-FA3E-4872-B6E1-C4ABDF5766E2}"/>
              </c:ext>
            </c:extLst>
          </c:dPt>
          <c:dPt>
            <c:idx val="5"/>
            <c:invertIfNegative val="1"/>
            <c:bubble3D val="0"/>
            <c:spPr>
              <a:solidFill>
                <a:srgbClr val="AEABAB"/>
              </a:solidFill>
            </c:spPr>
            <c:extLst>
              <c:ext xmlns:c16="http://schemas.microsoft.com/office/drawing/2014/chart" uri="{C3380CC4-5D6E-409C-BE32-E72D297353CC}">
                <c16:uniqueId val="{0000000D-FA3E-4872-B6E1-C4ABDF5766E2}"/>
              </c:ext>
            </c:extLst>
          </c:dPt>
          <c:dPt>
            <c:idx val="6"/>
            <c:invertIfNegative val="1"/>
            <c:bubble3D val="0"/>
            <c:spPr>
              <a:solidFill>
                <a:srgbClr val="AEABAB"/>
              </a:solidFill>
            </c:spPr>
            <c:extLst>
              <c:ext xmlns:c16="http://schemas.microsoft.com/office/drawing/2014/chart" uri="{C3380CC4-5D6E-409C-BE32-E72D297353CC}">
                <c16:uniqueId val="{0000000F-FA3E-4872-B6E1-C4ABDF5766E2}"/>
              </c:ext>
            </c:extLst>
          </c:dPt>
          <c:dPt>
            <c:idx val="7"/>
            <c:invertIfNegative val="1"/>
            <c:bubble3D val="0"/>
            <c:spPr>
              <a:solidFill>
                <a:srgbClr val="AEABAB"/>
              </a:solidFill>
            </c:spPr>
            <c:extLst>
              <c:ext xmlns:c16="http://schemas.microsoft.com/office/drawing/2014/chart" uri="{C3380CC4-5D6E-409C-BE32-E72D297353CC}">
                <c16:uniqueId val="{00000011-FA3E-4872-B6E1-C4ABDF5766E2}"/>
              </c:ext>
            </c:extLst>
          </c:dPt>
          <c:dPt>
            <c:idx val="8"/>
            <c:invertIfNegative val="1"/>
            <c:bubble3D val="0"/>
            <c:spPr>
              <a:solidFill>
                <a:srgbClr val="AEABAB"/>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10</c:f>
              <c:strCache>
                <c:ptCount val="9"/>
                <c:pt idx="0">
                  <c:v>CHAMPAGNE E.NICOLAS BRUT 1CT X 750ML</c:v>
                </c:pt>
                <c:pt idx="1">
                  <c:v>CHAMPAGNE NICOLAS 1ERE CUVEE 1CT X 750ML</c:v>
                </c:pt>
                <c:pt idx="2">
                  <c:v>MG CHAMPAGNE E.NICOLAS BRUT 1CT X 1500ML</c:v>
                </c:pt>
                <c:pt idx="3">
                  <c:v>1/2 CHAMPAGNE NICOLAS 1ERE CUV 1CT X 375ML</c:v>
                </c:pt>
                <c:pt idx="4">
                  <c:v>MG CHAMPAGNE NICOLAS 1ERE CUVE 1CT X 1500ML</c:v>
                </c:pt>
                <c:pt idx="5">
                  <c:v>CHAMPAGNE NICOLAS BIO NAT 2017 1CT X 750ML</c:v>
                </c:pt>
                <c:pt idx="6">
                  <c:v>CHAMPAGNE NICOLAS 1ERE CUV ETU 1CT X 750ML</c:v>
                </c:pt>
                <c:pt idx="7">
                  <c:v>1/2 CHAMPAGNE NICOLAS 1E C BS 1CT X 375ML</c:v>
                </c:pt>
                <c:pt idx="8">
                  <c:v>CHAMPAGNE NICOLAS BIO 2018 1CT X 750ML</c:v>
                </c:pt>
              </c:strCache>
            </c:strRef>
          </c:cat>
          <c:val>
            <c:numRef>
              <c:f>Sheet1!$C$2:$C$10</c:f>
              <c:numCache>
                <c:formatCode>General</c:formatCode>
                <c:ptCount val="9"/>
                <c:pt idx="0">
                  <c:v>0.89406899096485881</c:v>
                </c:pt>
                <c:pt idx="1">
                  <c:v>0.94653738334520598</c:v>
                </c:pt>
                <c:pt idx="2">
                  <c:v>0.96759546346738279</c:v>
                </c:pt>
                <c:pt idx="3">
                  <c:v>0.97976189866087215</c:v>
                </c:pt>
                <c:pt idx="4">
                  <c:v>0.98986813716195099</c:v>
                </c:pt>
                <c:pt idx="5">
                  <c:v>0.99740169223121355</c:v>
                </c:pt>
                <c:pt idx="6">
                  <c:v>0.99930814290180248</c:v>
                </c:pt>
                <c:pt idx="7">
                  <c:v>0.99976425609987352</c:v>
                </c:pt>
                <c:pt idx="8">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10</c:f>
              <c:strCache>
                <c:ptCount val="9"/>
                <c:pt idx="0">
                  <c:v>CHAMPAGNE E.NICOLAS BRUT 1CT X 750ML</c:v>
                </c:pt>
                <c:pt idx="1">
                  <c:v>CHAMPAGNE NICOLAS 1ERE CUVEE 1CT X 750ML</c:v>
                </c:pt>
                <c:pt idx="2">
                  <c:v>MG CHAMPAGNE E.NICOLAS BRUT 1CT X 1500ML</c:v>
                </c:pt>
                <c:pt idx="3">
                  <c:v>1/2 CHAMPAGNE NICOLAS 1ERE CUV 1CT X 375ML</c:v>
                </c:pt>
                <c:pt idx="4">
                  <c:v>MG CHAMPAGNE NICOLAS 1ERE CUVE 1CT X 1500ML</c:v>
                </c:pt>
                <c:pt idx="5">
                  <c:v>CHAMPAGNE NICOLAS BIO NAT 2017 1CT X 750ML</c:v>
                </c:pt>
                <c:pt idx="6">
                  <c:v>CHAMPAGNE NICOLAS 1ERE CUV ETU 1CT X 750ML</c:v>
                </c:pt>
                <c:pt idx="7">
                  <c:v>1/2 CHAMPAGNE NICOLAS 1E C BS 1CT X 375ML</c:v>
                </c:pt>
                <c:pt idx="8">
                  <c:v>CHAMPAGNE NICOLAS BIO 2018 1CT X 750ML</c:v>
                </c:pt>
              </c:strCache>
            </c:strRef>
          </c:cat>
          <c:val>
            <c:numRef>
              <c:f>Sheet1!$D$2:$D$10</c:f>
              <c:numCache>
                <c:formatCode>General</c:formatCode>
                <c:ptCount val="9"/>
                <c:pt idx="0">
                  <c:v>1744.57</c:v>
                </c:pt>
                <c:pt idx="1">
                  <c:v>134.71052631578948</c:v>
                </c:pt>
                <c:pt idx="2">
                  <c:v>117.4</c:v>
                </c:pt>
                <c:pt idx="3">
                  <c:v>38.918032786885249</c:v>
                </c:pt>
                <c:pt idx="4">
                  <c:v>54.777777777777779</c:v>
                </c:pt>
                <c:pt idx="5">
                  <c:v>81.666666666666671</c:v>
                </c:pt>
                <c:pt idx="6">
                  <c:v>41.333333333333336</c:v>
                </c:pt>
                <c:pt idx="7">
                  <c:v>29.666666666666668</c:v>
                </c:pt>
                <c:pt idx="8">
                  <c:v>9.1999999999999993</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9</c:f>
              <c:strCache>
                <c:ptCount val="8"/>
                <c:pt idx="0">
                  <c:v>CHAMPAGNE E.NICOLAS BRUT 1CT X 750ML</c:v>
                </c:pt>
                <c:pt idx="1">
                  <c:v>CHAMPAGNE NICOLAS 1ERE CUVEE 1CT X 750ML</c:v>
                </c:pt>
                <c:pt idx="2">
                  <c:v>1/2 CHAMPAGNE NICOLAS 1ERE CUV 1CT X 375ML</c:v>
                </c:pt>
                <c:pt idx="3">
                  <c:v>MG CHAMPAGNE E.NICOLAS BRUT 1CT X 1500ML</c:v>
                </c:pt>
                <c:pt idx="4">
                  <c:v>CHAMPAGNE NICOLAS BIO NAT 2017 1CT X 750ML</c:v>
                </c:pt>
                <c:pt idx="5">
                  <c:v>MG CHAMPAGNE NICOLAS 1ERE CUVE 1CT X 1500ML</c:v>
                </c:pt>
                <c:pt idx="6">
                  <c:v>CHAMPAGNE NICOLAS 1ERE CUV ETU 1CT X 750ML</c:v>
                </c:pt>
                <c:pt idx="7">
                  <c:v>1/2 CHAMPAGNE NICOLAS 1E C BS 1CT X 375ML</c:v>
                </c:pt>
              </c:strCache>
            </c:strRef>
          </c:cat>
          <c:val>
            <c:numRef>
              <c:f>Sheet1!$B$2:$B$9</c:f>
              <c:numCache>
                <c:formatCode>General</c:formatCode>
                <c:ptCount val="8"/>
                <c:pt idx="0">
                  <c:v>0.99</c:v>
                </c:pt>
                <c:pt idx="1">
                  <c:v>0.78</c:v>
                </c:pt>
                <c:pt idx="2">
                  <c:v>0.32</c:v>
                </c:pt>
                <c:pt idx="3">
                  <c:v>0.16</c:v>
                </c:pt>
                <c:pt idx="4">
                  <c:v>0.15</c:v>
                </c:pt>
                <c:pt idx="5">
                  <c:v>0.18</c:v>
                </c:pt>
                <c:pt idx="6">
                  <c:v>0.11</c:v>
                </c:pt>
                <c:pt idx="7">
                  <c:v>0.01</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7ECAC4"/>
              </a:solidFill>
            </c:spPr>
            <c:extLst>
              <c:ext xmlns:c16="http://schemas.microsoft.com/office/drawing/2014/chart" uri="{C3380CC4-5D6E-409C-BE32-E72D297353CC}">
                <c16:uniqueId val="{00000006-D8F4-40C6-A5E0-DB4B53CFB1F3}"/>
              </c:ext>
            </c:extLst>
          </c:dPt>
          <c:dPt>
            <c:idx val="1"/>
            <c:invertIfNegative val="0"/>
            <c:bubble3D val="0"/>
            <c:spPr>
              <a:solidFill>
                <a:srgbClr val="7ECAC4"/>
              </a:solidFill>
            </c:spPr>
            <c:extLst>
              <c:ext xmlns:c16="http://schemas.microsoft.com/office/drawing/2014/chart" uri="{C3380CC4-5D6E-409C-BE32-E72D297353CC}">
                <c16:uniqueId val="{00000008-D8F4-40C6-A5E0-DB4B53CFB1F3}"/>
              </c:ext>
            </c:extLst>
          </c:dPt>
          <c:dPt>
            <c:idx val="2"/>
            <c:invertIfNegative val="0"/>
            <c:bubble3D val="0"/>
            <c:spPr>
              <a:solidFill>
                <a:srgbClr val="AEABAB"/>
              </a:solidFill>
            </c:spPr>
            <c:extLst>
              <c:ext xmlns:c16="http://schemas.microsoft.com/office/drawing/2014/chart" uri="{C3380CC4-5D6E-409C-BE32-E72D297353CC}">
                <c16:uniqueId val="{00000006-E902-46E2-9A54-39A26B3DFDC1}"/>
              </c:ext>
            </c:extLst>
          </c:dPt>
          <c:dPt>
            <c:idx val="3"/>
            <c:invertIfNegative val="0"/>
            <c:bubble3D val="0"/>
            <c:spPr>
              <a:solidFill>
                <a:srgbClr val="AEABAB"/>
              </a:solidFill>
            </c:spPr>
            <c:extLst>
              <c:ext xmlns:c16="http://schemas.microsoft.com/office/drawing/2014/chart" uri="{C3380CC4-5D6E-409C-BE32-E72D297353CC}">
                <c16:uniqueId val="{00000007-E902-46E2-9A54-39A26B3DFDC1}"/>
              </c:ext>
            </c:extLst>
          </c:dPt>
          <c:dPt>
            <c:idx val="4"/>
            <c:invertIfNegative val="1"/>
            <c:bubble3D val="0"/>
            <c:spPr>
              <a:solidFill>
                <a:srgbClr val="AEABAB"/>
              </a:solidFill>
            </c:spPr>
            <c:extLst>
              <c:ext xmlns:c16="http://schemas.microsoft.com/office/drawing/2014/chart" uri="{C3380CC4-5D6E-409C-BE32-E72D297353CC}">
                <c16:uniqueId val="{0000000B-FA3E-4872-B6E1-C4ABDF5766E2}"/>
              </c:ext>
            </c:extLst>
          </c:dPt>
          <c:dPt>
            <c:idx val="5"/>
            <c:invertIfNegative val="1"/>
            <c:bubble3D val="0"/>
            <c:spPr>
              <a:solidFill>
                <a:srgbClr val="AEABAB"/>
              </a:solidFill>
            </c:spPr>
            <c:extLst>
              <c:ext xmlns:c16="http://schemas.microsoft.com/office/drawing/2014/chart" uri="{C3380CC4-5D6E-409C-BE32-E72D297353CC}">
                <c16:uniqueId val="{0000000D-FA3E-4872-B6E1-C4ABDF5766E2}"/>
              </c:ext>
            </c:extLst>
          </c:dPt>
          <c:dPt>
            <c:idx val="6"/>
            <c:invertIfNegative val="1"/>
            <c:bubble3D val="0"/>
            <c:spPr>
              <a:solidFill>
                <a:srgbClr val="AEABAB"/>
              </a:solidFill>
            </c:spPr>
            <c:extLst>
              <c:ext xmlns:c16="http://schemas.microsoft.com/office/drawing/2014/chart" uri="{C3380CC4-5D6E-409C-BE32-E72D297353CC}">
                <c16:uniqueId val="{0000000F-FA3E-4872-B6E1-C4ABDF5766E2}"/>
              </c:ext>
            </c:extLst>
          </c:dPt>
          <c:dPt>
            <c:idx val="7"/>
            <c:invertIfNegative val="1"/>
            <c:bubble3D val="0"/>
            <c:spPr>
              <a:solidFill>
                <a:srgbClr val="AEABAB"/>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9</c:f>
              <c:strCache>
                <c:ptCount val="8"/>
                <c:pt idx="0">
                  <c:v>CHAMPAGNE E.NICOLAS BRUT 1CT X 750ML</c:v>
                </c:pt>
                <c:pt idx="1">
                  <c:v>CHAMPAGNE NICOLAS 1ERE CUVEE 1CT X 750ML</c:v>
                </c:pt>
                <c:pt idx="2">
                  <c:v>1/2 CHAMPAGNE NICOLAS 1ERE CUV 1CT X 375ML</c:v>
                </c:pt>
                <c:pt idx="3">
                  <c:v>MG CHAMPAGNE E.NICOLAS BRUT 1CT X 1500ML</c:v>
                </c:pt>
                <c:pt idx="4">
                  <c:v>CHAMPAGNE NICOLAS BIO NAT 2017 1CT X 750ML</c:v>
                </c:pt>
                <c:pt idx="5">
                  <c:v>MG CHAMPAGNE NICOLAS 1ERE CUVE 1CT X 1500ML</c:v>
                </c:pt>
                <c:pt idx="6">
                  <c:v>CHAMPAGNE NICOLAS 1ERE CUV ETU 1CT X 750ML</c:v>
                </c:pt>
                <c:pt idx="7">
                  <c:v>1/2 CHAMPAGNE NICOLAS 1E C BS 1CT X 375ML</c:v>
                </c:pt>
              </c:strCache>
            </c:strRef>
          </c:cat>
          <c:val>
            <c:numRef>
              <c:f>Sheet1!$C$2:$C$9</c:f>
              <c:numCache>
                <c:formatCode>General</c:formatCode>
                <c:ptCount val="8"/>
                <c:pt idx="0">
                  <c:v>0.88722839063509207</c:v>
                </c:pt>
                <c:pt idx="1">
                  <c:v>0.93847120127300077</c:v>
                </c:pt>
                <c:pt idx="2">
                  <c:v>0.96011124187175145</c:v>
                </c:pt>
                <c:pt idx="3">
                  <c:v>0.97653398688472592</c:v>
                </c:pt>
                <c:pt idx="4">
                  <c:v>0.99024852975218269</c:v>
                </c:pt>
                <c:pt idx="5">
                  <c:v>0.996783504086585</c:v>
                </c:pt>
                <c:pt idx="6">
                  <c:v>0.99991452894603527</c:v>
                </c:pt>
                <c:pt idx="7">
                  <c:v>1.000000000000000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9</c:f>
              <c:strCache>
                <c:ptCount val="8"/>
                <c:pt idx="0">
                  <c:v>CHAMPAGNE E.NICOLAS BRUT 1CT X 750ML</c:v>
                </c:pt>
                <c:pt idx="1">
                  <c:v>CHAMPAGNE NICOLAS 1ERE CUVEE 1CT X 750ML</c:v>
                </c:pt>
                <c:pt idx="2">
                  <c:v>1/2 CHAMPAGNE NICOLAS 1ERE CUV 1CT X 375ML</c:v>
                </c:pt>
                <c:pt idx="3">
                  <c:v>MG CHAMPAGNE E.NICOLAS BRUT 1CT X 1500ML</c:v>
                </c:pt>
                <c:pt idx="4">
                  <c:v>CHAMPAGNE NICOLAS BIO NAT 2017 1CT X 750ML</c:v>
                </c:pt>
                <c:pt idx="5">
                  <c:v>MG CHAMPAGNE NICOLAS 1ERE CUVE 1CT X 1500ML</c:v>
                </c:pt>
                <c:pt idx="6">
                  <c:v>CHAMPAGNE NICOLAS 1ERE CUV ETU 1CT X 750ML</c:v>
                </c:pt>
                <c:pt idx="7">
                  <c:v>1/2 CHAMPAGNE NICOLAS 1E C BS 1CT X 375ML</c:v>
                </c:pt>
              </c:strCache>
            </c:strRef>
          </c:cat>
          <c:val>
            <c:numRef>
              <c:f>Sheet1!$D$2:$D$9</c:f>
              <c:numCache>
                <c:formatCode>General</c:formatCode>
                <c:ptCount val="8"/>
                <c:pt idx="0">
                  <c:v>27681.21212121212</c:v>
                </c:pt>
                <c:pt idx="1">
                  <c:v>2029.1923076923076</c:v>
                </c:pt>
                <c:pt idx="2">
                  <c:v>2088.78125</c:v>
                </c:pt>
                <c:pt idx="3">
                  <c:v>3170.375</c:v>
                </c:pt>
                <c:pt idx="4">
                  <c:v>2824.0666666666666</c:v>
                </c:pt>
                <c:pt idx="5">
                  <c:v>1121.3888888888889</c:v>
                </c:pt>
                <c:pt idx="6">
                  <c:v>879.18181818181813</c:v>
                </c:pt>
                <c:pt idx="7">
                  <c:v>264</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9</c:f>
              <c:strCache>
                <c:ptCount val="8"/>
                <c:pt idx="0">
                  <c:v>CHAMPAGNE E.NICOLAS BRUT 1CT X 750ML</c:v>
                </c:pt>
                <c:pt idx="1">
                  <c:v>CHAMPAGNE NICOLAS 1ERE CUVEE 1CT X 750ML</c:v>
                </c:pt>
                <c:pt idx="2">
                  <c:v>MG CHAMPAGNE E.NICOLAS BRUT 1CT X 1500ML</c:v>
                </c:pt>
                <c:pt idx="3">
                  <c:v>1/2 CHAMPAGNE NICOLAS 1ERE CUV 1CT X 375ML</c:v>
                </c:pt>
                <c:pt idx="4">
                  <c:v>CHAMPAGNE NICOLAS BIO NAT 2017 1CT X 750ML</c:v>
                </c:pt>
                <c:pt idx="5">
                  <c:v>MG CHAMPAGNE NICOLAS 1ERE CUVE 1CT X 1500ML</c:v>
                </c:pt>
                <c:pt idx="6">
                  <c:v>CHAMPAGNE NICOLAS 1ERE CUV ETU 1CT X 750ML</c:v>
                </c:pt>
                <c:pt idx="7">
                  <c:v>CHAMPAGNE NICOLAS BIO 2018 1CT X 750ML</c:v>
                </c:pt>
              </c:strCache>
            </c:strRef>
          </c:cat>
          <c:val>
            <c:numRef>
              <c:f>Sheet1!$B$2:$B$9</c:f>
              <c:numCache>
                <c:formatCode>General</c:formatCode>
                <c:ptCount val="8"/>
                <c:pt idx="0">
                  <c:v>1</c:v>
                </c:pt>
                <c:pt idx="1">
                  <c:v>0.78</c:v>
                </c:pt>
                <c:pt idx="2">
                  <c:v>0.39</c:v>
                </c:pt>
                <c:pt idx="3">
                  <c:v>0.44</c:v>
                </c:pt>
                <c:pt idx="4">
                  <c:v>0.19</c:v>
                </c:pt>
                <c:pt idx="5">
                  <c:v>0.26</c:v>
                </c:pt>
                <c:pt idx="6">
                  <c:v>0.14000000000000001</c:v>
                </c:pt>
                <c:pt idx="7">
                  <c:v>0.02</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7ECAC4"/>
              </a:solidFill>
            </c:spPr>
            <c:extLst>
              <c:ext xmlns:c16="http://schemas.microsoft.com/office/drawing/2014/chart" uri="{C3380CC4-5D6E-409C-BE32-E72D297353CC}">
                <c16:uniqueId val="{00000006-D8F4-40C6-A5E0-DB4B53CFB1F3}"/>
              </c:ext>
            </c:extLst>
          </c:dPt>
          <c:dPt>
            <c:idx val="1"/>
            <c:invertIfNegative val="0"/>
            <c:bubble3D val="0"/>
            <c:spPr>
              <a:solidFill>
                <a:srgbClr val="7ECAC4"/>
              </a:solidFill>
            </c:spPr>
            <c:extLst>
              <c:ext xmlns:c16="http://schemas.microsoft.com/office/drawing/2014/chart" uri="{C3380CC4-5D6E-409C-BE32-E72D297353CC}">
                <c16:uniqueId val="{00000008-D8F4-40C6-A5E0-DB4B53CFB1F3}"/>
              </c:ext>
            </c:extLst>
          </c:dPt>
          <c:dPt>
            <c:idx val="2"/>
            <c:invertIfNegative val="0"/>
            <c:bubble3D val="0"/>
            <c:spPr>
              <a:solidFill>
                <a:srgbClr val="AEABAB"/>
              </a:solidFill>
            </c:spPr>
            <c:extLst>
              <c:ext xmlns:c16="http://schemas.microsoft.com/office/drawing/2014/chart" uri="{C3380CC4-5D6E-409C-BE32-E72D297353CC}">
                <c16:uniqueId val="{00000006-E902-46E2-9A54-39A26B3DFDC1}"/>
              </c:ext>
            </c:extLst>
          </c:dPt>
          <c:dPt>
            <c:idx val="3"/>
            <c:invertIfNegative val="0"/>
            <c:bubble3D val="0"/>
            <c:spPr>
              <a:solidFill>
                <a:srgbClr val="AEABAB"/>
              </a:solidFill>
            </c:spPr>
            <c:extLst>
              <c:ext xmlns:c16="http://schemas.microsoft.com/office/drawing/2014/chart" uri="{C3380CC4-5D6E-409C-BE32-E72D297353CC}">
                <c16:uniqueId val="{00000007-E902-46E2-9A54-39A26B3DFDC1}"/>
              </c:ext>
            </c:extLst>
          </c:dPt>
          <c:dPt>
            <c:idx val="4"/>
            <c:invertIfNegative val="1"/>
            <c:bubble3D val="0"/>
            <c:spPr>
              <a:solidFill>
                <a:srgbClr val="AEABAB"/>
              </a:solidFill>
            </c:spPr>
            <c:extLst>
              <c:ext xmlns:c16="http://schemas.microsoft.com/office/drawing/2014/chart" uri="{C3380CC4-5D6E-409C-BE32-E72D297353CC}">
                <c16:uniqueId val="{0000000B-FA3E-4872-B6E1-C4ABDF5766E2}"/>
              </c:ext>
            </c:extLst>
          </c:dPt>
          <c:dPt>
            <c:idx val="5"/>
            <c:invertIfNegative val="1"/>
            <c:bubble3D val="0"/>
            <c:spPr>
              <a:solidFill>
                <a:srgbClr val="AEABAB"/>
              </a:solidFill>
            </c:spPr>
            <c:extLst>
              <c:ext xmlns:c16="http://schemas.microsoft.com/office/drawing/2014/chart" uri="{C3380CC4-5D6E-409C-BE32-E72D297353CC}">
                <c16:uniqueId val="{0000000D-FA3E-4872-B6E1-C4ABDF5766E2}"/>
              </c:ext>
            </c:extLst>
          </c:dPt>
          <c:dPt>
            <c:idx val="6"/>
            <c:invertIfNegative val="1"/>
            <c:bubble3D val="0"/>
            <c:spPr>
              <a:solidFill>
                <a:srgbClr val="AEABAB"/>
              </a:solidFill>
            </c:spPr>
            <c:extLst>
              <c:ext xmlns:c16="http://schemas.microsoft.com/office/drawing/2014/chart" uri="{C3380CC4-5D6E-409C-BE32-E72D297353CC}">
                <c16:uniqueId val="{0000000F-FA3E-4872-B6E1-C4ABDF5766E2}"/>
              </c:ext>
            </c:extLst>
          </c:dPt>
          <c:dPt>
            <c:idx val="7"/>
            <c:invertIfNegative val="1"/>
            <c:bubble3D val="0"/>
            <c:spPr>
              <a:solidFill>
                <a:srgbClr val="AEABAB"/>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9</c:f>
              <c:strCache>
                <c:ptCount val="8"/>
                <c:pt idx="0">
                  <c:v>CHAMPAGNE E.NICOLAS BRUT 1CT X 750ML</c:v>
                </c:pt>
                <c:pt idx="1">
                  <c:v>CHAMPAGNE NICOLAS 1ERE CUVEE 1CT X 750ML</c:v>
                </c:pt>
                <c:pt idx="2">
                  <c:v>MG CHAMPAGNE E.NICOLAS BRUT 1CT X 1500ML</c:v>
                </c:pt>
                <c:pt idx="3">
                  <c:v>1/2 CHAMPAGNE NICOLAS 1ERE CUV 1CT X 375ML</c:v>
                </c:pt>
                <c:pt idx="4">
                  <c:v>CHAMPAGNE NICOLAS BIO NAT 2017 1CT X 750ML</c:v>
                </c:pt>
                <c:pt idx="5">
                  <c:v>MG CHAMPAGNE NICOLAS 1ERE CUVE 1CT X 1500ML</c:v>
                </c:pt>
                <c:pt idx="6">
                  <c:v>CHAMPAGNE NICOLAS 1ERE CUV ETU 1CT X 750ML</c:v>
                </c:pt>
                <c:pt idx="7">
                  <c:v>CHAMPAGNE NICOLAS BIO 2018 1CT X 750ML</c:v>
                </c:pt>
              </c:strCache>
            </c:strRef>
          </c:cat>
          <c:val>
            <c:numRef>
              <c:f>Sheet1!$C$2:$C$9</c:f>
              <c:numCache>
                <c:formatCode>General</c:formatCode>
                <c:ptCount val="8"/>
                <c:pt idx="0">
                  <c:v>0.88894244449735482</c:v>
                </c:pt>
                <c:pt idx="1">
                  <c:v>0.93184048687855336</c:v>
                </c:pt>
                <c:pt idx="2">
                  <c:v>0.96076245119503212</c:v>
                </c:pt>
                <c:pt idx="3">
                  <c:v>0.97869519180328191</c:v>
                </c:pt>
                <c:pt idx="4">
                  <c:v>0.9883352013271467</c:v>
                </c:pt>
                <c:pt idx="5">
                  <c:v>0.99786487339260588</c:v>
                </c:pt>
                <c:pt idx="6">
                  <c:v>0.99991095573532174</c:v>
                </c:pt>
                <c:pt idx="7">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9</c:f>
              <c:strCache>
                <c:ptCount val="8"/>
                <c:pt idx="0">
                  <c:v>CHAMPAGNE E.NICOLAS BRUT 1CT X 750ML</c:v>
                </c:pt>
                <c:pt idx="1">
                  <c:v>CHAMPAGNE NICOLAS 1ERE CUVEE 1CT X 750ML</c:v>
                </c:pt>
                <c:pt idx="2">
                  <c:v>MG CHAMPAGNE E.NICOLAS BRUT 1CT X 1500ML</c:v>
                </c:pt>
                <c:pt idx="3">
                  <c:v>1/2 CHAMPAGNE NICOLAS 1ERE CUV 1CT X 375ML</c:v>
                </c:pt>
                <c:pt idx="4">
                  <c:v>CHAMPAGNE NICOLAS BIO NAT 2017 1CT X 750ML</c:v>
                </c:pt>
                <c:pt idx="5">
                  <c:v>MG CHAMPAGNE NICOLAS 1ERE CUVE 1CT X 1500ML</c:v>
                </c:pt>
                <c:pt idx="6">
                  <c:v>CHAMPAGNE NICOLAS 1ERE CUV ETU 1CT X 750ML</c:v>
                </c:pt>
                <c:pt idx="7">
                  <c:v>CHAMPAGNE NICOLAS BIO 2018 1CT X 750ML</c:v>
                </c:pt>
              </c:strCache>
            </c:strRef>
          </c:cat>
          <c:val>
            <c:numRef>
              <c:f>Sheet1!$D$2:$D$9</c:f>
              <c:numCache>
                <c:formatCode>General</c:formatCode>
                <c:ptCount val="8"/>
                <c:pt idx="0">
                  <c:v>4592.25</c:v>
                </c:pt>
                <c:pt idx="1">
                  <c:v>284.11538461538464</c:v>
                </c:pt>
                <c:pt idx="2">
                  <c:v>383.10256410256409</c:v>
                </c:pt>
                <c:pt idx="3">
                  <c:v>210.54545454545453</c:v>
                </c:pt>
                <c:pt idx="4">
                  <c:v>262.10526315789474</c:v>
                </c:pt>
                <c:pt idx="5">
                  <c:v>189.34615384615384</c:v>
                </c:pt>
                <c:pt idx="6">
                  <c:v>75.499999999999986</c:v>
                </c:pt>
                <c:pt idx="7">
                  <c:v>23</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9</c:f>
              <c:strCache>
                <c:ptCount val="8"/>
                <c:pt idx="0">
                  <c:v>CHAMPAGNE E.NICOLAS BRUT 1CT X 750ML</c:v>
                </c:pt>
                <c:pt idx="1">
                  <c:v>CHAMPAGNE NICOLAS 1ERE CUVEE 1CT X 750ML</c:v>
                </c:pt>
                <c:pt idx="2">
                  <c:v>MG CHAMPAGNE E.NICOLAS BRUT 1CT X 1500ML</c:v>
                </c:pt>
                <c:pt idx="3">
                  <c:v>1/2 CHAMPAGNE NICOLAS 1ERE CUV 1CT X 375ML</c:v>
                </c:pt>
                <c:pt idx="4">
                  <c:v>CHAMPAGNE NICOLAS BIO NAT 2017 1CT X 750ML</c:v>
                </c:pt>
                <c:pt idx="5">
                  <c:v>MG CHAMPAGNE NICOLAS 1ERE CUVE 1CT X 1500ML</c:v>
                </c:pt>
                <c:pt idx="6">
                  <c:v>CHAMPAGNE NICOLAS 1ERE CUV ETU 1CT X 750ML</c:v>
                </c:pt>
                <c:pt idx="7">
                  <c:v>1/2 CHAMPAGNE NICOLAS 1E C BS 1CT X 375ML</c:v>
                </c:pt>
              </c:strCache>
            </c:strRef>
          </c:cat>
          <c:val>
            <c:numRef>
              <c:f>Sheet1!$B$2:$B$9</c:f>
              <c:numCache>
                <c:formatCode>General</c:formatCode>
                <c:ptCount val="8"/>
                <c:pt idx="0">
                  <c:v>1</c:v>
                </c:pt>
                <c:pt idx="1">
                  <c:v>0.72</c:v>
                </c:pt>
                <c:pt idx="2">
                  <c:v>0.4</c:v>
                </c:pt>
                <c:pt idx="3">
                  <c:v>0.56000000000000005</c:v>
                </c:pt>
                <c:pt idx="4">
                  <c:v>0.26</c:v>
                </c:pt>
                <c:pt idx="5">
                  <c:v>0.14000000000000001</c:v>
                </c:pt>
                <c:pt idx="6">
                  <c:v>0.09</c:v>
                </c:pt>
                <c:pt idx="7">
                  <c:v>0.01</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7ECAC4"/>
              </a:solidFill>
            </c:spPr>
            <c:extLst>
              <c:ext xmlns:c16="http://schemas.microsoft.com/office/drawing/2014/chart" uri="{C3380CC4-5D6E-409C-BE32-E72D297353CC}">
                <c16:uniqueId val="{00000006-D8F4-40C6-A5E0-DB4B53CFB1F3}"/>
              </c:ext>
            </c:extLst>
          </c:dPt>
          <c:dPt>
            <c:idx val="1"/>
            <c:invertIfNegative val="0"/>
            <c:bubble3D val="0"/>
            <c:spPr>
              <a:solidFill>
                <a:srgbClr val="7ECAC4"/>
              </a:solidFill>
            </c:spPr>
            <c:extLst>
              <c:ext xmlns:c16="http://schemas.microsoft.com/office/drawing/2014/chart" uri="{C3380CC4-5D6E-409C-BE32-E72D297353CC}">
                <c16:uniqueId val="{00000008-D8F4-40C6-A5E0-DB4B53CFB1F3}"/>
              </c:ext>
            </c:extLst>
          </c:dPt>
          <c:dPt>
            <c:idx val="2"/>
            <c:invertIfNegative val="0"/>
            <c:bubble3D val="0"/>
            <c:spPr>
              <a:solidFill>
                <a:srgbClr val="7ECAC4"/>
              </a:solidFill>
            </c:spPr>
            <c:extLst>
              <c:ext xmlns:c16="http://schemas.microsoft.com/office/drawing/2014/chart" uri="{C3380CC4-5D6E-409C-BE32-E72D297353CC}">
                <c16:uniqueId val="{00000006-E902-46E2-9A54-39A26B3DFDC1}"/>
              </c:ext>
            </c:extLst>
          </c:dPt>
          <c:dPt>
            <c:idx val="3"/>
            <c:invertIfNegative val="0"/>
            <c:bubble3D val="0"/>
            <c:spPr>
              <a:solidFill>
                <a:srgbClr val="AEABAB"/>
              </a:solidFill>
            </c:spPr>
            <c:extLst>
              <c:ext xmlns:c16="http://schemas.microsoft.com/office/drawing/2014/chart" uri="{C3380CC4-5D6E-409C-BE32-E72D297353CC}">
                <c16:uniqueId val="{00000007-E902-46E2-9A54-39A26B3DFDC1}"/>
              </c:ext>
            </c:extLst>
          </c:dPt>
          <c:dPt>
            <c:idx val="4"/>
            <c:invertIfNegative val="1"/>
            <c:bubble3D val="0"/>
            <c:spPr>
              <a:solidFill>
                <a:srgbClr val="AEABAB"/>
              </a:solidFill>
            </c:spPr>
            <c:extLst>
              <c:ext xmlns:c16="http://schemas.microsoft.com/office/drawing/2014/chart" uri="{C3380CC4-5D6E-409C-BE32-E72D297353CC}">
                <c16:uniqueId val="{0000000B-FA3E-4872-B6E1-C4ABDF5766E2}"/>
              </c:ext>
            </c:extLst>
          </c:dPt>
          <c:dPt>
            <c:idx val="5"/>
            <c:invertIfNegative val="1"/>
            <c:bubble3D val="0"/>
            <c:spPr>
              <a:solidFill>
                <a:srgbClr val="AEABAB"/>
              </a:solidFill>
            </c:spPr>
            <c:extLst>
              <c:ext xmlns:c16="http://schemas.microsoft.com/office/drawing/2014/chart" uri="{C3380CC4-5D6E-409C-BE32-E72D297353CC}">
                <c16:uniqueId val="{0000000D-FA3E-4872-B6E1-C4ABDF5766E2}"/>
              </c:ext>
            </c:extLst>
          </c:dPt>
          <c:dPt>
            <c:idx val="6"/>
            <c:invertIfNegative val="1"/>
            <c:bubble3D val="0"/>
            <c:spPr>
              <a:solidFill>
                <a:srgbClr val="AEABAB"/>
              </a:solidFill>
            </c:spPr>
            <c:extLst>
              <c:ext xmlns:c16="http://schemas.microsoft.com/office/drawing/2014/chart" uri="{C3380CC4-5D6E-409C-BE32-E72D297353CC}">
                <c16:uniqueId val="{0000000F-FA3E-4872-B6E1-C4ABDF5766E2}"/>
              </c:ext>
            </c:extLst>
          </c:dPt>
          <c:dPt>
            <c:idx val="7"/>
            <c:invertIfNegative val="1"/>
            <c:bubble3D val="0"/>
            <c:spPr>
              <a:solidFill>
                <a:srgbClr val="AEABAB"/>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9</c:f>
              <c:strCache>
                <c:ptCount val="8"/>
                <c:pt idx="0">
                  <c:v>CHAMPAGNE E.NICOLAS BRUT 1CT X 750ML</c:v>
                </c:pt>
                <c:pt idx="1">
                  <c:v>CHAMPAGNE NICOLAS 1ERE CUVEE 1CT X 750ML</c:v>
                </c:pt>
                <c:pt idx="2">
                  <c:v>MG CHAMPAGNE E.NICOLAS BRUT 1CT X 1500ML</c:v>
                </c:pt>
                <c:pt idx="3">
                  <c:v>1/2 CHAMPAGNE NICOLAS 1ERE CUV 1CT X 375ML</c:v>
                </c:pt>
                <c:pt idx="4">
                  <c:v>CHAMPAGNE NICOLAS BIO NAT 2017 1CT X 750ML</c:v>
                </c:pt>
                <c:pt idx="5">
                  <c:v>MG CHAMPAGNE NICOLAS 1ERE CUVE 1CT X 1500ML</c:v>
                </c:pt>
                <c:pt idx="6">
                  <c:v>CHAMPAGNE NICOLAS 1ERE CUV ETU 1CT X 750ML</c:v>
                </c:pt>
                <c:pt idx="7">
                  <c:v>1/2 CHAMPAGNE NICOLAS 1E C BS 1CT X 375ML</c:v>
                </c:pt>
              </c:strCache>
            </c:strRef>
          </c:cat>
          <c:val>
            <c:numRef>
              <c:f>Sheet1!$C$2:$C$9</c:f>
              <c:numCache>
                <c:formatCode>General</c:formatCode>
                <c:ptCount val="8"/>
                <c:pt idx="0">
                  <c:v>0.82260171320931119</c:v>
                </c:pt>
                <c:pt idx="1">
                  <c:v>0.895571230183283</c:v>
                </c:pt>
                <c:pt idx="2">
                  <c:v>0.93948310394294787</c:v>
                </c:pt>
                <c:pt idx="3">
                  <c:v>0.96659287675251027</c:v>
                </c:pt>
                <c:pt idx="4">
                  <c:v>0.98245541668385361</c:v>
                </c:pt>
                <c:pt idx="5">
                  <c:v>0.9963655029859706</c:v>
                </c:pt>
                <c:pt idx="6">
                  <c:v>0.99989916906140131</c:v>
                </c:pt>
                <c:pt idx="7">
                  <c:v>0.99999999999999989</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9</c:f>
              <c:strCache>
                <c:ptCount val="8"/>
                <c:pt idx="0">
                  <c:v>CHAMPAGNE E.NICOLAS BRUT 1CT X 750ML</c:v>
                </c:pt>
                <c:pt idx="1">
                  <c:v>CHAMPAGNE NICOLAS 1ERE CUVEE 1CT X 750ML</c:v>
                </c:pt>
                <c:pt idx="2">
                  <c:v>MG CHAMPAGNE E.NICOLAS BRUT 1CT X 1500ML</c:v>
                </c:pt>
                <c:pt idx="3">
                  <c:v>1/2 CHAMPAGNE NICOLAS 1ERE CUV 1CT X 375ML</c:v>
                </c:pt>
                <c:pt idx="4">
                  <c:v>CHAMPAGNE NICOLAS BIO NAT 2017 1CT X 750ML</c:v>
                </c:pt>
                <c:pt idx="5">
                  <c:v>MG CHAMPAGNE NICOLAS 1ERE CUVE 1CT X 1500ML</c:v>
                </c:pt>
                <c:pt idx="6">
                  <c:v>CHAMPAGNE NICOLAS 1ERE CUV ETU 1CT X 750ML</c:v>
                </c:pt>
                <c:pt idx="7">
                  <c:v>1/2 CHAMPAGNE NICOLAS 1E C BS 1CT X 375ML</c:v>
                </c:pt>
              </c:strCache>
            </c:strRef>
          </c:cat>
          <c:val>
            <c:numRef>
              <c:f>Sheet1!$D$2:$D$9</c:f>
              <c:numCache>
                <c:formatCode>General</c:formatCode>
                <c:ptCount val="8"/>
                <c:pt idx="0">
                  <c:v>1794.81</c:v>
                </c:pt>
                <c:pt idx="1">
                  <c:v>221.125</c:v>
                </c:pt>
                <c:pt idx="2">
                  <c:v>239.52500000000001</c:v>
                </c:pt>
                <c:pt idx="3">
                  <c:v>105.62499999999999</c:v>
                </c:pt>
                <c:pt idx="4">
                  <c:v>133.11538461538461</c:v>
                </c:pt>
                <c:pt idx="5">
                  <c:v>216.78571428571425</c:v>
                </c:pt>
                <c:pt idx="6">
                  <c:v>85.666666666666671</c:v>
                </c:pt>
                <c:pt idx="7">
                  <c:v>22</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9</c:f>
              <c:strCache>
                <c:ptCount val="8"/>
                <c:pt idx="0">
                  <c:v>CHAMPAGNE E.NICOLAS BRUT 1CT X 750ML</c:v>
                </c:pt>
                <c:pt idx="1">
                  <c:v>CHAMPAGNE NICOLAS 1ERE CUVEE 1CT X 750ML</c:v>
                </c:pt>
                <c:pt idx="2">
                  <c:v>1/2 CHAMPAGNE NICOLAS 1ERE CUV 1CT X 375ML</c:v>
                </c:pt>
                <c:pt idx="3">
                  <c:v>MG CHAMPAGNE E.NICOLAS BRUT 1CT X 1500ML</c:v>
                </c:pt>
                <c:pt idx="4">
                  <c:v>CHAMPAGNE NICOLAS BIO NAT 2017 1CT X 750ML</c:v>
                </c:pt>
                <c:pt idx="5">
                  <c:v>MG CHAMPAGNE NICOLAS 1ERE CUVE 1CT X 1500ML</c:v>
                </c:pt>
                <c:pt idx="6">
                  <c:v>CHAMPAGNE NICOLAS 1ERE CUV ETU 1CT X 750ML</c:v>
                </c:pt>
                <c:pt idx="7">
                  <c:v>1/2 CHAMPAGNE NICOLAS 1E C BS 1CT X 375ML</c:v>
                </c:pt>
              </c:strCache>
            </c:strRef>
          </c:cat>
          <c:val>
            <c:numRef>
              <c:f>Sheet1!$B$2:$B$9</c:f>
              <c:numCache>
                <c:formatCode>General</c:formatCode>
                <c:ptCount val="8"/>
                <c:pt idx="0">
                  <c:v>1</c:v>
                </c:pt>
                <c:pt idx="1">
                  <c:v>0.83</c:v>
                </c:pt>
                <c:pt idx="2">
                  <c:v>0.51</c:v>
                </c:pt>
                <c:pt idx="3">
                  <c:v>0.36</c:v>
                </c:pt>
                <c:pt idx="4">
                  <c:v>0.28000000000000003</c:v>
                </c:pt>
                <c:pt idx="5">
                  <c:v>0.18</c:v>
                </c:pt>
                <c:pt idx="6">
                  <c:v>0.22</c:v>
                </c:pt>
                <c:pt idx="7">
                  <c:v>0.08</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7ECAC4"/>
              </a:solidFill>
            </c:spPr>
            <c:extLst>
              <c:ext xmlns:c16="http://schemas.microsoft.com/office/drawing/2014/chart" uri="{C3380CC4-5D6E-409C-BE32-E72D297353CC}">
                <c16:uniqueId val="{00000006-D8F4-40C6-A5E0-DB4B53CFB1F3}"/>
              </c:ext>
            </c:extLst>
          </c:dPt>
          <c:dPt>
            <c:idx val="1"/>
            <c:invertIfNegative val="0"/>
            <c:bubble3D val="0"/>
            <c:spPr>
              <a:solidFill>
                <a:srgbClr val="7ECAC4"/>
              </a:solidFill>
            </c:spPr>
            <c:extLst>
              <c:ext xmlns:c16="http://schemas.microsoft.com/office/drawing/2014/chart" uri="{C3380CC4-5D6E-409C-BE32-E72D297353CC}">
                <c16:uniqueId val="{00000008-D8F4-40C6-A5E0-DB4B53CFB1F3}"/>
              </c:ext>
            </c:extLst>
          </c:dPt>
          <c:dPt>
            <c:idx val="2"/>
            <c:invertIfNegative val="0"/>
            <c:bubble3D val="0"/>
            <c:spPr>
              <a:solidFill>
                <a:srgbClr val="AEABAB"/>
              </a:solidFill>
            </c:spPr>
            <c:extLst>
              <c:ext xmlns:c16="http://schemas.microsoft.com/office/drawing/2014/chart" uri="{C3380CC4-5D6E-409C-BE32-E72D297353CC}">
                <c16:uniqueId val="{00000006-E902-46E2-9A54-39A26B3DFDC1}"/>
              </c:ext>
            </c:extLst>
          </c:dPt>
          <c:dPt>
            <c:idx val="3"/>
            <c:invertIfNegative val="0"/>
            <c:bubble3D val="0"/>
            <c:spPr>
              <a:solidFill>
                <a:srgbClr val="AEABAB"/>
              </a:solidFill>
            </c:spPr>
            <c:extLst>
              <c:ext xmlns:c16="http://schemas.microsoft.com/office/drawing/2014/chart" uri="{C3380CC4-5D6E-409C-BE32-E72D297353CC}">
                <c16:uniqueId val="{00000007-E902-46E2-9A54-39A26B3DFDC1}"/>
              </c:ext>
            </c:extLst>
          </c:dPt>
          <c:dPt>
            <c:idx val="4"/>
            <c:invertIfNegative val="1"/>
            <c:bubble3D val="0"/>
            <c:spPr>
              <a:solidFill>
                <a:srgbClr val="AEABAB"/>
              </a:solidFill>
            </c:spPr>
            <c:extLst>
              <c:ext xmlns:c16="http://schemas.microsoft.com/office/drawing/2014/chart" uri="{C3380CC4-5D6E-409C-BE32-E72D297353CC}">
                <c16:uniqueId val="{0000000B-FA3E-4872-B6E1-C4ABDF5766E2}"/>
              </c:ext>
            </c:extLst>
          </c:dPt>
          <c:dPt>
            <c:idx val="5"/>
            <c:invertIfNegative val="1"/>
            <c:bubble3D val="0"/>
            <c:spPr>
              <a:solidFill>
                <a:srgbClr val="AEABAB"/>
              </a:solidFill>
            </c:spPr>
            <c:extLst>
              <c:ext xmlns:c16="http://schemas.microsoft.com/office/drawing/2014/chart" uri="{C3380CC4-5D6E-409C-BE32-E72D297353CC}">
                <c16:uniqueId val="{0000000D-FA3E-4872-B6E1-C4ABDF5766E2}"/>
              </c:ext>
            </c:extLst>
          </c:dPt>
          <c:dPt>
            <c:idx val="6"/>
            <c:invertIfNegative val="1"/>
            <c:bubble3D val="0"/>
            <c:spPr>
              <a:solidFill>
                <a:srgbClr val="AEABAB"/>
              </a:solidFill>
            </c:spPr>
            <c:extLst>
              <c:ext xmlns:c16="http://schemas.microsoft.com/office/drawing/2014/chart" uri="{C3380CC4-5D6E-409C-BE32-E72D297353CC}">
                <c16:uniqueId val="{0000000F-FA3E-4872-B6E1-C4ABDF5766E2}"/>
              </c:ext>
            </c:extLst>
          </c:dPt>
          <c:dPt>
            <c:idx val="7"/>
            <c:invertIfNegative val="1"/>
            <c:bubble3D val="0"/>
            <c:spPr>
              <a:solidFill>
                <a:srgbClr val="AEABAB"/>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9</c:f>
              <c:strCache>
                <c:ptCount val="8"/>
                <c:pt idx="0">
                  <c:v>CHAMPAGNE E.NICOLAS BRUT 1CT X 750ML</c:v>
                </c:pt>
                <c:pt idx="1">
                  <c:v>CHAMPAGNE NICOLAS 1ERE CUVEE 1CT X 750ML</c:v>
                </c:pt>
                <c:pt idx="2">
                  <c:v>1/2 CHAMPAGNE NICOLAS 1ERE CUV 1CT X 375ML</c:v>
                </c:pt>
                <c:pt idx="3">
                  <c:v>MG CHAMPAGNE E.NICOLAS BRUT 1CT X 1500ML</c:v>
                </c:pt>
                <c:pt idx="4">
                  <c:v>CHAMPAGNE NICOLAS BIO NAT 2017 1CT X 750ML</c:v>
                </c:pt>
                <c:pt idx="5">
                  <c:v>MG CHAMPAGNE NICOLAS 1ERE CUVE 1CT X 1500ML</c:v>
                </c:pt>
                <c:pt idx="6">
                  <c:v>CHAMPAGNE NICOLAS 1ERE CUV ETU 1CT X 750ML</c:v>
                </c:pt>
                <c:pt idx="7">
                  <c:v>1/2 CHAMPAGNE NICOLAS 1E C BS 1CT X 375ML</c:v>
                </c:pt>
              </c:strCache>
            </c:strRef>
          </c:cat>
          <c:val>
            <c:numRef>
              <c:f>Sheet1!$C$2:$C$9</c:f>
              <c:numCache>
                <c:formatCode>General</c:formatCode>
                <c:ptCount val="8"/>
                <c:pt idx="0">
                  <c:v>0.88681063677429439</c:v>
                </c:pt>
                <c:pt idx="1">
                  <c:v>0.94409178767370372</c:v>
                </c:pt>
                <c:pt idx="2">
                  <c:v>0.96420129971518265</c:v>
                </c:pt>
                <c:pt idx="3">
                  <c:v>0.98217333484087388</c:v>
                </c:pt>
                <c:pt idx="4">
                  <c:v>0.99109474352969062</c:v>
                </c:pt>
                <c:pt idx="5">
                  <c:v>0.99802942934212024</c:v>
                </c:pt>
                <c:pt idx="6">
                  <c:v>0.9996446511928414</c:v>
                </c:pt>
                <c:pt idx="7">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9</c:f>
              <c:strCache>
                <c:ptCount val="8"/>
                <c:pt idx="0">
                  <c:v>CHAMPAGNE E.NICOLAS BRUT 1CT X 750ML</c:v>
                </c:pt>
                <c:pt idx="1">
                  <c:v>CHAMPAGNE NICOLAS 1ERE CUVEE 1CT X 750ML</c:v>
                </c:pt>
                <c:pt idx="2">
                  <c:v>1/2 CHAMPAGNE NICOLAS 1ERE CUV 1CT X 375ML</c:v>
                </c:pt>
                <c:pt idx="3">
                  <c:v>MG CHAMPAGNE E.NICOLAS BRUT 1CT X 1500ML</c:v>
                </c:pt>
                <c:pt idx="4">
                  <c:v>CHAMPAGNE NICOLAS BIO NAT 2017 1CT X 750ML</c:v>
                </c:pt>
                <c:pt idx="5">
                  <c:v>MG CHAMPAGNE NICOLAS 1ERE CUVE 1CT X 1500ML</c:v>
                </c:pt>
                <c:pt idx="6">
                  <c:v>CHAMPAGNE NICOLAS 1ERE CUV ETU 1CT X 750ML</c:v>
                </c:pt>
                <c:pt idx="7">
                  <c:v>1/2 CHAMPAGNE NICOLAS 1E C BS 1CT X 375ML</c:v>
                </c:pt>
              </c:strCache>
            </c:strRef>
          </c:cat>
          <c:val>
            <c:numRef>
              <c:f>Sheet1!$D$2:$D$9</c:f>
              <c:numCache>
                <c:formatCode>General</c:formatCode>
                <c:ptCount val="8"/>
                <c:pt idx="0">
                  <c:v>1647.1</c:v>
                </c:pt>
                <c:pt idx="1">
                  <c:v>128.18072289156626</c:v>
                </c:pt>
                <c:pt idx="2">
                  <c:v>73.235294117647058</c:v>
                </c:pt>
                <c:pt idx="3">
                  <c:v>92.722222222222229</c:v>
                </c:pt>
                <c:pt idx="4">
                  <c:v>59.178571428571423</c:v>
                </c:pt>
                <c:pt idx="5">
                  <c:v>71.555555555555557</c:v>
                </c:pt>
                <c:pt idx="6">
                  <c:v>13.636363636363637</c:v>
                </c:pt>
                <c:pt idx="7">
                  <c:v>8.25</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9</c:f>
              <c:strCache>
                <c:ptCount val="8"/>
                <c:pt idx="0">
                  <c:v>CHAMPAGNE E.NICOLAS BRUT 1CT X 750ML</c:v>
                </c:pt>
                <c:pt idx="1">
                  <c:v>CHAMPAGNE NICOLAS 1ERE CUVEE 1CT X 750ML</c:v>
                </c:pt>
                <c:pt idx="2">
                  <c:v>CHAMPAGNE NICOLAS BIO NAT 2017 1CT X 750ML</c:v>
                </c:pt>
                <c:pt idx="3">
                  <c:v>MG CHAMPAGNE E.NICOLAS BRUT 1CT X 1500ML</c:v>
                </c:pt>
                <c:pt idx="4">
                  <c:v>1/2 CHAMPAGNE NICOLAS 1ERE CUV 1CT X 375ML</c:v>
                </c:pt>
                <c:pt idx="5">
                  <c:v>CHAMPAGNE NICOLAS 1ERE CUV ETU 1CT X 750ML</c:v>
                </c:pt>
                <c:pt idx="6">
                  <c:v>MG CHAMPAGNE NICOLAS 1ERE CUVE 1CT X 1500ML</c:v>
                </c:pt>
                <c:pt idx="7">
                  <c:v>1/2 CHAMPAGNE NICOLAS 1E C BS 1CT X 375ML</c:v>
                </c:pt>
              </c:strCache>
            </c:strRef>
          </c:cat>
          <c:val>
            <c:numRef>
              <c:f>Sheet1!$B$2:$B$9</c:f>
              <c:numCache>
                <c:formatCode>General</c:formatCode>
                <c:ptCount val="8"/>
                <c:pt idx="0">
                  <c:v>1</c:v>
                </c:pt>
                <c:pt idx="1">
                  <c:v>0.56999999999999995</c:v>
                </c:pt>
                <c:pt idx="2">
                  <c:v>0.27</c:v>
                </c:pt>
                <c:pt idx="3">
                  <c:v>0.32</c:v>
                </c:pt>
                <c:pt idx="4">
                  <c:v>0.5</c:v>
                </c:pt>
                <c:pt idx="5">
                  <c:v>0.28000000000000003</c:v>
                </c:pt>
                <c:pt idx="6">
                  <c:v>0.15</c:v>
                </c:pt>
                <c:pt idx="7">
                  <c:v>0.05</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7ECAC4"/>
              </a:solidFill>
            </c:spPr>
            <c:extLst>
              <c:ext xmlns:c16="http://schemas.microsoft.com/office/drawing/2014/chart" uri="{C3380CC4-5D6E-409C-BE32-E72D297353CC}">
                <c16:uniqueId val="{00000006-D8F4-40C6-A5E0-DB4B53CFB1F3}"/>
              </c:ext>
            </c:extLst>
          </c:dPt>
          <c:dPt>
            <c:idx val="1"/>
            <c:invertIfNegative val="0"/>
            <c:bubble3D val="0"/>
            <c:spPr>
              <a:solidFill>
                <a:srgbClr val="7ECAC4"/>
              </a:solidFill>
            </c:spPr>
            <c:extLst>
              <c:ext xmlns:c16="http://schemas.microsoft.com/office/drawing/2014/chart" uri="{C3380CC4-5D6E-409C-BE32-E72D297353CC}">
                <c16:uniqueId val="{00000008-D8F4-40C6-A5E0-DB4B53CFB1F3}"/>
              </c:ext>
            </c:extLst>
          </c:dPt>
          <c:dPt>
            <c:idx val="2"/>
            <c:invertIfNegative val="0"/>
            <c:bubble3D val="0"/>
            <c:spPr>
              <a:solidFill>
                <a:srgbClr val="AEABAB"/>
              </a:solidFill>
            </c:spPr>
            <c:extLst>
              <c:ext xmlns:c16="http://schemas.microsoft.com/office/drawing/2014/chart" uri="{C3380CC4-5D6E-409C-BE32-E72D297353CC}">
                <c16:uniqueId val="{00000006-E902-46E2-9A54-39A26B3DFDC1}"/>
              </c:ext>
            </c:extLst>
          </c:dPt>
          <c:dPt>
            <c:idx val="3"/>
            <c:invertIfNegative val="0"/>
            <c:bubble3D val="0"/>
            <c:spPr>
              <a:solidFill>
                <a:srgbClr val="AEABAB"/>
              </a:solidFill>
            </c:spPr>
            <c:extLst>
              <c:ext xmlns:c16="http://schemas.microsoft.com/office/drawing/2014/chart" uri="{C3380CC4-5D6E-409C-BE32-E72D297353CC}">
                <c16:uniqueId val="{00000007-E902-46E2-9A54-39A26B3DFDC1}"/>
              </c:ext>
            </c:extLst>
          </c:dPt>
          <c:dPt>
            <c:idx val="4"/>
            <c:invertIfNegative val="1"/>
            <c:bubble3D val="0"/>
            <c:spPr>
              <a:solidFill>
                <a:srgbClr val="AEABAB"/>
              </a:solidFill>
            </c:spPr>
            <c:extLst>
              <c:ext xmlns:c16="http://schemas.microsoft.com/office/drawing/2014/chart" uri="{C3380CC4-5D6E-409C-BE32-E72D297353CC}">
                <c16:uniqueId val="{0000000B-FA3E-4872-B6E1-C4ABDF5766E2}"/>
              </c:ext>
            </c:extLst>
          </c:dPt>
          <c:dPt>
            <c:idx val="5"/>
            <c:invertIfNegative val="1"/>
            <c:bubble3D val="0"/>
            <c:spPr>
              <a:solidFill>
                <a:srgbClr val="AEABAB"/>
              </a:solidFill>
            </c:spPr>
            <c:extLst>
              <c:ext xmlns:c16="http://schemas.microsoft.com/office/drawing/2014/chart" uri="{C3380CC4-5D6E-409C-BE32-E72D297353CC}">
                <c16:uniqueId val="{0000000D-FA3E-4872-B6E1-C4ABDF5766E2}"/>
              </c:ext>
            </c:extLst>
          </c:dPt>
          <c:dPt>
            <c:idx val="6"/>
            <c:invertIfNegative val="1"/>
            <c:bubble3D val="0"/>
            <c:spPr>
              <a:solidFill>
                <a:srgbClr val="AEABAB"/>
              </a:solidFill>
            </c:spPr>
            <c:extLst>
              <c:ext xmlns:c16="http://schemas.microsoft.com/office/drawing/2014/chart" uri="{C3380CC4-5D6E-409C-BE32-E72D297353CC}">
                <c16:uniqueId val="{0000000F-FA3E-4872-B6E1-C4ABDF5766E2}"/>
              </c:ext>
            </c:extLst>
          </c:dPt>
          <c:dPt>
            <c:idx val="7"/>
            <c:invertIfNegative val="1"/>
            <c:bubble3D val="0"/>
            <c:spPr>
              <a:solidFill>
                <a:srgbClr val="AEABAB"/>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9</c:f>
              <c:strCache>
                <c:ptCount val="8"/>
                <c:pt idx="0">
                  <c:v>CHAMPAGNE E.NICOLAS BRUT 1CT X 750ML</c:v>
                </c:pt>
                <c:pt idx="1">
                  <c:v>CHAMPAGNE NICOLAS 1ERE CUVEE 1CT X 750ML</c:v>
                </c:pt>
                <c:pt idx="2">
                  <c:v>CHAMPAGNE NICOLAS BIO NAT 2017 1CT X 750ML</c:v>
                </c:pt>
                <c:pt idx="3">
                  <c:v>MG CHAMPAGNE E.NICOLAS BRUT 1CT X 1500ML</c:v>
                </c:pt>
                <c:pt idx="4">
                  <c:v>1/2 CHAMPAGNE NICOLAS 1ERE CUV 1CT X 375ML</c:v>
                </c:pt>
                <c:pt idx="5">
                  <c:v>CHAMPAGNE NICOLAS 1ERE CUV ETU 1CT X 750ML</c:v>
                </c:pt>
                <c:pt idx="6">
                  <c:v>MG CHAMPAGNE NICOLAS 1ERE CUVE 1CT X 1500ML</c:v>
                </c:pt>
                <c:pt idx="7">
                  <c:v>1/2 CHAMPAGNE NICOLAS 1E C BS 1CT X 375ML</c:v>
                </c:pt>
              </c:strCache>
            </c:strRef>
          </c:cat>
          <c:val>
            <c:numRef>
              <c:f>Sheet1!$C$2:$C$9</c:f>
              <c:numCache>
                <c:formatCode>General</c:formatCode>
                <c:ptCount val="8"/>
                <c:pt idx="0">
                  <c:v>0.90811237671779643</c:v>
                </c:pt>
                <c:pt idx="1">
                  <c:v>0.93453275079183873</c:v>
                </c:pt>
                <c:pt idx="2">
                  <c:v>0.95494459275027688</c:v>
                </c:pt>
                <c:pt idx="3">
                  <c:v>0.97397447232212608</c:v>
                </c:pt>
                <c:pt idx="4">
                  <c:v>0.98913314048806456</c:v>
                </c:pt>
                <c:pt idx="5">
                  <c:v>0.99642063158256156</c:v>
                </c:pt>
                <c:pt idx="6">
                  <c:v>0.99961373722113978</c:v>
                </c:pt>
                <c:pt idx="7">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9</c:f>
              <c:strCache>
                <c:ptCount val="8"/>
                <c:pt idx="0">
                  <c:v>CHAMPAGNE E.NICOLAS BRUT 1CT X 750ML</c:v>
                </c:pt>
                <c:pt idx="1">
                  <c:v>CHAMPAGNE NICOLAS 1ERE CUVEE 1CT X 750ML</c:v>
                </c:pt>
                <c:pt idx="2">
                  <c:v>CHAMPAGNE NICOLAS BIO NAT 2017 1CT X 750ML</c:v>
                </c:pt>
                <c:pt idx="3">
                  <c:v>MG CHAMPAGNE E.NICOLAS BRUT 1CT X 1500ML</c:v>
                </c:pt>
                <c:pt idx="4">
                  <c:v>1/2 CHAMPAGNE NICOLAS 1ERE CUV 1CT X 375ML</c:v>
                </c:pt>
                <c:pt idx="5">
                  <c:v>CHAMPAGNE NICOLAS 1ERE CUV ETU 1CT X 750ML</c:v>
                </c:pt>
                <c:pt idx="6">
                  <c:v>MG CHAMPAGNE NICOLAS 1ERE CUVE 1CT X 1500ML</c:v>
                </c:pt>
                <c:pt idx="7">
                  <c:v>1/2 CHAMPAGNE NICOLAS 1E C BS 1CT X 375ML</c:v>
                </c:pt>
              </c:strCache>
            </c:strRef>
          </c:cat>
          <c:val>
            <c:numRef>
              <c:f>Sheet1!$D$2:$D$9</c:f>
              <c:numCache>
                <c:formatCode>General</c:formatCode>
                <c:ptCount val="8"/>
                <c:pt idx="0">
                  <c:v>1057.96</c:v>
                </c:pt>
                <c:pt idx="1">
                  <c:v>54.000000000000007</c:v>
                </c:pt>
                <c:pt idx="2">
                  <c:v>88.074074074074076</c:v>
                </c:pt>
                <c:pt idx="3">
                  <c:v>69.28125</c:v>
                </c:pt>
                <c:pt idx="4">
                  <c:v>35.32</c:v>
                </c:pt>
                <c:pt idx="5">
                  <c:v>30.321428571428566</c:v>
                </c:pt>
                <c:pt idx="6">
                  <c:v>24.8</c:v>
                </c:pt>
                <c:pt idx="7">
                  <c:v>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9</c:f>
              <c:strCache>
                <c:ptCount val="8"/>
                <c:pt idx="0">
                  <c:v>CHAMPAGNE E.NICOLAS BRUT 1CT X 750ML</c:v>
                </c:pt>
                <c:pt idx="1">
                  <c:v>CHAMPAGNE NICOLAS 1ERE CUVEE 1CT X 750ML</c:v>
                </c:pt>
                <c:pt idx="2">
                  <c:v>MG CHAMPAGNE E.NICOLAS BRUT 1CT X 1500ML</c:v>
                </c:pt>
                <c:pt idx="3">
                  <c:v>1/2 CHAMPAGNE NICOLAS 1ERE CUV 1CT X 375ML</c:v>
                </c:pt>
                <c:pt idx="4">
                  <c:v>CHAMPAGNE NICOLAS BIO NAT 2017 1CT X 750ML</c:v>
                </c:pt>
                <c:pt idx="5">
                  <c:v>MG CHAMPAGNE NICOLAS 1ERE CUVE 1CT X 1500ML</c:v>
                </c:pt>
                <c:pt idx="6">
                  <c:v>CHAMPAGNE NICOLAS 1ERE CUV ETU 1CT X 750ML</c:v>
                </c:pt>
                <c:pt idx="7">
                  <c:v>1/2 CHAMPAGNE NICOLAS 1E C BS 1CT X 375ML</c:v>
                </c:pt>
              </c:strCache>
            </c:strRef>
          </c:cat>
          <c:val>
            <c:numRef>
              <c:f>Sheet1!$B$2:$B$9</c:f>
              <c:numCache>
                <c:formatCode>General</c:formatCode>
                <c:ptCount val="8"/>
                <c:pt idx="0">
                  <c:v>1</c:v>
                </c:pt>
                <c:pt idx="1">
                  <c:v>0.9</c:v>
                </c:pt>
                <c:pt idx="2">
                  <c:v>0.34</c:v>
                </c:pt>
                <c:pt idx="3">
                  <c:v>0.43</c:v>
                </c:pt>
                <c:pt idx="4">
                  <c:v>0.28000000000000003</c:v>
                </c:pt>
                <c:pt idx="5">
                  <c:v>0.24</c:v>
                </c:pt>
                <c:pt idx="6">
                  <c:v>7.0000000000000007E-2</c:v>
                </c:pt>
                <c:pt idx="7">
                  <c:v>0.02</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7ECAC4"/>
              </a:solidFill>
            </c:spPr>
            <c:extLst>
              <c:ext xmlns:c16="http://schemas.microsoft.com/office/drawing/2014/chart" uri="{C3380CC4-5D6E-409C-BE32-E72D297353CC}">
                <c16:uniqueId val="{00000006-D8F4-40C6-A5E0-DB4B53CFB1F3}"/>
              </c:ext>
            </c:extLst>
          </c:dPt>
          <c:dPt>
            <c:idx val="1"/>
            <c:invertIfNegative val="0"/>
            <c:bubble3D val="0"/>
            <c:spPr>
              <a:solidFill>
                <a:srgbClr val="7ECAC4"/>
              </a:solidFill>
            </c:spPr>
            <c:extLst>
              <c:ext xmlns:c16="http://schemas.microsoft.com/office/drawing/2014/chart" uri="{C3380CC4-5D6E-409C-BE32-E72D297353CC}">
                <c16:uniqueId val="{00000008-D8F4-40C6-A5E0-DB4B53CFB1F3}"/>
              </c:ext>
            </c:extLst>
          </c:dPt>
          <c:dPt>
            <c:idx val="2"/>
            <c:invertIfNegative val="0"/>
            <c:bubble3D val="0"/>
            <c:spPr>
              <a:solidFill>
                <a:srgbClr val="AEABAB"/>
              </a:solidFill>
            </c:spPr>
            <c:extLst>
              <c:ext xmlns:c16="http://schemas.microsoft.com/office/drawing/2014/chart" uri="{C3380CC4-5D6E-409C-BE32-E72D297353CC}">
                <c16:uniqueId val="{00000006-E902-46E2-9A54-39A26B3DFDC1}"/>
              </c:ext>
            </c:extLst>
          </c:dPt>
          <c:dPt>
            <c:idx val="3"/>
            <c:invertIfNegative val="0"/>
            <c:bubble3D val="0"/>
            <c:spPr>
              <a:solidFill>
                <a:srgbClr val="AEABAB"/>
              </a:solidFill>
            </c:spPr>
            <c:extLst>
              <c:ext xmlns:c16="http://schemas.microsoft.com/office/drawing/2014/chart" uri="{C3380CC4-5D6E-409C-BE32-E72D297353CC}">
                <c16:uniqueId val="{00000007-E902-46E2-9A54-39A26B3DFDC1}"/>
              </c:ext>
            </c:extLst>
          </c:dPt>
          <c:dPt>
            <c:idx val="4"/>
            <c:invertIfNegative val="1"/>
            <c:bubble3D val="0"/>
            <c:spPr>
              <a:solidFill>
                <a:srgbClr val="AEABAB"/>
              </a:solidFill>
            </c:spPr>
            <c:extLst>
              <c:ext xmlns:c16="http://schemas.microsoft.com/office/drawing/2014/chart" uri="{C3380CC4-5D6E-409C-BE32-E72D297353CC}">
                <c16:uniqueId val="{0000000B-FA3E-4872-B6E1-C4ABDF5766E2}"/>
              </c:ext>
            </c:extLst>
          </c:dPt>
          <c:dPt>
            <c:idx val="5"/>
            <c:invertIfNegative val="1"/>
            <c:bubble3D val="0"/>
            <c:spPr>
              <a:solidFill>
                <a:srgbClr val="AEABAB"/>
              </a:solidFill>
            </c:spPr>
            <c:extLst>
              <c:ext xmlns:c16="http://schemas.microsoft.com/office/drawing/2014/chart" uri="{C3380CC4-5D6E-409C-BE32-E72D297353CC}">
                <c16:uniqueId val="{0000000D-FA3E-4872-B6E1-C4ABDF5766E2}"/>
              </c:ext>
            </c:extLst>
          </c:dPt>
          <c:dPt>
            <c:idx val="6"/>
            <c:invertIfNegative val="1"/>
            <c:bubble3D val="0"/>
            <c:spPr>
              <a:solidFill>
                <a:srgbClr val="AEABAB"/>
              </a:solidFill>
            </c:spPr>
            <c:extLst>
              <c:ext xmlns:c16="http://schemas.microsoft.com/office/drawing/2014/chart" uri="{C3380CC4-5D6E-409C-BE32-E72D297353CC}">
                <c16:uniqueId val="{0000000F-FA3E-4872-B6E1-C4ABDF5766E2}"/>
              </c:ext>
            </c:extLst>
          </c:dPt>
          <c:dPt>
            <c:idx val="7"/>
            <c:invertIfNegative val="1"/>
            <c:bubble3D val="0"/>
            <c:spPr>
              <a:solidFill>
                <a:srgbClr val="AEABAB"/>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9</c:f>
              <c:strCache>
                <c:ptCount val="8"/>
                <c:pt idx="0">
                  <c:v>CHAMPAGNE E.NICOLAS BRUT 1CT X 750ML</c:v>
                </c:pt>
                <c:pt idx="1">
                  <c:v>CHAMPAGNE NICOLAS 1ERE CUVEE 1CT X 750ML</c:v>
                </c:pt>
                <c:pt idx="2">
                  <c:v>MG CHAMPAGNE E.NICOLAS BRUT 1CT X 1500ML</c:v>
                </c:pt>
                <c:pt idx="3">
                  <c:v>1/2 CHAMPAGNE NICOLAS 1ERE CUV 1CT X 375ML</c:v>
                </c:pt>
                <c:pt idx="4">
                  <c:v>CHAMPAGNE NICOLAS BIO NAT 2017 1CT X 750ML</c:v>
                </c:pt>
                <c:pt idx="5">
                  <c:v>MG CHAMPAGNE NICOLAS 1ERE CUVE 1CT X 1500ML</c:v>
                </c:pt>
                <c:pt idx="6">
                  <c:v>CHAMPAGNE NICOLAS 1ERE CUV ETU 1CT X 750ML</c:v>
                </c:pt>
                <c:pt idx="7">
                  <c:v>1/2 CHAMPAGNE NICOLAS 1E C BS 1CT X 375ML</c:v>
                </c:pt>
              </c:strCache>
            </c:strRef>
          </c:cat>
          <c:val>
            <c:numRef>
              <c:f>Sheet1!$C$2:$C$9</c:f>
              <c:numCache>
                <c:formatCode>General</c:formatCode>
                <c:ptCount val="8"/>
                <c:pt idx="0">
                  <c:v>0.88124034585627731</c:v>
                </c:pt>
                <c:pt idx="1">
                  <c:v>0.93868513299767375</c:v>
                </c:pt>
                <c:pt idx="2">
                  <c:v>0.96114759869756439</c:v>
                </c:pt>
                <c:pt idx="3">
                  <c:v>0.97968945030547938</c:v>
                </c:pt>
                <c:pt idx="4">
                  <c:v>0.99154899209476177</c:v>
                </c:pt>
                <c:pt idx="5">
                  <c:v>0.99901289802023729</c:v>
                </c:pt>
                <c:pt idx="6">
                  <c:v>0.99994357010866541</c:v>
                </c:pt>
                <c:pt idx="7">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9</c:f>
              <c:strCache>
                <c:ptCount val="8"/>
                <c:pt idx="0">
                  <c:v>CHAMPAGNE E.NICOLAS BRUT 1CT X 750ML</c:v>
                </c:pt>
                <c:pt idx="1">
                  <c:v>CHAMPAGNE NICOLAS 1ERE CUVEE 1CT X 750ML</c:v>
                </c:pt>
                <c:pt idx="2">
                  <c:v>MG CHAMPAGNE E.NICOLAS BRUT 1CT X 1500ML</c:v>
                </c:pt>
                <c:pt idx="3">
                  <c:v>1/2 CHAMPAGNE NICOLAS 1ERE CUV 1CT X 375ML</c:v>
                </c:pt>
                <c:pt idx="4">
                  <c:v>CHAMPAGNE NICOLAS BIO NAT 2017 1CT X 750ML</c:v>
                </c:pt>
                <c:pt idx="5">
                  <c:v>MG CHAMPAGNE NICOLAS 1ERE CUVE 1CT X 1500ML</c:v>
                </c:pt>
                <c:pt idx="6">
                  <c:v>CHAMPAGNE NICOLAS 1ERE CUV ETU 1CT X 750ML</c:v>
                </c:pt>
                <c:pt idx="7">
                  <c:v>1/2 CHAMPAGNE NICOLAS 1E C BS 1CT X 375ML</c:v>
                </c:pt>
              </c:strCache>
            </c:strRef>
          </c:cat>
          <c:val>
            <c:numRef>
              <c:f>Sheet1!$D$2:$D$9</c:f>
              <c:numCache>
                <c:formatCode>General</c:formatCode>
                <c:ptCount val="8"/>
                <c:pt idx="0">
                  <c:v>10463.09</c:v>
                </c:pt>
                <c:pt idx="1">
                  <c:v>757.83333333333337</c:v>
                </c:pt>
                <c:pt idx="2">
                  <c:v>784.41176470588232</c:v>
                </c:pt>
                <c:pt idx="3">
                  <c:v>511.97674418604652</c:v>
                </c:pt>
                <c:pt idx="4">
                  <c:v>502.89285714285705</c:v>
                </c:pt>
                <c:pt idx="5">
                  <c:v>369.25</c:v>
                </c:pt>
                <c:pt idx="6">
                  <c:v>157.85714285714283</c:v>
                </c:pt>
                <c:pt idx="7">
                  <c:v>33.5</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10</c:f>
              <c:strCache>
                <c:ptCount val="9"/>
                <c:pt idx="0">
                  <c:v>CHAMPAGNE E.NICOLAS BRUT 1CT X 750ML</c:v>
                </c:pt>
                <c:pt idx="1">
                  <c:v>CHAMPAGNE NICOLAS 1ERE CUVEE 1CT X 750ML</c:v>
                </c:pt>
                <c:pt idx="2">
                  <c:v>1/2 CHAMPAGNE NICOLAS 1ERE CUV 1CT X 375ML</c:v>
                </c:pt>
                <c:pt idx="3">
                  <c:v>MG CHAMPAGNE E.NICOLAS BRUT 1CT X 1500ML</c:v>
                </c:pt>
                <c:pt idx="4">
                  <c:v>CHAMPAGNE NICOLAS BIO NAT 2017 1CT X 750ML</c:v>
                </c:pt>
                <c:pt idx="5">
                  <c:v>MG CHAMPAGNE NICOLAS 1ERE CUVE 1CT X 1500ML</c:v>
                </c:pt>
                <c:pt idx="6">
                  <c:v>CHAMPAGNE NICOLAS 1ERE CUV ETU 1CT X 750ML</c:v>
                </c:pt>
                <c:pt idx="7">
                  <c:v>MG CHAMPAGNE NICOLAS BRUT 1CT X 1500ML</c:v>
                </c:pt>
                <c:pt idx="8">
                  <c:v>1/2 CHAMPAGNE NICOLAS 1E C BS 1CT X 375ML</c:v>
                </c:pt>
              </c:strCache>
            </c:strRef>
          </c:cat>
          <c:val>
            <c:numRef>
              <c:f>Sheet1!$B$2:$B$10</c:f>
              <c:numCache>
                <c:formatCode>General</c:formatCode>
                <c:ptCount val="9"/>
                <c:pt idx="0">
                  <c:v>1</c:v>
                </c:pt>
                <c:pt idx="1">
                  <c:v>0.91</c:v>
                </c:pt>
                <c:pt idx="2">
                  <c:v>0.45</c:v>
                </c:pt>
                <c:pt idx="3">
                  <c:v>0.21</c:v>
                </c:pt>
                <c:pt idx="4">
                  <c:v>0.21</c:v>
                </c:pt>
                <c:pt idx="5">
                  <c:v>0.12</c:v>
                </c:pt>
                <c:pt idx="6">
                  <c:v>0.12</c:v>
                </c:pt>
                <c:pt idx="7">
                  <c:v>0.01</c:v>
                </c:pt>
                <c:pt idx="8">
                  <c:v>0.01</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7ECAC4"/>
              </a:solidFill>
            </c:spPr>
            <c:extLst>
              <c:ext xmlns:c16="http://schemas.microsoft.com/office/drawing/2014/chart" uri="{C3380CC4-5D6E-409C-BE32-E72D297353CC}">
                <c16:uniqueId val="{00000006-D8F4-40C6-A5E0-DB4B53CFB1F3}"/>
              </c:ext>
            </c:extLst>
          </c:dPt>
          <c:dPt>
            <c:idx val="1"/>
            <c:invertIfNegative val="0"/>
            <c:bubble3D val="0"/>
            <c:spPr>
              <a:solidFill>
                <a:srgbClr val="7ECAC4"/>
              </a:solidFill>
            </c:spPr>
            <c:extLst>
              <c:ext xmlns:c16="http://schemas.microsoft.com/office/drawing/2014/chart" uri="{C3380CC4-5D6E-409C-BE32-E72D297353CC}">
                <c16:uniqueId val="{00000008-D8F4-40C6-A5E0-DB4B53CFB1F3}"/>
              </c:ext>
            </c:extLst>
          </c:dPt>
          <c:dPt>
            <c:idx val="2"/>
            <c:invertIfNegative val="0"/>
            <c:bubble3D val="0"/>
            <c:spPr>
              <a:solidFill>
                <a:srgbClr val="AEABAB"/>
              </a:solidFill>
            </c:spPr>
            <c:extLst>
              <c:ext xmlns:c16="http://schemas.microsoft.com/office/drawing/2014/chart" uri="{C3380CC4-5D6E-409C-BE32-E72D297353CC}">
                <c16:uniqueId val="{00000006-E902-46E2-9A54-39A26B3DFDC1}"/>
              </c:ext>
            </c:extLst>
          </c:dPt>
          <c:dPt>
            <c:idx val="3"/>
            <c:invertIfNegative val="0"/>
            <c:bubble3D val="0"/>
            <c:spPr>
              <a:solidFill>
                <a:srgbClr val="AEABAB"/>
              </a:solidFill>
            </c:spPr>
            <c:extLst>
              <c:ext xmlns:c16="http://schemas.microsoft.com/office/drawing/2014/chart" uri="{C3380CC4-5D6E-409C-BE32-E72D297353CC}">
                <c16:uniqueId val="{00000007-E902-46E2-9A54-39A26B3DFDC1}"/>
              </c:ext>
            </c:extLst>
          </c:dPt>
          <c:dPt>
            <c:idx val="4"/>
            <c:invertIfNegative val="1"/>
            <c:bubble3D val="0"/>
            <c:spPr>
              <a:solidFill>
                <a:srgbClr val="AEABAB"/>
              </a:solidFill>
            </c:spPr>
            <c:extLst>
              <c:ext xmlns:c16="http://schemas.microsoft.com/office/drawing/2014/chart" uri="{C3380CC4-5D6E-409C-BE32-E72D297353CC}">
                <c16:uniqueId val="{0000000B-FA3E-4872-B6E1-C4ABDF5766E2}"/>
              </c:ext>
            </c:extLst>
          </c:dPt>
          <c:dPt>
            <c:idx val="5"/>
            <c:invertIfNegative val="1"/>
            <c:bubble3D val="0"/>
            <c:spPr>
              <a:solidFill>
                <a:srgbClr val="AEABAB"/>
              </a:solidFill>
            </c:spPr>
            <c:extLst>
              <c:ext xmlns:c16="http://schemas.microsoft.com/office/drawing/2014/chart" uri="{C3380CC4-5D6E-409C-BE32-E72D297353CC}">
                <c16:uniqueId val="{0000000D-FA3E-4872-B6E1-C4ABDF5766E2}"/>
              </c:ext>
            </c:extLst>
          </c:dPt>
          <c:dPt>
            <c:idx val="6"/>
            <c:invertIfNegative val="1"/>
            <c:bubble3D val="0"/>
            <c:spPr>
              <a:solidFill>
                <a:srgbClr val="AEABAB"/>
              </a:solidFill>
            </c:spPr>
            <c:extLst>
              <c:ext xmlns:c16="http://schemas.microsoft.com/office/drawing/2014/chart" uri="{C3380CC4-5D6E-409C-BE32-E72D297353CC}">
                <c16:uniqueId val="{0000000F-FA3E-4872-B6E1-C4ABDF5766E2}"/>
              </c:ext>
            </c:extLst>
          </c:dPt>
          <c:dPt>
            <c:idx val="7"/>
            <c:invertIfNegative val="1"/>
            <c:bubble3D val="0"/>
            <c:spPr>
              <a:solidFill>
                <a:srgbClr val="AEABAB"/>
              </a:solidFill>
            </c:spPr>
            <c:extLst>
              <c:ext xmlns:c16="http://schemas.microsoft.com/office/drawing/2014/chart" uri="{C3380CC4-5D6E-409C-BE32-E72D297353CC}">
                <c16:uniqueId val="{00000011-FA3E-4872-B6E1-C4ABDF5766E2}"/>
              </c:ext>
            </c:extLst>
          </c:dPt>
          <c:dPt>
            <c:idx val="8"/>
            <c:invertIfNegative val="1"/>
            <c:bubble3D val="0"/>
            <c:spPr>
              <a:solidFill>
                <a:srgbClr val="AEABAB"/>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10</c:f>
              <c:strCache>
                <c:ptCount val="9"/>
                <c:pt idx="0">
                  <c:v>CHAMPAGNE E.NICOLAS BRUT 1CT X 750ML</c:v>
                </c:pt>
                <c:pt idx="1">
                  <c:v>CHAMPAGNE NICOLAS 1ERE CUVEE 1CT X 750ML</c:v>
                </c:pt>
                <c:pt idx="2">
                  <c:v>1/2 CHAMPAGNE NICOLAS 1ERE CUV 1CT X 375ML</c:v>
                </c:pt>
                <c:pt idx="3">
                  <c:v>MG CHAMPAGNE E.NICOLAS BRUT 1CT X 1500ML</c:v>
                </c:pt>
                <c:pt idx="4">
                  <c:v>CHAMPAGNE NICOLAS BIO NAT 2017 1CT X 750ML</c:v>
                </c:pt>
                <c:pt idx="5">
                  <c:v>MG CHAMPAGNE NICOLAS 1ERE CUVE 1CT X 1500ML</c:v>
                </c:pt>
                <c:pt idx="6">
                  <c:v>CHAMPAGNE NICOLAS 1ERE CUV ETU 1CT X 750ML</c:v>
                </c:pt>
                <c:pt idx="7">
                  <c:v>MG CHAMPAGNE NICOLAS BRUT 1CT X 1500ML</c:v>
                </c:pt>
                <c:pt idx="8">
                  <c:v>1/2 CHAMPAGNE NICOLAS 1E C BS 1CT X 375ML</c:v>
                </c:pt>
              </c:strCache>
            </c:strRef>
          </c:cat>
          <c:val>
            <c:numRef>
              <c:f>Sheet1!$C$2:$C$10</c:f>
              <c:numCache>
                <c:formatCode>General</c:formatCode>
                <c:ptCount val="9"/>
                <c:pt idx="0">
                  <c:v>0.89541287015945326</c:v>
                </c:pt>
                <c:pt idx="1">
                  <c:v>0.94218678815489743</c:v>
                </c:pt>
                <c:pt idx="2">
                  <c:v>0.96556805239179944</c:v>
                </c:pt>
                <c:pt idx="3">
                  <c:v>0.97935933940774478</c:v>
                </c:pt>
                <c:pt idx="4">
                  <c:v>0.9906876423690204</c:v>
                </c:pt>
                <c:pt idx="5">
                  <c:v>0.99768507972665144</c:v>
                </c:pt>
                <c:pt idx="6">
                  <c:v>0.99991173120728927</c:v>
                </c:pt>
                <c:pt idx="7">
                  <c:v>0.99997010250569474</c:v>
                </c:pt>
                <c:pt idx="8">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10</c:f>
              <c:strCache>
                <c:ptCount val="9"/>
                <c:pt idx="0">
                  <c:v>CHAMPAGNE E.NICOLAS BRUT 1CT X 750ML</c:v>
                </c:pt>
                <c:pt idx="1">
                  <c:v>CHAMPAGNE NICOLAS 1ERE CUVEE 1CT X 750ML</c:v>
                </c:pt>
                <c:pt idx="2">
                  <c:v>1/2 CHAMPAGNE NICOLAS 1ERE CUV 1CT X 375ML</c:v>
                </c:pt>
                <c:pt idx="3">
                  <c:v>MG CHAMPAGNE E.NICOLAS BRUT 1CT X 1500ML</c:v>
                </c:pt>
                <c:pt idx="4">
                  <c:v>CHAMPAGNE NICOLAS BIO NAT 2017 1CT X 750ML</c:v>
                </c:pt>
                <c:pt idx="5">
                  <c:v>MG CHAMPAGNE NICOLAS 1ERE CUVE 1CT X 1500ML</c:v>
                </c:pt>
                <c:pt idx="6">
                  <c:v>CHAMPAGNE NICOLAS 1ERE CUV ETU 1CT X 750ML</c:v>
                </c:pt>
                <c:pt idx="7">
                  <c:v>MG CHAMPAGNE NICOLAS BRUT 1CT X 1500ML</c:v>
                </c:pt>
                <c:pt idx="8">
                  <c:v>1/2 CHAMPAGNE NICOLAS 1E C BS 1CT X 375ML</c:v>
                </c:pt>
              </c:strCache>
            </c:strRef>
          </c:cat>
          <c:val>
            <c:numRef>
              <c:f>Sheet1!$D$2:$D$10</c:f>
              <c:numCache>
                <c:formatCode>General</c:formatCode>
                <c:ptCount val="9"/>
                <c:pt idx="0">
                  <c:v>6289.38</c:v>
                </c:pt>
                <c:pt idx="1">
                  <c:v>361.03296703296701</c:v>
                </c:pt>
                <c:pt idx="2">
                  <c:v>364.95555555555558</c:v>
                </c:pt>
                <c:pt idx="3">
                  <c:v>461.28571428571428</c:v>
                </c:pt>
                <c:pt idx="4">
                  <c:v>378.90476190476193</c:v>
                </c:pt>
                <c:pt idx="5">
                  <c:v>409.58333333333331</c:v>
                </c:pt>
                <c:pt idx="6">
                  <c:v>130.33333333333334</c:v>
                </c:pt>
                <c:pt idx="7">
                  <c:v>41</c:v>
                </c:pt>
                <c:pt idx="8">
                  <c:v>21</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10</c:f>
              <c:strCache>
                <c:ptCount val="9"/>
                <c:pt idx="0">
                  <c:v>CHAMPAGNE E.NICOLAS BRUT 1CT X 750ML</c:v>
                </c:pt>
                <c:pt idx="1">
                  <c:v>CHAMPAGNE NICOLAS 1ERE CUVEE 1CT X 750ML</c:v>
                </c:pt>
                <c:pt idx="2">
                  <c:v>1/2 CHAMPAGNE NICOLAS 1ERE CUV 1CT X 375ML</c:v>
                </c:pt>
                <c:pt idx="3">
                  <c:v>MG CHAMPAGNE E.NICOLAS BRUT 1CT X 1500ML</c:v>
                </c:pt>
                <c:pt idx="4">
                  <c:v>CHAMPAGNE NICOLAS BIO NAT 2017 1CT X 750ML</c:v>
                </c:pt>
                <c:pt idx="5">
                  <c:v>MG CHAMPAGNE NICOLAS 1ERE CUVE 1CT X 1500ML</c:v>
                </c:pt>
                <c:pt idx="6">
                  <c:v>CHAMPAGNE NICOLAS 1ERE CUV ETU 1CT X 750ML</c:v>
                </c:pt>
                <c:pt idx="7">
                  <c:v>CHAMPAGNE NICOLAS BIO 2018 1CT X 750ML</c:v>
                </c:pt>
                <c:pt idx="8">
                  <c:v>1/2 CHAMPAGNE NICOLAS 1E C BS 1CT X 375ML</c:v>
                </c:pt>
              </c:strCache>
            </c:strRef>
          </c:cat>
          <c:val>
            <c:numRef>
              <c:f>Sheet1!$B$2:$B$10</c:f>
              <c:numCache>
                <c:formatCode>General</c:formatCode>
                <c:ptCount val="9"/>
                <c:pt idx="0">
                  <c:v>1</c:v>
                </c:pt>
                <c:pt idx="1">
                  <c:v>0.77</c:v>
                </c:pt>
                <c:pt idx="2">
                  <c:v>0.36</c:v>
                </c:pt>
                <c:pt idx="3">
                  <c:v>0.17</c:v>
                </c:pt>
                <c:pt idx="4">
                  <c:v>0.18</c:v>
                </c:pt>
                <c:pt idx="5">
                  <c:v>0.06</c:v>
                </c:pt>
                <c:pt idx="6">
                  <c:v>0.16</c:v>
                </c:pt>
                <c:pt idx="7">
                  <c:v>0.02</c:v>
                </c:pt>
                <c:pt idx="8">
                  <c:v>0.01</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7ECAC4"/>
              </a:solidFill>
            </c:spPr>
            <c:extLst>
              <c:ext xmlns:c16="http://schemas.microsoft.com/office/drawing/2014/chart" uri="{C3380CC4-5D6E-409C-BE32-E72D297353CC}">
                <c16:uniqueId val="{00000006-D8F4-40C6-A5E0-DB4B53CFB1F3}"/>
              </c:ext>
            </c:extLst>
          </c:dPt>
          <c:dPt>
            <c:idx val="1"/>
            <c:invertIfNegative val="0"/>
            <c:bubble3D val="0"/>
            <c:spPr>
              <a:solidFill>
                <a:srgbClr val="7ECAC4"/>
              </a:solidFill>
            </c:spPr>
            <c:extLst>
              <c:ext xmlns:c16="http://schemas.microsoft.com/office/drawing/2014/chart" uri="{C3380CC4-5D6E-409C-BE32-E72D297353CC}">
                <c16:uniqueId val="{00000008-D8F4-40C6-A5E0-DB4B53CFB1F3}"/>
              </c:ext>
            </c:extLst>
          </c:dPt>
          <c:dPt>
            <c:idx val="2"/>
            <c:invertIfNegative val="0"/>
            <c:bubble3D val="0"/>
            <c:spPr>
              <a:solidFill>
                <a:srgbClr val="AEABAB"/>
              </a:solidFill>
            </c:spPr>
            <c:extLst>
              <c:ext xmlns:c16="http://schemas.microsoft.com/office/drawing/2014/chart" uri="{C3380CC4-5D6E-409C-BE32-E72D297353CC}">
                <c16:uniqueId val="{00000006-E902-46E2-9A54-39A26B3DFDC1}"/>
              </c:ext>
            </c:extLst>
          </c:dPt>
          <c:dPt>
            <c:idx val="3"/>
            <c:invertIfNegative val="0"/>
            <c:bubble3D val="0"/>
            <c:spPr>
              <a:solidFill>
                <a:srgbClr val="AEABAB"/>
              </a:solidFill>
            </c:spPr>
            <c:extLst>
              <c:ext xmlns:c16="http://schemas.microsoft.com/office/drawing/2014/chart" uri="{C3380CC4-5D6E-409C-BE32-E72D297353CC}">
                <c16:uniqueId val="{00000007-E902-46E2-9A54-39A26B3DFDC1}"/>
              </c:ext>
            </c:extLst>
          </c:dPt>
          <c:dPt>
            <c:idx val="4"/>
            <c:invertIfNegative val="1"/>
            <c:bubble3D val="0"/>
            <c:spPr>
              <a:solidFill>
                <a:srgbClr val="AEABAB"/>
              </a:solidFill>
            </c:spPr>
            <c:extLst>
              <c:ext xmlns:c16="http://schemas.microsoft.com/office/drawing/2014/chart" uri="{C3380CC4-5D6E-409C-BE32-E72D297353CC}">
                <c16:uniqueId val="{0000000B-FA3E-4872-B6E1-C4ABDF5766E2}"/>
              </c:ext>
            </c:extLst>
          </c:dPt>
          <c:dPt>
            <c:idx val="5"/>
            <c:invertIfNegative val="1"/>
            <c:bubble3D val="0"/>
            <c:spPr>
              <a:solidFill>
                <a:srgbClr val="AEABAB"/>
              </a:solidFill>
            </c:spPr>
            <c:extLst>
              <c:ext xmlns:c16="http://schemas.microsoft.com/office/drawing/2014/chart" uri="{C3380CC4-5D6E-409C-BE32-E72D297353CC}">
                <c16:uniqueId val="{0000000D-FA3E-4872-B6E1-C4ABDF5766E2}"/>
              </c:ext>
            </c:extLst>
          </c:dPt>
          <c:dPt>
            <c:idx val="6"/>
            <c:invertIfNegative val="1"/>
            <c:bubble3D val="0"/>
            <c:spPr>
              <a:solidFill>
                <a:srgbClr val="AEABAB"/>
              </a:solidFill>
            </c:spPr>
            <c:extLst>
              <c:ext xmlns:c16="http://schemas.microsoft.com/office/drawing/2014/chart" uri="{C3380CC4-5D6E-409C-BE32-E72D297353CC}">
                <c16:uniqueId val="{0000000F-FA3E-4872-B6E1-C4ABDF5766E2}"/>
              </c:ext>
            </c:extLst>
          </c:dPt>
          <c:dPt>
            <c:idx val="7"/>
            <c:invertIfNegative val="1"/>
            <c:bubble3D val="0"/>
            <c:spPr>
              <a:solidFill>
                <a:srgbClr val="AEABAB"/>
              </a:solidFill>
            </c:spPr>
            <c:extLst>
              <c:ext xmlns:c16="http://schemas.microsoft.com/office/drawing/2014/chart" uri="{C3380CC4-5D6E-409C-BE32-E72D297353CC}">
                <c16:uniqueId val="{00000011-FA3E-4872-B6E1-C4ABDF5766E2}"/>
              </c:ext>
            </c:extLst>
          </c:dPt>
          <c:dPt>
            <c:idx val="8"/>
            <c:invertIfNegative val="1"/>
            <c:bubble3D val="0"/>
            <c:spPr>
              <a:solidFill>
                <a:srgbClr val="AEABAB"/>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10</c:f>
              <c:strCache>
                <c:ptCount val="9"/>
                <c:pt idx="0">
                  <c:v>CHAMPAGNE E.NICOLAS BRUT 1CT X 750ML</c:v>
                </c:pt>
                <c:pt idx="1">
                  <c:v>CHAMPAGNE NICOLAS 1ERE CUVEE 1CT X 750ML</c:v>
                </c:pt>
                <c:pt idx="2">
                  <c:v>1/2 CHAMPAGNE NICOLAS 1ERE CUV 1CT X 375ML</c:v>
                </c:pt>
                <c:pt idx="3">
                  <c:v>MG CHAMPAGNE E.NICOLAS BRUT 1CT X 1500ML</c:v>
                </c:pt>
                <c:pt idx="4">
                  <c:v>CHAMPAGNE NICOLAS BIO NAT 2017 1CT X 750ML</c:v>
                </c:pt>
                <c:pt idx="5">
                  <c:v>MG CHAMPAGNE NICOLAS 1ERE CUVE 1CT X 1500ML</c:v>
                </c:pt>
                <c:pt idx="6">
                  <c:v>CHAMPAGNE NICOLAS 1ERE CUV ETU 1CT X 750ML</c:v>
                </c:pt>
                <c:pt idx="7">
                  <c:v>CHAMPAGNE NICOLAS BIO 2018 1CT X 750ML</c:v>
                </c:pt>
                <c:pt idx="8">
                  <c:v>1/2 CHAMPAGNE NICOLAS 1E C BS 1CT X 375ML</c:v>
                </c:pt>
              </c:strCache>
            </c:strRef>
          </c:cat>
          <c:val>
            <c:numRef>
              <c:f>Sheet1!$C$2:$C$10</c:f>
              <c:numCache>
                <c:formatCode>General</c:formatCode>
                <c:ptCount val="9"/>
                <c:pt idx="0">
                  <c:v>0.87950238600432873</c:v>
                </c:pt>
                <c:pt idx="1">
                  <c:v>0.93501943689002354</c:v>
                </c:pt>
                <c:pt idx="2">
                  <c:v>0.95622836425685009</c:v>
                </c:pt>
                <c:pt idx="3">
                  <c:v>0.97663871813687164</c:v>
                </c:pt>
                <c:pt idx="4">
                  <c:v>0.98898560809566605</c:v>
                </c:pt>
                <c:pt idx="5">
                  <c:v>0.99733685458282173</c:v>
                </c:pt>
                <c:pt idx="6">
                  <c:v>0.99993800182663284</c:v>
                </c:pt>
                <c:pt idx="7">
                  <c:v>0.99998056773670585</c:v>
                </c:pt>
                <c:pt idx="8">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10</c:f>
              <c:strCache>
                <c:ptCount val="9"/>
                <c:pt idx="0">
                  <c:v>CHAMPAGNE E.NICOLAS BRUT 1CT X 750ML</c:v>
                </c:pt>
                <c:pt idx="1">
                  <c:v>CHAMPAGNE NICOLAS 1ERE CUVEE 1CT X 750ML</c:v>
                </c:pt>
                <c:pt idx="2">
                  <c:v>1/2 CHAMPAGNE NICOLAS 1ERE CUV 1CT X 375ML</c:v>
                </c:pt>
                <c:pt idx="3">
                  <c:v>MG CHAMPAGNE E.NICOLAS BRUT 1CT X 1500ML</c:v>
                </c:pt>
                <c:pt idx="4">
                  <c:v>CHAMPAGNE NICOLAS BIO NAT 2017 1CT X 750ML</c:v>
                </c:pt>
                <c:pt idx="5">
                  <c:v>MG CHAMPAGNE NICOLAS 1ERE CUVE 1CT X 1500ML</c:v>
                </c:pt>
                <c:pt idx="6">
                  <c:v>CHAMPAGNE NICOLAS 1ERE CUV ETU 1CT X 750ML</c:v>
                </c:pt>
                <c:pt idx="7">
                  <c:v>CHAMPAGNE NICOLAS BIO 2018 1CT X 750ML</c:v>
                </c:pt>
                <c:pt idx="8">
                  <c:v>1/2 CHAMPAGNE NICOLAS 1E C BS 1CT X 375ML</c:v>
                </c:pt>
              </c:strCache>
            </c:strRef>
          </c:cat>
          <c:val>
            <c:numRef>
              <c:f>Sheet1!$D$2:$D$10</c:f>
              <c:numCache>
                <c:formatCode>General</c:formatCode>
                <c:ptCount val="9"/>
                <c:pt idx="0">
                  <c:v>9504.58</c:v>
                </c:pt>
                <c:pt idx="1">
                  <c:v>779.16883116883116</c:v>
                </c:pt>
                <c:pt idx="2">
                  <c:v>636.66666666666663</c:v>
                </c:pt>
                <c:pt idx="3">
                  <c:v>1297.4705882352941</c:v>
                </c:pt>
                <c:pt idx="4">
                  <c:v>741.27777777777783</c:v>
                </c:pt>
                <c:pt idx="5">
                  <c:v>1504.1666666666667</c:v>
                </c:pt>
                <c:pt idx="6">
                  <c:v>175.6875</c:v>
                </c:pt>
                <c:pt idx="7">
                  <c:v>23</c:v>
                </c:pt>
                <c:pt idx="8">
                  <c:v>21</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c:f>
              <c:strCache>
                <c:ptCount val="3"/>
                <c:pt idx="0">
                  <c:v>CHAMPAGNE NICOLAS 1ER CRU BS 1CT X 750ML</c:v>
                </c:pt>
                <c:pt idx="1">
                  <c:v>CHAMPAGNE NICOLAS 1ER CRU ETUI 1CT X 750ML</c:v>
                </c:pt>
                <c:pt idx="2">
                  <c:v>MG CHAMPAGNE NICOLAS 1E CRU BS 1CT X 1500ML</c:v>
                </c:pt>
              </c:strCache>
            </c:strRef>
          </c:cat>
          <c:val>
            <c:numRef>
              <c:f>Sheet1!$B$2:$B$4</c:f>
              <c:numCache>
                <c:formatCode>General</c:formatCode>
                <c:ptCount val="3"/>
                <c:pt idx="0">
                  <c:v>0.34699999999999998</c:v>
                </c:pt>
                <c:pt idx="1">
                  <c:v>0.189</c:v>
                </c:pt>
                <c:pt idx="2">
                  <c:v>5.7000000000000002E-2</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7ECAC4"/>
              </a:solidFill>
            </c:spPr>
            <c:extLst>
              <c:ext xmlns:c16="http://schemas.microsoft.com/office/drawing/2014/chart" uri="{C3380CC4-5D6E-409C-BE32-E72D297353CC}">
                <c16:uniqueId val="{00000008-D8F4-40C6-A5E0-DB4B53CFB1F3}"/>
              </c:ext>
            </c:extLst>
          </c:dPt>
          <c:dPt>
            <c:idx val="2"/>
            <c:invertIfNegative val="0"/>
            <c:bubble3D val="0"/>
            <c:spPr>
              <a:solidFill>
                <a:srgbClr val="AEABAB"/>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c:f>
              <c:strCache>
                <c:ptCount val="3"/>
                <c:pt idx="0">
                  <c:v>CHAMPAGNE NICOLAS 1ER CRU BS 1CT X 750ML</c:v>
                </c:pt>
                <c:pt idx="1">
                  <c:v>CHAMPAGNE NICOLAS 1ER CRU ETUI 1CT X 750ML</c:v>
                </c:pt>
                <c:pt idx="2">
                  <c:v>MG CHAMPAGNE NICOLAS 1E CRU BS 1CT X 1500ML</c:v>
                </c:pt>
              </c:strCache>
            </c:strRef>
          </c:cat>
          <c:val>
            <c:numRef>
              <c:f>Sheet1!$C$2:$C$4</c:f>
              <c:numCache>
                <c:formatCode>General</c:formatCode>
                <c:ptCount val="3"/>
                <c:pt idx="0">
                  <c:v>0.57589859251434605</c:v>
                </c:pt>
                <c:pt idx="1">
                  <c:v>0.89174065720729723</c:v>
                </c:pt>
                <c:pt idx="2">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4</c:f>
              <c:strCache>
                <c:ptCount val="3"/>
                <c:pt idx="0">
                  <c:v>CHAMPAGNE NICOLAS 1ER CRU BS 1CT X 750ML</c:v>
                </c:pt>
                <c:pt idx="1">
                  <c:v>CHAMPAGNE NICOLAS 1ER CRU ETUI 1CT X 750ML</c:v>
                </c:pt>
                <c:pt idx="2">
                  <c:v>MG CHAMPAGNE NICOLAS 1E CRU BS 1CT X 1500ML</c:v>
                </c:pt>
              </c:strCache>
            </c:strRef>
          </c:cat>
          <c:val>
            <c:numRef>
              <c:f>Sheet1!$D$2:$D$4</c:f>
              <c:numCache>
                <c:formatCode>General</c:formatCode>
                <c:ptCount val="3"/>
                <c:pt idx="0">
                  <c:v>1162.6512968299712</c:v>
                </c:pt>
                <c:pt idx="1">
                  <c:v>1170.6878306878307</c:v>
                </c:pt>
                <c:pt idx="2">
                  <c:v>1330.5263157894738</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c:f>
              <c:strCache>
                <c:ptCount val="3"/>
                <c:pt idx="0">
                  <c:v>CHAMPAGNE NICOLAS 1ER CRU BS 1CT X 750ML</c:v>
                </c:pt>
                <c:pt idx="1">
                  <c:v>CHAMPAGNE NICOLAS 1ER CRU ETUI 1CT X 750ML</c:v>
                </c:pt>
                <c:pt idx="2">
                  <c:v>MG CHAMPAGNE NICOLAS 1E CRU BS 1CT X 1500ML</c:v>
                </c:pt>
              </c:strCache>
            </c:strRef>
          </c:cat>
          <c:val>
            <c:numRef>
              <c:f>Sheet1!$B$2:$B$4</c:f>
              <c:numCache>
                <c:formatCode>General</c:formatCode>
                <c:ptCount val="3"/>
                <c:pt idx="0">
                  <c:v>0.32</c:v>
                </c:pt>
                <c:pt idx="1">
                  <c:v>0.18</c:v>
                </c:pt>
                <c:pt idx="2">
                  <c:v>0.04</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7ECAC4"/>
              </a:solidFill>
            </c:spPr>
            <c:extLst>
              <c:ext xmlns:c16="http://schemas.microsoft.com/office/drawing/2014/chart" uri="{C3380CC4-5D6E-409C-BE32-E72D297353CC}">
                <c16:uniqueId val="{00000008-D8F4-40C6-A5E0-DB4B53CFB1F3}"/>
              </c:ext>
            </c:extLst>
          </c:dPt>
          <c:dPt>
            <c:idx val="2"/>
            <c:invertIfNegative val="0"/>
            <c:bubble3D val="0"/>
            <c:spPr>
              <a:solidFill>
                <a:srgbClr val="AEABAB"/>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c:f>
              <c:strCache>
                <c:ptCount val="3"/>
                <c:pt idx="0">
                  <c:v>CHAMPAGNE NICOLAS 1ER CRU BS 1CT X 750ML</c:v>
                </c:pt>
                <c:pt idx="1">
                  <c:v>CHAMPAGNE NICOLAS 1ER CRU ETUI 1CT X 750ML</c:v>
                </c:pt>
                <c:pt idx="2">
                  <c:v>MG CHAMPAGNE NICOLAS 1E CRU BS 1CT X 1500ML</c:v>
                </c:pt>
              </c:strCache>
            </c:strRef>
          </c:cat>
          <c:val>
            <c:numRef>
              <c:f>Sheet1!$C$2:$C$4</c:f>
              <c:numCache>
                <c:formatCode>General</c:formatCode>
                <c:ptCount val="3"/>
                <c:pt idx="0">
                  <c:v>0.54876656402449575</c:v>
                </c:pt>
                <c:pt idx="1">
                  <c:v>0.85821541016503478</c:v>
                </c:pt>
                <c:pt idx="2">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4</c:f>
              <c:strCache>
                <c:ptCount val="3"/>
                <c:pt idx="0">
                  <c:v>CHAMPAGNE NICOLAS 1ER CRU BS 1CT X 750ML</c:v>
                </c:pt>
                <c:pt idx="1">
                  <c:v>CHAMPAGNE NICOLAS 1ER CRU ETUI 1CT X 750ML</c:v>
                </c:pt>
                <c:pt idx="2">
                  <c:v>MG CHAMPAGNE NICOLAS 1E CRU BS 1CT X 1500ML</c:v>
                </c:pt>
              </c:strCache>
            </c:strRef>
          </c:cat>
          <c:val>
            <c:numRef>
              <c:f>Sheet1!$D$2:$D$4</c:f>
              <c:numCache>
                <c:formatCode>General</c:formatCode>
                <c:ptCount val="3"/>
                <c:pt idx="0">
                  <c:v>495.65625</c:v>
                </c:pt>
                <c:pt idx="1">
                  <c:v>496.88888888888891</c:v>
                </c:pt>
                <c:pt idx="2">
                  <c:v>1024.5</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c:f>
              <c:strCache>
                <c:ptCount val="3"/>
                <c:pt idx="0">
                  <c:v>CHAMPAGNE NICOLAS 1ER CRU BS 1CT X 750ML</c:v>
                </c:pt>
                <c:pt idx="1">
                  <c:v>CHAMPAGNE NICOLAS 1ER CRU ETUI 1CT X 750ML</c:v>
                </c:pt>
                <c:pt idx="2">
                  <c:v>MG CHAMPAGNE NICOLAS 1E CRU BS 1CT X 1500ML</c:v>
                </c:pt>
              </c:strCache>
            </c:strRef>
          </c:cat>
          <c:val>
            <c:numRef>
              <c:f>Sheet1!$B$2:$B$4</c:f>
              <c:numCache>
                <c:formatCode>General</c:formatCode>
                <c:ptCount val="3"/>
                <c:pt idx="0">
                  <c:v>0.46</c:v>
                </c:pt>
                <c:pt idx="1">
                  <c:v>0.11</c:v>
                </c:pt>
                <c:pt idx="2">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7ECAC4"/>
              </a:solidFill>
            </c:spPr>
            <c:extLst>
              <c:ext xmlns:c16="http://schemas.microsoft.com/office/drawing/2014/chart" uri="{C3380CC4-5D6E-409C-BE32-E72D297353CC}">
                <c16:uniqueId val="{00000008-D8F4-40C6-A5E0-DB4B53CFB1F3}"/>
              </c:ext>
            </c:extLst>
          </c:dPt>
          <c:dPt>
            <c:idx val="2"/>
            <c:invertIfNegative val="0"/>
            <c:bubble3D val="0"/>
            <c:spPr>
              <a:solidFill>
                <a:srgbClr val="AEABAB"/>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c:f>
              <c:strCache>
                <c:ptCount val="3"/>
                <c:pt idx="0">
                  <c:v>CHAMPAGNE NICOLAS 1ER CRU BS 1CT X 750ML</c:v>
                </c:pt>
                <c:pt idx="1">
                  <c:v>CHAMPAGNE NICOLAS 1ER CRU ETUI 1CT X 750ML</c:v>
                </c:pt>
                <c:pt idx="2">
                  <c:v>MG CHAMPAGNE NICOLAS 1E CRU BS 1CT X 1500ML</c:v>
                </c:pt>
              </c:strCache>
            </c:strRef>
          </c:cat>
          <c:val>
            <c:numRef>
              <c:f>Sheet1!$C$2:$C$4</c:f>
              <c:numCache>
                <c:formatCode>General</c:formatCode>
                <c:ptCount val="3"/>
                <c:pt idx="0">
                  <c:v>0.68386734120292292</c:v>
                </c:pt>
                <c:pt idx="1">
                  <c:v>0.89359190556492407</c:v>
                </c:pt>
                <c:pt idx="2">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4</c:f>
              <c:strCache>
                <c:ptCount val="3"/>
                <c:pt idx="0">
                  <c:v>CHAMPAGNE NICOLAS 1ER CRU BS 1CT X 750ML</c:v>
                </c:pt>
                <c:pt idx="1">
                  <c:v>CHAMPAGNE NICOLAS 1ER CRU ETUI 1CT X 750ML</c:v>
                </c:pt>
                <c:pt idx="2">
                  <c:v>MG CHAMPAGNE NICOLAS 1E CRU BS 1CT X 1500ML</c:v>
                </c:pt>
              </c:strCache>
            </c:strRef>
          </c:cat>
          <c:val>
            <c:numRef>
              <c:f>Sheet1!$D$2:$D$4</c:f>
              <c:numCache>
                <c:formatCode>General</c:formatCode>
                <c:ptCount val="3"/>
                <c:pt idx="0">
                  <c:v>264.47826086956519</c:v>
                </c:pt>
                <c:pt idx="1">
                  <c:v>339.18181818181819</c:v>
                </c:pt>
                <c:pt idx="2">
                  <c:v>210.33333333333334</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c:f>
              <c:strCache>
                <c:ptCount val="3"/>
                <c:pt idx="0">
                  <c:v>CHAMPAGNE NICOLAS 1ER CRU BS 1CT X 750ML</c:v>
                </c:pt>
                <c:pt idx="1">
                  <c:v>CHAMPAGNE NICOLAS 1ER CRU ETUI 1CT X 750ML</c:v>
                </c:pt>
                <c:pt idx="2">
                  <c:v>MG CHAMPAGNE NICOLAS 1E CRU BS 1CT X 1500ML</c:v>
                </c:pt>
              </c:strCache>
            </c:strRef>
          </c:cat>
          <c:val>
            <c:numRef>
              <c:f>Sheet1!$B$2:$B$4</c:f>
              <c:numCache>
                <c:formatCode>General</c:formatCode>
                <c:ptCount val="3"/>
                <c:pt idx="0">
                  <c:v>0.39</c:v>
                </c:pt>
                <c:pt idx="1">
                  <c:v>0.16</c:v>
                </c:pt>
                <c:pt idx="2">
                  <c:v>0.08</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7ECAC4"/>
              </a:solidFill>
            </c:spPr>
            <c:extLst>
              <c:ext xmlns:c16="http://schemas.microsoft.com/office/drawing/2014/chart" uri="{C3380CC4-5D6E-409C-BE32-E72D297353CC}">
                <c16:uniqueId val="{00000008-D8F4-40C6-A5E0-DB4B53CFB1F3}"/>
              </c:ext>
            </c:extLst>
          </c:dPt>
          <c:dPt>
            <c:idx val="2"/>
            <c:invertIfNegative val="0"/>
            <c:bubble3D val="0"/>
            <c:spPr>
              <a:solidFill>
                <a:srgbClr val="AEABAB"/>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c:f>
              <c:strCache>
                <c:ptCount val="3"/>
                <c:pt idx="0">
                  <c:v>CHAMPAGNE NICOLAS 1ER CRU BS 1CT X 750ML</c:v>
                </c:pt>
                <c:pt idx="1">
                  <c:v>CHAMPAGNE NICOLAS 1ER CRU ETUI 1CT X 750ML</c:v>
                </c:pt>
                <c:pt idx="2">
                  <c:v>MG CHAMPAGNE NICOLAS 1E CRU BS 1CT X 1500ML</c:v>
                </c:pt>
              </c:strCache>
            </c:strRef>
          </c:cat>
          <c:val>
            <c:numRef>
              <c:f>Sheet1!$C$2:$C$4</c:f>
              <c:numCache>
                <c:formatCode>General</c:formatCode>
                <c:ptCount val="3"/>
                <c:pt idx="0">
                  <c:v>0.54723707664884136</c:v>
                </c:pt>
                <c:pt idx="1">
                  <c:v>0.94789524201288899</c:v>
                </c:pt>
                <c:pt idx="2">
                  <c:v>0.99999999999999989</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4</c:f>
              <c:strCache>
                <c:ptCount val="3"/>
                <c:pt idx="0">
                  <c:v>CHAMPAGNE NICOLAS 1ER CRU BS 1CT X 750ML</c:v>
                </c:pt>
                <c:pt idx="1">
                  <c:v>CHAMPAGNE NICOLAS 1ER CRU ETUI 1CT X 750ML</c:v>
                </c:pt>
                <c:pt idx="2">
                  <c:v>MG CHAMPAGNE NICOLAS 1E CRU BS 1CT X 1500ML</c:v>
                </c:pt>
              </c:strCache>
            </c:strRef>
          </c:cat>
          <c:val>
            <c:numRef>
              <c:f>Sheet1!$D$2:$D$4</c:f>
              <c:numCache>
                <c:formatCode>General</c:formatCode>
                <c:ptCount val="3"/>
                <c:pt idx="0">
                  <c:v>102.33333333333333</c:v>
                </c:pt>
                <c:pt idx="1">
                  <c:v>182.625</c:v>
                </c:pt>
                <c:pt idx="2">
                  <c:v>47.5</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c:f>
              <c:strCache>
                <c:ptCount val="3"/>
                <c:pt idx="0">
                  <c:v>CHAMPAGNE NICOLAS 1ER CRU ETUI 1CT X 750ML</c:v>
                </c:pt>
                <c:pt idx="1">
                  <c:v>CHAMPAGNE NICOLAS 1ER CRU BS 1CT X 750ML</c:v>
                </c:pt>
                <c:pt idx="2">
                  <c:v>MG CHAMPAGNE NICOLAS 1E CRU BS 1CT X 1500ML</c:v>
                </c:pt>
              </c:strCache>
            </c:strRef>
          </c:cat>
          <c:val>
            <c:numRef>
              <c:f>Sheet1!$B$2:$B$4</c:f>
              <c:numCache>
                <c:formatCode>General</c:formatCode>
                <c:ptCount val="3"/>
                <c:pt idx="0">
                  <c:v>0.4</c:v>
                </c:pt>
                <c:pt idx="1">
                  <c:v>0.2</c:v>
                </c:pt>
                <c:pt idx="2">
                  <c:v>0.08</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7ECAC4"/>
              </a:solidFill>
            </c:spPr>
            <c:extLst>
              <c:ext xmlns:c16="http://schemas.microsoft.com/office/drawing/2014/chart" uri="{C3380CC4-5D6E-409C-BE32-E72D297353CC}">
                <c16:uniqueId val="{00000008-D8F4-40C6-A5E0-DB4B53CFB1F3}"/>
              </c:ext>
            </c:extLst>
          </c:dPt>
          <c:dPt>
            <c:idx val="2"/>
            <c:invertIfNegative val="0"/>
            <c:bubble3D val="0"/>
            <c:spPr>
              <a:solidFill>
                <a:srgbClr val="AEABAB"/>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c:f>
              <c:strCache>
                <c:ptCount val="3"/>
                <c:pt idx="0">
                  <c:v>CHAMPAGNE NICOLAS 1ER CRU ETUI 1CT X 750ML</c:v>
                </c:pt>
                <c:pt idx="1">
                  <c:v>CHAMPAGNE NICOLAS 1ER CRU BS 1CT X 750ML</c:v>
                </c:pt>
                <c:pt idx="2">
                  <c:v>MG CHAMPAGNE NICOLAS 1E CRU BS 1CT X 1500ML</c:v>
                </c:pt>
              </c:strCache>
            </c:strRef>
          </c:cat>
          <c:val>
            <c:numRef>
              <c:f>Sheet1!$C$2:$C$4</c:f>
              <c:numCache>
                <c:formatCode>General</c:formatCode>
                <c:ptCount val="3"/>
                <c:pt idx="0">
                  <c:v>0.5109504132231405</c:v>
                </c:pt>
                <c:pt idx="1">
                  <c:v>0.90578512396694211</c:v>
                </c:pt>
                <c:pt idx="2">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4</c:f>
              <c:strCache>
                <c:ptCount val="3"/>
                <c:pt idx="0">
                  <c:v>CHAMPAGNE NICOLAS 1ER CRU ETUI 1CT X 750ML</c:v>
                </c:pt>
                <c:pt idx="1">
                  <c:v>CHAMPAGNE NICOLAS 1ER CRU BS 1CT X 750ML</c:v>
                </c:pt>
                <c:pt idx="2">
                  <c:v>MG CHAMPAGNE NICOLAS 1E CRU BS 1CT X 1500ML</c:v>
                </c:pt>
              </c:strCache>
            </c:strRef>
          </c:cat>
          <c:val>
            <c:numRef>
              <c:f>Sheet1!$D$2:$D$4</c:f>
              <c:numCache>
                <c:formatCode>General</c:formatCode>
                <c:ptCount val="3"/>
                <c:pt idx="0">
                  <c:v>61.825000000000003</c:v>
                </c:pt>
                <c:pt idx="1">
                  <c:v>95.55</c:v>
                </c:pt>
                <c:pt idx="2">
                  <c:v>57</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c:f>
              <c:strCache>
                <c:ptCount val="3"/>
                <c:pt idx="0">
                  <c:v>CHAMPAGNE NICOLAS 1ER CRU BS 1CT X 750ML</c:v>
                </c:pt>
                <c:pt idx="1">
                  <c:v>CHAMPAGNE NICOLAS 1ER CRU ETUI 1CT X 750ML</c:v>
                </c:pt>
                <c:pt idx="2">
                  <c:v>MG CHAMPAGNE NICOLAS 1E CRU BS 1CT X 1500ML</c:v>
                </c:pt>
              </c:strCache>
            </c:strRef>
          </c:cat>
          <c:val>
            <c:numRef>
              <c:f>Sheet1!$B$2:$B$4</c:f>
              <c:numCache>
                <c:formatCode>General</c:formatCode>
                <c:ptCount val="3"/>
                <c:pt idx="0">
                  <c:v>0.16</c:v>
                </c:pt>
                <c:pt idx="1">
                  <c:v>0.21</c:v>
                </c:pt>
                <c:pt idx="2">
                  <c:v>0.03</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7ECAC4"/>
              </a:solidFill>
            </c:spPr>
            <c:extLst>
              <c:ext xmlns:c16="http://schemas.microsoft.com/office/drawing/2014/chart" uri="{C3380CC4-5D6E-409C-BE32-E72D297353CC}">
                <c16:uniqueId val="{00000008-D8F4-40C6-A5E0-DB4B53CFB1F3}"/>
              </c:ext>
            </c:extLst>
          </c:dPt>
          <c:dPt>
            <c:idx val="2"/>
            <c:invertIfNegative val="0"/>
            <c:bubble3D val="0"/>
            <c:spPr>
              <a:solidFill>
                <a:srgbClr val="AEABAB"/>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c:f>
              <c:strCache>
                <c:ptCount val="3"/>
                <c:pt idx="0">
                  <c:v>CHAMPAGNE NICOLAS 1ER CRU BS 1CT X 750ML</c:v>
                </c:pt>
                <c:pt idx="1">
                  <c:v>CHAMPAGNE NICOLAS 1ER CRU ETUI 1CT X 750ML</c:v>
                </c:pt>
                <c:pt idx="2">
                  <c:v>MG CHAMPAGNE NICOLAS 1E CRU BS 1CT X 1500ML</c:v>
                </c:pt>
              </c:strCache>
            </c:strRef>
          </c:cat>
          <c:val>
            <c:numRef>
              <c:f>Sheet1!$C$2:$C$4</c:f>
              <c:numCache>
                <c:formatCode>General</c:formatCode>
                <c:ptCount val="3"/>
                <c:pt idx="0">
                  <c:v>0.4899302865995353</c:v>
                </c:pt>
                <c:pt idx="1">
                  <c:v>0.94151820294345479</c:v>
                </c:pt>
                <c:pt idx="2">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4</c:f>
              <c:strCache>
                <c:ptCount val="3"/>
                <c:pt idx="0">
                  <c:v>CHAMPAGNE NICOLAS 1ER CRU BS 1CT X 750ML</c:v>
                </c:pt>
                <c:pt idx="1">
                  <c:v>CHAMPAGNE NICOLAS 1ER CRU ETUI 1CT X 750ML</c:v>
                </c:pt>
                <c:pt idx="2">
                  <c:v>MG CHAMPAGNE NICOLAS 1E CRU BS 1CT X 1500ML</c:v>
                </c:pt>
              </c:strCache>
            </c:strRef>
          </c:cat>
          <c:val>
            <c:numRef>
              <c:f>Sheet1!$D$2:$D$4</c:f>
              <c:numCache>
                <c:formatCode>General</c:formatCode>
                <c:ptCount val="3"/>
                <c:pt idx="0">
                  <c:v>79.0625</c:v>
                </c:pt>
                <c:pt idx="1">
                  <c:v>55.523809523809526</c:v>
                </c:pt>
                <c:pt idx="2">
                  <c:v>50.333333333333336</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c:f>
              <c:strCache>
                <c:ptCount val="3"/>
                <c:pt idx="0">
                  <c:v>CHAMPAGNE NICOLAS 1ER CRU BS 1CT X 750ML</c:v>
                </c:pt>
                <c:pt idx="1">
                  <c:v>CHAMPAGNE NICOLAS 1ER CRU ETUI 1CT X 750ML</c:v>
                </c:pt>
                <c:pt idx="2">
                  <c:v>MG CHAMPAGNE NICOLAS 1E CRU BS 1CT X 1500ML</c:v>
                </c:pt>
              </c:strCache>
            </c:strRef>
          </c:cat>
          <c:val>
            <c:numRef>
              <c:f>Sheet1!$B$2:$B$4</c:f>
              <c:numCache>
                <c:formatCode>General</c:formatCode>
                <c:ptCount val="3"/>
                <c:pt idx="0">
                  <c:v>0.32</c:v>
                </c:pt>
                <c:pt idx="1">
                  <c:v>0.18</c:v>
                </c:pt>
                <c:pt idx="2">
                  <c:v>0.04</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7ECAC4"/>
              </a:solidFill>
            </c:spPr>
            <c:extLst>
              <c:ext xmlns:c16="http://schemas.microsoft.com/office/drawing/2014/chart" uri="{C3380CC4-5D6E-409C-BE32-E72D297353CC}">
                <c16:uniqueId val="{00000008-D8F4-40C6-A5E0-DB4B53CFB1F3}"/>
              </c:ext>
            </c:extLst>
          </c:dPt>
          <c:dPt>
            <c:idx val="2"/>
            <c:invertIfNegative val="0"/>
            <c:bubble3D val="0"/>
            <c:spPr>
              <a:solidFill>
                <a:srgbClr val="AEABAB"/>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c:f>
              <c:strCache>
                <c:ptCount val="3"/>
                <c:pt idx="0">
                  <c:v>CHAMPAGNE NICOLAS 1ER CRU BS 1CT X 750ML</c:v>
                </c:pt>
                <c:pt idx="1">
                  <c:v>CHAMPAGNE NICOLAS 1ER CRU ETUI 1CT X 750ML</c:v>
                </c:pt>
                <c:pt idx="2">
                  <c:v>MG CHAMPAGNE NICOLAS 1E CRU BS 1CT X 1500ML</c:v>
                </c:pt>
              </c:strCache>
            </c:strRef>
          </c:cat>
          <c:val>
            <c:numRef>
              <c:f>Sheet1!$C$2:$C$4</c:f>
              <c:numCache>
                <c:formatCode>General</c:formatCode>
                <c:ptCount val="3"/>
                <c:pt idx="0">
                  <c:v>0.54029360210341804</c:v>
                </c:pt>
                <c:pt idx="1">
                  <c:v>0.89189307624890446</c:v>
                </c:pt>
                <c:pt idx="2">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4</c:f>
              <c:strCache>
                <c:ptCount val="3"/>
                <c:pt idx="0">
                  <c:v>CHAMPAGNE NICOLAS 1ER CRU BS 1CT X 750ML</c:v>
                </c:pt>
                <c:pt idx="1">
                  <c:v>CHAMPAGNE NICOLAS 1ER CRU ETUI 1CT X 750ML</c:v>
                </c:pt>
                <c:pt idx="2">
                  <c:v>MG CHAMPAGNE NICOLAS 1E CRU BS 1CT X 1500ML</c:v>
                </c:pt>
              </c:strCache>
            </c:strRef>
          </c:cat>
          <c:val>
            <c:numRef>
              <c:f>Sheet1!$D$2:$D$4</c:f>
              <c:numCache>
                <c:formatCode>General</c:formatCode>
                <c:ptCount val="3"/>
                <c:pt idx="0">
                  <c:v>770.59375</c:v>
                </c:pt>
                <c:pt idx="1">
                  <c:v>891.5</c:v>
                </c:pt>
                <c:pt idx="2">
                  <c:v>1233.5</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c:f>
              <c:strCache>
                <c:ptCount val="3"/>
                <c:pt idx="0">
                  <c:v>CHAMPAGNE NICOLAS 1ER CRU BS 1CT X 750ML</c:v>
                </c:pt>
                <c:pt idx="1">
                  <c:v>CHAMPAGNE NICOLAS 1ER CRU ETUI 1CT X 750ML</c:v>
                </c:pt>
                <c:pt idx="2">
                  <c:v>MG CHAMPAGNE NICOLAS 1E CRU BS 1CT X 1500ML</c:v>
                </c:pt>
              </c:strCache>
            </c:strRef>
          </c:cat>
          <c:val>
            <c:numRef>
              <c:f>Sheet1!$B$2:$B$4</c:f>
              <c:numCache>
                <c:formatCode>General</c:formatCode>
                <c:ptCount val="3"/>
                <c:pt idx="0">
                  <c:v>0.25</c:v>
                </c:pt>
                <c:pt idx="1">
                  <c:v>0.16</c:v>
                </c:pt>
                <c:pt idx="2">
                  <c:v>0.04</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AEABAB"/>
              </a:solidFill>
            </c:spPr>
            <c:extLst>
              <c:ext xmlns:c16="http://schemas.microsoft.com/office/drawing/2014/chart" uri="{C3380CC4-5D6E-409C-BE32-E72D297353CC}">
                <c16:uniqueId val="{00000008-D8F4-40C6-A5E0-DB4B53CFB1F3}"/>
              </c:ext>
            </c:extLst>
          </c:dPt>
          <c:dPt>
            <c:idx val="2"/>
            <c:invertIfNegative val="0"/>
            <c:bubble3D val="0"/>
            <c:spPr>
              <a:solidFill>
                <a:srgbClr val="AEABAB"/>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c:f>
              <c:strCache>
                <c:ptCount val="3"/>
                <c:pt idx="0">
                  <c:v>CHAMPAGNE NICOLAS 1ER CRU BS 1CT X 750ML</c:v>
                </c:pt>
                <c:pt idx="1">
                  <c:v>CHAMPAGNE NICOLAS 1ER CRU ETUI 1CT X 750ML</c:v>
                </c:pt>
                <c:pt idx="2">
                  <c:v>MG CHAMPAGNE NICOLAS 1E CRU BS 1CT X 1500ML</c:v>
                </c:pt>
              </c:strCache>
            </c:strRef>
          </c:cat>
          <c:val>
            <c:numRef>
              <c:f>Sheet1!$C$2:$C$4</c:f>
              <c:numCache>
                <c:formatCode>General</c:formatCode>
                <c:ptCount val="3"/>
                <c:pt idx="0">
                  <c:v>0.63413217138707334</c:v>
                </c:pt>
                <c:pt idx="1">
                  <c:v>0.95613652868554833</c:v>
                </c:pt>
                <c:pt idx="2">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4</c:f>
              <c:strCache>
                <c:ptCount val="3"/>
                <c:pt idx="0">
                  <c:v>CHAMPAGNE NICOLAS 1ER CRU BS 1CT X 750ML</c:v>
                </c:pt>
                <c:pt idx="1">
                  <c:v>CHAMPAGNE NICOLAS 1ER CRU ETUI 1CT X 750ML</c:v>
                </c:pt>
                <c:pt idx="2">
                  <c:v>MG CHAMPAGNE NICOLAS 1E CRU BS 1CT X 1500ML</c:v>
                </c:pt>
              </c:strCache>
            </c:strRef>
          </c:cat>
          <c:val>
            <c:numRef>
              <c:f>Sheet1!$D$2:$D$4</c:f>
              <c:numCache>
                <c:formatCode>General</c:formatCode>
                <c:ptCount val="3"/>
                <c:pt idx="0">
                  <c:v>174.64</c:v>
                </c:pt>
                <c:pt idx="1">
                  <c:v>138.5625</c:v>
                </c:pt>
                <c:pt idx="2">
                  <c:v>75.5</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c:f>
              <c:strCache>
                <c:ptCount val="3"/>
                <c:pt idx="0">
                  <c:v>CHAMPAGNE NICOLAS 1ER CRU BS 1CT X 750ML</c:v>
                </c:pt>
                <c:pt idx="1">
                  <c:v>CHAMPAGNE NICOLAS 1ER CRU ETUI 1CT X 750ML</c:v>
                </c:pt>
                <c:pt idx="2">
                  <c:v>MG CHAMPAGNE NICOLAS 1E CRU BS 1CT X 1500ML</c:v>
                </c:pt>
              </c:strCache>
            </c:strRef>
          </c:cat>
          <c:val>
            <c:numRef>
              <c:f>Sheet1!$B$2:$B$4</c:f>
              <c:numCache>
                <c:formatCode>General</c:formatCode>
                <c:ptCount val="3"/>
                <c:pt idx="0">
                  <c:v>0.33</c:v>
                </c:pt>
                <c:pt idx="1">
                  <c:v>0.22</c:v>
                </c:pt>
                <c:pt idx="2">
                  <c:v>0.06</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7ECAC4"/>
              </a:solidFill>
            </c:spPr>
            <c:extLst>
              <c:ext xmlns:c16="http://schemas.microsoft.com/office/drawing/2014/chart" uri="{C3380CC4-5D6E-409C-BE32-E72D297353CC}">
                <c16:uniqueId val="{00000008-D8F4-40C6-A5E0-DB4B53CFB1F3}"/>
              </c:ext>
            </c:extLst>
          </c:dPt>
          <c:dPt>
            <c:idx val="2"/>
            <c:invertIfNegative val="0"/>
            <c:bubble3D val="0"/>
            <c:spPr>
              <a:solidFill>
                <a:srgbClr val="AEABAB"/>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c:f>
              <c:strCache>
                <c:ptCount val="3"/>
                <c:pt idx="0">
                  <c:v>CHAMPAGNE NICOLAS 1ER CRU BS 1CT X 750ML</c:v>
                </c:pt>
                <c:pt idx="1">
                  <c:v>CHAMPAGNE NICOLAS 1ER CRU ETUI 1CT X 750ML</c:v>
                </c:pt>
                <c:pt idx="2">
                  <c:v>MG CHAMPAGNE NICOLAS 1E CRU BS 1CT X 1500ML</c:v>
                </c:pt>
              </c:strCache>
            </c:strRef>
          </c:cat>
          <c:val>
            <c:numRef>
              <c:f>Sheet1!$C$2:$C$4</c:f>
              <c:numCache>
                <c:formatCode>General</c:formatCode>
                <c:ptCount val="3"/>
                <c:pt idx="0">
                  <c:v>0.60968468468468473</c:v>
                </c:pt>
                <c:pt idx="1">
                  <c:v>0.9144144144144144</c:v>
                </c:pt>
                <c:pt idx="2">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4</c:f>
              <c:strCache>
                <c:ptCount val="3"/>
                <c:pt idx="0">
                  <c:v>CHAMPAGNE NICOLAS 1ER CRU BS 1CT X 750ML</c:v>
                </c:pt>
                <c:pt idx="1">
                  <c:v>CHAMPAGNE NICOLAS 1ER CRU ETUI 1CT X 750ML</c:v>
                </c:pt>
                <c:pt idx="2">
                  <c:v>MG CHAMPAGNE NICOLAS 1E CRU BS 1CT X 1500ML</c:v>
                </c:pt>
              </c:strCache>
            </c:strRef>
          </c:cat>
          <c:val>
            <c:numRef>
              <c:f>Sheet1!$D$2:$D$4</c:f>
              <c:numCache>
                <c:formatCode>General</c:formatCode>
                <c:ptCount val="3"/>
                <c:pt idx="0">
                  <c:v>82.030303030303031</c:v>
                </c:pt>
                <c:pt idx="1">
                  <c:v>61.5</c:v>
                </c:pt>
                <c:pt idx="2">
                  <c:v>63.333333333333336</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c:f>
              <c:strCache>
                <c:ptCount val="3"/>
                <c:pt idx="0">
                  <c:v>CHAMPAGNE NICOLAS 1ER CRU BS 1CT X 750ML</c:v>
                </c:pt>
                <c:pt idx="1">
                  <c:v>MG CHAMPAGNE NICOLAS 1E CRU BS 1CT X 1500ML</c:v>
                </c:pt>
                <c:pt idx="2">
                  <c:v>CHAMPAGNE NICOLAS 1ER CRU ETUI 1CT X 750ML</c:v>
                </c:pt>
              </c:strCache>
            </c:strRef>
          </c:cat>
          <c:val>
            <c:numRef>
              <c:f>Sheet1!$B$2:$B$4</c:f>
              <c:numCache>
                <c:formatCode>General</c:formatCode>
                <c:ptCount val="3"/>
                <c:pt idx="0">
                  <c:v>0.38</c:v>
                </c:pt>
                <c:pt idx="1">
                  <c:v>0.13</c:v>
                </c:pt>
                <c:pt idx="2">
                  <c:v>0.13</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7ECAC4"/>
              </a:solidFill>
            </c:spPr>
            <c:extLst>
              <c:ext xmlns:c16="http://schemas.microsoft.com/office/drawing/2014/chart" uri="{C3380CC4-5D6E-409C-BE32-E72D297353CC}">
                <c16:uniqueId val="{00000008-D8F4-40C6-A5E0-DB4B53CFB1F3}"/>
              </c:ext>
            </c:extLst>
          </c:dPt>
          <c:dPt>
            <c:idx val="2"/>
            <c:invertIfNegative val="0"/>
            <c:bubble3D val="0"/>
            <c:spPr>
              <a:solidFill>
                <a:srgbClr val="AEABAB"/>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c:f>
              <c:strCache>
                <c:ptCount val="3"/>
                <c:pt idx="0">
                  <c:v>CHAMPAGNE NICOLAS 1ER CRU BS 1CT X 750ML</c:v>
                </c:pt>
                <c:pt idx="1">
                  <c:v>MG CHAMPAGNE NICOLAS 1E CRU BS 1CT X 1500ML</c:v>
                </c:pt>
                <c:pt idx="2">
                  <c:v>CHAMPAGNE NICOLAS 1ER CRU ETUI 1CT X 750ML</c:v>
                </c:pt>
              </c:strCache>
            </c:strRef>
          </c:cat>
          <c:val>
            <c:numRef>
              <c:f>Sheet1!$C$2:$C$4</c:f>
              <c:numCache>
                <c:formatCode>General</c:formatCode>
                <c:ptCount val="3"/>
                <c:pt idx="0">
                  <c:v>0.59136098731573539</c:v>
                </c:pt>
                <c:pt idx="1">
                  <c:v>0.82413438464175526</c:v>
                </c:pt>
                <c:pt idx="2">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4</c:f>
              <c:strCache>
                <c:ptCount val="3"/>
                <c:pt idx="0">
                  <c:v>CHAMPAGNE NICOLAS 1ER CRU BS 1CT X 750ML</c:v>
                </c:pt>
                <c:pt idx="1">
                  <c:v>MG CHAMPAGNE NICOLAS 1E CRU BS 1CT X 1500ML</c:v>
                </c:pt>
                <c:pt idx="2">
                  <c:v>CHAMPAGNE NICOLAS 1ER CRU ETUI 1CT X 750ML</c:v>
                </c:pt>
              </c:strCache>
            </c:strRef>
          </c:cat>
          <c:val>
            <c:numRef>
              <c:f>Sheet1!$D$2:$D$4</c:f>
              <c:numCache>
                <c:formatCode>General</c:formatCode>
                <c:ptCount val="3"/>
                <c:pt idx="0">
                  <c:v>45.39473684210526</c:v>
                </c:pt>
                <c:pt idx="1">
                  <c:v>52.230769230769234</c:v>
                </c:pt>
                <c:pt idx="2">
                  <c:v>39.46153846153846</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c:f>
              <c:strCache>
                <c:ptCount val="3"/>
                <c:pt idx="0">
                  <c:v>CHAMPAGNE NICOLAS 1ER CRU BS 1CT X 750ML</c:v>
                </c:pt>
                <c:pt idx="1">
                  <c:v>MG CHAMPAGNE NICOLAS 1E CRU BS 1CT X 1500ML</c:v>
                </c:pt>
                <c:pt idx="2">
                  <c:v>CHAMPAGNE NICOLAS 1ER CRU ETUI 1CT X 750ML</c:v>
                </c:pt>
              </c:strCache>
            </c:strRef>
          </c:cat>
          <c:val>
            <c:numRef>
              <c:f>Sheet1!$B$2:$B$4</c:f>
              <c:numCache>
                <c:formatCode>General</c:formatCode>
                <c:ptCount val="3"/>
                <c:pt idx="0">
                  <c:v>0.41</c:v>
                </c:pt>
                <c:pt idx="1">
                  <c:v>0.02</c:v>
                </c:pt>
                <c:pt idx="2">
                  <c:v>0.08</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7ECAC4"/>
              </a:solidFill>
            </c:spPr>
            <c:extLst>
              <c:ext xmlns:c16="http://schemas.microsoft.com/office/drawing/2014/chart" uri="{C3380CC4-5D6E-409C-BE32-E72D297353CC}">
                <c16:uniqueId val="{00000006-D8F4-40C6-A5E0-DB4B53CFB1F3}"/>
              </c:ext>
            </c:extLst>
          </c:dPt>
          <c:dPt>
            <c:idx val="1"/>
            <c:invertIfNegative val="0"/>
            <c:bubble3D val="0"/>
            <c:spPr>
              <a:solidFill>
                <a:srgbClr val="7ECAC4"/>
              </a:solidFill>
            </c:spPr>
            <c:extLst>
              <c:ext xmlns:c16="http://schemas.microsoft.com/office/drawing/2014/chart" uri="{C3380CC4-5D6E-409C-BE32-E72D297353CC}">
                <c16:uniqueId val="{00000008-D8F4-40C6-A5E0-DB4B53CFB1F3}"/>
              </c:ext>
            </c:extLst>
          </c:dPt>
          <c:dPt>
            <c:idx val="2"/>
            <c:invertIfNegative val="0"/>
            <c:bubble3D val="0"/>
            <c:spPr>
              <a:solidFill>
                <a:srgbClr val="AEABAB"/>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c:f>
              <c:strCache>
                <c:ptCount val="3"/>
                <c:pt idx="0">
                  <c:v>CHAMPAGNE NICOLAS 1ER CRU BS 1CT X 750ML</c:v>
                </c:pt>
                <c:pt idx="1">
                  <c:v>MG CHAMPAGNE NICOLAS 1E CRU BS 1CT X 1500ML</c:v>
                </c:pt>
                <c:pt idx="2">
                  <c:v>CHAMPAGNE NICOLAS 1ER CRU ETUI 1CT X 750ML</c:v>
                </c:pt>
              </c:strCache>
            </c:strRef>
          </c:cat>
          <c:val>
            <c:numRef>
              <c:f>Sheet1!$C$2:$C$4</c:f>
              <c:numCache>
                <c:formatCode>General</c:formatCode>
                <c:ptCount val="3"/>
                <c:pt idx="0">
                  <c:v>0.88494208494208504</c:v>
                </c:pt>
                <c:pt idx="1">
                  <c:v>0.9436293436293437</c:v>
                </c:pt>
                <c:pt idx="2">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4</c:f>
              <c:strCache>
                <c:ptCount val="3"/>
                <c:pt idx="0">
                  <c:v>CHAMPAGNE NICOLAS 1ER CRU BS 1CT X 750ML</c:v>
                </c:pt>
                <c:pt idx="1">
                  <c:v>MG CHAMPAGNE NICOLAS 1E CRU BS 1CT X 1500ML</c:v>
                </c:pt>
                <c:pt idx="2">
                  <c:v>CHAMPAGNE NICOLAS 1ER CRU ETUI 1CT X 750ML</c:v>
                </c:pt>
              </c:strCache>
            </c:strRef>
          </c:cat>
          <c:val>
            <c:numRef>
              <c:f>Sheet1!$D$2:$D$4</c:f>
              <c:numCache>
                <c:formatCode>General</c:formatCode>
                <c:ptCount val="3"/>
                <c:pt idx="0">
                  <c:v>27.951219512195124</c:v>
                </c:pt>
                <c:pt idx="1">
                  <c:v>38</c:v>
                </c:pt>
                <c:pt idx="2">
                  <c:v>9.125</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c:f>
              <c:strCache>
                <c:ptCount val="3"/>
                <c:pt idx="0">
                  <c:v>CHAMPAGNE NICOLAS 1ER CRU BS 1CT X 750ML</c:v>
                </c:pt>
                <c:pt idx="1">
                  <c:v>CHAMPAGNE NICOLAS 1ER CRU ETUI 1CT X 750ML</c:v>
                </c:pt>
                <c:pt idx="2">
                  <c:v>MG CHAMPAGNE NICOLAS 1E CRU BS 1CT X 1500ML</c:v>
                </c:pt>
              </c:strCache>
            </c:strRef>
          </c:cat>
          <c:val>
            <c:numRef>
              <c:f>Sheet1!$B$2:$B$4</c:f>
              <c:numCache>
                <c:formatCode>General</c:formatCode>
                <c:ptCount val="3"/>
                <c:pt idx="0">
                  <c:v>0.31</c:v>
                </c:pt>
                <c:pt idx="1">
                  <c:v>0.21</c:v>
                </c:pt>
                <c:pt idx="2">
                  <c:v>7.0000000000000007E-2</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7ECAC4"/>
              </a:solidFill>
            </c:spPr>
            <c:extLst>
              <c:ext xmlns:c16="http://schemas.microsoft.com/office/drawing/2014/chart" uri="{C3380CC4-5D6E-409C-BE32-E72D297353CC}">
                <c16:uniqueId val="{00000008-D8F4-40C6-A5E0-DB4B53CFB1F3}"/>
              </c:ext>
            </c:extLst>
          </c:dPt>
          <c:dPt>
            <c:idx val="2"/>
            <c:invertIfNegative val="0"/>
            <c:bubble3D val="0"/>
            <c:spPr>
              <a:solidFill>
                <a:srgbClr val="AEABAB"/>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c:f>
              <c:strCache>
                <c:ptCount val="3"/>
                <c:pt idx="0">
                  <c:v>CHAMPAGNE NICOLAS 1ER CRU BS 1CT X 750ML</c:v>
                </c:pt>
                <c:pt idx="1">
                  <c:v>CHAMPAGNE NICOLAS 1ER CRU ETUI 1CT X 750ML</c:v>
                </c:pt>
                <c:pt idx="2">
                  <c:v>MG CHAMPAGNE NICOLAS 1E CRU BS 1CT X 1500ML</c:v>
                </c:pt>
              </c:strCache>
            </c:strRef>
          </c:cat>
          <c:val>
            <c:numRef>
              <c:f>Sheet1!$C$2:$C$4</c:f>
              <c:numCache>
                <c:formatCode>General</c:formatCode>
                <c:ptCount val="3"/>
                <c:pt idx="0">
                  <c:v>0.44597211463981412</c:v>
                </c:pt>
                <c:pt idx="1">
                  <c:v>0.8678350116189002</c:v>
                </c:pt>
                <c:pt idx="2">
                  <c:v>1.000000000000000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4</c:f>
              <c:strCache>
                <c:ptCount val="3"/>
                <c:pt idx="0">
                  <c:v>CHAMPAGNE NICOLAS 1ER CRU BS 1CT X 750ML</c:v>
                </c:pt>
                <c:pt idx="1">
                  <c:v>CHAMPAGNE NICOLAS 1ER CRU ETUI 1CT X 750ML</c:v>
                </c:pt>
                <c:pt idx="2">
                  <c:v>MG CHAMPAGNE NICOLAS 1E CRU BS 1CT X 1500ML</c:v>
                </c:pt>
              </c:strCache>
            </c:strRef>
          </c:cat>
          <c:val>
            <c:numRef>
              <c:f>Sheet1!$D$2:$D$4</c:f>
              <c:numCache>
                <c:formatCode>General</c:formatCode>
                <c:ptCount val="3"/>
                <c:pt idx="0">
                  <c:v>148.58064516129033</c:v>
                </c:pt>
                <c:pt idx="1">
                  <c:v>207.47619047619048</c:v>
                </c:pt>
                <c:pt idx="2">
                  <c:v>194.99999999999997</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c:f>
              <c:strCache>
                <c:ptCount val="3"/>
                <c:pt idx="0">
                  <c:v>CHAMPAGNE NICOLAS 1ER CRU ETUI 1CT X 750ML</c:v>
                </c:pt>
                <c:pt idx="1">
                  <c:v>CHAMPAGNE NICOLAS 1ER CRU BS 1CT X 750ML</c:v>
                </c:pt>
                <c:pt idx="2">
                  <c:v>MG CHAMPAGNE NICOLAS 1E CRU BS 1CT X 1500ML</c:v>
                </c:pt>
              </c:strCache>
            </c:strRef>
          </c:cat>
          <c:val>
            <c:numRef>
              <c:f>Sheet1!$B$2:$B$4</c:f>
              <c:numCache>
                <c:formatCode>General</c:formatCode>
                <c:ptCount val="3"/>
                <c:pt idx="0">
                  <c:v>0.23</c:v>
                </c:pt>
                <c:pt idx="1">
                  <c:v>0.44</c:v>
                </c:pt>
                <c:pt idx="2">
                  <c:v>0.04</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7ECAC4"/>
              </a:solidFill>
            </c:spPr>
            <c:extLst>
              <c:ext xmlns:c16="http://schemas.microsoft.com/office/drawing/2014/chart" uri="{C3380CC4-5D6E-409C-BE32-E72D297353CC}">
                <c16:uniqueId val="{00000008-D8F4-40C6-A5E0-DB4B53CFB1F3}"/>
              </c:ext>
            </c:extLst>
          </c:dPt>
          <c:dPt>
            <c:idx val="2"/>
            <c:invertIfNegative val="0"/>
            <c:bubble3D val="0"/>
            <c:spPr>
              <a:solidFill>
                <a:srgbClr val="AEABAB"/>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c:f>
              <c:strCache>
                <c:ptCount val="3"/>
                <c:pt idx="0">
                  <c:v>CHAMPAGNE NICOLAS 1ER CRU ETUI 1CT X 750ML</c:v>
                </c:pt>
                <c:pt idx="1">
                  <c:v>CHAMPAGNE NICOLAS 1ER CRU BS 1CT X 750ML</c:v>
                </c:pt>
                <c:pt idx="2">
                  <c:v>MG CHAMPAGNE NICOLAS 1E CRU BS 1CT X 1500ML</c:v>
                </c:pt>
              </c:strCache>
            </c:strRef>
          </c:cat>
          <c:val>
            <c:numRef>
              <c:f>Sheet1!$C$2:$C$4</c:f>
              <c:numCache>
                <c:formatCode>General</c:formatCode>
                <c:ptCount val="3"/>
                <c:pt idx="0">
                  <c:v>0.46959557753855108</c:v>
                </c:pt>
                <c:pt idx="1">
                  <c:v>0.91213267384346819</c:v>
                </c:pt>
                <c:pt idx="2">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4</c:f>
              <c:strCache>
                <c:ptCount val="3"/>
                <c:pt idx="0">
                  <c:v>CHAMPAGNE NICOLAS 1ER CRU ETUI 1CT X 750ML</c:v>
                </c:pt>
                <c:pt idx="1">
                  <c:v>CHAMPAGNE NICOLAS 1ER CRU BS 1CT X 750ML</c:v>
                </c:pt>
                <c:pt idx="2">
                  <c:v>MG CHAMPAGNE NICOLAS 1E CRU BS 1CT X 1500ML</c:v>
                </c:pt>
              </c:strCache>
            </c:strRef>
          </c:cat>
          <c:val>
            <c:numRef>
              <c:f>Sheet1!$D$2:$D$4</c:f>
              <c:numCache>
                <c:formatCode>General</c:formatCode>
                <c:ptCount val="3"/>
                <c:pt idx="0">
                  <c:v>210.52173913043478</c:v>
                </c:pt>
                <c:pt idx="1">
                  <c:v>103.70454545454545</c:v>
                </c:pt>
                <c:pt idx="2">
                  <c:v>226.5</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c:f>
              <c:strCache>
                <c:ptCount val="3"/>
                <c:pt idx="0">
                  <c:v>CHAMPAGNE NICOLAS 1ER CRU BS 1CT X 750ML</c:v>
                </c:pt>
                <c:pt idx="1">
                  <c:v>CHAMPAGNE NICOLAS 1ER CRU ETUI 1CT X 750ML</c:v>
                </c:pt>
                <c:pt idx="2">
                  <c:v>MG CHAMPAGNE NICOLAS 1E CRU BS 1CT X 1500ML</c:v>
                </c:pt>
              </c:strCache>
            </c:strRef>
          </c:cat>
          <c:val>
            <c:numRef>
              <c:f>Sheet1!$B$2:$B$4</c:f>
              <c:numCache>
                <c:formatCode>General</c:formatCode>
                <c:ptCount val="3"/>
                <c:pt idx="0">
                  <c:v>0.28000000000000003</c:v>
                </c:pt>
                <c:pt idx="1">
                  <c:v>0.19</c:v>
                </c:pt>
                <c:pt idx="2">
                  <c:v>0.05</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7ECAC4"/>
              </a:solidFill>
            </c:spPr>
            <c:extLst>
              <c:ext xmlns:c16="http://schemas.microsoft.com/office/drawing/2014/chart" uri="{C3380CC4-5D6E-409C-BE32-E72D297353CC}">
                <c16:uniqueId val="{00000008-D8F4-40C6-A5E0-DB4B53CFB1F3}"/>
              </c:ext>
            </c:extLst>
          </c:dPt>
          <c:dPt>
            <c:idx val="2"/>
            <c:invertIfNegative val="0"/>
            <c:bubble3D val="0"/>
            <c:spPr>
              <a:solidFill>
                <a:srgbClr val="AEABAB"/>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c:f>
              <c:strCache>
                <c:ptCount val="3"/>
                <c:pt idx="0">
                  <c:v>CHAMPAGNE NICOLAS 1ER CRU BS 1CT X 750ML</c:v>
                </c:pt>
                <c:pt idx="1">
                  <c:v>CHAMPAGNE NICOLAS 1ER CRU ETUI 1CT X 750ML</c:v>
                </c:pt>
                <c:pt idx="2">
                  <c:v>MG CHAMPAGNE NICOLAS 1E CRU BS 1CT X 1500ML</c:v>
                </c:pt>
              </c:strCache>
            </c:strRef>
          </c:cat>
          <c:val>
            <c:numRef>
              <c:f>Sheet1!$C$2:$C$4</c:f>
              <c:numCache>
                <c:formatCode>General</c:formatCode>
                <c:ptCount val="3"/>
                <c:pt idx="0">
                  <c:v>0.52041950270870962</c:v>
                </c:pt>
                <c:pt idx="1">
                  <c:v>0.93165717460758446</c:v>
                </c:pt>
                <c:pt idx="2">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4</c:f>
              <c:strCache>
                <c:ptCount val="3"/>
                <c:pt idx="0">
                  <c:v>CHAMPAGNE NICOLAS 1ER CRU BS 1CT X 750ML</c:v>
                </c:pt>
                <c:pt idx="1">
                  <c:v>CHAMPAGNE NICOLAS 1ER CRU ETUI 1CT X 750ML</c:v>
                </c:pt>
                <c:pt idx="2">
                  <c:v>MG CHAMPAGNE NICOLAS 1E CRU BS 1CT X 1500ML</c:v>
                </c:pt>
              </c:strCache>
            </c:strRef>
          </c:cat>
          <c:val>
            <c:numRef>
              <c:f>Sheet1!$D$2:$D$4</c:f>
              <c:numCache>
                <c:formatCode>General</c:formatCode>
                <c:ptCount val="3"/>
                <c:pt idx="0">
                  <c:v>267.60714285714283</c:v>
                </c:pt>
                <c:pt idx="1">
                  <c:v>311.63157894736844</c:v>
                </c:pt>
                <c:pt idx="2">
                  <c:v>196.8</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c:f>
              <c:strCache>
                <c:ptCount val="3"/>
                <c:pt idx="0">
                  <c:v>CHAMPAGNE NICOLAS 1ER CRU BS 1CT X 750ML</c:v>
                </c:pt>
                <c:pt idx="1">
                  <c:v>MG CHAMPAGNE NICOLAS 1E CRU BS 1CT X 1500ML</c:v>
                </c:pt>
                <c:pt idx="2">
                  <c:v>CHAMPAGNE NICOLAS 1ER CRU ETUI 1CT X 750ML</c:v>
                </c:pt>
              </c:strCache>
            </c:strRef>
          </c:cat>
          <c:val>
            <c:numRef>
              <c:f>Sheet1!$B$2:$B$4</c:f>
              <c:numCache>
                <c:formatCode>General</c:formatCode>
                <c:ptCount val="3"/>
                <c:pt idx="0">
                  <c:v>0.43</c:v>
                </c:pt>
                <c:pt idx="1">
                  <c:v>0.04</c:v>
                </c:pt>
                <c:pt idx="2">
                  <c:v>0.02</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7ECAC4"/>
              </a:solidFill>
            </c:spPr>
            <c:extLst>
              <c:ext xmlns:c16="http://schemas.microsoft.com/office/drawing/2014/chart" uri="{C3380CC4-5D6E-409C-BE32-E72D297353CC}">
                <c16:uniqueId val="{00000008-D8F4-40C6-A5E0-DB4B53CFB1F3}"/>
              </c:ext>
            </c:extLst>
          </c:dPt>
          <c:dPt>
            <c:idx val="2"/>
            <c:invertIfNegative val="0"/>
            <c:bubble3D val="0"/>
            <c:spPr>
              <a:solidFill>
                <a:srgbClr val="AEABAB"/>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c:f>
              <c:strCache>
                <c:ptCount val="3"/>
                <c:pt idx="0">
                  <c:v>CHAMPAGNE NICOLAS 1ER CRU BS 1CT X 750ML</c:v>
                </c:pt>
                <c:pt idx="1">
                  <c:v>MG CHAMPAGNE NICOLAS 1E CRU BS 1CT X 1500ML</c:v>
                </c:pt>
                <c:pt idx="2">
                  <c:v>CHAMPAGNE NICOLAS 1ER CRU ETUI 1CT X 750ML</c:v>
                </c:pt>
              </c:strCache>
            </c:strRef>
          </c:cat>
          <c:val>
            <c:numRef>
              <c:f>Sheet1!$C$2:$C$4</c:f>
              <c:numCache>
                <c:formatCode>General</c:formatCode>
                <c:ptCount val="3"/>
                <c:pt idx="0">
                  <c:v>0.78053241211135949</c:v>
                </c:pt>
                <c:pt idx="1">
                  <c:v>0.91541353383458646</c:v>
                </c:pt>
                <c:pt idx="2">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4</c:f>
              <c:strCache>
                <c:ptCount val="3"/>
                <c:pt idx="0">
                  <c:v>CHAMPAGNE NICOLAS 1ER CRU BS 1CT X 750ML</c:v>
                </c:pt>
                <c:pt idx="1">
                  <c:v>MG CHAMPAGNE NICOLAS 1E CRU BS 1CT X 1500ML</c:v>
                </c:pt>
                <c:pt idx="2">
                  <c:v>CHAMPAGNE NICOLAS 1ER CRU ETUI 1CT X 750ML</c:v>
                </c:pt>
              </c:strCache>
            </c:strRef>
          </c:cat>
          <c:val>
            <c:numRef>
              <c:f>Sheet1!$D$2:$D$4</c:f>
              <c:numCache>
                <c:formatCode>General</c:formatCode>
                <c:ptCount val="3"/>
                <c:pt idx="0">
                  <c:v>357.30232558139534</c:v>
                </c:pt>
                <c:pt idx="1">
                  <c:v>663.75</c:v>
                </c:pt>
                <c:pt idx="2">
                  <c:v>832.5</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6</c:f>
              <c:strCache>
                <c:ptCount val="5"/>
                <c:pt idx="0">
                  <c:v>CHAMPAGNE E.NICOLAS ROSE 1CT X 750ML</c:v>
                </c:pt>
                <c:pt idx="1">
                  <c:v>CHAMPAGNE NICOLAS ROSE 1ERE CU 1CT X 750ML</c:v>
                </c:pt>
                <c:pt idx="2">
                  <c:v>1/2 CHAMP NICOLAS ROSE 1E C BS 1CT X 375ML</c:v>
                </c:pt>
                <c:pt idx="3">
                  <c:v>CHAMPAGNE NICOLAS ROSE 1ERE ET 1CT X 750ML</c:v>
                </c:pt>
                <c:pt idx="4">
                  <c:v>CHAMPAGNE NICOLAS ROSE 1E C BS 1CT X 750ML</c:v>
                </c:pt>
              </c:strCache>
            </c:strRef>
          </c:cat>
          <c:val>
            <c:numRef>
              <c:f>Sheet1!$B$2:$B$6</c:f>
              <c:numCache>
                <c:formatCode>General</c:formatCode>
                <c:ptCount val="5"/>
                <c:pt idx="0">
                  <c:v>0.628</c:v>
                </c:pt>
                <c:pt idx="1">
                  <c:v>0.34899999999999998</c:v>
                </c:pt>
                <c:pt idx="2">
                  <c:v>0.29699999999999999</c:v>
                </c:pt>
                <c:pt idx="3">
                  <c:v>0.105</c:v>
                </c:pt>
                <c:pt idx="4">
                  <c:v>8.1000000000000003E-2</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7ECAC4"/>
              </a:solidFill>
            </c:spPr>
            <c:extLst>
              <c:ext xmlns:c16="http://schemas.microsoft.com/office/drawing/2014/chart" uri="{C3380CC4-5D6E-409C-BE32-E72D297353CC}">
                <c16:uniqueId val="{00000008-D8F4-40C6-A5E0-DB4B53CFB1F3}"/>
              </c:ext>
            </c:extLst>
          </c:dPt>
          <c:dPt>
            <c:idx val="2"/>
            <c:invertIfNegative val="0"/>
            <c:bubble3D val="0"/>
            <c:spPr>
              <a:solidFill>
                <a:srgbClr val="7ECAC4"/>
              </a:solidFill>
            </c:spPr>
            <c:extLst>
              <c:ext xmlns:c16="http://schemas.microsoft.com/office/drawing/2014/chart" uri="{C3380CC4-5D6E-409C-BE32-E72D297353CC}">
                <c16:uniqueId val="{00000006-E902-46E2-9A54-39A26B3DFDC1}"/>
              </c:ext>
            </c:extLst>
          </c:dPt>
          <c:dPt>
            <c:idx val="3"/>
            <c:invertIfNegative val="0"/>
            <c:bubble3D val="0"/>
            <c:spPr>
              <a:solidFill>
                <a:srgbClr val="AEABAB"/>
              </a:solidFill>
            </c:spPr>
            <c:extLst>
              <c:ext xmlns:c16="http://schemas.microsoft.com/office/drawing/2014/chart" uri="{C3380CC4-5D6E-409C-BE32-E72D297353CC}">
                <c16:uniqueId val="{00000007-E902-46E2-9A54-39A26B3DFDC1}"/>
              </c:ext>
            </c:extLst>
          </c:dPt>
          <c:dPt>
            <c:idx val="4"/>
            <c:invertIfNegative val="1"/>
            <c:bubble3D val="0"/>
            <c:spPr>
              <a:solidFill>
                <a:srgbClr val="AEABAB"/>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6</c:f>
              <c:strCache>
                <c:ptCount val="5"/>
                <c:pt idx="0">
                  <c:v>CHAMPAGNE E.NICOLAS ROSE 1CT X 750ML</c:v>
                </c:pt>
                <c:pt idx="1">
                  <c:v>CHAMPAGNE NICOLAS ROSE 1ERE CU 1CT X 750ML</c:v>
                </c:pt>
                <c:pt idx="2">
                  <c:v>1/2 CHAMP NICOLAS ROSE 1E C BS 1CT X 375ML</c:v>
                </c:pt>
                <c:pt idx="3">
                  <c:v>CHAMPAGNE NICOLAS ROSE 1ERE ET 1CT X 750ML</c:v>
                </c:pt>
                <c:pt idx="4">
                  <c:v>CHAMPAGNE NICOLAS ROSE 1E C BS 1CT X 750ML</c:v>
                </c:pt>
              </c:strCache>
            </c:strRef>
          </c:cat>
          <c:val>
            <c:numRef>
              <c:f>Sheet1!$C$2:$C$6</c:f>
              <c:numCache>
                <c:formatCode>General</c:formatCode>
                <c:ptCount val="5"/>
                <c:pt idx="0">
                  <c:v>0.670369487025674</c:v>
                </c:pt>
                <c:pt idx="1">
                  <c:v>0.82112269898744605</c:v>
                </c:pt>
                <c:pt idx="2">
                  <c:v>0.93956958628149623</c:v>
                </c:pt>
                <c:pt idx="3">
                  <c:v>0.9771398422988804</c:v>
                </c:pt>
                <c:pt idx="4">
                  <c:v>0.99999999999999989</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6</c:f>
              <c:strCache>
                <c:ptCount val="5"/>
                <c:pt idx="0">
                  <c:v>CHAMPAGNE E.NICOLAS ROSE 1CT X 750ML</c:v>
                </c:pt>
                <c:pt idx="1">
                  <c:v>CHAMPAGNE NICOLAS ROSE 1ERE CU 1CT X 750ML</c:v>
                </c:pt>
                <c:pt idx="2">
                  <c:v>1/2 CHAMP NICOLAS ROSE 1E C BS 1CT X 375ML</c:v>
                </c:pt>
                <c:pt idx="3">
                  <c:v>CHAMPAGNE NICOLAS ROSE 1ERE ET 1CT X 750ML</c:v>
                </c:pt>
                <c:pt idx="4">
                  <c:v>CHAMPAGNE NICOLAS ROSE 1E C BS 1CT X 750ML</c:v>
                </c:pt>
              </c:strCache>
            </c:strRef>
          </c:cat>
          <c:val>
            <c:numRef>
              <c:f>Sheet1!$D$2:$D$6</c:f>
              <c:numCache>
                <c:formatCode>General</c:formatCode>
                <c:ptCount val="5"/>
                <c:pt idx="0">
                  <c:v>4430.9394904458604</c:v>
                </c:pt>
                <c:pt idx="1">
                  <c:v>1793.0085959885387</c:v>
                </c:pt>
                <c:pt idx="2">
                  <c:v>1655.4208754208755</c:v>
                </c:pt>
                <c:pt idx="3">
                  <c:v>1485.2380952380952</c:v>
                </c:pt>
                <c:pt idx="4">
                  <c:v>1171.4814814814815</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6</c:f>
              <c:strCache>
                <c:ptCount val="5"/>
                <c:pt idx="0">
                  <c:v>CHAMPAGNE E.NICOLAS ROSE 1CT X 750ML</c:v>
                </c:pt>
                <c:pt idx="1">
                  <c:v>CHAMPAGNE NICOLAS ROSE 1ERE CU 1CT X 750ML</c:v>
                </c:pt>
                <c:pt idx="2">
                  <c:v>1/2 CHAMP NICOLAS ROSE 1E C BS 1CT X 375ML</c:v>
                </c:pt>
                <c:pt idx="3">
                  <c:v>CHAMPAGNE NICOLAS ROSE 1ERE ET 1CT X 750ML</c:v>
                </c:pt>
                <c:pt idx="4">
                  <c:v>CHAMPAGNE NICOLAS ROSE 1E C BS 1CT X 750ML</c:v>
                </c:pt>
              </c:strCache>
            </c:strRef>
          </c:cat>
          <c:val>
            <c:numRef>
              <c:f>Sheet1!$B$2:$B$6</c:f>
              <c:numCache>
                <c:formatCode>General</c:formatCode>
                <c:ptCount val="5"/>
                <c:pt idx="0">
                  <c:v>0.6</c:v>
                </c:pt>
                <c:pt idx="1">
                  <c:v>0.32</c:v>
                </c:pt>
                <c:pt idx="2">
                  <c:v>0.25</c:v>
                </c:pt>
                <c:pt idx="3">
                  <c:v>0.08</c:v>
                </c:pt>
                <c:pt idx="4">
                  <c:v>0.04</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7ECAC4"/>
              </a:solidFill>
            </c:spPr>
            <c:extLst>
              <c:ext xmlns:c16="http://schemas.microsoft.com/office/drawing/2014/chart" uri="{C3380CC4-5D6E-409C-BE32-E72D297353CC}">
                <c16:uniqueId val="{00000008-D8F4-40C6-A5E0-DB4B53CFB1F3}"/>
              </c:ext>
            </c:extLst>
          </c:dPt>
          <c:dPt>
            <c:idx val="2"/>
            <c:invertIfNegative val="0"/>
            <c:bubble3D val="0"/>
            <c:spPr>
              <a:solidFill>
                <a:srgbClr val="7ECAC4"/>
              </a:solidFill>
            </c:spPr>
            <c:extLst>
              <c:ext xmlns:c16="http://schemas.microsoft.com/office/drawing/2014/chart" uri="{C3380CC4-5D6E-409C-BE32-E72D297353CC}">
                <c16:uniqueId val="{00000006-E902-46E2-9A54-39A26B3DFDC1}"/>
              </c:ext>
            </c:extLst>
          </c:dPt>
          <c:dPt>
            <c:idx val="3"/>
            <c:invertIfNegative val="0"/>
            <c:bubble3D val="0"/>
            <c:spPr>
              <a:solidFill>
                <a:srgbClr val="AEABAB"/>
              </a:solidFill>
            </c:spPr>
            <c:extLst>
              <c:ext xmlns:c16="http://schemas.microsoft.com/office/drawing/2014/chart" uri="{C3380CC4-5D6E-409C-BE32-E72D297353CC}">
                <c16:uniqueId val="{00000007-E902-46E2-9A54-39A26B3DFDC1}"/>
              </c:ext>
            </c:extLst>
          </c:dPt>
          <c:dPt>
            <c:idx val="4"/>
            <c:invertIfNegative val="1"/>
            <c:bubble3D val="0"/>
            <c:spPr>
              <a:solidFill>
                <a:srgbClr val="AEABAB"/>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6</c:f>
              <c:strCache>
                <c:ptCount val="5"/>
                <c:pt idx="0">
                  <c:v>CHAMPAGNE E.NICOLAS ROSE 1CT X 750ML</c:v>
                </c:pt>
                <c:pt idx="1">
                  <c:v>CHAMPAGNE NICOLAS ROSE 1ERE CU 1CT X 750ML</c:v>
                </c:pt>
                <c:pt idx="2">
                  <c:v>1/2 CHAMP NICOLAS ROSE 1E C BS 1CT X 375ML</c:v>
                </c:pt>
                <c:pt idx="3">
                  <c:v>CHAMPAGNE NICOLAS ROSE 1ERE ET 1CT X 750ML</c:v>
                </c:pt>
                <c:pt idx="4">
                  <c:v>CHAMPAGNE NICOLAS ROSE 1E C BS 1CT X 750ML</c:v>
                </c:pt>
              </c:strCache>
            </c:strRef>
          </c:cat>
          <c:val>
            <c:numRef>
              <c:f>Sheet1!$C$2:$C$6</c:f>
              <c:numCache>
                <c:formatCode>General</c:formatCode>
                <c:ptCount val="5"/>
                <c:pt idx="0">
                  <c:v>0.65622626235743553</c:v>
                </c:pt>
                <c:pt idx="1">
                  <c:v>0.81473411068048374</c:v>
                </c:pt>
                <c:pt idx="2">
                  <c:v>0.94302411328642644</c:v>
                </c:pt>
                <c:pt idx="3">
                  <c:v>0.97869226035030532</c:v>
                </c:pt>
                <c:pt idx="4">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6</c:f>
              <c:strCache>
                <c:ptCount val="5"/>
                <c:pt idx="0">
                  <c:v>CHAMPAGNE E.NICOLAS ROSE 1CT X 750ML</c:v>
                </c:pt>
                <c:pt idx="1">
                  <c:v>CHAMPAGNE NICOLAS ROSE 1ERE CU 1CT X 750ML</c:v>
                </c:pt>
                <c:pt idx="2">
                  <c:v>1/2 CHAMP NICOLAS ROSE 1E C BS 1CT X 375ML</c:v>
                </c:pt>
                <c:pt idx="3">
                  <c:v>CHAMPAGNE NICOLAS ROSE 1ERE ET 1CT X 750ML</c:v>
                </c:pt>
                <c:pt idx="4">
                  <c:v>CHAMPAGNE NICOLAS ROSE 1E C BS 1CT X 750ML</c:v>
                </c:pt>
              </c:strCache>
            </c:strRef>
          </c:cat>
          <c:val>
            <c:numRef>
              <c:f>Sheet1!$D$2:$D$6</c:f>
              <c:numCache>
                <c:formatCode>General</c:formatCode>
                <c:ptCount val="5"/>
                <c:pt idx="0">
                  <c:v>1972.5833333333333</c:v>
                </c:pt>
                <c:pt idx="1">
                  <c:v>893.375</c:v>
                </c:pt>
                <c:pt idx="2">
                  <c:v>925.52</c:v>
                </c:pt>
                <c:pt idx="3">
                  <c:v>804.125</c:v>
                </c:pt>
                <c:pt idx="4">
                  <c:v>960.75</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6</c:f>
              <c:strCache>
                <c:ptCount val="5"/>
                <c:pt idx="0">
                  <c:v>CHAMPAGNE E.NICOLAS ROSE 1CT X 750ML</c:v>
                </c:pt>
                <c:pt idx="1">
                  <c:v>CHAMPAGNE NICOLAS ROSE 1ERE CU 1CT X 750ML</c:v>
                </c:pt>
                <c:pt idx="2">
                  <c:v>1/2 CHAMP NICOLAS ROSE 1E C BS 1CT X 375ML</c:v>
                </c:pt>
                <c:pt idx="3">
                  <c:v>CHAMPAGNE NICOLAS ROSE 1ERE ET 1CT X 750ML</c:v>
                </c:pt>
                <c:pt idx="4">
                  <c:v>CHAMPAGNE NICOLAS ROSE 1E C BS 1CT X 750ML</c:v>
                </c:pt>
              </c:strCache>
            </c:strRef>
          </c:cat>
          <c:val>
            <c:numRef>
              <c:f>Sheet1!$B$2:$B$6</c:f>
              <c:numCache>
                <c:formatCode>General</c:formatCode>
                <c:ptCount val="5"/>
                <c:pt idx="0">
                  <c:v>0.61</c:v>
                </c:pt>
                <c:pt idx="1">
                  <c:v>0.28000000000000003</c:v>
                </c:pt>
                <c:pt idx="2">
                  <c:v>0.25</c:v>
                </c:pt>
                <c:pt idx="3">
                  <c:v>0.09</c:v>
                </c:pt>
                <c:pt idx="4">
                  <c:v>0.08</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7ECAC4"/>
              </a:solidFill>
            </c:spPr>
            <c:extLst>
              <c:ext xmlns:c16="http://schemas.microsoft.com/office/drawing/2014/chart" uri="{C3380CC4-5D6E-409C-BE32-E72D297353CC}">
                <c16:uniqueId val="{00000008-D8F4-40C6-A5E0-DB4B53CFB1F3}"/>
              </c:ext>
            </c:extLst>
          </c:dPt>
          <c:dPt>
            <c:idx val="2"/>
            <c:invertIfNegative val="0"/>
            <c:bubble3D val="0"/>
            <c:spPr>
              <a:solidFill>
                <a:srgbClr val="7ECAC4"/>
              </a:solidFill>
            </c:spPr>
            <c:extLst>
              <c:ext xmlns:c16="http://schemas.microsoft.com/office/drawing/2014/chart" uri="{C3380CC4-5D6E-409C-BE32-E72D297353CC}">
                <c16:uniqueId val="{00000006-E902-46E2-9A54-39A26B3DFDC1}"/>
              </c:ext>
            </c:extLst>
          </c:dPt>
          <c:dPt>
            <c:idx val="3"/>
            <c:invertIfNegative val="0"/>
            <c:bubble3D val="0"/>
            <c:spPr>
              <a:solidFill>
                <a:srgbClr val="AEABAB"/>
              </a:solidFill>
            </c:spPr>
            <c:extLst>
              <c:ext xmlns:c16="http://schemas.microsoft.com/office/drawing/2014/chart" uri="{C3380CC4-5D6E-409C-BE32-E72D297353CC}">
                <c16:uniqueId val="{00000007-E902-46E2-9A54-39A26B3DFDC1}"/>
              </c:ext>
            </c:extLst>
          </c:dPt>
          <c:dPt>
            <c:idx val="4"/>
            <c:invertIfNegative val="1"/>
            <c:bubble3D val="0"/>
            <c:spPr>
              <a:solidFill>
                <a:srgbClr val="AEABAB"/>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6</c:f>
              <c:strCache>
                <c:ptCount val="5"/>
                <c:pt idx="0">
                  <c:v>CHAMPAGNE E.NICOLAS ROSE 1CT X 750ML</c:v>
                </c:pt>
                <c:pt idx="1">
                  <c:v>CHAMPAGNE NICOLAS ROSE 1ERE CU 1CT X 750ML</c:v>
                </c:pt>
                <c:pt idx="2">
                  <c:v>1/2 CHAMP NICOLAS ROSE 1E C BS 1CT X 375ML</c:v>
                </c:pt>
                <c:pt idx="3">
                  <c:v>CHAMPAGNE NICOLAS ROSE 1ERE ET 1CT X 750ML</c:v>
                </c:pt>
                <c:pt idx="4">
                  <c:v>CHAMPAGNE NICOLAS ROSE 1E C BS 1CT X 750ML</c:v>
                </c:pt>
              </c:strCache>
            </c:strRef>
          </c:cat>
          <c:val>
            <c:numRef>
              <c:f>Sheet1!$C$2:$C$6</c:f>
              <c:numCache>
                <c:formatCode>General</c:formatCode>
                <c:ptCount val="5"/>
                <c:pt idx="0">
                  <c:v>0.69297704979682229</c:v>
                </c:pt>
                <c:pt idx="1">
                  <c:v>0.82479708343344238</c:v>
                </c:pt>
                <c:pt idx="2">
                  <c:v>0.93159857514441813</c:v>
                </c:pt>
                <c:pt idx="3">
                  <c:v>0.97124173447962481</c:v>
                </c:pt>
                <c:pt idx="4">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6</c:f>
              <c:strCache>
                <c:ptCount val="5"/>
                <c:pt idx="0">
                  <c:v>CHAMPAGNE E.NICOLAS ROSE 1CT X 750ML</c:v>
                </c:pt>
                <c:pt idx="1">
                  <c:v>CHAMPAGNE NICOLAS ROSE 1ERE CU 1CT X 750ML</c:v>
                </c:pt>
                <c:pt idx="2">
                  <c:v>1/2 CHAMP NICOLAS ROSE 1E C BS 1CT X 375ML</c:v>
                </c:pt>
                <c:pt idx="3">
                  <c:v>CHAMPAGNE NICOLAS ROSE 1ERE ET 1CT X 750ML</c:v>
                </c:pt>
                <c:pt idx="4">
                  <c:v>CHAMPAGNE NICOLAS ROSE 1E C BS 1CT X 750ML</c:v>
                </c:pt>
              </c:strCache>
            </c:strRef>
          </c:cat>
          <c:val>
            <c:numRef>
              <c:f>Sheet1!$D$2:$D$6</c:f>
              <c:numCache>
                <c:formatCode>General</c:formatCode>
                <c:ptCount val="5"/>
                <c:pt idx="0">
                  <c:v>1087.5081967213114</c:v>
                </c:pt>
                <c:pt idx="1">
                  <c:v>450.67857142857139</c:v>
                </c:pt>
                <c:pt idx="2">
                  <c:v>408.96</c:v>
                </c:pt>
                <c:pt idx="3">
                  <c:v>421.66666666666669</c:v>
                </c:pt>
                <c:pt idx="4">
                  <c:v>344.125</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6</c:f>
              <c:strCache>
                <c:ptCount val="5"/>
                <c:pt idx="0">
                  <c:v>CHAMPAGNE E.NICOLAS ROSE 1CT X 750ML</c:v>
                </c:pt>
                <c:pt idx="1">
                  <c:v>CHAMPAGNE NICOLAS ROSE 1ERE CU 1CT X 750ML</c:v>
                </c:pt>
                <c:pt idx="2">
                  <c:v>1/2 CHAMP NICOLAS ROSE 1E C BS 1CT X 375ML</c:v>
                </c:pt>
                <c:pt idx="3">
                  <c:v>CHAMPAGNE NICOLAS ROSE 1ERE ET 1CT X 750ML</c:v>
                </c:pt>
                <c:pt idx="4">
                  <c:v>CHAMPAGNE NICOLAS ROSE 1E C BS 1CT X 750ML</c:v>
                </c:pt>
              </c:strCache>
            </c:strRef>
          </c:cat>
          <c:val>
            <c:numRef>
              <c:f>Sheet1!$B$2:$B$6</c:f>
              <c:numCache>
                <c:formatCode>General</c:formatCode>
                <c:ptCount val="5"/>
                <c:pt idx="0">
                  <c:v>0.56000000000000005</c:v>
                </c:pt>
                <c:pt idx="1">
                  <c:v>0.42</c:v>
                </c:pt>
                <c:pt idx="2">
                  <c:v>0.35</c:v>
                </c:pt>
                <c:pt idx="3">
                  <c:v>0.1</c:v>
                </c:pt>
                <c:pt idx="4">
                  <c:v>0.11</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AEABAB"/>
              </a:solidFill>
            </c:spPr>
            <c:extLst>
              <c:ext xmlns:c16="http://schemas.microsoft.com/office/drawing/2014/chart" uri="{C3380CC4-5D6E-409C-BE32-E72D297353CC}">
                <c16:uniqueId val="{00000006-E902-46E2-9A54-39A26B3DFDC1}"/>
              </c:ext>
            </c:extLst>
          </c:dPt>
          <c:dPt>
            <c:idx val="3"/>
            <c:invertIfNegative val="0"/>
            <c:bubble3D val="0"/>
            <c:spPr>
              <a:solidFill>
                <a:srgbClr val="AEABAB"/>
              </a:solidFill>
            </c:spPr>
            <c:extLst>
              <c:ext xmlns:c16="http://schemas.microsoft.com/office/drawing/2014/chart" uri="{C3380CC4-5D6E-409C-BE32-E72D297353CC}">
                <c16:uniqueId val="{00000007-E902-46E2-9A54-39A26B3DFDC1}"/>
              </c:ext>
            </c:extLst>
          </c:dPt>
          <c:dPt>
            <c:idx val="4"/>
            <c:invertIfNegative val="1"/>
            <c:bubble3D val="0"/>
            <c:spPr>
              <a:solidFill>
                <a:srgbClr val="AEABAB"/>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6</c:f>
              <c:strCache>
                <c:ptCount val="5"/>
                <c:pt idx="0">
                  <c:v>CHAMPAGNE E.NICOLAS ROSE 1CT X 750ML</c:v>
                </c:pt>
                <c:pt idx="1">
                  <c:v>CHAMPAGNE NICOLAS ROSE 1ERE CU 1CT X 750ML</c:v>
                </c:pt>
                <c:pt idx="2">
                  <c:v>1/2 CHAMP NICOLAS ROSE 1E C BS 1CT X 375ML</c:v>
                </c:pt>
                <c:pt idx="3">
                  <c:v>CHAMPAGNE NICOLAS ROSE 1ERE ET 1CT X 750ML</c:v>
                </c:pt>
                <c:pt idx="4">
                  <c:v>CHAMPAGNE NICOLAS ROSE 1E C BS 1CT X 750ML</c:v>
                </c:pt>
              </c:strCache>
            </c:strRef>
          </c:cat>
          <c:val>
            <c:numRef>
              <c:f>Sheet1!$C$2:$C$6</c:f>
              <c:numCache>
                <c:formatCode>General</c:formatCode>
                <c:ptCount val="5"/>
                <c:pt idx="0">
                  <c:v>0.61558484194728447</c:v>
                </c:pt>
                <c:pt idx="1">
                  <c:v>0.78798893161992312</c:v>
                </c:pt>
                <c:pt idx="2">
                  <c:v>0.95553888003001597</c:v>
                </c:pt>
                <c:pt idx="3">
                  <c:v>0.98044273520307668</c:v>
                </c:pt>
                <c:pt idx="4">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6</c:f>
              <c:strCache>
                <c:ptCount val="5"/>
                <c:pt idx="0">
                  <c:v>CHAMPAGNE E.NICOLAS ROSE 1CT X 750ML</c:v>
                </c:pt>
                <c:pt idx="1">
                  <c:v>CHAMPAGNE NICOLAS ROSE 1ERE CU 1CT X 750ML</c:v>
                </c:pt>
                <c:pt idx="2">
                  <c:v>1/2 CHAMP NICOLAS ROSE 1E C BS 1CT X 375ML</c:v>
                </c:pt>
                <c:pt idx="3">
                  <c:v>CHAMPAGNE NICOLAS ROSE 1ERE ET 1CT X 750ML</c:v>
                </c:pt>
                <c:pt idx="4">
                  <c:v>CHAMPAGNE NICOLAS ROSE 1E C BS 1CT X 750ML</c:v>
                </c:pt>
              </c:strCache>
            </c:strRef>
          </c:cat>
          <c:val>
            <c:numRef>
              <c:f>Sheet1!$D$2:$D$6</c:f>
              <c:numCache>
                <c:formatCode>General</c:formatCode>
                <c:ptCount val="5"/>
                <c:pt idx="0">
                  <c:v>468.76785714285711</c:v>
                </c:pt>
                <c:pt idx="1">
                  <c:v>175.04761904761904</c:v>
                </c:pt>
                <c:pt idx="2">
                  <c:v>204.14285714285714</c:v>
                </c:pt>
                <c:pt idx="3">
                  <c:v>106.2</c:v>
                </c:pt>
                <c:pt idx="4">
                  <c:v>75.818181818181813</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6</c:f>
              <c:strCache>
                <c:ptCount val="5"/>
                <c:pt idx="0">
                  <c:v>CHAMPAGNE E.NICOLAS ROSE 1CT X 750ML</c:v>
                </c:pt>
                <c:pt idx="1">
                  <c:v>CHAMPAGNE NICOLAS ROSE 1ERE CU 1CT X 750ML</c:v>
                </c:pt>
                <c:pt idx="2">
                  <c:v>1/2 CHAMP NICOLAS ROSE 1E C BS 1CT X 375ML</c:v>
                </c:pt>
                <c:pt idx="3">
                  <c:v>CHAMPAGNE NICOLAS ROSE 1ERE ET 1CT X 750ML</c:v>
                </c:pt>
                <c:pt idx="4">
                  <c:v>CHAMPAGNE NICOLAS ROSE 1E C BS 1CT X 750ML</c:v>
                </c:pt>
              </c:strCache>
            </c:strRef>
          </c:cat>
          <c:val>
            <c:numRef>
              <c:f>Sheet1!$B$2:$B$6</c:f>
              <c:numCache>
                <c:formatCode>General</c:formatCode>
                <c:ptCount val="5"/>
                <c:pt idx="0">
                  <c:v>0.64</c:v>
                </c:pt>
                <c:pt idx="1">
                  <c:v>0.38</c:v>
                </c:pt>
                <c:pt idx="2">
                  <c:v>0.44</c:v>
                </c:pt>
                <c:pt idx="3">
                  <c:v>0.1</c:v>
                </c:pt>
                <c:pt idx="4">
                  <c:v>0.2</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7ECAC4"/>
              </a:solidFill>
            </c:spPr>
            <c:extLst>
              <c:ext xmlns:c16="http://schemas.microsoft.com/office/drawing/2014/chart" uri="{C3380CC4-5D6E-409C-BE32-E72D297353CC}">
                <c16:uniqueId val="{00000008-D8F4-40C6-A5E0-DB4B53CFB1F3}"/>
              </c:ext>
            </c:extLst>
          </c:dPt>
          <c:dPt>
            <c:idx val="2"/>
            <c:invertIfNegative val="0"/>
            <c:bubble3D val="0"/>
            <c:spPr>
              <a:solidFill>
                <a:srgbClr val="7ECAC4"/>
              </a:solidFill>
            </c:spPr>
            <c:extLst>
              <c:ext xmlns:c16="http://schemas.microsoft.com/office/drawing/2014/chart" uri="{C3380CC4-5D6E-409C-BE32-E72D297353CC}">
                <c16:uniqueId val="{00000006-E902-46E2-9A54-39A26B3DFDC1}"/>
              </c:ext>
            </c:extLst>
          </c:dPt>
          <c:dPt>
            <c:idx val="3"/>
            <c:invertIfNegative val="0"/>
            <c:bubble3D val="0"/>
            <c:spPr>
              <a:solidFill>
                <a:srgbClr val="AEABAB"/>
              </a:solidFill>
            </c:spPr>
            <c:extLst>
              <c:ext xmlns:c16="http://schemas.microsoft.com/office/drawing/2014/chart" uri="{C3380CC4-5D6E-409C-BE32-E72D297353CC}">
                <c16:uniqueId val="{00000007-E902-46E2-9A54-39A26B3DFDC1}"/>
              </c:ext>
            </c:extLst>
          </c:dPt>
          <c:dPt>
            <c:idx val="4"/>
            <c:invertIfNegative val="1"/>
            <c:bubble3D val="0"/>
            <c:spPr>
              <a:solidFill>
                <a:srgbClr val="AEABAB"/>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6</c:f>
              <c:strCache>
                <c:ptCount val="5"/>
                <c:pt idx="0">
                  <c:v>CHAMPAGNE E.NICOLAS ROSE 1CT X 750ML</c:v>
                </c:pt>
                <c:pt idx="1">
                  <c:v>CHAMPAGNE NICOLAS ROSE 1ERE CU 1CT X 750ML</c:v>
                </c:pt>
                <c:pt idx="2">
                  <c:v>1/2 CHAMP NICOLAS ROSE 1E C BS 1CT X 375ML</c:v>
                </c:pt>
                <c:pt idx="3">
                  <c:v>CHAMPAGNE NICOLAS ROSE 1ERE ET 1CT X 750ML</c:v>
                </c:pt>
                <c:pt idx="4">
                  <c:v>CHAMPAGNE NICOLAS ROSE 1E C BS 1CT X 750ML</c:v>
                </c:pt>
              </c:strCache>
            </c:strRef>
          </c:cat>
          <c:val>
            <c:numRef>
              <c:f>Sheet1!$C$2:$C$6</c:f>
              <c:numCache>
                <c:formatCode>General</c:formatCode>
                <c:ptCount val="5"/>
                <c:pt idx="0">
                  <c:v>0.67943246480982333</c:v>
                </c:pt>
                <c:pt idx="1">
                  <c:v>0.82172806229410011</c:v>
                </c:pt>
                <c:pt idx="2">
                  <c:v>0.93358790056903274</c:v>
                </c:pt>
                <c:pt idx="3">
                  <c:v>0.97985923929320162</c:v>
                </c:pt>
                <c:pt idx="4">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6</c:f>
              <c:strCache>
                <c:ptCount val="5"/>
                <c:pt idx="0">
                  <c:v>CHAMPAGNE E.NICOLAS ROSE 1CT X 750ML</c:v>
                </c:pt>
                <c:pt idx="1">
                  <c:v>CHAMPAGNE NICOLAS ROSE 1ERE CU 1CT X 750ML</c:v>
                </c:pt>
                <c:pt idx="2">
                  <c:v>1/2 CHAMP NICOLAS ROSE 1E C BS 1CT X 375ML</c:v>
                </c:pt>
                <c:pt idx="3">
                  <c:v>CHAMPAGNE NICOLAS ROSE 1ERE ET 1CT X 750ML</c:v>
                </c:pt>
                <c:pt idx="4">
                  <c:v>CHAMPAGNE NICOLAS ROSE 1E C BS 1CT X 750ML</c:v>
                </c:pt>
              </c:strCache>
            </c:strRef>
          </c:cat>
          <c:val>
            <c:numRef>
              <c:f>Sheet1!$D$2:$D$6</c:f>
              <c:numCache>
                <c:formatCode>General</c:formatCode>
                <c:ptCount val="5"/>
                <c:pt idx="0">
                  <c:v>283.578125</c:v>
                </c:pt>
                <c:pt idx="1">
                  <c:v>100.02631578947368</c:v>
                </c:pt>
                <c:pt idx="2">
                  <c:v>67.909090909090907</c:v>
                </c:pt>
                <c:pt idx="3">
                  <c:v>123.6</c:v>
                </c:pt>
                <c:pt idx="4">
                  <c:v>26.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6</c:f>
              <c:strCache>
                <c:ptCount val="5"/>
                <c:pt idx="0">
                  <c:v>CHAMPAGNE E.NICOLAS ROSE 1CT X 750ML</c:v>
                </c:pt>
                <c:pt idx="1">
                  <c:v>CHAMPAGNE NICOLAS ROSE 1ERE CU 1CT X 750ML</c:v>
                </c:pt>
                <c:pt idx="2">
                  <c:v>1/2 CHAMP NICOLAS ROSE 1E C BS 1CT X 375ML</c:v>
                </c:pt>
                <c:pt idx="3">
                  <c:v>CHAMPAGNE NICOLAS ROSE 1ERE ET 1CT X 750ML</c:v>
                </c:pt>
                <c:pt idx="4">
                  <c:v>CHAMPAGNE NICOLAS ROSE 1E C BS 1CT X 750ML</c:v>
                </c:pt>
              </c:strCache>
            </c:strRef>
          </c:cat>
          <c:val>
            <c:numRef>
              <c:f>Sheet1!$B$2:$B$6</c:f>
              <c:numCache>
                <c:formatCode>General</c:formatCode>
                <c:ptCount val="5"/>
                <c:pt idx="0">
                  <c:v>0.82</c:v>
                </c:pt>
                <c:pt idx="1">
                  <c:v>0.39</c:v>
                </c:pt>
                <c:pt idx="2">
                  <c:v>0.43</c:v>
                </c:pt>
                <c:pt idx="3">
                  <c:v>0.21</c:v>
                </c:pt>
                <c:pt idx="4">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7ECAC4"/>
              </a:solidFill>
            </c:spPr>
            <c:extLst>
              <c:ext xmlns:c16="http://schemas.microsoft.com/office/drawing/2014/chart" uri="{C3380CC4-5D6E-409C-BE32-E72D297353CC}">
                <c16:uniqueId val="{00000008-D8F4-40C6-A5E0-DB4B53CFB1F3}"/>
              </c:ext>
            </c:extLst>
          </c:dPt>
          <c:dPt>
            <c:idx val="2"/>
            <c:invertIfNegative val="0"/>
            <c:bubble3D val="0"/>
            <c:spPr>
              <a:solidFill>
                <a:srgbClr val="7ECAC4"/>
              </a:solidFill>
            </c:spPr>
            <c:extLst>
              <c:ext xmlns:c16="http://schemas.microsoft.com/office/drawing/2014/chart" uri="{C3380CC4-5D6E-409C-BE32-E72D297353CC}">
                <c16:uniqueId val="{00000006-E902-46E2-9A54-39A26B3DFDC1}"/>
              </c:ext>
            </c:extLst>
          </c:dPt>
          <c:dPt>
            <c:idx val="3"/>
            <c:invertIfNegative val="0"/>
            <c:bubble3D val="0"/>
            <c:spPr>
              <a:solidFill>
                <a:srgbClr val="AEABAB"/>
              </a:solidFill>
            </c:spPr>
            <c:extLst>
              <c:ext xmlns:c16="http://schemas.microsoft.com/office/drawing/2014/chart" uri="{C3380CC4-5D6E-409C-BE32-E72D297353CC}">
                <c16:uniqueId val="{00000007-E902-46E2-9A54-39A26B3DFDC1}"/>
              </c:ext>
            </c:extLst>
          </c:dPt>
          <c:dPt>
            <c:idx val="4"/>
            <c:invertIfNegative val="1"/>
            <c:bubble3D val="0"/>
            <c:spPr>
              <a:solidFill>
                <a:srgbClr val="AEABAB"/>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6</c:f>
              <c:strCache>
                <c:ptCount val="5"/>
                <c:pt idx="0">
                  <c:v>CHAMPAGNE E.NICOLAS ROSE 1CT X 750ML</c:v>
                </c:pt>
                <c:pt idx="1">
                  <c:v>CHAMPAGNE NICOLAS ROSE 1ERE CU 1CT X 750ML</c:v>
                </c:pt>
                <c:pt idx="2">
                  <c:v>1/2 CHAMP NICOLAS ROSE 1E C BS 1CT X 375ML</c:v>
                </c:pt>
                <c:pt idx="3">
                  <c:v>CHAMPAGNE NICOLAS ROSE 1ERE ET 1CT X 750ML</c:v>
                </c:pt>
                <c:pt idx="4">
                  <c:v>CHAMPAGNE NICOLAS ROSE 1E C BS 1CT X 750ML</c:v>
                </c:pt>
              </c:strCache>
            </c:strRef>
          </c:cat>
          <c:val>
            <c:numRef>
              <c:f>Sheet1!$C$2:$C$6</c:f>
              <c:numCache>
                <c:formatCode>General</c:formatCode>
                <c:ptCount val="5"/>
                <c:pt idx="0">
                  <c:v>0.68635803736399092</c:v>
                </c:pt>
                <c:pt idx="1">
                  <c:v>0.80907411209197289</c:v>
                </c:pt>
                <c:pt idx="2">
                  <c:v>0.91531513036337508</c:v>
                </c:pt>
                <c:pt idx="3">
                  <c:v>0.97053993019913776</c:v>
                </c:pt>
                <c:pt idx="4">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6</c:f>
              <c:strCache>
                <c:ptCount val="5"/>
                <c:pt idx="0">
                  <c:v>CHAMPAGNE E.NICOLAS ROSE 1CT X 750ML</c:v>
                </c:pt>
                <c:pt idx="1">
                  <c:v>CHAMPAGNE NICOLAS ROSE 1ERE CU 1CT X 750ML</c:v>
                </c:pt>
                <c:pt idx="2">
                  <c:v>1/2 CHAMP NICOLAS ROSE 1E C BS 1CT X 375ML</c:v>
                </c:pt>
                <c:pt idx="3">
                  <c:v>CHAMPAGNE NICOLAS ROSE 1ERE ET 1CT X 750ML</c:v>
                </c:pt>
                <c:pt idx="4">
                  <c:v>CHAMPAGNE NICOLAS ROSE 1E C BS 1CT X 750ML</c:v>
                </c:pt>
              </c:strCache>
            </c:strRef>
          </c:cat>
          <c:val>
            <c:numRef>
              <c:f>Sheet1!$D$2:$D$6</c:f>
              <c:numCache>
                <c:formatCode>General</c:formatCode>
                <c:ptCount val="5"/>
                <c:pt idx="0">
                  <c:v>163.08536585365854</c:v>
                </c:pt>
                <c:pt idx="1">
                  <c:v>61.307692307692307</c:v>
                </c:pt>
                <c:pt idx="2">
                  <c:v>48.139534883720927</c:v>
                </c:pt>
                <c:pt idx="3">
                  <c:v>51.238095238095241</c:v>
                </c:pt>
                <c:pt idx="4">
                  <c:v>63.77777777777777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6</c:f>
              <c:strCache>
                <c:ptCount val="5"/>
                <c:pt idx="0">
                  <c:v>CHAMPAGNE E.NICOLAS ROSE 1CT X 750ML</c:v>
                </c:pt>
                <c:pt idx="1">
                  <c:v>CHAMPAGNE NICOLAS ROSE 1ERE CU 1CT X 750ML</c:v>
                </c:pt>
                <c:pt idx="2">
                  <c:v>1/2 CHAMP NICOLAS ROSE 1E C BS 1CT X 375ML</c:v>
                </c:pt>
                <c:pt idx="3">
                  <c:v>CHAMPAGNE NICOLAS ROSE 1ERE ET 1CT X 750ML</c:v>
                </c:pt>
                <c:pt idx="4">
                  <c:v>CHAMPAGNE NICOLAS ROSE 1E C BS 1CT X 750ML</c:v>
                </c:pt>
              </c:strCache>
            </c:strRef>
          </c:cat>
          <c:val>
            <c:numRef>
              <c:f>Sheet1!$B$2:$B$6</c:f>
              <c:numCache>
                <c:formatCode>General</c:formatCode>
                <c:ptCount val="5"/>
                <c:pt idx="0">
                  <c:v>0.59</c:v>
                </c:pt>
                <c:pt idx="1">
                  <c:v>0.33</c:v>
                </c:pt>
                <c:pt idx="2">
                  <c:v>0.27</c:v>
                </c:pt>
                <c:pt idx="3">
                  <c:v>0.09</c:v>
                </c:pt>
                <c:pt idx="4">
                  <c:v>0.05</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7ECAC4"/>
              </a:solidFill>
            </c:spPr>
            <c:extLst>
              <c:ext xmlns:c16="http://schemas.microsoft.com/office/drawing/2014/chart" uri="{C3380CC4-5D6E-409C-BE32-E72D297353CC}">
                <c16:uniqueId val="{00000008-D8F4-40C6-A5E0-DB4B53CFB1F3}"/>
              </c:ext>
            </c:extLst>
          </c:dPt>
          <c:dPt>
            <c:idx val="2"/>
            <c:invertIfNegative val="0"/>
            <c:bubble3D val="0"/>
            <c:spPr>
              <a:solidFill>
                <a:srgbClr val="7ECAC4"/>
              </a:solidFill>
            </c:spPr>
            <c:extLst>
              <c:ext xmlns:c16="http://schemas.microsoft.com/office/drawing/2014/chart" uri="{C3380CC4-5D6E-409C-BE32-E72D297353CC}">
                <c16:uniqueId val="{00000006-E902-46E2-9A54-39A26B3DFDC1}"/>
              </c:ext>
            </c:extLst>
          </c:dPt>
          <c:dPt>
            <c:idx val="3"/>
            <c:invertIfNegative val="0"/>
            <c:bubble3D val="0"/>
            <c:spPr>
              <a:solidFill>
                <a:srgbClr val="AEABAB"/>
              </a:solidFill>
            </c:spPr>
            <c:extLst>
              <c:ext xmlns:c16="http://schemas.microsoft.com/office/drawing/2014/chart" uri="{C3380CC4-5D6E-409C-BE32-E72D297353CC}">
                <c16:uniqueId val="{00000007-E902-46E2-9A54-39A26B3DFDC1}"/>
              </c:ext>
            </c:extLst>
          </c:dPt>
          <c:dPt>
            <c:idx val="4"/>
            <c:invertIfNegative val="1"/>
            <c:bubble3D val="0"/>
            <c:spPr>
              <a:solidFill>
                <a:srgbClr val="AEABAB"/>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6</c:f>
              <c:strCache>
                <c:ptCount val="5"/>
                <c:pt idx="0">
                  <c:v>CHAMPAGNE E.NICOLAS ROSE 1CT X 750ML</c:v>
                </c:pt>
                <c:pt idx="1">
                  <c:v>CHAMPAGNE NICOLAS ROSE 1ERE CU 1CT X 750ML</c:v>
                </c:pt>
                <c:pt idx="2">
                  <c:v>1/2 CHAMP NICOLAS ROSE 1E C BS 1CT X 375ML</c:v>
                </c:pt>
                <c:pt idx="3">
                  <c:v>CHAMPAGNE NICOLAS ROSE 1ERE ET 1CT X 750ML</c:v>
                </c:pt>
                <c:pt idx="4">
                  <c:v>CHAMPAGNE NICOLAS ROSE 1E C BS 1CT X 750ML</c:v>
                </c:pt>
              </c:strCache>
            </c:strRef>
          </c:cat>
          <c:val>
            <c:numRef>
              <c:f>Sheet1!$C$2:$C$6</c:f>
              <c:numCache>
                <c:formatCode>General</c:formatCode>
                <c:ptCount val="5"/>
                <c:pt idx="0">
                  <c:v>0.65668383862087976</c:v>
                </c:pt>
                <c:pt idx="1">
                  <c:v>0.81683745497483806</c:v>
                </c:pt>
                <c:pt idx="2">
                  <c:v>0.94265088783845696</c:v>
                </c:pt>
                <c:pt idx="3">
                  <c:v>0.98090970383035148</c:v>
                </c:pt>
                <c:pt idx="4">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6</c:f>
              <c:strCache>
                <c:ptCount val="5"/>
                <c:pt idx="0">
                  <c:v>CHAMPAGNE E.NICOLAS ROSE 1CT X 750ML</c:v>
                </c:pt>
                <c:pt idx="1">
                  <c:v>CHAMPAGNE NICOLAS ROSE 1ERE CU 1CT X 750ML</c:v>
                </c:pt>
                <c:pt idx="2">
                  <c:v>1/2 CHAMP NICOLAS ROSE 1E C BS 1CT X 375ML</c:v>
                </c:pt>
                <c:pt idx="3">
                  <c:v>CHAMPAGNE NICOLAS ROSE 1ERE ET 1CT X 750ML</c:v>
                </c:pt>
                <c:pt idx="4">
                  <c:v>CHAMPAGNE NICOLAS ROSE 1E C BS 1CT X 750ML</c:v>
                </c:pt>
              </c:strCache>
            </c:strRef>
          </c:cat>
          <c:val>
            <c:numRef>
              <c:f>Sheet1!$D$2:$D$6</c:f>
              <c:numCache>
                <c:formatCode>General</c:formatCode>
                <c:ptCount val="5"/>
                <c:pt idx="0">
                  <c:v>2988.0338983050847</c:v>
                </c:pt>
                <c:pt idx="1">
                  <c:v>1302.878787878788</c:v>
                </c:pt>
                <c:pt idx="2">
                  <c:v>1250.962962962963</c:v>
                </c:pt>
                <c:pt idx="3">
                  <c:v>1141.2222222222222</c:v>
                </c:pt>
                <c:pt idx="4">
                  <c:v>1025</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6</c:f>
              <c:strCache>
                <c:ptCount val="5"/>
                <c:pt idx="0">
                  <c:v>CHAMPAGNE E.NICOLAS ROSE 1CT X 750ML</c:v>
                </c:pt>
                <c:pt idx="1">
                  <c:v>CHAMPAGNE NICOLAS ROSE 1ERE CU 1CT X 750ML</c:v>
                </c:pt>
                <c:pt idx="2">
                  <c:v>1/2 CHAMP NICOLAS ROSE 1E C BS 1CT X 375ML</c:v>
                </c:pt>
                <c:pt idx="3">
                  <c:v>CHAMPAGNE NICOLAS ROSE 1ERE ET 1CT X 750ML</c:v>
                </c:pt>
                <c:pt idx="4">
                  <c:v>CHAMPAGNE NICOLAS ROSE 1E C BS 1CT X 750ML</c:v>
                </c:pt>
              </c:strCache>
            </c:strRef>
          </c:cat>
          <c:val>
            <c:numRef>
              <c:f>Sheet1!$B$2:$B$6</c:f>
              <c:numCache>
                <c:formatCode>General</c:formatCode>
                <c:ptCount val="5"/>
                <c:pt idx="0">
                  <c:v>0.86</c:v>
                </c:pt>
                <c:pt idx="1">
                  <c:v>0.43</c:v>
                </c:pt>
                <c:pt idx="2">
                  <c:v>0.41</c:v>
                </c:pt>
                <c:pt idx="3">
                  <c:v>0.09</c:v>
                </c:pt>
                <c:pt idx="4">
                  <c:v>0.08</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7ECAC4"/>
              </a:solidFill>
            </c:spPr>
            <c:extLst>
              <c:ext xmlns:c16="http://schemas.microsoft.com/office/drawing/2014/chart" uri="{C3380CC4-5D6E-409C-BE32-E72D297353CC}">
                <c16:uniqueId val="{00000008-D8F4-40C6-A5E0-DB4B53CFB1F3}"/>
              </c:ext>
            </c:extLst>
          </c:dPt>
          <c:dPt>
            <c:idx val="2"/>
            <c:invertIfNegative val="0"/>
            <c:bubble3D val="0"/>
            <c:spPr>
              <a:solidFill>
                <a:srgbClr val="7ECAC4"/>
              </a:solidFill>
            </c:spPr>
            <c:extLst>
              <c:ext xmlns:c16="http://schemas.microsoft.com/office/drawing/2014/chart" uri="{C3380CC4-5D6E-409C-BE32-E72D297353CC}">
                <c16:uniqueId val="{00000006-E902-46E2-9A54-39A26B3DFDC1}"/>
              </c:ext>
            </c:extLst>
          </c:dPt>
          <c:dPt>
            <c:idx val="3"/>
            <c:invertIfNegative val="0"/>
            <c:bubble3D val="0"/>
            <c:spPr>
              <a:solidFill>
                <a:srgbClr val="AEABAB"/>
              </a:solidFill>
            </c:spPr>
            <c:extLst>
              <c:ext xmlns:c16="http://schemas.microsoft.com/office/drawing/2014/chart" uri="{C3380CC4-5D6E-409C-BE32-E72D297353CC}">
                <c16:uniqueId val="{00000007-E902-46E2-9A54-39A26B3DFDC1}"/>
              </c:ext>
            </c:extLst>
          </c:dPt>
          <c:dPt>
            <c:idx val="4"/>
            <c:invertIfNegative val="1"/>
            <c:bubble3D val="0"/>
            <c:spPr>
              <a:solidFill>
                <a:srgbClr val="AEABAB"/>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6</c:f>
              <c:strCache>
                <c:ptCount val="5"/>
                <c:pt idx="0">
                  <c:v>CHAMPAGNE E.NICOLAS ROSE 1CT X 750ML</c:v>
                </c:pt>
                <c:pt idx="1">
                  <c:v>CHAMPAGNE NICOLAS ROSE 1ERE CU 1CT X 750ML</c:v>
                </c:pt>
                <c:pt idx="2">
                  <c:v>1/2 CHAMP NICOLAS ROSE 1E C BS 1CT X 375ML</c:v>
                </c:pt>
                <c:pt idx="3">
                  <c:v>CHAMPAGNE NICOLAS ROSE 1ERE ET 1CT X 750ML</c:v>
                </c:pt>
                <c:pt idx="4">
                  <c:v>CHAMPAGNE NICOLAS ROSE 1E C BS 1CT X 750ML</c:v>
                </c:pt>
              </c:strCache>
            </c:strRef>
          </c:cat>
          <c:val>
            <c:numRef>
              <c:f>Sheet1!$C$2:$C$6</c:f>
              <c:numCache>
                <c:formatCode>General</c:formatCode>
                <c:ptCount val="5"/>
                <c:pt idx="0">
                  <c:v>0.68299756821274782</c:v>
                </c:pt>
                <c:pt idx="1">
                  <c:v>0.84967538986680935</c:v>
                </c:pt>
                <c:pt idx="2">
                  <c:v>0.94627758070633372</c:v>
                </c:pt>
                <c:pt idx="3">
                  <c:v>0.97726613568926657</c:v>
                </c:pt>
                <c:pt idx="4">
                  <c:v>0.99999999999999989</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6</c:f>
              <c:strCache>
                <c:ptCount val="5"/>
                <c:pt idx="0">
                  <c:v>CHAMPAGNE E.NICOLAS ROSE 1CT X 750ML</c:v>
                </c:pt>
                <c:pt idx="1">
                  <c:v>CHAMPAGNE NICOLAS ROSE 1ERE CU 1CT X 750ML</c:v>
                </c:pt>
                <c:pt idx="2">
                  <c:v>1/2 CHAMP NICOLAS ROSE 1E C BS 1CT X 375ML</c:v>
                </c:pt>
                <c:pt idx="3">
                  <c:v>CHAMPAGNE NICOLAS ROSE 1ERE ET 1CT X 750ML</c:v>
                </c:pt>
                <c:pt idx="4">
                  <c:v>CHAMPAGNE NICOLAS ROSE 1E C BS 1CT X 750ML</c:v>
                </c:pt>
              </c:strCache>
            </c:strRef>
          </c:cat>
          <c:val>
            <c:numRef>
              <c:f>Sheet1!$D$2:$D$6</c:f>
              <c:numCache>
                <c:formatCode>General</c:formatCode>
                <c:ptCount val="5"/>
                <c:pt idx="0">
                  <c:v>355.97674418604652</c:v>
                </c:pt>
                <c:pt idx="1">
                  <c:v>173.74418604651163</c:v>
                </c:pt>
                <c:pt idx="2">
                  <c:v>105.60975609756098</c:v>
                </c:pt>
                <c:pt idx="3">
                  <c:v>154.33333333333334</c:v>
                </c:pt>
                <c:pt idx="4">
                  <c:v>127.375</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6</c:f>
              <c:strCache>
                <c:ptCount val="5"/>
                <c:pt idx="0">
                  <c:v>CHAMPAGNE E.NICOLAS ROSE 1CT X 750ML</c:v>
                </c:pt>
                <c:pt idx="1">
                  <c:v>CHAMPAGNE NICOLAS ROSE 1ERE CU 1CT X 750ML</c:v>
                </c:pt>
                <c:pt idx="2">
                  <c:v>1/2 CHAMP NICOLAS ROSE 1E C BS 1CT X 375ML</c:v>
                </c:pt>
                <c:pt idx="3">
                  <c:v>CHAMPAGNE NICOLAS ROSE 1ERE ET 1CT X 750ML</c:v>
                </c:pt>
                <c:pt idx="4">
                  <c:v>CHAMPAGNE NICOLAS ROSE 1E C BS 1CT X 750ML</c:v>
                </c:pt>
              </c:strCache>
            </c:strRef>
          </c:cat>
          <c:val>
            <c:numRef>
              <c:f>Sheet1!$B$2:$B$6</c:f>
              <c:numCache>
                <c:formatCode>General</c:formatCode>
                <c:ptCount val="5"/>
                <c:pt idx="0">
                  <c:v>0.72</c:v>
                </c:pt>
                <c:pt idx="1">
                  <c:v>0.5</c:v>
                </c:pt>
                <c:pt idx="2">
                  <c:v>0.47</c:v>
                </c:pt>
                <c:pt idx="3">
                  <c:v>0.12</c:v>
                </c:pt>
                <c:pt idx="4">
                  <c:v>0.13</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7ECAC4"/>
              </a:solidFill>
            </c:spPr>
            <c:extLst>
              <c:ext xmlns:c16="http://schemas.microsoft.com/office/drawing/2014/chart" uri="{C3380CC4-5D6E-409C-BE32-E72D297353CC}">
                <c16:uniqueId val="{00000008-D8F4-40C6-A5E0-DB4B53CFB1F3}"/>
              </c:ext>
            </c:extLst>
          </c:dPt>
          <c:dPt>
            <c:idx val="2"/>
            <c:invertIfNegative val="0"/>
            <c:bubble3D val="0"/>
            <c:spPr>
              <a:solidFill>
                <a:srgbClr val="7ECAC4"/>
              </a:solidFill>
            </c:spPr>
            <c:extLst>
              <c:ext xmlns:c16="http://schemas.microsoft.com/office/drawing/2014/chart" uri="{C3380CC4-5D6E-409C-BE32-E72D297353CC}">
                <c16:uniqueId val="{00000006-E902-46E2-9A54-39A26B3DFDC1}"/>
              </c:ext>
            </c:extLst>
          </c:dPt>
          <c:dPt>
            <c:idx val="3"/>
            <c:invertIfNegative val="0"/>
            <c:bubble3D val="0"/>
            <c:spPr>
              <a:solidFill>
                <a:srgbClr val="AEABAB"/>
              </a:solidFill>
            </c:spPr>
            <c:extLst>
              <c:ext xmlns:c16="http://schemas.microsoft.com/office/drawing/2014/chart" uri="{C3380CC4-5D6E-409C-BE32-E72D297353CC}">
                <c16:uniqueId val="{00000007-E902-46E2-9A54-39A26B3DFDC1}"/>
              </c:ext>
            </c:extLst>
          </c:dPt>
          <c:dPt>
            <c:idx val="4"/>
            <c:invertIfNegative val="1"/>
            <c:bubble3D val="0"/>
            <c:spPr>
              <a:solidFill>
                <a:srgbClr val="AEABAB"/>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6</c:f>
              <c:strCache>
                <c:ptCount val="5"/>
                <c:pt idx="0">
                  <c:v>CHAMPAGNE E.NICOLAS ROSE 1CT X 750ML</c:v>
                </c:pt>
                <c:pt idx="1">
                  <c:v>CHAMPAGNE NICOLAS ROSE 1ERE CU 1CT X 750ML</c:v>
                </c:pt>
                <c:pt idx="2">
                  <c:v>1/2 CHAMP NICOLAS ROSE 1E C BS 1CT X 375ML</c:v>
                </c:pt>
                <c:pt idx="3">
                  <c:v>CHAMPAGNE NICOLAS ROSE 1ERE ET 1CT X 750ML</c:v>
                </c:pt>
                <c:pt idx="4">
                  <c:v>CHAMPAGNE NICOLAS ROSE 1E C BS 1CT X 750ML</c:v>
                </c:pt>
              </c:strCache>
            </c:strRef>
          </c:cat>
          <c:val>
            <c:numRef>
              <c:f>Sheet1!$C$2:$C$6</c:f>
              <c:numCache>
                <c:formatCode>General</c:formatCode>
                <c:ptCount val="5"/>
                <c:pt idx="0">
                  <c:v>0.64764024597276193</c:v>
                </c:pt>
                <c:pt idx="1">
                  <c:v>0.80933338363451168</c:v>
                </c:pt>
                <c:pt idx="2">
                  <c:v>0.92643452672878868</c:v>
                </c:pt>
                <c:pt idx="3">
                  <c:v>0.96653714113253109</c:v>
                </c:pt>
                <c:pt idx="4">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6</c:f>
              <c:strCache>
                <c:ptCount val="5"/>
                <c:pt idx="0">
                  <c:v>CHAMPAGNE E.NICOLAS ROSE 1CT X 750ML</c:v>
                </c:pt>
                <c:pt idx="1">
                  <c:v>CHAMPAGNE NICOLAS ROSE 1ERE CU 1CT X 750ML</c:v>
                </c:pt>
                <c:pt idx="2">
                  <c:v>1/2 CHAMP NICOLAS ROSE 1E C BS 1CT X 375ML</c:v>
                </c:pt>
                <c:pt idx="3">
                  <c:v>CHAMPAGNE NICOLAS ROSE 1ERE ET 1CT X 750ML</c:v>
                </c:pt>
                <c:pt idx="4">
                  <c:v>CHAMPAGNE NICOLAS ROSE 1E C BS 1CT X 750ML</c:v>
                </c:pt>
              </c:strCache>
            </c:strRef>
          </c:cat>
          <c:val>
            <c:numRef>
              <c:f>Sheet1!$D$2:$D$6</c:f>
              <c:numCache>
                <c:formatCode>General</c:formatCode>
                <c:ptCount val="5"/>
                <c:pt idx="0">
                  <c:v>238.43055555555554</c:v>
                </c:pt>
                <c:pt idx="1">
                  <c:v>85.72</c:v>
                </c:pt>
                <c:pt idx="2">
                  <c:v>66.042553191489361</c:v>
                </c:pt>
                <c:pt idx="3">
                  <c:v>88.583333333333329</c:v>
                </c:pt>
                <c:pt idx="4">
                  <c:v>68.230769230769226</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6</c:f>
              <c:strCache>
                <c:ptCount val="5"/>
                <c:pt idx="0">
                  <c:v>CHAMPAGNE E.NICOLAS ROSE 1CT X 750ML</c:v>
                </c:pt>
                <c:pt idx="1">
                  <c:v>CHAMPAGNE NICOLAS ROSE 1ERE CU 1CT X 750ML</c:v>
                </c:pt>
                <c:pt idx="2">
                  <c:v>1/2 CHAMP NICOLAS ROSE 1E C BS 1CT X 375ML</c:v>
                </c:pt>
                <c:pt idx="3">
                  <c:v>CHAMPAGNE NICOLAS ROSE 1E C BS 1CT X 750ML</c:v>
                </c:pt>
                <c:pt idx="4">
                  <c:v>CHAMPAGNE NICOLAS ROSE 1ERE ET 1CT X 750ML</c:v>
                </c:pt>
              </c:strCache>
            </c:strRef>
          </c:cat>
          <c:val>
            <c:numRef>
              <c:f>Sheet1!$B$2:$B$6</c:f>
              <c:numCache>
                <c:formatCode>General</c:formatCode>
                <c:ptCount val="5"/>
                <c:pt idx="0">
                  <c:v>0.68</c:v>
                </c:pt>
                <c:pt idx="1">
                  <c:v>0.47</c:v>
                </c:pt>
                <c:pt idx="2">
                  <c:v>0.46</c:v>
                </c:pt>
                <c:pt idx="3">
                  <c:v>0.13</c:v>
                </c:pt>
                <c:pt idx="4">
                  <c:v>0.1</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7ECAC4"/>
              </a:solidFill>
            </c:spPr>
            <c:extLst>
              <c:ext xmlns:c16="http://schemas.microsoft.com/office/drawing/2014/chart" uri="{C3380CC4-5D6E-409C-BE32-E72D297353CC}">
                <c16:uniqueId val="{00000008-D8F4-40C6-A5E0-DB4B53CFB1F3}"/>
              </c:ext>
            </c:extLst>
          </c:dPt>
          <c:dPt>
            <c:idx val="2"/>
            <c:invertIfNegative val="0"/>
            <c:bubble3D val="0"/>
            <c:spPr>
              <a:solidFill>
                <a:srgbClr val="7ECAC4"/>
              </a:solidFill>
            </c:spPr>
            <c:extLst>
              <c:ext xmlns:c16="http://schemas.microsoft.com/office/drawing/2014/chart" uri="{C3380CC4-5D6E-409C-BE32-E72D297353CC}">
                <c16:uniqueId val="{00000006-E902-46E2-9A54-39A26B3DFDC1}"/>
              </c:ext>
            </c:extLst>
          </c:dPt>
          <c:dPt>
            <c:idx val="3"/>
            <c:invertIfNegative val="0"/>
            <c:bubble3D val="0"/>
            <c:spPr>
              <a:solidFill>
                <a:srgbClr val="AEABAB"/>
              </a:solidFill>
            </c:spPr>
            <c:extLst>
              <c:ext xmlns:c16="http://schemas.microsoft.com/office/drawing/2014/chart" uri="{C3380CC4-5D6E-409C-BE32-E72D297353CC}">
                <c16:uniqueId val="{00000007-E902-46E2-9A54-39A26B3DFDC1}"/>
              </c:ext>
            </c:extLst>
          </c:dPt>
          <c:dPt>
            <c:idx val="4"/>
            <c:invertIfNegative val="1"/>
            <c:bubble3D val="0"/>
            <c:spPr>
              <a:solidFill>
                <a:srgbClr val="AEABAB"/>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6</c:f>
              <c:strCache>
                <c:ptCount val="5"/>
                <c:pt idx="0">
                  <c:v>CHAMPAGNE E.NICOLAS ROSE 1CT X 750ML</c:v>
                </c:pt>
                <c:pt idx="1">
                  <c:v>CHAMPAGNE NICOLAS ROSE 1ERE CU 1CT X 750ML</c:v>
                </c:pt>
                <c:pt idx="2">
                  <c:v>1/2 CHAMP NICOLAS ROSE 1E C BS 1CT X 375ML</c:v>
                </c:pt>
                <c:pt idx="3">
                  <c:v>CHAMPAGNE NICOLAS ROSE 1E C BS 1CT X 750ML</c:v>
                </c:pt>
                <c:pt idx="4">
                  <c:v>CHAMPAGNE NICOLAS ROSE 1ERE ET 1CT X 750ML</c:v>
                </c:pt>
              </c:strCache>
            </c:strRef>
          </c:cat>
          <c:val>
            <c:numRef>
              <c:f>Sheet1!$C$2:$C$6</c:f>
              <c:numCache>
                <c:formatCode>General</c:formatCode>
                <c:ptCount val="5"/>
                <c:pt idx="0">
                  <c:v>0.74181842174716284</c:v>
                </c:pt>
                <c:pt idx="1">
                  <c:v>0.86586170493533909</c:v>
                </c:pt>
                <c:pt idx="2">
                  <c:v>0.94312483504882549</c:v>
                </c:pt>
                <c:pt idx="3">
                  <c:v>0.99188440221694374</c:v>
                </c:pt>
                <c:pt idx="4">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6</c:f>
              <c:strCache>
                <c:ptCount val="5"/>
                <c:pt idx="0">
                  <c:v>CHAMPAGNE E.NICOLAS ROSE 1CT X 750ML</c:v>
                </c:pt>
                <c:pt idx="1">
                  <c:v>CHAMPAGNE NICOLAS ROSE 1ERE CU 1CT X 750ML</c:v>
                </c:pt>
                <c:pt idx="2">
                  <c:v>1/2 CHAMP NICOLAS ROSE 1E C BS 1CT X 375ML</c:v>
                </c:pt>
                <c:pt idx="3">
                  <c:v>CHAMPAGNE NICOLAS ROSE 1E C BS 1CT X 750ML</c:v>
                </c:pt>
                <c:pt idx="4">
                  <c:v>CHAMPAGNE NICOLAS ROSE 1ERE ET 1CT X 750ML</c:v>
                </c:pt>
              </c:strCache>
            </c:strRef>
          </c:cat>
          <c:val>
            <c:numRef>
              <c:f>Sheet1!$D$2:$D$6</c:f>
              <c:numCache>
                <c:formatCode>General</c:formatCode>
                <c:ptCount val="5"/>
                <c:pt idx="0">
                  <c:v>165.33823529411765</c:v>
                </c:pt>
                <c:pt idx="1">
                  <c:v>40</c:v>
                </c:pt>
                <c:pt idx="2">
                  <c:v>25.456521739130434</c:v>
                </c:pt>
                <c:pt idx="3">
                  <c:v>56.846153846153847</c:v>
                </c:pt>
                <c:pt idx="4">
                  <c:v>12.3</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6</c:f>
              <c:strCache>
                <c:ptCount val="5"/>
                <c:pt idx="0">
                  <c:v>CHAMPAGNE E.NICOLAS ROSE 1CT X 750ML</c:v>
                </c:pt>
                <c:pt idx="1">
                  <c:v>1/2 CHAMP NICOLAS ROSE 1E C BS 1CT X 375ML</c:v>
                </c:pt>
                <c:pt idx="2">
                  <c:v>CHAMPAGNE NICOLAS ROSE 1ERE CU 1CT X 750ML</c:v>
                </c:pt>
                <c:pt idx="3">
                  <c:v>CHAMPAGNE NICOLAS ROSE 1ERE ET 1CT X 750ML</c:v>
                </c:pt>
                <c:pt idx="4">
                  <c:v>CHAMPAGNE NICOLAS ROSE 1E C BS 1CT X 750ML</c:v>
                </c:pt>
              </c:strCache>
            </c:strRef>
          </c:cat>
          <c:val>
            <c:numRef>
              <c:f>Sheet1!$B$2:$B$6</c:f>
              <c:numCache>
                <c:formatCode>General</c:formatCode>
                <c:ptCount val="5"/>
                <c:pt idx="0">
                  <c:v>0.74</c:v>
                </c:pt>
                <c:pt idx="1">
                  <c:v>0.34</c:v>
                </c:pt>
                <c:pt idx="2">
                  <c:v>0.25</c:v>
                </c:pt>
                <c:pt idx="3">
                  <c:v>0.23</c:v>
                </c:pt>
                <c:pt idx="4">
                  <c:v>0.03</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7ECAC4"/>
              </a:solidFill>
            </c:spPr>
            <c:extLst>
              <c:ext xmlns:c16="http://schemas.microsoft.com/office/drawing/2014/chart" uri="{C3380CC4-5D6E-409C-BE32-E72D297353CC}">
                <c16:uniqueId val="{00000008-D8F4-40C6-A5E0-DB4B53CFB1F3}"/>
              </c:ext>
            </c:extLst>
          </c:dPt>
          <c:dPt>
            <c:idx val="2"/>
            <c:invertIfNegative val="0"/>
            <c:bubble3D val="0"/>
            <c:spPr>
              <a:solidFill>
                <a:srgbClr val="AEABAB"/>
              </a:solidFill>
            </c:spPr>
            <c:extLst>
              <c:ext xmlns:c16="http://schemas.microsoft.com/office/drawing/2014/chart" uri="{C3380CC4-5D6E-409C-BE32-E72D297353CC}">
                <c16:uniqueId val="{00000006-E902-46E2-9A54-39A26B3DFDC1}"/>
              </c:ext>
            </c:extLst>
          </c:dPt>
          <c:dPt>
            <c:idx val="3"/>
            <c:invertIfNegative val="0"/>
            <c:bubble3D val="0"/>
            <c:spPr>
              <a:solidFill>
                <a:srgbClr val="AEABAB"/>
              </a:solidFill>
            </c:spPr>
            <c:extLst>
              <c:ext xmlns:c16="http://schemas.microsoft.com/office/drawing/2014/chart" uri="{C3380CC4-5D6E-409C-BE32-E72D297353CC}">
                <c16:uniqueId val="{00000007-E902-46E2-9A54-39A26B3DFDC1}"/>
              </c:ext>
            </c:extLst>
          </c:dPt>
          <c:dPt>
            <c:idx val="4"/>
            <c:invertIfNegative val="1"/>
            <c:bubble3D val="0"/>
            <c:spPr>
              <a:solidFill>
                <a:srgbClr val="AEABAB"/>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6</c:f>
              <c:strCache>
                <c:ptCount val="5"/>
                <c:pt idx="0">
                  <c:v>CHAMPAGNE E.NICOLAS ROSE 1CT X 750ML</c:v>
                </c:pt>
                <c:pt idx="1">
                  <c:v>1/2 CHAMP NICOLAS ROSE 1E C BS 1CT X 375ML</c:v>
                </c:pt>
                <c:pt idx="2">
                  <c:v>CHAMPAGNE NICOLAS ROSE 1ERE CU 1CT X 750ML</c:v>
                </c:pt>
                <c:pt idx="3">
                  <c:v>CHAMPAGNE NICOLAS ROSE 1ERE ET 1CT X 750ML</c:v>
                </c:pt>
                <c:pt idx="4">
                  <c:v>CHAMPAGNE NICOLAS ROSE 1E C BS 1CT X 750ML</c:v>
                </c:pt>
              </c:strCache>
            </c:strRef>
          </c:cat>
          <c:val>
            <c:numRef>
              <c:f>Sheet1!$C$2:$C$6</c:f>
              <c:numCache>
                <c:formatCode>General</c:formatCode>
                <c:ptCount val="5"/>
                <c:pt idx="0">
                  <c:v>0.77703349282296652</c:v>
                </c:pt>
                <c:pt idx="1">
                  <c:v>0.87942583732057411</c:v>
                </c:pt>
                <c:pt idx="2">
                  <c:v>0.95443912812333864</c:v>
                </c:pt>
                <c:pt idx="3">
                  <c:v>0.99128123338649654</c:v>
                </c:pt>
                <c:pt idx="4">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6</c:f>
              <c:strCache>
                <c:ptCount val="5"/>
                <c:pt idx="0">
                  <c:v>CHAMPAGNE E.NICOLAS ROSE 1CT X 750ML</c:v>
                </c:pt>
                <c:pt idx="1">
                  <c:v>1/2 CHAMP NICOLAS ROSE 1E C BS 1CT X 375ML</c:v>
                </c:pt>
                <c:pt idx="2">
                  <c:v>CHAMPAGNE NICOLAS ROSE 1ERE CU 1CT X 750ML</c:v>
                </c:pt>
                <c:pt idx="3">
                  <c:v>CHAMPAGNE NICOLAS ROSE 1ERE ET 1CT X 750ML</c:v>
                </c:pt>
                <c:pt idx="4">
                  <c:v>CHAMPAGNE NICOLAS ROSE 1E C BS 1CT X 750ML</c:v>
                </c:pt>
              </c:strCache>
            </c:strRef>
          </c:cat>
          <c:val>
            <c:numRef>
              <c:f>Sheet1!$D$2:$D$6</c:f>
              <c:numCache>
                <c:formatCode>General</c:formatCode>
                <c:ptCount val="5"/>
                <c:pt idx="0">
                  <c:v>197.51351351351352</c:v>
                </c:pt>
                <c:pt idx="1">
                  <c:v>56.647058823529413</c:v>
                </c:pt>
                <c:pt idx="2">
                  <c:v>56.44</c:v>
                </c:pt>
                <c:pt idx="3">
                  <c:v>30.130434782608695</c:v>
                </c:pt>
                <c:pt idx="4">
                  <c:v>54.666666666666664</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6</c:f>
              <c:strCache>
                <c:ptCount val="5"/>
                <c:pt idx="0">
                  <c:v>CHAMPAGNE E.NICOLAS ROSE 1CT X 750ML</c:v>
                </c:pt>
                <c:pt idx="1">
                  <c:v>CHAMPAGNE NICOLAS ROSE 1ERE CU 1CT X 750ML</c:v>
                </c:pt>
                <c:pt idx="2">
                  <c:v>1/2 CHAMP NICOLAS ROSE 1E C BS 1CT X 375ML</c:v>
                </c:pt>
                <c:pt idx="3">
                  <c:v>CHAMPAGNE NICOLAS ROSE 1ERE ET 1CT X 750ML</c:v>
                </c:pt>
                <c:pt idx="4">
                  <c:v>CHAMPAGNE NICOLAS ROSE 1E C BS 1CT X 750ML</c:v>
                </c:pt>
              </c:strCache>
            </c:strRef>
          </c:cat>
          <c:val>
            <c:numRef>
              <c:f>Sheet1!$B$2:$B$6</c:f>
              <c:numCache>
                <c:formatCode>General</c:formatCode>
                <c:ptCount val="5"/>
                <c:pt idx="0">
                  <c:v>0.73</c:v>
                </c:pt>
                <c:pt idx="1">
                  <c:v>0.42</c:v>
                </c:pt>
                <c:pt idx="2">
                  <c:v>0.42</c:v>
                </c:pt>
                <c:pt idx="3">
                  <c:v>0.14000000000000001</c:v>
                </c:pt>
                <c:pt idx="4">
                  <c:v>7.0000000000000007E-2</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7ECAC4"/>
              </a:solidFill>
            </c:spPr>
            <c:extLst>
              <c:ext xmlns:c16="http://schemas.microsoft.com/office/drawing/2014/chart" uri="{C3380CC4-5D6E-409C-BE32-E72D297353CC}">
                <c16:uniqueId val="{00000008-D8F4-40C6-A5E0-DB4B53CFB1F3}"/>
              </c:ext>
            </c:extLst>
          </c:dPt>
          <c:dPt>
            <c:idx val="2"/>
            <c:invertIfNegative val="0"/>
            <c:bubble3D val="0"/>
            <c:spPr>
              <a:solidFill>
                <a:srgbClr val="7ECAC4"/>
              </a:solidFill>
            </c:spPr>
            <c:extLst>
              <c:ext xmlns:c16="http://schemas.microsoft.com/office/drawing/2014/chart" uri="{C3380CC4-5D6E-409C-BE32-E72D297353CC}">
                <c16:uniqueId val="{00000006-E902-46E2-9A54-39A26B3DFDC1}"/>
              </c:ext>
            </c:extLst>
          </c:dPt>
          <c:dPt>
            <c:idx val="3"/>
            <c:invertIfNegative val="0"/>
            <c:bubble3D val="0"/>
            <c:spPr>
              <a:solidFill>
                <a:srgbClr val="AEABAB"/>
              </a:solidFill>
            </c:spPr>
            <c:extLst>
              <c:ext xmlns:c16="http://schemas.microsoft.com/office/drawing/2014/chart" uri="{C3380CC4-5D6E-409C-BE32-E72D297353CC}">
                <c16:uniqueId val="{00000007-E902-46E2-9A54-39A26B3DFDC1}"/>
              </c:ext>
            </c:extLst>
          </c:dPt>
          <c:dPt>
            <c:idx val="4"/>
            <c:invertIfNegative val="1"/>
            <c:bubble3D val="0"/>
            <c:spPr>
              <a:solidFill>
                <a:srgbClr val="AEABAB"/>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6</c:f>
              <c:strCache>
                <c:ptCount val="5"/>
                <c:pt idx="0">
                  <c:v>CHAMPAGNE E.NICOLAS ROSE 1CT X 750ML</c:v>
                </c:pt>
                <c:pt idx="1">
                  <c:v>CHAMPAGNE NICOLAS ROSE 1ERE CU 1CT X 750ML</c:v>
                </c:pt>
                <c:pt idx="2">
                  <c:v>1/2 CHAMP NICOLAS ROSE 1E C BS 1CT X 375ML</c:v>
                </c:pt>
                <c:pt idx="3">
                  <c:v>CHAMPAGNE NICOLAS ROSE 1ERE ET 1CT X 750ML</c:v>
                </c:pt>
                <c:pt idx="4">
                  <c:v>CHAMPAGNE NICOLAS ROSE 1E C BS 1CT X 750ML</c:v>
                </c:pt>
              </c:strCache>
            </c:strRef>
          </c:cat>
          <c:val>
            <c:numRef>
              <c:f>Sheet1!$C$2:$C$6</c:f>
              <c:numCache>
                <c:formatCode>General</c:formatCode>
                <c:ptCount val="5"/>
                <c:pt idx="0">
                  <c:v>0.67289203226875893</c:v>
                </c:pt>
                <c:pt idx="1">
                  <c:v>0.81379157918001988</c:v>
                </c:pt>
                <c:pt idx="2">
                  <c:v>0.93968025932883925</c:v>
                </c:pt>
                <c:pt idx="3">
                  <c:v>0.98832283493572026</c:v>
                </c:pt>
                <c:pt idx="4">
                  <c:v>0.99999999999999989</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6</c:f>
              <c:strCache>
                <c:ptCount val="5"/>
                <c:pt idx="0">
                  <c:v>CHAMPAGNE E.NICOLAS ROSE 1CT X 750ML</c:v>
                </c:pt>
                <c:pt idx="1">
                  <c:v>CHAMPAGNE NICOLAS ROSE 1ERE CU 1CT X 750ML</c:v>
                </c:pt>
                <c:pt idx="2">
                  <c:v>1/2 CHAMP NICOLAS ROSE 1E C BS 1CT X 375ML</c:v>
                </c:pt>
                <c:pt idx="3">
                  <c:v>CHAMPAGNE NICOLAS ROSE 1ERE ET 1CT X 750ML</c:v>
                </c:pt>
                <c:pt idx="4">
                  <c:v>CHAMPAGNE NICOLAS ROSE 1E C BS 1CT X 750ML</c:v>
                </c:pt>
              </c:strCache>
            </c:strRef>
          </c:cat>
          <c:val>
            <c:numRef>
              <c:f>Sheet1!$D$2:$D$6</c:f>
              <c:numCache>
                <c:formatCode>General</c:formatCode>
                <c:ptCount val="5"/>
                <c:pt idx="0">
                  <c:v>1000.931506849315</c:v>
                </c:pt>
                <c:pt idx="1">
                  <c:v>364.28571428571428</c:v>
                </c:pt>
                <c:pt idx="2">
                  <c:v>325.47619047619048</c:v>
                </c:pt>
                <c:pt idx="3">
                  <c:v>377.28571428571422</c:v>
                </c:pt>
                <c:pt idx="4">
                  <c:v>181.14285714285711</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6</c:f>
              <c:strCache>
                <c:ptCount val="5"/>
                <c:pt idx="0">
                  <c:v>CHAMPAGNE E.NICOLAS ROSE 1CT X 750ML</c:v>
                </c:pt>
                <c:pt idx="1">
                  <c:v>CHAMPAGNE NICOLAS ROSE 1ERE CU 1CT X 750ML</c:v>
                </c:pt>
                <c:pt idx="2">
                  <c:v>1/2 CHAMP NICOLAS ROSE 1E C BS 1CT X 375ML</c:v>
                </c:pt>
                <c:pt idx="3">
                  <c:v>CHAMPAGNE NICOLAS ROSE 1ERE ET 1CT X 750ML</c:v>
                </c:pt>
                <c:pt idx="4">
                  <c:v>CHAMPAGNE NICOLAS ROSE 1E C BS 1CT X 750ML</c:v>
                </c:pt>
              </c:strCache>
            </c:strRef>
          </c:cat>
          <c:val>
            <c:numRef>
              <c:f>Sheet1!$B$2:$B$6</c:f>
              <c:numCache>
                <c:formatCode>General</c:formatCode>
                <c:ptCount val="5"/>
                <c:pt idx="0">
                  <c:v>0.75</c:v>
                </c:pt>
                <c:pt idx="1">
                  <c:v>0.32</c:v>
                </c:pt>
                <c:pt idx="2">
                  <c:v>0.32</c:v>
                </c:pt>
                <c:pt idx="3">
                  <c:v>0.16</c:v>
                </c:pt>
                <c:pt idx="4">
                  <c:v>0.04</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7ECAC4"/>
              </a:solidFill>
            </c:spPr>
            <c:extLst>
              <c:ext xmlns:c16="http://schemas.microsoft.com/office/drawing/2014/chart" uri="{C3380CC4-5D6E-409C-BE32-E72D297353CC}">
                <c16:uniqueId val="{00000008-D8F4-40C6-A5E0-DB4B53CFB1F3}"/>
              </c:ext>
            </c:extLst>
          </c:dPt>
          <c:dPt>
            <c:idx val="2"/>
            <c:invertIfNegative val="0"/>
            <c:bubble3D val="0"/>
            <c:spPr>
              <a:solidFill>
                <a:srgbClr val="7ECAC4"/>
              </a:solidFill>
            </c:spPr>
            <c:extLst>
              <c:ext xmlns:c16="http://schemas.microsoft.com/office/drawing/2014/chart" uri="{C3380CC4-5D6E-409C-BE32-E72D297353CC}">
                <c16:uniqueId val="{00000006-E902-46E2-9A54-39A26B3DFDC1}"/>
              </c:ext>
            </c:extLst>
          </c:dPt>
          <c:dPt>
            <c:idx val="3"/>
            <c:invertIfNegative val="0"/>
            <c:bubble3D val="0"/>
            <c:spPr>
              <a:solidFill>
                <a:srgbClr val="AEABAB"/>
              </a:solidFill>
            </c:spPr>
            <c:extLst>
              <c:ext xmlns:c16="http://schemas.microsoft.com/office/drawing/2014/chart" uri="{C3380CC4-5D6E-409C-BE32-E72D297353CC}">
                <c16:uniqueId val="{00000007-E902-46E2-9A54-39A26B3DFDC1}"/>
              </c:ext>
            </c:extLst>
          </c:dPt>
          <c:dPt>
            <c:idx val="4"/>
            <c:invertIfNegative val="1"/>
            <c:bubble3D val="0"/>
            <c:spPr>
              <a:solidFill>
                <a:srgbClr val="AEABAB"/>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6</c:f>
              <c:strCache>
                <c:ptCount val="5"/>
                <c:pt idx="0">
                  <c:v>CHAMPAGNE E.NICOLAS ROSE 1CT X 750ML</c:v>
                </c:pt>
                <c:pt idx="1">
                  <c:v>CHAMPAGNE NICOLAS ROSE 1ERE CU 1CT X 750ML</c:v>
                </c:pt>
                <c:pt idx="2">
                  <c:v>1/2 CHAMP NICOLAS ROSE 1E C BS 1CT X 375ML</c:v>
                </c:pt>
                <c:pt idx="3">
                  <c:v>CHAMPAGNE NICOLAS ROSE 1ERE ET 1CT X 750ML</c:v>
                </c:pt>
                <c:pt idx="4">
                  <c:v>CHAMPAGNE NICOLAS ROSE 1E C BS 1CT X 750ML</c:v>
                </c:pt>
              </c:strCache>
            </c:strRef>
          </c:cat>
          <c:val>
            <c:numRef>
              <c:f>Sheet1!$C$2:$C$6</c:f>
              <c:numCache>
                <c:formatCode>General</c:formatCode>
                <c:ptCount val="5"/>
                <c:pt idx="0">
                  <c:v>0.6706627225076548</c:v>
                </c:pt>
                <c:pt idx="1">
                  <c:v>0.82133651633885174</c:v>
                </c:pt>
                <c:pt idx="2">
                  <c:v>0.93793139239192491</c:v>
                </c:pt>
                <c:pt idx="3">
                  <c:v>0.98669711280640759</c:v>
                </c:pt>
                <c:pt idx="4">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6</c:f>
              <c:strCache>
                <c:ptCount val="5"/>
                <c:pt idx="0">
                  <c:v>CHAMPAGNE E.NICOLAS ROSE 1CT X 750ML</c:v>
                </c:pt>
                <c:pt idx="1">
                  <c:v>CHAMPAGNE NICOLAS ROSE 1ERE CU 1CT X 750ML</c:v>
                </c:pt>
                <c:pt idx="2">
                  <c:v>1/2 CHAMP NICOLAS ROSE 1E C BS 1CT X 375ML</c:v>
                </c:pt>
                <c:pt idx="3">
                  <c:v>CHAMPAGNE NICOLAS ROSE 1ERE ET 1CT X 750ML</c:v>
                </c:pt>
                <c:pt idx="4">
                  <c:v>CHAMPAGNE NICOLAS ROSE 1E C BS 1CT X 750ML</c:v>
                </c:pt>
              </c:strCache>
            </c:strRef>
          </c:cat>
          <c:val>
            <c:numRef>
              <c:f>Sheet1!$D$2:$D$6</c:f>
              <c:numCache>
                <c:formatCode>General</c:formatCode>
                <c:ptCount val="5"/>
                <c:pt idx="0">
                  <c:v>516.91999999999996</c:v>
                </c:pt>
                <c:pt idx="1">
                  <c:v>272.1875</c:v>
                </c:pt>
                <c:pt idx="2">
                  <c:v>210.625</c:v>
                </c:pt>
                <c:pt idx="3">
                  <c:v>176.1875</c:v>
                </c:pt>
                <c:pt idx="4">
                  <c:v>192.25</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6</c:f>
              <c:strCache>
                <c:ptCount val="5"/>
                <c:pt idx="0">
                  <c:v>CHAMPAGNE E.NICOLAS ROSE 1CT X 750ML</c:v>
                </c:pt>
                <c:pt idx="1">
                  <c:v>CHAMPAGNE NICOLAS ROSE 1ERE CU 1CT X 750ML</c:v>
                </c:pt>
                <c:pt idx="2">
                  <c:v>1/2 CHAMP NICOLAS ROSE 1E C BS 1CT X 375ML</c:v>
                </c:pt>
                <c:pt idx="3">
                  <c:v>CHAMPAGNE NICOLAS ROSE 1ERE ET 1CT X 750ML</c:v>
                </c:pt>
                <c:pt idx="4">
                  <c:v>CHAMPAGNE NICOLAS ROSE 1E C BS 1CT X 750ML</c:v>
                </c:pt>
              </c:strCache>
            </c:strRef>
          </c:cat>
          <c:val>
            <c:numRef>
              <c:f>Sheet1!$B$2:$B$6</c:f>
              <c:numCache>
                <c:formatCode>General</c:formatCode>
                <c:ptCount val="5"/>
                <c:pt idx="0">
                  <c:v>0.56000000000000005</c:v>
                </c:pt>
                <c:pt idx="1">
                  <c:v>0.32</c:v>
                </c:pt>
                <c:pt idx="2">
                  <c:v>0.23</c:v>
                </c:pt>
                <c:pt idx="3">
                  <c:v>0.09</c:v>
                </c:pt>
                <c:pt idx="4">
                  <c:v>0.06</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7ECAC4"/>
              </a:solidFill>
            </c:spPr>
            <c:extLst>
              <c:ext xmlns:c16="http://schemas.microsoft.com/office/drawing/2014/chart" uri="{C3380CC4-5D6E-409C-BE32-E72D297353CC}">
                <c16:uniqueId val="{00000008-D8F4-40C6-A5E0-DB4B53CFB1F3}"/>
              </c:ext>
            </c:extLst>
          </c:dPt>
          <c:dPt>
            <c:idx val="2"/>
            <c:invertIfNegative val="0"/>
            <c:bubble3D val="0"/>
            <c:spPr>
              <a:solidFill>
                <a:srgbClr val="7ECAC4"/>
              </a:solidFill>
            </c:spPr>
            <c:extLst>
              <c:ext xmlns:c16="http://schemas.microsoft.com/office/drawing/2014/chart" uri="{C3380CC4-5D6E-409C-BE32-E72D297353CC}">
                <c16:uniqueId val="{00000006-E902-46E2-9A54-39A26B3DFDC1}"/>
              </c:ext>
            </c:extLst>
          </c:dPt>
          <c:dPt>
            <c:idx val="3"/>
            <c:invertIfNegative val="0"/>
            <c:bubble3D val="0"/>
            <c:spPr>
              <a:solidFill>
                <a:srgbClr val="AEABAB"/>
              </a:solidFill>
            </c:spPr>
            <c:extLst>
              <c:ext xmlns:c16="http://schemas.microsoft.com/office/drawing/2014/chart" uri="{C3380CC4-5D6E-409C-BE32-E72D297353CC}">
                <c16:uniqueId val="{00000007-E902-46E2-9A54-39A26B3DFDC1}"/>
              </c:ext>
            </c:extLst>
          </c:dPt>
          <c:dPt>
            <c:idx val="4"/>
            <c:invertIfNegative val="1"/>
            <c:bubble3D val="0"/>
            <c:spPr>
              <a:solidFill>
                <a:srgbClr val="AEABAB"/>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6</c:f>
              <c:strCache>
                <c:ptCount val="5"/>
                <c:pt idx="0">
                  <c:v>CHAMPAGNE E.NICOLAS ROSE 1CT X 750ML</c:v>
                </c:pt>
                <c:pt idx="1">
                  <c:v>CHAMPAGNE NICOLAS ROSE 1ERE CU 1CT X 750ML</c:v>
                </c:pt>
                <c:pt idx="2">
                  <c:v>1/2 CHAMP NICOLAS ROSE 1E C BS 1CT X 375ML</c:v>
                </c:pt>
                <c:pt idx="3">
                  <c:v>CHAMPAGNE NICOLAS ROSE 1ERE ET 1CT X 750ML</c:v>
                </c:pt>
                <c:pt idx="4">
                  <c:v>CHAMPAGNE NICOLAS ROSE 1E C BS 1CT X 750ML</c:v>
                </c:pt>
              </c:strCache>
            </c:strRef>
          </c:cat>
          <c:val>
            <c:numRef>
              <c:f>Sheet1!$C$2:$C$6</c:f>
              <c:numCache>
                <c:formatCode>General</c:formatCode>
                <c:ptCount val="5"/>
                <c:pt idx="0">
                  <c:v>0.6386834516297234</c:v>
                </c:pt>
                <c:pt idx="1">
                  <c:v>0.81498941185234053</c:v>
                </c:pt>
                <c:pt idx="2">
                  <c:v>0.93743947729667032</c:v>
                </c:pt>
                <c:pt idx="3">
                  <c:v>0.97499281708575869</c:v>
                </c:pt>
                <c:pt idx="4">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6</c:f>
              <c:strCache>
                <c:ptCount val="5"/>
                <c:pt idx="0">
                  <c:v>CHAMPAGNE E.NICOLAS ROSE 1CT X 750ML</c:v>
                </c:pt>
                <c:pt idx="1">
                  <c:v>CHAMPAGNE NICOLAS ROSE 1ERE CU 1CT X 750ML</c:v>
                </c:pt>
                <c:pt idx="2">
                  <c:v>1/2 CHAMP NICOLAS ROSE 1E C BS 1CT X 375ML</c:v>
                </c:pt>
                <c:pt idx="3">
                  <c:v>CHAMPAGNE NICOLAS ROSE 1ERE ET 1CT X 750ML</c:v>
                </c:pt>
                <c:pt idx="4">
                  <c:v>CHAMPAGNE NICOLAS ROSE 1E C BS 1CT X 750ML</c:v>
                </c:pt>
              </c:strCache>
            </c:strRef>
          </c:cat>
          <c:val>
            <c:numRef>
              <c:f>Sheet1!$D$2:$D$6</c:f>
              <c:numCache>
                <c:formatCode>General</c:formatCode>
                <c:ptCount val="5"/>
                <c:pt idx="0">
                  <c:v>1071.7678571428571</c:v>
                </c:pt>
                <c:pt idx="1">
                  <c:v>517.75</c:v>
                </c:pt>
                <c:pt idx="2">
                  <c:v>500.30434782608694</c:v>
                </c:pt>
                <c:pt idx="3">
                  <c:v>392.11111111111109</c:v>
                </c:pt>
                <c:pt idx="4">
                  <c:v>391.6666666666666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6</c:f>
              <c:strCache>
                <c:ptCount val="5"/>
                <c:pt idx="0">
                  <c:v>CHAMPAGNE E.NICOLAS ROSE 1CT X 750ML</c:v>
                </c:pt>
                <c:pt idx="1">
                  <c:v>CHAMPAGNE NICOLAS ROSE 1ERE CU 1CT X 750ML</c:v>
                </c:pt>
                <c:pt idx="2">
                  <c:v>1/2 CHAMP NICOLAS ROSE 1E C BS 1CT X 375ML</c:v>
                </c:pt>
                <c:pt idx="3">
                  <c:v>CHAMPAGNE NICOLAS ROSE 1ERE ET 1CT X 750ML</c:v>
                </c:pt>
                <c:pt idx="4">
                  <c:v>CHAMPAGNE NICOLAS ROSE 1E C BS 1CT X 750ML</c:v>
                </c:pt>
              </c:strCache>
            </c:strRef>
          </c:cat>
          <c:val>
            <c:numRef>
              <c:f>Sheet1!$B$2:$B$6</c:f>
              <c:numCache>
                <c:formatCode>General</c:formatCode>
                <c:ptCount val="5"/>
                <c:pt idx="0">
                  <c:v>0.53</c:v>
                </c:pt>
                <c:pt idx="1">
                  <c:v>0.28000000000000003</c:v>
                </c:pt>
                <c:pt idx="2">
                  <c:v>0.18</c:v>
                </c:pt>
                <c:pt idx="3">
                  <c:v>0.05</c:v>
                </c:pt>
                <c:pt idx="4">
                  <c:v>7.0000000000000007E-2</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7ECAC4"/>
              </a:solidFill>
            </c:spPr>
            <c:extLst>
              <c:ext xmlns:c16="http://schemas.microsoft.com/office/drawing/2014/chart" uri="{C3380CC4-5D6E-409C-BE32-E72D297353CC}">
                <c16:uniqueId val="{00000008-D8F4-40C6-A5E0-DB4B53CFB1F3}"/>
              </c:ext>
            </c:extLst>
          </c:dPt>
          <c:dPt>
            <c:idx val="2"/>
            <c:invertIfNegative val="0"/>
            <c:bubble3D val="0"/>
            <c:spPr>
              <a:solidFill>
                <a:srgbClr val="7ECAC4"/>
              </a:solidFill>
            </c:spPr>
            <c:extLst>
              <c:ext xmlns:c16="http://schemas.microsoft.com/office/drawing/2014/chart" uri="{C3380CC4-5D6E-409C-BE32-E72D297353CC}">
                <c16:uniqueId val="{00000006-E902-46E2-9A54-39A26B3DFDC1}"/>
              </c:ext>
            </c:extLst>
          </c:dPt>
          <c:dPt>
            <c:idx val="3"/>
            <c:invertIfNegative val="0"/>
            <c:bubble3D val="0"/>
            <c:spPr>
              <a:solidFill>
                <a:srgbClr val="AEABAB"/>
              </a:solidFill>
            </c:spPr>
            <c:extLst>
              <c:ext xmlns:c16="http://schemas.microsoft.com/office/drawing/2014/chart" uri="{C3380CC4-5D6E-409C-BE32-E72D297353CC}">
                <c16:uniqueId val="{00000007-E902-46E2-9A54-39A26B3DFDC1}"/>
              </c:ext>
            </c:extLst>
          </c:dPt>
          <c:dPt>
            <c:idx val="4"/>
            <c:invertIfNegative val="1"/>
            <c:bubble3D val="0"/>
            <c:spPr>
              <a:solidFill>
                <a:srgbClr val="AEABAB"/>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6</c:f>
              <c:strCache>
                <c:ptCount val="5"/>
                <c:pt idx="0">
                  <c:v>CHAMPAGNE E.NICOLAS ROSE 1CT X 750ML</c:v>
                </c:pt>
                <c:pt idx="1">
                  <c:v>CHAMPAGNE NICOLAS ROSE 1ERE CU 1CT X 750ML</c:v>
                </c:pt>
                <c:pt idx="2">
                  <c:v>1/2 CHAMP NICOLAS ROSE 1E C BS 1CT X 375ML</c:v>
                </c:pt>
                <c:pt idx="3">
                  <c:v>CHAMPAGNE NICOLAS ROSE 1ERE ET 1CT X 750ML</c:v>
                </c:pt>
                <c:pt idx="4">
                  <c:v>CHAMPAGNE NICOLAS ROSE 1E C BS 1CT X 750ML</c:v>
                </c:pt>
              </c:strCache>
            </c:strRef>
          </c:cat>
          <c:val>
            <c:numRef>
              <c:f>Sheet1!$C$2:$C$6</c:f>
              <c:numCache>
                <c:formatCode>General</c:formatCode>
                <c:ptCount val="5"/>
                <c:pt idx="0">
                  <c:v>0.66480881725289342</c:v>
                </c:pt>
                <c:pt idx="1">
                  <c:v>0.83863071476990281</c:v>
                </c:pt>
                <c:pt idx="2">
                  <c:v>0.93870352238206423</c:v>
                </c:pt>
                <c:pt idx="3">
                  <c:v>0.97812005724184681</c:v>
                </c:pt>
                <c:pt idx="4">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6</c:f>
              <c:strCache>
                <c:ptCount val="5"/>
                <c:pt idx="0">
                  <c:v>CHAMPAGNE E.NICOLAS ROSE 1CT X 750ML</c:v>
                </c:pt>
                <c:pt idx="1">
                  <c:v>CHAMPAGNE NICOLAS ROSE 1ERE CU 1CT X 750ML</c:v>
                </c:pt>
                <c:pt idx="2">
                  <c:v>1/2 CHAMP NICOLAS ROSE 1E C BS 1CT X 375ML</c:v>
                </c:pt>
                <c:pt idx="3">
                  <c:v>CHAMPAGNE NICOLAS ROSE 1ERE ET 1CT X 750ML</c:v>
                </c:pt>
                <c:pt idx="4">
                  <c:v>CHAMPAGNE NICOLAS ROSE 1E C BS 1CT X 750ML</c:v>
                </c:pt>
              </c:strCache>
            </c:strRef>
          </c:cat>
          <c:val>
            <c:numRef>
              <c:f>Sheet1!$D$2:$D$6</c:f>
              <c:numCache>
                <c:formatCode>General</c:formatCode>
                <c:ptCount val="5"/>
                <c:pt idx="0">
                  <c:v>999.24528301886789</c:v>
                </c:pt>
                <c:pt idx="1">
                  <c:v>494.53571428571422</c:v>
                </c:pt>
                <c:pt idx="2">
                  <c:v>442.88888888888891</c:v>
                </c:pt>
                <c:pt idx="3">
                  <c:v>628</c:v>
                </c:pt>
                <c:pt idx="4">
                  <c:v>248.99999999999997</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6</c:f>
              <c:strCache>
                <c:ptCount val="5"/>
                <c:pt idx="0">
                  <c:v>CHAMPAGNE E.NICOLAS ROSE 1CT X 750ML</c:v>
                </c:pt>
                <c:pt idx="1">
                  <c:v>1/2 CHAMP NICOLAS ROSE 1E C BS 1CT X 375ML</c:v>
                </c:pt>
                <c:pt idx="2">
                  <c:v>CHAMPAGNE NICOLAS ROSE 1ERE CU 1CT X 750ML</c:v>
                </c:pt>
                <c:pt idx="3">
                  <c:v>CHAMPAGNE NICOLAS ROSE 1E C BS 1CT X 750ML</c:v>
                </c:pt>
                <c:pt idx="4">
                  <c:v>CHAMPAGNE NICOLAS ROSE 1ERE ET 1CT X 750ML</c:v>
                </c:pt>
              </c:strCache>
            </c:strRef>
          </c:cat>
          <c:val>
            <c:numRef>
              <c:f>Sheet1!$B$2:$B$6</c:f>
              <c:numCache>
                <c:formatCode>General</c:formatCode>
                <c:ptCount val="5"/>
                <c:pt idx="0">
                  <c:v>0.45</c:v>
                </c:pt>
                <c:pt idx="1">
                  <c:v>0.2</c:v>
                </c:pt>
                <c:pt idx="2">
                  <c:v>0.17</c:v>
                </c:pt>
                <c:pt idx="3">
                  <c:v>0.04</c:v>
                </c:pt>
                <c:pt idx="4">
                  <c:v>0.03</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7ECAC4"/>
              </a:solidFill>
            </c:spPr>
            <c:extLst>
              <c:ext xmlns:c16="http://schemas.microsoft.com/office/drawing/2014/chart" uri="{C3380CC4-5D6E-409C-BE32-E72D297353CC}">
                <c16:uniqueId val="{00000008-D8F4-40C6-A5E0-DB4B53CFB1F3}"/>
              </c:ext>
            </c:extLst>
          </c:dPt>
          <c:dPt>
            <c:idx val="2"/>
            <c:invertIfNegative val="0"/>
            <c:bubble3D val="0"/>
            <c:spPr>
              <a:solidFill>
                <a:srgbClr val="7ECAC4"/>
              </a:solidFill>
            </c:spPr>
            <c:extLst>
              <c:ext xmlns:c16="http://schemas.microsoft.com/office/drawing/2014/chart" uri="{C3380CC4-5D6E-409C-BE32-E72D297353CC}">
                <c16:uniqueId val="{00000006-E902-46E2-9A54-39A26B3DFDC1}"/>
              </c:ext>
            </c:extLst>
          </c:dPt>
          <c:dPt>
            <c:idx val="3"/>
            <c:invertIfNegative val="0"/>
            <c:bubble3D val="0"/>
            <c:spPr>
              <a:solidFill>
                <a:srgbClr val="AEABAB"/>
              </a:solidFill>
            </c:spPr>
            <c:extLst>
              <c:ext xmlns:c16="http://schemas.microsoft.com/office/drawing/2014/chart" uri="{C3380CC4-5D6E-409C-BE32-E72D297353CC}">
                <c16:uniqueId val="{00000007-E902-46E2-9A54-39A26B3DFDC1}"/>
              </c:ext>
            </c:extLst>
          </c:dPt>
          <c:dPt>
            <c:idx val="4"/>
            <c:invertIfNegative val="1"/>
            <c:bubble3D val="0"/>
            <c:spPr>
              <a:solidFill>
                <a:srgbClr val="AEABAB"/>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6</c:f>
              <c:strCache>
                <c:ptCount val="5"/>
                <c:pt idx="0">
                  <c:v>CHAMPAGNE E.NICOLAS ROSE 1CT X 750ML</c:v>
                </c:pt>
                <c:pt idx="1">
                  <c:v>1/2 CHAMP NICOLAS ROSE 1E C BS 1CT X 375ML</c:v>
                </c:pt>
                <c:pt idx="2">
                  <c:v>CHAMPAGNE NICOLAS ROSE 1ERE CU 1CT X 750ML</c:v>
                </c:pt>
                <c:pt idx="3">
                  <c:v>CHAMPAGNE NICOLAS ROSE 1E C BS 1CT X 750ML</c:v>
                </c:pt>
                <c:pt idx="4">
                  <c:v>CHAMPAGNE NICOLAS ROSE 1ERE ET 1CT X 750ML</c:v>
                </c:pt>
              </c:strCache>
            </c:strRef>
          </c:cat>
          <c:val>
            <c:numRef>
              <c:f>Sheet1!$C$2:$C$6</c:f>
              <c:numCache>
                <c:formatCode>General</c:formatCode>
                <c:ptCount val="5"/>
                <c:pt idx="0">
                  <c:v>0.71175248948293313</c:v>
                </c:pt>
                <c:pt idx="1">
                  <c:v>0.83546780978752866</c:v>
                </c:pt>
                <c:pt idx="2">
                  <c:v>0.94416635603599763</c:v>
                </c:pt>
                <c:pt idx="3">
                  <c:v>0.98888385963043823</c:v>
                </c:pt>
                <c:pt idx="4">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6</c:f>
              <c:strCache>
                <c:ptCount val="5"/>
                <c:pt idx="0">
                  <c:v>CHAMPAGNE E.NICOLAS ROSE 1CT X 750ML</c:v>
                </c:pt>
                <c:pt idx="1">
                  <c:v>1/2 CHAMP NICOLAS ROSE 1E C BS 1CT X 375ML</c:v>
                </c:pt>
                <c:pt idx="2">
                  <c:v>CHAMPAGNE NICOLAS ROSE 1ERE CU 1CT X 750ML</c:v>
                </c:pt>
                <c:pt idx="3">
                  <c:v>CHAMPAGNE NICOLAS ROSE 1E C BS 1CT X 750ML</c:v>
                </c:pt>
                <c:pt idx="4">
                  <c:v>CHAMPAGNE NICOLAS ROSE 1ERE ET 1CT X 750ML</c:v>
                </c:pt>
              </c:strCache>
            </c:strRef>
          </c:cat>
          <c:val>
            <c:numRef>
              <c:f>Sheet1!$D$2:$D$6</c:f>
              <c:numCache>
                <c:formatCode>General</c:formatCode>
                <c:ptCount val="5"/>
                <c:pt idx="0">
                  <c:v>1188.088888888889</c:v>
                </c:pt>
                <c:pt idx="1">
                  <c:v>464.65</c:v>
                </c:pt>
                <c:pt idx="2">
                  <c:v>480.29411764705884</c:v>
                </c:pt>
                <c:pt idx="3">
                  <c:v>839.75</c:v>
                </c:pt>
                <c:pt idx="4">
                  <c:v>278.33333333333331</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10E9C090-E7A2-4F2B-9BD1-62C38053C9B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4BF4DDC2-E958-41BF-ADF0-AD5D1756916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DB728711-BE6A-474D-B702-FF222BB54FF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143FDFA3-5CCE-44A0-818E-5BD6DEC79A5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DD521CB4-48F6-47B3-8D6A-2FD4C807618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1DD0736F-0189-478F-A8FD-5389BF9094F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0C4B45D1-92C9-40EA-B96C-8BAD5A16E1E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5-BFDA-4C69-8E79-A083B7EFBA29}"/>
                </c:ext>
              </c:extLst>
            </c:dLbl>
            <c:dLbl>
              <c:idx val="1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6-BFDA-4C69-8E79-A083B7EFBA29}"/>
                </c:ext>
              </c:extLst>
            </c:dLbl>
            <c:dLbl>
              <c:idx val="1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7-BFDA-4C69-8E79-A083B7EFBA29}"/>
                </c:ext>
              </c:extLst>
            </c:dLbl>
            <c:dLbl>
              <c:idx val="1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8-BFDA-4C69-8E79-A083B7EFBA29}"/>
                </c:ext>
              </c:extLst>
            </c:dLbl>
            <c:dLbl>
              <c:idx val="1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9-BFDA-4C69-8E79-A083B7EFBA29}"/>
                </c:ext>
              </c:extLst>
            </c:dLbl>
            <c:dLbl>
              <c:idx val="1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A-BFDA-4C69-8E79-A083B7EFBA29}"/>
                </c:ext>
              </c:extLst>
            </c:dLbl>
            <c:dLbl>
              <c:idx val="1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B-BFDA-4C69-8E79-A083B7EFBA29}"/>
                </c:ext>
              </c:extLst>
            </c:dLbl>
            <c:dLbl>
              <c:idx val="1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C-BFDA-4C69-8E79-A083B7EFBA29}"/>
                </c:ext>
              </c:extLst>
            </c:dLbl>
            <c:dLbl>
              <c:idx val="2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D-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22</c:f>
              <c:numCache>
                <c:formatCode>General</c:formatCode>
                <c:ptCount val="21"/>
                <c:pt idx="0">
                  <c:v>9.3899999999999997E-2</c:v>
                </c:pt>
                <c:pt idx="1">
                  <c:v>8.43E-2</c:v>
                </c:pt>
                <c:pt idx="2">
                  <c:v>0.10489999999999999</c:v>
                </c:pt>
                <c:pt idx="3">
                  <c:v>1.43E-2</c:v>
                </c:pt>
                <c:pt idx="4">
                  <c:v>1.5E-3</c:v>
                </c:pt>
                <c:pt idx="5">
                  <c:v>-2.4E-2</c:v>
                </c:pt>
                <c:pt idx="6">
                  <c:v>0.1159</c:v>
                </c:pt>
                <c:pt idx="7">
                  <c:v>1.35E-2</c:v>
                </c:pt>
                <c:pt idx="8">
                  <c:v>4.4999999999999998E-2</c:v>
                </c:pt>
                <c:pt idx="9">
                  <c:v>0.13769999999999999</c:v>
                </c:pt>
                <c:pt idx="10">
                  <c:v>0.14019999999999999</c:v>
                </c:pt>
                <c:pt idx="11">
                  <c:v>0.15679999999999999</c:v>
                </c:pt>
                <c:pt idx="12">
                  <c:v>3.6400000000000002E-2</c:v>
                </c:pt>
                <c:pt idx="13">
                  <c:v>4.0800000000000003E-2</c:v>
                </c:pt>
                <c:pt idx="14">
                  <c:v>8.6400000000000005E-2</c:v>
                </c:pt>
                <c:pt idx="15">
                  <c:v>0.104</c:v>
                </c:pt>
                <c:pt idx="16">
                  <c:v>6.0900000000000003E-2</c:v>
                </c:pt>
                <c:pt idx="17">
                  <c:v>0.14560000000000001</c:v>
                </c:pt>
                <c:pt idx="18">
                  <c:v>2.9899999999999999E-2</c:v>
                </c:pt>
                <c:pt idx="19">
                  <c:v>8.2100000000000006E-2</c:v>
                </c:pt>
                <c:pt idx="20">
                  <c:v>9.5600000000000004E-2</c:v>
                </c:pt>
              </c:numCache>
            </c:numRef>
          </c:xVal>
          <c:yVal>
            <c:numRef>
              <c:f>Sheet1!$B$2:$B$22</c:f>
              <c:numCache>
                <c:formatCode>General</c:formatCode>
                <c:ptCount val="21"/>
                <c:pt idx="0">
                  <c:v>1861.5238095238101</c:v>
                </c:pt>
                <c:pt idx="1">
                  <c:v>1655.420875420876</c:v>
                </c:pt>
                <c:pt idx="2">
                  <c:v>3376.9590643274851</c:v>
                </c:pt>
                <c:pt idx="3">
                  <c:v>3678.7795275590552</c:v>
                </c:pt>
                <c:pt idx="4">
                  <c:v>4430.9394904458604</c:v>
                </c:pt>
                <c:pt idx="5">
                  <c:v>3148.787483702738</c:v>
                </c:pt>
                <c:pt idx="6">
                  <c:v>1560.550847457627</c:v>
                </c:pt>
                <c:pt idx="7">
                  <c:v>3041.15</c:v>
                </c:pt>
                <c:pt idx="8">
                  <c:v>1814.1062801932369</c:v>
                </c:pt>
                <c:pt idx="9">
                  <c:v>1171.481481481482</c:v>
                </c:pt>
                <c:pt idx="10">
                  <c:v>1485.238095238095</c:v>
                </c:pt>
                <c:pt idx="11">
                  <c:v>2277.7777777777778</c:v>
                </c:pt>
                <c:pt idx="12">
                  <c:v>2524.7422680412369</c:v>
                </c:pt>
                <c:pt idx="13">
                  <c:v>41115.460921843689</c:v>
                </c:pt>
                <c:pt idx="14">
                  <c:v>6637.264957264957</c:v>
                </c:pt>
                <c:pt idx="15">
                  <c:v>2362.121212121212</c:v>
                </c:pt>
                <c:pt idx="16">
                  <c:v>1793.0085959885389</c:v>
                </c:pt>
                <c:pt idx="17">
                  <c:v>1330.526315789474</c:v>
                </c:pt>
                <c:pt idx="18">
                  <c:v>1162.651296829971</c:v>
                </c:pt>
                <c:pt idx="19">
                  <c:v>1050</c:v>
                </c:pt>
                <c:pt idx="20">
                  <c:v>1170.6878306878309</c:v>
                </c:pt>
              </c:numCache>
            </c:numRef>
          </c:yVal>
          <c:bubbleSize>
            <c:numRef>
              <c:f>Sheet1!$C$2:$C$22</c:f>
              <c:numCache>
                <c:formatCode>General</c:formatCode>
                <c:ptCount val="21"/>
                <c:pt idx="0">
                  <c:v>23665.917600000001</c:v>
                </c:pt>
                <c:pt idx="1">
                  <c:v>37518.247200000013</c:v>
                </c:pt>
                <c:pt idx="2">
                  <c:v>43073.496400000004</c:v>
                </c:pt>
                <c:pt idx="3">
                  <c:v>76755.032399999996</c:v>
                </c:pt>
                <c:pt idx="4">
                  <c:v>231541.29620000001</c:v>
                </c:pt>
                <c:pt idx="5">
                  <c:v>206088.80379999999</c:v>
                </c:pt>
                <c:pt idx="6">
                  <c:v>16768.147499999999</c:v>
                </c:pt>
                <c:pt idx="7">
                  <c:v>27280</c:v>
                </c:pt>
                <c:pt idx="8">
                  <c:v>29886.43559999999</c:v>
                </c:pt>
                <c:pt idx="9">
                  <c:v>6818.3055999999997</c:v>
                </c:pt>
                <c:pt idx="10">
                  <c:v>11174.366999999989</c:v>
                </c:pt>
                <c:pt idx="11">
                  <c:v>3201.2289000000001</c:v>
                </c:pt>
                <c:pt idx="12">
                  <c:v>78663.179999999993</c:v>
                </c:pt>
                <c:pt idx="13">
                  <c:v>3279757.6026000022</c:v>
                </c:pt>
                <c:pt idx="14">
                  <c:v>295626.36689999991</c:v>
                </c:pt>
                <c:pt idx="15">
                  <c:v>17459.9964</c:v>
                </c:pt>
                <c:pt idx="16">
                  <c:v>48968.972999999998</c:v>
                </c:pt>
                <c:pt idx="17">
                  <c:v>4321.6875</c:v>
                </c:pt>
                <c:pt idx="18">
                  <c:v>32614.510799999989</c:v>
                </c:pt>
                <c:pt idx="19">
                  <c:v>8672.2607999999982</c:v>
                </c:pt>
                <c:pt idx="20">
                  <c:v>16674.775099999999</c:v>
                </c:pt>
              </c:numCache>
            </c:numRef>
          </c:bubbleSize>
          <c:bubble3D val="0"/>
          <c:extLst>
            <c:ext xmlns:c15="http://schemas.microsoft.com/office/drawing/2012/chart" uri="{02D57815-91ED-43cb-92C2-25804820EDAC}">
              <c15:datalabelsRange>
                <c15:f>Sheet1!$E$2:$E$50</c15:f>
                <c15:dlblRangeCache>
                  <c:ptCount val="49"/>
                  <c:pt idx="0">
                    <c:v>1/2 CHAMP NICOLAS BLC/BLC BS 1CT X 375ML</c:v>
                  </c:pt>
                  <c:pt idx="1">
                    <c:v>1/2 CHAMP NICOLAS ROSE 1E C BS 1CT X 375ML</c:v>
                  </c:pt>
                  <c:pt idx="2">
                    <c:v>MG CHAMPAGNE NICOLAS BLC/BL BS 1CT X 1500ML</c:v>
                  </c:pt>
                  <c:pt idx="3">
                    <c:v>MG CHAMPAGNE E.NICOLAS BRUT 1CT X 1500ML</c:v>
                  </c:pt>
                  <c:pt idx="4">
                    <c:v>CHAMPAGNE E.NICOLAS ROSE 1CT X 750ML</c:v>
                  </c:pt>
                  <c:pt idx="5">
                    <c:v>CHAMPAGNE NICOLAS 1ERE CUVEE 1CT X 750ML</c:v>
                  </c:pt>
                  <c:pt idx="6">
                    <c:v>MG CHAMPAGNE NICOLAS 1ERE CUVE 1CT X 1500ML</c:v>
                  </c:pt>
                  <c:pt idx="7">
                    <c:v>CHAMPAGNE NICOLAS BIO NAT 2017 1CT X 750ML</c:v>
                  </c:pt>
                  <c:pt idx="8">
                    <c:v>CHAMPAGNE NICOLAS BLC DE NOIRS 1CT X 750ML</c:v>
                  </c:pt>
                  <c:pt idx="9">
                    <c:v>CHAMPAGNE NICOLAS ROSE 1E C BS 1CT X 750ML</c:v>
                  </c:pt>
                  <c:pt idx="10">
                    <c:v>CHAMPAGNE NICOLAS ROSE 1ERE ET 1CT X 750ML</c:v>
                  </c:pt>
                  <c:pt idx="11">
                    <c:v>CHAMPAGNE NICOLAS BLC/BL BS ET 1CT X 750ML</c:v>
                  </c:pt>
                  <c:pt idx="12">
                    <c:v>1/2 CHAMPAGNE NICOLAS 1ERE CUV 1CT X 375ML</c:v>
                  </c:pt>
                  <c:pt idx="13">
                    <c:v>CHAMPAGNE E.NICOLAS BRUT 1CT X 750ML</c:v>
                  </c:pt>
                  <c:pt idx="14">
                    <c:v>CHAMPAGNE NICOLAS BLC/BLC BS 1CT X 750ML</c:v>
                  </c:pt>
                  <c:pt idx="15">
                    <c:v>CHAMPAGNE NICOLAS BLC/BLC 2002 1CT X 750ML</c:v>
                  </c:pt>
                  <c:pt idx="16">
                    <c:v>CHAMPAGNE NICOLAS ROSE 1ERE CU 1CT X 750ML</c:v>
                  </c:pt>
                  <c:pt idx="17">
                    <c:v>MG CHAMPAGNE NICOLAS 1E CRU BS 1CT X 1500ML</c:v>
                  </c:pt>
                  <c:pt idx="18">
                    <c:v>CHAMPAGNE NICOLAS 1ER CRU BS 1CT X 750ML</c:v>
                  </c:pt>
                  <c:pt idx="19">
                    <c:v>CHAMPAGNE NICOLAS 1ERE CUV ETU 1CT X 750ML</c:v>
                  </c:pt>
                  <c:pt idx="20">
                    <c:v>CHAMPAGNE NICOLAS 1ER CRU ETUI 1CT X 750ML</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6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0344D4A0-6ACB-4338-AFE5-38F552383A3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61D8DB01-19D8-4A39-BFCB-B988E224EF7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D29F4A26-C645-4ECE-9896-3BE2B6D4290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62036664-8A38-44D9-9C44-4B29897C887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CE5E87A8-1A9D-4C1B-85D3-63A9FECEB42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9F3BA269-929C-4747-A040-B9D1919AF7E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6D083907-7D7A-4FD5-9067-5DBBC32BE6D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5-BFDA-4C69-8E79-A083B7EFBA29}"/>
                </c:ext>
              </c:extLst>
            </c:dLbl>
            <c:dLbl>
              <c:idx val="1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6-BFDA-4C69-8E79-A083B7EFBA29}"/>
                </c:ext>
              </c:extLst>
            </c:dLbl>
            <c:dLbl>
              <c:idx val="1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7-BFDA-4C69-8E79-A083B7EFBA29}"/>
                </c:ext>
              </c:extLst>
            </c:dLbl>
            <c:dLbl>
              <c:idx val="1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8-BFDA-4C69-8E79-A083B7EFBA29}"/>
                </c:ext>
              </c:extLst>
            </c:dLbl>
            <c:dLbl>
              <c:idx val="1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9-BFDA-4C69-8E79-A083B7EFBA29}"/>
                </c:ext>
              </c:extLst>
            </c:dLbl>
            <c:dLbl>
              <c:idx val="1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A-BFDA-4C69-8E79-A083B7EFBA29}"/>
                </c:ext>
              </c:extLst>
            </c:dLbl>
            <c:dLbl>
              <c:idx val="1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B-BFDA-4C69-8E79-A083B7EFBA29}"/>
                </c:ext>
              </c:extLst>
            </c:dLbl>
            <c:dLbl>
              <c:idx val="1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C-BFDA-4C69-8E79-A083B7EFBA29}"/>
                </c:ext>
              </c:extLst>
            </c:dLbl>
            <c:dLbl>
              <c:idx val="2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D-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22</c:f>
              <c:numCache>
                <c:formatCode>General</c:formatCode>
                <c:ptCount val="21"/>
                <c:pt idx="0">
                  <c:v>8.4500000000000006E-2</c:v>
                </c:pt>
                <c:pt idx="1">
                  <c:v>7.0000000000000007E-2</c:v>
                </c:pt>
                <c:pt idx="2">
                  <c:v>8.1100000000000005E-2</c:v>
                </c:pt>
                <c:pt idx="3">
                  <c:v>4.1999999999999997E-3</c:v>
                </c:pt>
                <c:pt idx="4">
                  <c:v>6.9999999999999999E-4</c:v>
                </c:pt>
                <c:pt idx="5">
                  <c:v>-2.7400000000000001E-2</c:v>
                </c:pt>
                <c:pt idx="6">
                  <c:v>0.1007</c:v>
                </c:pt>
                <c:pt idx="7">
                  <c:v>-2.5999999999999999E-3</c:v>
                </c:pt>
                <c:pt idx="8">
                  <c:v>3.9100000000000003E-2</c:v>
                </c:pt>
                <c:pt idx="9">
                  <c:v>0.1172</c:v>
                </c:pt>
                <c:pt idx="10">
                  <c:v>0.1086</c:v>
                </c:pt>
                <c:pt idx="11">
                  <c:v>0.13600000000000001</c:v>
                </c:pt>
                <c:pt idx="12">
                  <c:v>2.9399999999999999E-2</c:v>
                </c:pt>
                <c:pt idx="13">
                  <c:v>4.2700000000000002E-2</c:v>
                </c:pt>
                <c:pt idx="14">
                  <c:v>8.3099999999999993E-2</c:v>
                </c:pt>
                <c:pt idx="15">
                  <c:v>8.4699999999999998E-2</c:v>
                </c:pt>
                <c:pt idx="16">
                  <c:v>4.65E-2</c:v>
                </c:pt>
                <c:pt idx="17">
                  <c:v>0.1298</c:v>
                </c:pt>
                <c:pt idx="18">
                  <c:v>6.1999999999999998E-3</c:v>
                </c:pt>
                <c:pt idx="19">
                  <c:v>5.7000000000000002E-2</c:v>
                </c:pt>
                <c:pt idx="20">
                  <c:v>6.6900000000000001E-2</c:v>
                </c:pt>
              </c:numCache>
            </c:numRef>
          </c:xVal>
          <c:yVal>
            <c:numRef>
              <c:f>Sheet1!$B$2:$B$22</c:f>
              <c:numCache>
                <c:formatCode>General</c:formatCode>
                <c:ptCount val="21"/>
                <c:pt idx="0">
                  <c:v>886.96428571428555</c:v>
                </c:pt>
                <c:pt idx="1">
                  <c:v>925.52</c:v>
                </c:pt>
                <c:pt idx="2">
                  <c:v>2128.083333333333</c:v>
                </c:pt>
                <c:pt idx="3">
                  <c:v>2173.166666666667</c:v>
                </c:pt>
                <c:pt idx="4">
                  <c:v>1972.583333333333</c:v>
                </c:pt>
                <c:pt idx="5">
                  <c:v>1336</c:v>
                </c:pt>
                <c:pt idx="6">
                  <c:v>539.48148148148152</c:v>
                </c:pt>
                <c:pt idx="7">
                  <c:v>1529.526315789474</c:v>
                </c:pt>
                <c:pt idx="8">
                  <c:v>1029.1764705882349</c:v>
                </c:pt>
                <c:pt idx="9">
                  <c:v>960.75</c:v>
                </c:pt>
                <c:pt idx="10">
                  <c:v>804.125</c:v>
                </c:pt>
                <c:pt idx="11">
                  <c:v>1130</c:v>
                </c:pt>
                <c:pt idx="12">
                  <c:v>1241.6756756756761</c:v>
                </c:pt>
                <c:pt idx="13">
                  <c:v>18113.009999999998</c:v>
                </c:pt>
                <c:pt idx="14">
                  <c:v>2986.666666666667</c:v>
                </c:pt>
                <c:pt idx="15">
                  <c:v>2744.333333333333</c:v>
                </c:pt>
                <c:pt idx="16">
                  <c:v>893.375</c:v>
                </c:pt>
                <c:pt idx="17">
                  <c:v>1024.5</c:v>
                </c:pt>
                <c:pt idx="18">
                  <c:v>495.65625</c:v>
                </c:pt>
                <c:pt idx="19">
                  <c:v>455.49999999999989</c:v>
                </c:pt>
                <c:pt idx="20">
                  <c:v>496.88888888888891</c:v>
                </c:pt>
              </c:numCache>
            </c:numRef>
          </c:yVal>
          <c:bubbleSize>
            <c:numRef>
              <c:f>Sheet1!$C$2:$C$22</c:f>
              <c:numCache>
                <c:formatCode>General</c:formatCode>
                <c:ptCount val="21"/>
                <c:pt idx="0">
                  <c:v>10100.4072</c:v>
                </c:pt>
                <c:pt idx="1">
                  <c:v>17931.8982</c:v>
                </c:pt>
                <c:pt idx="2">
                  <c:v>19555.973999999998</c:v>
                </c:pt>
                <c:pt idx="3">
                  <c:v>32460.013800000001</c:v>
                </c:pt>
                <c:pt idx="4">
                  <c:v>98562.342300000004</c:v>
                </c:pt>
                <c:pt idx="5">
                  <c:v>94936.974799999996</c:v>
                </c:pt>
                <c:pt idx="6">
                  <c:v>6741.8325000000004</c:v>
                </c:pt>
                <c:pt idx="7">
                  <c:v>13523.75</c:v>
                </c:pt>
                <c:pt idx="8">
                  <c:v>14009.454</c:v>
                </c:pt>
                <c:pt idx="9">
                  <c:v>2827.04</c:v>
                </c:pt>
                <c:pt idx="10">
                  <c:v>4778.6550000000007</c:v>
                </c:pt>
                <c:pt idx="11">
                  <c:v>1009.3964999999999</c:v>
                </c:pt>
                <c:pt idx="12">
                  <c:v>37160.055</c:v>
                </c:pt>
                <c:pt idx="13">
                  <c:v>1444977.4757999999</c:v>
                </c:pt>
                <c:pt idx="14">
                  <c:v>130073.0886</c:v>
                </c:pt>
                <c:pt idx="15">
                  <c:v>6279.9983999999986</c:v>
                </c:pt>
                <c:pt idx="16">
                  <c:v>22715.9624</c:v>
                </c:pt>
                <c:pt idx="17">
                  <c:v>2477.7674999999999</c:v>
                </c:pt>
                <c:pt idx="18">
                  <c:v>13135.884899999999</c:v>
                </c:pt>
                <c:pt idx="19">
                  <c:v>4181.2686000000003</c:v>
                </c:pt>
                <c:pt idx="20">
                  <c:v>6954.8029000000006</c:v>
                </c:pt>
              </c:numCache>
            </c:numRef>
          </c:bubbleSize>
          <c:bubble3D val="0"/>
          <c:extLst>
            <c:ext xmlns:c15="http://schemas.microsoft.com/office/drawing/2012/chart" uri="{02D57815-91ED-43cb-92C2-25804820EDAC}">
              <c15:datalabelsRange>
                <c15:f>Sheet1!$E$2:$E$50</c15:f>
                <c15:dlblRangeCache>
                  <c:ptCount val="49"/>
                  <c:pt idx="0">
                    <c:v>1/2 CHAMP NICOLAS BLC/BLC BS 1CT X 375ML</c:v>
                  </c:pt>
                  <c:pt idx="1">
                    <c:v>1/2 CHAMP NICOLAS ROSE 1E C BS 1CT X 375ML</c:v>
                  </c:pt>
                  <c:pt idx="2">
                    <c:v>MG CHAMPAGNE NICOLAS BLC/BL BS 1CT X 1500ML</c:v>
                  </c:pt>
                  <c:pt idx="3">
                    <c:v>MG CHAMPAGNE E.NICOLAS BRUT 1CT X 1500ML</c:v>
                  </c:pt>
                  <c:pt idx="4">
                    <c:v>CHAMPAGNE E.NICOLAS ROSE 1CT X 750ML</c:v>
                  </c:pt>
                  <c:pt idx="5">
                    <c:v>CHAMPAGNE NICOLAS 1ERE CUVEE 1CT X 750ML</c:v>
                  </c:pt>
                  <c:pt idx="6">
                    <c:v>MG CHAMPAGNE NICOLAS 1ERE CUVE 1CT X 1500ML</c:v>
                  </c:pt>
                  <c:pt idx="7">
                    <c:v>CHAMPAGNE NICOLAS BIO NAT 2017 1CT X 750ML</c:v>
                  </c:pt>
                  <c:pt idx="8">
                    <c:v>CHAMPAGNE NICOLAS BLC DE NOIRS 1CT X 750ML</c:v>
                  </c:pt>
                  <c:pt idx="9">
                    <c:v>CHAMPAGNE NICOLAS ROSE 1E C BS 1CT X 750ML</c:v>
                  </c:pt>
                  <c:pt idx="10">
                    <c:v>CHAMPAGNE NICOLAS ROSE 1ERE ET 1CT X 750ML</c:v>
                  </c:pt>
                  <c:pt idx="11">
                    <c:v>CHAMPAGNE NICOLAS BLC/BL BS ET 1CT X 750ML</c:v>
                  </c:pt>
                  <c:pt idx="12">
                    <c:v>1/2 CHAMPAGNE NICOLAS 1ERE CUV 1CT X 375ML</c:v>
                  </c:pt>
                  <c:pt idx="13">
                    <c:v>CHAMPAGNE E.NICOLAS BRUT 1CT X 750ML</c:v>
                  </c:pt>
                  <c:pt idx="14">
                    <c:v>CHAMPAGNE NICOLAS BLC/BLC BS 1CT X 750ML</c:v>
                  </c:pt>
                  <c:pt idx="15">
                    <c:v>CHAMPAGNE NICOLAS BLC/BLC 2002 1CT X 750ML</c:v>
                  </c:pt>
                  <c:pt idx="16">
                    <c:v>CHAMPAGNE NICOLAS ROSE 1ERE CU 1CT X 750ML</c:v>
                  </c:pt>
                  <c:pt idx="17">
                    <c:v>MG CHAMPAGNE NICOLAS 1E CRU BS 1CT X 1500ML</c:v>
                  </c:pt>
                  <c:pt idx="18">
                    <c:v>CHAMPAGNE NICOLAS 1ER CRU BS 1CT X 750ML</c:v>
                  </c:pt>
                  <c:pt idx="19">
                    <c:v>CHAMPAGNE NICOLAS 1ERE CUV ETU 1CT X 750ML</c:v>
                  </c:pt>
                  <c:pt idx="20">
                    <c:v>CHAMPAGNE NICOLAS 1ER CRU ETUI 1CT X 750ML</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6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8B05A4F7-AA1E-441C-9A24-301A306C218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360C897E-F364-43A5-AB26-22A64A07585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33FB600C-F897-4A86-B6AC-3784EEAB026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785D973C-A39F-4205-86A7-DC3B64E3196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A2A2AE7E-EFD4-4737-ABAA-2D002A1965D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8307D369-51AD-4AC7-87F2-34154A64435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ED54745D-DC6D-4E0A-95D8-B7AAA2E6341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5-BFDA-4C69-8E79-A083B7EFBA29}"/>
                </c:ext>
              </c:extLst>
            </c:dLbl>
            <c:dLbl>
              <c:idx val="1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6-BFDA-4C69-8E79-A083B7EFBA29}"/>
                </c:ext>
              </c:extLst>
            </c:dLbl>
            <c:dLbl>
              <c:idx val="1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7-BFDA-4C69-8E79-A083B7EFBA29}"/>
                </c:ext>
              </c:extLst>
            </c:dLbl>
            <c:dLbl>
              <c:idx val="1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8-BFDA-4C69-8E79-A083B7EFBA29}"/>
                </c:ext>
              </c:extLst>
            </c:dLbl>
            <c:dLbl>
              <c:idx val="1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9-BFDA-4C69-8E79-A083B7EFBA29}"/>
                </c:ext>
              </c:extLst>
            </c:dLbl>
            <c:dLbl>
              <c:idx val="1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A-BFDA-4C69-8E79-A083B7EFBA29}"/>
                </c:ext>
              </c:extLst>
            </c:dLbl>
            <c:dLbl>
              <c:idx val="1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B-BFDA-4C69-8E79-A083B7EFBA29}"/>
                </c:ext>
              </c:extLst>
            </c:dLbl>
            <c:dLbl>
              <c:idx val="1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C-BFDA-4C69-8E79-A083B7EFBA29}"/>
                </c:ext>
              </c:extLst>
            </c:dLbl>
            <c:dLbl>
              <c:idx val="2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D-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22</c:f>
              <c:numCache>
                <c:formatCode>General</c:formatCode>
                <c:ptCount val="21"/>
                <c:pt idx="0">
                  <c:v>8.72E-2</c:v>
                </c:pt>
                <c:pt idx="1">
                  <c:v>7.8E-2</c:v>
                </c:pt>
                <c:pt idx="2">
                  <c:v>9.4200000000000006E-2</c:v>
                </c:pt>
                <c:pt idx="3">
                  <c:v>-2.9999999999999997E-4</c:v>
                </c:pt>
                <c:pt idx="4">
                  <c:v>-7.0000000000000001E-3</c:v>
                </c:pt>
                <c:pt idx="5">
                  <c:v>-5.4399999999999997E-2</c:v>
                </c:pt>
                <c:pt idx="6">
                  <c:v>0.1119</c:v>
                </c:pt>
                <c:pt idx="7">
                  <c:v>1.0500000000000001E-2</c:v>
                </c:pt>
                <c:pt idx="8">
                  <c:v>3.8100000000000002E-2</c:v>
                </c:pt>
                <c:pt idx="9">
                  <c:v>0.1542</c:v>
                </c:pt>
                <c:pt idx="10">
                  <c:v>0.1389</c:v>
                </c:pt>
                <c:pt idx="11">
                  <c:v>0.157</c:v>
                </c:pt>
                <c:pt idx="12">
                  <c:v>3.1800000000000002E-2</c:v>
                </c:pt>
                <c:pt idx="13">
                  <c:v>3.7499999999999999E-2</c:v>
                </c:pt>
                <c:pt idx="14">
                  <c:v>8.2900000000000001E-2</c:v>
                </c:pt>
                <c:pt idx="15">
                  <c:v>7.9899999999999999E-2</c:v>
                </c:pt>
                <c:pt idx="16">
                  <c:v>4.1599999999999998E-2</c:v>
                </c:pt>
                <c:pt idx="17">
                  <c:v>0.1699</c:v>
                </c:pt>
                <c:pt idx="18">
                  <c:v>-1.7100000000000001E-2</c:v>
                </c:pt>
                <c:pt idx="19">
                  <c:v>5.0200000000000002E-2</c:v>
                </c:pt>
                <c:pt idx="20">
                  <c:v>9.9400000000000002E-2</c:v>
                </c:pt>
              </c:numCache>
            </c:numRef>
          </c:xVal>
          <c:yVal>
            <c:numRef>
              <c:f>Sheet1!$B$2:$B$22</c:f>
              <c:numCache>
                <c:formatCode>General</c:formatCode>
                <c:ptCount val="21"/>
                <c:pt idx="0">
                  <c:v>423.53571428571422</c:v>
                </c:pt>
                <c:pt idx="1">
                  <c:v>408.96</c:v>
                </c:pt>
                <c:pt idx="2">
                  <c:v>793.125</c:v>
                </c:pt>
                <c:pt idx="3">
                  <c:v>784.08333333333337</c:v>
                </c:pt>
                <c:pt idx="4">
                  <c:v>1087.5081967213109</c:v>
                </c:pt>
                <c:pt idx="5">
                  <c:v>775.16216216216219</c:v>
                </c:pt>
                <c:pt idx="6">
                  <c:v>840.27272727272725</c:v>
                </c:pt>
                <c:pt idx="7">
                  <c:v>759.57142857142844</c:v>
                </c:pt>
                <c:pt idx="8">
                  <c:v>541.31578947368416</c:v>
                </c:pt>
                <c:pt idx="9">
                  <c:v>344.125</c:v>
                </c:pt>
                <c:pt idx="10">
                  <c:v>421.66666666666669</c:v>
                </c:pt>
                <c:pt idx="11">
                  <c:v>409</c:v>
                </c:pt>
                <c:pt idx="12">
                  <c:v>680.5</c:v>
                </c:pt>
                <c:pt idx="13">
                  <c:v>8910.3333333333339</c:v>
                </c:pt>
                <c:pt idx="14">
                  <c:v>1670.5438596491231</c:v>
                </c:pt>
                <c:pt idx="15">
                  <c:v>627.125</c:v>
                </c:pt>
                <c:pt idx="16">
                  <c:v>450.67857142857139</c:v>
                </c:pt>
                <c:pt idx="17">
                  <c:v>210.33333333333329</c:v>
                </c:pt>
                <c:pt idx="18">
                  <c:v>264.47826086956519</c:v>
                </c:pt>
                <c:pt idx="19">
                  <c:v>339.72727272727269</c:v>
                </c:pt>
                <c:pt idx="20">
                  <c:v>339.18181818181819</c:v>
                </c:pt>
              </c:numCache>
            </c:numRef>
          </c:yVal>
          <c:bubbleSize>
            <c:numRef>
              <c:f>Sheet1!$C$2:$C$22</c:f>
              <c:numCache>
                <c:formatCode>General</c:formatCode>
                <c:ptCount val="21"/>
                <c:pt idx="0">
                  <c:v>4902.7524000000003</c:v>
                </c:pt>
                <c:pt idx="1">
                  <c:v>7855.2091999999993</c:v>
                </c:pt>
                <c:pt idx="2">
                  <c:v>9578.7224000000006</c:v>
                </c:pt>
                <c:pt idx="3">
                  <c:v>15687.0903</c:v>
                </c:pt>
                <c:pt idx="4">
                  <c:v>55666.577599999997</c:v>
                </c:pt>
                <c:pt idx="5">
                  <c:v>50401.209000000003</c:v>
                </c:pt>
                <c:pt idx="6">
                  <c:v>3745.462500000001</c:v>
                </c:pt>
                <c:pt idx="7">
                  <c:v>4340</c:v>
                </c:pt>
                <c:pt idx="8">
                  <c:v>8243.9351999999999</c:v>
                </c:pt>
                <c:pt idx="9">
                  <c:v>1940.376</c:v>
                </c:pt>
                <c:pt idx="10">
                  <c:v>2723.3622</c:v>
                </c:pt>
                <c:pt idx="11">
                  <c:v>1067.0762999999999</c:v>
                </c:pt>
                <c:pt idx="12">
                  <c:v>14275.365</c:v>
                </c:pt>
                <c:pt idx="13">
                  <c:v>707509.91910000006</c:v>
                </c:pt>
                <c:pt idx="14">
                  <c:v>72774.786599999992</c:v>
                </c:pt>
                <c:pt idx="15">
                  <c:v>3846.6660000000002</c:v>
                </c:pt>
                <c:pt idx="16">
                  <c:v>10077.9148</c:v>
                </c:pt>
                <c:pt idx="17">
                  <c:v>1152.45</c:v>
                </c:pt>
                <c:pt idx="18">
                  <c:v>10311.304099999999</c:v>
                </c:pt>
                <c:pt idx="19">
                  <c:v>1987.3931</c:v>
                </c:pt>
                <c:pt idx="20">
                  <c:v>2800.0599000000002</c:v>
                </c:pt>
              </c:numCache>
            </c:numRef>
          </c:bubbleSize>
          <c:bubble3D val="0"/>
          <c:extLst>
            <c:ext xmlns:c15="http://schemas.microsoft.com/office/drawing/2012/chart" uri="{02D57815-91ED-43cb-92C2-25804820EDAC}">
              <c15:datalabelsRange>
                <c15:f>Sheet1!$E$2:$E$50</c15:f>
                <c15:dlblRangeCache>
                  <c:ptCount val="49"/>
                  <c:pt idx="0">
                    <c:v>1/2 CHAMP NICOLAS BLC/BLC BS 1CT X 375ML</c:v>
                  </c:pt>
                  <c:pt idx="1">
                    <c:v>1/2 CHAMP NICOLAS ROSE 1E C BS 1CT X 375ML</c:v>
                  </c:pt>
                  <c:pt idx="2">
                    <c:v>MG CHAMPAGNE NICOLAS BLC/BL BS 1CT X 1500ML</c:v>
                  </c:pt>
                  <c:pt idx="3">
                    <c:v>MG CHAMPAGNE E.NICOLAS BRUT 1CT X 1500ML</c:v>
                  </c:pt>
                  <c:pt idx="4">
                    <c:v>CHAMPAGNE E.NICOLAS ROSE 1CT X 750ML</c:v>
                  </c:pt>
                  <c:pt idx="5">
                    <c:v>CHAMPAGNE NICOLAS 1ERE CUVEE 1CT X 750ML</c:v>
                  </c:pt>
                  <c:pt idx="6">
                    <c:v>MG CHAMPAGNE NICOLAS 1ERE CUVE 1CT X 1500ML</c:v>
                  </c:pt>
                  <c:pt idx="7">
                    <c:v>CHAMPAGNE NICOLAS BIO NAT 2017 1CT X 750ML</c:v>
                  </c:pt>
                  <c:pt idx="8">
                    <c:v>CHAMPAGNE NICOLAS BLC DE NOIRS 1CT X 750ML</c:v>
                  </c:pt>
                  <c:pt idx="9">
                    <c:v>CHAMPAGNE NICOLAS ROSE 1E C BS 1CT X 750ML</c:v>
                  </c:pt>
                  <c:pt idx="10">
                    <c:v>CHAMPAGNE NICOLAS ROSE 1ERE ET 1CT X 750ML</c:v>
                  </c:pt>
                  <c:pt idx="11">
                    <c:v>CHAMPAGNE NICOLAS BLC/BL BS ET 1CT X 750ML</c:v>
                  </c:pt>
                  <c:pt idx="12">
                    <c:v>1/2 CHAMPAGNE NICOLAS 1ERE CUV 1CT X 375ML</c:v>
                  </c:pt>
                  <c:pt idx="13">
                    <c:v>CHAMPAGNE E.NICOLAS BRUT 1CT X 750ML</c:v>
                  </c:pt>
                  <c:pt idx="14">
                    <c:v>CHAMPAGNE NICOLAS BLC/BLC BS 1CT X 750ML</c:v>
                  </c:pt>
                  <c:pt idx="15">
                    <c:v>CHAMPAGNE NICOLAS BLC/BLC 2002 1CT X 750ML</c:v>
                  </c:pt>
                  <c:pt idx="16">
                    <c:v>CHAMPAGNE NICOLAS ROSE 1ERE CU 1CT X 750ML</c:v>
                  </c:pt>
                  <c:pt idx="17">
                    <c:v>MG CHAMPAGNE NICOLAS 1E CRU BS 1CT X 1500ML</c:v>
                  </c:pt>
                  <c:pt idx="18">
                    <c:v>CHAMPAGNE NICOLAS 1ER CRU BS 1CT X 750ML</c:v>
                  </c:pt>
                  <c:pt idx="19">
                    <c:v>CHAMPAGNE NICOLAS 1ERE CUV ETU 1CT X 750ML</c:v>
                  </c:pt>
                  <c:pt idx="20">
                    <c:v>CHAMPAGNE NICOLAS 1ER CRU ETUI 1CT X 750ML</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6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150C4E45-46A9-41C6-B4ED-00F53F6AA85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1BC1F468-3017-4635-9252-A12424EABD2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8E7890C8-B231-491F-BD9A-54EA66FD541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231CCEAB-8317-4BEA-A1C9-D697373A3CB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C36BDA31-398F-45E3-9CCF-5CA9CA97521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4E998B19-CC2A-4E2D-8916-13538E695C6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792253EE-F303-4ADC-BB6C-97B6AA9942D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5-BFDA-4C69-8E79-A083B7EFBA29}"/>
                </c:ext>
              </c:extLst>
            </c:dLbl>
            <c:dLbl>
              <c:idx val="1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6-BFDA-4C69-8E79-A083B7EFBA29}"/>
                </c:ext>
              </c:extLst>
            </c:dLbl>
            <c:dLbl>
              <c:idx val="1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7-BFDA-4C69-8E79-A083B7EFBA29}"/>
                </c:ext>
              </c:extLst>
            </c:dLbl>
            <c:dLbl>
              <c:idx val="1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8-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17</c:f>
              <c:numCache>
                <c:formatCode>General</c:formatCode>
                <c:ptCount val="16"/>
                <c:pt idx="0">
                  <c:v>9.06E-2</c:v>
                </c:pt>
                <c:pt idx="1">
                  <c:v>8.43E-2</c:v>
                </c:pt>
                <c:pt idx="2">
                  <c:v>0.1232</c:v>
                </c:pt>
                <c:pt idx="3">
                  <c:v>2.2599999999999999E-2</c:v>
                </c:pt>
                <c:pt idx="4">
                  <c:v>3.8E-3</c:v>
                </c:pt>
                <c:pt idx="5">
                  <c:v>7.7000000000000002E-3</c:v>
                </c:pt>
                <c:pt idx="6">
                  <c:v>0.13250000000000001</c:v>
                </c:pt>
                <c:pt idx="7">
                  <c:v>1.6500000000000001E-2</c:v>
                </c:pt>
                <c:pt idx="8">
                  <c:v>5.1900000000000002E-2</c:v>
                </c:pt>
                <c:pt idx="9">
                  <c:v>3.2500000000000001E-2</c:v>
                </c:pt>
                <c:pt idx="10">
                  <c:v>4.2900000000000001E-2</c:v>
                </c:pt>
                <c:pt idx="11">
                  <c:v>8.4000000000000005E-2</c:v>
                </c:pt>
                <c:pt idx="12">
                  <c:v>0.11799999999999999</c:v>
                </c:pt>
                <c:pt idx="13">
                  <c:v>9.06E-2</c:v>
                </c:pt>
                <c:pt idx="14">
                  <c:v>9.8000000000000004E-2</c:v>
                </c:pt>
                <c:pt idx="15">
                  <c:v>0.1158</c:v>
                </c:pt>
              </c:numCache>
            </c:numRef>
          </c:xVal>
          <c:yVal>
            <c:numRef>
              <c:f>Sheet1!$B$2:$B$17</c:f>
              <c:numCache>
                <c:formatCode>General</c:formatCode>
                <c:ptCount val="16"/>
                <c:pt idx="0">
                  <c:v>217.27272727272731</c:v>
                </c:pt>
                <c:pt idx="1">
                  <c:v>204.14285714285711</c:v>
                </c:pt>
                <c:pt idx="2">
                  <c:v>248.9</c:v>
                </c:pt>
                <c:pt idx="3">
                  <c:v>337.32142857142861</c:v>
                </c:pt>
                <c:pt idx="4">
                  <c:v>468.76785714285711</c:v>
                </c:pt>
                <c:pt idx="5">
                  <c:v>280.97402597402589</c:v>
                </c:pt>
                <c:pt idx="6">
                  <c:v>243.15789473684211</c:v>
                </c:pt>
                <c:pt idx="7">
                  <c:v>315.39999999999998</c:v>
                </c:pt>
                <c:pt idx="8">
                  <c:v>73.270270270270274</c:v>
                </c:pt>
                <c:pt idx="9">
                  <c:v>281.55102040816331</c:v>
                </c:pt>
                <c:pt idx="10">
                  <c:v>4501.0200000000004</c:v>
                </c:pt>
                <c:pt idx="11">
                  <c:v>631.52941176470586</c:v>
                </c:pt>
                <c:pt idx="12">
                  <c:v>263.92307692307691</c:v>
                </c:pt>
                <c:pt idx="13">
                  <c:v>175.04761904761901</c:v>
                </c:pt>
                <c:pt idx="14">
                  <c:v>102.3333333333333</c:v>
                </c:pt>
                <c:pt idx="15">
                  <c:v>182.625</c:v>
                </c:pt>
              </c:numCache>
            </c:numRef>
          </c:yVal>
          <c:bubbleSize>
            <c:numRef>
              <c:f>Sheet1!$C$2:$C$17</c:f>
              <c:numCache>
                <c:formatCode>General</c:formatCode>
                <c:ptCount val="16"/>
                <c:pt idx="0">
                  <c:v>2985.8868000000002</c:v>
                </c:pt>
                <c:pt idx="1">
                  <c:v>5452.527</c:v>
                </c:pt>
                <c:pt idx="2">
                  <c:v>3637.1163999999999</c:v>
                </c:pt>
                <c:pt idx="3">
                  <c:v>7693.3367999999991</c:v>
                </c:pt>
                <c:pt idx="4">
                  <c:v>21791.631799999999</c:v>
                </c:pt>
                <c:pt idx="5">
                  <c:v>17890.1122</c:v>
                </c:pt>
                <c:pt idx="6">
                  <c:v>2189.6550000000002</c:v>
                </c:pt>
                <c:pt idx="7">
                  <c:v>4262.5</c:v>
                </c:pt>
                <c:pt idx="8">
                  <c:v>2141.886</c:v>
                </c:pt>
                <c:pt idx="9">
                  <c:v>11122.71</c:v>
                </c:pt>
                <c:pt idx="10">
                  <c:v>358993.02679999999</c:v>
                </c:pt>
                <c:pt idx="11">
                  <c:v>24585.891299999999</c:v>
                </c:pt>
                <c:pt idx="12">
                  <c:v>2521.6662000000001</c:v>
                </c:pt>
                <c:pt idx="13">
                  <c:v>5571.3715999999986</c:v>
                </c:pt>
                <c:pt idx="14">
                  <c:v>2999.828</c:v>
                </c:pt>
                <c:pt idx="15">
                  <c:v>2153.1293999999998</c:v>
                </c:pt>
              </c:numCache>
            </c:numRef>
          </c:bubbleSize>
          <c:bubble3D val="0"/>
          <c:extLst>
            <c:ext xmlns:c15="http://schemas.microsoft.com/office/drawing/2012/chart" uri="{02D57815-91ED-43cb-92C2-25804820EDAC}">
              <c15:datalabelsRange>
                <c15:f>Sheet1!$E$2:$E$50</c15:f>
                <c15:dlblRangeCache>
                  <c:ptCount val="49"/>
                  <c:pt idx="0">
                    <c:v>1/2 CHAMP NICOLAS BLC/BLC BS 1CT X 375ML</c:v>
                  </c:pt>
                  <c:pt idx="1">
                    <c:v>1/2 CHAMP NICOLAS ROSE 1E C BS 1CT X 375ML</c:v>
                  </c:pt>
                  <c:pt idx="2">
                    <c:v>MG CHAMPAGNE NICOLAS BLC/BL BS 1CT X 1500ML</c:v>
                  </c:pt>
                  <c:pt idx="3">
                    <c:v>MG CHAMPAGNE E.NICOLAS BRUT 1CT X 1500ML</c:v>
                  </c:pt>
                  <c:pt idx="4">
                    <c:v>CHAMPAGNE E.NICOLAS ROSE 1CT X 750ML</c:v>
                  </c:pt>
                  <c:pt idx="5">
                    <c:v>CHAMPAGNE NICOLAS 1ERE CUVEE 1CT X 750ML</c:v>
                  </c:pt>
                  <c:pt idx="6">
                    <c:v>MG CHAMPAGNE NICOLAS 1ERE CUVE 1CT X 1500ML</c:v>
                  </c:pt>
                  <c:pt idx="7">
                    <c:v>CHAMPAGNE NICOLAS BIO NAT 2017 1CT X 750ML</c:v>
                  </c:pt>
                  <c:pt idx="8">
                    <c:v>CHAMPAGNE NICOLAS BLC DE NOIRS 1CT X 750ML</c:v>
                  </c:pt>
                  <c:pt idx="9">
                    <c:v>1/2 CHAMPAGNE NICOLAS 1ERE CUV 1CT X 375ML</c:v>
                  </c:pt>
                  <c:pt idx="10">
                    <c:v>CHAMPAGNE E.NICOLAS BRUT 1CT X 750ML</c:v>
                  </c:pt>
                  <c:pt idx="11">
                    <c:v>CHAMPAGNE NICOLAS BLC/BLC BS 1CT X 750ML</c:v>
                  </c:pt>
                  <c:pt idx="12">
                    <c:v>CHAMPAGNE NICOLAS BLC/BLC 2002 1CT X 750ML</c:v>
                  </c:pt>
                  <c:pt idx="13">
                    <c:v>CHAMPAGNE NICOLAS ROSE 1ERE CU 1CT X 750ML</c:v>
                  </c:pt>
                  <c:pt idx="14">
                    <c:v>CHAMPAGNE NICOLAS 1ER CRU BS 1CT X 750ML</c:v>
                  </c:pt>
                  <c:pt idx="15">
                    <c:v>CHAMPAGNE NICOLAS 1ER CRU ETUI 1CT X 750ML</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6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6BEAAC27-F1F1-4D2B-BE63-B1151F12AD2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3034BE8A-D709-46EE-9738-FE0EE0D55C7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842B67EB-F802-48DC-A2AB-E50AB0C9627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14100463-ABC6-4C45-9F6B-2C9FD939B76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1AB6001A-1BDD-478A-A741-D7F48BE3393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20897521-4AE6-4862-B611-74B08DD9496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30751502-EB96-4945-8036-E48F6F20E26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5-BFDA-4C69-8E79-A083B7EFBA29}"/>
                </c:ext>
              </c:extLst>
            </c:dLbl>
            <c:dLbl>
              <c:idx val="1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6-BFDA-4C69-8E79-A083B7EFBA29}"/>
                </c:ext>
              </c:extLst>
            </c:dLbl>
            <c:dLbl>
              <c:idx val="1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7-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16</c:f>
              <c:numCache>
                <c:formatCode>General</c:formatCode>
                <c:ptCount val="15"/>
                <c:pt idx="0">
                  <c:v>0.1079</c:v>
                </c:pt>
                <c:pt idx="1">
                  <c:v>0.1056</c:v>
                </c:pt>
                <c:pt idx="2">
                  <c:v>0.15040000000000001</c:v>
                </c:pt>
                <c:pt idx="3">
                  <c:v>4.1099999999999998E-2</c:v>
                </c:pt>
                <c:pt idx="4">
                  <c:v>5.4999999999999997E-3</c:v>
                </c:pt>
                <c:pt idx="5">
                  <c:v>2.5700000000000001E-2</c:v>
                </c:pt>
                <c:pt idx="6">
                  <c:v>3.73E-2</c:v>
                </c:pt>
                <c:pt idx="7">
                  <c:v>4.24E-2</c:v>
                </c:pt>
                <c:pt idx="8">
                  <c:v>3.5900000000000001E-2</c:v>
                </c:pt>
                <c:pt idx="9">
                  <c:v>4.3099999999999999E-2</c:v>
                </c:pt>
                <c:pt idx="10">
                  <c:v>9.01E-2</c:v>
                </c:pt>
                <c:pt idx="11">
                  <c:v>9.0200000000000002E-2</c:v>
                </c:pt>
                <c:pt idx="12">
                  <c:v>8.43E-2</c:v>
                </c:pt>
                <c:pt idx="13">
                  <c:v>7.1400000000000005E-2</c:v>
                </c:pt>
                <c:pt idx="14">
                  <c:v>9.01E-2</c:v>
                </c:pt>
              </c:numCache>
            </c:numRef>
          </c:xVal>
          <c:yVal>
            <c:numRef>
              <c:f>Sheet1!$B$2:$B$16</c:f>
              <c:numCache>
                <c:formatCode>General</c:formatCode>
                <c:ptCount val="15"/>
                <c:pt idx="0">
                  <c:v>132.2051282051282</c:v>
                </c:pt>
                <c:pt idx="1">
                  <c:v>67.909090909090907</c:v>
                </c:pt>
                <c:pt idx="2">
                  <c:v>150.4736842105263</c:v>
                </c:pt>
                <c:pt idx="3">
                  <c:v>194</c:v>
                </c:pt>
                <c:pt idx="4">
                  <c:v>283.578125</c:v>
                </c:pt>
                <c:pt idx="5">
                  <c:v>169.55</c:v>
                </c:pt>
                <c:pt idx="6">
                  <c:v>280.66666666666669</c:v>
                </c:pt>
                <c:pt idx="7">
                  <c:v>133.56521739130429</c:v>
                </c:pt>
                <c:pt idx="8">
                  <c:v>136.18604651162789</c:v>
                </c:pt>
                <c:pt idx="9">
                  <c:v>2484.3200000000002</c:v>
                </c:pt>
                <c:pt idx="10">
                  <c:v>394.05084745762713</c:v>
                </c:pt>
                <c:pt idx="11">
                  <c:v>51.499999999999993</c:v>
                </c:pt>
                <c:pt idx="12">
                  <c:v>100.0263157894737</c:v>
                </c:pt>
                <c:pt idx="13">
                  <c:v>95.55</c:v>
                </c:pt>
                <c:pt idx="14">
                  <c:v>61.825000000000003</c:v>
                </c:pt>
              </c:numCache>
            </c:numRef>
          </c:yVal>
          <c:bubbleSize>
            <c:numRef>
              <c:f>Sheet1!$C$2:$C$16</c:f>
              <c:numCache>
                <c:formatCode>General</c:formatCode>
                <c:ptCount val="15"/>
                <c:pt idx="0">
                  <c:v>1787.8458000000001</c:v>
                </c:pt>
                <c:pt idx="1">
                  <c:v>2227.174</c:v>
                </c:pt>
                <c:pt idx="2">
                  <c:v>2024.117</c:v>
                </c:pt>
                <c:pt idx="3">
                  <c:v>4340.8356000000003</c:v>
                </c:pt>
                <c:pt idx="4">
                  <c:v>15041.642599999999</c:v>
                </c:pt>
                <c:pt idx="5">
                  <c:v>8259.4321</c:v>
                </c:pt>
                <c:pt idx="6">
                  <c:v>2053.75</c:v>
                </c:pt>
                <c:pt idx="7">
                  <c:v>2451.4416000000001</c:v>
                </c:pt>
                <c:pt idx="8">
                  <c:v>4704.8100000000004</c:v>
                </c:pt>
                <c:pt idx="9">
                  <c:v>198113.8518</c:v>
                </c:pt>
                <c:pt idx="10">
                  <c:v>17628.3279</c:v>
                </c:pt>
                <c:pt idx="11">
                  <c:v>1093.3332</c:v>
                </c:pt>
                <c:pt idx="12">
                  <c:v>2900.6026000000002</c:v>
                </c:pt>
                <c:pt idx="13">
                  <c:v>1478.8743999999999</c:v>
                </c:pt>
                <c:pt idx="14">
                  <c:v>1875.0716</c:v>
                </c:pt>
              </c:numCache>
            </c:numRef>
          </c:bubbleSize>
          <c:bubble3D val="0"/>
          <c:extLst>
            <c:ext xmlns:c15="http://schemas.microsoft.com/office/drawing/2012/chart" uri="{02D57815-91ED-43cb-92C2-25804820EDAC}">
              <c15:datalabelsRange>
                <c15:f>Sheet1!$E$2:$E$50</c15:f>
                <c15:dlblRangeCache>
                  <c:ptCount val="49"/>
                  <c:pt idx="0">
                    <c:v>1/2 CHAMP NICOLAS BLC/BLC BS 1CT X 375ML</c:v>
                  </c:pt>
                  <c:pt idx="1">
                    <c:v>1/2 CHAMP NICOLAS ROSE 1E C BS 1CT X 375ML</c:v>
                  </c:pt>
                  <c:pt idx="2">
                    <c:v>MG CHAMPAGNE NICOLAS BLC/BL BS 1CT X 1500ML</c:v>
                  </c:pt>
                  <c:pt idx="3">
                    <c:v>MG CHAMPAGNE E.NICOLAS BRUT 1CT X 1500ML</c:v>
                  </c:pt>
                  <c:pt idx="4">
                    <c:v>CHAMPAGNE E.NICOLAS ROSE 1CT X 750ML</c:v>
                  </c:pt>
                  <c:pt idx="5">
                    <c:v>CHAMPAGNE NICOLAS 1ERE CUVEE 1CT X 750ML</c:v>
                  </c:pt>
                  <c:pt idx="6">
                    <c:v>CHAMPAGNE NICOLAS BIO NAT 2017 1CT X 750ML</c:v>
                  </c:pt>
                  <c:pt idx="7">
                    <c:v>CHAMPAGNE NICOLAS BLC DE NOIRS 1CT X 750ML</c:v>
                  </c:pt>
                  <c:pt idx="8">
                    <c:v>1/2 CHAMPAGNE NICOLAS 1ERE CUV 1CT X 375ML</c:v>
                  </c:pt>
                  <c:pt idx="9">
                    <c:v>CHAMPAGNE E.NICOLAS BRUT 1CT X 750ML</c:v>
                  </c:pt>
                  <c:pt idx="10">
                    <c:v>CHAMPAGNE NICOLAS BLC/BLC BS 1CT X 750ML</c:v>
                  </c:pt>
                  <c:pt idx="11">
                    <c:v>CHAMPAGNE NICOLAS BLC/BLC 2002 1CT X 750ML</c:v>
                  </c:pt>
                  <c:pt idx="12">
                    <c:v>CHAMPAGNE NICOLAS ROSE 1ERE CU 1CT X 750ML</c:v>
                  </c:pt>
                  <c:pt idx="13">
                    <c:v>CHAMPAGNE NICOLAS 1ER CRU BS 1CT X 750ML</c:v>
                  </c:pt>
                  <c:pt idx="14">
                    <c:v>CHAMPAGNE NICOLAS 1ER CRU ETUI 1CT X 750ML</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6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3066C85B-F63B-49A8-9D1F-9B2F242273D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D534A973-6E3F-4B07-92F3-D6B2FE8A943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873FBD00-402D-48AE-A5CE-6A4804A7BB2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533CA366-B2F9-4648-A538-18AAC5748E1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17BF2C8F-6C9D-47A7-A0B6-74389DA9D57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139BD071-E74A-4F94-AFE1-35B12A65DC3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E41B0694-4059-465E-A290-83109E85B3C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12</c:f>
              <c:numCache>
                <c:formatCode>General</c:formatCode>
                <c:ptCount val="11"/>
                <c:pt idx="0">
                  <c:v>0.1052</c:v>
                </c:pt>
                <c:pt idx="1">
                  <c:v>0.13800000000000001</c:v>
                </c:pt>
                <c:pt idx="2">
                  <c:v>0.126</c:v>
                </c:pt>
                <c:pt idx="3">
                  <c:v>4.2700000000000002E-2</c:v>
                </c:pt>
                <c:pt idx="4">
                  <c:v>9.1999999999999998E-3</c:v>
                </c:pt>
                <c:pt idx="5">
                  <c:v>4.4000000000000003E-3</c:v>
                </c:pt>
                <c:pt idx="6">
                  <c:v>5.8299999999999998E-2</c:v>
                </c:pt>
                <c:pt idx="7">
                  <c:v>8.1100000000000005E-2</c:v>
                </c:pt>
                <c:pt idx="8">
                  <c:v>0.04</c:v>
                </c:pt>
                <c:pt idx="9">
                  <c:v>9.3799999999999994E-2</c:v>
                </c:pt>
                <c:pt idx="10">
                  <c:v>5.3999999999999999E-2</c:v>
                </c:pt>
              </c:numCache>
            </c:numRef>
          </c:xVal>
          <c:yVal>
            <c:numRef>
              <c:f>Sheet1!$B$2:$B$12</c:f>
              <c:numCache>
                <c:formatCode>General</c:formatCode>
                <c:ptCount val="11"/>
                <c:pt idx="0">
                  <c:v>50.150943396226417</c:v>
                </c:pt>
                <c:pt idx="1">
                  <c:v>48.139534883720927</c:v>
                </c:pt>
                <c:pt idx="2">
                  <c:v>103.61764705882349</c:v>
                </c:pt>
                <c:pt idx="3">
                  <c:v>117.4</c:v>
                </c:pt>
                <c:pt idx="4">
                  <c:v>163.08536585365849</c:v>
                </c:pt>
                <c:pt idx="5">
                  <c:v>134.71052631578951</c:v>
                </c:pt>
                <c:pt idx="6">
                  <c:v>78.130434782608702</c:v>
                </c:pt>
                <c:pt idx="7">
                  <c:v>38.918032786885249</c:v>
                </c:pt>
                <c:pt idx="8">
                  <c:v>1744.57</c:v>
                </c:pt>
                <c:pt idx="9">
                  <c:v>276.32307692307688</c:v>
                </c:pt>
                <c:pt idx="10">
                  <c:v>61.307692307692307</c:v>
                </c:pt>
              </c:numCache>
            </c:numRef>
          </c:yVal>
          <c:bubbleSize>
            <c:numRef>
              <c:f>Sheet1!$C$2:$C$12</c:f>
              <c:numCache>
                <c:formatCode>General</c:formatCode>
                <c:ptCount val="11"/>
                <c:pt idx="0">
                  <c:v>1105.884</c:v>
                </c:pt>
                <c:pt idx="1">
                  <c:v>1486.9084</c:v>
                </c:pt>
                <c:pt idx="2">
                  <c:v>2565.979600000001</c:v>
                </c:pt>
                <c:pt idx="3">
                  <c:v>3277.9178999999999</c:v>
                </c:pt>
                <c:pt idx="4">
                  <c:v>11041.648999999999</c:v>
                </c:pt>
                <c:pt idx="5">
                  <c:v>8494.0993000000017</c:v>
                </c:pt>
                <c:pt idx="6">
                  <c:v>1410.2208000000001</c:v>
                </c:pt>
                <c:pt idx="7">
                  <c:v>1817.7974999999999</c:v>
                </c:pt>
                <c:pt idx="8">
                  <c:v>139572.4345</c:v>
                </c:pt>
                <c:pt idx="9">
                  <c:v>13564.0926</c:v>
                </c:pt>
                <c:pt idx="10">
                  <c:v>1884.8882000000001</c:v>
                </c:pt>
              </c:numCache>
            </c:numRef>
          </c:bubbleSize>
          <c:bubble3D val="0"/>
          <c:extLst>
            <c:ext xmlns:c15="http://schemas.microsoft.com/office/drawing/2012/chart" uri="{02D57815-91ED-43cb-92C2-25804820EDAC}">
              <c15:datalabelsRange>
                <c15:f>Sheet1!$E$2:$E$50</c15:f>
                <c15:dlblRangeCache>
                  <c:ptCount val="49"/>
                  <c:pt idx="0">
                    <c:v>1/2 CHAMP NICOLAS BLC/BLC BS 1CT X 375ML</c:v>
                  </c:pt>
                  <c:pt idx="1">
                    <c:v>1/2 CHAMP NICOLAS ROSE 1E C BS 1CT X 375ML</c:v>
                  </c:pt>
                  <c:pt idx="2">
                    <c:v>MG CHAMPAGNE NICOLAS BLC/BL BS 1CT X 1500ML</c:v>
                  </c:pt>
                  <c:pt idx="3">
                    <c:v>MG CHAMPAGNE E.NICOLAS BRUT 1CT X 1500ML</c:v>
                  </c:pt>
                  <c:pt idx="4">
                    <c:v>CHAMPAGNE E.NICOLAS ROSE 1CT X 750ML</c:v>
                  </c:pt>
                  <c:pt idx="5">
                    <c:v>CHAMPAGNE NICOLAS 1ERE CUVEE 1CT X 750ML</c:v>
                  </c:pt>
                  <c:pt idx="6">
                    <c:v>CHAMPAGNE NICOLAS BLC DE NOIRS 1CT X 750ML</c:v>
                  </c:pt>
                  <c:pt idx="7">
                    <c:v>1/2 CHAMPAGNE NICOLAS 1ERE CUV 1CT X 375ML</c:v>
                  </c:pt>
                  <c:pt idx="8">
                    <c:v>CHAMPAGNE E.NICOLAS BRUT 1CT X 750ML</c:v>
                  </c:pt>
                  <c:pt idx="9">
                    <c:v>CHAMPAGNE NICOLAS BLC/BLC BS 1CT X 750ML</c:v>
                  </c:pt>
                  <c:pt idx="10">
                    <c:v>CHAMPAGNE NICOLAS ROSE 1ERE CU 1CT X 750ML</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6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04B5591D-0038-423F-B8C7-414EFD0686E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223BA1E7-256B-40CE-BB6B-3F5B177416E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5D76135C-8782-4735-994B-3F30E87EC78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71933BB6-A953-4A05-A5CF-B39E7C4FF36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D13634E8-5E4C-491F-AC7A-CF90A8F1974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C28DCA38-21C8-4E59-BA03-F73CCCE3D80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BF7BB59D-C1BF-48B7-9E92-CA3D6DA203E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5-BFDA-4C69-8E79-A083B7EFBA29}"/>
                </c:ext>
              </c:extLst>
            </c:dLbl>
            <c:dLbl>
              <c:idx val="1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6-BFDA-4C69-8E79-A083B7EFBA29}"/>
                </c:ext>
              </c:extLst>
            </c:dLbl>
            <c:dLbl>
              <c:idx val="1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7-BFDA-4C69-8E79-A083B7EFBA29}"/>
                </c:ext>
              </c:extLst>
            </c:dLbl>
            <c:dLbl>
              <c:idx val="1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8-BFDA-4C69-8E79-A083B7EFBA29}"/>
                </c:ext>
              </c:extLst>
            </c:dLbl>
            <c:dLbl>
              <c:idx val="1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9-BFDA-4C69-8E79-A083B7EFBA29}"/>
                </c:ext>
              </c:extLst>
            </c:dLbl>
            <c:dLbl>
              <c:idx val="1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A-BFDA-4C69-8E79-A083B7EFBA29}"/>
                </c:ext>
              </c:extLst>
            </c:dLbl>
            <c:dLbl>
              <c:idx val="1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B-BFDA-4C69-8E79-A083B7EFBA29}"/>
                </c:ext>
              </c:extLst>
            </c:dLbl>
            <c:dLbl>
              <c:idx val="1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C-BFDA-4C69-8E79-A083B7EFBA29}"/>
                </c:ext>
              </c:extLst>
            </c:dLbl>
            <c:dLbl>
              <c:idx val="2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D-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22</c:f>
              <c:numCache>
                <c:formatCode>General</c:formatCode>
                <c:ptCount val="21"/>
                <c:pt idx="0">
                  <c:v>8.1299999999999997E-2</c:v>
                </c:pt>
                <c:pt idx="1">
                  <c:v>6.93E-2</c:v>
                </c:pt>
                <c:pt idx="2">
                  <c:v>7.2999999999999995E-2</c:v>
                </c:pt>
                <c:pt idx="3">
                  <c:v>4.1000000000000003E-3</c:v>
                </c:pt>
                <c:pt idx="4">
                  <c:v>8.0000000000000004E-4</c:v>
                </c:pt>
                <c:pt idx="5">
                  <c:v>-3.6600000000000001E-2</c:v>
                </c:pt>
                <c:pt idx="6">
                  <c:v>9.8299999999999998E-2</c:v>
                </c:pt>
                <c:pt idx="7">
                  <c:v>-3.7000000000000002E-3</c:v>
                </c:pt>
                <c:pt idx="8">
                  <c:v>3.6200000000000003E-2</c:v>
                </c:pt>
                <c:pt idx="9">
                  <c:v>0.1014</c:v>
                </c:pt>
                <c:pt idx="10">
                  <c:v>8.9899999999999994E-2</c:v>
                </c:pt>
                <c:pt idx="11">
                  <c:v>0.1348</c:v>
                </c:pt>
                <c:pt idx="12">
                  <c:v>2.6200000000000001E-2</c:v>
                </c:pt>
                <c:pt idx="13">
                  <c:v>4.24E-2</c:v>
                </c:pt>
                <c:pt idx="14">
                  <c:v>8.14E-2</c:v>
                </c:pt>
                <c:pt idx="15">
                  <c:v>5.2400000000000002E-2</c:v>
                </c:pt>
                <c:pt idx="16">
                  <c:v>4.7100000000000003E-2</c:v>
                </c:pt>
                <c:pt idx="17">
                  <c:v>0.1241</c:v>
                </c:pt>
                <c:pt idx="18">
                  <c:v>1.3100000000000001E-2</c:v>
                </c:pt>
                <c:pt idx="19">
                  <c:v>5.6800000000000003E-2</c:v>
                </c:pt>
                <c:pt idx="20">
                  <c:v>5.4199999999999998E-2</c:v>
                </c:pt>
              </c:numCache>
            </c:numRef>
          </c:xVal>
          <c:yVal>
            <c:numRef>
              <c:f>Sheet1!$B$2:$B$22</c:f>
              <c:numCache>
                <c:formatCode>General</c:formatCode>
                <c:ptCount val="21"/>
                <c:pt idx="0">
                  <c:v>1603.583333333333</c:v>
                </c:pt>
                <c:pt idx="1">
                  <c:v>1250.962962962963</c:v>
                </c:pt>
                <c:pt idx="2">
                  <c:v>2556.3571428571431</c:v>
                </c:pt>
                <c:pt idx="3">
                  <c:v>3170.375</c:v>
                </c:pt>
                <c:pt idx="4">
                  <c:v>2988.0338983050851</c:v>
                </c:pt>
                <c:pt idx="5">
                  <c:v>2029.1923076923081</c:v>
                </c:pt>
                <c:pt idx="6">
                  <c:v>1121.3888888888889</c:v>
                </c:pt>
                <c:pt idx="7">
                  <c:v>2824.0666666666671</c:v>
                </c:pt>
                <c:pt idx="8">
                  <c:v>1489.3888888888889</c:v>
                </c:pt>
                <c:pt idx="9">
                  <c:v>1025</c:v>
                </c:pt>
                <c:pt idx="10">
                  <c:v>1141.2222222222219</c:v>
                </c:pt>
                <c:pt idx="11">
                  <c:v>2045</c:v>
                </c:pt>
                <c:pt idx="12">
                  <c:v>2088.78125</c:v>
                </c:pt>
                <c:pt idx="13">
                  <c:v>27681.21212121212</c:v>
                </c:pt>
                <c:pt idx="14">
                  <c:v>4890.9272727272719</c:v>
                </c:pt>
                <c:pt idx="15">
                  <c:v>2986</c:v>
                </c:pt>
                <c:pt idx="16">
                  <c:v>1302.878787878788</c:v>
                </c:pt>
                <c:pt idx="17">
                  <c:v>1233.5</c:v>
                </c:pt>
                <c:pt idx="18">
                  <c:v>770.59375</c:v>
                </c:pt>
                <c:pt idx="19">
                  <c:v>879.18181818181813</c:v>
                </c:pt>
                <c:pt idx="20">
                  <c:v>891.5</c:v>
                </c:pt>
              </c:numCache>
            </c:numRef>
          </c:yVal>
          <c:bubbleSize>
            <c:numRef>
              <c:f>Sheet1!$C$2:$C$22</c:f>
              <c:numCache>
                <c:formatCode>General</c:formatCode>
                <c:ptCount val="21"/>
                <c:pt idx="0">
                  <c:v>15261.199199999999</c:v>
                </c:pt>
                <c:pt idx="1">
                  <c:v>26195.250400000001</c:v>
                </c:pt>
                <c:pt idx="2">
                  <c:v>27646.147799999999</c:v>
                </c:pt>
                <c:pt idx="3">
                  <c:v>42099.603300000002</c:v>
                </c:pt>
                <c:pt idx="4">
                  <c:v>146791.43179999999</c:v>
                </c:pt>
                <c:pt idx="5">
                  <c:v>136720.74660000001</c:v>
                </c:pt>
                <c:pt idx="6">
                  <c:v>8470.5074999999997</c:v>
                </c:pt>
                <c:pt idx="7">
                  <c:v>18755</c:v>
                </c:pt>
                <c:pt idx="8">
                  <c:v>21531.75</c:v>
                </c:pt>
                <c:pt idx="9">
                  <c:v>3837.8892000000001</c:v>
                </c:pt>
                <c:pt idx="10">
                  <c:v>7789.3092000000006</c:v>
                </c:pt>
                <c:pt idx="11">
                  <c:v>2162.9924999999998</c:v>
                </c:pt>
                <c:pt idx="12">
                  <c:v>54240.614999999998</c:v>
                </c:pt>
                <c:pt idx="13">
                  <c:v>2186773.7568999999</c:v>
                </c:pt>
                <c:pt idx="14">
                  <c:v>205922.62530000001</c:v>
                </c:pt>
                <c:pt idx="15">
                  <c:v>9431.6645999999982</c:v>
                </c:pt>
                <c:pt idx="16">
                  <c:v>34143.103000000003</c:v>
                </c:pt>
                <c:pt idx="17">
                  <c:v>2881.125</c:v>
                </c:pt>
                <c:pt idx="18">
                  <c:v>20279.3665</c:v>
                </c:pt>
                <c:pt idx="19">
                  <c:v>6039.6102000000001</c:v>
                </c:pt>
                <c:pt idx="20">
                  <c:v>12648.247100000001</c:v>
                </c:pt>
              </c:numCache>
            </c:numRef>
          </c:bubbleSize>
          <c:bubble3D val="0"/>
          <c:extLst>
            <c:ext xmlns:c15="http://schemas.microsoft.com/office/drawing/2012/chart" uri="{02D57815-91ED-43cb-92C2-25804820EDAC}">
              <c15:datalabelsRange>
                <c15:f>Sheet1!$E$2:$E$50</c15:f>
                <c15:dlblRangeCache>
                  <c:ptCount val="49"/>
                  <c:pt idx="0">
                    <c:v>1/2 CHAMP NICOLAS BLC/BLC BS 1CT X 375ML</c:v>
                  </c:pt>
                  <c:pt idx="1">
                    <c:v>1/2 CHAMP NICOLAS ROSE 1E C BS 1CT X 375ML</c:v>
                  </c:pt>
                  <c:pt idx="2">
                    <c:v>MG CHAMPAGNE NICOLAS BLC/BL BS 1CT X 1500ML</c:v>
                  </c:pt>
                  <c:pt idx="3">
                    <c:v>MG CHAMPAGNE E.NICOLAS BRUT 1CT X 1500ML</c:v>
                  </c:pt>
                  <c:pt idx="4">
                    <c:v>CHAMPAGNE E.NICOLAS ROSE 1CT X 750ML</c:v>
                  </c:pt>
                  <c:pt idx="5">
                    <c:v>CHAMPAGNE NICOLAS 1ERE CUVEE 1CT X 750ML</c:v>
                  </c:pt>
                  <c:pt idx="6">
                    <c:v>MG CHAMPAGNE NICOLAS 1ERE CUVE 1CT X 1500ML</c:v>
                  </c:pt>
                  <c:pt idx="7">
                    <c:v>CHAMPAGNE NICOLAS BIO NAT 2017 1CT X 750ML</c:v>
                  </c:pt>
                  <c:pt idx="8">
                    <c:v>CHAMPAGNE NICOLAS BLC DE NOIRS 1CT X 750ML</c:v>
                  </c:pt>
                  <c:pt idx="9">
                    <c:v>CHAMPAGNE NICOLAS ROSE 1E C BS 1CT X 750ML</c:v>
                  </c:pt>
                  <c:pt idx="10">
                    <c:v>CHAMPAGNE NICOLAS ROSE 1ERE ET 1CT X 750ML</c:v>
                  </c:pt>
                  <c:pt idx="11">
                    <c:v>CHAMPAGNE NICOLAS BLC/BL BS ET 1CT X 750ML</c:v>
                  </c:pt>
                  <c:pt idx="12">
                    <c:v>1/2 CHAMPAGNE NICOLAS 1ERE CUV 1CT X 375ML</c:v>
                  </c:pt>
                  <c:pt idx="13">
                    <c:v>CHAMPAGNE E.NICOLAS BRUT 1CT X 750ML</c:v>
                  </c:pt>
                  <c:pt idx="14">
                    <c:v>CHAMPAGNE NICOLAS BLC/BLC BS 1CT X 750ML</c:v>
                  </c:pt>
                  <c:pt idx="15">
                    <c:v>CHAMPAGNE NICOLAS BLC/BLC 2002 1CT X 750ML</c:v>
                  </c:pt>
                  <c:pt idx="16">
                    <c:v>CHAMPAGNE NICOLAS ROSE 1ERE CU 1CT X 750ML</c:v>
                  </c:pt>
                  <c:pt idx="17">
                    <c:v>MG CHAMPAGNE NICOLAS 1E CRU BS 1CT X 1500ML</c:v>
                  </c:pt>
                  <c:pt idx="18">
                    <c:v>CHAMPAGNE NICOLAS 1ER CRU BS 1CT X 750ML</c:v>
                  </c:pt>
                  <c:pt idx="19">
                    <c:v>CHAMPAGNE NICOLAS 1ERE CUV ETU 1CT X 750ML</c:v>
                  </c:pt>
                  <c:pt idx="20">
                    <c:v>CHAMPAGNE NICOLAS 1ER CRU ETUI 1CT X 750ML</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6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FA450CE3-052B-49B8-93D8-55A85CD129D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250E3C02-DE19-40A0-A5A1-9878D5064F7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CF55420B-CAFA-4FA2-B920-089622DCF14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EA91FF76-E2B3-4B92-93AD-2BA62EC8E0D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6BFF81EF-87DE-49BC-A6CB-2B04D1B0B97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C2E59737-F43C-44A1-BF2D-081F8A3ED61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446D06F5-7428-4990-B346-EE90711A827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5-BFDA-4C69-8E79-A083B7EFBA29}"/>
                </c:ext>
              </c:extLst>
            </c:dLbl>
            <c:dLbl>
              <c:idx val="1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6-BFDA-4C69-8E79-A083B7EFBA29}"/>
                </c:ext>
              </c:extLst>
            </c:dLbl>
            <c:dLbl>
              <c:idx val="1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7-BFDA-4C69-8E79-A083B7EFBA29}"/>
                </c:ext>
              </c:extLst>
            </c:dLbl>
            <c:dLbl>
              <c:idx val="1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8-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17</c:f>
              <c:numCache>
                <c:formatCode>General</c:formatCode>
                <c:ptCount val="16"/>
                <c:pt idx="0">
                  <c:v>9.4399999999999998E-2</c:v>
                </c:pt>
                <c:pt idx="1">
                  <c:v>9.9599999999999994E-2</c:v>
                </c:pt>
                <c:pt idx="2">
                  <c:v>0.1147</c:v>
                </c:pt>
                <c:pt idx="3">
                  <c:v>1.3899999999999999E-2</c:v>
                </c:pt>
                <c:pt idx="4">
                  <c:v>2.8999999999999998E-3</c:v>
                </c:pt>
                <c:pt idx="5">
                  <c:v>1.9599999999999999E-2</c:v>
                </c:pt>
                <c:pt idx="6">
                  <c:v>0.12470000000000001</c:v>
                </c:pt>
                <c:pt idx="7">
                  <c:v>3.1899999999999998E-2</c:v>
                </c:pt>
                <c:pt idx="8">
                  <c:v>6.3600000000000004E-2</c:v>
                </c:pt>
                <c:pt idx="9">
                  <c:v>4.3099999999999999E-2</c:v>
                </c:pt>
                <c:pt idx="10">
                  <c:v>3.8199999999999998E-2</c:v>
                </c:pt>
                <c:pt idx="11">
                  <c:v>8.6499999999999994E-2</c:v>
                </c:pt>
                <c:pt idx="12">
                  <c:v>0.1056</c:v>
                </c:pt>
                <c:pt idx="13">
                  <c:v>9.5100000000000004E-2</c:v>
                </c:pt>
                <c:pt idx="14">
                  <c:v>4.07E-2</c:v>
                </c:pt>
                <c:pt idx="15">
                  <c:v>0.15770000000000001</c:v>
                </c:pt>
              </c:numCache>
            </c:numRef>
          </c:xVal>
          <c:yVal>
            <c:numRef>
              <c:f>Sheet1!$B$2:$B$17</c:f>
              <c:numCache>
                <c:formatCode>General</c:formatCode>
                <c:ptCount val="16"/>
                <c:pt idx="0">
                  <c:v>214.32432432432429</c:v>
                </c:pt>
                <c:pt idx="1">
                  <c:v>105.609756097561</c:v>
                </c:pt>
                <c:pt idx="2">
                  <c:v>330.95</c:v>
                </c:pt>
                <c:pt idx="3">
                  <c:v>383.10256410256409</c:v>
                </c:pt>
                <c:pt idx="4">
                  <c:v>355.97674418604652</c:v>
                </c:pt>
                <c:pt idx="5">
                  <c:v>284.11538461538458</c:v>
                </c:pt>
                <c:pt idx="6">
                  <c:v>189.34615384615381</c:v>
                </c:pt>
                <c:pt idx="7">
                  <c:v>262.10526315789468</c:v>
                </c:pt>
                <c:pt idx="8">
                  <c:v>98.5</c:v>
                </c:pt>
                <c:pt idx="9">
                  <c:v>210.5454545454545</c:v>
                </c:pt>
                <c:pt idx="10">
                  <c:v>4592.25</c:v>
                </c:pt>
                <c:pt idx="11">
                  <c:v>578.94520547945206</c:v>
                </c:pt>
                <c:pt idx="12">
                  <c:v>217.29411764705881</c:v>
                </c:pt>
                <c:pt idx="13">
                  <c:v>173.7441860465116</c:v>
                </c:pt>
                <c:pt idx="14">
                  <c:v>174.64</c:v>
                </c:pt>
                <c:pt idx="15">
                  <c:v>138.5625</c:v>
                </c:pt>
              </c:numCache>
            </c:numRef>
          </c:yVal>
          <c:bubbleSize>
            <c:numRef>
              <c:f>Sheet1!$C$2:$C$17</c:f>
              <c:numCache>
                <c:formatCode>General</c:formatCode>
                <c:ptCount val="16"/>
                <c:pt idx="0">
                  <c:v>3354.5148000000008</c:v>
                </c:pt>
                <c:pt idx="1">
                  <c:v>3249.0277999999998</c:v>
                </c:pt>
                <c:pt idx="2">
                  <c:v>4883.0576000000001</c:v>
                </c:pt>
                <c:pt idx="3">
                  <c:v>12278.337600000001</c:v>
                </c:pt>
                <c:pt idx="4">
                  <c:v>25437.459299999999</c:v>
                </c:pt>
                <c:pt idx="5">
                  <c:v>18105.7834</c:v>
                </c:pt>
                <c:pt idx="6">
                  <c:v>2650.6350000000002</c:v>
                </c:pt>
                <c:pt idx="7">
                  <c:v>2518.75</c:v>
                </c:pt>
                <c:pt idx="8">
                  <c:v>1537.248</c:v>
                </c:pt>
                <c:pt idx="9">
                  <c:v>7387.3650000000007</c:v>
                </c:pt>
                <c:pt idx="10">
                  <c:v>368051.65149999998</c:v>
                </c:pt>
                <c:pt idx="11">
                  <c:v>32173.861499999999</c:v>
                </c:pt>
                <c:pt idx="12">
                  <c:v>2753.3327999999992</c:v>
                </c:pt>
                <c:pt idx="13">
                  <c:v>5633.6952000000001</c:v>
                </c:pt>
                <c:pt idx="14">
                  <c:v>3490.2640999999999</c:v>
                </c:pt>
                <c:pt idx="15">
                  <c:v>1556.1465000000001</c:v>
                </c:pt>
              </c:numCache>
            </c:numRef>
          </c:bubbleSize>
          <c:bubble3D val="0"/>
          <c:extLst>
            <c:ext xmlns:c15="http://schemas.microsoft.com/office/drawing/2012/chart" uri="{02D57815-91ED-43cb-92C2-25804820EDAC}">
              <c15:datalabelsRange>
                <c15:f>Sheet1!$E$2:$E$50</c15:f>
                <c15:dlblRangeCache>
                  <c:ptCount val="49"/>
                  <c:pt idx="0">
                    <c:v>1/2 CHAMP NICOLAS BLC/BLC BS 1CT X 375ML</c:v>
                  </c:pt>
                  <c:pt idx="1">
                    <c:v>1/2 CHAMP NICOLAS ROSE 1E C BS 1CT X 375ML</c:v>
                  </c:pt>
                  <c:pt idx="2">
                    <c:v>MG CHAMPAGNE NICOLAS BLC/BL BS 1CT X 1500ML</c:v>
                  </c:pt>
                  <c:pt idx="3">
                    <c:v>MG CHAMPAGNE E.NICOLAS BRUT 1CT X 1500ML</c:v>
                  </c:pt>
                  <c:pt idx="4">
                    <c:v>CHAMPAGNE E.NICOLAS ROSE 1CT X 750ML</c:v>
                  </c:pt>
                  <c:pt idx="5">
                    <c:v>CHAMPAGNE NICOLAS 1ERE CUVEE 1CT X 750ML</c:v>
                  </c:pt>
                  <c:pt idx="6">
                    <c:v>MG CHAMPAGNE NICOLAS 1ERE CUVE 1CT X 1500ML</c:v>
                  </c:pt>
                  <c:pt idx="7">
                    <c:v>CHAMPAGNE NICOLAS BIO NAT 2017 1CT X 750ML</c:v>
                  </c:pt>
                  <c:pt idx="8">
                    <c:v>CHAMPAGNE NICOLAS BLC DE NOIRS 1CT X 750ML</c:v>
                  </c:pt>
                  <c:pt idx="9">
                    <c:v>1/2 CHAMPAGNE NICOLAS 1ERE CUV 1CT X 375ML</c:v>
                  </c:pt>
                  <c:pt idx="10">
                    <c:v>CHAMPAGNE E.NICOLAS BRUT 1CT X 750ML</c:v>
                  </c:pt>
                  <c:pt idx="11">
                    <c:v>CHAMPAGNE NICOLAS BLC/BLC BS 1CT X 750ML</c:v>
                  </c:pt>
                  <c:pt idx="12">
                    <c:v>CHAMPAGNE NICOLAS BLC/BLC 2002 1CT X 750ML</c:v>
                  </c:pt>
                  <c:pt idx="13">
                    <c:v>CHAMPAGNE NICOLAS ROSE 1ERE CU 1CT X 750ML</c:v>
                  </c:pt>
                  <c:pt idx="14">
                    <c:v>CHAMPAGNE NICOLAS 1ER CRU BS 1CT X 750ML</c:v>
                  </c:pt>
                  <c:pt idx="15">
                    <c:v>CHAMPAGNE NICOLAS 1ER CRU ETUI 1CT X 750ML</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6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1BC97C8D-4F92-443C-948E-168ACF85B76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FB451CA5-9BC9-444F-9712-F9576EB4499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2C23B9B0-801C-4467-AA3C-C78731E63B0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8625C4B7-B9EE-495B-B2CA-2FD7DA9D739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CC8451B9-A266-4C12-B163-12C21408568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19EC463B-C8B4-49FF-9196-42DA48EA286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5C271DDA-7FE8-421E-BBCE-46703BB682C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5-BFDA-4C69-8E79-A083B7EFBA29}"/>
                </c:ext>
              </c:extLst>
            </c:dLbl>
            <c:dLbl>
              <c:idx val="1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6-BFDA-4C69-8E79-A083B7EFBA29}"/>
                </c:ext>
              </c:extLst>
            </c:dLbl>
            <c:dLbl>
              <c:idx val="1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7-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16</c:f>
              <c:numCache>
                <c:formatCode>General</c:formatCode>
                <c:ptCount val="15"/>
                <c:pt idx="0">
                  <c:v>0.1051</c:v>
                </c:pt>
                <c:pt idx="1">
                  <c:v>0.1186</c:v>
                </c:pt>
                <c:pt idx="2">
                  <c:v>0.1236</c:v>
                </c:pt>
                <c:pt idx="3">
                  <c:v>1.77E-2</c:v>
                </c:pt>
                <c:pt idx="4">
                  <c:v>6.7999999999999996E-3</c:v>
                </c:pt>
                <c:pt idx="5">
                  <c:v>2.92E-2</c:v>
                </c:pt>
                <c:pt idx="6">
                  <c:v>0.13519999999999999</c:v>
                </c:pt>
                <c:pt idx="7">
                  <c:v>3.4200000000000001E-2</c:v>
                </c:pt>
                <c:pt idx="8">
                  <c:v>7.4700000000000003E-2</c:v>
                </c:pt>
                <c:pt idx="9">
                  <c:v>5.5E-2</c:v>
                </c:pt>
                <c:pt idx="10">
                  <c:v>4.4699999999999997E-2</c:v>
                </c:pt>
                <c:pt idx="11">
                  <c:v>9.6600000000000005E-2</c:v>
                </c:pt>
                <c:pt idx="12">
                  <c:v>0.21210000000000001</c:v>
                </c:pt>
                <c:pt idx="13">
                  <c:v>1.4999999999999999E-2</c:v>
                </c:pt>
                <c:pt idx="14">
                  <c:v>0.1195</c:v>
                </c:pt>
              </c:numCache>
            </c:numRef>
          </c:xVal>
          <c:yVal>
            <c:numRef>
              <c:f>Sheet1!$B$2:$B$16</c:f>
              <c:numCache>
                <c:formatCode>General</c:formatCode>
                <c:ptCount val="15"/>
                <c:pt idx="0">
                  <c:v>93.030303030303031</c:v>
                </c:pt>
                <c:pt idx="1">
                  <c:v>66.042553191489361</c:v>
                </c:pt>
                <c:pt idx="2">
                  <c:v>181.44444444444451</c:v>
                </c:pt>
                <c:pt idx="3">
                  <c:v>239.52500000000001</c:v>
                </c:pt>
                <c:pt idx="4">
                  <c:v>238.43055555555549</c:v>
                </c:pt>
                <c:pt idx="5">
                  <c:v>221.125</c:v>
                </c:pt>
                <c:pt idx="6">
                  <c:v>216.78571428571419</c:v>
                </c:pt>
                <c:pt idx="7">
                  <c:v>133.11538461538461</c:v>
                </c:pt>
                <c:pt idx="8">
                  <c:v>92.63636363636364</c:v>
                </c:pt>
                <c:pt idx="9">
                  <c:v>105.625</c:v>
                </c:pt>
                <c:pt idx="10">
                  <c:v>1794.81</c:v>
                </c:pt>
                <c:pt idx="11">
                  <c:v>265.66666666666669</c:v>
                </c:pt>
                <c:pt idx="12">
                  <c:v>106.21052631578949</c:v>
                </c:pt>
                <c:pt idx="13">
                  <c:v>85.72</c:v>
                </c:pt>
                <c:pt idx="14">
                  <c:v>82.030303030303031</c:v>
                </c:pt>
              </c:numCache>
            </c:numRef>
          </c:yVal>
          <c:bubbleSize>
            <c:numRef>
              <c:f>Sheet1!$C$2:$C$16</c:f>
              <c:numCache>
                <c:formatCode>General</c:formatCode>
                <c:ptCount val="15"/>
                <c:pt idx="0">
                  <c:v>1161.1782000000001</c:v>
                </c:pt>
                <c:pt idx="1">
                  <c:v>2279.9875999999999</c:v>
                </c:pt>
                <c:pt idx="2">
                  <c:v>3578.0381000000002</c:v>
                </c:pt>
                <c:pt idx="3">
                  <c:v>7842.5033999999996</c:v>
                </c:pt>
                <c:pt idx="4">
                  <c:v>14208.310600000001</c:v>
                </c:pt>
                <c:pt idx="5">
                  <c:v>12879.6119</c:v>
                </c:pt>
                <c:pt idx="6">
                  <c:v>1382.94</c:v>
                </c:pt>
                <c:pt idx="7">
                  <c:v>1860</c:v>
                </c:pt>
                <c:pt idx="8">
                  <c:v>2357.136</c:v>
                </c:pt>
                <c:pt idx="9">
                  <c:v>4658.1450000000004</c:v>
                </c:pt>
                <c:pt idx="10">
                  <c:v>142884.38889999999</c:v>
                </c:pt>
                <c:pt idx="11">
                  <c:v>12599.8182</c:v>
                </c:pt>
                <c:pt idx="12">
                  <c:v>1324.9998000000001</c:v>
                </c:pt>
                <c:pt idx="13">
                  <c:v>3518.0493999999999</c:v>
                </c:pt>
                <c:pt idx="14">
                  <c:v>1986.3320000000001</c:v>
                </c:pt>
              </c:numCache>
            </c:numRef>
          </c:bubbleSize>
          <c:bubble3D val="0"/>
          <c:extLst>
            <c:ext xmlns:c15="http://schemas.microsoft.com/office/drawing/2012/chart" uri="{02D57815-91ED-43cb-92C2-25804820EDAC}">
              <c15:datalabelsRange>
                <c15:f>Sheet1!$E$2:$E$50</c15:f>
                <c15:dlblRangeCache>
                  <c:ptCount val="49"/>
                  <c:pt idx="0">
                    <c:v>1/2 CHAMP NICOLAS BLC/BLC BS 1CT X 375ML</c:v>
                  </c:pt>
                  <c:pt idx="1">
                    <c:v>1/2 CHAMP NICOLAS ROSE 1E C BS 1CT X 375ML</c:v>
                  </c:pt>
                  <c:pt idx="2">
                    <c:v>MG CHAMPAGNE NICOLAS BLC/BL BS 1CT X 1500ML</c:v>
                  </c:pt>
                  <c:pt idx="3">
                    <c:v>MG CHAMPAGNE E.NICOLAS BRUT 1CT X 1500ML</c:v>
                  </c:pt>
                  <c:pt idx="4">
                    <c:v>CHAMPAGNE E.NICOLAS ROSE 1CT X 750ML</c:v>
                  </c:pt>
                  <c:pt idx="5">
                    <c:v>CHAMPAGNE NICOLAS 1ERE CUVEE 1CT X 750ML</c:v>
                  </c:pt>
                  <c:pt idx="6">
                    <c:v>MG CHAMPAGNE NICOLAS 1ERE CUVE 1CT X 1500ML</c:v>
                  </c:pt>
                  <c:pt idx="7">
                    <c:v>CHAMPAGNE NICOLAS BIO NAT 2017 1CT X 750ML</c:v>
                  </c:pt>
                  <c:pt idx="8">
                    <c:v>CHAMPAGNE NICOLAS BLC DE NOIRS 1CT X 750ML</c:v>
                  </c:pt>
                  <c:pt idx="9">
                    <c:v>1/2 CHAMPAGNE NICOLAS 1ERE CUV 1CT X 375ML</c:v>
                  </c:pt>
                  <c:pt idx="10">
                    <c:v>CHAMPAGNE E.NICOLAS BRUT 1CT X 750ML</c:v>
                  </c:pt>
                  <c:pt idx="11">
                    <c:v>CHAMPAGNE NICOLAS BLC/BLC BS 1CT X 750ML</c:v>
                  </c:pt>
                  <c:pt idx="12">
                    <c:v>CHAMPAGNE NICOLAS BLC/BLC 2002 1CT X 750ML</c:v>
                  </c:pt>
                  <c:pt idx="13">
                    <c:v>CHAMPAGNE NICOLAS ROSE 1ERE CU 1CT X 750ML</c:v>
                  </c:pt>
                  <c:pt idx="14">
                    <c:v>CHAMPAGNE NICOLAS 1ER CRU BS 1CT X 750ML</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6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3308B67D-AAFF-4B5B-A104-8304D42E795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6685BAF9-D894-463F-9229-3C402B7B4BE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24029991-B969-40ED-9C62-868AAC7F1B0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BD270B2E-D4F8-4467-A54E-85A3E0A5D78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615A1A30-B61B-4C22-A1B3-41DE3A9E734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C6245074-315E-4949-9986-C349FF0FF50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C67E873B-0C3A-47E4-B695-6E4964B6D2E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10</c:f>
              <c:numCache>
                <c:formatCode>General</c:formatCode>
                <c:ptCount val="9"/>
                <c:pt idx="0">
                  <c:v>0.1099</c:v>
                </c:pt>
                <c:pt idx="1">
                  <c:v>5.33E-2</c:v>
                </c:pt>
                <c:pt idx="2">
                  <c:v>6.0000000000000001E-3</c:v>
                </c:pt>
                <c:pt idx="3">
                  <c:v>-1.66E-2</c:v>
                </c:pt>
                <c:pt idx="4">
                  <c:v>7.51E-2</c:v>
                </c:pt>
                <c:pt idx="5">
                  <c:v>3.39E-2</c:v>
                </c:pt>
                <c:pt idx="6">
                  <c:v>9.69E-2</c:v>
                </c:pt>
                <c:pt idx="7">
                  <c:v>5.9799999999999999E-2</c:v>
                </c:pt>
                <c:pt idx="8">
                  <c:v>6.3899999999999998E-2</c:v>
                </c:pt>
              </c:numCache>
            </c:numRef>
          </c:xVal>
          <c:yVal>
            <c:numRef>
              <c:f>Sheet1!$B$2:$B$10</c:f>
              <c:numCache>
                <c:formatCode>General</c:formatCode>
                <c:ptCount val="9"/>
                <c:pt idx="0">
                  <c:v>91.3125</c:v>
                </c:pt>
                <c:pt idx="1">
                  <c:v>92.722222222222229</c:v>
                </c:pt>
                <c:pt idx="2">
                  <c:v>165.33823529411771</c:v>
                </c:pt>
                <c:pt idx="3">
                  <c:v>128.18072289156629</c:v>
                </c:pt>
                <c:pt idx="4">
                  <c:v>73.235294117647058</c:v>
                </c:pt>
                <c:pt idx="5">
                  <c:v>1647.1</c:v>
                </c:pt>
                <c:pt idx="6">
                  <c:v>157.69642857142861</c:v>
                </c:pt>
                <c:pt idx="7">
                  <c:v>40</c:v>
                </c:pt>
                <c:pt idx="8">
                  <c:v>45.39473684210526</c:v>
                </c:pt>
              </c:numCache>
            </c:numRef>
          </c:yVal>
          <c:bubbleSize>
            <c:numRef>
              <c:f>Sheet1!$C$2:$C$10</c:f>
              <c:numCache>
                <c:formatCode>General</c:formatCode>
                <c:ptCount val="9"/>
                <c:pt idx="0">
                  <c:v>1083.7252000000001</c:v>
                </c:pt>
                <c:pt idx="1">
                  <c:v>2633.3339999999998</c:v>
                </c:pt>
                <c:pt idx="2">
                  <c:v>9312.4851000000017</c:v>
                </c:pt>
                <c:pt idx="3">
                  <c:v>9012.6797999999999</c:v>
                </c:pt>
                <c:pt idx="4">
                  <c:v>2878.755000000001</c:v>
                </c:pt>
                <c:pt idx="5">
                  <c:v>132610.51420000001</c:v>
                </c:pt>
                <c:pt idx="6">
                  <c:v>6645.877199999999</c:v>
                </c:pt>
                <c:pt idx="7">
                  <c:v>1472.9490000000001</c:v>
                </c:pt>
                <c:pt idx="8">
                  <c:v>1345.7064</c:v>
                </c:pt>
              </c:numCache>
            </c:numRef>
          </c:bubbleSize>
          <c:bubble3D val="0"/>
          <c:extLst>
            <c:ext xmlns:c15="http://schemas.microsoft.com/office/drawing/2012/chart" uri="{02D57815-91ED-43cb-92C2-25804820EDAC}">
              <c15:datalabelsRange>
                <c15:f>Sheet1!$E$2:$E$50</c15:f>
                <c15:dlblRangeCache>
                  <c:ptCount val="49"/>
                  <c:pt idx="0">
                    <c:v>MG CHAMPAGNE NICOLAS BLC/BL BS 1CT X 1500ML</c:v>
                  </c:pt>
                  <c:pt idx="1">
                    <c:v>MG CHAMPAGNE E.NICOLAS BRUT 1CT X 1500ML</c:v>
                  </c:pt>
                  <c:pt idx="2">
                    <c:v>CHAMPAGNE E.NICOLAS ROSE 1CT X 750ML</c:v>
                  </c:pt>
                  <c:pt idx="3">
                    <c:v>CHAMPAGNE NICOLAS 1ERE CUVEE 1CT X 750ML</c:v>
                  </c:pt>
                  <c:pt idx="4">
                    <c:v>1/2 CHAMPAGNE NICOLAS 1ERE CUV 1CT X 375ML</c:v>
                  </c:pt>
                  <c:pt idx="5">
                    <c:v>CHAMPAGNE E.NICOLAS BRUT 1CT X 750ML</c:v>
                  </c:pt>
                  <c:pt idx="6">
                    <c:v>CHAMPAGNE NICOLAS BLC/BLC BS 1CT X 750ML</c:v>
                  </c:pt>
                  <c:pt idx="7">
                    <c:v>CHAMPAGNE NICOLAS ROSE 1ERE CU 1CT X 750ML</c:v>
                  </c:pt>
                  <c:pt idx="8">
                    <c:v>CHAMPAGNE NICOLAS 1ER CRU BS 1CT X 750ML</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6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C2DDF422-F42A-4A35-BA68-CDE084DAA18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ADACA178-86BD-4A33-BC66-298981633BA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01D04264-E3FA-4EAB-9121-1A278393B26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572B3F74-CE7B-4753-92F7-A4D328D3AC2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589ABEF7-2846-478C-A7F7-62B24436F8B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224E543C-D856-427D-8BDB-A2274CBA229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27902108-BDA3-4A23-863E-56ABF3F36D9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11</c:f>
              <c:numCache>
                <c:formatCode>General</c:formatCode>
                <c:ptCount val="10"/>
                <c:pt idx="0">
                  <c:v>9.3700000000000006E-2</c:v>
                </c:pt>
                <c:pt idx="1">
                  <c:v>2.0000000000000001E-4</c:v>
                </c:pt>
                <c:pt idx="2">
                  <c:v>-2.8000000000000001E-2</c:v>
                </c:pt>
                <c:pt idx="3">
                  <c:v>5.3699999999999998E-2</c:v>
                </c:pt>
                <c:pt idx="4">
                  <c:v>4.4499999999999998E-2</c:v>
                </c:pt>
                <c:pt idx="5">
                  <c:v>4.02E-2</c:v>
                </c:pt>
                <c:pt idx="6">
                  <c:v>6.1899999999999997E-2</c:v>
                </c:pt>
                <c:pt idx="7">
                  <c:v>1.84E-2</c:v>
                </c:pt>
                <c:pt idx="8">
                  <c:v>9.8900000000000002E-2</c:v>
                </c:pt>
                <c:pt idx="9">
                  <c:v>0.14449999999999999</c:v>
                </c:pt>
              </c:numCache>
            </c:numRef>
          </c:xVal>
          <c:yVal>
            <c:numRef>
              <c:f>Sheet1!$B$2:$B$11</c:f>
              <c:numCache>
                <c:formatCode>General</c:formatCode>
                <c:ptCount val="10"/>
                <c:pt idx="0">
                  <c:v>56.647058823529413</c:v>
                </c:pt>
                <c:pt idx="1">
                  <c:v>69.28125</c:v>
                </c:pt>
                <c:pt idx="2">
                  <c:v>197.51351351351349</c:v>
                </c:pt>
                <c:pt idx="3">
                  <c:v>54.000000000000007</c:v>
                </c:pt>
                <c:pt idx="4">
                  <c:v>88.074074074074076</c:v>
                </c:pt>
                <c:pt idx="5">
                  <c:v>55.523809523809533</c:v>
                </c:pt>
                <c:pt idx="6">
                  <c:v>35.32</c:v>
                </c:pt>
                <c:pt idx="7">
                  <c:v>1057.96</c:v>
                </c:pt>
                <c:pt idx="8">
                  <c:v>192.4651162790698</c:v>
                </c:pt>
                <c:pt idx="9">
                  <c:v>56.44</c:v>
                </c:pt>
              </c:numCache>
            </c:numRef>
          </c:yVal>
          <c:bubbleSize>
            <c:numRef>
              <c:f>Sheet1!$C$2:$C$11</c:f>
              <c:numCache>
                <c:formatCode>General</c:formatCode>
                <c:ptCount val="10"/>
                <c:pt idx="0">
                  <c:v>1454.5848000000001</c:v>
                </c:pt>
                <c:pt idx="1">
                  <c:v>1847.0841</c:v>
                </c:pt>
                <c:pt idx="2">
                  <c:v>12520.8133</c:v>
                </c:pt>
                <c:pt idx="3">
                  <c:v>2427.2689</c:v>
                </c:pt>
                <c:pt idx="4">
                  <c:v>1278.75</c:v>
                </c:pt>
                <c:pt idx="5">
                  <c:v>1865.3040000000001</c:v>
                </c:pt>
                <c:pt idx="6">
                  <c:v>1380.615</c:v>
                </c:pt>
                <c:pt idx="7">
                  <c:v>86540.523000000016</c:v>
                </c:pt>
                <c:pt idx="8">
                  <c:v>6214.7007000000003</c:v>
                </c:pt>
                <c:pt idx="9">
                  <c:v>1005.984</c:v>
                </c:pt>
              </c:numCache>
            </c:numRef>
          </c:bubbleSize>
          <c:bubble3D val="0"/>
          <c:extLst>
            <c:ext xmlns:c15="http://schemas.microsoft.com/office/drawing/2012/chart" uri="{02D57815-91ED-43cb-92C2-25804820EDAC}">
              <c15:datalabelsRange>
                <c15:f>Sheet1!$E$2:$E$50</c15:f>
                <c15:dlblRangeCache>
                  <c:ptCount val="49"/>
                  <c:pt idx="0">
                    <c:v>1/2 CHAMP NICOLAS ROSE 1E C BS 1CT X 375ML</c:v>
                  </c:pt>
                  <c:pt idx="1">
                    <c:v>MG CHAMPAGNE E.NICOLAS BRUT 1CT X 1500ML</c:v>
                  </c:pt>
                  <c:pt idx="2">
                    <c:v>CHAMPAGNE E.NICOLAS ROSE 1CT X 750ML</c:v>
                  </c:pt>
                  <c:pt idx="3">
                    <c:v>CHAMPAGNE NICOLAS 1ERE CUVEE 1CT X 750ML</c:v>
                  </c:pt>
                  <c:pt idx="4">
                    <c:v>CHAMPAGNE NICOLAS BIO NAT 2017 1CT X 750ML</c:v>
                  </c:pt>
                  <c:pt idx="5">
                    <c:v>CHAMPAGNE NICOLAS BLC DE NOIRS 1CT X 750ML</c:v>
                  </c:pt>
                  <c:pt idx="6">
                    <c:v>1/2 CHAMPAGNE NICOLAS 1ERE CUV 1CT X 375ML</c:v>
                  </c:pt>
                  <c:pt idx="7">
                    <c:v>CHAMPAGNE E.NICOLAS BRUT 1CT X 750ML</c:v>
                  </c:pt>
                  <c:pt idx="8">
                    <c:v>CHAMPAGNE NICOLAS BLC/BLC BS 1CT X 750ML</c:v>
                  </c:pt>
                  <c:pt idx="9">
                    <c:v>CHAMPAGNE NICOLAS ROSE 1ERE CU 1CT X 750ML</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6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1B7F513E-EAD1-4B6B-A239-8B624DE509C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D9DB6EAB-33C8-4AD3-B8FE-B7D9FEEACE3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BC03486C-4DF6-4050-A0C3-95DC2722BCC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C6554D9C-4EDE-4BE0-AD70-E262A406F3E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6593D881-0E42-44EE-A039-E58025EF942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7AFBE839-57CA-47A7-9FEF-05BAF3AF932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3EC2B45C-70E0-436B-93BB-C7E8BBE372D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5-BFDA-4C69-8E79-A083B7EFBA29}"/>
                </c:ext>
              </c:extLst>
            </c:dLbl>
            <c:dLbl>
              <c:idx val="1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6-BFDA-4C69-8E79-A083B7EFBA29}"/>
                </c:ext>
              </c:extLst>
            </c:dLbl>
            <c:dLbl>
              <c:idx val="1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7-BFDA-4C69-8E79-A083B7EFBA29}"/>
                </c:ext>
              </c:extLst>
            </c:dLbl>
            <c:dLbl>
              <c:idx val="1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8-BFDA-4C69-8E79-A083B7EFBA29}"/>
                </c:ext>
              </c:extLst>
            </c:dLbl>
            <c:dLbl>
              <c:idx val="1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9-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18</c:f>
              <c:numCache>
                <c:formatCode>General</c:formatCode>
                <c:ptCount val="17"/>
                <c:pt idx="0">
                  <c:v>8.2100000000000006E-2</c:v>
                </c:pt>
                <c:pt idx="1">
                  <c:v>7.2700000000000001E-2</c:v>
                </c:pt>
                <c:pt idx="2">
                  <c:v>8.3199999999999996E-2</c:v>
                </c:pt>
                <c:pt idx="3">
                  <c:v>2.5000000000000001E-3</c:v>
                </c:pt>
                <c:pt idx="4">
                  <c:v>-3.8999999999999998E-3</c:v>
                </c:pt>
                <c:pt idx="5">
                  <c:v>-2.7699999999999999E-2</c:v>
                </c:pt>
                <c:pt idx="6">
                  <c:v>0.1125</c:v>
                </c:pt>
                <c:pt idx="7">
                  <c:v>3.0999999999999999E-3</c:v>
                </c:pt>
                <c:pt idx="8">
                  <c:v>3.3000000000000002E-2</c:v>
                </c:pt>
                <c:pt idx="9">
                  <c:v>0.1081</c:v>
                </c:pt>
                <c:pt idx="10">
                  <c:v>2.9000000000000001E-2</c:v>
                </c:pt>
                <c:pt idx="11">
                  <c:v>3.8600000000000002E-2</c:v>
                </c:pt>
                <c:pt idx="12">
                  <c:v>8.1100000000000005E-2</c:v>
                </c:pt>
                <c:pt idx="13">
                  <c:v>7.0199999999999999E-2</c:v>
                </c:pt>
                <c:pt idx="14">
                  <c:v>3.2800000000000003E-2</c:v>
                </c:pt>
                <c:pt idx="15">
                  <c:v>4.2099999999999999E-2</c:v>
                </c:pt>
                <c:pt idx="16">
                  <c:v>8.5000000000000006E-2</c:v>
                </c:pt>
              </c:numCache>
            </c:numRef>
          </c:xVal>
          <c:yVal>
            <c:numRef>
              <c:f>Sheet1!$B$2:$B$18</c:f>
              <c:numCache>
                <c:formatCode>General</c:formatCode>
                <c:ptCount val="17"/>
                <c:pt idx="0">
                  <c:v>443.71428571428572</c:v>
                </c:pt>
                <c:pt idx="1">
                  <c:v>325.47619047619048</c:v>
                </c:pt>
                <c:pt idx="2">
                  <c:v>697.86956521739125</c:v>
                </c:pt>
                <c:pt idx="3">
                  <c:v>784.41176470588232</c:v>
                </c:pt>
                <c:pt idx="4">
                  <c:v>1000.931506849315</c:v>
                </c:pt>
                <c:pt idx="5">
                  <c:v>757.83333333333337</c:v>
                </c:pt>
                <c:pt idx="6">
                  <c:v>369.25</c:v>
                </c:pt>
                <c:pt idx="7">
                  <c:v>502.89285714285711</c:v>
                </c:pt>
                <c:pt idx="8">
                  <c:v>431.2</c:v>
                </c:pt>
                <c:pt idx="9">
                  <c:v>377.28571428571422</c:v>
                </c:pt>
                <c:pt idx="10">
                  <c:v>511.97674418604652</c:v>
                </c:pt>
                <c:pt idx="11">
                  <c:v>10463.09</c:v>
                </c:pt>
                <c:pt idx="12">
                  <c:v>1545.1</c:v>
                </c:pt>
                <c:pt idx="13">
                  <c:v>905.142857142857</c:v>
                </c:pt>
                <c:pt idx="14">
                  <c:v>364.28571428571428</c:v>
                </c:pt>
                <c:pt idx="15">
                  <c:v>148.58064516129031</c:v>
                </c:pt>
                <c:pt idx="16">
                  <c:v>207.47619047619051</c:v>
                </c:pt>
              </c:numCache>
            </c:numRef>
          </c:yVal>
          <c:bubbleSize>
            <c:numRef>
              <c:f>Sheet1!$C$2:$C$18</c:f>
              <c:numCache>
                <c:formatCode>General</c:formatCode>
                <c:ptCount val="17"/>
                <c:pt idx="0">
                  <c:v>6561.5784000000003</c:v>
                </c:pt>
                <c:pt idx="1">
                  <c:v>10563.1468</c:v>
                </c:pt>
                <c:pt idx="2">
                  <c:v>12262.8586</c:v>
                </c:pt>
                <c:pt idx="3">
                  <c:v>22168.7595</c:v>
                </c:pt>
                <c:pt idx="4">
                  <c:v>61124.902199999997</c:v>
                </c:pt>
                <c:pt idx="5">
                  <c:v>58409.179300000011</c:v>
                </c:pt>
                <c:pt idx="6">
                  <c:v>3975.9524999999999</c:v>
                </c:pt>
                <c:pt idx="7">
                  <c:v>7285</c:v>
                </c:pt>
                <c:pt idx="8">
                  <c:v>8686.6008000000002</c:v>
                </c:pt>
                <c:pt idx="9">
                  <c:v>3926.0473999999999</c:v>
                </c:pt>
                <c:pt idx="10">
                  <c:v>17814.044999999998</c:v>
                </c:pt>
                <c:pt idx="11">
                  <c:v>838278.9384000001</c:v>
                </c:pt>
                <c:pt idx="12">
                  <c:v>82824.232499999998</c:v>
                </c:pt>
                <c:pt idx="13">
                  <c:v>4909.1655000000001</c:v>
                </c:pt>
                <c:pt idx="14">
                  <c:v>12331.8794</c:v>
                </c:pt>
                <c:pt idx="15">
                  <c:v>3676.8560000000002</c:v>
                </c:pt>
                <c:pt idx="16">
                  <c:v>3322.1214</c:v>
                </c:pt>
              </c:numCache>
            </c:numRef>
          </c:bubbleSize>
          <c:bubble3D val="0"/>
          <c:extLst>
            <c:ext xmlns:c15="http://schemas.microsoft.com/office/drawing/2012/chart" uri="{02D57815-91ED-43cb-92C2-25804820EDAC}">
              <c15:datalabelsRange>
                <c15:f>Sheet1!$E$2:$E$50</c15:f>
                <c15:dlblRangeCache>
                  <c:ptCount val="49"/>
                  <c:pt idx="0">
                    <c:v>1/2 CHAMP NICOLAS BLC/BLC BS 1CT X 375ML</c:v>
                  </c:pt>
                  <c:pt idx="1">
                    <c:v>1/2 CHAMP NICOLAS ROSE 1E C BS 1CT X 375ML</c:v>
                  </c:pt>
                  <c:pt idx="2">
                    <c:v>MG CHAMPAGNE NICOLAS BLC/BL BS 1CT X 1500ML</c:v>
                  </c:pt>
                  <c:pt idx="3">
                    <c:v>MG CHAMPAGNE E.NICOLAS BRUT 1CT X 1500ML</c:v>
                  </c:pt>
                  <c:pt idx="4">
                    <c:v>CHAMPAGNE E.NICOLAS ROSE 1CT X 750ML</c:v>
                  </c:pt>
                  <c:pt idx="5">
                    <c:v>CHAMPAGNE NICOLAS 1ERE CUVEE 1CT X 750ML</c:v>
                  </c:pt>
                  <c:pt idx="6">
                    <c:v>MG CHAMPAGNE NICOLAS 1ERE CUVE 1CT X 1500ML</c:v>
                  </c:pt>
                  <c:pt idx="7">
                    <c:v>CHAMPAGNE NICOLAS BIO NAT 2017 1CT X 750ML</c:v>
                  </c:pt>
                  <c:pt idx="8">
                    <c:v>CHAMPAGNE NICOLAS BLC DE NOIRS 1CT X 750ML</c:v>
                  </c:pt>
                  <c:pt idx="9">
                    <c:v>CHAMPAGNE NICOLAS ROSE 1ERE ET 1CT X 750ML</c:v>
                  </c:pt>
                  <c:pt idx="10">
                    <c:v>1/2 CHAMPAGNE NICOLAS 1ERE CUV 1CT X 375ML</c:v>
                  </c:pt>
                  <c:pt idx="11">
                    <c:v>CHAMPAGNE E.NICOLAS BRUT 1CT X 750ML</c:v>
                  </c:pt>
                  <c:pt idx="12">
                    <c:v>CHAMPAGNE NICOLAS BLC/BLC BS 1CT X 750ML</c:v>
                  </c:pt>
                  <c:pt idx="13">
                    <c:v>CHAMPAGNE NICOLAS BLC/BLC 2002 1CT X 750ML</c:v>
                  </c:pt>
                  <c:pt idx="14">
                    <c:v>CHAMPAGNE NICOLAS ROSE 1ERE CU 1CT X 750ML</c:v>
                  </c:pt>
                  <c:pt idx="15">
                    <c:v>CHAMPAGNE NICOLAS 1ER CRU BS 1CT X 750ML</c:v>
                  </c:pt>
                  <c:pt idx="16">
                    <c:v>CHAMPAGNE NICOLAS 1ER CRU ETUI 1CT X 750ML</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6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59FA401C-B51A-47AC-AC8C-028F5C36FD0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EBCB12F7-BBF8-469A-A84C-A43E10BB285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F8FFA887-5270-4F8F-B6A7-D116F3F5487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8681B4C2-587E-4EF6-9F61-8595CC090E8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7C44451D-07D7-464D-B4A3-3E7D911C88E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83757449-1CE5-44E2-850F-4C23B0047C5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14444DA9-D576-4413-9D7B-55281D475F8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5-BFDA-4C69-8E79-A083B7EFBA29}"/>
                </c:ext>
              </c:extLst>
            </c:dLbl>
            <c:dLbl>
              <c:idx val="1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6-BFDA-4C69-8E79-A083B7EFBA29}"/>
                </c:ext>
              </c:extLst>
            </c:dLbl>
            <c:dLbl>
              <c:idx val="1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7-BFDA-4C69-8E79-A083B7EFBA29}"/>
                </c:ext>
              </c:extLst>
            </c:dLbl>
            <c:dLbl>
              <c:idx val="1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8-BFDA-4C69-8E79-A083B7EFBA29}"/>
                </c:ext>
              </c:extLst>
            </c:dLbl>
            <c:dLbl>
              <c:idx val="1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9-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18</c:f>
              <c:numCache>
                <c:formatCode>General</c:formatCode>
                <c:ptCount val="17"/>
                <c:pt idx="0">
                  <c:v>9.3399999999999997E-2</c:v>
                </c:pt>
                <c:pt idx="1">
                  <c:v>8.6699999999999999E-2</c:v>
                </c:pt>
                <c:pt idx="2">
                  <c:v>0.1007</c:v>
                </c:pt>
                <c:pt idx="3">
                  <c:v>2.3599999999999999E-2</c:v>
                </c:pt>
                <c:pt idx="4">
                  <c:v>3.0999999999999999E-3</c:v>
                </c:pt>
                <c:pt idx="5">
                  <c:v>-3.0800000000000001E-2</c:v>
                </c:pt>
                <c:pt idx="6">
                  <c:v>0.1338</c:v>
                </c:pt>
                <c:pt idx="7">
                  <c:v>1.4200000000000001E-2</c:v>
                </c:pt>
                <c:pt idx="8">
                  <c:v>4.9299999999999997E-2</c:v>
                </c:pt>
                <c:pt idx="9">
                  <c:v>0.15390000000000001</c:v>
                </c:pt>
                <c:pt idx="10">
                  <c:v>3.2199999999999999E-2</c:v>
                </c:pt>
                <c:pt idx="11">
                  <c:v>3.95E-2</c:v>
                </c:pt>
                <c:pt idx="12">
                  <c:v>8.3299999999999999E-2</c:v>
                </c:pt>
                <c:pt idx="13">
                  <c:v>9.7799999999999998E-2</c:v>
                </c:pt>
                <c:pt idx="14">
                  <c:v>7.0400000000000004E-2</c:v>
                </c:pt>
                <c:pt idx="15">
                  <c:v>4.7899999999999998E-2</c:v>
                </c:pt>
                <c:pt idx="16">
                  <c:v>6.83E-2</c:v>
                </c:pt>
              </c:numCache>
            </c:numRef>
          </c:xVal>
          <c:yVal>
            <c:numRef>
              <c:f>Sheet1!$B$2:$B$18</c:f>
              <c:numCache>
                <c:formatCode>General</c:formatCode>
                <c:ptCount val="17"/>
                <c:pt idx="0">
                  <c:v>226.33333333333329</c:v>
                </c:pt>
                <c:pt idx="1">
                  <c:v>210.625</c:v>
                </c:pt>
                <c:pt idx="2">
                  <c:v>456.84210526315792</c:v>
                </c:pt>
                <c:pt idx="3">
                  <c:v>461.28571428571428</c:v>
                </c:pt>
                <c:pt idx="4">
                  <c:v>516.91999999999996</c:v>
                </c:pt>
                <c:pt idx="5">
                  <c:v>361.03296703296701</c:v>
                </c:pt>
                <c:pt idx="6">
                  <c:v>409.58333333333331</c:v>
                </c:pt>
                <c:pt idx="7">
                  <c:v>378.90476190476193</c:v>
                </c:pt>
                <c:pt idx="8">
                  <c:v>256.38095238095241</c:v>
                </c:pt>
                <c:pt idx="9">
                  <c:v>176.1875</c:v>
                </c:pt>
                <c:pt idx="10">
                  <c:v>364.95555555555558</c:v>
                </c:pt>
                <c:pt idx="11">
                  <c:v>6289.38</c:v>
                </c:pt>
                <c:pt idx="12">
                  <c:v>791.89855072463763</c:v>
                </c:pt>
                <c:pt idx="13">
                  <c:v>578.6</c:v>
                </c:pt>
                <c:pt idx="14">
                  <c:v>272.1875</c:v>
                </c:pt>
                <c:pt idx="15">
                  <c:v>103.7045454545455</c:v>
                </c:pt>
                <c:pt idx="16">
                  <c:v>210.52173913043481</c:v>
                </c:pt>
              </c:numCache>
            </c:numRef>
          </c:yVal>
          <c:bubbleSize>
            <c:numRef>
              <c:f>Sheet1!$C$2:$C$18</c:f>
              <c:numCache>
                <c:formatCode>General</c:formatCode>
                <c:ptCount val="17"/>
                <c:pt idx="0">
                  <c:v>2746.2786000000001</c:v>
                </c:pt>
                <c:pt idx="1">
                  <c:v>5129.5136000000002</c:v>
                </c:pt>
                <c:pt idx="2">
                  <c:v>6504.7816999999995</c:v>
                </c:pt>
                <c:pt idx="3">
                  <c:v>7881.6701999999996</c:v>
                </c:pt>
                <c:pt idx="4">
                  <c:v>32208.281800000001</c:v>
                </c:pt>
                <c:pt idx="5">
                  <c:v>28222.456399999999</c:v>
                </c:pt>
                <c:pt idx="6">
                  <c:v>2016.7874999999999</c:v>
                </c:pt>
                <c:pt idx="7">
                  <c:v>3681.25</c:v>
                </c:pt>
                <c:pt idx="8">
                  <c:v>4265.3556000000008</c:v>
                </c:pt>
                <c:pt idx="9">
                  <c:v>1987.6420000000001</c:v>
                </c:pt>
                <c:pt idx="10">
                  <c:v>13245.51</c:v>
                </c:pt>
                <c:pt idx="11">
                  <c:v>503437.10680000001</c:v>
                </c:pt>
                <c:pt idx="12">
                  <c:v>41743.224000000002</c:v>
                </c:pt>
                <c:pt idx="13">
                  <c:v>2174.9994000000002</c:v>
                </c:pt>
                <c:pt idx="14">
                  <c:v>6747.2982000000002</c:v>
                </c:pt>
                <c:pt idx="15">
                  <c:v>3620.4369999999999</c:v>
                </c:pt>
                <c:pt idx="16">
                  <c:v>3759.2235000000001</c:v>
                </c:pt>
              </c:numCache>
            </c:numRef>
          </c:bubbleSize>
          <c:bubble3D val="0"/>
          <c:extLst>
            <c:ext xmlns:c15="http://schemas.microsoft.com/office/drawing/2012/chart" uri="{02D57815-91ED-43cb-92C2-25804820EDAC}">
              <c15:datalabelsRange>
                <c15:f>Sheet1!$E$2:$E$50</c15:f>
                <c15:dlblRangeCache>
                  <c:ptCount val="49"/>
                  <c:pt idx="0">
                    <c:v>1/2 CHAMP NICOLAS BLC/BLC BS 1CT X 375ML</c:v>
                  </c:pt>
                  <c:pt idx="1">
                    <c:v>1/2 CHAMP NICOLAS ROSE 1E C BS 1CT X 375ML</c:v>
                  </c:pt>
                  <c:pt idx="2">
                    <c:v>MG CHAMPAGNE NICOLAS BLC/BL BS 1CT X 1500ML</c:v>
                  </c:pt>
                  <c:pt idx="3">
                    <c:v>MG CHAMPAGNE E.NICOLAS BRUT 1CT X 1500ML</c:v>
                  </c:pt>
                  <c:pt idx="4">
                    <c:v>CHAMPAGNE E.NICOLAS ROSE 1CT X 750ML</c:v>
                  </c:pt>
                  <c:pt idx="5">
                    <c:v>CHAMPAGNE NICOLAS 1ERE CUVEE 1CT X 750ML</c:v>
                  </c:pt>
                  <c:pt idx="6">
                    <c:v>MG CHAMPAGNE NICOLAS 1ERE CUVE 1CT X 1500ML</c:v>
                  </c:pt>
                  <c:pt idx="7">
                    <c:v>CHAMPAGNE NICOLAS BIO NAT 2017 1CT X 750ML</c:v>
                  </c:pt>
                  <c:pt idx="8">
                    <c:v>CHAMPAGNE NICOLAS BLC DE NOIRS 1CT X 750ML</c:v>
                  </c:pt>
                  <c:pt idx="9">
                    <c:v>CHAMPAGNE NICOLAS ROSE 1ERE ET 1CT X 750ML</c:v>
                  </c:pt>
                  <c:pt idx="10">
                    <c:v>1/2 CHAMPAGNE NICOLAS 1ERE CUV 1CT X 375ML</c:v>
                  </c:pt>
                  <c:pt idx="11">
                    <c:v>CHAMPAGNE E.NICOLAS BRUT 1CT X 750ML</c:v>
                  </c:pt>
                  <c:pt idx="12">
                    <c:v>CHAMPAGNE NICOLAS BLC/BLC BS 1CT X 750ML</c:v>
                  </c:pt>
                  <c:pt idx="13">
                    <c:v>CHAMPAGNE NICOLAS BLC/BLC 2002 1CT X 750ML</c:v>
                  </c:pt>
                  <c:pt idx="14">
                    <c:v>CHAMPAGNE NICOLAS ROSE 1ERE CU 1CT X 750ML</c:v>
                  </c:pt>
                  <c:pt idx="15">
                    <c:v>CHAMPAGNE NICOLAS 1ER CRU BS 1CT X 750ML</c:v>
                  </c:pt>
                  <c:pt idx="16">
                    <c:v>CHAMPAGNE NICOLAS 1ER CRU ETUI 1CT X 750ML</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6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4F569228-06B3-409C-A1CE-045BDC28A52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4ACF9F5B-31BC-419D-B91B-D88AB456E75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4FDBD0BC-27D3-4079-BCE0-93A31230A56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923D2F72-1C84-4DA4-8CF9-762E70735D8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6BD3A4AA-D2CC-4CDC-8D80-2EC66E4BC2D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D50436EA-CB55-416E-8056-1DD23207F42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E48B8102-F300-4CE6-9296-4FE8A0D4A6B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5-BFDA-4C69-8E79-A083B7EFBA29}"/>
                </c:ext>
              </c:extLst>
            </c:dLbl>
            <c:dLbl>
              <c:idx val="1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6-BFDA-4C69-8E79-A083B7EFBA29}"/>
                </c:ext>
              </c:extLst>
            </c:dLbl>
            <c:dLbl>
              <c:idx val="1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7-BFDA-4C69-8E79-A083B7EFBA29}"/>
                </c:ext>
              </c:extLst>
            </c:dLbl>
            <c:dLbl>
              <c:idx val="1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8-BFDA-4C69-8E79-A083B7EFBA29}"/>
                </c:ext>
              </c:extLst>
            </c:dLbl>
            <c:dLbl>
              <c:idx val="1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9-BFDA-4C69-8E79-A083B7EFBA29}"/>
                </c:ext>
              </c:extLst>
            </c:dLbl>
            <c:dLbl>
              <c:idx val="1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A-BFDA-4C69-8E79-A083B7EFBA29}"/>
                </c:ext>
              </c:extLst>
            </c:dLbl>
            <c:dLbl>
              <c:idx val="1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B-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20</c:f>
              <c:numCache>
                <c:formatCode>General</c:formatCode>
                <c:ptCount val="19"/>
                <c:pt idx="0">
                  <c:v>8.8300000000000003E-2</c:v>
                </c:pt>
                <c:pt idx="1">
                  <c:v>7.3800000000000004E-2</c:v>
                </c:pt>
                <c:pt idx="2">
                  <c:v>8.7999999999999995E-2</c:v>
                </c:pt>
                <c:pt idx="3">
                  <c:v>5.5999999999999999E-3</c:v>
                </c:pt>
                <c:pt idx="4">
                  <c:v>1.6000000000000001E-3</c:v>
                </c:pt>
                <c:pt idx="5">
                  <c:v>-2.69E-2</c:v>
                </c:pt>
                <c:pt idx="6">
                  <c:v>0.13969999999999999</c:v>
                </c:pt>
                <c:pt idx="7">
                  <c:v>1.4200000000000001E-2</c:v>
                </c:pt>
                <c:pt idx="8">
                  <c:v>4.5900000000000003E-2</c:v>
                </c:pt>
                <c:pt idx="9">
                  <c:v>0.1424</c:v>
                </c:pt>
                <c:pt idx="10">
                  <c:v>0.15690000000000001</c:v>
                </c:pt>
                <c:pt idx="11">
                  <c:v>2.9700000000000001E-2</c:v>
                </c:pt>
                <c:pt idx="12">
                  <c:v>0.04</c:v>
                </c:pt>
                <c:pt idx="13">
                  <c:v>8.2600000000000007E-2</c:v>
                </c:pt>
                <c:pt idx="14">
                  <c:v>9.8799999999999999E-2</c:v>
                </c:pt>
                <c:pt idx="15">
                  <c:v>6.0999999999999999E-2</c:v>
                </c:pt>
                <c:pt idx="16">
                  <c:v>5.8700000000000002E-2</c:v>
                </c:pt>
                <c:pt idx="17">
                  <c:v>8.72E-2</c:v>
                </c:pt>
                <c:pt idx="18">
                  <c:v>9.2100000000000001E-2</c:v>
                </c:pt>
              </c:numCache>
            </c:numRef>
          </c:xVal>
          <c:yVal>
            <c:numRef>
              <c:f>Sheet1!$B$2:$B$20</c:f>
              <c:numCache>
                <c:formatCode>General</c:formatCode>
                <c:ptCount val="19"/>
                <c:pt idx="0">
                  <c:v>624.6</c:v>
                </c:pt>
                <c:pt idx="1">
                  <c:v>500.30434782608688</c:v>
                </c:pt>
                <c:pt idx="2">
                  <c:v>946.84615384615381</c:v>
                </c:pt>
                <c:pt idx="3">
                  <c:v>1297.4705882352939</c:v>
                </c:pt>
                <c:pt idx="4">
                  <c:v>1071.7678571428571</c:v>
                </c:pt>
                <c:pt idx="5">
                  <c:v>779.16883116883116</c:v>
                </c:pt>
                <c:pt idx="6">
                  <c:v>1504.166666666667</c:v>
                </c:pt>
                <c:pt idx="7">
                  <c:v>741.27777777777783</c:v>
                </c:pt>
                <c:pt idx="8">
                  <c:v>572.58823529411768</c:v>
                </c:pt>
                <c:pt idx="9">
                  <c:v>391.66666666666669</c:v>
                </c:pt>
                <c:pt idx="10">
                  <c:v>392.11111111111109</c:v>
                </c:pt>
                <c:pt idx="11">
                  <c:v>636.66666666666663</c:v>
                </c:pt>
                <c:pt idx="12">
                  <c:v>9504.58</c:v>
                </c:pt>
                <c:pt idx="13">
                  <c:v>1649.4313725490199</c:v>
                </c:pt>
                <c:pt idx="14">
                  <c:v>940.83333333333337</c:v>
                </c:pt>
                <c:pt idx="15">
                  <c:v>517.75</c:v>
                </c:pt>
                <c:pt idx="16">
                  <c:v>267.60714285714278</c:v>
                </c:pt>
                <c:pt idx="17">
                  <c:v>175.6875</c:v>
                </c:pt>
                <c:pt idx="18">
                  <c:v>311.63157894736838</c:v>
                </c:pt>
              </c:numCache>
            </c:numRef>
          </c:yVal>
          <c:bubbleSize>
            <c:numRef>
              <c:f>Sheet1!$C$2:$C$20</c:f>
              <c:numCache>
                <c:formatCode>General</c:formatCode>
                <c:ptCount val="19"/>
                <c:pt idx="0">
                  <c:v>6119.2248</c:v>
                </c:pt>
                <c:pt idx="1">
                  <c:v>8881.8364000000001</c:v>
                </c:pt>
                <c:pt idx="2">
                  <c:v>9354.9976000000006</c:v>
                </c:pt>
                <c:pt idx="3">
                  <c:v>18277.5072</c:v>
                </c:pt>
                <c:pt idx="4">
                  <c:v>49937.420100000003</c:v>
                </c:pt>
                <c:pt idx="5">
                  <c:v>51340.187000000013</c:v>
                </c:pt>
                <c:pt idx="6">
                  <c:v>3399.7275</c:v>
                </c:pt>
                <c:pt idx="7">
                  <c:v>5192.5</c:v>
                </c:pt>
                <c:pt idx="8">
                  <c:v>7739.6016</c:v>
                </c:pt>
                <c:pt idx="9">
                  <c:v>1679.3806</c:v>
                </c:pt>
                <c:pt idx="10">
                  <c:v>2479.395</c:v>
                </c:pt>
                <c:pt idx="11">
                  <c:v>18532.477500000001</c:v>
                </c:pt>
                <c:pt idx="12">
                  <c:v>760337.93420000002</c:v>
                </c:pt>
                <c:pt idx="13">
                  <c:v>64308.811500000003</c:v>
                </c:pt>
                <c:pt idx="14">
                  <c:v>4239.1659</c:v>
                </c:pt>
                <c:pt idx="15">
                  <c:v>12964.845799999999</c:v>
                </c:pt>
                <c:pt idx="16">
                  <c:v>5877.6760000000004</c:v>
                </c:pt>
                <c:pt idx="17">
                  <c:v>1522.8077000000001</c:v>
                </c:pt>
                <c:pt idx="18">
                  <c:v>4479.5236000000004</c:v>
                </c:pt>
              </c:numCache>
            </c:numRef>
          </c:bubbleSize>
          <c:bubble3D val="0"/>
          <c:extLst>
            <c:ext xmlns:c15="http://schemas.microsoft.com/office/drawing/2012/chart" uri="{02D57815-91ED-43cb-92C2-25804820EDAC}">
              <c15:datalabelsRange>
                <c15:f>Sheet1!$E$2:$E$50</c15:f>
                <c15:dlblRangeCache>
                  <c:ptCount val="49"/>
                  <c:pt idx="0">
                    <c:v>1/2 CHAMP NICOLAS BLC/BLC BS 1CT X 375ML</c:v>
                  </c:pt>
                  <c:pt idx="1">
                    <c:v>1/2 CHAMP NICOLAS ROSE 1E C BS 1CT X 375ML</c:v>
                  </c:pt>
                  <c:pt idx="2">
                    <c:v>MG CHAMPAGNE NICOLAS BLC/BL BS 1CT X 1500ML</c:v>
                  </c:pt>
                  <c:pt idx="3">
                    <c:v>MG CHAMPAGNE E.NICOLAS BRUT 1CT X 1500ML</c:v>
                  </c:pt>
                  <c:pt idx="4">
                    <c:v>CHAMPAGNE E.NICOLAS ROSE 1CT X 750ML</c:v>
                  </c:pt>
                  <c:pt idx="5">
                    <c:v>CHAMPAGNE NICOLAS 1ERE CUVEE 1CT X 750ML</c:v>
                  </c:pt>
                  <c:pt idx="6">
                    <c:v>MG CHAMPAGNE NICOLAS 1ERE CUVE 1CT X 1500ML</c:v>
                  </c:pt>
                  <c:pt idx="7">
                    <c:v>CHAMPAGNE NICOLAS BIO NAT 2017 1CT X 750ML</c:v>
                  </c:pt>
                  <c:pt idx="8">
                    <c:v>CHAMPAGNE NICOLAS BLC DE NOIRS 1CT X 750ML</c:v>
                  </c:pt>
                  <c:pt idx="9">
                    <c:v>CHAMPAGNE NICOLAS ROSE 1E C BS 1CT X 750ML</c:v>
                  </c:pt>
                  <c:pt idx="10">
                    <c:v>CHAMPAGNE NICOLAS ROSE 1ERE ET 1CT X 750ML</c:v>
                  </c:pt>
                  <c:pt idx="11">
                    <c:v>1/2 CHAMPAGNE NICOLAS 1ERE CUV 1CT X 375ML</c:v>
                  </c:pt>
                  <c:pt idx="12">
                    <c:v>CHAMPAGNE E.NICOLAS BRUT 1CT X 750ML</c:v>
                  </c:pt>
                  <c:pt idx="13">
                    <c:v>CHAMPAGNE NICOLAS BLC/BLC BS 1CT X 750ML</c:v>
                  </c:pt>
                  <c:pt idx="14">
                    <c:v>CHAMPAGNE NICOLAS BLC/BLC 2002 1CT X 750ML</c:v>
                  </c:pt>
                  <c:pt idx="15">
                    <c:v>CHAMPAGNE NICOLAS ROSE 1ERE CU 1CT X 750ML</c:v>
                  </c:pt>
                  <c:pt idx="16">
                    <c:v>CHAMPAGNE NICOLAS 1ER CRU BS 1CT X 750ML</c:v>
                  </c:pt>
                  <c:pt idx="17">
                    <c:v>CHAMPAGNE NICOLAS 1ERE CUV ETU 1CT X 750ML</c:v>
                  </c:pt>
                  <c:pt idx="18">
                    <c:v>CHAMPAGNE NICOLAS 1ER CRU ETUI 1CT X 750ML</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6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D58ED581-77FD-4421-B337-BE10AC6A6E8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AA03F2BD-407E-40B8-8657-DB96489CF30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D5C3B688-74FF-436A-81C8-44386FCF60A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3F44DDD6-1FEF-4267-BF1C-3FDDF56603D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48DD013A-539A-4F92-8313-578B82A0ABE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5E5AD263-1D56-4A01-8559-099ACE1DC27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6A2B025F-0F92-4CF1-9E91-9BE340177C5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5-BFDA-4C69-8E79-A083B7EFBA29}"/>
                </c:ext>
              </c:extLst>
            </c:dLbl>
            <c:dLbl>
              <c:idx val="1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6-BFDA-4C69-8E79-A083B7EFBA29}"/>
                </c:ext>
              </c:extLst>
            </c:dLbl>
            <c:dLbl>
              <c:idx val="1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7-BFDA-4C69-8E79-A083B7EFBA29}"/>
                </c:ext>
              </c:extLst>
            </c:dLbl>
            <c:dLbl>
              <c:idx val="1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8-BFDA-4C69-8E79-A083B7EFBA29}"/>
                </c:ext>
              </c:extLst>
            </c:dLbl>
            <c:dLbl>
              <c:idx val="1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9-BFDA-4C69-8E79-A083B7EFBA29}"/>
                </c:ext>
              </c:extLst>
            </c:dLbl>
            <c:dLbl>
              <c:idx val="1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A-BFDA-4C69-8E79-A083B7EFBA29}"/>
                </c:ext>
              </c:extLst>
            </c:dLbl>
            <c:dLbl>
              <c:idx val="1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B-BFDA-4C69-8E79-A083B7EFBA29}"/>
                </c:ext>
              </c:extLst>
            </c:dLbl>
            <c:dLbl>
              <c:idx val="1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C-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21</c:f>
              <c:numCache>
                <c:formatCode>General</c:formatCode>
                <c:ptCount val="20"/>
                <c:pt idx="0">
                  <c:v>9.0800000000000006E-2</c:v>
                </c:pt>
                <c:pt idx="1">
                  <c:v>8.2600000000000007E-2</c:v>
                </c:pt>
                <c:pt idx="2">
                  <c:v>9.3299999999999994E-2</c:v>
                </c:pt>
                <c:pt idx="3">
                  <c:v>1.52E-2</c:v>
                </c:pt>
                <c:pt idx="4">
                  <c:v>2.0999999999999999E-3</c:v>
                </c:pt>
                <c:pt idx="5">
                  <c:v>-2.2700000000000001E-2</c:v>
                </c:pt>
                <c:pt idx="6">
                  <c:v>0.1225</c:v>
                </c:pt>
                <c:pt idx="7">
                  <c:v>8.8999999999999999E-3</c:v>
                </c:pt>
                <c:pt idx="8">
                  <c:v>6.2399999999999997E-2</c:v>
                </c:pt>
                <c:pt idx="9">
                  <c:v>7.9799999999999996E-2</c:v>
                </c:pt>
                <c:pt idx="10">
                  <c:v>0.1055</c:v>
                </c:pt>
                <c:pt idx="11">
                  <c:v>3.2399999999999998E-2</c:v>
                </c:pt>
                <c:pt idx="12">
                  <c:v>4.3900000000000002E-2</c:v>
                </c:pt>
                <c:pt idx="13">
                  <c:v>8.6699999999999999E-2</c:v>
                </c:pt>
                <c:pt idx="14">
                  <c:v>0.1168</c:v>
                </c:pt>
                <c:pt idx="15">
                  <c:v>5.16E-2</c:v>
                </c:pt>
                <c:pt idx="16">
                  <c:v>0.13689999999999999</c:v>
                </c:pt>
                <c:pt idx="17">
                  <c:v>3.2800000000000003E-2</c:v>
                </c:pt>
                <c:pt idx="18">
                  <c:v>5.0799999999999998E-2</c:v>
                </c:pt>
                <c:pt idx="19">
                  <c:v>7.0499999999999993E-2</c:v>
                </c:pt>
              </c:numCache>
            </c:numRef>
          </c:xVal>
          <c:yVal>
            <c:numRef>
              <c:f>Sheet1!$B$2:$B$21</c:f>
              <c:numCache>
                <c:formatCode>General</c:formatCode>
                <c:ptCount val="20"/>
                <c:pt idx="0">
                  <c:v>653.5333333333333</c:v>
                </c:pt>
                <c:pt idx="1">
                  <c:v>442.88888888888891</c:v>
                </c:pt>
                <c:pt idx="2">
                  <c:v>1009.75</c:v>
                </c:pt>
                <c:pt idx="3">
                  <c:v>1152.0666666666671</c:v>
                </c:pt>
                <c:pt idx="4">
                  <c:v>999.24528301886789</c:v>
                </c:pt>
                <c:pt idx="5">
                  <c:v>714.12903225806451</c:v>
                </c:pt>
                <c:pt idx="6">
                  <c:v>1150.333333333333</c:v>
                </c:pt>
                <c:pt idx="7">
                  <c:v>745.88888888888891</c:v>
                </c:pt>
                <c:pt idx="8">
                  <c:v>474.61538461538458</c:v>
                </c:pt>
                <c:pt idx="9">
                  <c:v>249</c:v>
                </c:pt>
                <c:pt idx="10">
                  <c:v>628</c:v>
                </c:pt>
                <c:pt idx="11">
                  <c:v>760.28</c:v>
                </c:pt>
                <c:pt idx="12">
                  <c:v>7373.9494949494947</c:v>
                </c:pt>
                <c:pt idx="13">
                  <c:v>1265.294117647059</c:v>
                </c:pt>
                <c:pt idx="14">
                  <c:v>1255.666666666667</c:v>
                </c:pt>
                <c:pt idx="15">
                  <c:v>494.53571428571422</c:v>
                </c:pt>
                <c:pt idx="16">
                  <c:v>556.33333333333337</c:v>
                </c:pt>
                <c:pt idx="17">
                  <c:v>297.49999999999989</c:v>
                </c:pt>
                <c:pt idx="18">
                  <c:v>254.6</c:v>
                </c:pt>
                <c:pt idx="19">
                  <c:v>535</c:v>
                </c:pt>
              </c:numCache>
            </c:numRef>
          </c:yVal>
          <c:bubbleSize>
            <c:numRef>
              <c:f>Sheet1!$C$2:$C$21</c:f>
              <c:numCache>
                <c:formatCode>General</c:formatCode>
                <c:ptCount val="20"/>
                <c:pt idx="0">
                  <c:v>3723.1428000000001</c:v>
                </c:pt>
                <c:pt idx="1">
                  <c:v>6094.4557999999997</c:v>
                </c:pt>
                <c:pt idx="2">
                  <c:v>6103.8220000000001</c:v>
                </c:pt>
                <c:pt idx="3">
                  <c:v>14181.673199999999</c:v>
                </c:pt>
                <c:pt idx="4">
                  <c:v>44041.5962</c:v>
                </c:pt>
                <c:pt idx="5">
                  <c:v>37732.482300000003</c:v>
                </c:pt>
                <c:pt idx="6">
                  <c:v>3399.7275</c:v>
                </c:pt>
                <c:pt idx="7">
                  <c:v>6277.5</c:v>
                </c:pt>
                <c:pt idx="8">
                  <c:v>4820.8271999999997</c:v>
                </c:pt>
                <c:pt idx="9">
                  <c:v>1336.6007999999999</c:v>
                </c:pt>
                <c:pt idx="10">
                  <c:v>2340.6142</c:v>
                </c:pt>
                <c:pt idx="11">
                  <c:v>15325.342500000001</c:v>
                </c:pt>
                <c:pt idx="12">
                  <c:v>581642.16099999996</c:v>
                </c:pt>
                <c:pt idx="13">
                  <c:v>49115.3364</c:v>
                </c:pt>
                <c:pt idx="14">
                  <c:v>2772.4994999999999</c:v>
                </c:pt>
                <c:pt idx="15">
                  <c:v>10944.071400000001</c:v>
                </c:pt>
                <c:pt idx="16">
                  <c:v>1037.2049999999999</c:v>
                </c:pt>
                <c:pt idx="17">
                  <c:v>6714.1922000000004</c:v>
                </c:pt>
                <c:pt idx="18">
                  <c:v>2787.5124000000001</c:v>
                </c:pt>
                <c:pt idx="19">
                  <c:v>4143.8684999999996</c:v>
                </c:pt>
              </c:numCache>
            </c:numRef>
          </c:bubbleSize>
          <c:bubble3D val="0"/>
          <c:extLst>
            <c:ext xmlns:c15="http://schemas.microsoft.com/office/drawing/2012/chart" uri="{02D57815-91ED-43cb-92C2-25804820EDAC}">
              <c15:datalabelsRange>
                <c15:f>Sheet1!$E$2:$E$50</c15:f>
                <c15:dlblRangeCache>
                  <c:ptCount val="49"/>
                  <c:pt idx="0">
                    <c:v>1/2 CHAMP NICOLAS BLC/BLC BS 1CT X 375ML</c:v>
                  </c:pt>
                  <c:pt idx="1">
                    <c:v>1/2 CHAMP NICOLAS ROSE 1E C BS 1CT X 375ML</c:v>
                  </c:pt>
                  <c:pt idx="2">
                    <c:v>MG CHAMPAGNE NICOLAS BLC/BL BS 1CT X 1500ML</c:v>
                  </c:pt>
                  <c:pt idx="3">
                    <c:v>MG CHAMPAGNE E.NICOLAS BRUT 1CT X 1500ML</c:v>
                  </c:pt>
                  <c:pt idx="4">
                    <c:v>CHAMPAGNE E.NICOLAS ROSE 1CT X 750ML</c:v>
                  </c:pt>
                  <c:pt idx="5">
                    <c:v>CHAMPAGNE NICOLAS 1ERE CUVEE 1CT X 750ML</c:v>
                  </c:pt>
                  <c:pt idx="6">
                    <c:v>MG CHAMPAGNE NICOLAS 1ERE CUVE 1CT X 1500ML</c:v>
                  </c:pt>
                  <c:pt idx="7">
                    <c:v>CHAMPAGNE NICOLAS BIO NAT 2017 1CT X 750ML</c:v>
                  </c:pt>
                  <c:pt idx="8">
                    <c:v>CHAMPAGNE NICOLAS BLC DE NOIRS 1CT X 750ML</c:v>
                  </c:pt>
                  <c:pt idx="9">
                    <c:v>CHAMPAGNE NICOLAS ROSE 1E C BS 1CT X 750ML</c:v>
                  </c:pt>
                  <c:pt idx="10">
                    <c:v>CHAMPAGNE NICOLAS ROSE 1ERE ET 1CT X 750ML</c:v>
                  </c:pt>
                  <c:pt idx="11">
                    <c:v>1/2 CHAMPAGNE NICOLAS 1ERE CUV 1CT X 375ML</c:v>
                  </c:pt>
                  <c:pt idx="12">
                    <c:v>CHAMPAGNE E.NICOLAS BRUT 1CT X 750ML</c:v>
                  </c:pt>
                  <c:pt idx="13">
                    <c:v>CHAMPAGNE NICOLAS BLC/BLC BS 1CT X 750ML</c:v>
                  </c:pt>
                  <c:pt idx="14">
                    <c:v>CHAMPAGNE NICOLAS BLC/BLC 2002 1CT X 750ML</c:v>
                  </c:pt>
                  <c:pt idx="15">
                    <c:v>CHAMPAGNE NICOLAS ROSE 1ERE CU 1CT X 750ML</c:v>
                  </c:pt>
                  <c:pt idx="16">
                    <c:v>MG CHAMPAGNE NICOLAS 1E CRU BS 1CT X 1500ML</c:v>
                  </c:pt>
                  <c:pt idx="17">
                    <c:v>CHAMPAGNE NICOLAS 1ER CRU BS 1CT X 750ML</c:v>
                  </c:pt>
                  <c:pt idx="18">
                    <c:v>CHAMPAGNE NICOLAS 1ERE CUV ETU 1CT X 750ML</c:v>
                  </c:pt>
                  <c:pt idx="19">
                    <c:v>CHAMPAGNE NICOLAS 1ER CRU ETUI 1CT X 750ML</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6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42A9A133-79C2-4DFA-B17B-18DF4D0BB2E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9D15D8CE-1FD8-465A-B583-C5D50C83796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C2DFC071-3003-442E-A414-477EADC2A57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BC085C03-6457-45A8-AB64-F63E7190699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3C3EA2F9-90C1-4C39-8D74-58DE2D5E00E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9349F5AF-B44F-47A8-886B-FB200CF6AE7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2CA50BBA-A476-4EDB-8214-BA9879C76DA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5-BFDA-4C69-8E79-A083B7EFBA29}"/>
                </c:ext>
              </c:extLst>
            </c:dLbl>
            <c:dLbl>
              <c:idx val="1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6-BFDA-4C69-8E79-A083B7EFBA29}"/>
                </c:ext>
              </c:extLst>
            </c:dLbl>
            <c:dLbl>
              <c:idx val="1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7-BFDA-4C69-8E79-A083B7EFBA29}"/>
                </c:ext>
              </c:extLst>
            </c:dLbl>
            <c:dLbl>
              <c:idx val="1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8-BFDA-4C69-8E79-A083B7EFBA29}"/>
                </c:ext>
              </c:extLst>
            </c:dLbl>
            <c:dLbl>
              <c:idx val="1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9-BFDA-4C69-8E79-A083B7EFBA29}"/>
                </c:ext>
              </c:extLst>
            </c:dLbl>
            <c:dLbl>
              <c:idx val="1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A-BFDA-4C69-8E79-A083B7EFBA29}"/>
                </c:ext>
              </c:extLst>
            </c:dLbl>
            <c:dLbl>
              <c:idx val="1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B-BFDA-4C69-8E79-A083B7EFBA29}"/>
                </c:ext>
              </c:extLst>
            </c:dLbl>
            <c:dLbl>
              <c:idx val="1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C-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21</c:f>
              <c:numCache>
                <c:formatCode>General</c:formatCode>
                <c:ptCount val="20"/>
                <c:pt idx="0">
                  <c:v>8.5599999999999996E-2</c:v>
                </c:pt>
                <c:pt idx="1">
                  <c:v>8.3099999999999993E-2</c:v>
                </c:pt>
                <c:pt idx="2">
                  <c:v>8.14E-2</c:v>
                </c:pt>
                <c:pt idx="3">
                  <c:v>1.1900000000000001E-2</c:v>
                </c:pt>
                <c:pt idx="4">
                  <c:v>2.9999999999999997E-4</c:v>
                </c:pt>
                <c:pt idx="5">
                  <c:v>-2.1999999999999999E-2</c:v>
                </c:pt>
                <c:pt idx="6">
                  <c:v>0.122</c:v>
                </c:pt>
                <c:pt idx="7">
                  <c:v>1.0500000000000001E-2</c:v>
                </c:pt>
                <c:pt idx="8">
                  <c:v>5.5899999999999998E-2</c:v>
                </c:pt>
                <c:pt idx="9">
                  <c:v>0.13300000000000001</c:v>
                </c:pt>
                <c:pt idx="10">
                  <c:v>0.15110000000000001</c:v>
                </c:pt>
                <c:pt idx="11">
                  <c:v>3.4599999999999999E-2</c:v>
                </c:pt>
                <c:pt idx="12">
                  <c:v>4.2799999999999998E-2</c:v>
                </c:pt>
                <c:pt idx="13">
                  <c:v>8.4500000000000006E-2</c:v>
                </c:pt>
                <c:pt idx="14">
                  <c:v>9.9699999999999997E-2</c:v>
                </c:pt>
                <c:pt idx="15">
                  <c:v>5.4399999999999997E-2</c:v>
                </c:pt>
                <c:pt idx="16">
                  <c:v>0.1585</c:v>
                </c:pt>
                <c:pt idx="17">
                  <c:v>-1.43E-2</c:v>
                </c:pt>
                <c:pt idx="18">
                  <c:v>4.3299999999999998E-2</c:v>
                </c:pt>
                <c:pt idx="19">
                  <c:v>0.13100000000000001</c:v>
                </c:pt>
              </c:numCache>
            </c:numRef>
          </c:xVal>
          <c:yVal>
            <c:numRef>
              <c:f>Sheet1!$B$2:$B$21</c:f>
              <c:numCache>
                <c:formatCode>General</c:formatCode>
                <c:ptCount val="20"/>
                <c:pt idx="0">
                  <c:v>642</c:v>
                </c:pt>
                <c:pt idx="1">
                  <c:v>464.65</c:v>
                </c:pt>
                <c:pt idx="2">
                  <c:v>1263.2</c:v>
                </c:pt>
                <c:pt idx="3">
                  <c:v>1184</c:v>
                </c:pt>
                <c:pt idx="4">
                  <c:v>1188.088888888889</c:v>
                </c:pt>
                <c:pt idx="5">
                  <c:v>658.12727272727261</c:v>
                </c:pt>
                <c:pt idx="6">
                  <c:v>1187.833333333333</c:v>
                </c:pt>
                <c:pt idx="7">
                  <c:v>1202.5999999999999</c:v>
                </c:pt>
                <c:pt idx="8">
                  <c:v>783.42857142857133</c:v>
                </c:pt>
                <c:pt idx="9">
                  <c:v>839.75</c:v>
                </c:pt>
                <c:pt idx="10">
                  <c:v>818.25</c:v>
                </c:pt>
                <c:pt idx="11">
                  <c:v>800.18181818181813</c:v>
                </c:pt>
                <c:pt idx="12">
                  <c:v>7707.4123711340208</c:v>
                </c:pt>
                <c:pt idx="13">
                  <c:v>2260.5294117647059</c:v>
                </c:pt>
                <c:pt idx="14">
                  <c:v>790.33333333333337</c:v>
                </c:pt>
                <c:pt idx="15">
                  <c:v>480.29411764705878</c:v>
                </c:pt>
                <c:pt idx="16">
                  <c:v>663.75</c:v>
                </c:pt>
                <c:pt idx="17">
                  <c:v>357.30232558139528</c:v>
                </c:pt>
                <c:pt idx="18">
                  <c:v>383.23076923076923</c:v>
                </c:pt>
                <c:pt idx="19">
                  <c:v>832.5</c:v>
                </c:pt>
              </c:numCache>
            </c:numRef>
          </c:yVal>
          <c:bubbleSize>
            <c:numRef>
              <c:f>Sheet1!$C$2:$C$21</c:f>
              <c:numCache>
                <c:formatCode>General</c:formatCode>
                <c:ptCount val="20"/>
                <c:pt idx="0">
                  <c:v>4700.0069999999996</c:v>
                </c:pt>
                <c:pt idx="1">
                  <c:v>7100.8307999999997</c:v>
                </c:pt>
                <c:pt idx="2">
                  <c:v>9669.2716999999993</c:v>
                </c:pt>
                <c:pt idx="3">
                  <c:v>14623.3392</c:v>
                </c:pt>
                <c:pt idx="4">
                  <c:v>44541.595400000013</c:v>
                </c:pt>
                <c:pt idx="5">
                  <c:v>30828.814399999999</c:v>
                </c:pt>
                <c:pt idx="6">
                  <c:v>3803.085</c:v>
                </c:pt>
                <c:pt idx="7">
                  <c:v>4960</c:v>
                </c:pt>
                <c:pt idx="8">
                  <c:v>4314.6060000000007</c:v>
                </c:pt>
                <c:pt idx="9">
                  <c:v>2426.8018000000002</c:v>
                </c:pt>
                <c:pt idx="10">
                  <c:v>1874.5934999999999</c:v>
                </c:pt>
                <c:pt idx="11">
                  <c:v>14161.9575</c:v>
                </c:pt>
                <c:pt idx="12">
                  <c:v>596350.77399999998</c:v>
                </c:pt>
                <c:pt idx="13">
                  <c:v>58638.855600000003</c:v>
                </c:pt>
                <c:pt idx="14">
                  <c:v>3557.499299999999</c:v>
                </c:pt>
                <c:pt idx="15">
                  <c:v>6433.7096000000001</c:v>
                </c:pt>
                <c:pt idx="16">
                  <c:v>1382.94</c:v>
                </c:pt>
                <c:pt idx="17">
                  <c:v>12986.957899999999</c:v>
                </c:pt>
                <c:pt idx="18">
                  <c:v>3097.2359999999999</c:v>
                </c:pt>
                <c:pt idx="19">
                  <c:v>1205.6768</c:v>
                </c:pt>
              </c:numCache>
            </c:numRef>
          </c:bubbleSize>
          <c:bubble3D val="0"/>
          <c:extLst>
            <c:ext xmlns:c15="http://schemas.microsoft.com/office/drawing/2012/chart" uri="{02D57815-91ED-43cb-92C2-25804820EDAC}">
              <c15:datalabelsRange>
                <c15:f>Sheet1!$E$2:$E$50</c15:f>
                <c15:dlblRangeCache>
                  <c:ptCount val="49"/>
                  <c:pt idx="0">
                    <c:v>1/2 CHAMP NICOLAS BLC/BLC BS 1CT X 375ML</c:v>
                  </c:pt>
                  <c:pt idx="1">
                    <c:v>1/2 CHAMP NICOLAS ROSE 1E C BS 1CT X 375ML</c:v>
                  </c:pt>
                  <c:pt idx="2">
                    <c:v>MG CHAMPAGNE NICOLAS BLC/BL BS 1CT X 1500ML</c:v>
                  </c:pt>
                  <c:pt idx="3">
                    <c:v>MG CHAMPAGNE E.NICOLAS BRUT 1CT X 1500ML</c:v>
                  </c:pt>
                  <c:pt idx="4">
                    <c:v>CHAMPAGNE E.NICOLAS ROSE 1CT X 750ML</c:v>
                  </c:pt>
                  <c:pt idx="5">
                    <c:v>CHAMPAGNE NICOLAS 1ERE CUVEE 1CT X 750ML</c:v>
                  </c:pt>
                  <c:pt idx="6">
                    <c:v>MG CHAMPAGNE NICOLAS 1ERE CUVE 1CT X 1500ML</c:v>
                  </c:pt>
                  <c:pt idx="7">
                    <c:v>CHAMPAGNE NICOLAS BIO NAT 2017 1CT X 750ML</c:v>
                  </c:pt>
                  <c:pt idx="8">
                    <c:v>CHAMPAGNE NICOLAS BLC DE NOIRS 1CT X 750ML</c:v>
                  </c:pt>
                  <c:pt idx="9">
                    <c:v>CHAMPAGNE NICOLAS ROSE 1E C BS 1CT X 750ML</c:v>
                  </c:pt>
                  <c:pt idx="10">
                    <c:v>CHAMPAGNE NICOLAS BLC/BL BS ET 1CT X 750ML</c:v>
                  </c:pt>
                  <c:pt idx="11">
                    <c:v>1/2 CHAMPAGNE NICOLAS 1ERE CUV 1CT X 375ML</c:v>
                  </c:pt>
                  <c:pt idx="12">
                    <c:v>CHAMPAGNE E.NICOLAS BRUT 1CT X 750ML</c:v>
                  </c:pt>
                  <c:pt idx="13">
                    <c:v>CHAMPAGNE NICOLAS BLC/BLC BS 1CT X 750ML</c:v>
                  </c:pt>
                  <c:pt idx="14">
                    <c:v>CHAMPAGNE NICOLAS BLC/BLC 2002 1CT X 750ML</c:v>
                  </c:pt>
                  <c:pt idx="15">
                    <c:v>CHAMPAGNE NICOLAS ROSE 1ERE CU 1CT X 750ML</c:v>
                  </c:pt>
                  <c:pt idx="16">
                    <c:v>MG CHAMPAGNE NICOLAS 1E CRU BS 1CT X 1500ML</c:v>
                  </c:pt>
                  <c:pt idx="17">
                    <c:v>CHAMPAGNE NICOLAS 1ER CRU BS 1CT X 750ML</c:v>
                  </c:pt>
                  <c:pt idx="18">
                    <c:v>CHAMPAGNE NICOLAS 1ERE CUV ETU 1CT X 750ML</c:v>
                  </c:pt>
                  <c:pt idx="19">
                    <c:v>CHAMPAGNE NICOLAS 1ER CRU ETUI 1CT X 750ML</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6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3ECCFAA8-6B4D-4990-80B8-31DABAF8880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30E9E447-8CDE-4792-A37E-9CE86D85C97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B4AC5035-F77A-45EC-A7BF-5F9E5950F2F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9A7D6B0D-20A4-49BB-B8A4-AB53551F90C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0338CE5B-B06E-4938-A217-B171893F3F0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CDF7AA17-0160-46D5-A570-1B034F0C4D3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5F00A154-CC82-4B5D-A85A-AA68C2D6118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5-BFDA-4C69-8E79-A083B7EFBA29}"/>
                </c:ext>
              </c:extLst>
            </c:dLbl>
            <c:dLbl>
              <c:idx val="1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6-BFDA-4C69-8E79-A083B7EFBA29}"/>
                </c:ext>
              </c:extLst>
            </c:dLbl>
            <c:dLbl>
              <c:idx val="1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7-BFDA-4C69-8E79-A083B7EFBA29}"/>
                </c:ext>
              </c:extLst>
            </c:dLbl>
            <c:dLbl>
              <c:idx val="1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8-BFDA-4C69-8E79-A083B7EFBA29}"/>
                </c:ext>
              </c:extLst>
            </c:dLbl>
            <c:dLbl>
              <c:idx val="1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9-BFDA-4C69-8E79-A083B7EFBA29}"/>
                </c:ext>
              </c:extLst>
            </c:dLbl>
            <c:dLbl>
              <c:idx val="1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A-BFDA-4C69-8E79-A083B7EFBA29}"/>
                </c:ext>
              </c:extLst>
            </c:dLbl>
            <c:dLbl>
              <c:idx val="1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B-BFDA-4C69-8E79-A083B7EFBA29}"/>
                </c:ext>
              </c:extLst>
            </c:dLbl>
            <c:dLbl>
              <c:idx val="1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C-BFDA-4C69-8E79-A083B7EFBA29}"/>
                </c:ext>
              </c:extLst>
            </c:dLbl>
            <c:dLbl>
              <c:idx val="2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D-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22</c:f>
              <c:numCache>
                <c:formatCode>General</c:formatCode>
                <c:ptCount val="21"/>
                <c:pt idx="0">
                  <c:v>9.3899999999999997E-2</c:v>
                </c:pt>
                <c:pt idx="1">
                  <c:v>8.43E-2</c:v>
                </c:pt>
                <c:pt idx="2">
                  <c:v>0.10489999999999999</c:v>
                </c:pt>
                <c:pt idx="3">
                  <c:v>1.43E-2</c:v>
                </c:pt>
                <c:pt idx="4">
                  <c:v>1.5E-3</c:v>
                </c:pt>
                <c:pt idx="5">
                  <c:v>-2.4E-2</c:v>
                </c:pt>
                <c:pt idx="6">
                  <c:v>0.1159</c:v>
                </c:pt>
                <c:pt idx="7">
                  <c:v>1.35E-2</c:v>
                </c:pt>
                <c:pt idx="8">
                  <c:v>4.4999999999999998E-2</c:v>
                </c:pt>
                <c:pt idx="9">
                  <c:v>0.13769999999999999</c:v>
                </c:pt>
                <c:pt idx="10">
                  <c:v>0.14019999999999999</c:v>
                </c:pt>
                <c:pt idx="11">
                  <c:v>0.15679999999999999</c:v>
                </c:pt>
                <c:pt idx="12">
                  <c:v>3.6400000000000002E-2</c:v>
                </c:pt>
                <c:pt idx="13">
                  <c:v>4.0800000000000003E-2</c:v>
                </c:pt>
                <c:pt idx="14">
                  <c:v>8.6400000000000005E-2</c:v>
                </c:pt>
                <c:pt idx="15">
                  <c:v>0.104</c:v>
                </c:pt>
                <c:pt idx="16">
                  <c:v>6.0900000000000003E-2</c:v>
                </c:pt>
                <c:pt idx="17">
                  <c:v>0.14560000000000001</c:v>
                </c:pt>
                <c:pt idx="18">
                  <c:v>2.9899999999999999E-2</c:v>
                </c:pt>
                <c:pt idx="19">
                  <c:v>8.2100000000000006E-2</c:v>
                </c:pt>
                <c:pt idx="20">
                  <c:v>9.5600000000000004E-2</c:v>
                </c:pt>
              </c:numCache>
            </c:numRef>
          </c:xVal>
          <c:yVal>
            <c:numRef>
              <c:f>Sheet1!$B$2:$B$22</c:f>
              <c:numCache>
                <c:formatCode>General</c:formatCode>
                <c:ptCount val="21"/>
                <c:pt idx="0">
                  <c:v>1861.5238095238101</c:v>
                </c:pt>
                <c:pt idx="1">
                  <c:v>1655.420875420876</c:v>
                </c:pt>
                <c:pt idx="2">
                  <c:v>3376.9590643274851</c:v>
                </c:pt>
                <c:pt idx="3">
                  <c:v>3678.7795275590552</c:v>
                </c:pt>
                <c:pt idx="4">
                  <c:v>4430.9394904458604</c:v>
                </c:pt>
                <c:pt idx="5">
                  <c:v>3148.787483702738</c:v>
                </c:pt>
                <c:pt idx="6">
                  <c:v>1560.550847457627</c:v>
                </c:pt>
                <c:pt idx="7">
                  <c:v>3041.15</c:v>
                </c:pt>
                <c:pt idx="8">
                  <c:v>1814.1062801932369</c:v>
                </c:pt>
                <c:pt idx="9">
                  <c:v>1171.481481481482</c:v>
                </c:pt>
                <c:pt idx="10">
                  <c:v>1485.238095238095</c:v>
                </c:pt>
                <c:pt idx="11">
                  <c:v>2277.7777777777778</c:v>
                </c:pt>
                <c:pt idx="12">
                  <c:v>2524.7422680412369</c:v>
                </c:pt>
                <c:pt idx="13">
                  <c:v>41115.460921843689</c:v>
                </c:pt>
                <c:pt idx="14">
                  <c:v>6637.264957264957</c:v>
                </c:pt>
                <c:pt idx="15">
                  <c:v>2362.121212121212</c:v>
                </c:pt>
                <c:pt idx="16">
                  <c:v>1793.0085959885389</c:v>
                </c:pt>
                <c:pt idx="17">
                  <c:v>1330.526315789474</c:v>
                </c:pt>
                <c:pt idx="18">
                  <c:v>1162.651296829971</c:v>
                </c:pt>
                <c:pt idx="19">
                  <c:v>1050</c:v>
                </c:pt>
                <c:pt idx="20">
                  <c:v>1170.6878306878309</c:v>
                </c:pt>
              </c:numCache>
            </c:numRef>
          </c:yVal>
          <c:bubbleSize>
            <c:numRef>
              <c:f>Sheet1!$C$2:$C$22</c:f>
              <c:numCache>
                <c:formatCode>General</c:formatCode>
                <c:ptCount val="21"/>
                <c:pt idx="0">
                  <c:v>23665.917600000001</c:v>
                </c:pt>
                <c:pt idx="1">
                  <c:v>37518.247200000013</c:v>
                </c:pt>
                <c:pt idx="2">
                  <c:v>43073.496400000004</c:v>
                </c:pt>
                <c:pt idx="3">
                  <c:v>76755.032399999996</c:v>
                </c:pt>
                <c:pt idx="4">
                  <c:v>231541.29620000001</c:v>
                </c:pt>
                <c:pt idx="5">
                  <c:v>206088.80379999999</c:v>
                </c:pt>
                <c:pt idx="6">
                  <c:v>16768.147499999999</c:v>
                </c:pt>
                <c:pt idx="7">
                  <c:v>27280</c:v>
                </c:pt>
                <c:pt idx="8">
                  <c:v>29886.43559999999</c:v>
                </c:pt>
                <c:pt idx="9">
                  <c:v>6818.3055999999997</c:v>
                </c:pt>
                <c:pt idx="10">
                  <c:v>11174.366999999989</c:v>
                </c:pt>
                <c:pt idx="11">
                  <c:v>3201.2289000000001</c:v>
                </c:pt>
                <c:pt idx="12">
                  <c:v>78663.179999999993</c:v>
                </c:pt>
                <c:pt idx="13">
                  <c:v>3279757.6026000022</c:v>
                </c:pt>
                <c:pt idx="14">
                  <c:v>295626.36689999991</c:v>
                </c:pt>
                <c:pt idx="15">
                  <c:v>17459.9964</c:v>
                </c:pt>
                <c:pt idx="16">
                  <c:v>48968.972999999998</c:v>
                </c:pt>
                <c:pt idx="17">
                  <c:v>4321.6875</c:v>
                </c:pt>
                <c:pt idx="18">
                  <c:v>32614.510799999989</c:v>
                </c:pt>
                <c:pt idx="19">
                  <c:v>8672.2607999999982</c:v>
                </c:pt>
                <c:pt idx="20">
                  <c:v>16674.775099999999</c:v>
                </c:pt>
              </c:numCache>
            </c:numRef>
          </c:bubbleSize>
          <c:bubble3D val="0"/>
          <c:extLst>
            <c:ext xmlns:c15="http://schemas.microsoft.com/office/drawing/2012/chart" uri="{02D57815-91ED-43cb-92C2-25804820EDAC}">
              <c15:datalabelsRange>
                <c15:f>Sheet1!$E$2:$E$50</c15:f>
                <c15:dlblRangeCache>
                  <c:ptCount val="49"/>
                  <c:pt idx="0">
                    <c:v>1/2 CHAMP NICOLAS BLC/BLC BS 1CT X 375ML</c:v>
                  </c:pt>
                  <c:pt idx="1">
                    <c:v>1/2 CHAMP NICOLAS ROSE 1E C BS 1CT X 375ML</c:v>
                  </c:pt>
                  <c:pt idx="2">
                    <c:v>MG CHAMPAGNE NICOLAS BLC/BL BS 1CT X 1500ML</c:v>
                  </c:pt>
                  <c:pt idx="3">
                    <c:v>MG CHAMPAGNE E.NICOLAS BRUT 1CT X 1500ML</c:v>
                  </c:pt>
                  <c:pt idx="4">
                    <c:v>CHAMPAGNE E.NICOLAS ROSE 1CT X 750ML</c:v>
                  </c:pt>
                  <c:pt idx="5">
                    <c:v>CHAMPAGNE NICOLAS 1ERE CUVEE 1CT X 750ML</c:v>
                  </c:pt>
                  <c:pt idx="6">
                    <c:v>MG CHAMPAGNE NICOLAS 1ERE CUVE 1CT X 1500ML</c:v>
                  </c:pt>
                  <c:pt idx="7">
                    <c:v>CHAMPAGNE NICOLAS BIO NAT 2017 1CT X 750ML</c:v>
                  </c:pt>
                  <c:pt idx="8">
                    <c:v>CHAMPAGNE NICOLAS BLC DE NOIRS 1CT X 750ML</c:v>
                  </c:pt>
                  <c:pt idx="9">
                    <c:v>CHAMPAGNE NICOLAS ROSE 1E C BS 1CT X 750ML</c:v>
                  </c:pt>
                  <c:pt idx="10">
                    <c:v>CHAMPAGNE NICOLAS ROSE 1ERE ET 1CT X 750ML</c:v>
                  </c:pt>
                  <c:pt idx="11">
                    <c:v>CHAMPAGNE NICOLAS BLC/BL BS ET 1CT X 750ML</c:v>
                  </c:pt>
                  <c:pt idx="12">
                    <c:v>1/2 CHAMPAGNE NICOLAS 1ERE CUV 1CT X 375ML</c:v>
                  </c:pt>
                  <c:pt idx="13">
                    <c:v>CHAMPAGNE E.NICOLAS BRUT 1CT X 750ML</c:v>
                  </c:pt>
                  <c:pt idx="14">
                    <c:v>CHAMPAGNE NICOLAS BLC/BLC BS 1CT X 750ML</c:v>
                  </c:pt>
                  <c:pt idx="15">
                    <c:v>CHAMPAGNE NICOLAS BLC/BLC 2002 1CT X 750ML</c:v>
                  </c:pt>
                  <c:pt idx="16">
                    <c:v>CHAMPAGNE NICOLAS ROSE 1ERE CU 1CT X 750ML</c:v>
                  </c:pt>
                  <c:pt idx="17">
                    <c:v>MG CHAMPAGNE NICOLAS 1E CRU BS 1CT X 1500ML</c:v>
                  </c:pt>
                  <c:pt idx="18">
                    <c:v>CHAMPAGNE NICOLAS 1ER CRU BS 1CT X 750ML</c:v>
                  </c:pt>
                  <c:pt idx="19">
                    <c:v>CHAMPAGNE NICOLAS 1ERE CUV ETU 1CT X 750ML</c:v>
                  </c:pt>
                  <c:pt idx="20">
                    <c:v>CHAMPAGNE NICOLAS 1ER CRU ETUI 1CT X 750ML</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6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EFFA424A-8403-4446-BC1B-731E4C5A23A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BA6A1917-5A8D-41DA-B3E5-EA8DCC416FD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FAE1CF1B-0110-44ED-AF29-DA6459B36BD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0E044CAA-1976-4D78-90C9-39E8561E99B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FEF5018C-2E33-4D93-B124-265E09F9D46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736AED24-F147-4343-818B-C3AAC94CE74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A38AB0C7-FDC1-47CC-B6EB-386011814AC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5-BFDA-4C69-8E79-A083B7EFBA29}"/>
                </c:ext>
              </c:extLst>
            </c:dLbl>
            <c:dLbl>
              <c:idx val="1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6-BFDA-4C69-8E79-A083B7EFBA29}"/>
                </c:ext>
              </c:extLst>
            </c:dLbl>
            <c:dLbl>
              <c:idx val="1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7-BFDA-4C69-8E79-A083B7EFBA29}"/>
                </c:ext>
              </c:extLst>
            </c:dLbl>
            <c:dLbl>
              <c:idx val="1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8-BFDA-4C69-8E79-A083B7EFBA29}"/>
                </c:ext>
              </c:extLst>
            </c:dLbl>
            <c:dLbl>
              <c:idx val="1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9-BFDA-4C69-8E79-A083B7EFBA29}"/>
                </c:ext>
              </c:extLst>
            </c:dLbl>
            <c:dLbl>
              <c:idx val="1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A-BFDA-4C69-8E79-A083B7EFBA29}"/>
                </c:ext>
              </c:extLst>
            </c:dLbl>
            <c:dLbl>
              <c:idx val="1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B-BFDA-4C69-8E79-A083B7EFBA29}"/>
                </c:ext>
              </c:extLst>
            </c:dLbl>
            <c:dLbl>
              <c:idx val="1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C-BFDA-4C69-8E79-A083B7EFBA29}"/>
                </c:ext>
              </c:extLst>
            </c:dLbl>
            <c:dLbl>
              <c:idx val="2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D-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22</c:f>
              <c:numCache>
                <c:formatCode>General</c:formatCode>
                <c:ptCount val="21"/>
                <c:pt idx="0">
                  <c:v>8.4500000000000006E-2</c:v>
                </c:pt>
                <c:pt idx="1">
                  <c:v>7.0000000000000007E-2</c:v>
                </c:pt>
                <c:pt idx="2">
                  <c:v>8.1100000000000005E-2</c:v>
                </c:pt>
                <c:pt idx="3">
                  <c:v>4.1999999999999997E-3</c:v>
                </c:pt>
                <c:pt idx="4">
                  <c:v>6.9999999999999999E-4</c:v>
                </c:pt>
                <c:pt idx="5">
                  <c:v>-2.7400000000000001E-2</c:v>
                </c:pt>
                <c:pt idx="6">
                  <c:v>0.1007</c:v>
                </c:pt>
                <c:pt idx="7">
                  <c:v>-2.5999999999999999E-3</c:v>
                </c:pt>
                <c:pt idx="8">
                  <c:v>3.9100000000000003E-2</c:v>
                </c:pt>
                <c:pt idx="9">
                  <c:v>0.1172</c:v>
                </c:pt>
                <c:pt idx="10">
                  <c:v>0.1086</c:v>
                </c:pt>
                <c:pt idx="11">
                  <c:v>0.13600000000000001</c:v>
                </c:pt>
                <c:pt idx="12">
                  <c:v>2.9399999999999999E-2</c:v>
                </c:pt>
                <c:pt idx="13">
                  <c:v>4.2700000000000002E-2</c:v>
                </c:pt>
                <c:pt idx="14">
                  <c:v>8.3099999999999993E-2</c:v>
                </c:pt>
                <c:pt idx="15">
                  <c:v>8.4699999999999998E-2</c:v>
                </c:pt>
                <c:pt idx="16">
                  <c:v>4.65E-2</c:v>
                </c:pt>
                <c:pt idx="17">
                  <c:v>0.1298</c:v>
                </c:pt>
                <c:pt idx="18">
                  <c:v>6.1999999999999998E-3</c:v>
                </c:pt>
                <c:pt idx="19">
                  <c:v>5.7000000000000002E-2</c:v>
                </c:pt>
                <c:pt idx="20">
                  <c:v>6.6900000000000001E-2</c:v>
                </c:pt>
              </c:numCache>
            </c:numRef>
          </c:xVal>
          <c:yVal>
            <c:numRef>
              <c:f>Sheet1!$B$2:$B$22</c:f>
              <c:numCache>
                <c:formatCode>General</c:formatCode>
                <c:ptCount val="21"/>
                <c:pt idx="0">
                  <c:v>886.96428571428555</c:v>
                </c:pt>
                <c:pt idx="1">
                  <c:v>925.52</c:v>
                </c:pt>
                <c:pt idx="2">
                  <c:v>2128.083333333333</c:v>
                </c:pt>
                <c:pt idx="3">
                  <c:v>2173.166666666667</c:v>
                </c:pt>
                <c:pt idx="4">
                  <c:v>1972.583333333333</c:v>
                </c:pt>
                <c:pt idx="5">
                  <c:v>1336</c:v>
                </c:pt>
                <c:pt idx="6">
                  <c:v>539.48148148148152</c:v>
                </c:pt>
                <c:pt idx="7">
                  <c:v>1529.526315789474</c:v>
                </c:pt>
                <c:pt idx="8">
                  <c:v>1029.1764705882349</c:v>
                </c:pt>
                <c:pt idx="9">
                  <c:v>960.75</c:v>
                </c:pt>
                <c:pt idx="10">
                  <c:v>804.125</c:v>
                </c:pt>
                <c:pt idx="11">
                  <c:v>1130</c:v>
                </c:pt>
                <c:pt idx="12">
                  <c:v>1241.6756756756761</c:v>
                </c:pt>
                <c:pt idx="13">
                  <c:v>18113.009999999998</c:v>
                </c:pt>
                <c:pt idx="14">
                  <c:v>2986.666666666667</c:v>
                </c:pt>
                <c:pt idx="15">
                  <c:v>2744.333333333333</c:v>
                </c:pt>
                <c:pt idx="16">
                  <c:v>893.375</c:v>
                </c:pt>
                <c:pt idx="17">
                  <c:v>1024.5</c:v>
                </c:pt>
                <c:pt idx="18">
                  <c:v>495.65625</c:v>
                </c:pt>
                <c:pt idx="19">
                  <c:v>455.49999999999989</c:v>
                </c:pt>
                <c:pt idx="20">
                  <c:v>496.88888888888891</c:v>
                </c:pt>
              </c:numCache>
            </c:numRef>
          </c:yVal>
          <c:bubbleSize>
            <c:numRef>
              <c:f>Sheet1!$C$2:$C$22</c:f>
              <c:numCache>
                <c:formatCode>General</c:formatCode>
                <c:ptCount val="21"/>
                <c:pt idx="0">
                  <c:v>10100.4072</c:v>
                </c:pt>
                <c:pt idx="1">
                  <c:v>17931.8982</c:v>
                </c:pt>
                <c:pt idx="2">
                  <c:v>19555.973999999998</c:v>
                </c:pt>
                <c:pt idx="3">
                  <c:v>32460.013800000001</c:v>
                </c:pt>
                <c:pt idx="4">
                  <c:v>98562.342300000004</c:v>
                </c:pt>
                <c:pt idx="5">
                  <c:v>94936.974799999996</c:v>
                </c:pt>
                <c:pt idx="6">
                  <c:v>6741.8325000000004</c:v>
                </c:pt>
                <c:pt idx="7">
                  <c:v>13523.75</c:v>
                </c:pt>
                <c:pt idx="8">
                  <c:v>14009.454</c:v>
                </c:pt>
                <c:pt idx="9">
                  <c:v>2827.04</c:v>
                </c:pt>
                <c:pt idx="10">
                  <c:v>4778.6550000000007</c:v>
                </c:pt>
                <c:pt idx="11">
                  <c:v>1009.3964999999999</c:v>
                </c:pt>
                <c:pt idx="12">
                  <c:v>37160.055</c:v>
                </c:pt>
                <c:pt idx="13">
                  <c:v>1444977.4757999999</c:v>
                </c:pt>
                <c:pt idx="14">
                  <c:v>130073.0886</c:v>
                </c:pt>
                <c:pt idx="15">
                  <c:v>6279.9983999999986</c:v>
                </c:pt>
                <c:pt idx="16">
                  <c:v>22715.9624</c:v>
                </c:pt>
                <c:pt idx="17">
                  <c:v>2477.7674999999999</c:v>
                </c:pt>
                <c:pt idx="18">
                  <c:v>13135.884899999999</c:v>
                </c:pt>
                <c:pt idx="19">
                  <c:v>4181.2686000000003</c:v>
                </c:pt>
                <c:pt idx="20">
                  <c:v>6954.8029000000006</c:v>
                </c:pt>
              </c:numCache>
            </c:numRef>
          </c:bubbleSize>
          <c:bubble3D val="0"/>
          <c:extLst>
            <c:ext xmlns:c15="http://schemas.microsoft.com/office/drawing/2012/chart" uri="{02D57815-91ED-43cb-92C2-25804820EDAC}">
              <c15:datalabelsRange>
                <c15:f>Sheet1!$E$2:$E$50</c15:f>
                <c15:dlblRangeCache>
                  <c:ptCount val="49"/>
                  <c:pt idx="0">
                    <c:v>1/2 CHAMP NICOLAS BLC/BLC BS 1CT X 375ML</c:v>
                  </c:pt>
                  <c:pt idx="1">
                    <c:v>1/2 CHAMP NICOLAS ROSE 1E C BS 1CT X 375ML</c:v>
                  </c:pt>
                  <c:pt idx="2">
                    <c:v>MG CHAMPAGNE NICOLAS BLC/BL BS 1CT X 1500ML</c:v>
                  </c:pt>
                  <c:pt idx="3">
                    <c:v>MG CHAMPAGNE E.NICOLAS BRUT 1CT X 1500ML</c:v>
                  </c:pt>
                  <c:pt idx="4">
                    <c:v>CHAMPAGNE E.NICOLAS ROSE 1CT X 750ML</c:v>
                  </c:pt>
                  <c:pt idx="5">
                    <c:v>CHAMPAGNE NICOLAS 1ERE CUVEE 1CT X 750ML</c:v>
                  </c:pt>
                  <c:pt idx="6">
                    <c:v>MG CHAMPAGNE NICOLAS 1ERE CUVE 1CT X 1500ML</c:v>
                  </c:pt>
                  <c:pt idx="7">
                    <c:v>CHAMPAGNE NICOLAS BIO NAT 2017 1CT X 750ML</c:v>
                  </c:pt>
                  <c:pt idx="8">
                    <c:v>CHAMPAGNE NICOLAS BLC DE NOIRS 1CT X 750ML</c:v>
                  </c:pt>
                  <c:pt idx="9">
                    <c:v>CHAMPAGNE NICOLAS ROSE 1E C BS 1CT X 750ML</c:v>
                  </c:pt>
                  <c:pt idx="10">
                    <c:v>CHAMPAGNE NICOLAS ROSE 1ERE ET 1CT X 750ML</c:v>
                  </c:pt>
                  <c:pt idx="11">
                    <c:v>CHAMPAGNE NICOLAS BLC/BL BS ET 1CT X 750ML</c:v>
                  </c:pt>
                  <c:pt idx="12">
                    <c:v>1/2 CHAMPAGNE NICOLAS 1ERE CUV 1CT X 375ML</c:v>
                  </c:pt>
                  <c:pt idx="13">
                    <c:v>CHAMPAGNE E.NICOLAS BRUT 1CT X 750ML</c:v>
                  </c:pt>
                  <c:pt idx="14">
                    <c:v>CHAMPAGNE NICOLAS BLC/BLC BS 1CT X 750ML</c:v>
                  </c:pt>
                  <c:pt idx="15">
                    <c:v>CHAMPAGNE NICOLAS BLC/BLC 2002 1CT X 750ML</c:v>
                  </c:pt>
                  <c:pt idx="16">
                    <c:v>CHAMPAGNE NICOLAS ROSE 1ERE CU 1CT X 750ML</c:v>
                  </c:pt>
                  <c:pt idx="17">
                    <c:v>MG CHAMPAGNE NICOLAS 1E CRU BS 1CT X 1500ML</c:v>
                  </c:pt>
                  <c:pt idx="18">
                    <c:v>CHAMPAGNE NICOLAS 1ER CRU BS 1CT X 750ML</c:v>
                  </c:pt>
                  <c:pt idx="19">
                    <c:v>CHAMPAGNE NICOLAS 1ERE CUV ETU 1CT X 750ML</c:v>
                  </c:pt>
                  <c:pt idx="20">
                    <c:v>CHAMPAGNE NICOLAS 1ER CRU ETUI 1CT X 750ML</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6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BB354F38-E275-48D7-A019-782A7EFEB66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F19F9611-4DF0-4923-87C4-79DC361C4E6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4FA28557-A004-43D5-8D54-3B8584FFCD3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85883F7F-03CD-4CB3-913A-7E5A2F9D545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05B1F37D-2931-470D-8317-37A9377EB5D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B3365EAF-CC35-4DDD-AB8C-CF959BB38DD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0E5F6486-FD9F-41A5-9495-938FC1A2247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5-BFDA-4C69-8E79-A083B7EFBA29}"/>
                </c:ext>
              </c:extLst>
            </c:dLbl>
            <c:dLbl>
              <c:idx val="1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6-BFDA-4C69-8E79-A083B7EFBA29}"/>
                </c:ext>
              </c:extLst>
            </c:dLbl>
            <c:dLbl>
              <c:idx val="1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7-BFDA-4C69-8E79-A083B7EFBA29}"/>
                </c:ext>
              </c:extLst>
            </c:dLbl>
            <c:dLbl>
              <c:idx val="1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8-BFDA-4C69-8E79-A083B7EFBA29}"/>
                </c:ext>
              </c:extLst>
            </c:dLbl>
            <c:dLbl>
              <c:idx val="1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9-BFDA-4C69-8E79-A083B7EFBA29}"/>
                </c:ext>
              </c:extLst>
            </c:dLbl>
            <c:dLbl>
              <c:idx val="1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A-BFDA-4C69-8E79-A083B7EFBA29}"/>
                </c:ext>
              </c:extLst>
            </c:dLbl>
            <c:dLbl>
              <c:idx val="1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B-BFDA-4C69-8E79-A083B7EFBA29}"/>
                </c:ext>
              </c:extLst>
            </c:dLbl>
            <c:dLbl>
              <c:idx val="1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C-BFDA-4C69-8E79-A083B7EFBA29}"/>
                </c:ext>
              </c:extLst>
            </c:dLbl>
            <c:dLbl>
              <c:idx val="2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D-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22</c:f>
              <c:numCache>
                <c:formatCode>General</c:formatCode>
                <c:ptCount val="21"/>
                <c:pt idx="0">
                  <c:v>8.72E-2</c:v>
                </c:pt>
                <c:pt idx="1">
                  <c:v>7.8E-2</c:v>
                </c:pt>
                <c:pt idx="2">
                  <c:v>9.4200000000000006E-2</c:v>
                </c:pt>
                <c:pt idx="3">
                  <c:v>-2.9999999999999997E-4</c:v>
                </c:pt>
                <c:pt idx="4">
                  <c:v>-7.0000000000000001E-3</c:v>
                </c:pt>
                <c:pt idx="5">
                  <c:v>-5.4399999999999997E-2</c:v>
                </c:pt>
                <c:pt idx="6">
                  <c:v>0.1119</c:v>
                </c:pt>
                <c:pt idx="7">
                  <c:v>1.0500000000000001E-2</c:v>
                </c:pt>
                <c:pt idx="8">
                  <c:v>3.8100000000000002E-2</c:v>
                </c:pt>
                <c:pt idx="9">
                  <c:v>0.1542</c:v>
                </c:pt>
                <c:pt idx="10">
                  <c:v>0.1389</c:v>
                </c:pt>
                <c:pt idx="11">
                  <c:v>0.157</c:v>
                </c:pt>
                <c:pt idx="12">
                  <c:v>3.1800000000000002E-2</c:v>
                </c:pt>
                <c:pt idx="13">
                  <c:v>3.7499999999999999E-2</c:v>
                </c:pt>
                <c:pt idx="14">
                  <c:v>8.2900000000000001E-2</c:v>
                </c:pt>
                <c:pt idx="15">
                  <c:v>7.9899999999999999E-2</c:v>
                </c:pt>
                <c:pt idx="16">
                  <c:v>4.1599999999999998E-2</c:v>
                </c:pt>
                <c:pt idx="17">
                  <c:v>0.1699</c:v>
                </c:pt>
                <c:pt idx="18">
                  <c:v>-1.7100000000000001E-2</c:v>
                </c:pt>
                <c:pt idx="19">
                  <c:v>5.0200000000000002E-2</c:v>
                </c:pt>
                <c:pt idx="20">
                  <c:v>9.9400000000000002E-2</c:v>
                </c:pt>
              </c:numCache>
            </c:numRef>
          </c:xVal>
          <c:yVal>
            <c:numRef>
              <c:f>Sheet1!$B$2:$B$22</c:f>
              <c:numCache>
                <c:formatCode>General</c:formatCode>
                <c:ptCount val="21"/>
                <c:pt idx="0">
                  <c:v>423.53571428571422</c:v>
                </c:pt>
                <c:pt idx="1">
                  <c:v>408.96</c:v>
                </c:pt>
                <c:pt idx="2">
                  <c:v>793.125</c:v>
                </c:pt>
                <c:pt idx="3">
                  <c:v>784.08333333333337</c:v>
                </c:pt>
                <c:pt idx="4">
                  <c:v>1087.5081967213109</c:v>
                </c:pt>
                <c:pt idx="5">
                  <c:v>775.16216216216219</c:v>
                </c:pt>
                <c:pt idx="6">
                  <c:v>840.27272727272725</c:v>
                </c:pt>
                <c:pt idx="7">
                  <c:v>759.57142857142844</c:v>
                </c:pt>
                <c:pt idx="8">
                  <c:v>541.31578947368416</c:v>
                </c:pt>
                <c:pt idx="9">
                  <c:v>344.125</c:v>
                </c:pt>
                <c:pt idx="10">
                  <c:v>421.66666666666669</c:v>
                </c:pt>
                <c:pt idx="11">
                  <c:v>409</c:v>
                </c:pt>
                <c:pt idx="12">
                  <c:v>680.5</c:v>
                </c:pt>
                <c:pt idx="13">
                  <c:v>8910.3333333333339</c:v>
                </c:pt>
                <c:pt idx="14">
                  <c:v>1670.5438596491231</c:v>
                </c:pt>
                <c:pt idx="15">
                  <c:v>627.125</c:v>
                </c:pt>
                <c:pt idx="16">
                  <c:v>450.67857142857139</c:v>
                </c:pt>
                <c:pt idx="17">
                  <c:v>210.33333333333329</c:v>
                </c:pt>
                <c:pt idx="18">
                  <c:v>264.47826086956519</c:v>
                </c:pt>
                <c:pt idx="19">
                  <c:v>339.72727272727269</c:v>
                </c:pt>
                <c:pt idx="20">
                  <c:v>339.18181818181819</c:v>
                </c:pt>
              </c:numCache>
            </c:numRef>
          </c:yVal>
          <c:bubbleSize>
            <c:numRef>
              <c:f>Sheet1!$C$2:$C$22</c:f>
              <c:numCache>
                <c:formatCode>General</c:formatCode>
                <c:ptCount val="21"/>
                <c:pt idx="0">
                  <c:v>4902.7524000000003</c:v>
                </c:pt>
                <c:pt idx="1">
                  <c:v>7855.2091999999993</c:v>
                </c:pt>
                <c:pt idx="2">
                  <c:v>9578.7224000000006</c:v>
                </c:pt>
                <c:pt idx="3">
                  <c:v>15687.0903</c:v>
                </c:pt>
                <c:pt idx="4">
                  <c:v>55666.577599999997</c:v>
                </c:pt>
                <c:pt idx="5">
                  <c:v>50401.209000000003</c:v>
                </c:pt>
                <c:pt idx="6">
                  <c:v>3745.462500000001</c:v>
                </c:pt>
                <c:pt idx="7">
                  <c:v>4340</c:v>
                </c:pt>
                <c:pt idx="8">
                  <c:v>8243.9351999999999</c:v>
                </c:pt>
                <c:pt idx="9">
                  <c:v>1940.376</c:v>
                </c:pt>
                <c:pt idx="10">
                  <c:v>2723.3622</c:v>
                </c:pt>
                <c:pt idx="11">
                  <c:v>1067.0762999999999</c:v>
                </c:pt>
                <c:pt idx="12">
                  <c:v>14275.365</c:v>
                </c:pt>
                <c:pt idx="13">
                  <c:v>707509.91910000006</c:v>
                </c:pt>
                <c:pt idx="14">
                  <c:v>72774.786599999992</c:v>
                </c:pt>
                <c:pt idx="15">
                  <c:v>3846.6660000000002</c:v>
                </c:pt>
                <c:pt idx="16">
                  <c:v>10077.9148</c:v>
                </c:pt>
                <c:pt idx="17">
                  <c:v>1152.45</c:v>
                </c:pt>
                <c:pt idx="18">
                  <c:v>10311.304099999999</c:v>
                </c:pt>
                <c:pt idx="19">
                  <c:v>1987.3931</c:v>
                </c:pt>
                <c:pt idx="20">
                  <c:v>2800.0599000000002</c:v>
                </c:pt>
              </c:numCache>
            </c:numRef>
          </c:bubbleSize>
          <c:bubble3D val="0"/>
          <c:extLst>
            <c:ext xmlns:c15="http://schemas.microsoft.com/office/drawing/2012/chart" uri="{02D57815-91ED-43cb-92C2-25804820EDAC}">
              <c15:datalabelsRange>
                <c15:f>Sheet1!$E$2:$E$50</c15:f>
                <c15:dlblRangeCache>
                  <c:ptCount val="49"/>
                  <c:pt idx="0">
                    <c:v>1/2 CHAMP NICOLAS BLC/BLC BS 1CT X 375ML</c:v>
                  </c:pt>
                  <c:pt idx="1">
                    <c:v>1/2 CHAMP NICOLAS ROSE 1E C BS 1CT X 375ML</c:v>
                  </c:pt>
                  <c:pt idx="2">
                    <c:v>MG CHAMPAGNE NICOLAS BLC/BL BS 1CT X 1500ML</c:v>
                  </c:pt>
                  <c:pt idx="3">
                    <c:v>MG CHAMPAGNE E.NICOLAS BRUT 1CT X 1500ML</c:v>
                  </c:pt>
                  <c:pt idx="4">
                    <c:v>CHAMPAGNE E.NICOLAS ROSE 1CT X 750ML</c:v>
                  </c:pt>
                  <c:pt idx="5">
                    <c:v>CHAMPAGNE NICOLAS 1ERE CUVEE 1CT X 750ML</c:v>
                  </c:pt>
                  <c:pt idx="6">
                    <c:v>MG CHAMPAGNE NICOLAS 1ERE CUVE 1CT X 1500ML</c:v>
                  </c:pt>
                  <c:pt idx="7">
                    <c:v>CHAMPAGNE NICOLAS BIO NAT 2017 1CT X 750ML</c:v>
                  </c:pt>
                  <c:pt idx="8">
                    <c:v>CHAMPAGNE NICOLAS BLC DE NOIRS 1CT X 750ML</c:v>
                  </c:pt>
                  <c:pt idx="9">
                    <c:v>CHAMPAGNE NICOLAS ROSE 1E C BS 1CT X 750ML</c:v>
                  </c:pt>
                  <c:pt idx="10">
                    <c:v>CHAMPAGNE NICOLAS ROSE 1ERE ET 1CT X 750ML</c:v>
                  </c:pt>
                  <c:pt idx="11">
                    <c:v>CHAMPAGNE NICOLAS BLC/BL BS ET 1CT X 750ML</c:v>
                  </c:pt>
                  <c:pt idx="12">
                    <c:v>1/2 CHAMPAGNE NICOLAS 1ERE CUV 1CT X 375ML</c:v>
                  </c:pt>
                  <c:pt idx="13">
                    <c:v>CHAMPAGNE E.NICOLAS BRUT 1CT X 750ML</c:v>
                  </c:pt>
                  <c:pt idx="14">
                    <c:v>CHAMPAGNE NICOLAS BLC/BLC BS 1CT X 750ML</c:v>
                  </c:pt>
                  <c:pt idx="15">
                    <c:v>CHAMPAGNE NICOLAS BLC/BLC 2002 1CT X 750ML</c:v>
                  </c:pt>
                  <c:pt idx="16">
                    <c:v>CHAMPAGNE NICOLAS ROSE 1ERE CU 1CT X 750ML</c:v>
                  </c:pt>
                  <c:pt idx="17">
                    <c:v>MG CHAMPAGNE NICOLAS 1E CRU BS 1CT X 1500ML</c:v>
                  </c:pt>
                  <c:pt idx="18">
                    <c:v>CHAMPAGNE NICOLAS 1ER CRU BS 1CT X 750ML</c:v>
                  </c:pt>
                  <c:pt idx="19">
                    <c:v>CHAMPAGNE NICOLAS 1ERE CUV ETU 1CT X 750ML</c:v>
                  </c:pt>
                  <c:pt idx="20">
                    <c:v>CHAMPAGNE NICOLAS 1ER CRU ETUI 1CT X 750ML</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6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30A1D80E-B209-4E11-9E69-F7DCC56139F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AF38CB75-0A24-46A3-8C85-A0CC9A52B6C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BB987EC8-6803-4F03-9854-4CDB70BFD8B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BE4106D4-51E1-4D3C-8CA9-716FBDBA4FA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B4AE9F57-9857-4F5D-AFFA-83836EFD039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0E4BB74C-97F9-4E55-A530-C8F5BF2BDAB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4345DBDB-FD45-44EE-BA4B-7887444318D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5-BFDA-4C69-8E79-A083B7EFBA29}"/>
                </c:ext>
              </c:extLst>
            </c:dLbl>
            <c:dLbl>
              <c:idx val="1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6-BFDA-4C69-8E79-A083B7EFBA29}"/>
                </c:ext>
              </c:extLst>
            </c:dLbl>
            <c:dLbl>
              <c:idx val="1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7-BFDA-4C69-8E79-A083B7EFBA29}"/>
                </c:ext>
              </c:extLst>
            </c:dLbl>
            <c:dLbl>
              <c:idx val="1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8-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17</c:f>
              <c:numCache>
                <c:formatCode>General</c:formatCode>
                <c:ptCount val="16"/>
                <c:pt idx="0">
                  <c:v>9.06E-2</c:v>
                </c:pt>
                <c:pt idx="1">
                  <c:v>8.43E-2</c:v>
                </c:pt>
                <c:pt idx="2">
                  <c:v>0.1232</c:v>
                </c:pt>
                <c:pt idx="3">
                  <c:v>2.2599999999999999E-2</c:v>
                </c:pt>
                <c:pt idx="4">
                  <c:v>3.8E-3</c:v>
                </c:pt>
                <c:pt idx="5">
                  <c:v>7.7000000000000002E-3</c:v>
                </c:pt>
                <c:pt idx="6">
                  <c:v>0.13250000000000001</c:v>
                </c:pt>
                <c:pt idx="7">
                  <c:v>1.6500000000000001E-2</c:v>
                </c:pt>
                <c:pt idx="8">
                  <c:v>5.1900000000000002E-2</c:v>
                </c:pt>
                <c:pt idx="9">
                  <c:v>3.2500000000000001E-2</c:v>
                </c:pt>
                <c:pt idx="10">
                  <c:v>4.2900000000000001E-2</c:v>
                </c:pt>
                <c:pt idx="11">
                  <c:v>8.4000000000000005E-2</c:v>
                </c:pt>
                <c:pt idx="12">
                  <c:v>0.11799999999999999</c:v>
                </c:pt>
                <c:pt idx="13">
                  <c:v>9.06E-2</c:v>
                </c:pt>
                <c:pt idx="14">
                  <c:v>9.8000000000000004E-2</c:v>
                </c:pt>
                <c:pt idx="15">
                  <c:v>0.1158</c:v>
                </c:pt>
              </c:numCache>
            </c:numRef>
          </c:xVal>
          <c:yVal>
            <c:numRef>
              <c:f>Sheet1!$B$2:$B$17</c:f>
              <c:numCache>
                <c:formatCode>General</c:formatCode>
                <c:ptCount val="16"/>
                <c:pt idx="0">
                  <c:v>217.27272727272731</c:v>
                </c:pt>
                <c:pt idx="1">
                  <c:v>204.14285714285711</c:v>
                </c:pt>
                <c:pt idx="2">
                  <c:v>248.9</c:v>
                </c:pt>
                <c:pt idx="3">
                  <c:v>337.32142857142861</c:v>
                </c:pt>
                <c:pt idx="4">
                  <c:v>468.76785714285711</c:v>
                </c:pt>
                <c:pt idx="5">
                  <c:v>280.97402597402589</c:v>
                </c:pt>
                <c:pt idx="6">
                  <c:v>243.15789473684211</c:v>
                </c:pt>
                <c:pt idx="7">
                  <c:v>315.39999999999998</c:v>
                </c:pt>
                <c:pt idx="8">
                  <c:v>73.270270270270274</c:v>
                </c:pt>
                <c:pt idx="9">
                  <c:v>281.55102040816331</c:v>
                </c:pt>
                <c:pt idx="10">
                  <c:v>4501.0200000000004</c:v>
                </c:pt>
                <c:pt idx="11">
                  <c:v>631.52941176470586</c:v>
                </c:pt>
                <c:pt idx="12">
                  <c:v>263.92307692307691</c:v>
                </c:pt>
                <c:pt idx="13">
                  <c:v>175.04761904761901</c:v>
                </c:pt>
                <c:pt idx="14">
                  <c:v>102.3333333333333</c:v>
                </c:pt>
                <c:pt idx="15">
                  <c:v>182.625</c:v>
                </c:pt>
              </c:numCache>
            </c:numRef>
          </c:yVal>
          <c:bubbleSize>
            <c:numRef>
              <c:f>Sheet1!$C$2:$C$17</c:f>
              <c:numCache>
                <c:formatCode>General</c:formatCode>
                <c:ptCount val="16"/>
                <c:pt idx="0">
                  <c:v>2985.8868000000002</c:v>
                </c:pt>
                <c:pt idx="1">
                  <c:v>5452.527</c:v>
                </c:pt>
                <c:pt idx="2">
                  <c:v>3637.1163999999999</c:v>
                </c:pt>
                <c:pt idx="3">
                  <c:v>7693.3367999999991</c:v>
                </c:pt>
                <c:pt idx="4">
                  <c:v>21791.631799999999</c:v>
                </c:pt>
                <c:pt idx="5">
                  <c:v>17890.1122</c:v>
                </c:pt>
                <c:pt idx="6">
                  <c:v>2189.6550000000002</c:v>
                </c:pt>
                <c:pt idx="7">
                  <c:v>4262.5</c:v>
                </c:pt>
                <c:pt idx="8">
                  <c:v>2141.886</c:v>
                </c:pt>
                <c:pt idx="9">
                  <c:v>11122.71</c:v>
                </c:pt>
                <c:pt idx="10">
                  <c:v>358993.02679999999</c:v>
                </c:pt>
                <c:pt idx="11">
                  <c:v>24585.891299999999</c:v>
                </c:pt>
                <c:pt idx="12">
                  <c:v>2521.6662000000001</c:v>
                </c:pt>
                <c:pt idx="13">
                  <c:v>5571.3715999999986</c:v>
                </c:pt>
                <c:pt idx="14">
                  <c:v>2999.828</c:v>
                </c:pt>
                <c:pt idx="15">
                  <c:v>2153.1293999999998</c:v>
                </c:pt>
              </c:numCache>
            </c:numRef>
          </c:bubbleSize>
          <c:bubble3D val="0"/>
          <c:extLst>
            <c:ext xmlns:c15="http://schemas.microsoft.com/office/drawing/2012/chart" uri="{02D57815-91ED-43cb-92C2-25804820EDAC}">
              <c15:datalabelsRange>
                <c15:f>Sheet1!$E$2:$E$50</c15:f>
                <c15:dlblRangeCache>
                  <c:ptCount val="49"/>
                  <c:pt idx="0">
                    <c:v>1/2 CHAMP NICOLAS BLC/BLC BS 1CT X 375ML</c:v>
                  </c:pt>
                  <c:pt idx="1">
                    <c:v>1/2 CHAMP NICOLAS ROSE 1E C BS 1CT X 375ML</c:v>
                  </c:pt>
                  <c:pt idx="2">
                    <c:v>MG CHAMPAGNE NICOLAS BLC/BL BS 1CT X 1500ML</c:v>
                  </c:pt>
                  <c:pt idx="3">
                    <c:v>MG CHAMPAGNE E.NICOLAS BRUT 1CT X 1500ML</c:v>
                  </c:pt>
                  <c:pt idx="4">
                    <c:v>CHAMPAGNE E.NICOLAS ROSE 1CT X 750ML</c:v>
                  </c:pt>
                  <c:pt idx="5">
                    <c:v>CHAMPAGNE NICOLAS 1ERE CUVEE 1CT X 750ML</c:v>
                  </c:pt>
                  <c:pt idx="6">
                    <c:v>MG CHAMPAGNE NICOLAS 1ERE CUVE 1CT X 1500ML</c:v>
                  </c:pt>
                  <c:pt idx="7">
                    <c:v>CHAMPAGNE NICOLAS BIO NAT 2017 1CT X 750ML</c:v>
                  </c:pt>
                  <c:pt idx="8">
                    <c:v>CHAMPAGNE NICOLAS BLC DE NOIRS 1CT X 750ML</c:v>
                  </c:pt>
                  <c:pt idx="9">
                    <c:v>1/2 CHAMPAGNE NICOLAS 1ERE CUV 1CT X 375ML</c:v>
                  </c:pt>
                  <c:pt idx="10">
                    <c:v>CHAMPAGNE E.NICOLAS BRUT 1CT X 750ML</c:v>
                  </c:pt>
                  <c:pt idx="11">
                    <c:v>CHAMPAGNE NICOLAS BLC/BLC BS 1CT X 750ML</c:v>
                  </c:pt>
                  <c:pt idx="12">
                    <c:v>CHAMPAGNE NICOLAS BLC/BLC 2002 1CT X 750ML</c:v>
                  </c:pt>
                  <c:pt idx="13">
                    <c:v>CHAMPAGNE NICOLAS ROSE 1ERE CU 1CT X 750ML</c:v>
                  </c:pt>
                  <c:pt idx="14">
                    <c:v>CHAMPAGNE NICOLAS 1ER CRU BS 1CT X 750ML</c:v>
                  </c:pt>
                  <c:pt idx="15">
                    <c:v>CHAMPAGNE NICOLAS 1ER CRU ETUI 1CT X 750ML</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6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A53535C7-BCF2-46CC-9833-E0842C1630D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8297F9D0-8F17-40F3-A46A-239CE807143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4949DE14-45C6-4D5D-AEEF-361DBFF31C5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C7A0D4BE-50BD-4B57-8F9F-1FD9C1FDD22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3BEF99E3-2D86-4216-AC60-F362CB1C2D3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DCF5774A-6588-4E85-9DD1-4FEAA64878D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ACAED53C-45AE-4456-B56C-FC774C48A2F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5-BFDA-4C69-8E79-A083B7EFBA29}"/>
                </c:ext>
              </c:extLst>
            </c:dLbl>
            <c:dLbl>
              <c:idx val="1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6-BFDA-4C69-8E79-A083B7EFBA29}"/>
                </c:ext>
              </c:extLst>
            </c:dLbl>
            <c:dLbl>
              <c:idx val="1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7-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16</c:f>
              <c:numCache>
                <c:formatCode>General</c:formatCode>
                <c:ptCount val="15"/>
                <c:pt idx="0">
                  <c:v>0.1079</c:v>
                </c:pt>
                <c:pt idx="1">
                  <c:v>0.1056</c:v>
                </c:pt>
                <c:pt idx="2">
                  <c:v>0.15040000000000001</c:v>
                </c:pt>
                <c:pt idx="3">
                  <c:v>4.1099999999999998E-2</c:v>
                </c:pt>
                <c:pt idx="4">
                  <c:v>5.4999999999999997E-3</c:v>
                </c:pt>
                <c:pt idx="5">
                  <c:v>2.5700000000000001E-2</c:v>
                </c:pt>
                <c:pt idx="6">
                  <c:v>3.73E-2</c:v>
                </c:pt>
                <c:pt idx="7">
                  <c:v>4.24E-2</c:v>
                </c:pt>
                <c:pt idx="8">
                  <c:v>3.5900000000000001E-2</c:v>
                </c:pt>
                <c:pt idx="9">
                  <c:v>4.3099999999999999E-2</c:v>
                </c:pt>
                <c:pt idx="10">
                  <c:v>9.01E-2</c:v>
                </c:pt>
                <c:pt idx="11">
                  <c:v>9.0200000000000002E-2</c:v>
                </c:pt>
                <c:pt idx="12">
                  <c:v>8.43E-2</c:v>
                </c:pt>
                <c:pt idx="13">
                  <c:v>7.1400000000000005E-2</c:v>
                </c:pt>
                <c:pt idx="14">
                  <c:v>9.01E-2</c:v>
                </c:pt>
              </c:numCache>
            </c:numRef>
          </c:xVal>
          <c:yVal>
            <c:numRef>
              <c:f>Sheet1!$B$2:$B$16</c:f>
              <c:numCache>
                <c:formatCode>General</c:formatCode>
                <c:ptCount val="15"/>
                <c:pt idx="0">
                  <c:v>132.2051282051282</c:v>
                </c:pt>
                <c:pt idx="1">
                  <c:v>67.909090909090907</c:v>
                </c:pt>
                <c:pt idx="2">
                  <c:v>150.4736842105263</c:v>
                </c:pt>
                <c:pt idx="3">
                  <c:v>194</c:v>
                </c:pt>
                <c:pt idx="4">
                  <c:v>283.578125</c:v>
                </c:pt>
                <c:pt idx="5">
                  <c:v>169.55</c:v>
                </c:pt>
                <c:pt idx="6">
                  <c:v>280.66666666666669</c:v>
                </c:pt>
                <c:pt idx="7">
                  <c:v>133.56521739130429</c:v>
                </c:pt>
                <c:pt idx="8">
                  <c:v>136.18604651162789</c:v>
                </c:pt>
                <c:pt idx="9">
                  <c:v>2484.3200000000002</c:v>
                </c:pt>
                <c:pt idx="10">
                  <c:v>394.05084745762713</c:v>
                </c:pt>
                <c:pt idx="11">
                  <c:v>51.499999999999993</c:v>
                </c:pt>
                <c:pt idx="12">
                  <c:v>100.0263157894737</c:v>
                </c:pt>
                <c:pt idx="13">
                  <c:v>95.55</c:v>
                </c:pt>
                <c:pt idx="14">
                  <c:v>61.825000000000003</c:v>
                </c:pt>
              </c:numCache>
            </c:numRef>
          </c:yVal>
          <c:bubbleSize>
            <c:numRef>
              <c:f>Sheet1!$C$2:$C$16</c:f>
              <c:numCache>
                <c:formatCode>General</c:formatCode>
                <c:ptCount val="15"/>
                <c:pt idx="0">
                  <c:v>1787.8458000000001</c:v>
                </c:pt>
                <c:pt idx="1">
                  <c:v>2227.174</c:v>
                </c:pt>
                <c:pt idx="2">
                  <c:v>2024.117</c:v>
                </c:pt>
                <c:pt idx="3">
                  <c:v>4340.8356000000003</c:v>
                </c:pt>
                <c:pt idx="4">
                  <c:v>15041.642599999999</c:v>
                </c:pt>
                <c:pt idx="5">
                  <c:v>8259.4321</c:v>
                </c:pt>
                <c:pt idx="6">
                  <c:v>2053.75</c:v>
                </c:pt>
                <c:pt idx="7">
                  <c:v>2451.4416000000001</c:v>
                </c:pt>
                <c:pt idx="8">
                  <c:v>4704.8100000000004</c:v>
                </c:pt>
                <c:pt idx="9">
                  <c:v>198113.8518</c:v>
                </c:pt>
                <c:pt idx="10">
                  <c:v>17628.3279</c:v>
                </c:pt>
                <c:pt idx="11">
                  <c:v>1093.3332</c:v>
                </c:pt>
                <c:pt idx="12">
                  <c:v>2900.6026000000002</c:v>
                </c:pt>
                <c:pt idx="13">
                  <c:v>1478.8743999999999</c:v>
                </c:pt>
                <c:pt idx="14">
                  <c:v>1875.0716</c:v>
                </c:pt>
              </c:numCache>
            </c:numRef>
          </c:bubbleSize>
          <c:bubble3D val="0"/>
          <c:extLst>
            <c:ext xmlns:c15="http://schemas.microsoft.com/office/drawing/2012/chart" uri="{02D57815-91ED-43cb-92C2-25804820EDAC}">
              <c15:datalabelsRange>
                <c15:f>Sheet1!$E$2:$E$50</c15:f>
                <c15:dlblRangeCache>
                  <c:ptCount val="49"/>
                  <c:pt idx="0">
                    <c:v>1/2 CHAMP NICOLAS BLC/BLC BS 1CT X 375ML</c:v>
                  </c:pt>
                  <c:pt idx="1">
                    <c:v>1/2 CHAMP NICOLAS ROSE 1E C BS 1CT X 375ML</c:v>
                  </c:pt>
                  <c:pt idx="2">
                    <c:v>MG CHAMPAGNE NICOLAS BLC/BL BS 1CT X 1500ML</c:v>
                  </c:pt>
                  <c:pt idx="3">
                    <c:v>MG CHAMPAGNE E.NICOLAS BRUT 1CT X 1500ML</c:v>
                  </c:pt>
                  <c:pt idx="4">
                    <c:v>CHAMPAGNE E.NICOLAS ROSE 1CT X 750ML</c:v>
                  </c:pt>
                  <c:pt idx="5">
                    <c:v>CHAMPAGNE NICOLAS 1ERE CUVEE 1CT X 750ML</c:v>
                  </c:pt>
                  <c:pt idx="6">
                    <c:v>CHAMPAGNE NICOLAS BIO NAT 2017 1CT X 750ML</c:v>
                  </c:pt>
                  <c:pt idx="7">
                    <c:v>CHAMPAGNE NICOLAS BLC DE NOIRS 1CT X 750ML</c:v>
                  </c:pt>
                  <c:pt idx="8">
                    <c:v>1/2 CHAMPAGNE NICOLAS 1ERE CUV 1CT X 375ML</c:v>
                  </c:pt>
                  <c:pt idx="9">
                    <c:v>CHAMPAGNE E.NICOLAS BRUT 1CT X 750ML</c:v>
                  </c:pt>
                  <c:pt idx="10">
                    <c:v>CHAMPAGNE NICOLAS BLC/BLC BS 1CT X 750ML</c:v>
                  </c:pt>
                  <c:pt idx="11">
                    <c:v>CHAMPAGNE NICOLAS BLC/BLC 2002 1CT X 750ML</c:v>
                  </c:pt>
                  <c:pt idx="12">
                    <c:v>CHAMPAGNE NICOLAS ROSE 1ERE CU 1CT X 750ML</c:v>
                  </c:pt>
                  <c:pt idx="13">
                    <c:v>CHAMPAGNE NICOLAS 1ER CRU BS 1CT X 750ML</c:v>
                  </c:pt>
                  <c:pt idx="14">
                    <c:v>CHAMPAGNE NICOLAS 1ER CRU ETUI 1CT X 750ML</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6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266F524D-156C-48D2-8D04-813C62094E7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CD13ED73-72DF-4E2A-B21A-7FEA34613CE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61D9F0EE-CB31-4C1B-8E80-47DABB668AE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5600CF35-6FB7-4B96-B94B-D3ABAFD32B3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9E37CA09-6B6C-4BBF-86B5-07DDC223571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B2EFC9EA-B051-4360-BB70-727F8B6002F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F4B88879-9DD4-4274-9AE7-204515061B5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12</c:f>
              <c:numCache>
                <c:formatCode>General</c:formatCode>
                <c:ptCount val="11"/>
                <c:pt idx="0">
                  <c:v>0.1052</c:v>
                </c:pt>
                <c:pt idx="1">
                  <c:v>0.13800000000000001</c:v>
                </c:pt>
                <c:pt idx="2">
                  <c:v>0.126</c:v>
                </c:pt>
                <c:pt idx="3">
                  <c:v>4.2700000000000002E-2</c:v>
                </c:pt>
                <c:pt idx="4">
                  <c:v>9.1999999999999998E-3</c:v>
                </c:pt>
                <c:pt idx="5">
                  <c:v>4.4000000000000003E-3</c:v>
                </c:pt>
                <c:pt idx="6">
                  <c:v>5.8299999999999998E-2</c:v>
                </c:pt>
                <c:pt idx="7">
                  <c:v>8.1100000000000005E-2</c:v>
                </c:pt>
                <c:pt idx="8">
                  <c:v>0.04</c:v>
                </c:pt>
                <c:pt idx="9">
                  <c:v>9.3799999999999994E-2</c:v>
                </c:pt>
                <c:pt idx="10">
                  <c:v>5.3999999999999999E-2</c:v>
                </c:pt>
              </c:numCache>
            </c:numRef>
          </c:xVal>
          <c:yVal>
            <c:numRef>
              <c:f>Sheet1!$B$2:$B$12</c:f>
              <c:numCache>
                <c:formatCode>General</c:formatCode>
                <c:ptCount val="11"/>
                <c:pt idx="0">
                  <c:v>50.150943396226417</c:v>
                </c:pt>
                <c:pt idx="1">
                  <c:v>48.139534883720927</c:v>
                </c:pt>
                <c:pt idx="2">
                  <c:v>103.61764705882349</c:v>
                </c:pt>
                <c:pt idx="3">
                  <c:v>117.4</c:v>
                </c:pt>
                <c:pt idx="4">
                  <c:v>163.08536585365849</c:v>
                </c:pt>
                <c:pt idx="5">
                  <c:v>134.71052631578951</c:v>
                </c:pt>
                <c:pt idx="6">
                  <c:v>78.130434782608702</c:v>
                </c:pt>
                <c:pt idx="7">
                  <c:v>38.918032786885249</c:v>
                </c:pt>
                <c:pt idx="8">
                  <c:v>1744.57</c:v>
                </c:pt>
                <c:pt idx="9">
                  <c:v>276.32307692307688</c:v>
                </c:pt>
                <c:pt idx="10">
                  <c:v>61.307692307692307</c:v>
                </c:pt>
              </c:numCache>
            </c:numRef>
          </c:yVal>
          <c:bubbleSize>
            <c:numRef>
              <c:f>Sheet1!$C$2:$C$12</c:f>
              <c:numCache>
                <c:formatCode>General</c:formatCode>
                <c:ptCount val="11"/>
                <c:pt idx="0">
                  <c:v>1105.884</c:v>
                </c:pt>
                <c:pt idx="1">
                  <c:v>1486.9084</c:v>
                </c:pt>
                <c:pt idx="2">
                  <c:v>2565.979600000001</c:v>
                </c:pt>
                <c:pt idx="3">
                  <c:v>3277.9178999999999</c:v>
                </c:pt>
                <c:pt idx="4">
                  <c:v>11041.648999999999</c:v>
                </c:pt>
                <c:pt idx="5">
                  <c:v>8494.0993000000017</c:v>
                </c:pt>
                <c:pt idx="6">
                  <c:v>1410.2208000000001</c:v>
                </c:pt>
                <c:pt idx="7">
                  <c:v>1817.7974999999999</c:v>
                </c:pt>
                <c:pt idx="8">
                  <c:v>139572.4345</c:v>
                </c:pt>
                <c:pt idx="9">
                  <c:v>13564.0926</c:v>
                </c:pt>
                <c:pt idx="10">
                  <c:v>1884.8882000000001</c:v>
                </c:pt>
              </c:numCache>
            </c:numRef>
          </c:bubbleSize>
          <c:bubble3D val="0"/>
          <c:extLst>
            <c:ext xmlns:c15="http://schemas.microsoft.com/office/drawing/2012/chart" uri="{02D57815-91ED-43cb-92C2-25804820EDAC}">
              <c15:datalabelsRange>
                <c15:f>Sheet1!$E$2:$E$50</c15:f>
                <c15:dlblRangeCache>
                  <c:ptCount val="49"/>
                  <c:pt idx="0">
                    <c:v>1/2 CHAMP NICOLAS BLC/BLC BS 1CT X 375ML</c:v>
                  </c:pt>
                  <c:pt idx="1">
                    <c:v>1/2 CHAMP NICOLAS ROSE 1E C BS 1CT X 375ML</c:v>
                  </c:pt>
                  <c:pt idx="2">
                    <c:v>MG CHAMPAGNE NICOLAS BLC/BL BS 1CT X 1500ML</c:v>
                  </c:pt>
                  <c:pt idx="3">
                    <c:v>MG CHAMPAGNE E.NICOLAS BRUT 1CT X 1500ML</c:v>
                  </c:pt>
                  <c:pt idx="4">
                    <c:v>CHAMPAGNE E.NICOLAS ROSE 1CT X 750ML</c:v>
                  </c:pt>
                  <c:pt idx="5">
                    <c:v>CHAMPAGNE NICOLAS 1ERE CUVEE 1CT X 750ML</c:v>
                  </c:pt>
                  <c:pt idx="6">
                    <c:v>CHAMPAGNE NICOLAS BLC DE NOIRS 1CT X 750ML</c:v>
                  </c:pt>
                  <c:pt idx="7">
                    <c:v>1/2 CHAMPAGNE NICOLAS 1ERE CUV 1CT X 375ML</c:v>
                  </c:pt>
                  <c:pt idx="8">
                    <c:v>CHAMPAGNE E.NICOLAS BRUT 1CT X 750ML</c:v>
                  </c:pt>
                  <c:pt idx="9">
                    <c:v>CHAMPAGNE NICOLAS BLC/BLC BS 1CT X 750ML</c:v>
                  </c:pt>
                  <c:pt idx="10">
                    <c:v>CHAMPAGNE NICOLAS ROSE 1ERE CU 1CT X 750ML</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6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BC6D8EEE-6E79-43CA-B145-D65B72EA0EF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DB044549-271D-486B-B89A-665ECE44E89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91A7B403-2C67-4908-B158-41005080046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BF947AF1-4E90-4325-9846-659AD339323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44230289-0AC4-4F15-9EAF-47E3A207668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361B0CF3-2922-424A-9916-32F15027B33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58DF7E8D-2C41-423F-9BFD-5F97FDADE9D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5-BFDA-4C69-8E79-A083B7EFBA29}"/>
                </c:ext>
              </c:extLst>
            </c:dLbl>
            <c:dLbl>
              <c:idx val="1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6-BFDA-4C69-8E79-A083B7EFBA29}"/>
                </c:ext>
              </c:extLst>
            </c:dLbl>
            <c:dLbl>
              <c:idx val="1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7-BFDA-4C69-8E79-A083B7EFBA29}"/>
                </c:ext>
              </c:extLst>
            </c:dLbl>
            <c:dLbl>
              <c:idx val="1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8-BFDA-4C69-8E79-A083B7EFBA29}"/>
                </c:ext>
              </c:extLst>
            </c:dLbl>
            <c:dLbl>
              <c:idx val="1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9-BFDA-4C69-8E79-A083B7EFBA29}"/>
                </c:ext>
              </c:extLst>
            </c:dLbl>
            <c:dLbl>
              <c:idx val="1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A-BFDA-4C69-8E79-A083B7EFBA29}"/>
                </c:ext>
              </c:extLst>
            </c:dLbl>
            <c:dLbl>
              <c:idx val="1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B-BFDA-4C69-8E79-A083B7EFBA29}"/>
                </c:ext>
              </c:extLst>
            </c:dLbl>
            <c:dLbl>
              <c:idx val="1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C-BFDA-4C69-8E79-A083B7EFBA29}"/>
                </c:ext>
              </c:extLst>
            </c:dLbl>
            <c:dLbl>
              <c:idx val="2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D-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22</c:f>
              <c:numCache>
                <c:formatCode>General</c:formatCode>
                <c:ptCount val="21"/>
                <c:pt idx="0">
                  <c:v>8.1299999999999997E-2</c:v>
                </c:pt>
                <c:pt idx="1">
                  <c:v>6.93E-2</c:v>
                </c:pt>
                <c:pt idx="2">
                  <c:v>7.2999999999999995E-2</c:v>
                </c:pt>
                <c:pt idx="3">
                  <c:v>4.1000000000000003E-3</c:v>
                </c:pt>
                <c:pt idx="4">
                  <c:v>8.0000000000000004E-4</c:v>
                </c:pt>
                <c:pt idx="5">
                  <c:v>-3.6600000000000001E-2</c:v>
                </c:pt>
                <c:pt idx="6">
                  <c:v>9.8299999999999998E-2</c:v>
                </c:pt>
                <c:pt idx="7">
                  <c:v>-3.7000000000000002E-3</c:v>
                </c:pt>
                <c:pt idx="8">
                  <c:v>3.6200000000000003E-2</c:v>
                </c:pt>
                <c:pt idx="9">
                  <c:v>0.1014</c:v>
                </c:pt>
                <c:pt idx="10">
                  <c:v>8.9899999999999994E-2</c:v>
                </c:pt>
                <c:pt idx="11">
                  <c:v>0.1348</c:v>
                </c:pt>
                <c:pt idx="12">
                  <c:v>2.6200000000000001E-2</c:v>
                </c:pt>
                <c:pt idx="13">
                  <c:v>4.24E-2</c:v>
                </c:pt>
                <c:pt idx="14">
                  <c:v>8.14E-2</c:v>
                </c:pt>
                <c:pt idx="15">
                  <c:v>5.2400000000000002E-2</c:v>
                </c:pt>
                <c:pt idx="16">
                  <c:v>4.7100000000000003E-2</c:v>
                </c:pt>
                <c:pt idx="17">
                  <c:v>0.1241</c:v>
                </c:pt>
                <c:pt idx="18">
                  <c:v>1.3100000000000001E-2</c:v>
                </c:pt>
                <c:pt idx="19">
                  <c:v>5.6800000000000003E-2</c:v>
                </c:pt>
                <c:pt idx="20">
                  <c:v>5.4199999999999998E-2</c:v>
                </c:pt>
              </c:numCache>
            </c:numRef>
          </c:xVal>
          <c:yVal>
            <c:numRef>
              <c:f>Sheet1!$B$2:$B$22</c:f>
              <c:numCache>
                <c:formatCode>General</c:formatCode>
                <c:ptCount val="21"/>
                <c:pt idx="0">
                  <c:v>1603.583333333333</c:v>
                </c:pt>
                <c:pt idx="1">
                  <c:v>1250.962962962963</c:v>
                </c:pt>
                <c:pt idx="2">
                  <c:v>2556.3571428571431</c:v>
                </c:pt>
                <c:pt idx="3">
                  <c:v>3170.375</c:v>
                </c:pt>
                <c:pt idx="4">
                  <c:v>2988.0338983050851</c:v>
                </c:pt>
                <c:pt idx="5">
                  <c:v>2029.1923076923081</c:v>
                </c:pt>
                <c:pt idx="6">
                  <c:v>1121.3888888888889</c:v>
                </c:pt>
                <c:pt idx="7">
                  <c:v>2824.0666666666671</c:v>
                </c:pt>
                <c:pt idx="8">
                  <c:v>1489.3888888888889</c:v>
                </c:pt>
                <c:pt idx="9">
                  <c:v>1025</c:v>
                </c:pt>
                <c:pt idx="10">
                  <c:v>1141.2222222222219</c:v>
                </c:pt>
                <c:pt idx="11">
                  <c:v>2045</c:v>
                </c:pt>
                <c:pt idx="12">
                  <c:v>2088.78125</c:v>
                </c:pt>
                <c:pt idx="13">
                  <c:v>27681.21212121212</c:v>
                </c:pt>
                <c:pt idx="14">
                  <c:v>4890.9272727272719</c:v>
                </c:pt>
                <c:pt idx="15">
                  <c:v>2986</c:v>
                </c:pt>
                <c:pt idx="16">
                  <c:v>1302.878787878788</c:v>
                </c:pt>
                <c:pt idx="17">
                  <c:v>1233.5</c:v>
                </c:pt>
                <c:pt idx="18">
                  <c:v>770.59375</c:v>
                </c:pt>
                <c:pt idx="19">
                  <c:v>879.18181818181813</c:v>
                </c:pt>
                <c:pt idx="20">
                  <c:v>891.5</c:v>
                </c:pt>
              </c:numCache>
            </c:numRef>
          </c:yVal>
          <c:bubbleSize>
            <c:numRef>
              <c:f>Sheet1!$C$2:$C$22</c:f>
              <c:numCache>
                <c:formatCode>General</c:formatCode>
                <c:ptCount val="21"/>
                <c:pt idx="0">
                  <c:v>15261.199199999999</c:v>
                </c:pt>
                <c:pt idx="1">
                  <c:v>26195.250400000001</c:v>
                </c:pt>
                <c:pt idx="2">
                  <c:v>27646.147799999999</c:v>
                </c:pt>
                <c:pt idx="3">
                  <c:v>42099.603300000002</c:v>
                </c:pt>
                <c:pt idx="4">
                  <c:v>146791.43179999999</c:v>
                </c:pt>
                <c:pt idx="5">
                  <c:v>136720.74660000001</c:v>
                </c:pt>
                <c:pt idx="6">
                  <c:v>8470.5074999999997</c:v>
                </c:pt>
                <c:pt idx="7">
                  <c:v>18755</c:v>
                </c:pt>
                <c:pt idx="8">
                  <c:v>21531.75</c:v>
                </c:pt>
                <c:pt idx="9">
                  <c:v>3837.8892000000001</c:v>
                </c:pt>
                <c:pt idx="10">
                  <c:v>7789.3092000000006</c:v>
                </c:pt>
                <c:pt idx="11">
                  <c:v>2162.9924999999998</c:v>
                </c:pt>
                <c:pt idx="12">
                  <c:v>54240.614999999998</c:v>
                </c:pt>
                <c:pt idx="13">
                  <c:v>2186773.7568999999</c:v>
                </c:pt>
                <c:pt idx="14">
                  <c:v>205922.62530000001</c:v>
                </c:pt>
                <c:pt idx="15">
                  <c:v>9431.6645999999982</c:v>
                </c:pt>
                <c:pt idx="16">
                  <c:v>34143.103000000003</c:v>
                </c:pt>
                <c:pt idx="17">
                  <c:v>2881.125</c:v>
                </c:pt>
                <c:pt idx="18">
                  <c:v>20279.3665</c:v>
                </c:pt>
                <c:pt idx="19">
                  <c:v>6039.6102000000001</c:v>
                </c:pt>
                <c:pt idx="20">
                  <c:v>12648.247100000001</c:v>
                </c:pt>
              </c:numCache>
            </c:numRef>
          </c:bubbleSize>
          <c:bubble3D val="0"/>
          <c:extLst>
            <c:ext xmlns:c15="http://schemas.microsoft.com/office/drawing/2012/chart" uri="{02D57815-91ED-43cb-92C2-25804820EDAC}">
              <c15:datalabelsRange>
                <c15:f>Sheet1!$E$2:$E$50</c15:f>
                <c15:dlblRangeCache>
                  <c:ptCount val="49"/>
                  <c:pt idx="0">
                    <c:v>1/2 CHAMP NICOLAS BLC/BLC BS 1CT X 375ML</c:v>
                  </c:pt>
                  <c:pt idx="1">
                    <c:v>1/2 CHAMP NICOLAS ROSE 1E C BS 1CT X 375ML</c:v>
                  </c:pt>
                  <c:pt idx="2">
                    <c:v>MG CHAMPAGNE NICOLAS BLC/BL BS 1CT X 1500ML</c:v>
                  </c:pt>
                  <c:pt idx="3">
                    <c:v>MG CHAMPAGNE E.NICOLAS BRUT 1CT X 1500ML</c:v>
                  </c:pt>
                  <c:pt idx="4">
                    <c:v>CHAMPAGNE E.NICOLAS ROSE 1CT X 750ML</c:v>
                  </c:pt>
                  <c:pt idx="5">
                    <c:v>CHAMPAGNE NICOLAS 1ERE CUVEE 1CT X 750ML</c:v>
                  </c:pt>
                  <c:pt idx="6">
                    <c:v>MG CHAMPAGNE NICOLAS 1ERE CUVE 1CT X 1500ML</c:v>
                  </c:pt>
                  <c:pt idx="7">
                    <c:v>CHAMPAGNE NICOLAS BIO NAT 2017 1CT X 750ML</c:v>
                  </c:pt>
                  <c:pt idx="8">
                    <c:v>CHAMPAGNE NICOLAS BLC DE NOIRS 1CT X 750ML</c:v>
                  </c:pt>
                  <c:pt idx="9">
                    <c:v>CHAMPAGNE NICOLAS ROSE 1E C BS 1CT X 750ML</c:v>
                  </c:pt>
                  <c:pt idx="10">
                    <c:v>CHAMPAGNE NICOLAS ROSE 1ERE ET 1CT X 750ML</c:v>
                  </c:pt>
                  <c:pt idx="11">
                    <c:v>CHAMPAGNE NICOLAS BLC/BL BS ET 1CT X 750ML</c:v>
                  </c:pt>
                  <c:pt idx="12">
                    <c:v>1/2 CHAMPAGNE NICOLAS 1ERE CUV 1CT X 375ML</c:v>
                  </c:pt>
                  <c:pt idx="13">
                    <c:v>CHAMPAGNE E.NICOLAS BRUT 1CT X 750ML</c:v>
                  </c:pt>
                  <c:pt idx="14">
                    <c:v>CHAMPAGNE NICOLAS BLC/BLC BS 1CT X 750ML</c:v>
                  </c:pt>
                  <c:pt idx="15">
                    <c:v>CHAMPAGNE NICOLAS BLC/BLC 2002 1CT X 750ML</c:v>
                  </c:pt>
                  <c:pt idx="16">
                    <c:v>CHAMPAGNE NICOLAS ROSE 1ERE CU 1CT X 750ML</c:v>
                  </c:pt>
                  <c:pt idx="17">
                    <c:v>MG CHAMPAGNE NICOLAS 1E CRU BS 1CT X 1500ML</c:v>
                  </c:pt>
                  <c:pt idx="18">
                    <c:v>CHAMPAGNE NICOLAS 1ER CRU BS 1CT X 750ML</c:v>
                  </c:pt>
                  <c:pt idx="19">
                    <c:v>CHAMPAGNE NICOLAS 1ERE CUV ETU 1CT X 750ML</c:v>
                  </c:pt>
                  <c:pt idx="20">
                    <c:v>CHAMPAGNE NICOLAS 1ER CRU ETUI 1CT X 750ML</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6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C4B67350-63C2-423E-8AD9-1F36DDAB0EF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80CACA8D-2E6B-4D19-B4F3-CD114391D91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4A66EF90-0FB5-4ECA-B7CE-FA22898ADB2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2C71DF38-DDDD-4599-92F8-C5EB7BD72FB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54274F80-ACA1-4BB9-8369-2E0A69DF213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BB71F66D-EC55-471C-849C-52D0D812F23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B87C6278-5E5B-486A-98CD-34E23A6C28F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5-BFDA-4C69-8E79-A083B7EFBA29}"/>
                </c:ext>
              </c:extLst>
            </c:dLbl>
            <c:dLbl>
              <c:idx val="1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6-BFDA-4C69-8E79-A083B7EFBA29}"/>
                </c:ext>
              </c:extLst>
            </c:dLbl>
            <c:dLbl>
              <c:idx val="1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7-BFDA-4C69-8E79-A083B7EFBA29}"/>
                </c:ext>
              </c:extLst>
            </c:dLbl>
            <c:dLbl>
              <c:idx val="1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8-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17</c:f>
              <c:numCache>
                <c:formatCode>General</c:formatCode>
                <c:ptCount val="16"/>
                <c:pt idx="0">
                  <c:v>9.4399999999999998E-2</c:v>
                </c:pt>
                <c:pt idx="1">
                  <c:v>9.9599999999999994E-2</c:v>
                </c:pt>
                <c:pt idx="2">
                  <c:v>0.1147</c:v>
                </c:pt>
                <c:pt idx="3">
                  <c:v>1.3899999999999999E-2</c:v>
                </c:pt>
                <c:pt idx="4">
                  <c:v>2.8999999999999998E-3</c:v>
                </c:pt>
                <c:pt idx="5">
                  <c:v>1.9599999999999999E-2</c:v>
                </c:pt>
                <c:pt idx="6">
                  <c:v>0.12470000000000001</c:v>
                </c:pt>
                <c:pt idx="7">
                  <c:v>3.1899999999999998E-2</c:v>
                </c:pt>
                <c:pt idx="8">
                  <c:v>6.3600000000000004E-2</c:v>
                </c:pt>
                <c:pt idx="9">
                  <c:v>4.3099999999999999E-2</c:v>
                </c:pt>
                <c:pt idx="10">
                  <c:v>3.8199999999999998E-2</c:v>
                </c:pt>
                <c:pt idx="11">
                  <c:v>8.6499999999999994E-2</c:v>
                </c:pt>
                <c:pt idx="12">
                  <c:v>0.1056</c:v>
                </c:pt>
                <c:pt idx="13">
                  <c:v>9.5100000000000004E-2</c:v>
                </c:pt>
                <c:pt idx="14">
                  <c:v>4.07E-2</c:v>
                </c:pt>
                <c:pt idx="15">
                  <c:v>0.15770000000000001</c:v>
                </c:pt>
              </c:numCache>
            </c:numRef>
          </c:xVal>
          <c:yVal>
            <c:numRef>
              <c:f>Sheet1!$B$2:$B$17</c:f>
              <c:numCache>
                <c:formatCode>General</c:formatCode>
                <c:ptCount val="16"/>
                <c:pt idx="0">
                  <c:v>214.32432432432429</c:v>
                </c:pt>
                <c:pt idx="1">
                  <c:v>105.609756097561</c:v>
                </c:pt>
                <c:pt idx="2">
                  <c:v>330.95</c:v>
                </c:pt>
                <c:pt idx="3">
                  <c:v>383.10256410256409</c:v>
                </c:pt>
                <c:pt idx="4">
                  <c:v>355.97674418604652</c:v>
                </c:pt>
                <c:pt idx="5">
                  <c:v>284.11538461538458</c:v>
                </c:pt>
                <c:pt idx="6">
                  <c:v>189.34615384615381</c:v>
                </c:pt>
                <c:pt idx="7">
                  <c:v>262.10526315789468</c:v>
                </c:pt>
                <c:pt idx="8">
                  <c:v>98.5</c:v>
                </c:pt>
                <c:pt idx="9">
                  <c:v>210.5454545454545</c:v>
                </c:pt>
                <c:pt idx="10">
                  <c:v>4592.25</c:v>
                </c:pt>
                <c:pt idx="11">
                  <c:v>578.94520547945206</c:v>
                </c:pt>
                <c:pt idx="12">
                  <c:v>217.29411764705881</c:v>
                </c:pt>
                <c:pt idx="13">
                  <c:v>173.7441860465116</c:v>
                </c:pt>
                <c:pt idx="14">
                  <c:v>174.64</c:v>
                </c:pt>
                <c:pt idx="15">
                  <c:v>138.5625</c:v>
                </c:pt>
              </c:numCache>
            </c:numRef>
          </c:yVal>
          <c:bubbleSize>
            <c:numRef>
              <c:f>Sheet1!$C$2:$C$17</c:f>
              <c:numCache>
                <c:formatCode>General</c:formatCode>
                <c:ptCount val="16"/>
                <c:pt idx="0">
                  <c:v>3354.5148000000008</c:v>
                </c:pt>
                <c:pt idx="1">
                  <c:v>3249.0277999999998</c:v>
                </c:pt>
                <c:pt idx="2">
                  <c:v>4883.0576000000001</c:v>
                </c:pt>
                <c:pt idx="3">
                  <c:v>12278.337600000001</c:v>
                </c:pt>
                <c:pt idx="4">
                  <c:v>25437.459299999999</c:v>
                </c:pt>
                <c:pt idx="5">
                  <c:v>18105.7834</c:v>
                </c:pt>
                <c:pt idx="6">
                  <c:v>2650.6350000000002</c:v>
                </c:pt>
                <c:pt idx="7">
                  <c:v>2518.75</c:v>
                </c:pt>
                <c:pt idx="8">
                  <c:v>1537.248</c:v>
                </c:pt>
                <c:pt idx="9">
                  <c:v>7387.3650000000007</c:v>
                </c:pt>
                <c:pt idx="10">
                  <c:v>368051.65149999998</c:v>
                </c:pt>
                <c:pt idx="11">
                  <c:v>32173.861499999999</c:v>
                </c:pt>
                <c:pt idx="12">
                  <c:v>2753.3327999999992</c:v>
                </c:pt>
                <c:pt idx="13">
                  <c:v>5633.6952000000001</c:v>
                </c:pt>
                <c:pt idx="14">
                  <c:v>3490.2640999999999</c:v>
                </c:pt>
                <c:pt idx="15">
                  <c:v>1556.1465000000001</c:v>
                </c:pt>
              </c:numCache>
            </c:numRef>
          </c:bubbleSize>
          <c:bubble3D val="0"/>
          <c:extLst>
            <c:ext xmlns:c15="http://schemas.microsoft.com/office/drawing/2012/chart" uri="{02D57815-91ED-43cb-92C2-25804820EDAC}">
              <c15:datalabelsRange>
                <c15:f>Sheet1!$E$2:$E$50</c15:f>
                <c15:dlblRangeCache>
                  <c:ptCount val="49"/>
                  <c:pt idx="0">
                    <c:v>1/2 CHAMP NICOLAS BLC/BLC BS 1CT X 375ML</c:v>
                  </c:pt>
                  <c:pt idx="1">
                    <c:v>1/2 CHAMP NICOLAS ROSE 1E C BS 1CT X 375ML</c:v>
                  </c:pt>
                  <c:pt idx="2">
                    <c:v>MG CHAMPAGNE NICOLAS BLC/BL BS 1CT X 1500ML</c:v>
                  </c:pt>
                  <c:pt idx="3">
                    <c:v>MG CHAMPAGNE E.NICOLAS BRUT 1CT X 1500ML</c:v>
                  </c:pt>
                  <c:pt idx="4">
                    <c:v>CHAMPAGNE E.NICOLAS ROSE 1CT X 750ML</c:v>
                  </c:pt>
                  <c:pt idx="5">
                    <c:v>CHAMPAGNE NICOLAS 1ERE CUVEE 1CT X 750ML</c:v>
                  </c:pt>
                  <c:pt idx="6">
                    <c:v>MG CHAMPAGNE NICOLAS 1ERE CUVE 1CT X 1500ML</c:v>
                  </c:pt>
                  <c:pt idx="7">
                    <c:v>CHAMPAGNE NICOLAS BIO NAT 2017 1CT X 750ML</c:v>
                  </c:pt>
                  <c:pt idx="8">
                    <c:v>CHAMPAGNE NICOLAS BLC DE NOIRS 1CT X 750ML</c:v>
                  </c:pt>
                  <c:pt idx="9">
                    <c:v>1/2 CHAMPAGNE NICOLAS 1ERE CUV 1CT X 375ML</c:v>
                  </c:pt>
                  <c:pt idx="10">
                    <c:v>CHAMPAGNE E.NICOLAS BRUT 1CT X 750ML</c:v>
                  </c:pt>
                  <c:pt idx="11">
                    <c:v>CHAMPAGNE NICOLAS BLC/BLC BS 1CT X 750ML</c:v>
                  </c:pt>
                  <c:pt idx="12">
                    <c:v>CHAMPAGNE NICOLAS BLC/BLC 2002 1CT X 750ML</c:v>
                  </c:pt>
                  <c:pt idx="13">
                    <c:v>CHAMPAGNE NICOLAS ROSE 1ERE CU 1CT X 750ML</c:v>
                  </c:pt>
                  <c:pt idx="14">
                    <c:v>CHAMPAGNE NICOLAS 1ER CRU BS 1CT X 750ML</c:v>
                  </c:pt>
                  <c:pt idx="15">
                    <c:v>CHAMPAGNE NICOLAS 1ER CRU ETUI 1CT X 750ML</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6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233ABB7E-A421-48AE-9000-B0A902518F1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D518FC5A-044C-4584-9E6C-AF384CF1578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8059ADCB-2A91-4F42-850D-BFB60365A92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B94DD73B-6FA9-4502-B5B2-0BA21556AA0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B30ED386-820E-4872-B929-9F3C5C0BEAB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7381B750-7B60-4CEA-8CB9-804FC116454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9C9595E4-48A4-4D3C-96BE-0EA5BBE9B78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5-BFDA-4C69-8E79-A083B7EFBA29}"/>
                </c:ext>
              </c:extLst>
            </c:dLbl>
            <c:dLbl>
              <c:idx val="1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6-BFDA-4C69-8E79-A083B7EFBA29}"/>
                </c:ext>
              </c:extLst>
            </c:dLbl>
            <c:dLbl>
              <c:idx val="1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7-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16</c:f>
              <c:numCache>
                <c:formatCode>General</c:formatCode>
                <c:ptCount val="15"/>
                <c:pt idx="0">
                  <c:v>0.1051</c:v>
                </c:pt>
                <c:pt idx="1">
                  <c:v>0.1186</c:v>
                </c:pt>
                <c:pt idx="2">
                  <c:v>0.1236</c:v>
                </c:pt>
                <c:pt idx="3">
                  <c:v>1.77E-2</c:v>
                </c:pt>
                <c:pt idx="4">
                  <c:v>6.7999999999999996E-3</c:v>
                </c:pt>
                <c:pt idx="5">
                  <c:v>2.92E-2</c:v>
                </c:pt>
                <c:pt idx="6">
                  <c:v>0.13519999999999999</c:v>
                </c:pt>
                <c:pt idx="7">
                  <c:v>3.4200000000000001E-2</c:v>
                </c:pt>
                <c:pt idx="8">
                  <c:v>7.4700000000000003E-2</c:v>
                </c:pt>
                <c:pt idx="9">
                  <c:v>5.5E-2</c:v>
                </c:pt>
                <c:pt idx="10">
                  <c:v>4.4699999999999997E-2</c:v>
                </c:pt>
                <c:pt idx="11">
                  <c:v>9.6600000000000005E-2</c:v>
                </c:pt>
                <c:pt idx="12">
                  <c:v>0.21210000000000001</c:v>
                </c:pt>
                <c:pt idx="13">
                  <c:v>1.4999999999999999E-2</c:v>
                </c:pt>
                <c:pt idx="14">
                  <c:v>0.1195</c:v>
                </c:pt>
              </c:numCache>
            </c:numRef>
          </c:xVal>
          <c:yVal>
            <c:numRef>
              <c:f>Sheet1!$B$2:$B$16</c:f>
              <c:numCache>
                <c:formatCode>General</c:formatCode>
                <c:ptCount val="15"/>
                <c:pt idx="0">
                  <c:v>93.030303030303031</c:v>
                </c:pt>
                <c:pt idx="1">
                  <c:v>66.042553191489361</c:v>
                </c:pt>
                <c:pt idx="2">
                  <c:v>181.44444444444451</c:v>
                </c:pt>
                <c:pt idx="3">
                  <c:v>239.52500000000001</c:v>
                </c:pt>
                <c:pt idx="4">
                  <c:v>238.43055555555549</c:v>
                </c:pt>
                <c:pt idx="5">
                  <c:v>221.125</c:v>
                </c:pt>
                <c:pt idx="6">
                  <c:v>216.78571428571419</c:v>
                </c:pt>
                <c:pt idx="7">
                  <c:v>133.11538461538461</c:v>
                </c:pt>
                <c:pt idx="8">
                  <c:v>92.63636363636364</c:v>
                </c:pt>
                <c:pt idx="9">
                  <c:v>105.625</c:v>
                </c:pt>
                <c:pt idx="10">
                  <c:v>1794.81</c:v>
                </c:pt>
                <c:pt idx="11">
                  <c:v>265.66666666666669</c:v>
                </c:pt>
                <c:pt idx="12">
                  <c:v>106.21052631578949</c:v>
                </c:pt>
                <c:pt idx="13">
                  <c:v>85.72</c:v>
                </c:pt>
                <c:pt idx="14">
                  <c:v>82.030303030303031</c:v>
                </c:pt>
              </c:numCache>
            </c:numRef>
          </c:yVal>
          <c:bubbleSize>
            <c:numRef>
              <c:f>Sheet1!$C$2:$C$16</c:f>
              <c:numCache>
                <c:formatCode>General</c:formatCode>
                <c:ptCount val="15"/>
                <c:pt idx="0">
                  <c:v>1161.1782000000001</c:v>
                </c:pt>
                <c:pt idx="1">
                  <c:v>2279.9875999999999</c:v>
                </c:pt>
                <c:pt idx="2">
                  <c:v>3578.0381000000002</c:v>
                </c:pt>
                <c:pt idx="3">
                  <c:v>7842.5033999999996</c:v>
                </c:pt>
                <c:pt idx="4">
                  <c:v>14208.310600000001</c:v>
                </c:pt>
                <c:pt idx="5">
                  <c:v>12879.6119</c:v>
                </c:pt>
                <c:pt idx="6">
                  <c:v>1382.94</c:v>
                </c:pt>
                <c:pt idx="7">
                  <c:v>1860</c:v>
                </c:pt>
                <c:pt idx="8">
                  <c:v>2357.136</c:v>
                </c:pt>
                <c:pt idx="9">
                  <c:v>4658.1450000000004</c:v>
                </c:pt>
                <c:pt idx="10">
                  <c:v>142884.38889999999</c:v>
                </c:pt>
                <c:pt idx="11">
                  <c:v>12599.8182</c:v>
                </c:pt>
                <c:pt idx="12">
                  <c:v>1324.9998000000001</c:v>
                </c:pt>
                <c:pt idx="13">
                  <c:v>3518.0493999999999</c:v>
                </c:pt>
                <c:pt idx="14">
                  <c:v>1986.3320000000001</c:v>
                </c:pt>
              </c:numCache>
            </c:numRef>
          </c:bubbleSize>
          <c:bubble3D val="0"/>
          <c:extLst>
            <c:ext xmlns:c15="http://schemas.microsoft.com/office/drawing/2012/chart" uri="{02D57815-91ED-43cb-92C2-25804820EDAC}">
              <c15:datalabelsRange>
                <c15:f>Sheet1!$E$2:$E$50</c15:f>
                <c15:dlblRangeCache>
                  <c:ptCount val="49"/>
                  <c:pt idx="0">
                    <c:v>1/2 CHAMP NICOLAS BLC/BLC BS 1CT X 375ML</c:v>
                  </c:pt>
                  <c:pt idx="1">
                    <c:v>1/2 CHAMP NICOLAS ROSE 1E C BS 1CT X 375ML</c:v>
                  </c:pt>
                  <c:pt idx="2">
                    <c:v>MG CHAMPAGNE NICOLAS BLC/BL BS 1CT X 1500ML</c:v>
                  </c:pt>
                  <c:pt idx="3">
                    <c:v>MG CHAMPAGNE E.NICOLAS BRUT 1CT X 1500ML</c:v>
                  </c:pt>
                  <c:pt idx="4">
                    <c:v>CHAMPAGNE E.NICOLAS ROSE 1CT X 750ML</c:v>
                  </c:pt>
                  <c:pt idx="5">
                    <c:v>CHAMPAGNE NICOLAS 1ERE CUVEE 1CT X 750ML</c:v>
                  </c:pt>
                  <c:pt idx="6">
                    <c:v>MG CHAMPAGNE NICOLAS 1ERE CUVE 1CT X 1500ML</c:v>
                  </c:pt>
                  <c:pt idx="7">
                    <c:v>CHAMPAGNE NICOLAS BIO NAT 2017 1CT X 750ML</c:v>
                  </c:pt>
                  <c:pt idx="8">
                    <c:v>CHAMPAGNE NICOLAS BLC DE NOIRS 1CT X 750ML</c:v>
                  </c:pt>
                  <c:pt idx="9">
                    <c:v>1/2 CHAMPAGNE NICOLAS 1ERE CUV 1CT X 375ML</c:v>
                  </c:pt>
                  <c:pt idx="10">
                    <c:v>CHAMPAGNE E.NICOLAS BRUT 1CT X 750ML</c:v>
                  </c:pt>
                  <c:pt idx="11">
                    <c:v>CHAMPAGNE NICOLAS BLC/BLC BS 1CT X 750ML</c:v>
                  </c:pt>
                  <c:pt idx="12">
                    <c:v>CHAMPAGNE NICOLAS BLC/BLC 2002 1CT X 750ML</c:v>
                  </c:pt>
                  <c:pt idx="13">
                    <c:v>CHAMPAGNE NICOLAS ROSE 1ERE CU 1CT X 750ML</c:v>
                  </c:pt>
                  <c:pt idx="14">
                    <c:v>CHAMPAGNE NICOLAS 1ER CRU BS 1CT X 750ML</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6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1692EA84-0BD0-4595-8963-1D803BEC499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43620EC6-B5CA-4667-B4C9-8F346CCA390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0CEAE345-A672-45D2-9D49-75263DB9A86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2C555B37-1697-4BB6-89ED-3DB527E435E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A1E408FC-B1AD-4869-82C8-0A81C215B3C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0960714F-2A65-4786-A572-B9CC94FC8A3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9CD0F47D-B086-40A9-BF87-666EA3C11B3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10</c:f>
              <c:numCache>
                <c:formatCode>General</c:formatCode>
                <c:ptCount val="9"/>
                <c:pt idx="0">
                  <c:v>0.1099</c:v>
                </c:pt>
                <c:pt idx="1">
                  <c:v>5.33E-2</c:v>
                </c:pt>
                <c:pt idx="2">
                  <c:v>6.0000000000000001E-3</c:v>
                </c:pt>
                <c:pt idx="3">
                  <c:v>-1.66E-2</c:v>
                </c:pt>
                <c:pt idx="4">
                  <c:v>7.51E-2</c:v>
                </c:pt>
                <c:pt idx="5">
                  <c:v>3.39E-2</c:v>
                </c:pt>
                <c:pt idx="6">
                  <c:v>9.69E-2</c:v>
                </c:pt>
                <c:pt idx="7">
                  <c:v>5.9799999999999999E-2</c:v>
                </c:pt>
                <c:pt idx="8">
                  <c:v>6.3899999999999998E-2</c:v>
                </c:pt>
              </c:numCache>
            </c:numRef>
          </c:xVal>
          <c:yVal>
            <c:numRef>
              <c:f>Sheet1!$B$2:$B$10</c:f>
              <c:numCache>
                <c:formatCode>General</c:formatCode>
                <c:ptCount val="9"/>
                <c:pt idx="0">
                  <c:v>91.3125</c:v>
                </c:pt>
                <c:pt idx="1">
                  <c:v>92.722222222222229</c:v>
                </c:pt>
                <c:pt idx="2">
                  <c:v>165.33823529411771</c:v>
                </c:pt>
                <c:pt idx="3">
                  <c:v>128.18072289156629</c:v>
                </c:pt>
                <c:pt idx="4">
                  <c:v>73.235294117647058</c:v>
                </c:pt>
                <c:pt idx="5">
                  <c:v>1647.1</c:v>
                </c:pt>
                <c:pt idx="6">
                  <c:v>157.69642857142861</c:v>
                </c:pt>
                <c:pt idx="7">
                  <c:v>40</c:v>
                </c:pt>
                <c:pt idx="8">
                  <c:v>45.39473684210526</c:v>
                </c:pt>
              </c:numCache>
            </c:numRef>
          </c:yVal>
          <c:bubbleSize>
            <c:numRef>
              <c:f>Sheet1!$C$2:$C$10</c:f>
              <c:numCache>
                <c:formatCode>General</c:formatCode>
                <c:ptCount val="9"/>
                <c:pt idx="0">
                  <c:v>1083.7252000000001</c:v>
                </c:pt>
                <c:pt idx="1">
                  <c:v>2633.3339999999998</c:v>
                </c:pt>
                <c:pt idx="2">
                  <c:v>9312.4851000000017</c:v>
                </c:pt>
                <c:pt idx="3">
                  <c:v>9012.6797999999999</c:v>
                </c:pt>
                <c:pt idx="4">
                  <c:v>2878.755000000001</c:v>
                </c:pt>
                <c:pt idx="5">
                  <c:v>132610.51420000001</c:v>
                </c:pt>
                <c:pt idx="6">
                  <c:v>6645.877199999999</c:v>
                </c:pt>
                <c:pt idx="7">
                  <c:v>1472.9490000000001</c:v>
                </c:pt>
                <c:pt idx="8">
                  <c:v>1345.7064</c:v>
                </c:pt>
              </c:numCache>
            </c:numRef>
          </c:bubbleSize>
          <c:bubble3D val="0"/>
          <c:extLst>
            <c:ext xmlns:c15="http://schemas.microsoft.com/office/drawing/2012/chart" uri="{02D57815-91ED-43cb-92C2-25804820EDAC}">
              <c15:datalabelsRange>
                <c15:f>Sheet1!$E$2:$E$50</c15:f>
                <c15:dlblRangeCache>
                  <c:ptCount val="49"/>
                  <c:pt idx="0">
                    <c:v>MG CHAMPAGNE NICOLAS BLC/BL BS 1CT X 1500ML</c:v>
                  </c:pt>
                  <c:pt idx="1">
                    <c:v>MG CHAMPAGNE E.NICOLAS BRUT 1CT X 1500ML</c:v>
                  </c:pt>
                  <c:pt idx="2">
                    <c:v>CHAMPAGNE E.NICOLAS ROSE 1CT X 750ML</c:v>
                  </c:pt>
                  <c:pt idx="3">
                    <c:v>CHAMPAGNE NICOLAS 1ERE CUVEE 1CT X 750ML</c:v>
                  </c:pt>
                  <c:pt idx="4">
                    <c:v>1/2 CHAMPAGNE NICOLAS 1ERE CUV 1CT X 375ML</c:v>
                  </c:pt>
                  <c:pt idx="5">
                    <c:v>CHAMPAGNE E.NICOLAS BRUT 1CT X 750ML</c:v>
                  </c:pt>
                  <c:pt idx="6">
                    <c:v>CHAMPAGNE NICOLAS BLC/BLC BS 1CT X 750ML</c:v>
                  </c:pt>
                  <c:pt idx="7">
                    <c:v>CHAMPAGNE NICOLAS ROSE 1ERE CU 1CT X 750ML</c:v>
                  </c:pt>
                  <c:pt idx="8">
                    <c:v>CHAMPAGNE NICOLAS 1ER CRU BS 1CT X 750ML</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6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533438B1-C416-48F5-8D9C-7D00611E9A8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CC139971-E433-4084-8925-FD3036DABA5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2E7810E7-1D41-4DA9-96F1-E9A38FF6DE2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48500374-9F48-4C1C-B98E-DFB92E9C97F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24968239-7E5D-4C12-8256-0FFBA69A002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37470774-4AE4-49A9-97FD-2D7CDDE53AB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FB166A50-D6B9-4E3D-A123-8223741F502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11</c:f>
              <c:numCache>
                <c:formatCode>General</c:formatCode>
                <c:ptCount val="10"/>
                <c:pt idx="0">
                  <c:v>9.3700000000000006E-2</c:v>
                </c:pt>
                <c:pt idx="1">
                  <c:v>2.0000000000000001E-4</c:v>
                </c:pt>
                <c:pt idx="2">
                  <c:v>-2.8000000000000001E-2</c:v>
                </c:pt>
                <c:pt idx="3">
                  <c:v>5.3699999999999998E-2</c:v>
                </c:pt>
                <c:pt idx="4">
                  <c:v>4.4499999999999998E-2</c:v>
                </c:pt>
                <c:pt idx="5">
                  <c:v>4.02E-2</c:v>
                </c:pt>
                <c:pt idx="6">
                  <c:v>6.1899999999999997E-2</c:v>
                </c:pt>
                <c:pt idx="7">
                  <c:v>1.84E-2</c:v>
                </c:pt>
                <c:pt idx="8">
                  <c:v>9.8900000000000002E-2</c:v>
                </c:pt>
                <c:pt idx="9">
                  <c:v>0.14449999999999999</c:v>
                </c:pt>
              </c:numCache>
            </c:numRef>
          </c:xVal>
          <c:yVal>
            <c:numRef>
              <c:f>Sheet1!$B$2:$B$11</c:f>
              <c:numCache>
                <c:formatCode>General</c:formatCode>
                <c:ptCount val="10"/>
                <c:pt idx="0">
                  <c:v>56.647058823529413</c:v>
                </c:pt>
                <c:pt idx="1">
                  <c:v>69.28125</c:v>
                </c:pt>
                <c:pt idx="2">
                  <c:v>197.51351351351349</c:v>
                </c:pt>
                <c:pt idx="3">
                  <c:v>54.000000000000007</c:v>
                </c:pt>
                <c:pt idx="4">
                  <c:v>88.074074074074076</c:v>
                </c:pt>
                <c:pt idx="5">
                  <c:v>55.523809523809533</c:v>
                </c:pt>
                <c:pt idx="6">
                  <c:v>35.32</c:v>
                </c:pt>
                <c:pt idx="7">
                  <c:v>1057.96</c:v>
                </c:pt>
                <c:pt idx="8">
                  <c:v>192.4651162790698</c:v>
                </c:pt>
                <c:pt idx="9">
                  <c:v>56.44</c:v>
                </c:pt>
              </c:numCache>
            </c:numRef>
          </c:yVal>
          <c:bubbleSize>
            <c:numRef>
              <c:f>Sheet1!$C$2:$C$11</c:f>
              <c:numCache>
                <c:formatCode>General</c:formatCode>
                <c:ptCount val="10"/>
                <c:pt idx="0">
                  <c:v>1454.5848000000001</c:v>
                </c:pt>
                <c:pt idx="1">
                  <c:v>1847.0841</c:v>
                </c:pt>
                <c:pt idx="2">
                  <c:v>12520.8133</c:v>
                </c:pt>
                <c:pt idx="3">
                  <c:v>2427.2689</c:v>
                </c:pt>
                <c:pt idx="4">
                  <c:v>1278.75</c:v>
                </c:pt>
                <c:pt idx="5">
                  <c:v>1865.3040000000001</c:v>
                </c:pt>
                <c:pt idx="6">
                  <c:v>1380.615</c:v>
                </c:pt>
                <c:pt idx="7">
                  <c:v>86540.523000000016</c:v>
                </c:pt>
                <c:pt idx="8">
                  <c:v>6214.7007000000003</c:v>
                </c:pt>
                <c:pt idx="9">
                  <c:v>1005.984</c:v>
                </c:pt>
              </c:numCache>
            </c:numRef>
          </c:bubbleSize>
          <c:bubble3D val="0"/>
          <c:extLst>
            <c:ext xmlns:c15="http://schemas.microsoft.com/office/drawing/2012/chart" uri="{02D57815-91ED-43cb-92C2-25804820EDAC}">
              <c15:datalabelsRange>
                <c15:f>Sheet1!$E$2:$E$50</c15:f>
                <c15:dlblRangeCache>
                  <c:ptCount val="49"/>
                  <c:pt idx="0">
                    <c:v>1/2 CHAMP NICOLAS ROSE 1E C BS 1CT X 375ML</c:v>
                  </c:pt>
                  <c:pt idx="1">
                    <c:v>MG CHAMPAGNE E.NICOLAS BRUT 1CT X 1500ML</c:v>
                  </c:pt>
                  <c:pt idx="2">
                    <c:v>CHAMPAGNE E.NICOLAS ROSE 1CT X 750ML</c:v>
                  </c:pt>
                  <c:pt idx="3">
                    <c:v>CHAMPAGNE NICOLAS 1ERE CUVEE 1CT X 750ML</c:v>
                  </c:pt>
                  <c:pt idx="4">
                    <c:v>CHAMPAGNE NICOLAS BIO NAT 2017 1CT X 750ML</c:v>
                  </c:pt>
                  <c:pt idx="5">
                    <c:v>CHAMPAGNE NICOLAS BLC DE NOIRS 1CT X 750ML</c:v>
                  </c:pt>
                  <c:pt idx="6">
                    <c:v>1/2 CHAMPAGNE NICOLAS 1ERE CUV 1CT X 375ML</c:v>
                  </c:pt>
                  <c:pt idx="7">
                    <c:v>CHAMPAGNE E.NICOLAS BRUT 1CT X 750ML</c:v>
                  </c:pt>
                  <c:pt idx="8">
                    <c:v>CHAMPAGNE NICOLAS BLC/BLC BS 1CT X 750ML</c:v>
                  </c:pt>
                  <c:pt idx="9">
                    <c:v>CHAMPAGNE NICOLAS ROSE 1ERE CU 1CT X 750ML</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Nicolas</c:v>
                </c:pt>
                <c:pt idx="2">
                  <c:v>Deutz</c:v>
                </c:pt>
                <c:pt idx="3">
                  <c:v>Laurent Perrier</c:v>
                </c:pt>
                <c:pt idx="4">
                  <c:v>Malard</c:v>
                </c:pt>
                <c:pt idx="5">
                  <c:v>Nicolas Feuillatte</c:v>
                </c:pt>
                <c:pt idx="6">
                  <c:v>Roederer</c:v>
                </c:pt>
                <c:pt idx="7">
                  <c:v>Heidsieck &amp; Co Monopole</c:v>
                </c:pt>
                <c:pt idx="8">
                  <c:v>Ayala</c:v>
                </c:pt>
                <c:pt idx="9">
                  <c:v>Others</c:v>
                </c:pt>
              </c:strCache>
            </c:strRef>
          </c:cat>
          <c:val>
            <c:numRef>
              <c:f>Sheet1!$B$2:$B$11</c:f>
              <c:numCache>
                <c:formatCode>General</c:formatCode>
                <c:ptCount val="10"/>
                <c:pt idx="0">
                  <c:v>0.22939819699536462</c:v>
                </c:pt>
                <c:pt idx="1">
                  <c:v>8.0770938531111253E-2</c:v>
                </c:pt>
                <c:pt idx="2">
                  <c:v>7.3795554835125482E-2</c:v>
                </c:pt>
                <c:pt idx="3">
                  <c:v>5.1328184110547605E-2</c:v>
                </c:pt>
                <c:pt idx="4">
                  <c:v>5.0281270078900236E-2</c:v>
                </c:pt>
                <c:pt idx="5">
                  <c:v>3.5643509986761746E-2</c:v>
                </c:pt>
                <c:pt idx="6">
                  <c:v>3.0627697984391515E-2</c:v>
                </c:pt>
                <c:pt idx="7">
                  <c:v>2.9662557124241352E-2</c:v>
                </c:pt>
                <c:pt idx="8">
                  <c:v>2.8456104402425814E-2</c:v>
                </c:pt>
                <c:pt idx="9">
                  <c:v>0.39003598595113043</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Nicolas</c:v>
                </c:pt>
                <c:pt idx="2">
                  <c:v>Deutz</c:v>
                </c:pt>
                <c:pt idx="3">
                  <c:v>Laurent Perrier</c:v>
                </c:pt>
                <c:pt idx="4">
                  <c:v>Malard</c:v>
                </c:pt>
                <c:pt idx="5">
                  <c:v>Nicolas Feuillatte</c:v>
                </c:pt>
                <c:pt idx="6">
                  <c:v>Roederer</c:v>
                </c:pt>
                <c:pt idx="7">
                  <c:v>Heidsieck &amp; Co Monopole</c:v>
                </c:pt>
                <c:pt idx="8">
                  <c:v>Ayala</c:v>
                </c:pt>
                <c:pt idx="9">
                  <c:v>Others</c:v>
                </c:pt>
              </c:strCache>
            </c:strRef>
          </c:cat>
          <c:val>
            <c:numRef>
              <c:f>Sheet1!$C$2:$C$11</c:f>
              <c:numCache>
                <c:formatCode>General</c:formatCode>
                <c:ptCount val="10"/>
                <c:pt idx="0">
                  <c:v>9.3624497991967592E-2</c:v>
                </c:pt>
                <c:pt idx="1">
                  <c:v>7.2038152610441566E-2</c:v>
                </c:pt>
                <c:pt idx="2">
                  <c:v>4.894578313252998E-2</c:v>
                </c:pt>
                <c:pt idx="3">
                  <c:v>3.9909638554216739E-2</c:v>
                </c:pt>
                <c:pt idx="4">
                  <c:v>4.7314257028112316E-2</c:v>
                </c:pt>
                <c:pt idx="5">
                  <c:v>3.4513052208835243E-2</c:v>
                </c:pt>
                <c:pt idx="6">
                  <c:v>4.267068273092358E-2</c:v>
                </c:pt>
                <c:pt idx="7">
                  <c:v>1.2173694779116433E-2</c:v>
                </c:pt>
                <c:pt idx="8">
                  <c:v>1.7570281124497947E-2</c:v>
                </c:pt>
                <c:pt idx="9">
                  <c:v>0.59123995983935596</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Nicolas</c:v>
                </c:pt>
                <c:pt idx="2">
                  <c:v>Deutz</c:v>
                </c:pt>
                <c:pt idx="3">
                  <c:v>Laurent Perrier</c:v>
                </c:pt>
                <c:pt idx="4">
                  <c:v>Malard</c:v>
                </c:pt>
                <c:pt idx="5">
                  <c:v>Nicolas Feuillatte</c:v>
                </c:pt>
                <c:pt idx="6">
                  <c:v>Roederer</c:v>
                </c:pt>
                <c:pt idx="7">
                  <c:v>Heidsieck &amp; Co Monopole</c:v>
                </c:pt>
                <c:pt idx="8">
                  <c:v>Ayala</c:v>
                </c:pt>
                <c:pt idx="9">
                  <c:v>Others</c:v>
                </c:pt>
              </c:strCache>
            </c:strRef>
          </c:cat>
          <c:val>
            <c:numRef>
              <c:f>Sheet1!$D$2:$D$11</c:f>
              <c:numCache>
                <c:formatCode>General</c:formatCode>
                <c:ptCount val="10"/>
                <c:pt idx="0">
                  <c:v>40.81309235131409</c:v>
                </c:pt>
                <c:pt idx="1">
                  <c:v>89.188207937801792</c:v>
                </c:pt>
                <c:pt idx="2">
                  <c:v>66.326194364802831</c:v>
                </c:pt>
                <c:pt idx="3">
                  <c:v>77.753848583970395</c:v>
                </c:pt>
                <c:pt idx="4">
                  <c:v>94.099168445562029</c:v>
                </c:pt>
                <c:pt idx="5">
                  <c:v>96.828433062999792</c:v>
                </c:pt>
                <c:pt idx="6">
                  <c:v>139.32056778367544</c:v>
                </c:pt>
                <c:pt idx="7">
                  <c:v>41.040611327361368</c:v>
                </c:pt>
                <c:pt idx="8">
                  <c:v>61.745208957695986</c:v>
                </c:pt>
                <c:pt idx="9">
                  <c:v>151.58600260885552</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3C27BEAF-29B1-4675-A689-2211BD5531A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020E156E-3FF7-4168-8EA9-1D3318F001A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3F90A428-129F-4AFD-A674-A34F8D2AAC1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2EEDAAEB-A053-4B79-96B7-8E6EB7F2274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F5DBE567-4F19-481D-9FF8-882AFD4902B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95C346C9-8B83-42ED-B542-CEDBB51E1A2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942205EC-1BDB-4995-910E-B8F86FB864D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5-BFDA-4C69-8E79-A083B7EFBA29}"/>
                </c:ext>
              </c:extLst>
            </c:dLbl>
            <c:dLbl>
              <c:idx val="1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6-BFDA-4C69-8E79-A083B7EFBA29}"/>
                </c:ext>
              </c:extLst>
            </c:dLbl>
            <c:dLbl>
              <c:idx val="1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7-BFDA-4C69-8E79-A083B7EFBA29}"/>
                </c:ext>
              </c:extLst>
            </c:dLbl>
            <c:dLbl>
              <c:idx val="1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8-BFDA-4C69-8E79-A083B7EFBA29}"/>
                </c:ext>
              </c:extLst>
            </c:dLbl>
            <c:dLbl>
              <c:idx val="1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9-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18</c:f>
              <c:numCache>
                <c:formatCode>General</c:formatCode>
                <c:ptCount val="17"/>
                <c:pt idx="0">
                  <c:v>8.2100000000000006E-2</c:v>
                </c:pt>
                <c:pt idx="1">
                  <c:v>7.2700000000000001E-2</c:v>
                </c:pt>
                <c:pt idx="2">
                  <c:v>8.3199999999999996E-2</c:v>
                </c:pt>
                <c:pt idx="3">
                  <c:v>2.5000000000000001E-3</c:v>
                </c:pt>
                <c:pt idx="4">
                  <c:v>-3.8999999999999998E-3</c:v>
                </c:pt>
                <c:pt idx="5">
                  <c:v>-2.7699999999999999E-2</c:v>
                </c:pt>
                <c:pt idx="6">
                  <c:v>0.1125</c:v>
                </c:pt>
                <c:pt idx="7">
                  <c:v>3.0999999999999999E-3</c:v>
                </c:pt>
                <c:pt idx="8">
                  <c:v>3.3000000000000002E-2</c:v>
                </c:pt>
                <c:pt idx="9">
                  <c:v>0.1081</c:v>
                </c:pt>
                <c:pt idx="10">
                  <c:v>2.9000000000000001E-2</c:v>
                </c:pt>
                <c:pt idx="11">
                  <c:v>3.8600000000000002E-2</c:v>
                </c:pt>
                <c:pt idx="12">
                  <c:v>8.1100000000000005E-2</c:v>
                </c:pt>
                <c:pt idx="13">
                  <c:v>7.0199999999999999E-2</c:v>
                </c:pt>
                <c:pt idx="14">
                  <c:v>3.2800000000000003E-2</c:v>
                </c:pt>
                <c:pt idx="15">
                  <c:v>4.2099999999999999E-2</c:v>
                </c:pt>
                <c:pt idx="16">
                  <c:v>8.5000000000000006E-2</c:v>
                </c:pt>
              </c:numCache>
            </c:numRef>
          </c:xVal>
          <c:yVal>
            <c:numRef>
              <c:f>Sheet1!$B$2:$B$18</c:f>
              <c:numCache>
                <c:formatCode>General</c:formatCode>
                <c:ptCount val="17"/>
                <c:pt idx="0">
                  <c:v>443.71428571428572</c:v>
                </c:pt>
                <c:pt idx="1">
                  <c:v>325.47619047619048</c:v>
                </c:pt>
                <c:pt idx="2">
                  <c:v>697.86956521739125</c:v>
                </c:pt>
                <c:pt idx="3">
                  <c:v>784.41176470588232</c:v>
                </c:pt>
                <c:pt idx="4">
                  <c:v>1000.931506849315</c:v>
                </c:pt>
                <c:pt idx="5">
                  <c:v>757.83333333333337</c:v>
                </c:pt>
                <c:pt idx="6">
                  <c:v>369.25</c:v>
                </c:pt>
                <c:pt idx="7">
                  <c:v>502.89285714285711</c:v>
                </c:pt>
                <c:pt idx="8">
                  <c:v>431.2</c:v>
                </c:pt>
                <c:pt idx="9">
                  <c:v>377.28571428571422</c:v>
                </c:pt>
                <c:pt idx="10">
                  <c:v>511.97674418604652</c:v>
                </c:pt>
                <c:pt idx="11">
                  <c:v>10463.09</c:v>
                </c:pt>
                <c:pt idx="12">
                  <c:v>1545.1</c:v>
                </c:pt>
                <c:pt idx="13">
                  <c:v>905.142857142857</c:v>
                </c:pt>
                <c:pt idx="14">
                  <c:v>364.28571428571428</c:v>
                </c:pt>
                <c:pt idx="15">
                  <c:v>148.58064516129031</c:v>
                </c:pt>
                <c:pt idx="16">
                  <c:v>207.47619047619051</c:v>
                </c:pt>
              </c:numCache>
            </c:numRef>
          </c:yVal>
          <c:bubbleSize>
            <c:numRef>
              <c:f>Sheet1!$C$2:$C$18</c:f>
              <c:numCache>
                <c:formatCode>General</c:formatCode>
                <c:ptCount val="17"/>
                <c:pt idx="0">
                  <c:v>6561.5784000000003</c:v>
                </c:pt>
                <c:pt idx="1">
                  <c:v>10563.1468</c:v>
                </c:pt>
                <c:pt idx="2">
                  <c:v>12262.8586</c:v>
                </c:pt>
                <c:pt idx="3">
                  <c:v>22168.7595</c:v>
                </c:pt>
                <c:pt idx="4">
                  <c:v>61124.902199999997</c:v>
                </c:pt>
                <c:pt idx="5">
                  <c:v>58409.179300000011</c:v>
                </c:pt>
                <c:pt idx="6">
                  <c:v>3975.9524999999999</c:v>
                </c:pt>
                <c:pt idx="7">
                  <c:v>7285</c:v>
                </c:pt>
                <c:pt idx="8">
                  <c:v>8686.6008000000002</c:v>
                </c:pt>
                <c:pt idx="9">
                  <c:v>3926.0473999999999</c:v>
                </c:pt>
                <c:pt idx="10">
                  <c:v>17814.044999999998</c:v>
                </c:pt>
                <c:pt idx="11">
                  <c:v>838278.9384000001</c:v>
                </c:pt>
                <c:pt idx="12">
                  <c:v>82824.232499999998</c:v>
                </c:pt>
                <c:pt idx="13">
                  <c:v>4909.1655000000001</c:v>
                </c:pt>
                <c:pt idx="14">
                  <c:v>12331.8794</c:v>
                </c:pt>
                <c:pt idx="15">
                  <c:v>3676.8560000000002</c:v>
                </c:pt>
                <c:pt idx="16">
                  <c:v>3322.1214</c:v>
                </c:pt>
              </c:numCache>
            </c:numRef>
          </c:bubbleSize>
          <c:bubble3D val="0"/>
          <c:extLst>
            <c:ext xmlns:c15="http://schemas.microsoft.com/office/drawing/2012/chart" uri="{02D57815-91ED-43cb-92C2-25804820EDAC}">
              <c15:datalabelsRange>
                <c15:f>Sheet1!$E$2:$E$50</c15:f>
                <c15:dlblRangeCache>
                  <c:ptCount val="49"/>
                  <c:pt idx="0">
                    <c:v>1/2 CHAMP NICOLAS BLC/BLC BS 1CT X 375ML</c:v>
                  </c:pt>
                  <c:pt idx="1">
                    <c:v>1/2 CHAMP NICOLAS ROSE 1E C BS 1CT X 375ML</c:v>
                  </c:pt>
                  <c:pt idx="2">
                    <c:v>MG CHAMPAGNE NICOLAS BLC/BL BS 1CT X 1500ML</c:v>
                  </c:pt>
                  <c:pt idx="3">
                    <c:v>MG CHAMPAGNE E.NICOLAS BRUT 1CT X 1500ML</c:v>
                  </c:pt>
                  <c:pt idx="4">
                    <c:v>CHAMPAGNE E.NICOLAS ROSE 1CT X 750ML</c:v>
                  </c:pt>
                  <c:pt idx="5">
                    <c:v>CHAMPAGNE NICOLAS 1ERE CUVEE 1CT X 750ML</c:v>
                  </c:pt>
                  <c:pt idx="6">
                    <c:v>MG CHAMPAGNE NICOLAS 1ERE CUVE 1CT X 1500ML</c:v>
                  </c:pt>
                  <c:pt idx="7">
                    <c:v>CHAMPAGNE NICOLAS BIO NAT 2017 1CT X 750ML</c:v>
                  </c:pt>
                  <c:pt idx="8">
                    <c:v>CHAMPAGNE NICOLAS BLC DE NOIRS 1CT X 750ML</c:v>
                  </c:pt>
                  <c:pt idx="9">
                    <c:v>CHAMPAGNE NICOLAS ROSE 1ERE ET 1CT X 750ML</c:v>
                  </c:pt>
                  <c:pt idx="10">
                    <c:v>1/2 CHAMPAGNE NICOLAS 1ERE CUV 1CT X 375ML</c:v>
                  </c:pt>
                  <c:pt idx="11">
                    <c:v>CHAMPAGNE E.NICOLAS BRUT 1CT X 750ML</c:v>
                  </c:pt>
                  <c:pt idx="12">
                    <c:v>CHAMPAGNE NICOLAS BLC/BLC BS 1CT X 750ML</c:v>
                  </c:pt>
                  <c:pt idx="13">
                    <c:v>CHAMPAGNE NICOLAS BLC/BLC 2002 1CT X 750ML</c:v>
                  </c:pt>
                  <c:pt idx="14">
                    <c:v>CHAMPAGNE NICOLAS ROSE 1ERE CU 1CT X 750ML</c:v>
                  </c:pt>
                  <c:pt idx="15">
                    <c:v>CHAMPAGNE NICOLAS 1ER CRU BS 1CT X 750ML</c:v>
                  </c:pt>
                  <c:pt idx="16">
                    <c:v>CHAMPAGNE NICOLAS 1ER CRU ETUI 1CT X 750ML</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7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DFB2F339-6F8B-4D78-AE89-F63A8DD3721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280A263A-F3F4-4DA5-AE6D-F1FFE0D8B40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5A266FA6-BEDE-4108-88F5-D34CBE61D27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D3C55D48-7023-4DB5-B0BB-6C21CC4AD61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24198F28-083D-4E51-B697-5AB4D8B52B8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A0275C15-AFBF-4FEB-8F32-453060D2CAD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4D6A0AD7-6C07-4343-BFEE-F4C9FB3D5CE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5-BFDA-4C69-8E79-A083B7EFBA29}"/>
                </c:ext>
              </c:extLst>
            </c:dLbl>
            <c:dLbl>
              <c:idx val="1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6-BFDA-4C69-8E79-A083B7EFBA29}"/>
                </c:ext>
              </c:extLst>
            </c:dLbl>
            <c:dLbl>
              <c:idx val="1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7-BFDA-4C69-8E79-A083B7EFBA29}"/>
                </c:ext>
              </c:extLst>
            </c:dLbl>
            <c:dLbl>
              <c:idx val="1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8-BFDA-4C69-8E79-A083B7EFBA29}"/>
                </c:ext>
              </c:extLst>
            </c:dLbl>
            <c:dLbl>
              <c:idx val="1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9-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18</c:f>
              <c:numCache>
                <c:formatCode>General</c:formatCode>
                <c:ptCount val="17"/>
                <c:pt idx="0">
                  <c:v>9.3399999999999997E-2</c:v>
                </c:pt>
                <c:pt idx="1">
                  <c:v>8.6699999999999999E-2</c:v>
                </c:pt>
                <c:pt idx="2">
                  <c:v>0.1007</c:v>
                </c:pt>
                <c:pt idx="3">
                  <c:v>2.3599999999999999E-2</c:v>
                </c:pt>
                <c:pt idx="4">
                  <c:v>3.0999999999999999E-3</c:v>
                </c:pt>
                <c:pt idx="5">
                  <c:v>-3.0800000000000001E-2</c:v>
                </c:pt>
                <c:pt idx="6">
                  <c:v>0.1338</c:v>
                </c:pt>
                <c:pt idx="7">
                  <c:v>1.4200000000000001E-2</c:v>
                </c:pt>
                <c:pt idx="8">
                  <c:v>4.9299999999999997E-2</c:v>
                </c:pt>
                <c:pt idx="9">
                  <c:v>0.15390000000000001</c:v>
                </c:pt>
                <c:pt idx="10">
                  <c:v>3.2199999999999999E-2</c:v>
                </c:pt>
                <c:pt idx="11">
                  <c:v>3.95E-2</c:v>
                </c:pt>
                <c:pt idx="12">
                  <c:v>8.3299999999999999E-2</c:v>
                </c:pt>
                <c:pt idx="13">
                  <c:v>9.7799999999999998E-2</c:v>
                </c:pt>
                <c:pt idx="14">
                  <c:v>7.0400000000000004E-2</c:v>
                </c:pt>
                <c:pt idx="15">
                  <c:v>4.7899999999999998E-2</c:v>
                </c:pt>
                <c:pt idx="16">
                  <c:v>6.83E-2</c:v>
                </c:pt>
              </c:numCache>
            </c:numRef>
          </c:xVal>
          <c:yVal>
            <c:numRef>
              <c:f>Sheet1!$B$2:$B$18</c:f>
              <c:numCache>
                <c:formatCode>General</c:formatCode>
                <c:ptCount val="17"/>
                <c:pt idx="0">
                  <c:v>226.33333333333329</c:v>
                </c:pt>
                <c:pt idx="1">
                  <c:v>210.625</c:v>
                </c:pt>
                <c:pt idx="2">
                  <c:v>456.84210526315792</c:v>
                </c:pt>
                <c:pt idx="3">
                  <c:v>461.28571428571428</c:v>
                </c:pt>
                <c:pt idx="4">
                  <c:v>516.91999999999996</c:v>
                </c:pt>
                <c:pt idx="5">
                  <c:v>361.03296703296701</c:v>
                </c:pt>
                <c:pt idx="6">
                  <c:v>409.58333333333331</c:v>
                </c:pt>
                <c:pt idx="7">
                  <c:v>378.90476190476193</c:v>
                </c:pt>
                <c:pt idx="8">
                  <c:v>256.38095238095241</c:v>
                </c:pt>
                <c:pt idx="9">
                  <c:v>176.1875</c:v>
                </c:pt>
                <c:pt idx="10">
                  <c:v>364.95555555555558</c:v>
                </c:pt>
                <c:pt idx="11">
                  <c:v>6289.38</c:v>
                </c:pt>
                <c:pt idx="12">
                  <c:v>791.89855072463763</c:v>
                </c:pt>
                <c:pt idx="13">
                  <c:v>578.6</c:v>
                </c:pt>
                <c:pt idx="14">
                  <c:v>272.1875</c:v>
                </c:pt>
                <c:pt idx="15">
                  <c:v>103.7045454545455</c:v>
                </c:pt>
                <c:pt idx="16">
                  <c:v>210.52173913043481</c:v>
                </c:pt>
              </c:numCache>
            </c:numRef>
          </c:yVal>
          <c:bubbleSize>
            <c:numRef>
              <c:f>Sheet1!$C$2:$C$18</c:f>
              <c:numCache>
                <c:formatCode>General</c:formatCode>
                <c:ptCount val="17"/>
                <c:pt idx="0">
                  <c:v>2746.2786000000001</c:v>
                </c:pt>
                <c:pt idx="1">
                  <c:v>5129.5136000000002</c:v>
                </c:pt>
                <c:pt idx="2">
                  <c:v>6504.7816999999995</c:v>
                </c:pt>
                <c:pt idx="3">
                  <c:v>7881.6701999999996</c:v>
                </c:pt>
                <c:pt idx="4">
                  <c:v>32208.281800000001</c:v>
                </c:pt>
                <c:pt idx="5">
                  <c:v>28222.456399999999</c:v>
                </c:pt>
                <c:pt idx="6">
                  <c:v>2016.7874999999999</c:v>
                </c:pt>
                <c:pt idx="7">
                  <c:v>3681.25</c:v>
                </c:pt>
                <c:pt idx="8">
                  <c:v>4265.3556000000008</c:v>
                </c:pt>
                <c:pt idx="9">
                  <c:v>1987.6420000000001</c:v>
                </c:pt>
                <c:pt idx="10">
                  <c:v>13245.51</c:v>
                </c:pt>
                <c:pt idx="11">
                  <c:v>503437.10680000001</c:v>
                </c:pt>
                <c:pt idx="12">
                  <c:v>41743.224000000002</c:v>
                </c:pt>
                <c:pt idx="13">
                  <c:v>2174.9994000000002</c:v>
                </c:pt>
                <c:pt idx="14">
                  <c:v>6747.2982000000002</c:v>
                </c:pt>
                <c:pt idx="15">
                  <c:v>3620.4369999999999</c:v>
                </c:pt>
                <c:pt idx="16">
                  <c:v>3759.2235000000001</c:v>
                </c:pt>
              </c:numCache>
            </c:numRef>
          </c:bubbleSize>
          <c:bubble3D val="0"/>
          <c:extLst>
            <c:ext xmlns:c15="http://schemas.microsoft.com/office/drawing/2012/chart" uri="{02D57815-91ED-43cb-92C2-25804820EDAC}">
              <c15:datalabelsRange>
                <c15:f>Sheet1!$E$2:$E$50</c15:f>
                <c15:dlblRangeCache>
                  <c:ptCount val="49"/>
                  <c:pt idx="0">
                    <c:v>1/2 CHAMP NICOLAS BLC/BLC BS 1CT X 375ML</c:v>
                  </c:pt>
                  <c:pt idx="1">
                    <c:v>1/2 CHAMP NICOLAS ROSE 1E C BS 1CT X 375ML</c:v>
                  </c:pt>
                  <c:pt idx="2">
                    <c:v>MG CHAMPAGNE NICOLAS BLC/BL BS 1CT X 1500ML</c:v>
                  </c:pt>
                  <c:pt idx="3">
                    <c:v>MG CHAMPAGNE E.NICOLAS BRUT 1CT X 1500ML</c:v>
                  </c:pt>
                  <c:pt idx="4">
                    <c:v>CHAMPAGNE E.NICOLAS ROSE 1CT X 750ML</c:v>
                  </c:pt>
                  <c:pt idx="5">
                    <c:v>CHAMPAGNE NICOLAS 1ERE CUVEE 1CT X 750ML</c:v>
                  </c:pt>
                  <c:pt idx="6">
                    <c:v>MG CHAMPAGNE NICOLAS 1ERE CUVE 1CT X 1500ML</c:v>
                  </c:pt>
                  <c:pt idx="7">
                    <c:v>CHAMPAGNE NICOLAS BIO NAT 2017 1CT X 750ML</c:v>
                  </c:pt>
                  <c:pt idx="8">
                    <c:v>CHAMPAGNE NICOLAS BLC DE NOIRS 1CT X 750ML</c:v>
                  </c:pt>
                  <c:pt idx="9">
                    <c:v>CHAMPAGNE NICOLAS ROSE 1ERE ET 1CT X 750ML</c:v>
                  </c:pt>
                  <c:pt idx="10">
                    <c:v>1/2 CHAMPAGNE NICOLAS 1ERE CUV 1CT X 375ML</c:v>
                  </c:pt>
                  <c:pt idx="11">
                    <c:v>CHAMPAGNE E.NICOLAS BRUT 1CT X 750ML</c:v>
                  </c:pt>
                  <c:pt idx="12">
                    <c:v>CHAMPAGNE NICOLAS BLC/BLC BS 1CT X 750ML</c:v>
                  </c:pt>
                  <c:pt idx="13">
                    <c:v>CHAMPAGNE NICOLAS BLC/BLC 2002 1CT X 750ML</c:v>
                  </c:pt>
                  <c:pt idx="14">
                    <c:v>CHAMPAGNE NICOLAS ROSE 1ERE CU 1CT X 750ML</c:v>
                  </c:pt>
                  <c:pt idx="15">
                    <c:v>CHAMPAGNE NICOLAS 1ER CRU BS 1CT X 750ML</c:v>
                  </c:pt>
                  <c:pt idx="16">
                    <c:v>CHAMPAGNE NICOLAS 1ER CRU ETUI 1CT X 750ML</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7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439B0B0E-CE38-483B-B65C-8B05B816440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8ADE23FA-D92A-42C3-BA37-7AADF12D21E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F7801448-B079-4308-BA17-85884414233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BF5FB39F-BCC3-4A2C-B319-92DC9057B1C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4EE25EA2-5AA0-442F-BC91-6E5DF0B6CE4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82CFBB97-01EF-4682-BD02-DCF08E30726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9D90182A-0241-477A-A98B-5F1EB7C4427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5-BFDA-4C69-8E79-A083B7EFBA29}"/>
                </c:ext>
              </c:extLst>
            </c:dLbl>
            <c:dLbl>
              <c:idx val="1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6-BFDA-4C69-8E79-A083B7EFBA29}"/>
                </c:ext>
              </c:extLst>
            </c:dLbl>
            <c:dLbl>
              <c:idx val="1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7-BFDA-4C69-8E79-A083B7EFBA29}"/>
                </c:ext>
              </c:extLst>
            </c:dLbl>
            <c:dLbl>
              <c:idx val="1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8-BFDA-4C69-8E79-A083B7EFBA29}"/>
                </c:ext>
              </c:extLst>
            </c:dLbl>
            <c:dLbl>
              <c:idx val="1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9-BFDA-4C69-8E79-A083B7EFBA29}"/>
                </c:ext>
              </c:extLst>
            </c:dLbl>
            <c:dLbl>
              <c:idx val="1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A-BFDA-4C69-8E79-A083B7EFBA29}"/>
                </c:ext>
              </c:extLst>
            </c:dLbl>
            <c:dLbl>
              <c:idx val="1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B-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20</c:f>
              <c:numCache>
                <c:formatCode>General</c:formatCode>
                <c:ptCount val="19"/>
                <c:pt idx="0">
                  <c:v>8.8300000000000003E-2</c:v>
                </c:pt>
                <c:pt idx="1">
                  <c:v>7.3800000000000004E-2</c:v>
                </c:pt>
                <c:pt idx="2">
                  <c:v>8.7999999999999995E-2</c:v>
                </c:pt>
                <c:pt idx="3">
                  <c:v>5.5999999999999999E-3</c:v>
                </c:pt>
                <c:pt idx="4">
                  <c:v>1.6000000000000001E-3</c:v>
                </c:pt>
                <c:pt idx="5">
                  <c:v>-2.69E-2</c:v>
                </c:pt>
                <c:pt idx="6">
                  <c:v>0.13969999999999999</c:v>
                </c:pt>
                <c:pt idx="7">
                  <c:v>1.4200000000000001E-2</c:v>
                </c:pt>
                <c:pt idx="8">
                  <c:v>4.5900000000000003E-2</c:v>
                </c:pt>
                <c:pt idx="9">
                  <c:v>0.1424</c:v>
                </c:pt>
                <c:pt idx="10">
                  <c:v>0.15690000000000001</c:v>
                </c:pt>
                <c:pt idx="11">
                  <c:v>2.9700000000000001E-2</c:v>
                </c:pt>
                <c:pt idx="12">
                  <c:v>0.04</c:v>
                </c:pt>
                <c:pt idx="13">
                  <c:v>8.2600000000000007E-2</c:v>
                </c:pt>
                <c:pt idx="14">
                  <c:v>9.8799999999999999E-2</c:v>
                </c:pt>
                <c:pt idx="15">
                  <c:v>6.0999999999999999E-2</c:v>
                </c:pt>
                <c:pt idx="16">
                  <c:v>5.8700000000000002E-2</c:v>
                </c:pt>
                <c:pt idx="17">
                  <c:v>8.72E-2</c:v>
                </c:pt>
                <c:pt idx="18">
                  <c:v>9.2100000000000001E-2</c:v>
                </c:pt>
              </c:numCache>
            </c:numRef>
          </c:xVal>
          <c:yVal>
            <c:numRef>
              <c:f>Sheet1!$B$2:$B$20</c:f>
              <c:numCache>
                <c:formatCode>General</c:formatCode>
                <c:ptCount val="19"/>
                <c:pt idx="0">
                  <c:v>624.6</c:v>
                </c:pt>
                <c:pt idx="1">
                  <c:v>500.30434782608688</c:v>
                </c:pt>
                <c:pt idx="2">
                  <c:v>946.84615384615381</c:v>
                </c:pt>
                <c:pt idx="3">
                  <c:v>1297.4705882352939</c:v>
                </c:pt>
                <c:pt idx="4">
                  <c:v>1071.7678571428571</c:v>
                </c:pt>
                <c:pt idx="5">
                  <c:v>779.16883116883116</c:v>
                </c:pt>
                <c:pt idx="6">
                  <c:v>1504.166666666667</c:v>
                </c:pt>
                <c:pt idx="7">
                  <c:v>741.27777777777783</c:v>
                </c:pt>
                <c:pt idx="8">
                  <c:v>572.58823529411768</c:v>
                </c:pt>
                <c:pt idx="9">
                  <c:v>391.66666666666669</c:v>
                </c:pt>
                <c:pt idx="10">
                  <c:v>392.11111111111109</c:v>
                </c:pt>
                <c:pt idx="11">
                  <c:v>636.66666666666663</c:v>
                </c:pt>
                <c:pt idx="12">
                  <c:v>9504.58</c:v>
                </c:pt>
                <c:pt idx="13">
                  <c:v>1649.4313725490199</c:v>
                </c:pt>
                <c:pt idx="14">
                  <c:v>940.83333333333337</c:v>
                </c:pt>
                <c:pt idx="15">
                  <c:v>517.75</c:v>
                </c:pt>
                <c:pt idx="16">
                  <c:v>267.60714285714278</c:v>
                </c:pt>
                <c:pt idx="17">
                  <c:v>175.6875</c:v>
                </c:pt>
                <c:pt idx="18">
                  <c:v>311.63157894736838</c:v>
                </c:pt>
              </c:numCache>
            </c:numRef>
          </c:yVal>
          <c:bubbleSize>
            <c:numRef>
              <c:f>Sheet1!$C$2:$C$20</c:f>
              <c:numCache>
                <c:formatCode>General</c:formatCode>
                <c:ptCount val="19"/>
                <c:pt idx="0">
                  <c:v>6119.2248</c:v>
                </c:pt>
                <c:pt idx="1">
                  <c:v>8881.8364000000001</c:v>
                </c:pt>
                <c:pt idx="2">
                  <c:v>9354.9976000000006</c:v>
                </c:pt>
                <c:pt idx="3">
                  <c:v>18277.5072</c:v>
                </c:pt>
                <c:pt idx="4">
                  <c:v>49937.420100000003</c:v>
                </c:pt>
                <c:pt idx="5">
                  <c:v>51340.187000000013</c:v>
                </c:pt>
                <c:pt idx="6">
                  <c:v>3399.7275</c:v>
                </c:pt>
                <c:pt idx="7">
                  <c:v>5192.5</c:v>
                </c:pt>
                <c:pt idx="8">
                  <c:v>7739.6016</c:v>
                </c:pt>
                <c:pt idx="9">
                  <c:v>1679.3806</c:v>
                </c:pt>
                <c:pt idx="10">
                  <c:v>2479.395</c:v>
                </c:pt>
                <c:pt idx="11">
                  <c:v>18532.477500000001</c:v>
                </c:pt>
                <c:pt idx="12">
                  <c:v>760337.93420000002</c:v>
                </c:pt>
                <c:pt idx="13">
                  <c:v>64308.811500000003</c:v>
                </c:pt>
                <c:pt idx="14">
                  <c:v>4239.1659</c:v>
                </c:pt>
                <c:pt idx="15">
                  <c:v>12964.845799999999</c:v>
                </c:pt>
                <c:pt idx="16">
                  <c:v>5877.6760000000004</c:v>
                </c:pt>
                <c:pt idx="17">
                  <c:v>1522.8077000000001</c:v>
                </c:pt>
                <c:pt idx="18">
                  <c:v>4479.5236000000004</c:v>
                </c:pt>
              </c:numCache>
            </c:numRef>
          </c:bubbleSize>
          <c:bubble3D val="0"/>
          <c:extLst>
            <c:ext xmlns:c15="http://schemas.microsoft.com/office/drawing/2012/chart" uri="{02D57815-91ED-43cb-92C2-25804820EDAC}">
              <c15:datalabelsRange>
                <c15:f>Sheet1!$E$2:$E$50</c15:f>
                <c15:dlblRangeCache>
                  <c:ptCount val="49"/>
                  <c:pt idx="0">
                    <c:v>1/2 CHAMP NICOLAS BLC/BLC BS 1CT X 375ML</c:v>
                  </c:pt>
                  <c:pt idx="1">
                    <c:v>1/2 CHAMP NICOLAS ROSE 1E C BS 1CT X 375ML</c:v>
                  </c:pt>
                  <c:pt idx="2">
                    <c:v>MG CHAMPAGNE NICOLAS BLC/BL BS 1CT X 1500ML</c:v>
                  </c:pt>
                  <c:pt idx="3">
                    <c:v>MG CHAMPAGNE E.NICOLAS BRUT 1CT X 1500ML</c:v>
                  </c:pt>
                  <c:pt idx="4">
                    <c:v>CHAMPAGNE E.NICOLAS ROSE 1CT X 750ML</c:v>
                  </c:pt>
                  <c:pt idx="5">
                    <c:v>CHAMPAGNE NICOLAS 1ERE CUVEE 1CT X 750ML</c:v>
                  </c:pt>
                  <c:pt idx="6">
                    <c:v>MG CHAMPAGNE NICOLAS 1ERE CUVE 1CT X 1500ML</c:v>
                  </c:pt>
                  <c:pt idx="7">
                    <c:v>CHAMPAGNE NICOLAS BIO NAT 2017 1CT X 750ML</c:v>
                  </c:pt>
                  <c:pt idx="8">
                    <c:v>CHAMPAGNE NICOLAS BLC DE NOIRS 1CT X 750ML</c:v>
                  </c:pt>
                  <c:pt idx="9">
                    <c:v>CHAMPAGNE NICOLAS ROSE 1E C BS 1CT X 750ML</c:v>
                  </c:pt>
                  <c:pt idx="10">
                    <c:v>CHAMPAGNE NICOLAS ROSE 1ERE ET 1CT X 750ML</c:v>
                  </c:pt>
                  <c:pt idx="11">
                    <c:v>1/2 CHAMPAGNE NICOLAS 1ERE CUV 1CT X 375ML</c:v>
                  </c:pt>
                  <c:pt idx="12">
                    <c:v>CHAMPAGNE E.NICOLAS BRUT 1CT X 750ML</c:v>
                  </c:pt>
                  <c:pt idx="13">
                    <c:v>CHAMPAGNE NICOLAS BLC/BLC BS 1CT X 750ML</c:v>
                  </c:pt>
                  <c:pt idx="14">
                    <c:v>CHAMPAGNE NICOLAS BLC/BLC 2002 1CT X 750ML</c:v>
                  </c:pt>
                  <c:pt idx="15">
                    <c:v>CHAMPAGNE NICOLAS ROSE 1ERE CU 1CT X 750ML</c:v>
                  </c:pt>
                  <c:pt idx="16">
                    <c:v>CHAMPAGNE NICOLAS 1ER CRU BS 1CT X 750ML</c:v>
                  </c:pt>
                  <c:pt idx="17">
                    <c:v>CHAMPAGNE NICOLAS 1ERE CUV ETU 1CT X 750ML</c:v>
                  </c:pt>
                  <c:pt idx="18">
                    <c:v>CHAMPAGNE NICOLAS 1ER CRU ETUI 1CT X 750ML</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7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ECB167DC-0CDD-48D9-9FB2-D72545215F0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EA855E63-E45D-418B-B482-D3D32C3FAF9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CBC96D0C-18FF-40A6-998D-487ECD44546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10CD68B6-B91D-4C6F-AC2E-BACB031417C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9A2D7123-DE22-42D8-AA8D-5B383898D6A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403FE2BF-3DF0-4759-8595-9EE928A9D14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BAE8A90D-E061-4C8A-9147-6CFD7AC26B9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5-BFDA-4C69-8E79-A083B7EFBA29}"/>
                </c:ext>
              </c:extLst>
            </c:dLbl>
            <c:dLbl>
              <c:idx val="1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6-BFDA-4C69-8E79-A083B7EFBA29}"/>
                </c:ext>
              </c:extLst>
            </c:dLbl>
            <c:dLbl>
              <c:idx val="1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7-BFDA-4C69-8E79-A083B7EFBA29}"/>
                </c:ext>
              </c:extLst>
            </c:dLbl>
            <c:dLbl>
              <c:idx val="1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8-BFDA-4C69-8E79-A083B7EFBA29}"/>
                </c:ext>
              </c:extLst>
            </c:dLbl>
            <c:dLbl>
              <c:idx val="1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9-BFDA-4C69-8E79-A083B7EFBA29}"/>
                </c:ext>
              </c:extLst>
            </c:dLbl>
            <c:dLbl>
              <c:idx val="1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A-BFDA-4C69-8E79-A083B7EFBA29}"/>
                </c:ext>
              </c:extLst>
            </c:dLbl>
            <c:dLbl>
              <c:idx val="1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B-BFDA-4C69-8E79-A083B7EFBA29}"/>
                </c:ext>
              </c:extLst>
            </c:dLbl>
            <c:dLbl>
              <c:idx val="1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C-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21</c:f>
              <c:numCache>
                <c:formatCode>General</c:formatCode>
                <c:ptCount val="20"/>
                <c:pt idx="0">
                  <c:v>9.0800000000000006E-2</c:v>
                </c:pt>
                <c:pt idx="1">
                  <c:v>8.2600000000000007E-2</c:v>
                </c:pt>
                <c:pt idx="2">
                  <c:v>9.3299999999999994E-2</c:v>
                </c:pt>
                <c:pt idx="3">
                  <c:v>1.52E-2</c:v>
                </c:pt>
                <c:pt idx="4">
                  <c:v>2.0999999999999999E-3</c:v>
                </c:pt>
                <c:pt idx="5">
                  <c:v>-2.2700000000000001E-2</c:v>
                </c:pt>
                <c:pt idx="6">
                  <c:v>0.1225</c:v>
                </c:pt>
                <c:pt idx="7">
                  <c:v>8.8999999999999999E-3</c:v>
                </c:pt>
                <c:pt idx="8">
                  <c:v>6.2399999999999997E-2</c:v>
                </c:pt>
                <c:pt idx="9">
                  <c:v>7.9799999999999996E-2</c:v>
                </c:pt>
                <c:pt idx="10">
                  <c:v>0.1055</c:v>
                </c:pt>
                <c:pt idx="11">
                  <c:v>3.2399999999999998E-2</c:v>
                </c:pt>
                <c:pt idx="12">
                  <c:v>4.3900000000000002E-2</c:v>
                </c:pt>
                <c:pt idx="13">
                  <c:v>8.6699999999999999E-2</c:v>
                </c:pt>
                <c:pt idx="14">
                  <c:v>0.1168</c:v>
                </c:pt>
                <c:pt idx="15">
                  <c:v>5.16E-2</c:v>
                </c:pt>
                <c:pt idx="16">
                  <c:v>0.13689999999999999</c:v>
                </c:pt>
                <c:pt idx="17">
                  <c:v>3.2800000000000003E-2</c:v>
                </c:pt>
                <c:pt idx="18">
                  <c:v>5.0799999999999998E-2</c:v>
                </c:pt>
                <c:pt idx="19">
                  <c:v>7.0499999999999993E-2</c:v>
                </c:pt>
              </c:numCache>
            </c:numRef>
          </c:xVal>
          <c:yVal>
            <c:numRef>
              <c:f>Sheet1!$B$2:$B$21</c:f>
              <c:numCache>
                <c:formatCode>General</c:formatCode>
                <c:ptCount val="20"/>
                <c:pt idx="0">
                  <c:v>653.5333333333333</c:v>
                </c:pt>
                <c:pt idx="1">
                  <c:v>442.88888888888891</c:v>
                </c:pt>
                <c:pt idx="2">
                  <c:v>1009.75</c:v>
                </c:pt>
                <c:pt idx="3">
                  <c:v>1152.0666666666671</c:v>
                </c:pt>
                <c:pt idx="4">
                  <c:v>999.24528301886789</c:v>
                </c:pt>
                <c:pt idx="5">
                  <c:v>714.12903225806451</c:v>
                </c:pt>
                <c:pt idx="6">
                  <c:v>1150.333333333333</c:v>
                </c:pt>
                <c:pt idx="7">
                  <c:v>745.88888888888891</c:v>
                </c:pt>
                <c:pt idx="8">
                  <c:v>474.61538461538458</c:v>
                </c:pt>
                <c:pt idx="9">
                  <c:v>249</c:v>
                </c:pt>
                <c:pt idx="10">
                  <c:v>628</c:v>
                </c:pt>
                <c:pt idx="11">
                  <c:v>760.28</c:v>
                </c:pt>
                <c:pt idx="12">
                  <c:v>7373.9494949494947</c:v>
                </c:pt>
                <c:pt idx="13">
                  <c:v>1265.294117647059</c:v>
                </c:pt>
                <c:pt idx="14">
                  <c:v>1255.666666666667</c:v>
                </c:pt>
                <c:pt idx="15">
                  <c:v>494.53571428571422</c:v>
                </c:pt>
                <c:pt idx="16">
                  <c:v>556.33333333333337</c:v>
                </c:pt>
                <c:pt idx="17">
                  <c:v>297.49999999999989</c:v>
                </c:pt>
                <c:pt idx="18">
                  <c:v>254.6</c:v>
                </c:pt>
                <c:pt idx="19">
                  <c:v>535</c:v>
                </c:pt>
              </c:numCache>
            </c:numRef>
          </c:yVal>
          <c:bubbleSize>
            <c:numRef>
              <c:f>Sheet1!$C$2:$C$21</c:f>
              <c:numCache>
                <c:formatCode>General</c:formatCode>
                <c:ptCount val="20"/>
                <c:pt idx="0">
                  <c:v>3723.1428000000001</c:v>
                </c:pt>
                <c:pt idx="1">
                  <c:v>6094.4557999999997</c:v>
                </c:pt>
                <c:pt idx="2">
                  <c:v>6103.8220000000001</c:v>
                </c:pt>
                <c:pt idx="3">
                  <c:v>14181.673199999999</c:v>
                </c:pt>
                <c:pt idx="4">
                  <c:v>44041.5962</c:v>
                </c:pt>
                <c:pt idx="5">
                  <c:v>37732.482300000003</c:v>
                </c:pt>
                <c:pt idx="6">
                  <c:v>3399.7275</c:v>
                </c:pt>
                <c:pt idx="7">
                  <c:v>6277.5</c:v>
                </c:pt>
                <c:pt idx="8">
                  <c:v>4820.8271999999997</c:v>
                </c:pt>
                <c:pt idx="9">
                  <c:v>1336.6007999999999</c:v>
                </c:pt>
                <c:pt idx="10">
                  <c:v>2340.6142</c:v>
                </c:pt>
                <c:pt idx="11">
                  <c:v>15325.342500000001</c:v>
                </c:pt>
                <c:pt idx="12">
                  <c:v>581642.16099999996</c:v>
                </c:pt>
                <c:pt idx="13">
                  <c:v>49115.3364</c:v>
                </c:pt>
                <c:pt idx="14">
                  <c:v>2772.4994999999999</c:v>
                </c:pt>
                <c:pt idx="15">
                  <c:v>10944.071400000001</c:v>
                </c:pt>
                <c:pt idx="16">
                  <c:v>1037.2049999999999</c:v>
                </c:pt>
                <c:pt idx="17">
                  <c:v>6714.1922000000004</c:v>
                </c:pt>
                <c:pt idx="18">
                  <c:v>2787.5124000000001</c:v>
                </c:pt>
                <c:pt idx="19">
                  <c:v>4143.8684999999996</c:v>
                </c:pt>
              </c:numCache>
            </c:numRef>
          </c:bubbleSize>
          <c:bubble3D val="0"/>
          <c:extLst>
            <c:ext xmlns:c15="http://schemas.microsoft.com/office/drawing/2012/chart" uri="{02D57815-91ED-43cb-92C2-25804820EDAC}">
              <c15:datalabelsRange>
                <c15:f>Sheet1!$E$2:$E$50</c15:f>
                <c15:dlblRangeCache>
                  <c:ptCount val="49"/>
                  <c:pt idx="0">
                    <c:v>1/2 CHAMP NICOLAS BLC/BLC BS 1CT X 375ML</c:v>
                  </c:pt>
                  <c:pt idx="1">
                    <c:v>1/2 CHAMP NICOLAS ROSE 1E C BS 1CT X 375ML</c:v>
                  </c:pt>
                  <c:pt idx="2">
                    <c:v>MG CHAMPAGNE NICOLAS BLC/BL BS 1CT X 1500ML</c:v>
                  </c:pt>
                  <c:pt idx="3">
                    <c:v>MG CHAMPAGNE E.NICOLAS BRUT 1CT X 1500ML</c:v>
                  </c:pt>
                  <c:pt idx="4">
                    <c:v>CHAMPAGNE E.NICOLAS ROSE 1CT X 750ML</c:v>
                  </c:pt>
                  <c:pt idx="5">
                    <c:v>CHAMPAGNE NICOLAS 1ERE CUVEE 1CT X 750ML</c:v>
                  </c:pt>
                  <c:pt idx="6">
                    <c:v>MG CHAMPAGNE NICOLAS 1ERE CUVE 1CT X 1500ML</c:v>
                  </c:pt>
                  <c:pt idx="7">
                    <c:v>CHAMPAGNE NICOLAS BIO NAT 2017 1CT X 750ML</c:v>
                  </c:pt>
                  <c:pt idx="8">
                    <c:v>CHAMPAGNE NICOLAS BLC DE NOIRS 1CT X 750ML</c:v>
                  </c:pt>
                  <c:pt idx="9">
                    <c:v>CHAMPAGNE NICOLAS ROSE 1E C BS 1CT X 750ML</c:v>
                  </c:pt>
                  <c:pt idx="10">
                    <c:v>CHAMPAGNE NICOLAS ROSE 1ERE ET 1CT X 750ML</c:v>
                  </c:pt>
                  <c:pt idx="11">
                    <c:v>1/2 CHAMPAGNE NICOLAS 1ERE CUV 1CT X 375ML</c:v>
                  </c:pt>
                  <c:pt idx="12">
                    <c:v>CHAMPAGNE E.NICOLAS BRUT 1CT X 750ML</c:v>
                  </c:pt>
                  <c:pt idx="13">
                    <c:v>CHAMPAGNE NICOLAS BLC/BLC BS 1CT X 750ML</c:v>
                  </c:pt>
                  <c:pt idx="14">
                    <c:v>CHAMPAGNE NICOLAS BLC/BLC 2002 1CT X 750ML</c:v>
                  </c:pt>
                  <c:pt idx="15">
                    <c:v>CHAMPAGNE NICOLAS ROSE 1ERE CU 1CT X 750ML</c:v>
                  </c:pt>
                  <c:pt idx="16">
                    <c:v>MG CHAMPAGNE NICOLAS 1E CRU BS 1CT X 1500ML</c:v>
                  </c:pt>
                  <c:pt idx="17">
                    <c:v>CHAMPAGNE NICOLAS 1ER CRU BS 1CT X 750ML</c:v>
                  </c:pt>
                  <c:pt idx="18">
                    <c:v>CHAMPAGNE NICOLAS 1ERE CUV ETU 1CT X 750ML</c:v>
                  </c:pt>
                  <c:pt idx="19">
                    <c:v>CHAMPAGNE NICOLAS 1ER CRU ETUI 1CT X 750ML</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7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1952A042-60F2-4A44-919E-4CB4F6C0CA8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70274852-FE7B-47DB-89ED-B7971ABA141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61C6F776-8CBF-4338-80E5-AFAF0713D86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45C9B233-A760-4550-8274-27A2882F798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B79C051D-31F5-4170-941D-E02C76555F1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F05220CF-0627-476D-BCF7-B781A9832A8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87884799-E9A4-41D2-B431-A39E28263E1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5-BFDA-4C69-8E79-A083B7EFBA29}"/>
                </c:ext>
              </c:extLst>
            </c:dLbl>
            <c:dLbl>
              <c:idx val="1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6-BFDA-4C69-8E79-A083B7EFBA29}"/>
                </c:ext>
              </c:extLst>
            </c:dLbl>
            <c:dLbl>
              <c:idx val="1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7-BFDA-4C69-8E79-A083B7EFBA29}"/>
                </c:ext>
              </c:extLst>
            </c:dLbl>
            <c:dLbl>
              <c:idx val="1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8-BFDA-4C69-8E79-A083B7EFBA29}"/>
                </c:ext>
              </c:extLst>
            </c:dLbl>
            <c:dLbl>
              <c:idx val="1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9-BFDA-4C69-8E79-A083B7EFBA29}"/>
                </c:ext>
              </c:extLst>
            </c:dLbl>
            <c:dLbl>
              <c:idx val="1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A-BFDA-4C69-8E79-A083B7EFBA29}"/>
                </c:ext>
              </c:extLst>
            </c:dLbl>
            <c:dLbl>
              <c:idx val="1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B-BFDA-4C69-8E79-A083B7EFBA29}"/>
                </c:ext>
              </c:extLst>
            </c:dLbl>
            <c:dLbl>
              <c:idx val="1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C-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21</c:f>
              <c:numCache>
                <c:formatCode>General</c:formatCode>
                <c:ptCount val="20"/>
                <c:pt idx="0">
                  <c:v>8.5599999999999996E-2</c:v>
                </c:pt>
                <c:pt idx="1">
                  <c:v>8.3099999999999993E-2</c:v>
                </c:pt>
                <c:pt idx="2">
                  <c:v>8.14E-2</c:v>
                </c:pt>
                <c:pt idx="3">
                  <c:v>1.1900000000000001E-2</c:v>
                </c:pt>
                <c:pt idx="4">
                  <c:v>2.9999999999999997E-4</c:v>
                </c:pt>
                <c:pt idx="5">
                  <c:v>-2.1999999999999999E-2</c:v>
                </c:pt>
                <c:pt idx="6">
                  <c:v>0.122</c:v>
                </c:pt>
                <c:pt idx="7">
                  <c:v>1.0500000000000001E-2</c:v>
                </c:pt>
                <c:pt idx="8">
                  <c:v>5.5899999999999998E-2</c:v>
                </c:pt>
                <c:pt idx="9">
                  <c:v>0.13300000000000001</c:v>
                </c:pt>
                <c:pt idx="10">
                  <c:v>0.15110000000000001</c:v>
                </c:pt>
                <c:pt idx="11">
                  <c:v>3.4599999999999999E-2</c:v>
                </c:pt>
                <c:pt idx="12">
                  <c:v>4.2799999999999998E-2</c:v>
                </c:pt>
                <c:pt idx="13">
                  <c:v>8.4500000000000006E-2</c:v>
                </c:pt>
                <c:pt idx="14">
                  <c:v>9.9699999999999997E-2</c:v>
                </c:pt>
                <c:pt idx="15">
                  <c:v>5.4399999999999997E-2</c:v>
                </c:pt>
                <c:pt idx="16">
                  <c:v>0.1585</c:v>
                </c:pt>
                <c:pt idx="17">
                  <c:v>-1.43E-2</c:v>
                </c:pt>
                <c:pt idx="18">
                  <c:v>4.3299999999999998E-2</c:v>
                </c:pt>
                <c:pt idx="19">
                  <c:v>0.13100000000000001</c:v>
                </c:pt>
              </c:numCache>
            </c:numRef>
          </c:xVal>
          <c:yVal>
            <c:numRef>
              <c:f>Sheet1!$B$2:$B$21</c:f>
              <c:numCache>
                <c:formatCode>General</c:formatCode>
                <c:ptCount val="20"/>
                <c:pt idx="0">
                  <c:v>642</c:v>
                </c:pt>
                <c:pt idx="1">
                  <c:v>464.65</c:v>
                </c:pt>
                <c:pt idx="2">
                  <c:v>1263.2</c:v>
                </c:pt>
                <c:pt idx="3">
                  <c:v>1184</c:v>
                </c:pt>
                <c:pt idx="4">
                  <c:v>1188.088888888889</c:v>
                </c:pt>
                <c:pt idx="5">
                  <c:v>658.12727272727261</c:v>
                </c:pt>
                <c:pt idx="6">
                  <c:v>1187.833333333333</c:v>
                </c:pt>
                <c:pt idx="7">
                  <c:v>1202.5999999999999</c:v>
                </c:pt>
                <c:pt idx="8">
                  <c:v>783.42857142857133</c:v>
                </c:pt>
                <c:pt idx="9">
                  <c:v>839.75</c:v>
                </c:pt>
                <c:pt idx="10">
                  <c:v>818.25</c:v>
                </c:pt>
                <c:pt idx="11">
                  <c:v>800.18181818181813</c:v>
                </c:pt>
                <c:pt idx="12">
                  <c:v>7707.4123711340208</c:v>
                </c:pt>
                <c:pt idx="13">
                  <c:v>2260.5294117647059</c:v>
                </c:pt>
                <c:pt idx="14">
                  <c:v>790.33333333333337</c:v>
                </c:pt>
                <c:pt idx="15">
                  <c:v>480.29411764705878</c:v>
                </c:pt>
                <c:pt idx="16">
                  <c:v>663.75</c:v>
                </c:pt>
                <c:pt idx="17">
                  <c:v>357.30232558139528</c:v>
                </c:pt>
                <c:pt idx="18">
                  <c:v>383.23076923076923</c:v>
                </c:pt>
                <c:pt idx="19">
                  <c:v>832.5</c:v>
                </c:pt>
              </c:numCache>
            </c:numRef>
          </c:yVal>
          <c:bubbleSize>
            <c:numRef>
              <c:f>Sheet1!$C$2:$C$21</c:f>
              <c:numCache>
                <c:formatCode>General</c:formatCode>
                <c:ptCount val="20"/>
                <c:pt idx="0">
                  <c:v>4700.0069999999996</c:v>
                </c:pt>
                <c:pt idx="1">
                  <c:v>7100.8307999999997</c:v>
                </c:pt>
                <c:pt idx="2">
                  <c:v>9669.2716999999993</c:v>
                </c:pt>
                <c:pt idx="3">
                  <c:v>14623.3392</c:v>
                </c:pt>
                <c:pt idx="4">
                  <c:v>44541.595400000013</c:v>
                </c:pt>
                <c:pt idx="5">
                  <c:v>30828.814399999999</c:v>
                </c:pt>
                <c:pt idx="6">
                  <c:v>3803.085</c:v>
                </c:pt>
                <c:pt idx="7">
                  <c:v>4960</c:v>
                </c:pt>
                <c:pt idx="8">
                  <c:v>4314.6060000000007</c:v>
                </c:pt>
                <c:pt idx="9">
                  <c:v>2426.8018000000002</c:v>
                </c:pt>
                <c:pt idx="10">
                  <c:v>1874.5934999999999</c:v>
                </c:pt>
                <c:pt idx="11">
                  <c:v>14161.9575</c:v>
                </c:pt>
                <c:pt idx="12">
                  <c:v>596350.77399999998</c:v>
                </c:pt>
                <c:pt idx="13">
                  <c:v>58638.855600000003</c:v>
                </c:pt>
                <c:pt idx="14">
                  <c:v>3557.499299999999</c:v>
                </c:pt>
                <c:pt idx="15">
                  <c:v>6433.7096000000001</c:v>
                </c:pt>
                <c:pt idx="16">
                  <c:v>1382.94</c:v>
                </c:pt>
                <c:pt idx="17">
                  <c:v>12986.957899999999</c:v>
                </c:pt>
                <c:pt idx="18">
                  <c:v>3097.2359999999999</c:v>
                </c:pt>
                <c:pt idx="19">
                  <c:v>1205.6768</c:v>
                </c:pt>
              </c:numCache>
            </c:numRef>
          </c:bubbleSize>
          <c:bubble3D val="0"/>
          <c:extLst>
            <c:ext xmlns:c15="http://schemas.microsoft.com/office/drawing/2012/chart" uri="{02D57815-91ED-43cb-92C2-25804820EDAC}">
              <c15:datalabelsRange>
                <c15:f>Sheet1!$E$2:$E$50</c15:f>
                <c15:dlblRangeCache>
                  <c:ptCount val="49"/>
                  <c:pt idx="0">
                    <c:v>1/2 CHAMP NICOLAS BLC/BLC BS 1CT X 375ML</c:v>
                  </c:pt>
                  <c:pt idx="1">
                    <c:v>1/2 CHAMP NICOLAS ROSE 1E C BS 1CT X 375ML</c:v>
                  </c:pt>
                  <c:pt idx="2">
                    <c:v>MG CHAMPAGNE NICOLAS BLC/BL BS 1CT X 1500ML</c:v>
                  </c:pt>
                  <c:pt idx="3">
                    <c:v>MG CHAMPAGNE E.NICOLAS BRUT 1CT X 1500ML</c:v>
                  </c:pt>
                  <c:pt idx="4">
                    <c:v>CHAMPAGNE E.NICOLAS ROSE 1CT X 750ML</c:v>
                  </c:pt>
                  <c:pt idx="5">
                    <c:v>CHAMPAGNE NICOLAS 1ERE CUVEE 1CT X 750ML</c:v>
                  </c:pt>
                  <c:pt idx="6">
                    <c:v>MG CHAMPAGNE NICOLAS 1ERE CUVE 1CT X 1500ML</c:v>
                  </c:pt>
                  <c:pt idx="7">
                    <c:v>CHAMPAGNE NICOLAS BIO NAT 2017 1CT X 750ML</c:v>
                  </c:pt>
                  <c:pt idx="8">
                    <c:v>CHAMPAGNE NICOLAS BLC DE NOIRS 1CT X 750ML</c:v>
                  </c:pt>
                  <c:pt idx="9">
                    <c:v>CHAMPAGNE NICOLAS ROSE 1E C BS 1CT X 750ML</c:v>
                  </c:pt>
                  <c:pt idx="10">
                    <c:v>CHAMPAGNE NICOLAS BLC/BL BS ET 1CT X 750ML</c:v>
                  </c:pt>
                  <c:pt idx="11">
                    <c:v>1/2 CHAMPAGNE NICOLAS 1ERE CUV 1CT X 375ML</c:v>
                  </c:pt>
                  <c:pt idx="12">
                    <c:v>CHAMPAGNE E.NICOLAS BRUT 1CT X 750ML</c:v>
                  </c:pt>
                  <c:pt idx="13">
                    <c:v>CHAMPAGNE NICOLAS BLC/BLC BS 1CT X 750ML</c:v>
                  </c:pt>
                  <c:pt idx="14">
                    <c:v>CHAMPAGNE NICOLAS BLC/BLC 2002 1CT X 750ML</c:v>
                  </c:pt>
                  <c:pt idx="15">
                    <c:v>CHAMPAGNE NICOLAS ROSE 1ERE CU 1CT X 750ML</c:v>
                  </c:pt>
                  <c:pt idx="16">
                    <c:v>MG CHAMPAGNE NICOLAS 1E CRU BS 1CT X 1500ML</c:v>
                  </c:pt>
                  <c:pt idx="17">
                    <c:v>CHAMPAGNE NICOLAS 1ER CRU BS 1CT X 750ML</c:v>
                  </c:pt>
                  <c:pt idx="18">
                    <c:v>CHAMPAGNE NICOLAS 1ERE CUV ETU 1CT X 750ML</c:v>
                  </c:pt>
                  <c:pt idx="19">
                    <c:v>CHAMPAGNE NICOLAS 1ER CRU ETUI 1CT X 750ML</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7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7454A6B4-1182-408C-A521-65860D3078B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E16C727F-F6C0-446E-9A69-E94CBFE6895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D003FAF4-0DFB-4C3B-9A6F-68EB1E9803B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41369E2F-3CA7-48FB-91C9-C006BE22173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BFDA-4C69-8E79-A083B7EFBA29}"/>
                </c:ext>
              </c:extLst>
            </c:dLbl>
            <c:dLbl>
              <c:idx val="7"/>
              <c:tx>
                <c:rich>
                  <a:bodyPr/>
                  <a:lstStyle/>
                  <a:p>
                    <a:fld id="{492D0B4C-9E1B-40FF-9BD8-183E0411838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2F156965-D14B-4EE6-AB4C-6666567FB1F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B48D03CF-A06E-43A4-928A-1A4DCE5F82F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6</c:f>
              <c:numCache>
                <c:formatCode>General</c:formatCode>
                <c:ptCount val="5"/>
                <c:pt idx="0">
                  <c:v>9.3899999999999997E-2</c:v>
                </c:pt>
                <c:pt idx="1">
                  <c:v>0.10489999999999999</c:v>
                </c:pt>
                <c:pt idx="2">
                  <c:v>0.15679999999999999</c:v>
                </c:pt>
                <c:pt idx="3">
                  <c:v>8.6400000000000005E-2</c:v>
                </c:pt>
                <c:pt idx="4">
                  <c:v>0.104</c:v>
                </c:pt>
              </c:numCache>
            </c:numRef>
          </c:xVal>
          <c:yVal>
            <c:numRef>
              <c:f>Sheet1!$B$2:$B$6</c:f>
              <c:numCache>
                <c:formatCode>General</c:formatCode>
                <c:ptCount val="5"/>
                <c:pt idx="0">
                  <c:v>1861.5238095238101</c:v>
                </c:pt>
                <c:pt idx="1">
                  <c:v>3376.9590643274851</c:v>
                </c:pt>
                <c:pt idx="2">
                  <c:v>2277.7777777777778</c:v>
                </c:pt>
                <c:pt idx="3">
                  <c:v>6637.264957264957</c:v>
                </c:pt>
                <c:pt idx="4">
                  <c:v>2362.121212121212</c:v>
                </c:pt>
              </c:numCache>
            </c:numRef>
          </c:yVal>
          <c:bubbleSize>
            <c:numRef>
              <c:f>Sheet1!$C$2:$C$6</c:f>
              <c:numCache>
                <c:formatCode>General</c:formatCode>
                <c:ptCount val="5"/>
                <c:pt idx="0">
                  <c:v>23665.917600000001</c:v>
                </c:pt>
                <c:pt idx="1">
                  <c:v>43073.496400000004</c:v>
                </c:pt>
                <c:pt idx="2">
                  <c:v>3201.2289000000001</c:v>
                </c:pt>
                <c:pt idx="3">
                  <c:v>295626.36689999991</c:v>
                </c:pt>
                <c:pt idx="4">
                  <c:v>17459.9964</c:v>
                </c:pt>
              </c:numCache>
            </c:numRef>
          </c:bubbleSize>
          <c:bubble3D val="0"/>
          <c:extLst>
            <c:ext xmlns:c15="http://schemas.microsoft.com/office/drawing/2012/chart" uri="{02D57815-91ED-43cb-92C2-25804820EDAC}">
              <c15:datalabelsRange>
                <c15:f>Sheet1!$E$2:$E$50</c15:f>
                <c15:dlblRangeCache>
                  <c:ptCount val="49"/>
                  <c:pt idx="0">
                    <c:v>1/2 CHAMP NICOLAS BLC/BLC BS 1CT X 375ML</c:v>
                  </c:pt>
                  <c:pt idx="1">
                    <c:v>MG CHAMPAGNE NICOLAS BLC/BL BS 1CT X 1500ML</c:v>
                  </c:pt>
                  <c:pt idx="2">
                    <c:v>CHAMPAGNE NICOLAS BLC/BL BS ET 1CT X 750ML</c:v>
                  </c:pt>
                  <c:pt idx="3">
                    <c:v>CHAMPAGNE NICOLAS BLC/BLC BS 1CT X 750ML</c:v>
                  </c:pt>
                  <c:pt idx="4">
                    <c:v>CHAMPAGNE NICOLAS BLC/BLC 2002 1CT X 750ML</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7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69A17359-87CD-4D14-B5AB-7B9BE53F68D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23D1468E-5599-4FD3-AF47-8BD54E52DA3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26C1665D-157D-4B68-A569-FF20EB78552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DE0B1DF5-4DA0-4FAA-84AA-D1FA86C81D3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BFDA-4C69-8E79-A083B7EFBA29}"/>
                </c:ext>
              </c:extLst>
            </c:dLbl>
            <c:dLbl>
              <c:idx val="7"/>
              <c:tx>
                <c:rich>
                  <a:bodyPr/>
                  <a:lstStyle/>
                  <a:p>
                    <a:fld id="{AE0631E5-478B-4E27-94A9-C12BB0F1BB2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DD0DE239-5AE8-4C99-BF6F-A34B6C481CA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68029EAB-92C8-498C-8167-39AE167A4CA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6</c:f>
              <c:numCache>
                <c:formatCode>General</c:formatCode>
                <c:ptCount val="5"/>
                <c:pt idx="0">
                  <c:v>8.4500000000000006E-2</c:v>
                </c:pt>
                <c:pt idx="1">
                  <c:v>8.1100000000000005E-2</c:v>
                </c:pt>
                <c:pt idx="2">
                  <c:v>0.13600000000000001</c:v>
                </c:pt>
                <c:pt idx="3">
                  <c:v>8.3099999999999993E-2</c:v>
                </c:pt>
                <c:pt idx="4">
                  <c:v>8.4699999999999998E-2</c:v>
                </c:pt>
              </c:numCache>
            </c:numRef>
          </c:xVal>
          <c:yVal>
            <c:numRef>
              <c:f>Sheet1!$B$2:$B$6</c:f>
              <c:numCache>
                <c:formatCode>General</c:formatCode>
                <c:ptCount val="5"/>
                <c:pt idx="0">
                  <c:v>886.96428571428555</c:v>
                </c:pt>
                <c:pt idx="1">
                  <c:v>2128.083333333333</c:v>
                </c:pt>
                <c:pt idx="2">
                  <c:v>1130</c:v>
                </c:pt>
                <c:pt idx="3">
                  <c:v>2986.666666666667</c:v>
                </c:pt>
                <c:pt idx="4">
                  <c:v>2744.333333333333</c:v>
                </c:pt>
              </c:numCache>
            </c:numRef>
          </c:yVal>
          <c:bubbleSize>
            <c:numRef>
              <c:f>Sheet1!$C$2:$C$6</c:f>
              <c:numCache>
                <c:formatCode>General</c:formatCode>
                <c:ptCount val="5"/>
                <c:pt idx="0">
                  <c:v>10100.4072</c:v>
                </c:pt>
                <c:pt idx="1">
                  <c:v>19555.973999999998</c:v>
                </c:pt>
                <c:pt idx="2">
                  <c:v>1009.3964999999999</c:v>
                </c:pt>
                <c:pt idx="3">
                  <c:v>130073.0886</c:v>
                </c:pt>
                <c:pt idx="4">
                  <c:v>6279.9983999999986</c:v>
                </c:pt>
              </c:numCache>
            </c:numRef>
          </c:bubbleSize>
          <c:bubble3D val="0"/>
          <c:extLst>
            <c:ext xmlns:c15="http://schemas.microsoft.com/office/drawing/2012/chart" uri="{02D57815-91ED-43cb-92C2-25804820EDAC}">
              <c15:datalabelsRange>
                <c15:f>Sheet1!$E$2:$E$50</c15:f>
                <c15:dlblRangeCache>
                  <c:ptCount val="49"/>
                  <c:pt idx="0">
                    <c:v>1/2 CHAMP NICOLAS BLC/BLC BS 1CT X 375ML</c:v>
                  </c:pt>
                  <c:pt idx="1">
                    <c:v>MG CHAMPAGNE NICOLAS BLC/BL BS 1CT X 1500ML</c:v>
                  </c:pt>
                  <c:pt idx="2">
                    <c:v>CHAMPAGNE NICOLAS BLC/BL BS ET 1CT X 750ML</c:v>
                  </c:pt>
                  <c:pt idx="3">
                    <c:v>CHAMPAGNE NICOLAS BLC/BLC BS 1CT X 750ML</c:v>
                  </c:pt>
                  <c:pt idx="4">
                    <c:v>CHAMPAGNE NICOLAS BLC/BLC 2002 1CT X 750ML</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7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37E55040-E2CD-439A-89A1-EA7F5189B60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2F8D6ACD-DE9A-4045-9862-1B44AB6FCA9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ABFC45C9-462F-4E10-A44A-CDD90AAB3CC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F9DE099E-2087-4725-872D-9155A1C917D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BFDA-4C69-8E79-A083B7EFBA29}"/>
                </c:ext>
              </c:extLst>
            </c:dLbl>
            <c:dLbl>
              <c:idx val="7"/>
              <c:tx>
                <c:rich>
                  <a:bodyPr/>
                  <a:lstStyle/>
                  <a:p>
                    <a:fld id="{361458BA-C05A-42F9-B47E-A48258C6617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8F6BF1EA-8327-4E4F-B20C-F52B9036043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2200E740-C327-4A98-945F-516DE804F45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6</c:f>
              <c:numCache>
                <c:formatCode>General</c:formatCode>
                <c:ptCount val="5"/>
                <c:pt idx="0">
                  <c:v>8.72E-2</c:v>
                </c:pt>
                <c:pt idx="1">
                  <c:v>9.4200000000000006E-2</c:v>
                </c:pt>
                <c:pt idx="2">
                  <c:v>0.157</c:v>
                </c:pt>
                <c:pt idx="3">
                  <c:v>8.2900000000000001E-2</c:v>
                </c:pt>
                <c:pt idx="4">
                  <c:v>7.9899999999999999E-2</c:v>
                </c:pt>
              </c:numCache>
            </c:numRef>
          </c:xVal>
          <c:yVal>
            <c:numRef>
              <c:f>Sheet1!$B$2:$B$6</c:f>
              <c:numCache>
                <c:formatCode>General</c:formatCode>
                <c:ptCount val="5"/>
                <c:pt idx="0">
                  <c:v>423.53571428571422</c:v>
                </c:pt>
                <c:pt idx="1">
                  <c:v>793.125</c:v>
                </c:pt>
                <c:pt idx="2">
                  <c:v>409</c:v>
                </c:pt>
                <c:pt idx="3">
                  <c:v>1670.5438596491231</c:v>
                </c:pt>
                <c:pt idx="4">
                  <c:v>627.125</c:v>
                </c:pt>
              </c:numCache>
            </c:numRef>
          </c:yVal>
          <c:bubbleSize>
            <c:numRef>
              <c:f>Sheet1!$C$2:$C$6</c:f>
              <c:numCache>
                <c:formatCode>General</c:formatCode>
                <c:ptCount val="5"/>
                <c:pt idx="0">
                  <c:v>4902.7524000000003</c:v>
                </c:pt>
                <c:pt idx="1">
                  <c:v>9578.7224000000006</c:v>
                </c:pt>
                <c:pt idx="2">
                  <c:v>1067.0762999999999</c:v>
                </c:pt>
                <c:pt idx="3">
                  <c:v>72774.786599999992</c:v>
                </c:pt>
                <c:pt idx="4">
                  <c:v>3846.6660000000002</c:v>
                </c:pt>
              </c:numCache>
            </c:numRef>
          </c:bubbleSize>
          <c:bubble3D val="0"/>
          <c:extLst>
            <c:ext xmlns:c15="http://schemas.microsoft.com/office/drawing/2012/chart" uri="{02D57815-91ED-43cb-92C2-25804820EDAC}">
              <c15:datalabelsRange>
                <c15:f>Sheet1!$E$2:$E$50</c15:f>
                <c15:dlblRangeCache>
                  <c:ptCount val="49"/>
                  <c:pt idx="0">
                    <c:v>1/2 CHAMP NICOLAS BLC/BLC BS 1CT X 375ML</c:v>
                  </c:pt>
                  <c:pt idx="1">
                    <c:v>MG CHAMPAGNE NICOLAS BLC/BL BS 1CT X 1500ML</c:v>
                  </c:pt>
                  <c:pt idx="2">
                    <c:v>CHAMPAGNE NICOLAS BLC/BL BS ET 1CT X 750ML</c:v>
                  </c:pt>
                  <c:pt idx="3">
                    <c:v>CHAMPAGNE NICOLAS BLC/BLC BS 1CT X 750ML</c:v>
                  </c:pt>
                  <c:pt idx="4">
                    <c:v>CHAMPAGNE NICOLAS BLC/BLC 2002 1CT X 750ML</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7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F200C5B2-E381-4AD6-819A-16EA8396604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DB15429D-1466-4F01-9CF8-2B149878F6B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F74ADBAB-11FB-4446-8193-BFF34702AB5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C56266E8-2C37-48B4-A889-14095D1E3D4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BFDA-4C69-8E79-A083B7EFBA29}"/>
                </c:ext>
              </c:extLst>
            </c:dLbl>
            <c:dLbl>
              <c:idx val="7"/>
              <c:tx>
                <c:rich>
                  <a:bodyPr/>
                  <a:lstStyle/>
                  <a:p>
                    <a:fld id="{AFBB8255-9789-4983-806C-213EE0BB50D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D2CE3D77-843F-4859-A960-19B80FA9684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34DB066B-70F0-4A6B-A7F0-12C1C5E58AD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5</c:f>
              <c:numCache>
                <c:formatCode>General</c:formatCode>
                <c:ptCount val="4"/>
                <c:pt idx="0">
                  <c:v>9.06E-2</c:v>
                </c:pt>
                <c:pt idx="1">
                  <c:v>0.1232</c:v>
                </c:pt>
                <c:pt idx="2">
                  <c:v>8.4000000000000005E-2</c:v>
                </c:pt>
                <c:pt idx="3">
                  <c:v>0.11799999999999999</c:v>
                </c:pt>
              </c:numCache>
            </c:numRef>
          </c:xVal>
          <c:yVal>
            <c:numRef>
              <c:f>Sheet1!$B$2:$B$5</c:f>
              <c:numCache>
                <c:formatCode>General</c:formatCode>
                <c:ptCount val="4"/>
                <c:pt idx="0">
                  <c:v>217.27272727272731</c:v>
                </c:pt>
                <c:pt idx="1">
                  <c:v>248.9</c:v>
                </c:pt>
                <c:pt idx="2">
                  <c:v>631.52941176470586</c:v>
                </c:pt>
                <c:pt idx="3">
                  <c:v>263.92307692307691</c:v>
                </c:pt>
              </c:numCache>
            </c:numRef>
          </c:yVal>
          <c:bubbleSize>
            <c:numRef>
              <c:f>Sheet1!$C$2:$C$5</c:f>
              <c:numCache>
                <c:formatCode>General</c:formatCode>
                <c:ptCount val="4"/>
                <c:pt idx="0">
                  <c:v>2985.8868000000002</c:v>
                </c:pt>
                <c:pt idx="1">
                  <c:v>3637.1163999999999</c:v>
                </c:pt>
                <c:pt idx="2">
                  <c:v>24585.891299999999</c:v>
                </c:pt>
                <c:pt idx="3">
                  <c:v>2521.6662000000001</c:v>
                </c:pt>
              </c:numCache>
            </c:numRef>
          </c:bubbleSize>
          <c:bubble3D val="0"/>
          <c:extLst>
            <c:ext xmlns:c15="http://schemas.microsoft.com/office/drawing/2012/chart" uri="{02D57815-91ED-43cb-92C2-25804820EDAC}">
              <c15:datalabelsRange>
                <c15:f>Sheet1!$E$2:$E$50</c15:f>
                <c15:dlblRangeCache>
                  <c:ptCount val="49"/>
                  <c:pt idx="0">
                    <c:v>1/2 CHAMP NICOLAS BLC/BLC BS 1CT X 375ML</c:v>
                  </c:pt>
                  <c:pt idx="1">
                    <c:v>MG CHAMPAGNE NICOLAS BLC/BL BS 1CT X 1500ML</c:v>
                  </c:pt>
                  <c:pt idx="2">
                    <c:v>CHAMPAGNE NICOLAS BLC/BLC BS 1CT X 750ML</c:v>
                  </c:pt>
                  <c:pt idx="3">
                    <c:v>CHAMPAGNE NICOLAS BLC/BLC 2002 1CT X 750ML</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7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F8FA53F0-0ADF-4957-985F-94CA46A0725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F701D2E6-8695-4AD9-969F-6E1DF1F4F0C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D3C662C4-B109-4360-9866-45B3B5DFB1B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4F0E1DD5-F721-4A01-BE74-90C33B84BB5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BFDA-4C69-8E79-A083B7EFBA29}"/>
                </c:ext>
              </c:extLst>
            </c:dLbl>
            <c:dLbl>
              <c:idx val="7"/>
              <c:tx>
                <c:rich>
                  <a:bodyPr/>
                  <a:lstStyle/>
                  <a:p>
                    <a:fld id="{61341455-FC6F-424A-B2E2-501C7EA604C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C48B82E8-0C09-413A-BC5D-33187494699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5EDDDEE7-C1C8-4007-BF8F-F15D36110A0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5</c:f>
              <c:numCache>
                <c:formatCode>General</c:formatCode>
                <c:ptCount val="4"/>
                <c:pt idx="0">
                  <c:v>0.1079</c:v>
                </c:pt>
                <c:pt idx="1">
                  <c:v>0.15040000000000001</c:v>
                </c:pt>
                <c:pt idx="2">
                  <c:v>9.01E-2</c:v>
                </c:pt>
                <c:pt idx="3">
                  <c:v>9.0200000000000002E-2</c:v>
                </c:pt>
              </c:numCache>
            </c:numRef>
          </c:xVal>
          <c:yVal>
            <c:numRef>
              <c:f>Sheet1!$B$2:$B$5</c:f>
              <c:numCache>
                <c:formatCode>General</c:formatCode>
                <c:ptCount val="4"/>
                <c:pt idx="0">
                  <c:v>132.2051282051282</c:v>
                </c:pt>
                <c:pt idx="1">
                  <c:v>150.4736842105263</c:v>
                </c:pt>
                <c:pt idx="2">
                  <c:v>394.05084745762713</c:v>
                </c:pt>
                <c:pt idx="3">
                  <c:v>51.499999999999993</c:v>
                </c:pt>
              </c:numCache>
            </c:numRef>
          </c:yVal>
          <c:bubbleSize>
            <c:numRef>
              <c:f>Sheet1!$C$2:$C$5</c:f>
              <c:numCache>
                <c:formatCode>General</c:formatCode>
                <c:ptCount val="4"/>
                <c:pt idx="0">
                  <c:v>1787.8458000000001</c:v>
                </c:pt>
                <c:pt idx="1">
                  <c:v>2024.117</c:v>
                </c:pt>
                <c:pt idx="2">
                  <c:v>17628.3279</c:v>
                </c:pt>
                <c:pt idx="3">
                  <c:v>1093.3332</c:v>
                </c:pt>
              </c:numCache>
            </c:numRef>
          </c:bubbleSize>
          <c:bubble3D val="0"/>
          <c:extLst>
            <c:ext xmlns:c15="http://schemas.microsoft.com/office/drawing/2012/chart" uri="{02D57815-91ED-43cb-92C2-25804820EDAC}">
              <c15:datalabelsRange>
                <c15:f>Sheet1!$E$2:$E$50</c15:f>
                <c15:dlblRangeCache>
                  <c:ptCount val="49"/>
                  <c:pt idx="0">
                    <c:v>1/2 CHAMP NICOLAS BLC/BLC BS 1CT X 375ML</c:v>
                  </c:pt>
                  <c:pt idx="1">
                    <c:v>MG CHAMPAGNE NICOLAS BLC/BL BS 1CT X 1500ML</c:v>
                  </c:pt>
                  <c:pt idx="2">
                    <c:v>CHAMPAGNE NICOLAS BLC/BLC BS 1CT X 750ML</c:v>
                  </c:pt>
                  <c:pt idx="3">
                    <c:v>CHAMPAGNE NICOLAS BLC/BLC 2002 1CT X 750ML</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7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68CFC71F-37B5-496D-B683-D2D14FBC15A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D397801A-00D2-4A3B-8682-30D5305F063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94E5AECC-F9CF-45F0-B693-2E0BB15CCB2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F7719D41-D251-4134-BF3B-B9A13935F1D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BFDA-4C69-8E79-A083B7EFBA29}"/>
                </c:ext>
              </c:extLst>
            </c:dLbl>
            <c:dLbl>
              <c:idx val="7"/>
              <c:tx>
                <c:rich>
                  <a:bodyPr/>
                  <a:lstStyle/>
                  <a:p>
                    <a:fld id="{63BC23A4-EB31-4321-A7DD-B2351EC703B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1CFE06D7-4B74-4DEA-BAAB-B6FDEDF01F7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39B6C172-2F07-4C9C-8D9C-FF7A178067C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4</c:f>
              <c:numCache>
                <c:formatCode>General</c:formatCode>
                <c:ptCount val="3"/>
                <c:pt idx="0">
                  <c:v>0.1052</c:v>
                </c:pt>
                <c:pt idx="1">
                  <c:v>0.126</c:v>
                </c:pt>
                <c:pt idx="2">
                  <c:v>9.3799999999999994E-2</c:v>
                </c:pt>
              </c:numCache>
            </c:numRef>
          </c:xVal>
          <c:yVal>
            <c:numRef>
              <c:f>Sheet1!$B$2:$B$4</c:f>
              <c:numCache>
                <c:formatCode>General</c:formatCode>
                <c:ptCount val="3"/>
                <c:pt idx="0">
                  <c:v>50.150943396226417</c:v>
                </c:pt>
                <c:pt idx="1">
                  <c:v>103.61764705882349</c:v>
                </c:pt>
                <c:pt idx="2">
                  <c:v>276.32307692307688</c:v>
                </c:pt>
              </c:numCache>
            </c:numRef>
          </c:yVal>
          <c:bubbleSize>
            <c:numRef>
              <c:f>Sheet1!$C$2:$C$4</c:f>
              <c:numCache>
                <c:formatCode>General</c:formatCode>
                <c:ptCount val="3"/>
                <c:pt idx="0">
                  <c:v>1105.884</c:v>
                </c:pt>
                <c:pt idx="1">
                  <c:v>2565.979600000001</c:v>
                </c:pt>
                <c:pt idx="2">
                  <c:v>13564.0926</c:v>
                </c:pt>
              </c:numCache>
            </c:numRef>
          </c:bubbleSize>
          <c:bubble3D val="0"/>
          <c:extLst>
            <c:ext xmlns:c15="http://schemas.microsoft.com/office/drawing/2012/chart" uri="{02D57815-91ED-43cb-92C2-25804820EDAC}">
              <c15:datalabelsRange>
                <c15:f>Sheet1!$E$2:$E$50</c15:f>
                <c15:dlblRangeCache>
                  <c:ptCount val="49"/>
                  <c:pt idx="0">
                    <c:v>1/2 CHAMP NICOLAS BLC/BLC BS 1CT X 375ML</c:v>
                  </c:pt>
                  <c:pt idx="1">
                    <c:v>MG CHAMPAGNE NICOLAS BLC/BL BS 1CT X 1500ML</c:v>
                  </c:pt>
                  <c:pt idx="2">
                    <c:v>CHAMPAGNE NICOLAS BLC/BLC BS 1CT X 750ML</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7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B11DF283-BBCE-4971-85FE-015ECAC33B6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015C11D8-9A1A-454F-9AE4-340C1C3F864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13CB49B7-A71E-4AF3-9D9D-61313EC52C2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B140F6C0-3B6E-4513-9784-9DBAD45B2A1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BFDA-4C69-8E79-A083B7EFBA29}"/>
                </c:ext>
              </c:extLst>
            </c:dLbl>
            <c:dLbl>
              <c:idx val="7"/>
              <c:tx>
                <c:rich>
                  <a:bodyPr/>
                  <a:lstStyle/>
                  <a:p>
                    <a:fld id="{E6034D9D-4EC1-4A9A-B145-DA7E95B19D6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95BA51A9-5882-443B-B782-303ADA997C6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7C4C46FD-5B23-40E3-8262-3D4D7CF7F64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6</c:f>
              <c:numCache>
                <c:formatCode>General</c:formatCode>
                <c:ptCount val="5"/>
                <c:pt idx="0">
                  <c:v>8.1299999999999997E-2</c:v>
                </c:pt>
                <c:pt idx="1">
                  <c:v>7.2999999999999995E-2</c:v>
                </c:pt>
                <c:pt idx="2">
                  <c:v>0.1348</c:v>
                </c:pt>
                <c:pt idx="3">
                  <c:v>8.14E-2</c:v>
                </c:pt>
                <c:pt idx="4">
                  <c:v>5.2400000000000002E-2</c:v>
                </c:pt>
              </c:numCache>
            </c:numRef>
          </c:xVal>
          <c:yVal>
            <c:numRef>
              <c:f>Sheet1!$B$2:$B$6</c:f>
              <c:numCache>
                <c:formatCode>General</c:formatCode>
                <c:ptCount val="5"/>
                <c:pt idx="0">
                  <c:v>1603.583333333333</c:v>
                </c:pt>
                <c:pt idx="1">
                  <c:v>2556.3571428571431</c:v>
                </c:pt>
                <c:pt idx="2">
                  <c:v>2045</c:v>
                </c:pt>
                <c:pt idx="3">
                  <c:v>4890.9272727272719</c:v>
                </c:pt>
                <c:pt idx="4">
                  <c:v>2986</c:v>
                </c:pt>
              </c:numCache>
            </c:numRef>
          </c:yVal>
          <c:bubbleSize>
            <c:numRef>
              <c:f>Sheet1!$C$2:$C$6</c:f>
              <c:numCache>
                <c:formatCode>General</c:formatCode>
                <c:ptCount val="5"/>
                <c:pt idx="0">
                  <c:v>15261.199199999999</c:v>
                </c:pt>
                <c:pt idx="1">
                  <c:v>27646.147799999999</c:v>
                </c:pt>
                <c:pt idx="2">
                  <c:v>2162.9924999999998</c:v>
                </c:pt>
                <c:pt idx="3">
                  <c:v>205922.62530000001</c:v>
                </c:pt>
                <c:pt idx="4">
                  <c:v>9431.6645999999982</c:v>
                </c:pt>
              </c:numCache>
            </c:numRef>
          </c:bubbleSize>
          <c:bubble3D val="0"/>
          <c:extLst>
            <c:ext xmlns:c15="http://schemas.microsoft.com/office/drawing/2012/chart" uri="{02D57815-91ED-43cb-92C2-25804820EDAC}">
              <c15:datalabelsRange>
                <c15:f>Sheet1!$E$2:$E$50</c15:f>
                <c15:dlblRangeCache>
                  <c:ptCount val="49"/>
                  <c:pt idx="0">
                    <c:v>1/2 CHAMP NICOLAS BLC/BLC BS 1CT X 375ML</c:v>
                  </c:pt>
                  <c:pt idx="1">
                    <c:v>MG CHAMPAGNE NICOLAS BLC/BL BS 1CT X 1500ML</c:v>
                  </c:pt>
                  <c:pt idx="2">
                    <c:v>CHAMPAGNE NICOLAS BLC/BL BS ET 1CT X 750ML</c:v>
                  </c:pt>
                  <c:pt idx="3">
                    <c:v>CHAMPAGNE NICOLAS BLC/BLC BS 1CT X 750ML</c:v>
                  </c:pt>
                  <c:pt idx="4">
                    <c:v>CHAMPAGNE NICOLAS BLC/BLC 2002 1CT X 750ML</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7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BC051B30-43E9-4F1E-97F2-D219354403F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BA69517B-C52F-4141-9803-546CABCAC7D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2B2E7EEF-9EF4-4885-A881-1E22FF7D3B1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0449D5D2-287A-442E-B83A-857C2C6C8EA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BFDA-4C69-8E79-A083B7EFBA29}"/>
                </c:ext>
              </c:extLst>
            </c:dLbl>
            <c:dLbl>
              <c:idx val="7"/>
              <c:tx>
                <c:rich>
                  <a:bodyPr/>
                  <a:lstStyle/>
                  <a:p>
                    <a:fld id="{F8189CFA-8BE4-46A9-B86A-9C9904CF505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C50D03BA-CA3A-47E9-8739-8C5D138B770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4F3BC312-973B-4547-BB94-616AE37E290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5</c:f>
              <c:numCache>
                <c:formatCode>General</c:formatCode>
                <c:ptCount val="4"/>
                <c:pt idx="0">
                  <c:v>9.4399999999999998E-2</c:v>
                </c:pt>
                <c:pt idx="1">
                  <c:v>0.1147</c:v>
                </c:pt>
                <c:pt idx="2">
                  <c:v>8.6499999999999994E-2</c:v>
                </c:pt>
                <c:pt idx="3">
                  <c:v>0.1056</c:v>
                </c:pt>
              </c:numCache>
            </c:numRef>
          </c:xVal>
          <c:yVal>
            <c:numRef>
              <c:f>Sheet1!$B$2:$B$5</c:f>
              <c:numCache>
                <c:formatCode>General</c:formatCode>
                <c:ptCount val="4"/>
                <c:pt idx="0">
                  <c:v>214.32432432432429</c:v>
                </c:pt>
                <c:pt idx="1">
                  <c:v>330.95</c:v>
                </c:pt>
                <c:pt idx="2">
                  <c:v>578.94520547945206</c:v>
                </c:pt>
                <c:pt idx="3">
                  <c:v>217.29411764705881</c:v>
                </c:pt>
              </c:numCache>
            </c:numRef>
          </c:yVal>
          <c:bubbleSize>
            <c:numRef>
              <c:f>Sheet1!$C$2:$C$5</c:f>
              <c:numCache>
                <c:formatCode>General</c:formatCode>
                <c:ptCount val="4"/>
                <c:pt idx="0">
                  <c:v>3354.5148000000008</c:v>
                </c:pt>
                <c:pt idx="1">
                  <c:v>4883.0576000000001</c:v>
                </c:pt>
                <c:pt idx="2">
                  <c:v>32173.861499999999</c:v>
                </c:pt>
                <c:pt idx="3">
                  <c:v>2753.3327999999992</c:v>
                </c:pt>
              </c:numCache>
            </c:numRef>
          </c:bubbleSize>
          <c:bubble3D val="0"/>
          <c:extLst>
            <c:ext xmlns:c15="http://schemas.microsoft.com/office/drawing/2012/chart" uri="{02D57815-91ED-43cb-92C2-25804820EDAC}">
              <c15:datalabelsRange>
                <c15:f>Sheet1!$E$2:$E$50</c15:f>
                <c15:dlblRangeCache>
                  <c:ptCount val="49"/>
                  <c:pt idx="0">
                    <c:v>1/2 CHAMP NICOLAS BLC/BLC BS 1CT X 375ML</c:v>
                  </c:pt>
                  <c:pt idx="1">
                    <c:v>MG CHAMPAGNE NICOLAS BLC/BL BS 1CT X 1500ML</c:v>
                  </c:pt>
                  <c:pt idx="2">
                    <c:v>CHAMPAGNE NICOLAS BLC/BLC BS 1CT X 750ML</c:v>
                  </c:pt>
                  <c:pt idx="3">
                    <c:v>CHAMPAGNE NICOLAS BLC/BLC 2002 1CT X 750ML</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7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2AE3726F-E93F-4051-A420-09FD30088D7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87DAF1E6-9533-4FB8-B9E2-B1299E9F29A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F968D73C-6409-4AB3-9A7F-5439ED0C8F4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A612CBF1-228A-4E1B-833F-A9E457046D8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BFDA-4C69-8E79-A083B7EFBA29}"/>
                </c:ext>
              </c:extLst>
            </c:dLbl>
            <c:dLbl>
              <c:idx val="7"/>
              <c:tx>
                <c:rich>
                  <a:bodyPr/>
                  <a:lstStyle/>
                  <a:p>
                    <a:fld id="{43199382-F7EC-4601-884A-AF96DA762B6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507E0C60-3508-426C-B268-C4658D33301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22C29C66-5FA5-485E-84C6-BF1C16517AB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5</c:f>
              <c:numCache>
                <c:formatCode>General</c:formatCode>
                <c:ptCount val="4"/>
                <c:pt idx="0">
                  <c:v>0.1051</c:v>
                </c:pt>
                <c:pt idx="1">
                  <c:v>0.1236</c:v>
                </c:pt>
                <c:pt idx="2">
                  <c:v>9.6600000000000005E-2</c:v>
                </c:pt>
                <c:pt idx="3">
                  <c:v>0.21210000000000001</c:v>
                </c:pt>
              </c:numCache>
            </c:numRef>
          </c:xVal>
          <c:yVal>
            <c:numRef>
              <c:f>Sheet1!$B$2:$B$5</c:f>
              <c:numCache>
                <c:formatCode>General</c:formatCode>
                <c:ptCount val="4"/>
                <c:pt idx="0">
                  <c:v>93.030303030303031</c:v>
                </c:pt>
                <c:pt idx="1">
                  <c:v>181.44444444444451</c:v>
                </c:pt>
                <c:pt idx="2">
                  <c:v>265.66666666666669</c:v>
                </c:pt>
                <c:pt idx="3">
                  <c:v>106.21052631578949</c:v>
                </c:pt>
              </c:numCache>
            </c:numRef>
          </c:yVal>
          <c:bubbleSize>
            <c:numRef>
              <c:f>Sheet1!$C$2:$C$5</c:f>
              <c:numCache>
                <c:formatCode>General</c:formatCode>
                <c:ptCount val="4"/>
                <c:pt idx="0">
                  <c:v>1161.1782000000001</c:v>
                </c:pt>
                <c:pt idx="1">
                  <c:v>3578.0381000000002</c:v>
                </c:pt>
                <c:pt idx="2">
                  <c:v>12599.8182</c:v>
                </c:pt>
                <c:pt idx="3">
                  <c:v>1324.9998000000001</c:v>
                </c:pt>
              </c:numCache>
            </c:numRef>
          </c:bubbleSize>
          <c:bubble3D val="0"/>
          <c:extLst>
            <c:ext xmlns:c15="http://schemas.microsoft.com/office/drawing/2012/chart" uri="{02D57815-91ED-43cb-92C2-25804820EDAC}">
              <c15:datalabelsRange>
                <c15:f>Sheet1!$E$2:$E$50</c15:f>
                <c15:dlblRangeCache>
                  <c:ptCount val="49"/>
                  <c:pt idx="0">
                    <c:v>1/2 CHAMP NICOLAS BLC/BLC BS 1CT X 375ML</c:v>
                  </c:pt>
                  <c:pt idx="1">
                    <c:v>MG CHAMPAGNE NICOLAS BLC/BL BS 1CT X 1500ML</c:v>
                  </c:pt>
                  <c:pt idx="2">
                    <c:v>CHAMPAGNE NICOLAS BLC/BLC BS 1CT X 750ML</c:v>
                  </c:pt>
                  <c:pt idx="3">
                    <c:v>CHAMPAGNE NICOLAS BLC/BLC 2002 1CT X 750ML</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7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FAF57B72-449A-4609-98B6-B808D20D326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64C2CAB2-A059-42A7-89D2-AB2A73409C6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BFDA-4C69-8E79-A083B7EFBA29}"/>
                </c:ext>
              </c:extLst>
            </c:dLbl>
            <c:dLbl>
              <c:idx val="3"/>
              <c:tx>
                <c:rich>
                  <a:bodyPr/>
                  <a:lstStyle/>
                  <a:p>
                    <a:fld id="{51A425B6-2C54-460F-AF18-B7EE03377ED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FDE563AF-29C5-49AE-944A-DC419167FC2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BFDA-4C69-8E79-A083B7EFBA29}"/>
                </c:ext>
              </c:extLst>
            </c:dLbl>
            <c:dLbl>
              <c:idx val="7"/>
              <c:tx>
                <c:rich>
                  <a:bodyPr/>
                  <a:lstStyle/>
                  <a:p>
                    <a:fld id="{8743BEF1-00B5-44D1-B821-32C07944311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93E416A2-F8F5-4F57-8246-C5BE6DFE43F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8F74E148-608B-4CDC-BC00-9816F6CBC98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3</c:f>
              <c:numCache>
                <c:formatCode>General</c:formatCode>
                <c:ptCount val="2"/>
                <c:pt idx="0">
                  <c:v>0.1099</c:v>
                </c:pt>
                <c:pt idx="1">
                  <c:v>9.69E-2</c:v>
                </c:pt>
              </c:numCache>
            </c:numRef>
          </c:xVal>
          <c:yVal>
            <c:numRef>
              <c:f>Sheet1!$B$2:$B$3</c:f>
              <c:numCache>
                <c:formatCode>General</c:formatCode>
                <c:ptCount val="2"/>
                <c:pt idx="0">
                  <c:v>91.3125</c:v>
                </c:pt>
                <c:pt idx="1">
                  <c:v>157.69642857142861</c:v>
                </c:pt>
              </c:numCache>
            </c:numRef>
          </c:yVal>
          <c:bubbleSize>
            <c:numRef>
              <c:f>Sheet1!$C$2:$C$3</c:f>
              <c:numCache>
                <c:formatCode>General</c:formatCode>
                <c:ptCount val="2"/>
                <c:pt idx="0">
                  <c:v>1083.7252000000001</c:v>
                </c:pt>
                <c:pt idx="1">
                  <c:v>6645.877199999999</c:v>
                </c:pt>
              </c:numCache>
            </c:numRef>
          </c:bubbleSize>
          <c:bubble3D val="0"/>
          <c:extLst>
            <c:ext xmlns:c15="http://schemas.microsoft.com/office/drawing/2012/chart" uri="{02D57815-91ED-43cb-92C2-25804820EDAC}">
              <c15:datalabelsRange>
                <c15:f>Sheet1!$E$2:$E$50</c15:f>
                <c15:dlblRangeCache>
                  <c:ptCount val="49"/>
                  <c:pt idx="0">
                    <c:v>MG CHAMPAGNE NICOLAS BLC/BL BS 1CT X 1500ML</c:v>
                  </c:pt>
                  <c:pt idx="1">
                    <c:v>CHAMPAGNE NICOLAS BLC/BLC BS 1CT X 750ML</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7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11989EBE-2D04-4133-8B09-4F250A732E8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BFDA-4C69-8E79-A083B7EFBA29}"/>
                </c:ext>
              </c:extLst>
            </c:dLbl>
            <c:dLbl>
              <c:idx val="2"/>
              <c:tx>
                <c:rich>
                  <a:bodyPr/>
                  <a:lstStyle/>
                  <a:p>
                    <a:fld id="{8C41E7B1-69F2-4690-94D1-66EC833F2F3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BFDA-4C69-8E79-A083B7EFBA29}"/>
                </c:ext>
              </c:extLst>
            </c:dLbl>
            <c:dLbl>
              <c:idx val="3"/>
              <c:tx>
                <c:rich>
                  <a:bodyPr/>
                  <a:lstStyle/>
                  <a:p>
                    <a:fld id="{CAE7F8EC-2613-4F94-8D16-96BA6CF4766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7849FCFF-5739-486F-BC9B-02B1644AFDA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BFDA-4C69-8E79-A083B7EFBA29}"/>
                </c:ext>
              </c:extLst>
            </c:dLbl>
            <c:dLbl>
              <c:idx val="7"/>
              <c:tx>
                <c:rich>
                  <a:bodyPr/>
                  <a:lstStyle/>
                  <a:p>
                    <a:fld id="{9D00E992-D32F-4B54-8964-E248B530AE2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5EAA6173-C4CE-4020-A794-718E2D69225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986D4EF7-8C5E-415A-B5E4-E0DFDB69D42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2</c:f>
              <c:numCache>
                <c:formatCode>General</c:formatCode>
                <c:ptCount val="1"/>
                <c:pt idx="0">
                  <c:v>9.8900000000000002E-2</c:v>
                </c:pt>
              </c:numCache>
            </c:numRef>
          </c:xVal>
          <c:yVal>
            <c:numRef>
              <c:f>Sheet1!$B$2:$B$2</c:f>
              <c:numCache>
                <c:formatCode>General</c:formatCode>
                <c:ptCount val="1"/>
                <c:pt idx="0">
                  <c:v>192.4651162790698</c:v>
                </c:pt>
              </c:numCache>
            </c:numRef>
          </c:yVal>
          <c:bubbleSize>
            <c:numRef>
              <c:f>Sheet1!$C$2:$C$2</c:f>
              <c:numCache>
                <c:formatCode>General</c:formatCode>
                <c:ptCount val="1"/>
                <c:pt idx="0">
                  <c:v>6214.7007000000003</c:v>
                </c:pt>
              </c:numCache>
            </c:numRef>
          </c:bubbleSize>
          <c:bubble3D val="0"/>
          <c:extLst>
            <c:ext xmlns:c15="http://schemas.microsoft.com/office/drawing/2012/chart" uri="{02D57815-91ED-43cb-92C2-25804820EDAC}">
              <c15:datalabelsRange>
                <c15:f>Sheet1!$E$2:$E$50</c15:f>
                <c15:dlblRangeCache>
                  <c:ptCount val="49"/>
                  <c:pt idx="0">
                    <c:v>CHAMPAGNE NICOLAS BLC/BLC BS 1CT X 750ML</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7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4A888BDC-9865-49EB-9FBE-C4A6E5DE4E1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D79CD3A6-3A3B-4C76-8930-F567344F6B1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9009C65E-D431-4178-AC8E-2E4B21651DC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0D32F672-7DBC-4C3E-944F-664A2146676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BFDA-4C69-8E79-A083B7EFBA29}"/>
                </c:ext>
              </c:extLst>
            </c:dLbl>
            <c:dLbl>
              <c:idx val="7"/>
              <c:tx>
                <c:rich>
                  <a:bodyPr/>
                  <a:lstStyle/>
                  <a:p>
                    <a:fld id="{EC765B39-B705-4343-8B47-1B5961DAF7C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DE0D5C41-5436-433F-AC92-93CD8A3D423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4C7193EE-0664-462D-8F3D-D4C22A6062A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5</c:f>
              <c:numCache>
                <c:formatCode>General</c:formatCode>
                <c:ptCount val="4"/>
                <c:pt idx="0">
                  <c:v>8.2100000000000006E-2</c:v>
                </c:pt>
                <c:pt idx="1">
                  <c:v>8.3199999999999996E-2</c:v>
                </c:pt>
                <c:pt idx="2">
                  <c:v>8.1100000000000005E-2</c:v>
                </c:pt>
                <c:pt idx="3">
                  <c:v>7.0199999999999999E-2</c:v>
                </c:pt>
              </c:numCache>
            </c:numRef>
          </c:xVal>
          <c:yVal>
            <c:numRef>
              <c:f>Sheet1!$B$2:$B$5</c:f>
              <c:numCache>
                <c:formatCode>General</c:formatCode>
                <c:ptCount val="4"/>
                <c:pt idx="0">
                  <c:v>443.71428571428572</c:v>
                </c:pt>
                <c:pt idx="1">
                  <c:v>697.86956521739125</c:v>
                </c:pt>
                <c:pt idx="2">
                  <c:v>1545.1</c:v>
                </c:pt>
                <c:pt idx="3">
                  <c:v>905.142857142857</c:v>
                </c:pt>
              </c:numCache>
            </c:numRef>
          </c:yVal>
          <c:bubbleSize>
            <c:numRef>
              <c:f>Sheet1!$C$2:$C$5</c:f>
              <c:numCache>
                <c:formatCode>General</c:formatCode>
                <c:ptCount val="4"/>
                <c:pt idx="0">
                  <c:v>6561.5784000000003</c:v>
                </c:pt>
                <c:pt idx="1">
                  <c:v>12262.8586</c:v>
                </c:pt>
                <c:pt idx="2">
                  <c:v>82824.232499999998</c:v>
                </c:pt>
                <c:pt idx="3">
                  <c:v>4909.1655000000001</c:v>
                </c:pt>
              </c:numCache>
            </c:numRef>
          </c:bubbleSize>
          <c:bubble3D val="0"/>
          <c:extLst>
            <c:ext xmlns:c15="http://schemas.microsoft.com/office/drawing/2012/chart" uri="{02D57815-91ED-43cb-92C2-25804820EDAC}">
              <c15:datalabelsRange>
                <c15:f>Sheet1!$E$2:$E$50</c15:f>
                <c15:dlblRangeCache>
                  <c:ptCount val="49"/>
                  <c:pt idx="0">
                    <c:v>1/2 CHAMP NICOLAS BLC/BLC BS 1CT X 375ML</c:v>
                  </c:pt>
                  <c:pt idx="1">
                    <c:v>MG CHAMPAGNE NICOLAS BLC/BL BS 1CT X 1500ML</c:v>
                  </c:pt>
                  <c:pt idx="2">
                    <c:v>CHAMPAGNE NICOLAS BLC/BLC BS 1CT X 750ML</c:v>
                  </c:pt>
                  <c:pt idx="3">
                    <c:v>CHAMPAGNE NICOLAS BLC/BLC 2002 1CT X 750ML</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7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224260F4-91EB-466B-B4F7-2430FA54490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660A67A0-2804-4529-911D-36D1DE026FB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EEFBC94D-18E5-489F-B7A1-4513B4BFDD3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515B1970-89F8-4457-A53E-C7639CB61D1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BFDA-4C69-8E79-A083B7EFBA29}"/>
                </c:ext>
              </c:extLst>
            </c:dLbl>
            <c:dLbl>
              <c:idx val="7"/>
              <c:tx>
                <c:rich>
                  <a:bodyPr/>
                  <a:lstStyle/>
                  <a:p>
                    <a:fld id="{D7E4E38A-F110-4BCA-B073-7C27E68E4FF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960FEBB6-E28E-43E7-9EC1-94C5FAAEC59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46932596-5C73-4B58-BD63-E2593D0FF3F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5</c:f>
              <c:numCache>
                <c:formatCode>General</c:formatCode>
                <c:ptCount val="4"/>
                <c:pt idx="0">
                  <c:v>9.3399999999999997E-2</c:v>
                </c:pt>
                <c:pt idx="1">
                  <c:v>0.1007</c:v>
                </c:pt>
                <c:pt idx="2">
                  <c:v>8.3299999999999999E-2</c:v>
                </c:pt>
                <c:pt idx="3">
                  <c:v>9.7799999999999998E-2</c:v>
                </c:pt>
              </c:numCache>
            </c:numRef>
          </c:xVal>
          <c:yVal>
            <c:numRef>
              <c:f>Sheet1!$B$2:$B$5</c:f>
              <c:numCache>
                <c:formatCode>General</c:formatCode>
                <c:ptCount val="4"/>
                <c:pt idx="0">
                  <c:v>226.33333333333329</c:v>
                </c:pt>
                <c:pt idx="1">
                  <c:v>456.84210526315792</c:v>
                </c:pt>
                <c:pt idx="2">
                  <c:v>791.89855072463763</c:v>
                </c:pt>
                <c:pt idx="3">
                  <c:v>578.6</c:v>
                </c:pt>
              </c:numCache>
            </c:numRef>
          </c:yVal>
          <c:bubbleSize>
            <c:numRef>
              <c:f>Sheet1!$C$2:$C$5</c:f>
              <c:numCache>
                <c:formatCode>General</c:formatCode>
                <c:ptCount val="4"/>
                <c:pt idx="0">
                  <c:v>2746.2786000000001</c:v>
                </c:pt>
                <c:pt idx="1">
                  <c:v>6504.7816999999995</c:v>
                </c:pt>
                <c:pt idx="2">
                  <c:v>41743.224000000002</c:v>
                </c:pt>
                <c:pt idx="3">
                  <c:v>2174.9994000000002</c:v>
                </c:pt>
              </c:numCache>
            </c:numRef>
          </c:bubbleSize>
          <c:bubble3D val="0"/>
          <c:extLst>
            <c:ext xmlns:c15="http://schemas.microsoft.com/office/drawing/2012/chart" uri="{02D57815-91ED-43cb-92C2-25804820EDAC}">
              <c15:datalabelsRange>
                <c15:f>Sheet1!$E$2:$E$50</c15:f>
                <c15:dlblRangeCache>
                  <c:ptCount val="49"/>
                  <c:pt idx="0">
                    <c:v>1/2 CHAMP NICOLAS BLC/BLC BS 1CT X 375ML</c:v>
                  </c:pt>
                  <c:pt idx="1">
                    <c:v>MG CHAMPAGNE NICOLAS BLC/BL BS 1CT X 1500ML</c:v>
                  </c:pt>
                  <c:pt idx="2">
                    <c:v>CHAMPAGNE NICOLAS BLC/BLC BS 1CT X 750ML</c:v>
                  </c:pt>
                  <c:pt idx="3">
                    <c:v>CHAMPAGNE NICOLAS BLC/BLC 2002 1CT X 750ML</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7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CA3370A8-5322-42D9-837E-FB0EF5F169B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93A39636-E6E5-42B4-9653-EA4501FEA47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F5CA0522-D82A-4A1F-81A3-335B9427617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EB668CD7-3999-4FEF-B1B6-C47978C25C3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BFDA-4C69-8E79-A083B7EFBA29}"/>
                </c:ext>
              </c:extLst>
            </c:dLbl>
            <c:dLbl>
              <c:idx val="7"/>
              <c:tx>
                <c:rich>
                  <a:bodyPr/>
                  <a:lstStyle/>
                  <a:p>
                    <a:fld id="{91E95E2D-F58A-4B61-80E4-023493396D8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7667FAE7-29D4-4199-BB03-2E2BD0BCA8A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4FB5F55C-B8FC-4CDD-9A46-E13ADAD2F96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5</c:f>
              <c:numCache>
                <c:formatCode>General</c:formatCode>
                <c:ptCount val="4"/>
                <c:pt idx="0">
                  <c:v>8.8300000000000003E-2</c:v>
                </c:pt>
                <c:pt idx="1">
                  <c:v>8.7999999999999995E-2</c:v>
                </c:pt>
                <c:pt idx="2">
                  <c:v>8.2600000000000007E-2</c:v>
                </c:pt>
                <c:pt idx="3">
                  <c:v>9.8799999999999999E-2</c:v>
                </c:pt>
              </c:numCache>
            </c:numRef>
          </c:xVal>
          <c:yVal>
            <c:numRef>
              <c:f>Sheet1!$B$2:$B$5</c:f>
              <c:numCache>
                <c:formatCode>General</c:formatCode>
                <c:ptCount val="4"/>
                <c:pt idx="0">
                  <c:v>624.6</c:v>
                </c:pt>
                <c:pt idx="1">
                  <c:v>946.84615384615381</c:v>
                </c:pt>
                <c:pt idx="2">
                  <c:v>1649.4313725490199</c:v>
                </c:pt>
                <c:pt idx="3">
                  <c:v>940.83333333333337</c:v>
                </c:pt>
              </c:numCache>
            </c:numRef>
          </c:yVal>
          <c:bubbleSize>
            <c:numRef>
              <c:f>Sheet1!$C$2:$C$5</c:f>
              <c:numCache>
                <c:formatCode>General</c:formatCode>
                <c:ptCount val="4"/>
                <c:pt idx="0">
                  <c:v>6119.2248</c:v>
                </c:pt>
                <c:pt idx="1">
                  <c:v>9354.9976000000006</c:v>
                </c:pt>
                <c:pt idx="2">
                  <c:v>64308.811500000003</c:v>
                </c:pt>
                <c:pt idx="3">
                  <c:v>4239.1659</c:v>
                </c:pt>
              </c:numCache>
            </c:numRef>
          </c:bubbleSize>
          <c:bubble3D val="0"/>
          <c:extLst>
            <c:ext xmlns:c15="http://schemas.microsoft.com/office/drawing/2012/chart" uri="{02D57815-91ED-43cb-92C2-25804820EDAC}">
              <c15:datalabelsRange>
                <c15:f>Sheet1!$E$2:$E$50</c15:f>
                <c15:dlblRangeCache>
                  <c:ptCount val="49"/>
                  <c:pt idx="0">
                    <c:v>1/2 CHAMP NICOLAS BLC/BLC BS 1CT X 375ML</c:v>
                  </c:pt>
                  <c:pt idx="1">
                    <c:v>MG CHAMPAGNE NICOLAS BLC/BL BS 1CT X 1500ML</c:v>
                  </c:pt>
                  <c:pt idx="2">
                    <c:v>CHAMPAGNE NICOLAS BLC/BLC BS 1CT X 750ML</c:v>
                  </c:pt>
                  <c:pt idx="3">
                    <c:v>CHAMPAGNE NICOLAS BLC/BLC 2002 1CT X 750ML</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7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FA951095-E320-409A-8554-45B0393E893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81B6F9AC-D848-4438-BFB2-2C4448B7634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6953095C-B452-4122-9A26-F9C3AF5975B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53317B57-D00D-44B4-B235-EB96EB6311A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BFDA-4C69-8E79-A083B7EFBA29}"/>
                </c:ext>
              </c:extLst>
            </c:dLbl>
            <c:dLbl>
              <c:idx val="7"/>
              <c:tx>
                <c:rich>
                  <a:bodyPr/>
                  <a:lstStyle/>
                  <a:p>
                    <a:fld id="{6BBDC650-2109-44F4-A0E2-21772BB044A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3C51EB7D-BB29-4E03-B797-DCE7F8C6A79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905B472D-9D70-4F5A-BBA1-6D98E6F0A62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5</c:f>
              <c:numCache>
                <c:formatCode>General</c:formatCode>
                <c:ptCount val="4"/>
                <c:pt idx="0">
                  <c:v>9.0800000000000006E-2</c:v>
                </c:pt>
                <c:pt idx="1">
                  <c:v>9.3299999999999994E-2</c:v>
                </c:pt>
                <c:pt idx="2">
                  <c:v>8.6699999999999999E-2</c:v>
                </c:pt>
                <c:pt idx="3">
                  <c:v>0.1168</c:v>
                </c:pt>
              </c:numCache>
            </c:numRef>
          </c:xVal>
          <c:yVal>
            <c:numRef>
              <c:f>Sheet1!$B$2:$B$5</c:f>
              <c:numCache>
                <c:formatCode>General</c:formatCode>
                <c:ptCount val="4"/>
                <c:pt idx="0">
                  <c:v>653.5333333333333</c:v>
                </c:pt>
                <c:pt idx="1">
                  <c:v>1009.75</c:v>
                </c:pt>
                <c:pt idx="2">
                  <c:v>1265.294117647059</c:v>
                </c:pt>
                <c:pt idx="3">
                  <c:v>1255.666666666667</c:v>
                </c:pt>
              </c:numCache>
            </c:numRef>
          </c:yVal>
          <c:bubbleSize>
            <c:numRef>
              <c:f>Sheet1!$C$2:$C$5</c:f>
              <c:numCache>
                <c:formatCode>General</c:formatCode>
                <c:ptCount val="4"/>
                <c:pt idx="0">
                  <c:v>3723.1428000000001</c:v>
                </c:pt>
                <c:pt idx="1">
                  <c:v>6103.8220000000001</c:v>
                </c:pt>
                <c:pt idx="2">
                  <c:v>49115.3364</c:v>
                </c:pt>
                <c:pt idx="3">
                  <c:v>2772.4994999999999</c:v>
                </c:pt>
              </c:numCache>
            </c:numRef>
          </c:bubbleSize>
          <c:bubble3D val="0"/>
          <c:extLst>
            <c:ext xmlns:c15="http://schemas.microsoft.com/office/drawing/2012/chart" uri="{02D57815-91ED-43cb-92C2-25804820EDAC}">
              <c15:datalabelsRange>
                <c15:f>Sheet1!$E$2:$E$50</c15:f>
                <c15:dlblRangeCache>
                  <c:ptCount val="49"/>
                  <c:pt idx="0">
                    <c:v>1/2 CHAMP NICOLAS BLC/BLC BS 1CT X 375ML</c:v>
                  </c:pt>
                  <c:pt idx="1">
                    <c:v>MG CHAMPAGNE NICOLAS BLC/BL BS 1CT X 1500ML</c:v>
                  </c:pt>
                  <c:pt idx="2">
                    <c:v>CHAMPAGNE NICOLAS BLC/BLC BS 1CT X 750ML</c:v>
                  </c:pt>
                  <c:pt idx="3">
                    <c:v>CHAMPAGNE NICOLAS BLC/BLC 2002 1CT X 750ML</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7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5A2BC920-AB88-4E83-939E-F20A5893EB3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E99A45D2-6C8F-4C09-A7C6-092A2F15805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0774A9C5-998F-4EAB-9F22-5F384F7FCB6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77894D01-776B-4CA5-B013-06DEAB21489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BFDA-4C69-8E79-A083B7EFBA29}"/>
                </c:ext>
              </c:extLst>
            </c:dLbl>
            <c:dLbl>
              <c:idx val="7"/>
              <c:tx>
                <c:rich>
                  <a:bodyPr/>
                  <a:lstStyle/>
                  <a:p>
                    <a:fld id="{E29E51CB-4D52-41E8-A6B0-2D9CA037BD3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4E9BA4E2-5F4E-42D3-B22B-F4C783EE4D6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6A81DC0B-6E85-4536-8D99-7B05F7A11BB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6</c:f>
              <c:numCache>
                <c:formatCode>General</c:formatCode>
                <c:ptCount val="5"/>
                <c:pt idx="0">
                  <c:v>8.5599999999999996E-2</c:v>
                </c:pt>
                <c:pt idx="1">
                  <c:v>8.14E-2</c:v>
                </c:pt>
                <c:pt idx="2">
                  <c:v>0.15110000000000001</c:v>
                </c:pt>
                <c:pt idx="3">
                  <c:v>8.4500000000000006E-2</c:v>
                </c:pt>
                <c:pt idx="4">
                  <c:v>9.9699999999999997E-2</c:v>
                </c:pt>
              </c:numCache>
            </c:numRef>
          </c:xVal>
          <c:yVal>
            <c:numRef>
              <c:f>Sheet1!$B$2:$B$6</c:f>
              <c:numCache>
                <c:formatCode>General</c:formatCode>
                <c:ptCount val="5"/>
                <c:pt idx="0">
                  <c:v>642</c:v>
                </c:pt>
                <c:pt idx="1">
                  <c:v>1263.2</c:v>
                </c:pt>
                <c:pt idx="2">
                  <c:v>818.25</c:v>
                </c:pt>
                <c:pt idx="3">
                  <c:v>2260.5294117647059</c:v>
                </c:pt>
                <c:pt idx="4">
                  <c:v>790.33333333333337</c:v>
                </c:pt>
              </c:numCache>
            </c:numRef>
          </c:yVal>
          <c:bubbleSize>
            <c:numRef>
              <c:f>Sheet1!$C$2:$C$6</c:f>
              <c:numCache>
                <c:formatCode>General</c:formatCode>
                <c:ptCount val="5"/>
                <c:pt idx="0">
                  <c:v>4700.0069999999996</c:v>
                </c:pt>
                <c:pt idx="1">
                  <c:v>9669.2716999999993</c:v>
                </c:pt>
                <c:pt idx="2">
                  <c:v>1874.5934999999999</c:v>
                </c:pt>
                <c:pt idx="3">
                  <c:v>58638.855600000003</c:v>
                </c:pt>
                <c:pt idx="4">
                  <c:v>3557.499299999999</c:v>
                </c:pt>
              </c:numCache>
            </c:numRef>
          </c:bubbleSize>
          <c:bubble3D val="0"/>
          <c:extLst>
            <c:ext xmlns:c15="http://schemas.microsoft.com/office/drawing/2012/chart" uri="{02D57815-91ED-43cb-92C2-25804820EDAC}">
              <c15:datalabelsRange>
                <c15:f>Sheet1!$E$2:$E$50</c15:f>
                <c15:dlblRangeCache>
                  <c:ptCount val="49"/>
                  <c:pt idx="0">
                    <c:v>1/2 CHAMP NICOLAS BLC/BLC BS 1CT X 375ML</c:v>
                  </c:pt>
                  <c:pt idx="1">
                    <c:v>MG CHAMPAGNE NICOLAS BLC/BL BS 1CT X 1500ML</c:v>
                  </c:pt>
                  <c:pt idx="2">
                    <c:v>CHAMPAGNE NICOLAS BLC/BL BS ET 1CT X 750ML</c:v>
                  </c:pt>
                  <c:pt idx="3">
                    <c:v>CHAMPAGNE NICOLAS BLC/BLC BS 1CT X 750ML</c:v>
                  </c:pt>
                  <c:pt idx="4">
                    <c:v>CHAMPAGNE NICOLAS BLC/BLC 2002 1CT X 750ML</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7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99D16A63-7E0B-4D53-AFDA-5E689629621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D72D684C-798A-4B39-B320-75A093AF06D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93524154-7580-4406-B8A2-89B1CEE38BF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E959B657-8940-4831-B3BF-B3D7A35BFEE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A422D397-2E4D-4EFA-A769-10E92459DA9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D880CB7C-D6D0-481C-9845-FDC422F79ED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C6AB6C85-840C-49CC-ADAC-568BC81078A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8</c:f>
              <c:numCache>
                <c:formatCode>General</c:formatCode>
                <c:ptCount val="7"/>
                <c:pt idx="0">
                  <c:v>1.43E-2</c:v>
                </c:pt>
                <c:pt idx="1">
                  <c:v>-2.4E-2</c:v>
                </c:pt>
                <c:pt idx="2">
                  <c:v>0.1159</c:v>
                </c:pt>
                <c:pt idx="3">
                  <c:v>1.35E-2</c:v>
                </c:pt>
                <c:pt idx="4">
                  <c:v>3.6400000000000002E-2</c:v>
                </c:pt>
                <c:pt idx="5">
                  <c:v>4.0800000000000003E-2</c:v>
                </c:pt>
                <c:pt idx="6">
                  <c:v>8.2100000000000006E-2</c:v>
                </c:pt>
              </c:numCache>
            </c:numRef>
          </c:xVal>
          <c:yVal>
            <c:numRef>
              <c:f>Sheet1!$B$2:$B$8</c:f>
              <c:numCache>
                <c:formatCode>General</c:formatCode>
                <c:ptCount val="7"/>
                <c:pt idx="0">
                  <c:v>3678.7795275590552</c:v>
                </c:pt>
                <c:pt idx="1">
                  <c:v>3148.787483702738</c:v>
                </c:pt>
                <c:pt idx="2">
                  <c:v>1560.550847457627</c:v>
                </c:pt>
                <c:pt idx="3">
                  <c:v>3041.15</c:v>
                </c:pt>
                <c:pt idx="4">
                  <c:v>2524.7422680412369</c:v>
                </c:pt>
                <c:pt idx="5">
                  <c:v>41115.460921843689</c:v>
                </c:pt>
                <c:pt idx="6">
                  <c:v>1050</c:v>
                </c:pt>
              </c:numCache>
            </c:numRef>
          </c:yVal>
          <c:bubbleSize>
            <c:numRef>
              <c:f>Sheet1!$C$2:$C$8</c:f>
              <c:numCache>
                <c:formatCode>General</c:formatCode>
                <c:ptCount val="7"/>
                <c:pt idx="0">
                  <c:v>76755.032399999996</c:v>
                </c:pt>
                <c:pt idx="1">
                  <c:v>206088.80379999999</c:v>
                </c:pt>
                <c:pt idx="2">
                  <c:v>16768.147499999999</c:v>
                </c:pt>
                <c:pt idx="3">
                  <c:v>27280</c:v>
                </c:pt>
                <c:pt idx="4">
                  <c:v>78663.179999999993</c:v>
                </c:pt>
                <c:pt idx="5">
                  <c:v>3279757.6026000022</c:v>
                </c:pt>
                <c:pt idx="6">
                  <c:v>8672.2607999999982</c:v>
                </c:pt>
              </c:numCache>
            </c:numRef>
          </c:bubbleSize>
          <c:bubble3D val="0"/>
          <c:extLst>
            <c:ext xmlns:c15="http://schemas.microsoft.com/office/drawing/2012/chart" uri="{02D57815-91ED-43cb-92C2-25804820EDAC}">
              <c15:datalabelsRange>
                <c15:f>Sheet1!$E$2:$E$50</c15:f>
                <c15:dlblRangeCache>
                  <c:ptCount val="49"/>
                  <c:pt idx="0">
                    <c:v>MG CHAMPAGNE E.NICOLAS BRUT 1CT X 1500ML</c:v>
                  </c:pt>
                  <c:pt idx="1">
                    <c:v>CHAMPAGNE NICOLAS 1ERE CUVEE 1CT X 750ML</c:v>
                  </c:pt>
                  <c:pt idx="2">
                    <c:v>MG CHAMPAGNE NICOLAS 1ERE CUVE 1CT X 1500ML</c:v>
                  </c:pt>
                  <c:pt idx="3">
                    <c:v>CHAMPAGNE NICOLAS BIO NAT 2017 1CT X 750ML</c:v>
                  </c:pt>
                  <c:pt idx="4">
                    <c:v>1/2 CHAMPAGNE NICOLAS 1ERE CUV 1CT X 375ML</c:v>
                  </c:pt>
                  <c:pt idx="5">
                    <c:v>CHAMPAGNE E.NICOLAS BRUT 1CT X 750ML</c:v>
                  </c:pt>
                  <c:pt idx="6">
                    <c:v>CHAMPAGNE NICOLAS 1ERE CUV ETU 1CT X 750ML</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7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A440BA58-0607-4B29-8731-68884B033E5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1831FC8F-EEE1-41E5-977F-E4309EDB791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3D58A24C-0685-40BC-8ABA-0B0A6052442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592FC849-6297-463C-9735-A43CA6977BA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B868BE57-AF7E-4C8C-AF94-710BC11BC60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0B1392CD-41C6-4CC7-BEAC-06795BFAC8C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2B6E72FD-A58E-4ACA-955F-BFCDCBD4BC3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8</c:f>
              <c:numCache>
                <c:formatCode>General</c:formatCode>
                <c:ptCount val="7"/>
                <c:pt idx="0">
                  <c:v>4.1999999999999997E-3</c:v>
                </c:pt>
                <c:pt idx="1">
                  <c:v>-2.7400000000000001E-2</c:v>
                </c:pt>
                <c:pt idx="2">
                  <c:v>0.1007</c:v>
                </c:pt>
                <c:pt idx="3">
                  <c:v>-2.5999999999999999E-3</c:v>
                </c:pt>
                <c:pt idx="4">
                  <c:v>2.9399999999999999E-2</c:v>
                </c:pt>
                <c:pt idx="5">
                  <c:v>4.2700000000000002E-2</c:v>
                </c:pt>
                <c:pt idx="6">
                  <c:v>5.7000000000000002E-2</c:v>
                </c:pt>
              </c:numCache>
            </c:numRef>
          </c:xVal>
          <c:yVal>
            <c:numRef>
              <c:f>Sheet1!$B$2:$B$8</c:f>
              <c:numCache>
                <c:formatCode>General</c:formatCode>
                <c:ptCount val="7"/>
                <c:pt idx="0">
                  <c:v>2173.166666666667</c:v>
                </c:pt>
                <c:pt idx="1">
                  <c:v>1336</c:v>
                </c:pt>
                <c:pt idx="2">
                  <c:v>539.48148148148152</c:v>
                </c:pt>
                <c:pt idx="3">
                  <c:v>1529.526315789474</c:v>
                </c:pt>
                <c:pt idx="4">
                  <c:v>1241.6756756756761</c:v>
                </c:pt>
                <c:pt idx="5">
                  <c:v>18113.009999999998</c:v>
                </c:pt>
                <c:pt idx="6">
                  <c:v>455.49999999999989</c:v>
                </c:pt>
              </c:numCache>
            </c:numRef>
          </c:yVal>
          <c:bubbleSize>
            <c:numRef>
              <c:f>Sheet1!$C$2:$C$8</c:f>
              <c:numCache>
                <c:formatCode>General</c:formatCode>
                <c:ptCount val="7"/>
                <c:pt idx="0">
                  <c:v>32460.013800000001</c:v>
                </c:pt>
                <c:pt idx="1">
                  <c:v>94936.974799999996</c:v>
                </c:pt>
                <c:pt idx="2">
                  <c:v>6741.8325000000004</c:v>
                </c:pt>
                <c:pt idx="3">
                  <c:v>13523.75</c:v>
                </c:pt>
                <c:pt idx="4">
                  <c:v>37160.055</c:v>
                </c:pt>
                <c:pt idx="5">
                  <c:v>1444977.4757999999</c:v>
                </c:pt>
                <c:pt idx="6">
                  <c:v>4181.2686000000003</c:v>
                </c:pt>
              </c:numCache>
            </c:numRef>
          </c:bubbleSize>
          <c:bubble3D val="0"/>
          <c:extLst>
            <c:ext xmlns:c15="http://schemas.microsoft.com/office/drawing/2012/chart" uri="{02D57815-91ED-43cb-92C2-25804820EDAC}">
              <c15:datalabelsRange>
                <c15:f>Sheet1!$E$2:$E$50</c15:f>
                <c15:dlblRangeCache>
                  <c:ptCount val="49"/>
                  <c:pt idx="0">
                    <c:v>MG CHAMPAGNE E.NICOLAS BRUT 1CT X 1500ML</c:v>
                  </c:pt>
                  <c:pt idx="1">
                    <c:v>CHAMPAGNE NICOLAS 1ERE CUVEE 1CT X 750ML</c:v>
                  </c:pt>
                  <c:pt idx="2">
                    <c:v>MG CHAMPAGNE NICOLAS 1ERE CUVE 1CT X 1500ML</c:v>
                  </c:pt>
                  <c:pt idx="3">
                    <c:v>CHAMPAGNE NICOLAS BIO NAT 2017 1CT X 750ML</c:v>
                  </c:pt>
                  <c:pt idx="4">
                    <c:v>1/2 CHAMPAGNE NICOLAS 1ERE CUV 1CT X 375ML</c:v>
                  </c:pt>
                  <c:pt idx="5">
                    <c:v>CHAMPAGNE E.NICOLAS BRUT 1CT X 750ML</c:v>
                  </c:pt>
                  <c:pt idx="6">
                    <c:v>CHAMPAGNE NICOLAS 1ERE CUV ETU 1CT X 750ML</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7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C133697A-BE9B-4907-8642-419EEE73B76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C068F536-267C-4C4B-996F-875EAB9DEFD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D2863F48-9D2D-46EE-9ED0-FA82794358F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541E6879-1158-4B4C-80DD-1261761AB66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DEDF688A-EA40-44C9-BA62-2BE4CE51811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A319E4AE-A76E-4206-9F0E-E983B07351D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8B33A180-FED8-4D25-9310-8C5C9C3303F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8</c:f>
              <c:numCache>
                <c:formatCode>General</c:formatCode>
                <c:ptCount val="7"/>
                <c:pt idx="0">
                  <c:v>-2.9999999999999997E-4</c:v>
                </c:pt>
                <c:pt idx="1">
                  <c:v>-5.4399999999999997E-2</c:v>
                </c:pt>
                <c:pt idx="2">
                  <c:v>0.1119</c:v>
                </c:pt>
                <c:pt idx="3">
                  <c:v>1.0500000000000001E-2</c:v>
                </c:pt>
                <c:pt idx="4">
                  <c:v>3.1800000000000002E-2</c:v>
                </c:pt>
                <c:pt idx="5">
                  <c:v>3.7499999999999999E-2</c:v>
                </c:pt>
                <c:pt idx="6">
                  <c:v>5.0200000000000002E-2</c:v>
                </c:pt>
              </c:numCache>
            </c:numRef>
          </c:xVal>
          <c:yVal>
            <c:numRef>
              <c:f>Sheet1!$B$2:$B$8</c:f>
              <c:numCache>
                <c:formatCode>General</c:formatCode>
                <c:ptCount val="7"/>
                <c:pt idx="0">
                  <c:v>784.08333333333337</c:v>
                </c:pt>
                <c:pt idx="1">
                  <c:v>775.16216216216219</c:v>
                </c:pt>
                <c:pt idx="2">
                  <c:v>840.27272727272725</c:v>
                </c:pt>
                <c:pt idx="3">
                  <c:v>759.57142857142844</c:v>
                </c:pt>
                <c:pt idx="4">
                  <c:v>680.5</c:v>
                </c:pt>
                <c:pt idx="5">
                  <c:v>8910.3333333333339</c:v>
                </c:pt>
                <c:pt idx="6">
                  <c:v>339.72727272727269</c:v>
                </c:pt>
              </c:numCache>
            </c:numRef>
          </c:yVal>
          <c:bubbleSize>
            <c:numRef>
              <c:f>Sheet1!$C$2:$C$8</c:f>
              <c:numCache>
                <c:formatCode>General</c:formatCode>
                <c:ptCount val="7"/>
                <c:pt idx="0">
                  <c:v>15687.0903</c:v>
                </c:pt>
                <c:pt idx="1">
                  <c:v>50401.209000000003</c:v>
                </c:pt>
                <c:pt idx="2">
                  <c:v>3745.462500000001</c:v>
                </c:pt>
                <c:pt idx="3">
                  <c:v>4340</c:v>
                </c:pt>
                <c:pt idx="4">
                  <c:v>14275.365</c:v>
                </c:pt>
                <c:pt idx="5">
                  <c:v>707509.91910000006</c:v>
                </c:pt>
                <c:pt idx="6">
                  <c:v>1987.3931</c:v>
                </c:pt>
              </c:numCache>
            </c:numRef>
          </c:bubbleSize>
          <c:bubble3D val="0"/>
          <c:extLst>
            <c:ext xmlns:c15="http://schemas.microsoft.com/office/drawing/2012/chart" uri="{02D57815-91ED-43cb-92C2-25804820EDAC}">
              <c15:datalabelsRange>
                <c15:f>Sheet1!$E$2:$E$50</c15:f>
                <c15:dlblRangeCache>
                  <c:ptCount val="49"/>
                  <c:pt idx="0">
                    <c:v>MG CHAMPAGNE E.NICOLAS BRUT 1CT X 1500ML</c:v>
                  </c:pt>
                  <c:pt idx="1">
                    <c:v>CHAMPAGNE NICOLAS 1ERE CUVEE 1CT X 750ML</c:v>
                  </c:pt>
                  <c:pt idx="2">
                    <c:v>MG CHAMPAGNE NICOLAS 1ERE CUVE 1CT X 1500ML</c:v>
                  </c:pt>
                  <c:pt idx="3">
                    <c:v>CHAMPAGNE NICOLAS BIO NAT 2017 1CT X 750ML</c:v>
                  </c:pt>
                  <c:pt idx="4">
                    <c:v>1/2 CHAMPAGNE NICOLAS 1ERE CUV 1CT X 375ML</c:v>
                  </c:pt>
                  <c:pt idx="5">
                    <c:v>CHAMPAGNE E.NICOLAS BRUT 1CT X 750ML</c:v>
                  </c:pt>
                  <c:pt idx="6">
                    <c:v>CHAMPAGNE NICOLAS 1ERE CUV ETU 1CT X 750ML</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7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27C9A39F-BA2F-4116-940A-C9D74861419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4E593579-739E-45AE-BFCA-55AB788B53A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B389973D-A973-4B2A-AFC5-4A61813049F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C0E25C80-5BAA-4991-A7FC-7A8B9D6B47D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BFDA-4C69-8E79-A083B7EFBA29}"/>
                </c:ext>
              </c:extLst>
            </c:dLbl>
            <c:dLbl>
              <c:idx val="7"/>
              <c:tx>
                <c:rich>
                  <a:bodyPr/>
                  <a:lstStyle/>
                  <a:p>
                    <a:fld id="{8CD10E63-CBC9-4D8C-B2D3-67CECFB5094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1678DA0D-92B9-47D3-834C-88915AE078C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F624E983-64CC-4659-962F-A1F7E214C49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7</c:f>
              <c:numCache>
                <c:formatCode>General</c:formatCode>
                <c:ptCount val="6"/>
                <c:pt idx="0">
                  <c:v>2.2599999999999999E-2</c:v>
                </c:pt>
                <c:pt idx="1">
                  <c:v>7.7000000000000002E-3</c:v>
                </c:pt>
                <c:pt idx="2">
                  <c:v>0.13250000000000001</c:v>
                </c:pt>
                <c:pt idx="3">
                  <c:v>1.6500000000000001E-2</c:v>
                </c:pt>
                <c:pt idx="4">
                  <c:v>3.2500000000000001E-2</c:v>
                </c:pt>
                <c:pt idx="5">
                  <c:v>4.2900000000000001E-2</c:v>
                </c:pt>
              </c:numCache>
            </c:numRef>
          </c:xVal>
          <c:yVal>
            <c:numRef>
              <c:f>Sheet1!$B$2:$B$7</c:f>
              <c:numCache>
                <c:formatCode>General</c:formatCode>
                <c:ptCount val="6"/>
                <c:pt idx="0">
                  <c:v>337.32142857142861</c:v>
                </c:pt>
                <c:pt idx="1">
                  <c:v>280.97402597402589</c:v>
                </c:pt>
                <c:pt idx="2">
                  <c:v>243.15789473684211</c:v>
                </c:pt>
                <c:pt idx="3">
                  <c:v>315.39999999999998</c:v>
                </c:pt>
                <c:pt idx="4">
                  <c:v>281.55102040816331</c:v>
                </c:pt>
                <c:pt idx="5">
                  <c:v>4501.0200000000004</c:v>
                </c:pt>
              </c:numCache>
            </c:numRef>
          </c:yVal>
          <c:bubbleSize>
            <c:numRef>
              <c:f>Sheet1!$C$2:$C$7</c:f>
              <c:numCache>
                <c:formatCode>General</c:formatCode>
                <c:ptCount val="6"/>
                <c:pt idx="0">
                  <c:v>7693.3367999999991</c:v>
                </c:pt>
                <c:pt idx="1">
                  <c:v>17890.1122</c:v>
                </c:pt>
                <c:pt idx="2">
                  <c:v>2189.6550000000002</c:v>
                </c:pt>
                <c:pt idx="3">
                  <c:v>4262.5</c:v>
                </c:pt>
                <c:pt idx="4">
                  <c:v>11122.71</c:v>
                </c:pt>
                <c:pt idx="5">
                  <c:v>358993.02679999999</c:v>
                </c:pt>
              </c:numCache>
            </c:numRef>
          </c:bubbleSize>
          <c:bubble3D val="0"/>
          <c:extLst>
            <c:ext xmlns:c15="http://schemas.microsoft.com/office/drawing/2012/chart" uri="{02D57815-91ED-43cb-92C2-25804820EDAC}">
              <c15:datalabelsRange>
                <c15:f>Sheet1!$E$2:$E$50</c15:f>
                <c15:dlblRangeCache>
                  <c:ptCount val="49"/>
                  <c:pt idx="0">
                    <c:v>MG CHAMPAGNE E.NICOLAS BRUT 1CT X 1500ML</c:v>
                  </c:pt>
                  <c:pt idx="1">
                    <c:v>CHAMPAGNE NICOLAS 1ERE CUVEE 1CT X 750ML</c:v>
                  </c:pt>
                  <c:pt idx="2">
                    <c:v>MG CHAMPAGNE NICOLAS 1ERE CUVE 1CT X 1500ML</c:v>
                  </c:pt>
                  <c:pt idx="3">
                    <c:v>CHAMPAGNE NICOLAS BIO NAT 2017 1CT X 750ML</c:v>
                  </c:pt>
                  <c:pt idx="4">
                    <c:v>1/2 CHAMPAGNE NICOLAS 1ERE CUV 1CT X 375ML</c:v>
                  </c:pt>
                  <c:pt idx="5">
                    <c:v>CHAMPAGNE E.NICOLAS BRUT 1CT X 750ML</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7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930A1850-0439-4224-8A0A-C7AEF14D487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DEB9029A-E975-46C2-B16D-63012620CC3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C70DFE7A-5D1D-4E44-90E3-02CD4DFD509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F79909E2-7154-4D25-9E6C-6B2A8A9AD51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BFDA-4C69-8E79-A083B7EFBA29}"/>
                </c:ext>
              </c:extLst>
            </c:dLbl>
            <c:dLbl>
              <c:idx val="7"/>
              <c:tx>
                <c:rich>
                  <a:bodyPr/>
                  <a:lstStyle/>
                  <a:p>
                    <a:fld id="{735E484C-C08E-43CF-A51C-BD0A4BE8665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5EDB9105-0B23-4696-A402-B4B8598626A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AE99E601-EA70-4DAD-9BF6-A172B55D4F8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6</c:f>
              <c:numCache>
                <c:formatCode>General</c:formatCode>
                <c:ptCount val="5"/>
                <c:pt idx="0">
                  <c:v>4.1099999999999998E-2</c:v>
                </c:pt>
                <c:pt idx="1">
                  <c:v>2.5700000000000001E-2</c:v>
                </c:pt>
                <c:pt idx="2">
                  <c:v>3.73E-2</c:v>
                </c:pt>
                <c:pt idx="3">
                  <c:v>3.5900000000000001E-2</c:v>
                </c:pt>
                <c:pt idx="4">
                  <c:v>4.3099999999999999E-2</c:v>
                </c:pt>
              </c:numCache>
            </c:numRef>
          </c:xVal>
          <c:yVal>
            <c:numRef>
              <c:f>Sheet1!$B$2:$B$6</c:f>
              <c:numCache>
                <c:formatCode>General</c:formatCode>
                <c:ptCount val="5"/>
                <c:pt idx="0">
                  <c:v>194</c:v>
                </c:pt>
                <c:pt idx="1">
                  <c:v>169.55</c:v>
                </c:pt>
                <c:pt idx="2">
                  <c:v>280.66666666666669</c:v>
                </c:pt>
                <c:pt idx="3">
                  <c:v>136.18604651162789</c:v>
                </c:pt>
                <c:pt idx="4">
                  <c:v>2484.3200000000002</c:v>
                </c:pt>
              </c:numCache>
            </c:numRef>
          </c:yVal>
          <c:bubbleSize>
            <c:numRef>
              <c:f>Sheet1!$C$2:$C$6</c:f>
              <c:numCache>
                <c:formatCode>General</c:formatCode>
                <c:ptCount val="5"/>
                <c:pt idx="0">
                  <c:v>4340.8356000000003</c:v>
                </c:pt>
                <c:pt idx="1">
                  <c:v>8259.4321</c:v>
                </c:pt>
                <c:pt idx="2">
                  <c:v>2053.75</c:v>
                </c:pt>
                <c:pt idx="3">
                  <c:v>4704.8100000000004</c:v>
                </c:pt>
                <c:pt idx="4">
                  <c:v>198113.8518</c:v>
                </c:pt>
              </c:numCache>
            </c:numRef>
          </c:bubbleSize>
          <c:bubble3D val="0"/>
          <c:extLst>
            <c:ext xmlns:c15="http://schemas.microsoft.com/office/drawing/2012/chart" uri="{02D57815-91ED-43cb-92C2-25804820EDAC}">
              <c15:datalabelsRange>
                <c15:f>Sheet1!$E$2:$E$50</c15:f>
                <c15:dlblRangeCache>
                  <c:ptCount val="49"/>
                  <c:pt idx="0">
                    <c:v>MG CHAMPAGNE E.NICOLAS BRUT 1CT X 1500ML</c:v>
                  </c:pt>
                  <c:pt idx="1">
                    <c:v>CHAMPAGNE NICOLAS 1ERE CUVEE 1CT X 750ML</c:v>
                  </c:pt>
                  <c:pt idx="2">
                    <c:v>CHAMPAGNE NICOLAS BIO NAT 2017 1CT X 750ML</c:v>
                  </c:pt>
                  <c:pt idx="3">
                    <c:v>1/2 CHAMPAGNE NICOLAS 1ERE CUV 1CT X 375ML</c:v>
                  </c:pt>
                  <c:pt idx="4">
                    <c:v>CHAMPAGNE E.NICOLAS BRUT 1CT X 750ML</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7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4B037BDF-8D5C-4C01-ABA8-D4786E045F3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76B63731-8FB0-424C-BEB0-F26BC2B8C3E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4D4A2244-572C-427E-BE52-7627444D309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9E871C26-2D69-4311-9467-FEE7F4D2314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BFDA-4C69-8E79-A083B7EFBA29}"/>
                </c:ext>
              </c:extLst>
            </c:dLbl>
            <c:dLbl>
              <c:idx val="7"/>
              <c:tx>
                <c:rich>
                  <a:bodyPr/>
                  <a:lstStyle/>
                  <a:p>
                    <a:fld id="{137C7EFE-F3BF-4490-B18D-C0099EB10D4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9D976375-9580-44D6-88F7-2B787F7E831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B5A23E49-5CB8-4F0E-8413-A8408FABAD4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5</c:f>
              <c:numCache>
                <c:formatCode>General</c:formatCode>
                <c:ptCount val="4"/>
                <c:pt idx="0">
                  <c:v>4.2700000000000002E-2</c:v>
                </c:pt>
                <c:pt idx="1">
                  <c:v>4.4000000000000003E-3</c:v>
                </c:pt>
                <c:pt idx="2">
                  <c:v>8.1100000000000005E-2</c:v>
                </c:pt>
                <c:pt idx="3">
                  <c:v>0.04</c:v>
                </c:pt>
              </c:numCache>
            </c:numRef>
          </c:xVal>
          <c:yVal>
            <c:numRef>
              <c:f>Sheet1!$B$2:$B$5</c:f>
              <c:numCache>
                <c:formatCode>General</c:formatCode>
                <c:ptCount val="4"/>
                <c:pt idx="0">
                  <c:v>117.4</c:v>
                </c:pt>
                <c:pt idx="1">
                  <c:v>134.71052631578951</c:v>
                </c:pt>
                <c:pt idx="2">
                  <c:v>38.918032786885249</c:v>
                </c:pt>
                <c:pt idx="3">
                  <c:v>1744.57</c:v>
                </c:pt>
              </c:numCache>
            </c:numRef>
          </c:yVal>
          <c:bubbleSize>
            <c:numRef>
              <c:f>Sheet1!$C$2:$C$5</c:f>
              <c:numCache>
                <c:formatCode>General</c:formatCode>
                <c:ptCount val="4"/>
                <c:pt idx="0">
                  <c:v>3277.9178999999999</c:v>
                </c:pt>
                <c:pt idx="1">
                  <c:v>8494.0993000000017</c:v>
                </c:pt>
                <c:pt idx="2">
                  <c:v>1817.7974999999999</c:v>
                </c:pt>
                <c:pt idx="3">
                  <c:v>139572.4345</c:v>
                </c:pt>
              </c:numCache>
            </c:numRef>
          </c:bubbleSize>
          <c:bubble3D val="0"/>
          <c:extLst>
            <c:ext xmlns:c15="http://schemas.microsoft.com/office/drawing/2012/chart" uri="{02D57815-91ED-43cb-92C2-25804820EDAC}">
              <c15:datalabelsRange>
                <c15:f>Sheet1!$E$2:$E$50</c15:f>
                <c15:dlblRangeCache>
                  <c:ptCount val="49"/>
                  <c:pt idx="0">
                    <c:v>MG CHAMPAGNE E.NICOLAS BRUT 1CT X 1500ML</c:v>
                  </c:pt>
                  <c:pt idx="1">
                    <c:v>CHAMPAGNE NICOLAS 1ERE CUVEE 1CT X 750ML</c:v>
                  </c:pt>
                  <c:pt idx="2">
                    <c:v>1/2 CHAMPAGNE NICOLAS 1ERE CUV 1CT X 375ML</c:v>
                  </c:pt>
                  <c:pt idx="3">
                    <c:v>CHAMPAGNE E.NICOLAS BRUT 1CT X 750ML</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7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AF92C994-4313-422A-B81E-F586A3FB2C7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F164ABE9-FCF8-49C4-AD26-A56EB38E942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E42C930D-001C-4A0E-B337-C44CE8D20AC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80D630F1-A82F-4E4B-96DF-8354EF7CC12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B8DC8973-465B-469A-8330-F51F2D33DEF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1CBBA708-72BE-423E-BBFB-0170F5C3973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276AA61B-D05A-4303-869D-9EEB43050BC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8</c:f>
              <c:numCache>
                <c:formatCode>General</c:formatCode>
                <c:ptCount val="7"/>
                <c:pt idx="0">
                  <c:v>4.1000000000000003E-3</c:v>
                </c:pt>
                <c:pt idx="1">
                  <c:v>-3.6600000000000001E-2</c:v>
                </c:pt>
                <c:pt idx="2">
                  <c:v>9.8299999999999998E-2</c:v>
                </c:pt>
                <c:pt idx="3">
                  <c:v>-3.7000000000000002E-3</c:v>
                </c:pt>
                <c:pt idx="4">
                  <c:v>2.6200000000000001E-2</c:v>
                </c:pt>
                <c:pt idx="5">
                  <c:v>4.24E-2</c:v>
                </c:pt>
                <c:pt idx="6">
                  <c:v>5.6800000000000003E-2</c:v>
                </c:pt>
              </c:numCache>
            </c:numRef>
          </c:xVal>
          <c:yVal>
            <c:numRef>
              <c:f>Sheet1!$B$2:$B$8</c:f>
              <c:numCache>
                <c:formatCode>General</c:formatCode>
                <c:ptCount val="7"/>
                <c:pt idx="0">
                  <c:v>3170.375</c:v>
                </c:pt>
                <c:pt idx="1">
                  <c:v>2029.1923076923081</c:v>
                </c:pt>
                <c:pt idx="2">
                  <c:v>1121.3888888888889</c:v>
                </c:pt>
                <c:pt idx="3">
                  <c:v>2824.0666666666671</c:v>
                </c:pt>
                <c:pt idx="4">
                  <c:v>2088.78125</c:v>
                </c:pt>
                <c:pt idx="5">
                  <c:v>27681.21212121212</c:v>
                </c:pt>
                <c:pt idx="6">
                  <c:v>879.18181818181813</c:v>
                </c:pt>
              </c:numCache>
            </c:numRef>
          </c:yVal>
          <c:bubbleSize>
            <c:numRef>
              <c:f>Sheet1!$C$2:$C$8</c:f>
              <c:numCache>
                <c:formatCode>General</c:formatCode>
                <c:ptCount val="7"/>
                <c:pt idx="0">
                  <c:v>42099.603300000002</c:v>
                </c:pt>
                <c:pt idx="1">
                  <c:v>136720.74660000001</c:v>
                </c:pt>
                <c:pt idx="2">
                  <c:v>8470.5074999999997</c:v>
                </c:pt>
                <c:pt idx="3">
                  <c:v>18755</c:v>
                </c:pt>
                <c:pt idx="4">
                  <c:v>54240.614999999998</c:v>
                </c:pt>
                <c:pt idx="5">
                  <c:v>2186773.7568999999</c:v>
                </c:pt>
                <c:pt idx="6">
                  <c:v>6039.6102000000001</c:v>
                </c:pt>
              </c:numCache>
            </c:numRef>
          </c:bubbleSize>
          <c:bubble3D val="0"/>
          <c:extLst>
            <c:ext xmlns:c15="http://schemas.microsoft.com/office/drawing/2012/chart" uri="{02D57815-91ED-43cb-92C2-25804820EDAC}">
              <c15:datalabelsRange>
                <c15:f>Sheet1!$E$2:$E$50</c15:f>
                <c15:dlblRangeCache>
                  <c:ptCount val="49"/>
                  <c:pt idx="0">
                    <c:v>MG CHAMPAGNE E.NICOLAS BRUT 1CT X 1500ML</c:v>
                  </c:pt>
                  <c:pt idx="1">
                    <c:v>CHAMPAGNE NICOLAS 1ERE CUVEE 1CT X 750ML</c:v>
                  </c:pt>
                  <c:pt idx="2">
                    <c:v>MG CHAMPAGNE NICOLAS 1ERE CUVE 1CT X 1500ML</c:v>
                  </c:pt>
                  <c:pt idx="3">
                    <c:v>CHAMPAGNE NICOLAS BIO NAT 2017 1CT X 750ML</c:v>
                  </c:pt>
                  <c:pt idx="4">
                    <c:v>1/2 CHAMPAGNE NICOLAS 1ERE CUV 1CT X 375ML</c:v>
                  </c:pt>
                  <c:pt idx="5">
                    <c:v>CHAMPAGNE E.NICOLAS BRUT 1CT X 750ML</c:v>
                  </c:pt>
                  <c:pt idx="6">
                    <c:v>CHAMPAGNE NICOLAS 1ERE CUV ETU 1CT X 750ML</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7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EB2D33CC-FB91-4C67-9BCE-F7BED056FF0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821D7B9C-6C50-4BFC-8846-3306DCFEA99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9E098128-FA60-4E56-A33C-4E096706A21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DD07F414-F312-4287-A3B8-6DD6A2E71A0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BFDA-4C69-8E79-A083B7EFBA29}"/>
                </c:ext>
              </c:extLst>
            </c:dLbl>
            <c:dLbl>
              <c:idx val="7"/>
              <c:tx>
                <c:rich>
                  <a:bodyPr/>
                  <a:lstStyle/>
                  <a:p>
                    <a:fld id="{C9610E46-57C8-4C15-ADEC-1C5E4D95018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EE9F2AF9-B8C2-415E-A4C3-5869AC01E4D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531748F3-B744-4A53-A8AB-F973D60880A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7</c:f>
              <c:numCache>
                <c:formatCode>General</c:formatCode>
                <c:ptCount val="6"/>
                <c:pt idx="0">
                  <c:v>1.3899999999999999E-2</c:v>
                </c:pt>
                <c:pt idx="1">
                  <c:v>1.9599999999999999E-2</c:v>
                </c:pt>
                <c:pt idx="2">
                  <c:v>0.12470000000000001</c:v>
                </c:pt>
                <c:pt idx="3">
                  <c:v>3.1899999999999998E-2</c:v>
                </c:pt>
                <c:pt idx="4">
                  <c:v>4.3099999999999999E-2</c:v>
                </c:pt>
                <c:pt idx="5">
                  <c:v>3.8199999999999998E-2</c:v>
                </c:pt>
              </c:numCache>
            </c:numRef>
          </c:xVal>
          <c:yVal>
            <c:numRef>
              <c:f>Sheet1!$B$2:$B$7</c:f>
              <c:numCache>
                <c:formatCode>General</c:formatCode>
                <c:ptCount val="6"/>
                <c:pt idx="0">
                  <c:v>383.10256410256409</c:v>
                </c:pt>
                <c:pt idx="1">
                  <c:v>284.11538461538458</c:v>
                </c:pt>
                <c:pt idx="2">
                  <c:v>189.34615384615381</c:v>
                </c:pt>
                <c:pt idx="3">
                  <c:v>262.10526315789468</c:v>
                </c:pt>
                <c:pt idx="4">
                  <c:v>210.5454545454545</c:v>
                </c:pt>
                <c:pt idx="5">
                  <c:v>4592.25</c:v>
                </c:pt>
              </c:numCache>
            </c:numRef>
          </c:yVal>
          <c:bubbleSize>
            <c:numRef>
              <c:f>Sheet1!$C$2:$C$7</c:f>
              <c:numCache>
                <c:formatCode>General</c:formatCode>
                <c:ptCount val="6"/>
                <c:pt idx="0">
                  <c:v>12278.337600000001</c:v>
                </c:pt>
                <c:pt idx="1">
                  <c:v>18105.7834</c:v>
                </c:pt>
                <c:pt idx="2">
                  <c:v>2650.6350000000002</c:v>
                </c:pt>
                <c:pt idx="3">
                  <c:v>2518.75</c:v>
                </c:pt>
                <c:pt idx="4">
                  <c:v>7387.3650000000007</c:v>
                </c:pt>
                <c:pt idx="5">
                  <c:v>368051.65149999998</c:v>
                </c:pt>
              </c:numCache>
            </c:numRef>
          </c:bubbleSize>
          <c:bubble3D val="0"/>
          <c:extLst>
            <c:ext xmlns:c15="http://schemas.microsoft.com/office/drawing/2012/chart" uri="{02D57815-91ED-43cb-92C2-25804820EDAC}">
              <c15:datalabelsRange>
                <c15:f>Sheet1!$E$2:$E$50</c15:f>
                <c15:dlblRangeCache>
                  <c:ptCount val="49"/>
                  <c:pt idx="0">
                    <c:v>MG CHAMPAGNE E.NICOLAS BRUT 1CT X 1500ML</c:v>
                  </c:pt>
                  <c:pt idx="1">
                    <c:v>CHAMPAGNE NICOLAS 1ERE CUVEE 1CT X 750ML</c:v>
                  </c:pt>
                  <c:pt idx="2">
                    <c:v>MG CHAMPAGNE NICOLAS 1ERE CUVE 1CT X 1500ML</c:v>
                  </c:pt>
                  <c:pt idx="3">
                    <c:v>CHAMPAGNE NICOLAS BIO NAT 2017 1CT X 750ML</c:v>
                  </c:pt>
                  <c:pt idx="4">
                    <c:v>1/2 CHAMPAGNE NICOLAS 1ERE CUV 1CT X 375ML</c:v>
                  </c:pt>
                  <c:pt idx="5">
                    <c:v>CHAMPAGNE E.NICOLAS BRUT 1CT X 750ML</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7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3A42DF15-C848-4030-826B-D2226483DE8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F95EAFC7-D497-46CC-83ED-36625438425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D5A24CCE-7DA6-4E21-90CB-B7EDD4C1553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DAE35BE0-E05D-4163-B006-094284B3C57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BFDA-4C69-8E79-A083B7EFBA29}"/>
                </c:ext>
              </c:extLst>
            </c:dLbl>
            <c:dLbl>
              <c:idx val="7"/>
              <c:tx>
                <c:rich>
                  <a:bodyPr/>
                  <a:lstStyle/>
                  <a:p>
                    <a:fld id="{37DEA577-8E62-4D5B-9C82-C13E7FF2420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A7D3F833-45BD-4794-81AD-8538BE4222E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0F885AD3-24C7-41CF-AE08-413DF8FD361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7</c:f>
              <c:numCache>
                <c:formatCode>General</c:formatCode>
                <c:ptCount val="6"/>
                <c:pt idx="0">
                  <c:v>1.77E-2</c:v>
                </c:pt>
                <c:pt idx="1">
                  <c:v>2.92E-2</c:v>
                </c:pt>
                <c:pt idx="2">
                  <c:v>0.13519999999999999</c:v>
                </c:pt>
                <c:pt idx="3">
                  <c:v>3.4200000000000001E-2</c:v>
                </c:pt>
                <c:pt idx="4">
                  <c:v>5.5E-2</c:v>
                </c:pt>
                <c:pt idx="5">
                  <c:v>4.4699999999999997E-2</c:v>
                </c:pt>
              </c:numCache>
            </c:numRef>
          </c:xVal>
          <c:yVal>
            <c:numRef>
              <c:f>Sheet1!$B$2:$B$7</c:f>
              <c:numCache>
                <c:formatCode>General</c:formatCode>
                <c:ptCount val="6"/>
                <c:pt idx="0">
                  <c:v>239.52500000000001</c:v>
                </c:pt>
                <c:pt idx="1">
                  <c:v>221.125</c:v>
                </c:pt>
                <c:pt idx="2">
                  <c:v>216.78571428571419</c:v>
                </c:pt>
                <c:pt idx="3">
                  <c:v>133.11538461538461</c:v>
                </c:pt>
                <c:pt idx="4">
                  <c:v>105.625</c:v>
                </c:pt>
                <c:pt idx="5">
                  <c:v>1794.81</c:v>
                </c:pt>
              </c:numCache>
            </c:numRef>
          </c:yVal>
          <c:bubbleSize>
            <c:numRef>
              <c:f>Sheet1!$C$2:$C$7</c:f>
              <c:numCache>
                <c:formatCode>General</c:formatCode>
                <c:ptCount val="6"/>
                <c:pt idx="0">
                  <c:v>7842.5033999999996</c:v>
                </c:pt>
                <c:pt idx="1">
                  <c:v>12879.6119</c:v>
                </c:pt>
                <c:pt idx="2">
                  <c:v>1382.94</c:v>
                </c:pt>
                <c:pt idx="3">
                  <c:v>1860</c:v>
                </c:pt>
                <c:pt idx="4">
                  <c:v>4658.1450000000004</c:v>
                </c:pt>
                <c:pt idx="5">
                  <c:v>142884.38889999999</c:v>
                </c:pt>
              </c:numCache>
            </c:numRef>
          </c:bubbleSize>
          <c:bubble3D val="0"/>
          <c:extLst>
            <c:ext xmlns:c15="http://schemas.microsoft.com/office/drawing/2012/chart" uri="{02D57815-91ED-43cb-92C2-25804820EDAC}">
              <c15:datalabelsRange>
                <c15:f>Sheet1!$E$2:$E$50</c15:f>
                <c15:dlblRangeCache>
                  <c:ptCount val="49"/>
                  <c:pt idx="0">
                    <c:v>MG CHAMPAGNE E.NICOLAS BRUT 1CT X 1500ML</c:v>
                  </c:pt>
                  <c:pt idx="1">
                    <c:v>CHAMPAGNE NICOLAS 1ERE CUVEE 1CT X 750ML</c:v>
                  </c:pt>
                  <c:pt idx="2">
                    <c:v>MG CHAMPAGNE NICOLAS 1ERE CUVE 1CT X 1500ML</c:v>
                  </c:pt>
                  <c:pt idx="3">
                    <c:v>CHAMPAGNE NICOLAS BIO NAT 2017 1CT X 750ML</c:v>
                  </c:pt>
                  <c:pt idx="4">
                    <c:v>1/2 CHAMPAGNE NICOLAS 1ERE CUV 1CT X 375ML</c:v>
                  </c:pt>
                  <c:pt idx="5">
                    <c:v>CHAMPAGNE E.NICOLAS BRUT 1CT X 750ML</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Malard</c:v>
                </c:pt>
                <c:pt idx="2">
                  <c:v>Nicolas</c:v>
                </c:pt>
                <c:pt idx="3">
                  <c:v>Besserat De Bellefon</c:v>
                </c:pt>
                <c:pt idx="4">
                  <c:v>Henriot</c:v>
                </c:pt>
                <c:pt idx="5">
                  <c:v>Ayala</c:v>
                </c:pt>
                <c:pt idx="6">
                  <c:v>De Bligny</c:v>
                </c:pt>
                <c:pt idx="7">
                  <c:v>Delamotte</c:v>
                </c:pt>
                <c:pt idx="8">
                  <c:v>Deutz</c:v>
                </c:pt>
                <c:pt idx="9">
                  <c:v>Others</c:v>
                </c:pt>
              </c:strCache>
            </c:strRef>
          </c:cat>
          <c:val>
            <c:numRef>
              <c:f>Sheet1!$B$2:$B$11</c:f>
              <c:numCache>
                <c:formatCode>General</c:formatCode>
                <c:ptCount val="10"/>
                <c:pt idx="0">
                  <c:v>0.6507496985279061</c:v>
                </c:pt>
                <c:pt idx="1">
                  <c:v>6.8528588655548228E-2</c:v>
                </c:pt>
                <c:pt idx="2">
                  <c:v>6.1686878569315831E-2</c:v>
                </c:pt>
                <c:pt idx="3">
                  <c:v>4.0235717048531322E-2</c:v>
                </c:pt>
                <c:pt idx="4">
                  <c:v>2.8718345430138108E-2</c:v>
                </c:pt>
                <c:pt idx="5">
                  <c:v>2.6952742827239425E-2</c:v>
                </c:pt>
                <c:pt idx="6">
                  <c:v>2.5539805692703237E-2</c:v>
                </c:pt>
                <c:pt idx="7">
                  <c:v>2.3391959227321336E-2</c:v>
                </c:pt>
                <c:pt idx="8">
                  <c:v>1.6852858865554824E-2</c:v>
                </c:pt>
                <c:pt idx="9">
                  <c:v>5.7343405155741628E-2</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Malard</c:v>
                </c:pt>
                <c:pt idx="2">
                  <c:v>Nicolas</c:v>
                </c:pt>
                <c:pt idx="3">
                  <c:v>Besserat De Bellefon</c:v>
                </c:pt>
                <c:pt idx="4">
                  <c:v>Henriot</c:v>
                </c:pt>
                <c:pt idx="5">
                  <c:v>Ayala</c:v>
                </c:pt>
                <c:pt idx="6">
                  <c:v>De Bligny</c:v>
                </c:pt>
                <c:pt idx="7">
                  <c:v>Delamotte</c:v>
                </c:pt>
                <c:pt idx="8">
                  <c:v>Deutz</c:v>
                </c:pt>
                <c:pt idx="9">
                  <c:v>Others</c:v>
                </c:pt>
              </c:strCache>
            </c:strRef>
          </c:cat>
          <c:val>
            <c:numRef>
              <c:f>Sheet1!$C$2:$C$11</c:f>
              <c:numCache>
                <c:formatCode>General</c:formatCode>
                <c:ptCount val="10"/>
                <c:pt idx="0">
                  <c:v>0.28410159924741302</c:v>
                </c:pt>
                <c:pt idx="1">
                  <c:v>6.7732831608654759E-2</c:v>
                </c:pt>
                <c:pt idx="2">
                  <c:v>0.13828786453433681</c:v>
                </c:pt>
                <c:pt idx="3">
                  <c:v>6.7732831608654759E-2</c:v>
                </c:pt>
                <c:pt idx="4">
                  <c:v>6.3029162746942619E-2</c:v>
                </c:pt>
                <c:pt idx="5">
                  <c:v>4.6095954844778929E-2</c:v>
                </c:pt>
                <c:pt idx="6">
                  <c:v>4.7036688617121361E-2</c:v>
                </c:pt>
                <c:pt idx="7">
                  <c:v>4.7977422389463786E-2</c:v>
                </c:pt>
                <c:pt idx="8">
                  <c:v>3.3866415804327379E-2</c:v>
                </c:pt>
                <c:pt idx="9">
                  <c:v>0.20413922859830669</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Malard</c:v>
                </c:pt>
                <c:pt idx="2">
                  <c:v>Nicolas</c:v>
                </c:pt>
                <c:pt idx="3">
                  <c:v>Besserat De Bellefon</c:v>
                </c:pt>
                <c:pt idx="4">
                  <c:v>Henriot</c:v>
                </c:pt>
                <c:pt idx="5">
                  <c:v>Ayala</c:v>
                </c:pt>
                <c:pt idx="6">
                  <c:v>De Bligny</c:v>
                </c:pt>
                <c:pt idx="7">
                  <c:v>Delamotte</c:v>
                </c:pt>
                <c:pt idx="8">
                  <c:v>Deutz</c:v>
                </c:pt>
                <c:pt idx="9">
                  <c:v>Others</c:v>
                </c:pt>
              </c:strCache>
            </c:strRef>
          </c:cat>
          <c:val>
            <c:numRef>
              <c:f>Sheet1!$D$2:$D$11</c:f>
              <c:numCache>
                <c:formatCode>General</c:formatCode>
                <c:ptCount val="10"/>
                <c:pt idx="0">
                  <c:v>43.65758445837065</c:v>
                </c:pt>
                <c:pt idx="1">
                  <c:v>98.838795512201102</c:v>
                </c:pt>
                <c:pt idx="2">
                  <c:v>224.17711471483611</c:v>
                </c:pt>
                <c:pt idx="3">
                  <c:v>168.34006344899259</c:v>
                </c:pt>
                <c:pt idx="4">
                  <c:v>219.47351702510497</c:v>
                </c:pt>
                <c:pt idx="5">
                  <c:v>171.0250980400877</c:v>
                </c:pt>
                <c:pt idx="6">
                  <c:v>184.17011148428517</c:v>
                </c:pt>
                <c:pt idx="7">
                  <c:v>205.10219739707449</c:v>
                </c:pt>
                <c:pt idx="8">
                  <c:v>200.953535981638</c:v>
                </c:pt>
                <c:pt idx="9">
                  <c:v>355.99425608555237</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E0CE698C-313C-4CE9-BEAB-755B6F351F0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4EFD84D8-A053-4F27-BC92-5513425C907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2A14E0E8-25B5-4C10-BEE7-221B10F94A3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9C4FD9D4-09B4-4ED2-9234-974FA15C495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BFDA-4C69-8E79-A083B7EFBA29}"/>
                </c:ext>
              </c:extLst>
            </c:dLbl>
            <c:dLbl>
              <c:idx val="7"/>
              <c:tx>
                <c:rich>
                  <a:bodyPr/>
                  <a:lstStyle/>
                  <a:p>
                    <a:fld id="{ECA42EFE-4239-4D8E-8A95-B1629CB7DD2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B539BA27-A6C0-4808-8F09-548B9275BC0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1F2DB223-537F-4E9F-ABB8-6355C28EE43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5</c:f>
              <c:numCache>
                <c:formatCode>General</c:formatCode>
                <c:ptCount val="4"/>
                <c:pt idx="0">
                  <c:v>5.33E-2</c:v>
                </c:pt>
                <c:pt idx="1">
                  <c:v>-1.66E-2</c:v>
                </c:pt>
                <c:pt idx="2">
                  <c:v>7.51E-2</c:v>
                </c:pt>
                <c:pt idx="3">
                  <c:v>3.39E-2</c:v>
                </c:pt>
              </c:numCache>
            </c:numRef>
          </c:xVal>
          <c:yVal>
            <c:numRef>
              <c:f>Sheet1!$B$2:$B$5</c:f>
              <c:numCache>
                <c:formatCode>General</c:formatCode>
                <c:ptCount val="4"/>
                <c:pt idx="0">
                  <c:v>92.722222222222229</c:v>
                </c:pt>
                <c:pt idx="1">
                  <c:v>128.18072289156629</c:v>
                </c:pt>
                <c:pt idx="2">
                  <c:v>73.235294117647058</c:v>
                </c:pt>
                <c:pt idx="3">
                  <c:v>1647.1</c:v>
                </c:pt>
              </c:numCache>
            </c:numRef>
          </c:yVal>
          <c:bubbleSize>
            <c:numRef>
              <c:f>Sheet1!$C$2:$C$5</c:f>
              <c:numCache>
                <c:formatCode>General</c:formatCode>
                <c:ptCount val="4"/>
                <c:pt idx="0">
                  <c:v>2633.3339999999998</c:v>
                </c:pt>
                <c:pt idx="1">
                  <c:v>9012.6797999999999</c:v>
                </c:pt>
                <c:pt idx="2">
                  <c:v>2878.755000000001</c:v>
                </c:pt>
                <c:pt idx="3">
                  <c:v>132610.51420000001</c:v>
                </c:pt>
              </c:numCache>
            </c:numRef>
          </c:bubbleSize>
          <c:bubble3D val="0"/>
          <c:extLst>
            <c:ext xmlns:c15="http://schemas.microsoft.com/office/drawing/2012/chart" uri="{02D57815-91ED-43cb-92C2-25804820EDAC}">
              <c15:datalabelsRange>
                <c15:f>Sheet1!$E$2:$E$50</c15:f>
                <c15:dlblRangeCache>
                  <c:ptCount val="49"/>
                  <c:pt idx="0">
                    <c:v>MG CHAMPAGNE E.NICOLAS BRUT 1CT X 1500ML</c:v>
                  </c:pt>
                  <c:pt idx="1">
                    <c:v>CHAMPAGNE NICOLAS 1ERE CUVEE 1CT X 750ML</c:v>
                  </c:pt>
                  <c:pt idx="2">
                    <c:v>1/2 CHAMPAGNE NICOLAS 1ERE CUV 1CT X 375ML</c:v>
                  </c:pt>
                  <c:pt idx="3">
                    <c:v>CHAMPAGNE E.NICOLAS BRUT 1CT X 750ML</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7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A2778536-CD84-41AA-BD8A-77FA6C574B3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D8244D93-E944-4355-B94D-04471F0C8C2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64D34879-769E-4DD2-BC40-BDD08EBCFFE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5D4E1364-D02E-48E1-87CE-E0BF28478CA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BFDA-4C69-8E79-A083B7EFBA29}"/>
                </c:ext>
              </c:extLst>
            </c:dLbl>
            <c:dLbl>
              <c:idx val="7"/>
              <c:tx>
                <c:rich>
                  <a:bodyPr/>
                  <a:lstStyle/>
                  <a:p>
                    <a:fld id="{23B390DE-AB5F-4B3F-855F-20F1CEFCABA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95B4C2F6-2A2B-4F79-A866-08C9850E7F3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98039AC2-9DC9-428F-B47E-8F5BEC69EB4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6</c:f>
              <c:numCache>
                <c:formatCode>General</c:formatCode>
                <c:ptCount val="5"/>
                <c:pt idx="0">
                  <c:v>2.0000000000000001E-4</c:v>
                </c:pt>
                <c:pt idx="1">
                  <c:v>5.3699999999999998E-2</c:v>
                </c:pt>
                <c:pt idx="2">
                  <c:v>4.4499999999999998E-2</c:v>
                </c:pt>
                <c:pt idx="3">
                  <c:v>6.1899999999999997E-2</c:v>
                </c:pt>
                <c:pt idx="4">
                  <c:v>1.84E-2</c:v>
                </c:pt>
              </c:numCache>
            </c:numRef>
          </c:xVal>
          <c:yVal>
            <c:numRef>
              <c:f>Sheet1!$B$2:$B$6</c:f>
              <c:numCache>
                <c:formatCode>General</c:formatCode>
                <c:ptCount val="5"/>
                <c:pt idx="0">
                  <c:v>69.28125</c:v>
                </c:pt>
                <c:pt idx="1">
                  <c:v>54.000000000000007</c:v>
                </c:pt>
                <c:pt idx="2">
                  <c:v>88.074074074074076</c:v>
                </c:pt>
                <c:pt idx="3">
                  <c:v>35.32</c:v>
                </c:pt>
                <c:pt idx="4">
                  <c:v>1057.96</c:v>
                </c:pt>
              </c:numCache>
            </c:numRef>
          </c:yVal>
          <c:bubbleSize>
            <c:numRef>
              <c:f>Sheet1!$C$2:$C$6</c:f>
              <c:numCache>
                <c:formatCode>General</c:formatCode>
                <c:ptCount val="5"/>
                <c:pt idx="0">
                  <c:v>1847.0841</c:v>
                </c:pt>
                <c:pt idx="1">
                  <c:v>2427.2689</c:v>
                </c:pt>
                <c:pt idx="2">
                  <c:v>1278.75</c:v>
                </c:pt>
                <c:pt idx="3">
                  <c:v>1380.615</c:v>
                </c:pt>
                <c:pt idx="4">
                  <c:v>86540.523000000016</c:v>
                </c:pt>
              </c:numCache>
            </c:numRef>
          </c:bubbleSize>
          <c:bubble3D val="0"/>
          <c:extLst>
            <c:ext xmlns:c15="http://schemas.microsoft.com/office/drawing/2012/chart" uri="{02D57815-91ED-43cb-92C2-25804820EDAC}">
              <c15:datalabelsRange>
                <c15:f>Sheet1!$E$2:$E$50</c15:f>
                <c15:dlblRangeCache>
                  <c:ptCount val="49"/>
                  <c:pt idx="0">
                    <c:v>MG CHAMPAGNE E.NICOLAS BRUT 1CT X 1500ML</c:v>
                  </c:pt>
                  <c:pt idx="1">
                    <c:v>CHAMPAGNE NICOLAS 1ERE CUVEE 1CT X 750ML</c:v>
                  </c:pt>
                  <c:pt idx="2">
                    <c:v>CHAMPAGNE NICOLAS BIO NAT 2017 1CT X 750ML</c:v>
                  </c:pt>
                  <c:pt idx="3">
                    <c:v>1/2 CHAMPAGNE NICOLAS 1ERE CUV 1CT X 375ML</c:v>
                  </c:pt>
                  <c:pt idx="4">
                    <c:v>CHAMPAGNE E.NICOLAS BRUT 1CT X 750ML</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7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6BC6F740-53B9-45BD-A45A-37C7919D92E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CDA1DCA6-381A-4468-9AD7-105E7280B49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3B4F7AE9-B9E6-4192-9CC2-DE863A8F83D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FD3DCC89-BE9E-4C30-8FCA-E25D2D33B85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BFDA-4C69-8E79-A083B7EFBA29}"/>
                </c:ext>
              </c:extLst>
            </c:dLbl>
            <c:dLbl>
              <c:idx val="7"/>
              <c:tx>
                <c:rich>
                  <a:bodyPr/>
                  <a:lstStyle/>
                  <a:p>
                    <a:fld id="{17A4CA7B-DCFC-4E1E-AE7C-87BDF1961DD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65769572-849E-49C7-8A0A-B40E596542B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8D452110-E7BE-4AED-9AB5-17A4423DDB7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7</c:f>
              <c:numCache>
                <c:formatCode>General</c:formatCode>
                <c:ptCount val="6"/>
                <c:pt idx="0">
                  <c:v>2.5000000000000001E-3</c:v>
                </c:pt>
                <c:pt idx="1">
                  <c:v>-2.7699999999999999E-2</c:v>
                </c:pt>
                <c:pt idx="2">
                  <c:v>0.1125</c:v>
                </c:pt>
                <c:pt idx="3">
                  <c:v>3.0999999999999999E-3</c:v>
                </c:pt>
                <c:pt idx="4">
                  <c:v>2.9000000000000001E-2</c:v>
                </c:pt>
                <c:pt idx="5">
                  <c:v>3.8600000000000002E-2</c:v>
                </c:pt>
              </c:numCache>
            </c:numRef>
          </c:xVal>
          <c:yVal>
            <c:numRef>
              <c:f>Sheet1!$B$2:$B$7</c:f>
              <c:numCache>
                <c:formatCode>General</c:formatCode>
                <c:ptCount val="6"/>
                <c:pt idx="0">
                  <c:v>784.41176470588232</c:v>
                </c:pt>
                <c:pt idx="1">
                  <c:v>757.83333333333337</c:v>
                </c:pt>
                <c:pt idx="2">
                  <c:v>369.25</c:v>
                </c:pt>
                <c:pt idx="3">
                  <c:v>502.89285714285711</c:v>
                </c:pt>
                <c:pt idx="4">
                  <c:v>511.97674418604652</c:v>
                </c:pt>
                <c:pt idx="5">
                  <c:v>10463.09</c:v>
                </c:pt>
              </c:numCache>
            </c:numRef>
          </c:yVal>
          <c:bubbleSize>
            <c:numRef>
              <c:f>Sheet1!$C$2:$C$7</c:f>
              <c:numCache>
                <c:formatCode>General</c:formatCode>
                <c:ptCount val="6"/>
                <c:pt idx="0">
                  <c:v>22168.7595</c:v>
                </c:pt>
                <c:pt idx="1">
                  <c:v>58409.179300000011</c:v>
                </c:pt>
                <c:pt idx="2">
                  <c:v>3975.9524999999999</c:v>
                </c:pt>
                <c:pt idx="3">
                  <c:v>7285</c:v>
                </c:pt>
                <c:pt idx="4">
                  <c:v>17814.044999999998</c:v>
                </c:pt>
                <c:pt idx="5">
                  <c:v>838278.9384000001</c:v>
                </c:pt>
              </c:numCache>
            </c:numRef>
          </c:bubbleSize>
          <c:bubble3D val="0"/>
          <c:extLst>
            <c:ext xmlns:c15="http://schemas.microsoft.com/office/drawing/2012/chart" uri="{02D57815-91ED-43cb-92C2-25804820EDAC}">
              <c15:datalabelsRange>
                <c15:f>Sheet1!$E$2:$E$50</c15:f>
                <c15:dlblRangeCache>
                  <c:ptCount val="49"/>
                  <c:pt idx="0">
                    <c:v>MG CHAMPAGNE E.NICOLAS BRUT 1CT X 1500ML</c:v>
                  </c:pt>
                  <c:pt idx="1">
                    <c:v>CHAMPAGNE NICOLAS 1ERE CUVEE 1CT X 750ML</c:v>
                  </c:pt>
                  <c:pt idx="2">
                    <c:v>MG CHAMPAGNE NICOLAS 1ERE CUVE 1CT X 1500ML</c:v>
                  </c:pt>
                  <c:pt idx="3">
                    <c:v>CHAMPAGNE NICOLAS BIO NAT 2017 1CT X 750ML</c:v>
                  </c:pt>
                  <c:pt idx="4">
                    <c:v>1/2 CHAMPAGNE NICOLAS 1ERE CUV 1CT X 375ML</c:v>
                  </c:pt>
                  <c:pt idx="5">
                    <c:v>CHAMPAGNE E.NICOLAS BRUT 1CT X 750ML</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7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FA27CD07-49E8-40EA-9F1D-29AC13B3991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BC2EE694-E2A2-430C-ADDD-CBC4E811C39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AA4511A6-E932-4639-BD0E-D95C434B002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198B4A6A-4AF5-452E-AE69-2EE7F8E1324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BFDA-4C69-8E79-A083B7EFBA29}"/>
                </c:ext>
              </c:extLst>
            </c:dLbl>
            <c:dLbl>
              <c:idx val="7"/>
              <c:tx>
                <c:rich>
                  <a:bodyPr/>
                  <a:lstStyle/>
                  <a:p>
                    <a:fld id="{40E4D16C-62B1-4928-B505-343EF41BA39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050637B1-2575-4134-93A1-BA06FE68A60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CC960A49-7C74-4C2B-AE36-565997626DB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7</c:f>
              <c:numCache>
                <c:formatCode>General</c:formatCode>
                <c:ptCount val="6"/>
                <c:pt idx="0">
                  <c:v>2.3599999999999999E-2</c:v>
                </c:pt>
                <c:pt idx="1">
                  <c:v>-3.0800000000000001E-2</c:v>
                </c:pt>
                <c:pt idx="2">
                  <c:v>0.1338</c:v>
                </c:pt>
                <c:pt idx="3">
                  <c:v>1.4200000000000001E-2</c:v>
                </c:pt>
                <c:pt idx="4">
                  <c:v>3.2199999999999999E-2</c:v>
                </c:pt>
                <c:pt idx="5">
                  <c:v>3.95E-2</c:v>
                </c:pt>
              </c:numCache>
            </c:numRef>
          </c:xVal>
          <c:yVal>
            <c:numRef>
              <c:f>Sheet1!$B$2:$B$7</c:f>
              <c:numCache>
                <c:formatCode>General</c:formatCode>
                <c:ptCount val="6"/>
                <c:pt idx="0">
                  <c:v>461.28571428571428</c:v>
                </c:pt>
                <c:pt idx="1">
                  <c:v>361.03296703296701</c:v>
                </c:pt>
                <c:pt idx="2">
                  <c:v>409.58333333333331</c:v>
                </c:pt>
                <c:pt idx="3">
                  <c:v>378.90476190476193</c:v>
                </c:pt>
                <c:pt idx="4">
                  <c:v>364.95555555555558</c:v>
                </c:pt>
                <c:pt idx="5">
                  <c:v>6289.38</c:v>
                </c:pt>
              </c:numCache>
            </c:numRef>
          </c:yVal>
          <c:bubbleSize>
            <c:numRef>
              <c:f>Sheet1!$C$2:$C$7</c:f>
              <c:numCache>
                <c:formatCode>General</c:formatCode>
                <c:ptCount val="6"/>
                <c:pt idx="0">
                  <c:v>7881.6701999999996</c:v>
                </c:pt>
                <c:pt idx="1">
                  <c:v>28222.456399999999</c:v>
                </c:pt>
                <c:pt idx="2">
                  <c:v>2016.7874999999999</c:v>
                </c:pt>
                <c:pt idx="3">
                  <c:v>3681.25</c:v>
                </c:pt>
                <c:pt idx="4">
                  <c:v>13245.51</c:v>
                </c:pt>
                <c:pt idx="5">
                  <c:v>503437.10680000001</c:v>
                </c:pt>
              </c:numCache>
            </c:numRef>
          </c:bubbleSize>
          <c:bubble3D val="0"/>
          <c:extLst>
            <c:ext xmlns:c15="http://schemas.microsoft.com/office/drawing/2012/chart" uri="{02D57815-91ED-43cb-92C2-25804820EDAC}">
              <c15:datalabelsRange>
                <c15:f>Sheet1!$E$2:$E$50</c15:f>
                <c15:dlblRangeCache>
                  <c:ptCount val="49"/>
                  <c:pt idx="0">
                    <c:v>MG CHAMPAGNE E.NICOLAS BRUT 1CT X 1500ML</c:v>
                  </c:pt>
                  <c:pt idx="1">
                    <c:v>CHAMPAGNE NICOLAS 1ERE CUVEE 1CT X 750ML</c:v>
                  </c:pt>
                  <c:pt idx="2">
                    <c:v>MG CHAMPAGNE NICOLAS 1ERE CUVE 1CT X 1500ML</c:v>
                  </c:pt>
                  <c:pt idx="3">
                    <c:v>CHAMPAGNE NICOLAS BIO NAT 2017 1CT X 750ML</c:v>
                  </c:pt>
                  <c:pt idx="4">
                    <c:v>1/2 CHAMPAGNE NICOLAS 1ERE CUV 1CT X 375ML</c:v>
                  </c:pt>
                  <c:pt idx="5">
                    <c:v>CHAMPAGNE E.NICOLAS BRUT 1CT X 750ML</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7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81588A2E-E1E2-49BD-B3F0-7E92A7D06C7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6D4E88D1-76F2-4C95-80B0-32EB579C2B0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C5D435D8-822A-4DE1-BC2F-59420C9FC94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AFC40B25-1B24-4987-A50F-F646F375ABF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471C0F06-957A-4682-BBA8-D717B06EA55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BBEA3EB8-D441-4C26-8067-1B08FE7AB4C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CC27826C-C5C6-499B-96F2-C4E78B24E4E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8</c:f>
              <c:numCache>
                <c:formatCode>General</c:formatCode>
                <c:ptCount val="7"/>
                <c:pt idx="0">
                  <c:v>5.5999999999999999E-3</c:v>
                </c:pt>
                <c:pt idx="1">
                  <c:v>-2.69E-2</c:v>
                </c:pt>
                <c:pt idx="2">
                  <c:v>0.13969999999999999</c:v>
                </c:pt>
                <c:pt idx="3">
                  <c:v>1.4200000000000001E-2</c:v>
                </c:pt>
                <c:pt idx="4">
                  <c:v>2.9700000000000001E-2</c:v>
                </c:pt>
                <c:pt idx="5">
                  <c:v>0.04</c:v>
                </c:pt>
                <c:pt idx="6">
                  <c:v>8.72E-2</c:v>
                </c:pt>
              </c:numCache>
            </c:numRef>
          </c:xVal>
          <c:yVal>
            <c:numRef>
              <c:f>Sheet1!$B$2:$B$8</c:f>
              <c:numCache>
                <c:formatCode>General</c:formatCode>
                <c:ptCount val="7"/>
                <c:pt idx="0">
                  <c:v>1297.4705882352939</c:v>
                </c:pt>
                <c:pt idx="1">
                  <c:v>779.16883116883116</c:v>
                </c:pt>
                <c:pt idx="2">
                  <c:v>1504.166666666667</c:v>
                </c:pt>
                <c:pt idx="3">
                  <c:v>741.27777777777783</c:v>
                </c:pt>
                <c:pt idx="4">
                  <c:v>636.66666666666663</c:v>
                </c:pt>
                <c:pt idx="5">
                  <c:v>9504.58</c:v>
                </c:pt>
                <c:pt idx="6">
                  <c:v>175.6875</c:v>
                </c:pt>
              </c:numCache>
            </c:numRef>
          </c:yVal>
          <c:bubbleSize>
            <c:numRef>
              <c:f>Sheet1!$C$2:$C$8</c:f>
              <c:numCache>
                <c:formatCode>General</c:formatCode>
                <c:ptCount val="7"/>
                <c:pt idx="0">
                  <c:v>18277.5072</c:v>
                </c:pt>
                <c:pt idx="1">
                  <c:v>51340.187000000013</c:v>
                </c:pt>
                <c:pt idx="2">
                  <c:v>3399.7275</c:v>
                </c:pt>
                <c:pt idx="3">
                  <c:v>5192.5</c:v>
                </c:pt>
                <c:pt idx="4">
                  <c:v>18532.477500000001</c:v>
                </c:pt>
                <c:pt idx="5">
                  <c:v>760337.93420000002</c:v>
                </c:pt>
                <c:pt idx="6">
                  <c:v>1522.8077000000001</c:v>
                </c:pt>
              </c:numCache>
            </c:numRef>
          </c:bubbleSize>
          <c:bubble3D val="0"/>
          <c:extLst>
            <c:ext xmlns:c15="http://schemas.microsoft.com/office/drawing/2012/chart" uri="{02D57815-91ED-43cb-92C2-25804820EDAC}">
              <c15:datalabelsRange>
                <c15:f>Sheet1!$E$2:$E$50</c15:f>
                <c15:dlblRangeCache>
                  <c:ptCount val="49"/>
                  <c:pt idx="0">
                    <c:v>MG CHAMPAGNE E.NICOLAS BRUT 1CT X 1500ML</c:v>
                  </c:pt>
                  <c:pt idx="1">
                    <c:v>CHAMPAGNE NICOLAS 1ERE CUVEE 1CT X 750ML</c:v>
                  </c:pt>
                  <c:pt idx="2">
                    <c:v>MG CHAMPAGNE NICOLAS 1ERE CUVE 1CT X 1500ML</c:v>
                  </c:pt>
                  <c:pt idx="3">
                    <c:v>CHAMPAGNE NICOLAS BIO NAT 2017 1CT X 750ML</c:v>
                  </c:pt>
                  <c:pt idx="4">
                    <c:v>1/2 CHAMPAGNE NICOLAS 1ERE CUV 1CT X 375ML</c:v>
                  </c:pt>
                  <c:pt idx="5">
                    <c:v>CHAMPAGNE E.NICOLAS BRUT 1CT X 750ML</c:v>
                  </c:pt>
                  <c:pt idx="6">
                    <c:v>CHAMPAGNE NICOLAS 1ERE CUV ETU 1CT X 750ML</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7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BF568296-F91E-4812-9F90-30BC1A23A8C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FEDB755C-D75A-486A-82C9-1636D56C593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75A68E43-CB0F-4629-B42C-51868A57A31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2D0357A4-75DF-4B74-9C1D-EE7319EFD4A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4CDCFC63-A813-4D92-9C85-C527922BD85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4281E12F-F51E-4FA8-A53F-167BE1409A9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10B91D00-E08C-49DC-BB14-C23C92BD109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8</c:f>
              <c:numCache>
                <c:formatCode>General</c:formatCode>
                <c:ptCount val="7"/>
                <c:pt idx="0">
                  <c:v>1.52E-2</c:v>
                </c:pt>
                <c:pt idx="1">
                  <c:v>-2.2700000000000001E-2</c:v>
                </c:pt>
                <c:pt idx="2">
                  <c:v>0.1225</c:v>
                </c:pt>
                <c:pt idx="3">
                  <c:v>8.8999999999999999E-3</c:v>
                </c:pt>
                <c:pt idx="4">
                  <c:v>3.2399999999999998E-2</c:v>
                </c:pt>
                <c:pt idx="5">
                  <c:v>4.3900000000000002E-2</c:v>
                </c:pt>
                <c:pt idx="6">
                  <c:v>5.0799999999999998E-2</c:v>
                </c:pt>
              </c:numCache>
            </c:numRef>
          </c:xVal>
          <c:yVal>
            <c:numRef>
              <c:f>Sheet1!$B$2:$B$8</c:f>
              <c:numCache>
                <c:formatCode>General</c:formatCode>
                <c:ptCount val="7"/>
                <c:pt idx="0">
                  <c:v>1152.0666666666671</c:v>
                </c:pt>
                <c:pt idx="1">
                  <c:v>714.12903225806451</c:v>
                </c:pt>
                <c:pt idx="2">
                  <c:v>1150.333333333333</c:v>
                </c:pt>
                <c:pt idx="3">
                  <c:v>745.88888888888891</c:v>
                </c:pt>
                <c:pt idx="4">
                  <c:v>760.28</c:v>
                </c:pt>
                <c:pt idx="5">
                  <c:v>7373.9494949494947</c:v>
                </c:pt>
                <c:pt idx="6">
                  <c:v>254.6</c:v>
                </c:pt>
              </c:numCache>
            </c:numRef>
          </c:yVal>
          <c:bubbleSize>
            <c:numRef>
              <c:f>Sheet1!$C$2:$C$8</c:f>
              <c:numCache>
                <c:formatCode>General</c:formatCode>
                <c:ptCount val="7"/>
                <c:pt idx="0">
                  <c:v>14181.673199999999</c:v>
                </c:pt>
                <c:pt idx="1">
                  <c:v>37732.482300000003</c:v>
                </c:pt>
                <c:pt idx="2">
                  <c:v>3399.7275</c:v>
                </c:pt>
                <c:pt idx="3">
                  <c:v>6277.5</c:v>
                </c:pt>
                <c:pt idx="4">
                  <c:v>15325.342500000001</c:v>
                </c:pt>
                <c:pt idx="5">
                  <c:v>581642.16099999996</c:v>
                </c:pt>
                <c:pt idx="6">
                  <c:v>2787.5124000000001</c:v>
                </c:pt>
              </c:numCache>
            </c:numRef>
          </c:bubbleSize>
          <c:bubble3D val="0"/>
          <c:extLst>
            <c:ext xmlns:c15="http://schemas.microsoft.com/office/drawing/2012/chart" uri="{02D57815-91ED-43cb-92C2-25804820EDAC}">
              <c15:datalabelsRange>
                <c15:f>Sheet1!$E$2:$E$50</c15:f>
                <c15:dlblRangeCache>
                  <c:ptCount val="49"/>
                  <c:pt idx="0">
                    <c:v>MG CHAMPAGNE E.NICOLAS BRUT 1CT X 1500ML</c:v>
                  </c:pt>
                  <c:pt idx="1">
                    <c:v>CHAMPAGNE NICOLAS 1ERE CUVEE 1CT X 750ML</c:v>
                  </c:pt>
                  <c:pt idx="2">
                    <c:v>MG CHAMPAGNE NICOLAS 1ERE CUVE 1CT X 1500ML</c:v>
                  </c:pt>
                  <c:pt idx="3">
                    <c:v>CHAMPAGNE NICOLAS BIO NAT 2017 1CT X 750ML</c:v>
                  </c:pt>
                  <c:pt idx="4">
                    <c:v>1/2 CHAMPAGNE NICOLAS 1ERE CUV 1CT X 375ML</c:v>
                  </c:pt>
                  <c:pt idx="5">
                    <c:v>CHAMPAGNE E.NICOLAS BRUT 1CT X 750ML</c:v>
                  </c:pt>
                  <c:pt idx="6">
                    <c:v>CHAMPAGNE NICOLAS 1ERE CUV ETU 1CT X 750ML</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7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0FB424A0-523E-49EC-8E89-B6C365CF228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4C1E45C0-F5A9-4E91-B831-F68F780B419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939CD4FC-E826-43FA-AC26-9BF9FB74117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D9085CFC-2488-4D50-907E-0A665238118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88BF7EC3-EACA-4F0D-90A1-1E612E00A0B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31AA8222-6E2F-49E8-8547-209DC450E66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1A335A11-4838-4BA3-9252-38A20E0ADFC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8</c:f>
              <c:numCache>
                <c:formatCode>General</c:formatCode>
                <c:ptCount val="7"/>
                <c:pt idx="0">
                  <c:v>1.1900000000000001E-2</c:v>
                </c:pt>
                <c:pt idx="1">
                  <c:v>-2.1999999999999999E-2</c:v>
                </c:pt>
                <c:pt idx="2">
                  <c:v>0.122</c:v>
                </c:pt>
                <c:pt idx="3">
                  <c:v>1.0500000000000001E-2</c:v>
                </c:pt>
                <c:pt idx="4">
                  <c:v>3.4599999999999999E-2</c:v>
                </c:pt>
                <c:pt idx="5">
                  <c:v>4.2799999999999998E-2</c:v>
                </c:pt>
                <c:pt idx="6">
                  <c:v>4.3299999999999998E-2</c:v>
                </c:pt>
              </c:numCache>
            </c:numRef>
          </c:xVal>
          <c:yVal>
            <c:numRef>
              <c:f>Sheet1!$B$2:$B$8</c:f>
              <c:numCache>
                <c:formatCode>General</c:formatCode>
                <c:ptCount val="7"/>
                <c:pt idx="0">
                  <c:v>1184</c:v>
                </c:pt>
                <c:pt idx="1">
                  <c:v>658.12727272727261</c:v>
                </c:pt>
                <c:pt idx="2">
                  <c:v>1187.833333333333</c:v>
                </c:pt>
                <c:pt idx="3">
                  <c:v>1202.5999999999999</c:v>
                </c:pt>
                <c:pt idx="4">
                  <c:v>800.18181818181813</c:v>
                </c:pt>
                <c:pt idx="5">
                  <c:v>7707.4123711340208</c:v>
                </c:pt>
                <c:pt idx="6">
                  <c:v>383.23076923076923</c:v>
                </c:pt>
              </c:numCache>
            </c:numRef>
          </c:yVal>
          <c:bubbleSize>
            <c:numRef>
              <c:f>Sheet1!$C$2:$C$8</c:f>
              <c:numCache>
                <c:formatCode>General</c:formatCode>
                <c:ptCount val="7"/>
                <c:pt idx="0">
                  <c:v>14623.3392</c:v>
                </c:pt>
                <c:pt idx="1">
                  <c:v>30828.814399999999</c:v>
                </c:pt>
                <c:pt idx="2">
                  <c:v>3803.085</c:v>
                </c:pt>
                <c:pt idx="3">
                  <c:v>4960</c:v>
                </c:pt>
                <c:pt idx="4">
                  <c:v>14161.9575</c:v>
                </c:pt>
                <c:pt idx="5">
                  <c:v>596350.77399999998</c:v>
                </c:pt>
                <c:pt idx="6">
                  <c:v>3097.2359999999999</c:v>
                </c:pt>
              </c:numCache>
            </c:numRef>
          </c:bubbleSize>
          <c:bubble3D val="0"/>
          <c:extLst>
            <c:ext xmlns:c15="http://schemas.microsoft.com/office/drawing/2012/chart" uri="{02D57815-91ED-43cb-92C2-25804820EDAC}">
              <c15:datalabelsRange>
                <c15:f>Sheet1!$E$2:$E$50</c15:f>
                <c15:dlblRangeCache>
                  <c:ptCount val="49"/>
                  <c:pt idx="0">
                    <c:v>MG CHAMPAGNE E.NICOLAS BRUT 1CT X 1500ML</c:v>
                  </c:pt>
                  <c:pt idx="1">
                    <c:v>CHAMPAGNE NICOLAS 1ERE CUVEE 1CT X 750ML</c:v>
                  </c:pt>
                  <c:pt idx="2">
                    <c:v>MG CHAMPAGNE NICOLAS 1ERE CUVE 1CT X 1500ML</c:v>
                  </c:pt>
                  <c:pt idx="3">
                    <c:v>CHAMPAGNE NICOLAS BIO NAT 2017 1CT X 750ML</c:v>
                  </c:pt>
                  <c:pt idx="4">
                    <c:v>1/2 CHAMPAGNE NICOLAS 1ERE CUV 1CT X 375ML</c:v>
                  </c:pt>
                  <c:pt idx="5">
                    <c:v>CHAMPAGNE E.NICOLAS BRUT 1CT X 750ML</c:v>
                  </c:pt>
                  <c:pt idx="6">
                    <c:v>CHAMPAGNE NICOLAS 1ERE CUV ETU 1CT X 750ML</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7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8B328F38-12B2-42C9-9788-CC0F3C061DF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8BB87BE2-8313-4482-951F-9406B557C21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C8ED18EB-C62D-4410-A7B2-2AF5D298DA8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A262492F-C58E-413C-82D7-811738E1E99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BFDA-4C69-8E79-A083B7EFBA29}"/>
                </c:ext>
              </c:extLst>
            </c:dLbl>
            <c:dLbl>
              <c:idx val="7"/>
              <c:tx>
                <c:rich>
                  <a:bodyPr/>
                  <a:lstStyle/>
                  <a:p>
                    <a:fld id="{5AD65304-D577-4067-8A8B-FFB4DF69FD4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9663A62E-70D9-4052-BE1A-BEA514F14E3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D608E830-E45E-48EE-AB4C-A9F04A8F417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4</c:f>
              <c:numCache>
                <c:formatCode>General</c:formatCode>
                <c:ptCount val="3"/>
                <c:pt idx="0">
                  <c:v>0.14560000000000001</c:v>
                </c:pt>
                <c:pt idx="1">
                  <c:v>2.9899999999999999E-2</c:v>
                </c:pt>
                <c:pt idx="2">
                  <c:v>9.5600000000000004E-2</c:v>
                </c:pt>
              </c:numCache>
            </c:numRef>
          </c:xVal>
          <c:yVal>
            <c:numRef>
              <c:f>Sheet1!$B$2:$B$4</c:f>
              <c:numCache>
                <c:formatCode>General</c:formatCode>
                <c:ptCount val="3"/>
                <c:pt idx="0">
                  <c:v>1330.526315789474</c:v>
                </c:pt>
                <c:pt idx="1">
                  <c:v>1162.651296829971</c:v>
                </c:pt>
                <c:pt idx="2">
                  <c:v>1170.6878306878309</c:v>
                </c:pt>
              </c:numCache>
            </c:numRef>
          </c:yVal>
          <c:bubbleSize>
            <c:numRef>
              <c:f>Sheet1!$C$2:$C$4</c:f>
              <c:numCache>
                <c:formatCode>General</c:formatCode>
                <c:ptCount val="3"/>
                <c:pt idx="0">
                  <c:v>4321.6875</c:v>
                </c:pt>
                <c:pt idx="1">
                  <c:v>32614.510799999989</c:v>
                </c:pt>
                <c:pt idx="2">
                  <c:v>16674.775099999999</c:v>
                </c:pt>
              </c:numCache>
            </c:numRef>
          </c:bubbleSize>
          <c:bubble3D val="0"/>
          <c:extLst>
            <c:ext xmlns:c15="http://schemas.microsoft.com/office/drawing/2012/chart" uri="{02D57815-91ED-43cb-92C2-25804820EDAC}">
              <c15:datalabelsRange>
                <c15:f>Sheet1!$E$2:$E$50</c15:f>
                <c15:dlblRangeCache>
                  <c:ptCount val="49"/>
                  <c:pt idx="0">
                    <c:v>MG CHAMPAGNE NICOLAS 1E CRU BS 1CT X 1500ML</c:v>
                  </c:pt>
                  <c:pt idx="1">
                    <c:v>CHAMPAGNE NICOLAS 1ER CRU BS 1CT X 750ML</c:v>
                  </c:pt>
                  <c:pt idx="2">
                    <c:v>CHAMPAGNE NICOLAS 1ER CRU ETUI 1CT X 750ML</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7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B4DE0E82-E9B7-4B80-8637-3F822B4B874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923C72B5-D48C-4B2E-B67B-5EFE82FD93E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E1655975-4405-4C26-93F3-8CFE7F3FA94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7E049EF9-C6D4-4B88-817D-DC97801D039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BFDA-4C69-8E79-A083B7EFBA29}"/>
                </c:ext>
              </c:extLst>
            </c:dLbl>
            <c:dLbl>
              <c:idx val="7"/>
              <c:tx>
                <c:rich>
                  <a:bodyPr/>
                  <a:lstStyle/>
                  <a:p>
                    <a:fld id="{A7FFE736-483B-435D-A02D-D44B52D0D7B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5CBDF30B-6A36-405E-8AA9-A1301F3CB7C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D7D1623A-23AA-4E5D-AD3C-C724C2F5276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4</c:f>
              <c:numCache>
                <c:formatCode>General</c:formatCode>
                <c:ptCount val="3"/>
                <c:pt idx="0">
                  <c:v>0.1298</c:v>
                </c:pt>
                <c:pt idx="1">
                  <c:v>6.1999999999999998E-3</c:v>
                </c:pt>
                <c:pt idx="2">
                  <c:v>6.6900000000000001E-2</c:v>
                </c:pt>
              </c:numCache>
            </c:numRef>
          </c:xVal>
          <c:yVal>
            <c:numRef>
              <c:f>Sheet1!$B$2:$B$4</c:f>
              <c:numCache>
                <c:formatCode>General</c:formatCode>
                <c:ptCount val="3"/>
                <c:pt idx="0">
                  <c:v>1024.5</c:v>
                </c:pt>
                <c:pt idx="1">
                  <c:v>495.65625</c:v>
                </c:pt>
                <c:pt idx="2">
                  <c:v>496.88888888888891</c:v>
                </c:pt>
              </c:numCache>
            </c:numRef>
          </c:yVal>
          <c:bubbleSize>
            <c:numRef>
              <c:f>Sheet1!$C$2:$C$4</c:f>
              <c:numCache>
                <c:formatCode>General</c:formatCode>
                <c:ptCount val="3"/>
                <c:pt idx="0">
                  <c:v>2477.7674999999999</c:v>
                </c:pt>
                <c:pt idx="1">
                  <c:v>13135.884899999999</c:v>
                </c:pt>
                <c:pt idx="2">
                  <c:v>6954.8029000000006</c:v>
                </c:pt>
              </c:numCache>
            </c:numRef>
          </c:bubbleSize>
          <c:bubble3D val="0"/>
          <c:extLst>
            <c:ext xmlns:c15="http://schemas.microsoft.com/office/drawing/2012/chart" uri="{02D57815-91ED-43cb-92C2-25804820EDAC}">
              <c15:datalabelsRange>
                <c15:f>Sheet1!$E$2:$E$50</c15:f>
                <c15:dlblRangeCache>
                  <c:ptCount val="49"/>
                  <c:pt idx="0">
                    <c:v>MG CHAMPAGNE NICOLAS 1E CRU BS 1CT X 1500ML</c:v>
                  </c:pt>
                  <c:pt idx="1">
                    <c:v>CHAMPAGNE NICOLAS 1ER CRU BS 1CT X 750ML</c:v>
                  </c:pt>
                  <c:pt idx="2">
                    <c:v>CHAMPAGNE NICOLAS 1ER CRU ETUI 1CT X 750ML</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7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7C8F0305-A058-40AA-BAB4-90C97E6EBD0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6478BCA8-E706-4E45-9F70-FD75437289B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B7187697-5220-4F54-B12C-13891BD7195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6DAC3F8B-F388-4E8E-AA6E-9FAA5368698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BFDA-4C69-8E79-A083B7EFBA29}"/>
                </c:ext>
              </c:extLst>
            </c:dLbl>
            <c:dLbl>
              <c:idx val="7"/>
              <c:tx>
                <c:rich>
                  <a:bodyPr/>
                  <a:lstStyle/>
                  <a:p>
                    <a:fld id="{C22D47EB-2825-4E86-8585-3F921DAFB18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DC60248E-9643-4642-8326-C269B25F08B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8364277B-8D66-4E60-AEFE-08D9236DA96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4</c:f>
              <c:numCache>
                <c:formatCode>General</c:formatCode>
                <c:ptCount val="3"/>
                <c:pt idx="0">
                  <c:v>0.1699</c:v>
                </c:pt>
                <c:pt idx="1">
                  <c:v>-1.7100000000000001E-2</c:v>
                </c:pt>
                <c:pt idx="2">
                  <c:v>9.9400000000000002E-2</c:v>
                </c:pt>
              </c:numCache>
            </c:numRef>
          </c:xVal>
          <c:yVal>
            <c:numRef>
              <c:f>Sheet1!$B$2:$B$4</c:f>
              <c:numCache>
                <c:formatCode>General</c:formatCode>
                <c:ptCount val="3"/>
                <c:pt idx="0">
                  <c:v>210.33333333333329</c:v>
                </c:pt>
                <c:pt idx="1">
                  <c:v>264.47826086956519</c:v>
                </c:pt>
                <c:pt idx="2">
                  <c:v>339.18181818181819</c:v>
                </c:pt>
              </c:numCache>
            </c:numRef>
          </c:yVal>
          <c:bubbleSize>
            <c:numRef>
              <c:f>Sheet1!$C$2:$C$4</c:f>
              <c:numCache>
                <c:formatCode>General</c:formatCode>
                <c:ptCount val="3"/>
                <c:pt idx="0">
                  <c:v>1152.45</c:v>
                </c:pt>
                <c:pt idx="1">
                  <c:v>10311.304099999999</c:v>
                </c:pt>
                <c:pt idx="2">
                  <c:v>2800.0599000000002</c:v>
                </c:pt>
              </c:numCache>
            </c:numRef>
          </c:bubbleSize>
          <c:bubble3D val="0"/>
          <c:extLst>
            <c:ext xmlns:c15="http://schemas.microsoft.com/office/drawing/2012/chart" uri="{02D57815-91ED-43cb-92C2-25804820EDAC}">
              <c15:datalabelsRange>
                <c15:f>Sheet1!$E$2:$E$50</c15:f>
                <c15:dlblRangeCache>
                  <c:ptCount val="49"/>
                  <c:pt idx="0">
                    <c:v>MG CHAMPAGNE NICOLAS 1E CRU BS 1CT X 1500ML</c:v>
                  </c:pt>
                  <c:pt idx="1">
                    <c:v>CHAMPAGNE NICOLAS 1ER CRU BS 1CT X 750ML</c:v>
                  </c:pt>
                  <c:pt idx="2">
                    <c:v>CHAMPAGNE NICOLAS 1ER CRU ETUI 1CT X 750ML</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Besserat De Bellefon</c:v>
                </c:pt>
                <c:pt idx="2">
                  <c:v>Malard</c:v>
                </c:pt>
                <c:pt idx="3">
                  <c:v>Nicolas</c:v>
                </c:pt>
                <c:pt idx="4">
                  <c:v>Henriot</c:v>
                </c:pt>
                <c:pt idx="5">
                  <c:v>Delamotte</c:v>
                </c:pt>
                <c:pt idx="6">
                  <c:v>Ayala</c:v>
                </c:pt>
                <c:pt idx="7">
                  <c:v>De Bligny</c:v>
                </c:pt>
                <c:pt idx="8">
                  <c:v>De Venoge</c:v>
                </c:pt>
                <c:pt idx="9">
                  <c:v>Others</c:v>
                </c:pt>
              </c:strCache>
            </c:strRef>
          </c:cat>
          <c:val>
            <c:numRef>
              <c:f>Sheet1!$B$2:$B$11</c:f>
              <c:numCache>
                <c:formatCode>General</c:formatCode>
                <c:ptCount val="10"/>
                <c:pt idx="0">
                  <c:v>0.57646498815045877</c:v>
                </c:pt>
                <c:pt idx="1">
                  <c:v>7.0064210334420382E-2</c:v>
                </c:pt>
                <c:pt idx="2">
                  <c:v>6.9512244525917075E-2</c:v>
                </c:pt>
                <c:pt idx="3">
                  <c:v>6.29494217018777E-2</c:v>
                </c:pt>
                <c:pt idx="4">
                  <c:v>4.464339970426786E-2</c:v>
                </c:pt>
                <c:pt idx="5">
                  <c:v>4.13670521987482E-2</c:v>
                </c:pt>
                <c:pt idx="6">
                  <c:v>3.5781563329214693E-2</c:v>
                </c:pt>
                <c:pt idx="7">
                  <c:v>3.0236585711681419E-2</c:v>
                </c:pt>
                <c:pt idx="8">
                  <c:v>1.7105876157102635E-2</c:v>
                </c:pt>
                <c:pt idx="9">
                  <c:v>5.1874658186311248E-2</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Besserat De Bellefon</c:v>
                </c:pt>
                <c:pt idx="2">
                  <c:v>Malard</c:v>
                </c:pt>
                <c:pt idx="3">
                  <c:v>Nicolas</c:v>
                </c:pt>
                <c:pt idx="4">
                  <c:v>Henriot</c:v>
                </c:pt>
                <c:pt idx="5">
                  <c:v>Delamotte</c:v>
                </c:pt>
                <c:pt idx="6">
                  <c:v>Ayala</c:v>
                </c:pt>
                <c:pt idx="7">
                  <c:v>De Bligny</c:v>
                </c:pt>
                <c:pt idx="8">
                  <c:v>De Venoge</c:v>
                </c:pt>
                <c:pt idx="9">
                  <c:v>Others</c:v>
                </c:pt>
              </c:strCache>
            </c:strRef>
          </c:cat>
          <c:val>
            <c:numRef>
              <c:f>Sheet1!$C$2:$C$11</c:f>
              <c:numCache>
                <c:formatCode>General</c:formatCode>
                <c:ptCount val="10"/>
                <c:pt idx="0">
                  <c:v>0.2461273666092943</c:v>
                </c:pt>
                <c:pt idx="1">
                  <c:v>7.0567986230636828E-2</c:v>
                </c:pt>
                <c:pt idx="2">
                  <c:v>7.2289156626506021E-2</c:v>
                </c:pt>
                <c:pt idx="3">
                  <c:v>0.10757314974182443</c:v>
                </c:pt>
                <c:pt idx="4">
                  <c:v>7.7452667814113585E-2</c:v>
                </c:pt>
                <c:pt idx="5">
                  <c:v>8.8640275387263337E-2</c:v>
                </c:pt>
                <c:pt idx="6">
                  <c:v>8.2616179001721163E-2</c:v>
                </c:pt>
                <c:pt idx="7">
                  <c:v>5.7659208261617897E-2</c:v>
                </c:pt>
                <c:pt idx="8">
                  <c:v>4.1308089500860581E-2</c:v>
                </c:pt>
                <c:pt idx="9">
                  <c:v>0.15576592082616181</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Besserat De Bellefon</c:v>
                </c:pt>
                <c:pt idx="2">
                  <c:v>Malard</c:v>
                </c:pt>
                <c:pt idx="3">
                  <c:v>Nicolas</c:v>
                </c:pt>
                <c:pt idx="4">
                  <c:v>Henriot</c:v>
                </c:pt>
                <c:pt idx="5">
                  <c:v>Delamotte</c:v>
                </c:pt>
                <c:pt idx="6">
                  <c:v>Ayala</c:v>
                </c:pt>
                <c:pt idx="7">
                  <c:v>De Bligny</c:v>
                </c:pt>
                <c:pt idx="8">
                  <c:v>De Venoge</c:v>
                </c:pt>
                <c:pt idx="9">
                  <c:v>Others</c:v>
                </c:pt>
              </c:strCache>
            </c:strRef>
          </c:cat>
          <c:val>
            <c:numRef>
              <c:f>Sheet1!$D$2:$D$11</c:f>
              <c:numCache>
                <c:formatCode>General</c:formatCode>
                <c:ptCount val="10"/>
                <c:pt idx="0">
                  <c:v>42.69597836270578</c:v>
                </c:pt>
                <c:pt idx="1">
                  <c:v>100.71902030125209</c:v>
                </c:pt>
                <c:pt idx="2">
                  <c:v>103.99485316511914</c:v>
                </c:pt>
                <c:pt idx="3">
                  <c:v>170.8882255523813</c:v>
                </c:pt>
                <c:pt idx="4">
                  <c:v>173.49186739178646</c:v>
                </c:pt>
                <c:pt idx="5">
                  <c:v>214.27747609713816</c:v>
                </c:pt>
                <c:pt idx="6">
                  <c:v>230.89035613563382</c:v>
                </c:pt>
                <c:pt idx="7">
                  <c:v>190.69351550278441</c:v>
                </c:pt>
                <c:pt idx="8">
                  <c:v>241.48479225198179</c:v>
                </c:pt>
                <c:pt idx="9">
                  <c:v>300.27363316152997</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626708D7-3070-4B92-9F53-1BFD30888DA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DFC12F70-177A-4035-B5CD-E1C57E5829A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BFDA-4C69-8E79-A083B7EFBA29}"/>
                </c:ext>
              </c:extLst>
            </c:dLbl>
            <c:dLbl>
              <c:idx val="3"/>
              <c:tx>
                <c:rich>
                  <a:bodyPr/>
                  <a:lstStyle/>
                  <a:p>
                    <a:fld id="{2CAFE39D-3CA7-400B-BE29-2339ACBE938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3A73AE36-C0BC-4396-93D0-E649B4B0EFF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BFDA-4C69-8E79-A083B7EFBA29}"/>
                </c:ext>
              </c:extLst>
            </c:dLbl>
            <c:dLbl>
              <c:idx val="7"/>
              <c:tx>
                <c:rich>
                  <a:bodyPr/>
                  <a:lstStyle/>
                  <a:p>
                    <a:fld id="{9DA3C532-C280-4650-996E-C87B137C5AF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CF54DF58-2B3E-47E3-A06A-79B0B98EF32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4779E95D-9A99-4E7B-AC41-4D14CAEE9B6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3</c:f>
              <c:numCache>
                <c:formatCode>General</c:formatCode>
                <c:ptCount val="2"/>
                <c:pt idx="0">
                  <c:v>9.8000000000000004E-2</c:v>
                </c:pt>
                <c:pt idx="1">
                  <c:v>0.1158</c:v>
                </c:pt>
              </c:numCache>
            </c:numRef>
          </c:xVal>
          <c:yVal>
            <c:numRef>
              <c:f>Sheet1!$B$2:$B$3</c:f>
              <c:numCache>
                <c:formatCode>General</c:formatCode>
                <c:ptCount val="2"/>
                <c:pt idx="0">
                  <c:v>102.3333333333333</c:v>
                </c:pt>
                <c:pt idx="1">
                  <c:v>182.625</c:v>
                </c:pt>
              </c:numCache>
            </c:numRef>
          </c:yVal>
          <c:bubbleSize>
            <c:numRef>
              <c:f>Sheet1!$C$2:$C$3</c:f>
              <c:numCache>
                <c:formatCode>General</c:formatCode>
                <c:ptCount val="2"/>
                <c:pt idx="0">
                  <c:v>2999.828</c:v>
                </c:pt>
                <c:pt idx="1">
                  <c:v>2153.1293999999998</c:v>
                </c:pt>
              </c:numCache>
            </c:numRef>
          </c:bubbleSize>
          <c:bubble3D val="0"/>
          <c:extLst>
            <c:ext xmlns:c15="http://schemas.microsoft.com/office/drawing/2012/chart" uri="{02D57815-91ED-43cb-92C2-25804820EDAC}">
              <c15:datalabelsRange>
                <c15:f>Sheet1!$E$2:$E$50</c15:f>
                <c15:dlblRangeCache>
                  <c:ptCount val="49"/>
                  <c:pt idx="0">
                    <c:v>CHAMPAGNE NICOLAS 1ER CRU BS 1CT X 750ML</c:v>
                  </c:pt>
                  <c:pt idx="1">
                    <c:v>CHAMPAGNE NICOLAS 1ER CRU ETUI 1CT X 750ML</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7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434BD4B9-0B84-4413-925C-62E62BEE8A6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A44D6BC4-84B7-4368-9533-E2E587AA0CA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BFDA-4C69-8E79-A083B7EFBA29}"/>
                </c:ext>
              </c:extLst>
            </c:dLbl>
            <c:dLbl>
              <c:idx val="3"/>
              <c:tx>
                <c:rich>
                  <a:bodyPr/>
                  <a:lstStyle/>
                  <a:p>
                    <a:fld id="{DA555507-BDBF-4A97-B6F3-6CB3D49C719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B5275F29-14F3-43BB-A28B-E9A00C2BE1D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BFDA-4C69-8E79-A083B7EFBA29}"/>
                </c:ext>
              </c:extLst>
            </c:dLbl>
            <c:dLbl>
              <c:idx val="7"/>
              <c:tx>
                <c:rich>
                  <a:bodyPr/>
                  <a:lstStyle/>
                  <a:p>
                    <a:fld id="{ED891A02-A908-4480-9325-784A58F52A4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D43ADDB1-96EF-495C-8F16-08C56B6A3B8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6B2BA95D-EC9A-41E6-A698-FE60044E422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3</c:f>
              <c:numCache>
                <c:formatCode>General</c:formatCode>
                <c:ptCount val="2"/>
                <c:pt idx="0">
                  <c:v>7.1400000000000005E-2</c:v>
                </c:pt>
                <c:pt idx="1">
                  <c:v>9.01E-2</c:v>
                </c:pt>
              </c:numCache>
            </c:numRef>
          </c:xVal>
          <c:yVal>
            <c:numRef>
              <c:f>Sheet1!$B$2:$B$3</c:f>
              <c:numCache>
                <c:formatCode>General</c:formatCode>
                <c:ptCount val="2"/>
                <c:pt idx="0">
                  <c:v>95.55</c:v>
                </c:pt>
                <c:pt idx="1">
                  <c:v>61.825000000000003</c:v>
                </c:pt>
              </c:numCache>
            </c:numRef>
          </c:yVal>
          <c:bubbleSize>
            <c:numRef>
              <c:f>Sheet1!$C$2:$C$3</c:f>
              <c:numCache>
                <c:formatCode>General</c:formatCode>
                <c:ptCount val="2"/>
                <c:pt idx="0">
                  <c:v>1478.8743999999999</c:v>
                </c:pt>
                <c:pt idx="1">
                  <c:v>1875.0716</c:v>
                </c:pt>
              </c:numCache>
            </c:numRef>
          </c:bubbleSize>
          <c:bubble3D val="0"/>
          <c:extLst>
            <c:ext xmlns:c15="http://schemas.microsoft.com/office/drawing/2012/chart" uri="{02D57815-91ED-43cb-92C2-25804820EDAC}">
              <c15:datalabelsRange>
                <c15:f>Sheet1!$E$2:$E$50</c15:f>
                <c15:dlblRangeCache>
                  <c:ptCount val="49"/>
                  <c:pt idx="0">
                    <c:v>CHAMPAGNE NICOLAS 1ER CRU BS 1CT X 750ML</c:v>
                  </c:pt>
                  <c:pt idx="1">
                    <c:v>CHAMPAGNE NICOLAS 1ER CRU ETUI 1CT X 750ML</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7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EF5143C1-80DA-4624-8901-933BA6AB991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6491EE6B-9A21-455F-A0BC-09F2FFA0B67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1223BFE6-F0F4-4044-80E3-24F27F24DFA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AA50C864-F728-4EAB-BC0F-3C0EB3D5009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BFDA-4C69-8E79-A083B7EFBA29}"/>
                </c:ext>
              </c:extLst>
            </c:dLbl>
            <c:dLbl>
              <c:idx val="7"/>
              <c:tx>
                <c:rich>
                  <a:bodyPr/>
                  <a:lstStyle/>
                  <a:p>
                    <a:fld id="{9072B1C4-2BD4-4B0D-A60C-40F18283024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F6F50D4C-AB10-47CD-A28E-3BE79C99CE3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B977883A-8326-4F1E-ACD4-FA69BD413FC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4</c:f>
              <c:numCache>
                <c:formatCode>General</c:formatCode>
                <c:ptCount val="3"/>
                <c:pt idx="0">
                  <c:v>0.1241</c:v>
                </c:pt>
                <c:pt idx="1">
                  <c:v>1.3100000000000001E-2</c:v>
                </c:pt>
                <c:pt idx="2">
                  <c:v>5.4199999999999998E-2</c:v>
                </c:pt>
              </c:numCache>
            </c:numRef>
          </c:xVal>
          <c:yVal>
            <c:numRef>
              <c:f>Sheet1!$B$2:$B$4</c:f>
              <c:numCache>
                <c:formatCode>General</c:formatCode>
                <c:ptCount val="3"/>
                <c:pt idx="0">
                  <c:v>1233.5</c:v>
                </c:pt>
                <c:pt idx="1">
                  <c:v>770.59375</c:v>
                </c:pt>
                <c:pt idx="2">
                  <c:v>891.5</c:v>
                </c:pt>
              </c:numCache>
            </c:numRef>
          </c:yVal>
          <c:bubbleSize>
            <c:numRef>
              <c:f>Sheet1!$C$2:$C$4</c:f>
              <c:numCache>
                <c:formatCode>General</c:formatCode>
                <c:ptCount val="3"/>
                <c:pt idx="0">
                  <c:v>2881.125</c:v>
                </c:pt>
                <c:pt idx="1">
                  <c:v>20279.3665</c:v>
                </c:pt>
                <c:pt idx="2">
                  <c:v>12648.247100000001</c:v>
                </c:pt>
              </c:numCache>
            </c:numRef>
          </c:bubbleSize>
          <c:bubble3D val="0"/>
          <c:extLst>
            <c:ext xmlns:c15="http://schemas.microsoft.com/office/drawing/2012/chart" uri="{02D57815-91ED-43cb-92C2-25804820EDAC}">
              <c15:datalabelsRange>
                <c15:f>Sheet1!$E$2:$E$50</c15:f>
                <c15:dlblRangeCache>
                  <c:ptCount val="49"/>
                  <c:pt idx="0">
                    <c:v>MG CHAMPAGNE NICOLAS 1E CRU BS 1CT X 1500ML</c:v>
                  </c:pt>
                  <c:pt idx="1">
                    <c:v>CHAMPAGNE NICOLAS 1ER CRU BS 1CT X 750ML</c:v>
                  </c:pt>
                  <c:pt idx="2">
                    <c:v>CHAMPAGNE NICOLAS 1ER CRU ETUI 1CT X 750ML</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7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1B18E3B9-D125-4842-9C3E-4BD05AD5653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F21F8B09-5DC4-46C6-9675-02183362CB6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BFDA-4C69-8E79-A083B7EFBA29}"/>
                </c:ext>
              </c:extLst>
            </c:dLbl>
            <c:dLbl>
              <c:idx val="3"/>
              <c:tx>
                <c:rich>
                  <a:bodyPr/>
                  <a:lstStyle/>
                  <a:p>
                    <a:fld id="{3D279CA2-DDB2-4385-ABA1-28A2462F14E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68C6BEC6-D3E6-4FBF-AA6E-ED7531DA704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BFDA-4C69-8E79-A083B7EFBA29}"/>
                </c:ext>
              </c:extLst>
            </c:dLbl>
            <c:dLbl>
              <c:idx val="7"/>
              <c:tx>
                <c:rich>
                  <a:bodyPr/>
                  <a:lstStyle/>
                  <a:p>
                    <a:fld id="{254B892F-2698-4E8C-B015-1FE7527F6E7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F8FDDFD5-09BE-4BD4-ABC5-82256303D28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6E9A85FE-E626-4F27-A765-2326DD068C6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3</c:f>
              <c:numCache>
                <c:formatCode>General</c:formatCode>
                <c:ptCount val="2"/>
                <c:pt idx="0">
                  <c:v>4.07E-2</c:v>
                </c:pt>
                <c:pt idx="1">
                  <c:v>0.15770000000000001</c:v>
                </c:pt>
              </c:numCache>
            </c:numRef>
          </c:xVal>
          <c:yVal>
            <c:numRef>
              <c:f>Sheet1!$B$2:$B$3</c:f>
              <c:numCache>
                <c:formatCode>General</c:formatCode>
                <c:ptCount val="2"/>
                <c:pt idx="0">
                  <c:v>174.64</c:v>
                </c:pt>
                <c:pt idx="1">
                  <c:v>138.5625</c:v>
                </c:pt>
              </c:numCache>
            </c:numRef>
          </c:yVal>
          <c:bubbleSize>
            <c:numRef>
              <c:f>Sheet1!$C$2:$C$3</c:f>
              <c:numCache>
                <c:formatCode>General</c:formatCode>
                <c:ptCount val="2"/>
                <c:pt idx="0">
                  <c:v>3490.2640999999999</c:v>
                </c:pt>
                <c:pt idx="1">
                  <c:v>1556.1465000000001</c:v>
                </c:pt>
              </c:numCache>
            </c:numRef>
          </c:bubbleSize>
          <c:bubble3D val="0"/>
          <c:extLst>
            <c:ext xmlns:c15="http://schemas.microsoft.com/office/drawing/2012/chart" uri="{02D57815-91ED-43cb-92C2-25804820EDAC}">
              <c15:datalabelsRange>
                <c15:f>Sheet1!$E$2:$E$50</c15:f>
                <c15:dlblRangeCache>
                  <c:ptCount val="49"/>
                  <c:pt idx="0">
                    <c:v>CHAMPAGNE NICOLAS 1ER CRU BS 1CT X 750ML</c:v>
                  </c:pt>
                  <c:pt idx="1">
                    <c:v>CHAMPAGNE NICOLAS 1ER CRU ETUI 1CT X 750ML</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7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96BB0024-A83A-4B09-8EA4-ED9DE7789E0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BFDA-4C69-8E79-A083B7EFBA29}"/>
                </c:ext>
              </c:extLst>
            </c:dLbl>
            <c:dLbl>
              <c:idx val="2"/>
              <c:tx>
                <c:rich>
                  <a:bodyPr/>
                  <a:lstStyle/>
                  <a:p>
                    <a:fld id="{9F6E0F9D-FFF5-4683-913C-8EB94BE7512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BFDA-4C69-8E79-A083B7EFBA29}"/>
                </c:ext>
              </c:extLst>
            </c:dLbl>
            <c:dLbl>
              <c:idx val="3"/>
              <c:tx>
                <c:rich>
                  <a:bodyPr/>
                  <a:lstStyle/>
                  <a:p>
                    <a:fld id="{3F2E7472-BBFA-4E01-9C6D-4B445F2B19B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BE2D1F55-9219-41A9-84A7-FDFE3616140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BFDA-4C69-8E79-A083B7EFBA29}"/>
                </c:ext>
              </c:extLst>
            </c:dLbl>
            <c:dLbl>
              <c:idx val="7"/>
              <c:tx>
                <c:rich>
                  <a:bodyPr/>
                  <a:lstStyle/>
                  <a:p>
                    <a:fld id="{7D723E9C-B334-4D49-80E3-271CBDF02F9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71737444-26D4-4DDD-8C14-F8D68299845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92BE4180-337E-4B0D-ABB6-9AC73DD2AD7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2</c:f>
              <c:numCache>
                <c:formatCode>General</c:formatCode>
                <c:ptCount val="1"/>
                <c:pt idx="0">
                  <c:v>0.1195</c:v>
                </c:pt>
              </c:numCache>
            </c:numRef>
          </c:xVal>
          <c:yVal>
            <c:numRef>
              <c:f>Sheet1!$B$2:$B$2</c:f>
              <c:numCache>
                <c:formatCode>General</c:formatCode>
                <c:ptCount val="1"/>
                <c:pt idx="0">
                  <c:v>82.030303030303031</c:v>
                </c:pt>
              </c:numCache>
            </c:numRef>
          </c:yVal>
          <c:bubbleSize>
            <c:numRef>
              <c:f>Sheet1!$C$2:$C$2</c:f>
              <c:numCache>
                <c:formatCode>General</c:formatCode>
                <c:ptCount val="1"/>
                <c:pt idx="0">
                  <c:v>1986.3320000000001</c:v>
                </c:pt>
              </c:numCache>
            </c:numRef>
          </c:bubbleSize>
          <c:bubble3D val="0"/>
          <c:extLst>
            <c:ext xmlns:c15="http://schemas.microsoft.com/office/drawing/2012/chart" uri="{02D57815-91ED-43cb-92C2-25804820EDAC}">
              <c15:datalabelsRange>
                <c15:f>Sheet1!$E$2:$E$50</c15:f>
                <c15:dlblRangeCache>
                  <c:ptCount val="49"/>
                  <c:pt idx="0">
                    <c:v>CHAMPAGNE NICOLAS 1ER CRU BS 1CT X 750ML</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7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49FEA855-ED8F-47A9-82CA-DE4EB0F5558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BFDA-4C69-8E79-A083B7EFBA29}"/>
                </c:ext>
              </c:extLst>
            </c:dLbl>
            <c:dLbl>
              <c:idx val="2"/>
              <c:tx>
                <c:rich>
                  <a:bodyPr/>
                  <a:lstStyle/>
                  <a:p>
                    <a:fld id="{14C225BD-4DFC-4426-8F03-DEA84D716B2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BFDA-4C69-8E79-A083B7EFBA29}"/>
                </c:ext>
              </c:extLst>
            </c:dLbl>
            <c:dLbl>
              <c:idx val="3"/>
              <c:tx>
                <c:rich>
                  <a:bodyPr/>
                  <a:lstStyle/>
                  <a:p>
                    <a:fld id="{604247D1-B936-4D1D-A949-120830614DA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5FC2D819-AA0E-46CE-B1E2-2C391160345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BFDA-4C69-8E79-A083B7EFBA29}"/>
                </c:ext>
              </c:extLst>
            </c:dLbl>
            <c:dLbl>
              <c:idx val="7"/>
              <c:tx>
                <c:rich>
                  <a:bodyPr/>
                  <a:lstStyle/>
                  <a:p>
                    <a:fld id="{5FF91B3E-27A1-4C3F-9A94-5AA2309BF10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2AFA7990-3FEB-453E-AC1A-3A1F13038A5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55EEC5BE-0424-49CC-AA25-4A11638180E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2</c:f>
              <c:numCache>
                <c:formatCode>General</c:formatCode>
                <c:ptCount val="1"/>
                <c:pt idx="0">
                  <c:v>6.3899999999999998E-2</c:v>
                </c:pt>
              </c:numCache>
            </c:numRef>
          </c:xVal>
          <c:yVal>
            <c:numRef>
              <c:f>Sheet1!$B$2:$B$2</c:f>
              <c:numCache>
                <c:formatCode>General</c:formatCode>
                <c:ptCount val="1"/>
                <c:pt idx="0">
                  <c:v>45.39473684210526</c:v>
                </c:pt>
              </c:numCache>
            </c:numRef>
          </c:yVal>
          <c:bubbleSize>
            <c:numRef>
              <c:f>Sheet1!$C$2:$C$2</c:f>
              <c:numCache>
                <c:formatCode>General</c:formatCode>
                <c:ptCount val="1"/>
                <c:pt idx="0">
                  <c:v>1345.7064</c:v>
                </c:pt>
              </c:numCache>
            </c:numRef>
          </c:bubbleSize>
          <c:bubble3D val="0"/>
          <c:extLst>
            <c:ext xmlns:c15="http://schemas.microsoft.com/office/drawing/2012/chart" uri="{02D57815-91ED-43cb-92C2-25804820EDAC}">
              <c15:datalabelsRange>
                <c15:f>Sheet1!$E$2:$E$50</c15:f>
                <c15:dlblRangeCache>
                  <c:ptCount val="49"/>
                  <c:pt idx="0">
                    <c:v>CHAMPAGNE NICOLAS 1ER CRU BS 1CT X 750ML</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7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2A942282-02EC-4851-9460-9D1C02F8DF4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C601199A-D098-41D3-B4D9-122500FC66D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BFDA-4C69-8E79-A083B7EFBA29}"/>
                </c:ext>
              </c:extLst>
            </c:dLbl>
            <c:dLbl>
              <c:idx val="3"/>
              <c:tx>
                <c:rich>
                  <a:bodyPr/>
                  <a:lstStyle/>
                  <a:p>
                    <a:fld id="{F2D5D9FA-6690-4305-9B95-9ADE2DF6A1D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80B611ED-9D6E-49A7-95CC-E8FDD57E254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BFDA-4C69-8E79-A083B7EFBA29}"/>
                </c:ext>
              </c:extLst>
            </c:dLbl>
            <c:dLbl>
              <c:idx val="7"/>
              <c:tx>
                <c:rich>
                  <a:bodyPr/>
                  <a:lstStyle/>
                  <a:p>
                    <a:fld id="{2E686481-E360-4FD3-B3C8-4131865836A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C1FD3779-C2D9-40D2-B32E-B7950381EC8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D2B56B77-651A-447F-BDA2-7563F156F85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3</c:f>
              <c:numCache>
                <c:formatCode>General</c:formatCode>
                <c:ptCount val="2"/>
                <c:pt idx="0">
                  <c:v>4.2099999999999999E-2</c:v>
                </c:pt>
                <c:pt idx="1">
                  <c:v>8.5000000000000006E-2</c:v>
                </c:pt>
              </c:numCache>
            </c:numRef>
          </c:xVal>
          <c:yVal>
            <c:numRef>
              <c:f>Sheet1!$B$2:$B$3</c:f>
              <c:numCache>
                <c:formatCode>General</c:formatCode>
                <c:ptCount val="2"/>
                <c:pt idx="0">
                  <c:v>148.58064516129031</c:v>
                </c:pt>
                <c:pt idx="1">
                  <c:v>207.47619047619051</c:v>
                </c:pt>
              </c:numCache>
            </c:numRef>
          </c:yVal>
          <c:bubbleSize>
            <c:numRef>
              <c:f>Sheet1!$C$2:$C$3</c:f>
              <c:numCache>
                <c:formatCode>General</c:formatCode>
                <c:ptCount val="2"/>
                <c:pt idx="0">
                  <c:v>3676.8560000000002</c:v>
                </c:pt>
                <c:pt idx="1">
                  <c:v>3322.1214</c:v>
                </c:pt>
              </c:numCache>
            </c:numRef>
          </c:bubbleSize>
          <c:bubble3D val="0"/>
          <c:extLst>
            <c:ext xmlns:c15="http://schemas.microsoft.com/office/drawing/2012/chart" uri="{02D57815-91ED-43cb-92C2-25804820EDAC}">
              <c15:datalabelsRange>
                <c15:f>Sheet1!$E$2:$E$50</c15:f>
                <c15:dlblRangeCache>
                  <c:ptCount val="49"/>
                  <c:pt idx="0">
                    <c:v>CHAMPAGNE NICOLAS 1ER CRU BS 1CT X 750ML</c:v>
                  </c:pt>
                  <c:pt idx="1">
                    <c:v>CHAMPAGNE NICOLAS 1ER CRU ETUI 1CT X 750ML</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7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1F240FC2-CC87-449D-9EA3-641D06FEE64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A8524B81-67BE-4FDF-89D7-F14DC9AA8FC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BFDA-4C69-8E79-A083B7EFBA29}"/>
                </c:ext>
              </c:extLst>
            </c:dLbl>
            <c:dLbl>
              <c:idx val="3"/>
              <c:tx>
                <c:rich>
                  <a:bodyPr/>
                  <a:lstStyle/>
                  <a:p>
                    <a:fld id="{61495389-C64A-4E61-A979-4CD0BB8411E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C3AB06FA-C9F5-4996-9621-E4D48235F4A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BFDA-4C69-8E79-A083B7EFBA29}"/>
                </c:ext>
              </c:extLst>
            </c:dLbl>
            <c:dLbl>
              <c:idx val="7"/>
              <c:tx>
                <c:rich>
                  <a:bodyPr/>
                  <a:lstStyle/>
                  <a:p>
                    <a:fld id="{05CEAEB1-9EDC-4D0A-B759-96880235650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CB1A20BA-B178-4386-AA25-1D1121336CF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E3F81208-3498-4F56-B26C-3780DF3515F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3</c:f>
              <c:numCache>
                <c:formatCode>General</c:formatCode>
                <c:ptCount val="2"/>
                <c:pt idx="0">
                  <c:v>4.7899999999999998E-2</c:v>
                </c:pt>
                <c:pt idx="1">
                  <c:v>6.83E-2</c:v>
                </c:pt>
              </c:numCache>
            </c:numRef>
          </c:xVal>
          <c:yVal>
            <c:numRef>
              <c:f>Sheet1!$B$2:$B$3</c:f>
              <c:numCache>
                <c:formatCode>General</c:formatCode>
                <c:ptCount val="2"/>
                <c:pt idx="0">
                  <c:v>103.7045454545455</c:v>
                </c:pt>
                <c:pt idx="1">
                  <c:v>210.52173913043481</c:v>
                </c:pt>
              </c:numCache>
            </c:numRef>
          </c:yVal>
          <c:bubbleSize>
            <c:numRef>
              <c:f>Sheet1!$C$2:$C$3</c:f>
              <c:numCache>
                <c:formatCode>General</c:formatCode>
                <c:ptCount val="2"/>
                <c:pt idx="0">
                  <c:v>3620.4369999999999</c:v>
                </c:pt>
                <c:pt idx="1">
                  <c:v>3759.2235000000001</c:v>
                </c:pt>
              </c:numCache>
            </c:numRef>
          </c:bubbleSize>
          <c:bubble3D val="0"/>
          <c:extLst>
            <c:ext xmlns:c15="http://schemas.microsoft.com/office/drawing/2012/chart" uri="{02D57815-91ED-43cb-92C2-25804820EDAC}">
              <c15:datalabelsRange>
                <c15:f>Sheet1!$E$2:$E$50</c15:f>
                <c15:dlblRangeCache>
                  <c:ptCount val="49"/>
                  <c:pt idx="0">
                    <c:v>CHAMPAGNE NICOLAS 1ER CRU BS 1CT X 750ML</c:v>
                  </c:pt>
                  <c:pt idx="1">
                    <c:v>CHAMPAGNE NICOLAS 1ER CRU ETUI 1CT X 750ML</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7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BAD3D7FB-0649-4A0D-A7C0-8B0E22A02D8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B6967260-A805-4AE0-AED9-A10BBD254F8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BFDA-4C69-8E79-A083B7EFBA29}"/>
                </c:ext>
              </c:extLst>
            </c:dLbl>
            <c:dLbl>
              <c:idx val="3"/>
              <c:tx>
                <c:rich>
                  <a:bodyPr/>
                  <a:lstStyle/>
                  <a:p>
                    <a:fld id="{760C42EC-A4D0-491D-95DC-D93870A5FF9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8718E282-2773-4015-9EAC-2275A276824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BFDA-4C69-8E79-A083B7EFBA29}"/>
                </c:ext>
              </c:extLst>
            </c:dLbl>
            <c:dLbl>
              <c:idx val="7"/>
              <c:tx>
                <c:rich>
                  <a:bodyPr/>
                  <a:lstStyle/>
                  <a:p>
                    <a:fld id="{9E4CD9D8-1534-4A11-A72F-64B96A32E3F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30B18BCC-BD13-4808-8CFC-986F458901D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8515919A-A3D9-4328-A7B7-6A57643E23C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3</c:f>
              <c:numCache>
                <c:formatCode>General</c:formatCode>
                <c:ptCount val="2"/>
                <c:pt idx="0">
                  <c:v>5.8700000000000002E-2</c:v>
                </c:pt>
                <c:pt idx="1">
                  <c:v>9.2100000000000001E-2</c:v>
                </c:pt>
              </c:numCache>
            </c:numRef>
          </c:xVal>
          <c:yVal>
            <c:numRef>
              <c:f>Sheet1!$B$2:$B$3</c:f>
              <c:numCache>
                <c:formatCode>General</c:formatCode>
                <c:ptCount val="2"/>
                <c:pt idx="0">
                  <c:v>267.60714285714278</c:v>
                </c:pt>
                <c:pt idx="1">
                  <c:v>311.63157894736838</c:v>
                </c:pt>
              </c:numCache>
            </c:numRef>
          </c:yVal>
          <c:bubbleSize>
            <c:numRef>
              <c:f>Sheet1!$C$2:$C$3</c:f>
              <c:numCache>
                <c:formatCode>General</c:formatCode>
                <c:ptCount val="2"/>
                <c:pt idx="0">
                  <c:v>5877.6760000000004</c:v>
                </c:pt>
                <c:pt idx="1">
                  <c:v>4479.5236000000004</c:v>
                </c:pt>
              </c:numCache>
            </c:numRef>
          </c:bubbleSize>
          <c:bubble3D val="0"/>
          <c:extLst>
            <c:ext xmlns:c15="http://schemas.microsoft.com/office/drawing/2012/chart" uri="{02D57815-91ED-43cb-92C2-25804820EDAC}">
              <c15:datalabelsRange>
                <c15:f>Sheet1!$E$2:$E$50</c15:f>
                <c15:dlblRangeCache>
                  <c:ptCount val="49"/>
                  <c:pt idx="0">
                    <c:v>CHAMPAGNE NICOLAS 1ER CRU BS 1CT X 750ML</c:v>
                  </c:pt>
                  <c:pt idx="1">
                    <c:v>CHAMPAGNE NICOLAS 1ER CRU ETUI 1CT X 750ML</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7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284C72A8-5330-4149-B431-682CAB223A3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57E0BF07-ED54-4A86-B659-0983778D28E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283C2873-1EAA-4525-A525-3539C0CE8C5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41958BE9-F89B-4B55-8FBF-2F57669938C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BFDA-4C69-8E79-A083B7EFBA29}"/>
                </c:ext>
              </c:extLst>
            </c:dLbl>
            <c:dLbl>
              <c:idx val="7"/>
              <c:tx>
                <c:rich>
                  <a:bodyPr/>
                  <a:lstStyle/>
                  <a:p>
                    <a:fld id="{3D005C40-D1B6-4632-BFD7-F43F351B539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014F5C2E-C10B-4727-9C05-017CD44F77F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514A608A-5F69-4123-A6AF-BDFC223284B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4</c:f>
              <c:numCache>
                <c:formatCode>General</c:formatCode>
                <c:ptCount val="3"/>
                <c:pt idx="0">
                  <c:v>0.13689999999999999</c:v>
                </c:pt>
                <c:pt idx="1">
                  <c:v>3.2800000000000003E-2</c:v>
                </c:pt>
                <c:pt idx="2">
                  <c:v>7.0499999999999993E-2</c:v>
                </c:pt>
              </c:numCache>
            </c:numRef>
          </c:xVal>
          <c:yVal>
            <c:numRef>
              <c:f>Sheet1!$B$2:$B$4</c:f>
              <c:numCache>
                <c:formatCode>General</c:formatCode>
                <c:ptCount val="3"/>
                <c:pt idx="0">
                  <c:v>556.33333333333337</c:v>
                </c:pt>
                <c:pt idx="1">
                  <c:v>297.49999999999989</c:v>
                </c:pt>
                <c:pt idx="2">
                  <c:v>535</c:v>
                </c:pt>
              </c:numCache>
            </c:numRef>
          </c:yVal>
          <c:bubbleSize>
            <c:numRef>
              <c:f>Sheet1!$C$2:$C$4</c:f>
              <c:numCache>
                <c:formatCode>General</c:formatCode>
                <c:ptCount val="3"/>
                <c:pt idx="0">
                  <c:v>1037.2049999999999</c:v>
                </c:pt>
                <c:pt idx="1">
                  <c:v>6714.1922000000004</c:v>
                </c:pt>
                <c:pt idx="2">
                  <c:v>4143.8684999999996</c:v>
                </c:pt>
              </c:numCache>
            </c:numRef>
          </c:bubbleSize>
          <c:bubble3D val="0"/>
          <c:extLst>
            <c:ext xmlns:c15="http://schemas.microsoft.com/office/drawing/2012/chart" uri="{02D57815-91ED-43cb-92C2-25804820EDAC}">
              <c15:datalabelsRange>
                <c15:f>Sheet1!$E$2:$E$50</c15:f>
                <c15:dlblRangeCache>
                  <c:ptCount val="49"/>
                  <c:pt idx="0">
                    <c:v>MG CHAMPAGNE NICOLAS 1E CRU BS 1CT X 1500ML</c:v>
                  </c:pt>
                  <c:pt idx="1">
                    <c:v>CHAMPAGNE NICOLAS 1ER CRU BS 1CT X 750ML</c:v>
                  </c:pt>
                  <c:pt idx="2">
                    <c:v>CHAMPAGNE NICOLAS 1ER CRU ETUI 1CT X 750ML</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Nicolas</c:v>
                </c:pt>
                <c:pt idx="2">
                  <c:v>Malard</c:v>
                </c:pt>
                <c:pt idx="3">
                  <c:v>Ayala</c:v>
                </c:pt>
                <c:pt idx="4">
                  <c:v>Delamotte</c:v>
                </c:pt>
                <c:pt idx="5">
                  <c:v>Henriot</c:v>
                </c:pt>
                <c:pt idx="6">
                  <c:v>De Bligny</c:v>
                </c:pt>
                <c:pt idx="7">
                  <c:v>De Venoge</c:v>
                </c:pt>
                <c:pt idx="8">
                  <c:v>Deutz</c:v>
                </c:pt>
                <c:pt idx="9">
                  <c:v>Others</c:v>
                </c:pt>
              </c:strCache>
            </c:strRef>
          </c:cat>
          <c:val>
            <c:numRef>
              <c:f>Sheet1!$B$2:$B$11</c:f>
              <c:numCache>
                <c:formatCode>General</c:formatCode>
                <c:ptCount val="10"/>
                <c:pt idx="0">
                  <c:v>0.32876844169437014</c:v>
                </c:pt>
                <c:pt idx="1">
                  <c:v>5.2529003436701728E-2</c:v>
                </c:pt>
                <c:pt idx="2">
                  <c:v>3.5586104015366909E-2</c:v>
                </c:pt>
                <c:pt idx="3">
                  <c:v>3.3047676717448578E-2</c:v>
                </c:pt>
                <c:pt idx="4">
                  <c:v>3.2149402286589648E-2</c:v>
                </c:pt>
                <c:pt idx="5">
                  <c:v>2.3639856115684914E-2</c:v>
                </c:pt>
                <c:pt idx="6">
                  <c:v>2.236061708245277E-2</c:v>
                </c:pt>
                <c:pt idx="7">
                  <c:v>2.0764575906194484E-2</c:v>
                </c:pt>
                <c:pt idx="8">
                  <c:v>1.9842240553080398E-2</c:v>
                </c:pt>
                <c:pt idx="9">
                  <c:v>0.43131208219211042</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Nicolas</c:v>
                </c:pt>
                <c:pt idx="2">
                  <c:v>Malard</c:v>
                </c:pt>
                <c:pt idx="3">
                  <c:v>Ayala</c:v>
                </c:pt>
                <c:pt idx="4">
                  <c:v>Delamotte</c:v>
                </c:pt>
                <c:pt idx="5">
                  <c:v>Henriot</c:v>
                </c:pt>
                <c:pt idx="6">
                  <c:v>De Bligny</c:v>
                </c:pt>
                <c:pt idx="7">
                  <c:v>De Venoge</c:v>
                </c:pt>
                <c:pt idx="8">
                  <c:v>Deutz</c:v>
                </c:pt>
                <c:pt idx="9">
                  <c:v>Others</c:v>
                </c:pt>
              </c:strCache>
            </c:strRef>
          </c:cat>
          <c:val>
            <c:numRef>
              <c:f>Sheet1!$C$2:$C$11</c:f>
              <c:numCache>
                <c:formatCode>General</c:formatCode>
                <c:ptCount val="10"/>
                <c:pt idx="0">
                  <c:v>0.18745441283734501</c:v>
                </c:pt>
                <c:pt idx="1">
                  <c:v>0.10867979576951131</c:v>
                </c:pt>
                <c:pt idx="2">
                  <c:v>5.1057622173595912E-2</c:v>
                </c:pt>
                <c:pt idx="3">
                  <c:v>4.8140043763676157E-2</c:v>
                </c:pt>
                <c:pt idx="4">
                  <c:v>5.6892778993435457E-2</c:v>
                </c:pt>
                <c:pt idx="5">
                  <c:v>5.032822757111597E-2</c:v>
                </c:pt>
                <c:pt idx="6">
                  <c:v>3.6469730123997082E-2</c:v>
                </c:pt>
                <c:pt idx="7">
                  <c:v>3.9387308533916851E-2</c:v>
                </c:pt>
                <c:pt idx="8">
                  <c:v>2.1881838074398256E-2</c:v>
                </c:pt>
                <c:pt idx="9">
                  <c:v>0.39970824215900808</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Nicolas</c:v>
                </c:pt>
                <c:pt idx="2">
                  <c:v>Malard</c:v>
                </c:pt>
                <c:pt idx="3">
                  <c:v>Ayala</c:v>
                </c:pt>
                <c:pt idx="4">
                  <c:v>Delamotte</c:v>
                </c:pt>
                <c:pt idx="5">
                  <c:v>Henriot</c:v>
                </c:pt>
                <c:pt idx="6">
                  <c:v>De Bligny</c:v>
                </c:pt>
                <c:pt idx="7">
                  <c:v>De Venoge</c:v>
                </c:pt>
                <c:pt idx="8">
                  <c:v>Deutz</c:v>
                </c:pt>
                <c:pt idx="9">
                  <c:v>Others</c:v>
                </c:pt>
              </c:strCache>
            </c:strRef>
          </c:cat>
          <c:val>
            <c:numRef>
              <c:f>Sheet1!$D$2:$D$11</c:f>
              <c:numCache>
                <c:formatCode>General</c:formatCode>
                <c:ptCount val="10"/>
                <c:pt idx="0">
                  <c:v>57.017155257135798</c:v>
                </c:pt>
                <c:pt idx="1">
                  <c:v>206.89483648870697</c:v>
                </c:pt>
                <c:pt idx="2">
                  <c:v>143.47629105885838</c:v>
                </c:pt>
                <c:pt idx="3">
                  <c:v>145.66846612324517</c:v>
                </c:pt>
                <c:pt idx="4">
                  <c:v>176.9637223307474</c:v>
                </c:pt>
                <c:pt idx="5">
                  <c:v>212.89565945252718</c:v>
                </c:pt>
                <c:pt idx="6">
                  <c:v>163.09804863398099</c:v>
                </c:pt>
                <c:pt idx="7">
                  <c:v>189.68510944722371</c:v>
                </c:pt>
                <c:pt idx="8">
                  <c:v>110.27906861557135</c:v>
                </c:pt>
                <c:pt idx="9">
                  <c:v>92.672628164627753</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67CBDD55-DC54-4EBA-9687-31D94999D08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7AF0107A-8FAC-41FA-A660-4AF079175AD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78743641-33DE-487C-9DFC-E94FEAF3012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ADBF421E-73B8-482F-BBDD-54D369A9F55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BFDA-4C69-8E79-A083B7EFBA29}"/>
                </c:ext>
              </c:extLst>
            </c:dLbl>
            <c:dLbl>
              <c:idx val="7"/>
              <c:tx>
                <c:rich>
                  <a:bodyPr/>
                  <a:lstStyle/>
                  <a:p>
                    <a:fld id="{49577F9D-64D8-4834-9F90-7EF9838E508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94B4C9D3-2296-492C-8E34-5B94FFD5179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B14D1912-92F9-424F-A8CF-CDC3E0E4027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4</c:f>
              <c:numCache>
                <c:formatCode>General</c:formatCode>
                <c:ptCount val="3"/>
                <c:pt idx="0">
                  <c:v>0.1585</c:v>
                </c:pt>
                <c:pt idx="1">
                  <c:v>-1.43E-2</c:v>
                </c:pt>
                <c:pt idx="2">
                  <c:v>0.13100000000000001</c:v>
                </c:pt>
              </c:numCache>
            </c:numRef>
          </c:xVal>
          <c:yVal>
            <c:numRef>
              <c:f>Sheet1!$B$2:$B$4</c:f>
              <c:numCache>
                <c:formatCode>General</c:formatCode>
                <c:ptCount val="3"/>
                <c:pt idx="0">
                  <c:v>663.75</c:v>
                </c:pt>
                <c:pt idx="1">
                  <c:v>357.30232558139528</c:v>
                </c:pt>
                <c:pt idx="2">
                  <c:v>832.5</c:v>
                </c:pt>
              </c:numCache>
            </c:numRef>
          </c:yVal>
          <c:bubbleSize>
            <c:numRef>
              <c:f>Sheet1!$C$2:$C$4</c:f>
              <c:numCache>
                <c:formatCode>General</c:formatCode>
                <c:ptCount val="3"/>
                <c:pt idx="0">
                  <c:v>1382.94</c:v>
                </c:pt>
                <c:pt idx="1">
                  <c:v>12986.957899999999</c:v>
                </c:pt>
                <c:pt idx="2">
                  <c:v>1205.6768</c:v>
                </c:pt>
              </c:numCache>
            </c:numRef>
          </c:bubbleSize>
          <c:bubble3D val="0"/>
          <c:extLst>
            <c:ext xmlns:c15="http://schemas.microsoft.com/office/drawing/2012/chart" uri="{02D57815-91ED-43cb-92C2-25804820EDAC}">
              <c15:datalabelsRange>
                <c15:f>Sheet1!$E$2:$E$50</c15:f>
                <c15:dlblRangeCache>
                  <c:ptCount val="49"/>
                  <c:pt idx="0">
                    <c:v>MG CHAMPAGNE NICOLAS 1E CRU BS 1CT X 1500ML</c:v>
                  </c:pt>
                  <c:pt idx="1">
                    <c:v>CHAMPAGNE NICOLAS 1ER CRU BS 1CT X 750ML</c:v>
                  </c:pt>
                  <c:pt idx="2">
                    <c:v>CHAMPAGNE NICOLAS 1ER CRU ETUI 1CT X 750ML</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7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B8F89360-7CA8-4FD3-A5F9-5EEE7FDE4B6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5CDA6EF4-6476-4942-B2BF-3820EE6E283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C4281713-6B36-4C00-9420-FF3C5729DB0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12A6B79A-E03B-4367-B6C7-63237027A2D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BFDA-4C69-8E79-A083B7EFBA29}"/>
                </c:ext>
              </c:extLst>
            </c:dLbl>
            <c:dLbl>
              <c:idx val="7"/>
              <c:tx>
                <c:rich>
                  <a:bodyPr/>
                  <a:lstStyle/>
                  <a:p>
                    <a:fld id="{6E6FD167-E571-4610-A52D-E2361144FC8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6683CEE4-5165-4125-8038-9D01090E2F2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6EC929AA-CA54-483D-9EAF-A7BCB31C57B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6</c:f>
              <c:numCache>
                <c:formatCode>General</c:formatCode>
                <c:ptCount val="5"/>
                <c:pt idx="0">
                  <c:v>8.43E-2</c:v>
                </c:pt>
                <c:pt idx="1">
                  <c:v>1.5E-3</c:v>
                </c:pt>
                <c:pt idx="2">
                  <c:v>0.13769999999999999</c:v>
                </c:pt>
                <c:pt idx="3">
                  <c:v>0.14019999999999999</c:v>
                </c:pt>
                <c:pt idx="4">
                  <c:v>6.0900000000000003E-2</c:v>
                </c:pt>
              </c:numCache>
            </c:numRef>
          </c:xVal>
          <c:yVal>
            <c:numRef>
              <c:f>Sheet1!$B$2:$B$6</c:f>
              <c:numCache>
                <c:formatCode>General</c:formatCode>
                <c:ptCount val="5"/>
                <c:pt idx="0">
                  <c:v>1655.420875420876</c:v>
                </c:pt>
                <c:pt idx="1">
                  <c:v>4430.9394904458604</c:v>
                </c:pt>
                <c:pt idx="2">
                  <c:v>1171.481481481482</c:v>
                </c:pt>
                <c:pt idx="3">
                  <c:v>1485.238095238095</c:v>
                </c:pt>
                <c:pt idx="4">
                  <c:v>1793.0085959885389</c:v>
                </c:pt>
              </c:numCache>
            </c:numRef>
          </c:yVal>
          <c:bubbleSize>
            <c:numRef>
              <c:f>Sheet1!$C$2:$C$6</c:f>
              <c:numCache>
                <c:formatCode>General</c:formatCode>
                <c:ptCount val="5"/>
                <c:pt idx="0">
                  <c:v>37518.247200000013</c:v>
                </c:pt>
                <c:pt idx="1">
                  <c:v>231541.29620000001</c:v>
                </c:pt>
                <c:pt idx="2">
                  <c:v>6818.3055999999997</c:v>
                </c:pt>
                <c:pt idx="3">
                  <c:v>11174.366999999989</c:v>
                </c:pt>
                <c:pt idx="4">
                  <c:v>48968.972999999998</c:v>
                </c:pt>
              </c:numCache>
            </c:numRef>
          </c:bubbleSize>
          <c:bubble3D val="0"/>
          <c:extLst>
            <c:ext xmlns:c15="http://schemas.microsoft.com/office/drawing/2012/chart" uri="{02D57815-91ED-43cb-92C2-25804820EDAC}">
              <c15:datalabelsRange>
                <c15:f>Sheet1!$E$2:$E$50</c15:f>
                <c15:dlblRangeCache>
                  <c:ptCount val="49"/>
                  <c:pt idx="0">
                    <c:v>1/2 CHAMP NICOLAS ROSE 1E C BS 1CT X 375ML</c:v>
                  </c:pt>
                  <c:pt idx="1">
                    <c:v>CHAMPAGNE E.NICOLAS ROSE 1CT X 750ML</c:v>
                  </c:pt>
                  <c:pt idx="2">
                    <c:v>CHAMPAGNE NICOLAS ROSE 1E C BS 1CT X 750ML</c:v>
                  </c:pt>
                  <c:pt idx="3">
                    <c:v>CHAMPAGNE NICOLAS ROSE 1ERE ET 1CT X 750ML</c:v>
                  </c:pt>
                  <c:pt idx="4">
                    <c:v>CHAMPAGNE NICOLAS ROSE 1ERE CU 1CT X 750ML</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7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A5A400CA-C72F-4135-B6A6-969BC3411C2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2D1B7769-CE91-4326-8045-987EE0E7E42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D7AF798A-CDCA-499D-A262-DA7F9466859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666002DC-C6D6-49B9-A86A-1D389FEEA08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BFDA-4C69-8E79-A083B7EFBA29}"/>
                </c:ext>
              </c:extLst>
            </c:dLbl>
            <c:dLbl>
              <c:idx val="7"/>
              <c:tx>
                <c:rich>
                  <a:bodyPr/>
                  <a:lstStyle/>
                  <a:p>
                    <a:fld id="{AC023BC5-917A-4414-B779-093EA813AE5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81A8A113-3562-40C0-A5D8-EC0887789FA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144E113E-4B10-4871-AE09-F731F04FAE6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6</c:f>
              <c:numCache>
                <c:formatCode>General</c:formatCode>
                <c:ptCount val="5"/>
                <c:pt idx="0">
                  <c:v>7.0000000000000007E-2</c:v>
                </c:pt>
                <c:pt idx="1">
                  <c:v>6.9999999999999999E-4</c:v>
                </c:pt>
                <c:pt idx="2">
                  <c:v>0.1172</c:v>
                </c:pt>
                <c:pt idx="3">
                  <c:v>0.1086</c:v>
                </c:pt>
                <c:pt idx="4">
                  <c:v>4.65E-2</c:v>
                </c:pt>
              </c:numCache>
            </c:numRef>
          </c:xVal>
          <c:yVal>
            <c:numRef>
              <c:f>Sheet1!$B$2:$B$6</c:f>
              <c:numCache>
                <c:formatCode>General</c:formatCode>
                <c:ptCount val="5"/>
                <c:pt idx="0">
                  <c:v>925.52</c:v>
                </c:pt>
                <c:pt idx="1">
                  <c:v>1972.583333333333</c:v>
                </c:pt>
                <c:pt idx="2">
                  <c:v>960.75</c:v>
                </c:pt>
                <c:pt idx="3">
                  <c:v>804.125</c:v>
                </c:pt>
                <c:pt idx="4">
                  <c:v>893.375</c:v>
                </c:pt>
              </c:numCache>
            </c:numRef>
          </c:yVal>
          <c:bubbleSize>
            <c:numRef>
              <c:f>Sheet1!$C$2:$C$6</c:f>
              <c:numCache>
                <c:formatCode>General</c:formatCode>
                <c:ptCount val="5"/>
                <c:pt idx="0">
                  <c:v>17931.8982</c:v>
                </c:pt>
                <c:pt idx="1">
                  <c:v>98562.342300000004</c:v>
                </c:pt>
                <c:pt idx="2">
                  <c:v>2827.04</c:v>
                </c:pt>
                <c:pt idx="3">
                  <c:v>4778.6550000000007</c:v>
                </c:pt>
                <c:pt idx="4">
                  <c:v>22715.9624</c:v>
                </c:pt>
              </c:numCache>
            </c:numRef>
          </c:bubbleSize>
          <c:bubble3D val="0"/>
          <c:extLst>
            <c:ext xmlns:c15="http://schemas.microsoft.com/office/drawing/2012/chart" uri="{02D57815-91ED-43cb-92C2-25804820EDAC}">
              <c15:datalabelsRange>
                <c15:f>Sheet1!$E$2:$E$50</c15:f>
                <c15:dlblRangeCache>
                  <c:ptCount val="49"/>
                  <c:pt idx="0">
                    <c:v>1/2 CHAMP NICOLAS ROSE 1E C BS 1CT X 375ML</c:v>
                  </c:pt>
                  <c:pt idx="1">
                    <c:v>CHAMPAGNE E.NICOLAS ROSE 1CT X 750ML</c:v>
                  </c:pt>
                  <c:pt idx="2">
                    <c:v>CHAMPAGNE NICOLAS ROSE 1E C BS 1CT X 750ML</c:v>
                  </c:pt>
                  <c:pt idx="3">
                    <c:v>CHAMPAGNE NICOLAS ROSE 1ERE ET 1CT X 750ML</c:v>
                  </c:pt>
                  <c:pt idx="4">
                    <c:v>CHAMPAGNE NICOLAS ROSE 1ERE CU 1CT X 750ML</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7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DAA62A50-7FBB-444F-BFD1-46B2E91531C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A7B316F4-0190-49BC-8F16-98101A79764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854FD1AE-B968-468B-A25B-4DE99D41E42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41E3C8EB-B61D-4B2D-ACC6-77644B0B480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BFDA-4C69-8E79-A083B7EFBA29}"/>
                </c:ext>
              </c:extLst>
            </c:dLbl>
            <c:dLbl>
              <c:idx val="7"/>
              <c:tx>
                <c:rich>
                  <a:bodyPr/>
                  <a:lstStyle/>
                  <a:p>
                    <a:fld id="{30D20C07-321D-4252-8A12-DFCC486A8F1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4B1DBDE4-C036-41AA-B525-CE595F0F229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08CA90F7-7F75-45F4-99DD-CED57034D5C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6</c:f>
              <c:numCache>
                <c:formatCode>General</c:formatCode>
                <c:ptCount val="5"/>
                <c:pt idx="0">
                  <c:v>7.8E-2</c:v>
                </c:pt>
                <c:pt idx="1">
                  <c:v>-7.0000000000000001E-3</c:v>
                </c:pt>
                <c:pt idx="2">
                  <c:v>0.1542</c:v>
                </c:pt>
                <c:pt idx="3">
                  <c:v>0.1389</c:v>
                </c:pt>
                <c:pt idx="4">
                  <c:v>4.1599999999999998E-2</c:v>
                </c:pt>
              </c:numCache>
            </c:numRef>
          </c:xVal>
          <c:yVal>
            <c:numRef>
              <c:f>Sheet1!$B$2:$B$6</c:f>
              <c:numCache>
                <c:formatCode>General</c:formatCode>
                <c:ptCount val="5"/>
                <c:pt idx="0">
                  <c:v>408.96</c:v>
                </c:pt>
                <c:pt idx="1">
                  <c:v>1087.5081967213109</c:v>
                </c:pt>
                <c:pt idx="2">
                  <c:v>344.125</c:v>
                </c:pt>
                <c:pt idx="3">
                  <c:v>421.66666666666669</c:v>
                </c:pt>
                <c:pt idx="4">
                  <c:v>450.67857142857139</c:v>
                </c:pt>
              </c:numCache>
            </c:numRef>
          </c:yVal>
          <c:bubbleSize>
            <c:numRef>
              <c:f>Sheet1!$C$2:$C$6</c:f>
              <c:numCache>
                <c:formatCode>General</c:formatCode>
                <c:ptCount val="5"/>
                <c:pt idx="0">
                  <c:v>7855.2091999999993</c:v>
                </c:pt>
                <c:pt idx="1">
                  <c:v>55666.577599999997</c:v>
                </c:pt>
                <c:pt idx="2">
                  <c:v>1940.376</c:v>
                </c:pt>
                <c:pt idx="3">
                  <c:v>2723.3622</c:v>
                </c:pt>
                <c:pt idx="4">
                  <c:v>10077.9148</c:v>
                </c:pt>
              </c:numCache>
            </c:numRef>
          </c:bubbleSize>
          <c:bubble3D val="0"/>
          <c:extLst>
            <c:ext xmlns:c15="http://schemas.microsoft.com/office/drawing/2012/chart" uri="{02D57815-91ED-43cb-92C2-25804820EDAC}">
              <c15:datalabelsRange>
                <c15:f>Sheet1!$E$2:$E$50</c15:f>
                <c15:dlblRangeCache>
                  <c:ptCount val="49"/>
                  <c:pt idx="0">
                    <c:v>1/2 CHAMP NICOLAS ROSE 1E C BS 1CT X 375ML</c:v>
                  </c:pt>
                  <c:pt idx="1">
                    <c:v>CHAMPAGNE E.NICOLAS ROSE 1CT X 750ML</c:v>
                  </c:pt>
                  <c:pt idx="2">
                    <c:v>CHAMPAGNE NICOLAS ROSE 1E C BS 1CT X 750ML</c:v>
                  </c:pt>
                  <c:pt idx="3">
                    <c:v>CHAMPAGNE NICOLAS ROSE 1ERE ET 1CT X 750ML</c:v>
                  </c:pt>
                  <c:pt idx="4">
                    <c:v>CHAMPAGNE NICOLAS ROSE 1ERE CU 1CT X 750ML</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7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D9141648-B5BD-4D06-B60F-AB459EA57E4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F3F360DB-2B74-4261-BF1D-93BDA572A78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DB5E0F73-5E80-48B9-866D-E9BC56C9A2F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6DCA88D3-9712-43E4-A201-5018C05BAEA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BFDA-4C69-8E79-A083B7EFBA29}"/>
                </c:ext>
              </c:extLst>
            </c:dLbl>
            <c:dLbl>
              <c:idx val="7"/>
              <c:tx>
                <c:rich>
                  <a:bodyPr/>
                  <a:lstStyle/>
                  <a:p>
                    <a:fld id="{72B94D45-6171-4DA3-928C-5BCAABA8AD7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04521AF8-D10E-4759-ABEA-896F35C5AE3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09BBF40A-3426-4108-A8A1-C92E4BEF9AE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4</c:f>
              <c:numCache>
                <c:formatCode>General</c:formatCode>
                <c:ptCount val="3"/>
                <c:pt idx="0">
                  <c:v>8.43E-2</c:v>
                </c:pt>
                <c:pt idx="1">
                  <c:v>3.8E-3</c:v>
                </c:pt>
                <c:pt idx="2">
                  <c:v>9.06E-2</c:v>
                </c:pt>
              </c:numCache>
            </c:numRef>
          </c:xVal>
          <c:yVal>
            <c:numRef>
              <c:f>Sheet1!$B$2:$B$4</c:f>
              <c:numCache>
                <c:formatCode>General</c:formatCode>
                <c:ptCount val="3"/>
                <c:pt idx="0">
                  <c:v>204.14285714285711</c:v>
                </c:pt>
                <c:pt idx="1">
                  <c:v>468.76785714285711</c:v>
                </c:pt>
                <c:pt idx="2">
                  <c:v>175.04761904761901</c:v>
                </c:pt>
              </c:numCache>
            </c:numRef>
          </c:yVal>
          <c:bubbleSize>
            <c:numRef>
              <c:f>Sheet1!$C$2:$C$4</c:f>
              <c:numCache>
                <c:formatCode>General</c:formatCode>
                <c:ptCount val="3"/>
                <c:pt idx="0">
                  <c:v>5452.527</c:v>
                </c:pt>
                <c:pt idx="1">
                  <c:v>21791.631799999999</c:v>
                </c:pt>
                <c:pt idx="2">
                  <c:v>5571.3715999999986</c:v>
                </c:pt>
              </c:numCache>
            </c:numRef>
          </c:bubbleSize>
          <c:bubble3D val="0"/>
          <c:extLst>
            <c:ext xmlns:c15="http://schemas.microsoft.com/office/drawing/2012/chart" uri="{02D57815-91ED-43cb-92C2-25804820EDAC}">
              <c15:datalabelsRange>
                <c15:f>Sheet1!$E$2:$E$50</c15:f>
                <c15:dlblRangeCache>
                  <c:ptCount val="49"/>
                  <c:pt idx="0">
                    <c:v>1/2 CHAMP NICOLAS ROSE 1E C BS 1CT X 375ML</c:v>
                  </c:pt>
                  <c:pt idx="1">
                    <c:v>CHAMPAGNE E.NICOLAS ROSE 1CT X 750ML</c:v>
                  </c:pt>
                  <c:pt idx="2">
                    <c:v>CHAMPAGNE NICOLAS ROSE 1ERE CU 1CT X 750ML</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7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F8C0EE87-1ABF-457C-B66D-743C4DA5EC0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3F87C89A-0988-4AC2-971C-C0886E54D56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ADDB5D34-7A4F-4BC7-89A2-5956F43821C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434D4987-7839-4239-972C-486EA546E87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BFDA-4C69-8E79-A083B7EFBA29}"/>
                </c:ext>
              </c:extLst>
            </c:dLbl>
            <c:dLbl>
              <c:idx val="7"/>
              <c:tx>
                <c:rich>
                  <a:bodyPr/>
                  <a:lstStyle/>
                  <a:p>
                    <a:fld id="{6EBAE5A3-4339-452C-8FAE-20E9629E5A0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9F17D565-B560-4C6D-BE79-57BF23AF893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50EC2E1C-320A-45FD-B212-50DDCB26476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4</c:f>
              <c:numCache>
                <c:formatCode>General</c:formatCode>
                <c:ptCount val="3"/>
                <c:pt idx="0">
                  <c:v>0.1056</c:v>
                </c:pt>
                <c:pt idx="1">
                  <c:v>5.4999999999999997E-3</c:v>
                </c:pt>
                <c:pt idx="2">
                  <c:v>8.43E-2</c:v>
                </c:pt>
              </c:numCache>
            </c:numRef>
          </c:xVal>
          <c:yVal>
            <c:numRef>
              <c:f>Sheet1!$B$2:$B$4</c:f>
              <c:numCache>
                <c:formatCode>General</c:formatCode>
                <c:ptCount val="3"/>
                <c:pt idx="0">
                  <c:v>67.909090909090907</c:v>
                </c:pt>
                <c:pt idx="1">
                  <c:v>283.578125</c:v>
                </c:pt>
                <c:pt idx="2">
                  <c:v>100.0263157894737</c:v>
                </c:pt>
              </c:numCache>
            </c:numRef>
          </c:yVal>
          <c:bubbleSize>
            <c:numRef>
              <c:f>Sheet1!$C$2:$C$4</c:f>
              <c:numCache>
                <c:formatCode>General</c:formatCode>
                <c:ptCount val="3"/>
                <c:pt idx="0">
                  <c:v>2227.174</c:v>
                </c:pt>
                <c:pt idx="1">
                  <c:v>15041.642599999999</c:v>
                </c:pt>
                <c:pt idx="2">
                  <c:v>2900.6026000000002</c:v>
                </c:pt>
              </c:numCache>
            </c:numRef>
          </c:bubbleSize>
          <c:bubble3D val="0"/>
          <c:extLst>
            <c:ext xmlns:c15="http://schemas.microsoft.com/office/drawing/2012/chart" uri="{02D57815-91ED-43cb-92C2-25804820EDAC}">
              <c15:datalabelsRange>
                <c15:f>Sheet1!$E$2:$E$50</c15:f>
                <c15:dlblRangeCache>
                  <c:ptCount val="49"/>
                  <c:pt idx="0">
                    <c:v>1/2 CHAMP NICOLAS ROSE 1E C BS 1CT X 375ML</c:v>
                  </c:pt>
                  <c:pt idx="1">
                    <c:v>CHAMPAGNE E.NICOLAS ROSE 1CT X 750ML</c:v>
                  </c:pt>
                  <c:pt idx="2">
                    <c:v>CHAMPAGNE NICOLAS ROSE 1ERE CU 1CT X 750ML</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7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DB29E935-1DAA-4324-8126-918D298AD40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13C7EB34-282C-46DD-B207-735A0B68B8A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9432764C-3869-4A67-BB26-0F47FD081E8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CEB9519E-0B05-456A-BAEF-B6BD4F6B88A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BFDA-4C69-8E79-A083B7EFBA29}"/>
                </c:ext>
              </c:extLst>
            </c:dLbl>
            <c:dLbl>
              <c:idx val="7"/>
              <c:tx>
                <c:rich>
                  <a:bodyPr/>
                  <a:lstStyle/>
                  <a:p>
                    <a:fld id="{272F7F7B-CC1D-4F1D-8558-D660BE98072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BBEBFEC8-A1CA-49A0-8B91-947C9EC0FB1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EBFCDA2E-B973-4C9B-A2CB-81D5056633B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4</c:f>
              <c:numCache>
                <c:formatCode>General</c:formatCode>
                <c:ptCount val="3"/>
                <c:pt idx="0">
                  <c:v>0.13800000000000001</c:v>
                </c:pt>
                <c:pt idx="1">
                  <c:v>9.1999999999999998E-3</c:v>
                </c:pt>
                <c:pt idx="2">
                  <c:v>5.3999999999999999E-2</c:v>
                </c:pt>
              </c:numCache>
            </c:numRef>
          </c:xVal>
          <c:yVal>
            <c:numRef>
              <c:f>Sheet1!$B$2:$B$4</c:f>
              <c:numCache>
                <c:formatCode>General</c:formatCode>
                <c:ptCount val="3"/>
                <c:pt idx="0">
                  <c:v>48.139534883720927</c:v>
                </c:pt>
                <c:pt idx="1">
                  <c:v>163.08536585365849</c:v>
                </c:pt>
                <c:pt idx="2">
                  <c:v>61.307692307692307</c:v>
                </c:pt>
              </c:numCache>
            </c:numRef>
          </c:yVal>
          <c:bubbleSize>
            <c:numRef>
              <c:f>Sheet1!$C$2:$C$4</c:f>
              <c:numCache>
                <c:formatCode>General</c:formatCode>
                <c:ptCount val="3"/>
                <c:pt idx="0">
                  <c:v>1486.9084</c:v>
                </c:pt>
                <c:pt idx="1">
                  <c:v>11041.648999999999</c:v>
                </c:pt>
                <c:pt idx="2">
                  <c:v>1884.8882000000001</c:v>
                </c:pt>
              </c:numCache>
            </c:numRef>
          </c:bubbleSize>
          <c:bubble3D val="0"/>
          <c:extLst>
            <c:ext xmlns:c15="http://schemas.microsoft.com/office/drawing/2012/chart" uri="{02D57815-91ED-43cb-92C2-25804820EDAC}">
              <c15:datalabelsRange>
                <c15:f>Sheet1!$E$2:$E$50</c15:f>
                <c15:dlblRangeCache>
                  <c:ptCount val="49"/>
                  <c:pt idx="0">
                    <c:v>1/2 CHAMP NICOLAS ROSE 1E C BS 1CT X 375ML</c:v>
                  </c:pt>
                  <c:pt idx="1">
                    <c:v>CHAMPAGNE E.NICOLAS ROSE 1CT X 750ML</c:v>
                  </c:pt>
                  <c:pt idx="2">
                    <c:v>CHAMPAGNE NICOLAS ROSE 1ERE CU 1CT X 750ML</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7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90ED56CC-7DF0-4DE9-833A-4E75E018242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1653DFFB-640E-4D98-BA78-0B12750B74A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38B580FA-7B30-40FF-BD12-016B6E6FA32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CCE9A438-0D17-4B86-BBC8-1AB31708DAB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BFDA-4C69-8E79-A083B7EFBA29}"/>
                </c:ext>
              </c:extLst>
            </c:dLbl>
            <c:dLbl>
              <c:idx val="7"/>
              <c:tx>
                <c:rich>
                  <a:bodyPr/>
                  <a:lstStyle/>
                  <a:p>
                    <a:fld id="{87D3EC8E-6305-47E0-BC9C-A72AF3CA7F7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4A348409-2BB8-4590-B88E-C4B83F3699F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07233A47-884B-4C43-A3E4-BBF7F2B2F84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6</c:f>
              <c:numCache>
                <c:formatCode>General</c:formatCode>
                <c:ptCount val="5"/>
                <c:pt idx="0">
                  <c:v>6.93E-2</c:v>
                </c:pt>
                <c:pt idx="1">
                  <c:v>8.0000000000000004E-4</c:v>
                </c:pt>
                <c:pt idx="2">
                  <c:v>0.1014</c:v>
                </c:pt>
                <c:pt idx="3">
                  <c:v>8.9899999999999994E-2</c:v>
                </c:pt>
                <c:pt idx="4">
                  <c:v>4.7100000000000003E-2</c:v>
                </c:pt>
              </c:numCache>
            </c:numRef>
          </c:xVal>
          <c:yVal>
            <c:numRef>
              <c:f>Sheet1!$B$2:$B$6</c:f>
              <c:numCache>
                <c:formatCode>General</c:formatCode>
                <c:ptCount val="5"/>
                <c:pt idx="0">
                  <c:v>1250.962962962963</c:v>
                </c:pt>
                <c:pt idx="1">
                  <c:v>2988.0338983050851</c:v>
                </c:pt>
                <c:pt idx="2">
                  <c:v>1025</c:v>
                </c:pt>
                <c:pt idx="3">
                  <c:v>1141.2222222222219</c:v>
                </c:pt>
                <c:pt idx="4">
                  <c:v>1302.878787878788</c:v>
                </c:pt>
              </c:numCache>
            </c:numRef>
          </c:yVal>
          <c:bubbleSize>
            <c:numRef>
              <c:f>Sheet1!$C$2:$C$6</c:f>
              <c:numCache>
                <c:formatCode>General</c:formatCode>
                <c:ptCount val="5"/>
                <c:pt idx="0">
                  <c:v>26195.250400000001</c:v>
                </c:pt>
                <c:pt idx="1">
                  <c:v>146791.43179999999</c:v>
                </c:pt>
                <c:pt idx="2">
                  <c:v>3837.8892000000001</c:v>
                </c:pt>
                <c:pt idx="3">
                  <c:v>7789.3092000000006</c:v>
                </c:pt>
                <c:pt idx="4">
                  <c:v>34143.103000000003</c:v>
                </c:pt>
              </c:numCache>
            </c:numRef>
          </c:bubbleSize>
          <c:bubble3D val="0"/>
          <c:extLst>
            <c:ext xmlns:c15="http://schemas.microsoft.com/office/drawing/2012/chart" uri="{02D57815-91ED-43cb-92C2-25804820EDAC}">
              <c15:datalabelsRange>
                <c15:f>Sheet1!$E$2:$E$50</c15:f>
                <c15:dlblRangeCache>
                  <c:ptCount val="49"/>
                  <c:pt idx="0">
                    <c:v>1/2 CHAMP NICOLAS ROSE 1E C BS 1CT X 375ML</c:v>
                  </c:pt>
                  <c:pt idx="1">
                    <c:v>CHAMPAGNE E.NICOLAS ROSE 1CT X 750ML</c:v>
                  </c:pt>
                  <c:pt idx="2">
                    <c:v>CHAMPAGNE NICOLAS ROSE 1E C BS 1CT X 750ML</c:v>
                  </c:pt>
                  <c:pt idx="3">
                    <c:v>CHAMPAGNE NICOLAS ROSE 1ERE ET 1CT X 750ML</c:v>
                  </c:pt>
                  <c:pt idx="4">
                    <c:v>CHAMPAGNE NICOLAS ROSE 1ERE CU 1CT X 750ML</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7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6CA75154-3B26-4C08-8E10-155BDCA09E2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312566D9-82AE-4340-8782-028D0669B32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9AE48681-9165-4B42-A633-50DC9307B72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5FF8DDEB-24A9-400F-BE0F-3BC4133B0B7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BFDA-4C69-8E79-A083B7EFBA29}"/>
                </c:ext>
              </c:extLst>
            </c:dLbl>
            <c:dLbl>
              <c:idx val="7"/>
              <c:tx>
                <c:rich>
                  <a:bodyPr/>
                  <a:lstStyle/>
                  <a:p>
                    <a:fld id="{4799A218-2C03-4C84-AE4A-654A4B7670F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8B6B253A-F7C1-4F60-80B1-9AAA1FD0F5A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D32FD9DF-7656-4BD1-B294-6C691252329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4</c:f>
              <c:numCache>
                <c:formatCode>General</c:formatCode>
                <c:ptCount val="3"/>
                <c:pt idx="0">
                  <c:v>9.9599999999999994E-2</c:v>
                </c:pt>
                <c:pt idx="1">
                  <c:v>2.8999999999999998E-3</c:v>
                </c:pt>
                <c:pt idx="2">
                  <c:v>9.5100000000000004E-2</c:v>
                </c:pt>
              </c:numCache>
            </c:numRef>
          </c:xVal>
          <c:yVal>
            <c:numRef>
              <c:f>Sheet1!$B$2:$B$4</c:f>
              <c:numCache>
                <c:formatCode>General</c:formatCode>
                <c:ptCount val="3"/>
                <c:pt idx="0">
                  <c:v>105.609756097561</c:v>
                </c:pt>
                <c:pt idx="1">
                  <c:v>355.97674418604652</c:v>
                </c:pt>
                <c:pt idx="2">
                  <c:v>173.7441860465116</c:v>
                </c:pt>
              </c:numCache>
            </c:numRef>
          </c:yVal>
          <c:bubbleSize>
            <c:numRef>
              <c:f>Sheet1!$C$2:$C$4</c:f>
              <c:numCache>
                <c:formatCode>General</c:formatCode>
                <c:ptCount val="3"/>
                <c:pt idx="0">
                  <c:v>3249.0277999999998</c:v>
                </c:pt>
                <c:pt idx="1">
                  <c:v>25437.459299999999</c:v>
                </c:pt>
                <c:pt idx="2">
                  <c:v>5633.6952000000001</c:v>
                </c:pt>
              </c:numCache>
            </c:numRef>
          </c:bubbleSize>
          <c:bubble3D val="0"/>
          <c:extLst>
            <c:ext xmlns:c15="http://schemas.microsoft.com/office/drawing/2012/chart" uri="{02D57815-91ED-43cb-92C2-25804820EDAC}">
              <c15:datalabelsRange>
                <c15:f>Sheet1!$E$2:$E$50</c15:f>
                <c15:dlblRangeCache>
                  <c:ptCount val="49"/>
                  <c:pt idx="0">
                    <c:v>1/2 CHAMP NICOLAS ROSE 1E C BS 1CT X 375ML</c:v>
                  </c:pt>
                  <c:pt idx="1">
                    <c:v>CHAMPAGNE E.NICOLAS ROSE 1CT X 750ML</c:v>
                  </c:pt>
                  <c:pt idx="2">
                    <c:v>CHAMPAGNE NICOLAS ROSE 1ERE CU 1CT X 750ML</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7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D1B4B849-D28C-485F-8B4B-CF5152DD039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C14FE686-D5EF-49E3-AFBF-66D0B1BCC7B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9ED2BEC4-7656-4FD7-B3F7-E381896669B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D4055BF7-1E3D-418B-8432-0EF392C4650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BFDA-4C69-8E79-A083B7EFBA29}"/>
                </c:ext>
              </c:extLst>
            </c:dLbl>
            <c:dLbl>
              <c:idx val="7"/>
              <c:tx>
                <c:rich>
                  <a:bodyPr/>
                  <a:lstStyle/>
                  <a:p>
                    <a:fld id="{275C8C83-17EC-48A1-86AF-93EA207B014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8957A842-77A4-462D-80AC-C83B00E5321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89640404-5A79-4925-A849-E8FF515FB43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4</c:f>
              <c:numCache>
                <c:formatCode>General</c:formatCode>
                <c:ptCount val="3"/>
                <c:pt idx="0">
                  <c:v>0.1186</c:v>
                </c:pt>
                <c:pt idx="1">
                  <c:v>6.7999999999999996E-3</c:v>
                </c:pt>
                <c:pt idx="2">
                  <c:v>1.4999999999999999E-2</c:v>
                </c:pt>
              </c:numCache>
            </c:numRef>
          </c:xVal>
          <c:yVal>
            <c:numRef>
              <c:f>Sheet1!$B$2:$B$4</c:f>
              <c:numCache>
                <c:formatCode>General</c:formatCode>
                <c:ptCount val="3"/>
                <c:pt idx="0">
                  <c:v>66.042553191489361</c:v>
                </c:pt>
                <c:pt idx="1">
                  <c:v>238.43055555555549</c:v>
                </c:pt>
                <c:pt idx="2">
                  <c:v>85.72</c:v>
                </c:pt>
              </c:numCache>
            </c:numRef>
          </c:yVal>
          <c:bubbleSize>
            <c:numRef>
              <c:f>Sheet1!$C$2:$C$4</c:f>
              <c:numCache>
                <c:formatCode>General</c:formatCode>
                <c:ptCount val="3"/>
                <c:pt idx="0">
                  <c:v>2279.9875999999999</c:v>
                </c:pt>
                <c:pt idx="1">
                  <c:v>14208.310600000001</c:v>
                </c:pt>
                <c:pt idx="2">
                  <c:v>3518.0493999999999</c:v>
                </c:pt>
              </c:numCache>
            </c:numRef>
          </c:bubbleSize>
          <c:bubble3D val="0"/>
          <c:extLst>
            <c:ext xmlns:c15="http://schemas.microsoft.com/office/drawing/2012/chart" uri="{02D57815-91ED-43cb-92C2-25804820EDAC}">
              <c15:datalabelsRange>
                <c15:f>Sheet1!$E$2:$E$50</c15:f>
                <c15:dlblRangeCache>
                  <c:ptCount val="49"/>
                  <c:pt idx="0">
                    <c:v>1/2 CHAMP NICOLAS ROSE 1E C BS 1CT X 375ML</c:v>
                  </c:pt>
                  <c:pt idx="1">
                    <c:v>CHAMPAGNE E.NICOLAS ROSE 1CT X 750ML</c:v>
                  </c:pt>
                  <c:pt idx="2">
                    <c:v>CHAMPAGNE NICOLAS ROSE 1ERE CU 1CT X 750ML</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Nicolas</c:v>
                </c:pt>
                <c:pt idx="2">
                  <c:v>Malard</c:v>
                </c:pt>
                <c:pt idx="3">
                  <c:v>Besserat De Bellefon</c:v>
                </c:pt>
                <c:pt idx="4">
                  <c:v>Perrier Jouet</c:v>
                </c:pt>
                <c:pt idx="5">
                  <c:v>Henriot</c:v>
                </c:pt>
                <c:pt idx="6">
                  <c:v>Delamotte</c:v>
                </c:pt>
                <c:pt idx="7">
                  <c:v>Deutz</c:v>
                </c:pt>
                <c:pt idx="8">
                  <c:v>Taittinger</c:v>
                </c:pt>
                <c:pt idx="9">
                  <c:v>Others</c:v>
                </c:pt>
              </c:strCache>
            </c:strRef>
          </c:cat>
          <c:val>
            <c:numRef>
              <c:f>Sheet1!$B$2:$B$11</c:f>
              <c:numCache>
                <c:formatCode>General</c:formatCode>
                <c:ptCount val="10"/>
                <c:pt idx="0">
                  <c:v>0.68128863451004018</c:v>
                </c:pt>
                <c:pt idx="1">
                  <c:v>5.280371772616517E-2</c:v>
                </c:pt>
                <c:pt idx="2">
                  <c:v>4.2069310771537985E-2</c:v>
                </c:pt>
                <c:pt idx="3">
                  <c:v>2.747840585080984E-2</c:v>
                </c:pt>
                <c:pt idx="4">
                  <c:v>2.4560297106019199E-2</c:v>
                </c:pt>
                <c:pt idx="5">
                  <c:v>2.4147087995480706E-2</c:v>
                </c:pt>
                <c:pt idx="6">
                  <c:v>2.2209989691444044E-2</c:v>
                </c:pt>
                <c:pt idx="7">
                  <c:v>1.7107362851778569E-2</c:v>
                </c:pt>
                <c:pt idx="8">
                  <c:v>1.6547869047386851E-2</c:v>
                </c:pt>
                <c:pt idx="9">
                  <c:v>9.178732444933746E-2</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Nicolas</c:v>
                </c:pt>
                <c:pt idx="2">
                  <c:v>Malard</c:v>
                </c:pt>
                <c:pt idx="3">
                  <c:v>Besserat De Bellefon</c:v>
                </c:pt>
                <c:pt idx="4">
                  <c:v>Perrier Jouet</c:v>
                </c:pt>
                <c:pt idx="5">
                  <c:v>Henriot</c:v>
                </c:pt>
                <c:pt idx="6">
                  <c:v>Delamotte</c:v>
                </c:pt>
                <c:pt idx="7">
                  <c:v>Deutz</c:v>
                </c:pt>
                <c:pt idx="8">
                  <c:v>Taittinger</c:v>
                </c:pt>
                <c:pt idx="9">
                  <c:v>Others</c:v>
                </c:pt>
              </c:strCache>
            </c:strRef>
          </c:cat>
          <c:val>
            <c:numRef>
              <c:f>Sheet1!$C$2:$C$11</c:f>
              <c:numCache>
                <c:formatCode>General</c:formatCode>
                <c:ptCount val="10"/>
                <c:pt idx="0">
                  <c:v>0.26845093268450954</c:v>
                </c:pt>
                <c:pt idx="1">
                  <c:v>0.11111111111111116</c:v>
                </c:pt>
                <c:pt idx="2">
                  <c:v>6.4882400648824043E-2</c:v>
                </c:pt>
                <c:pt idx="3">
                  <c:v>5.515004055150044E-2</c:v>
                </c:pt>
                <c:pt idx="4">
                  <c:v>3.4063260340632624E-2</c:v>
                </c:pt>
                <c:pt idx="5">
                  <c:v>7.7858880778588851E-2</c:v>
                </c:pt>
                <c:pt idx="6">
                  <c:v>5.5150040551500433E-2</c:v>
                </c:pt>
                <c:pt idx="7">
                  <c:v>3.9740470397404727E-2</c:v>
                </c:pt>
                <c:pt idx="8">
                  <c:v>2.7575020275750216E-2</c:v>
                </c:pt>
                <c:pt idx="9">
                  <c:v>0.26601784266017858</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Nicolas</c:v>
                </c:pt>
                <c:pt idx="2">
                  <c:v>Malard</c:v>
                </c:pt>
                <c:pt idx="3">
                  <c:v>Besserat De Bellefon</c:v>
                </c:pt>
                <c:pt idx="4">
                  <c:v>Perrier Jouet</c:v>
                </c:pt>
                <c:pt idx="5">
                  <c:v>Henriot</c:v>
                </c:pt>
                <c:pt idx="6">
                  <c:v>Delamotte</c:v>
                </c:pt>
                <c:pt idx="7">
                  <c:v>Deutz</c:v>
                </c:pt>
                <c:pt idx="8">
                  <c:v>Taittinger</c:v>
                </c:pt>
                <c:pt idx="9">
                  <c:v>Others</c:v>
                </c:pt>
              </c:strCache>
            </c:strRef>
          </c:cat>
          <c:val>
            <c:numRef>
              <c:f>Sheet1!$D$2:$D$11</c:f>
              <c:numCache>
                <c:formatCode>General</c:formatCode>
                <c:ptCount val="10"/>
                <c:pt idx="0">
                  <c:v>39.40340688019409</c:v>
                </c:pt>
                <c:pt idx="1">
                  <c:v>210.42289425021613</c:v>
                </c:pt>
                <c:pt idx="2">
                  <c:v>154.22739155669808</c:v>
                </c:pt>
                <c:pt idx="3">
                  <c:v>200.70320254722878</c:v>
                </c:pt>
                <c:pt idx="4">
                  <c:v>138.6923789789353</c:v>
                </c:pt>
                <c:pt idx="5">
                  <c:v>322.43590114534999</c:v>
                </c:pt>
                <c:pt idx="6">
                  <c:v>248.31186919796676</c:v>
                </c:pt>
                <c:pt idx="7">
                  <c:v>232.30038867897809</c:v>
                </c:pt>
                <c:pt idx="8">
                  <c:v>166.63789275093831</c:v>
                </c:pt>
                <c:pt idx="9">
                  <c:v>289.81980274085521</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C70BD657-06C0-4556-96F4-0FDB0F99C53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B9E4A7A5-BA1C-459D-8C39-1C2287C920A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BFDA-4C69-8E79-A083B7EFBA29}"/>
                </c:ext>
              </c:extLst>
            </c:dLbl>
            <c:dLbl>
              <c:idx val="3"/>
              <c:tx>
                <c:rich>
                  <a:bodyPr/>
                  <a:lstStyle/>
                  <a:p>
                    <a:fld id="{95CE1559-5BF5-42D8-BFC2-E8454392599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41D2B1FB-5E12-46E7-B884-9A4D2535EF1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BFDA-4C69-8E79-A083B7EFBA29}"/>
                </c:ext>
              </c:extLst>
            </c:dLbl>
            <c:dLbl>
              <c:idx val="7"/>
              <c:tx>
                <c:rich>
                  <a:bodyPr/>
                  <a:lstStyle/>
                  <a:p>
                    <a:fld id="{AEA50EB8-25E3-4D9B-9A56-77C3160AFAE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06453EE6-B343-4189-A48D-5C1D5B2B0DB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51AA476B-5EB5-4718-852A-C54FD0ED4EB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3</c:f>
              <c:numCache>
                <c:formatCode>General</c:formatCode>
                <c:ptCount val="2"/>
                <c:pt idx="0">
                  <c:v>6.0000000000000001E-3</c:v>
                </c:pt>
                <c:pt idx="1">
                  <c:v>5.9799999999999999E-2</c:v>
                </c:pt>
              </c:numCache>
            </c:numRef>
          </c:xVal>
          <c:yVal>
            <c:numRef>
              <c:f>Sheet1!$B$2:$B$3</c:f>
              <c:numCache>
                <c:formatCode>General</c:formatCode>
                <c:ptCount val="2"/>
                <c:pt idx="0">
                  <c:v>165.33823529411771</c:v>
                </c:pt>
                <c:pt idx="1">
                  <c:v>40</c:v>
                </c:pt>
              </c:numCache>
            </c:numRef>
          </c:yVal>
          <c:bubbleSize>
            <c:numRef>
              <c:f>Sheet1!$C$2:$C$3</c:f>
              <c:numCache>
                <c:formatCode>General</c:formatCode>
                <c:ptCount val="2"/>
                <c:pt idx="0">
                  <c:v>9312.4851000000017</c:v>
                </c:pt>
                <c:pt idx="1">
                  <c:v>1472.9490000000001</c:v>
                </c:pt>
              </c:numCache>
            </c:numRef>
          </c:bubbleSize>
          <c:bubble3D val="0"/>
          <c:extLst>
            <c:ext xmlns:c15="http://schemas.microsoft.com/office/drawing/2012/chart" uri="{02D57815-91ED-43cb-92C2-25804820EDAC}">
              <c15:datalabelsRange>
                <c15:f>Sheet1!$E$2:$E$50</c15:f>
                <c15:dlblRangeCache>
                  <c:ptCount val="49"/>
                  <c:pt idx="0">
                    <c:v>CHAMPAGNE E.NICOLAS ROSE 1CT X 750ML</c:v>
                  </c:pt>
                  <c:pt idx="1">
                    <c:v>CHAMPAGNE NICOLAS ROSE 1ERE CU 1CT X 750ML</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7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8BD921B3-8EF9-458F-9D3F-E15FCAD533C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3BC19FE9-48A6-43CF-8B9E-70F9D3D1689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72B4FD02-38F6-4924-B986-C4C5DE4AC98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51F2117B-1644-46BA-B631-84A0673D871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BFDA-4C69-8E79-A083B7EFBA29}"/>
                </c:ext>
              </c:extLst>
            </c:dLbl>
            <c:dLbl>
              <c:idx val="7"/>
              <c:tx>
                <c:rich>
                  <a:bodyPr/>
                  <a:lstStyle/>
                  <a:p>
                    <a:fld id="{3D389CE8-35C2-4D59-98F4-E3AFE7E0E83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9DD08015-7436-42EE-8191-3BC5BC0774F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7EA3E815-517D-40A3-A779-3A0D75AD832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4</c:f>
              <c:numCache>
                <c:formatCode>General</c:formatCode>
                <c:ptCount val="3"/>
                <c:pt idx="0">
                  <c:v>9.3700000000000006E-2</c:v>
                </c:pt>
                <c:pt idx="1">
                  <c:v>-2.8000000000000001E-2</c:v>
                </c:pt>
                <c:pt idx="2">
                  <c:v>0.14449999999999999</c:v>
                </c:pt>
              </c:numCache>
            </c:numRef>
          </c:xVal>
          <c:yVal>
            <c:numRef>
              <c:f>Sheet1!$B$2:$B$4</c:f>
              <c:numCache>
                <c:formatCode>General</c:formatCode>
                <c:ptCount val="3"/>
                <c:pt idx="0">
                  <c:v>56.647058823529413</c:v>
                </c:pt>
                <c:pt idx="1">
                  <c:v>197.51351351351349</c:v>
                </c:pt>
                <c:pt idx="2">
                  <c:v>56.44</c:v>
                </c:pt>
              </c:numCache>
            </c:numRef>
          </c:yVal>
          <c:bubbleSize>
            <c:numRef>
              <c:f>Sheet1!$C$2:$C$4</c:f>
              <c:numCache>
                <c:formatCode>General</c:formatCode>
                <c:ptCount val="3"/>
                <c:pt idx="0">
                  <c:v>1454.5848000000001</c:v>
                </c:pt>
                <c:pt idx="1">
                  <c:v>12520.8133</c:v>
                </c:pt>
                <c:pt idx="2">
                  <c:v>1005.984</c:v>
                </c:pt>
              </c:numCache>
            </c:numRef>
          </c:bubbleSize>
          <c:bubble3D val="0"/>
          <c:extLst>
            <c:ext xmlns:c15="http://schemas.microsoft.com/office/drawing/2012/chart" uri="{02D57815-91ED-43cb-92C2-25804820EDAC}">
              <c15:datalabelsRange>
                <c15:f>Sheet1!$E$2:$E$50</c15:f>
                <c15:dlblRangeCache>
                  <c:ptCount val="49"/>
                  <c:pt idx="0">
                    <c:v>1/2 CHAMP NICOLAS ROSE 1E C BS 1CT X 375ML</c:v>
                  </c:pt>
                  <c:pt idx="1">
                    <c:v>CHAMPAGNE E.NICOLAS ROSE 1CT X 750ML</c:v>
                  </c:pt>
                  <c:pt idx="2">
                    <c:v>CHAMPAGNE NICOLAS ROSE 1ERE CU 1CT X 750ML</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7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E37ED9E2-870E-4EF1-BAC2-FBBCEE21A6A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E016B472-899A-4E1D-91DA-A5FC67414EF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67BA4E5A-377D-40FE-8022-A8C593EDF68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A6DEEC1A-8E81-433F-BA46-A7151C7ED43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BFDA-4C69-8E79-A083B7EFBA29}"/>
                </c:ext>
              </c:extLst>
            </c:dLbl>
            <c:dLbl>
              <c:idx val="7"/>
              <c:tx>
                <c:rich>
                  <a:bodyPr/>
                  <a:lstStyle/>
                  <a:p>
                    <a:fld id="{0DBF1333-814A-4BCE-8CB7-89E62928081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781DA97D-0A66-456F-B653-4F18F4FDB5B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F03B1D5E-17A4-40F4-95F9-812C84A1891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5</c:f>
              <c:numCache>
                <c:formatCode>General</c:formatCode>
                <c:ptCount val="4"/>
                <c:pt idx="0">
                  <c:v>7.2700000000000001E-2</c:v>
                </c:pt>
                <c:pt idx="1">
                  <c:v>-3.8999999999999998E-3</c:v>
                </c:pt>
                <c:pt idx="2">
                  <c:v>0.1081</c:v>
                </c:pt>
                <c:pt idx="3">
                  <c:v>3.2800000000000003E-2</c:v>
                </c:pt>
              </c:numCache>
            </c:numRef>
          </c:xVal>
          <c:yVal>
            <c:numRef>
              <c:f>Sheet1!$B$2:$B$5</c:f>
              <c:numCache>
                <c:formatCode>General</c:formatCode>
                <c:ptCount val="4"/>
                <c:pt idx="0">
                  <c:v>325.47619047619048</c:v>
                </c:pt>
                <c:pt idx="1">
                  <c:v>1000.931506849315</c:v>
                </c:pt>
                <c:pt idx="2">
                  <c:v>377.28571428571422</c:v>
                </c:pt>
                <c:pt idx="3">
                  <c:v>364.28571428571428</c:v>
                </c:pt>
              </c:numCache>
            </c:numRef>
          </c:yVal>
          <c:bubbleSize>
            <c:numRef>
              <c:f>Sheet1!$C$2:$C$5</c:f>
              <c:numCache>
                <c:formatCode>General</c:formatCode>
                <c:ptCount val="4"/>
                <c:pt idx="0">
                  <c:v>10563.1468</c:v>
                </c:pt>
                <c:pt idx="1">
                  <c:v>61124.902199999997</c:v>
                </c:pt>
                <c:pt idx="2">
                  <c:v>3926.0473999999999</c:v>
                </c:pt>
                <c:pt idx="3">
                  <c:v>12331.8794</c:v>
                </c:pt>
              </c:numCache>
            </c:numRef>
          </c:bubbleSize>
          <c:bubble3D val="0"/>
          <c:extLst>
            <c:ext xmlns:c15="http://schemas.microsoft.com/office/drawing/2012/chart" uri="{02D57815-91ED-43cb-92C2-25804820EDAC}">
              <c15:datalabelsRange>
                <c15:f>Sheet1!$E$2:$E$50</c15:f>
                <c15:dlblRangeCache>
                  <c:ptCount val="49"/>
                  <c:pt idx="0">
                    <c:v>1/2 CHAMP NICOLAS ROSE 1E C BS 1CT X 375ML</c:v>
                  </c:pt>
                  <c:pt idx="1">
                    <c:v>CHAMPAGNE E.NICOLAS ROSE 1CT X 750ML</c:v>
                  </c:pt>
                  <c:pt idx="2">
                    <c:v>CHAMPAGNE NICOLAS ROSE 1ERE ET 1CT X 750ML</c:v>
                  </c:pt>
                  <c:pt idx="3">
                    <c:v>CHAMPAGNE NICOLAS ROSE 1ERE CU 1CT X 750ML</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7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95AE3D30-0424-4ECF-9C64-29B699415A3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102C0ACA-34B7-4738-8AE2-069E5DB21B6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6ADE11FB-99AF-499A-B702-B151E741C9E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095113D1-B8D4-458B-AB98-8D810AA1A95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BFDA-4C69-8E79-A083B7EFBA29}"/>
                </c:ext>
              </c:extLst>
            </c:dLbl>
            <c:dLbl>
              <c:idx val="7"/>
              <c:tx>
                <c:rich>
                  <a:bodyPr/>
                  <a:lstStyle/>
                  <a:p>
                    <a:fld id="{F774A4AD-71F5-483B-A687-6D605D90365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15F9EADC-E95E-4CA6-A160-5329FE9B8A9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5646A9F0-2BD3-4500-A70A-8D74B5D5115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5</c:f>
              <c:numCache>
                <c:formatCode>General</c:formatCode>
                <c:ptCount val="4"/>
                <c:pt idx="0">
                  <c:v>8.6699999999999999E-2</c:v>
                </c:pt>
                <c:pt idx="1">
                  <c:v>3.0999999999999999E-3</c:v>
                </c:pt>
                <c:pt idx="2">
                  <c:v>0.15390000000000001</c:v>
                </c:pt>
                <c:pt idx="3">
                  <c:v>7.0400000000000004E-2</c:v>
                </c:pt>
              </c:numCache>
            </c:numRef>
          </c:xVal>
          <c:yVal>
            <c:numRef>
              <c:f>Sheet1!$B$2:$B$5</c:f>
              <c:numCache>
                <c:formatCode>General</c:formatCode>
                <c:ptCount val="4"/>
                <c:pt idx="0">
                  <c:v>210.625</c:v>
                </c:pt>
                <c:pt idx="1">
                  <c:v>516.91999999999996</c:v>
                </c:pt>
                <c:pt idx="2">
                  <c:v>176.1875</c:v>
                </c:pt>
                <c:pt idx="3">
                  <c:v>272.1875</c:v>
                </c:pt>
              </c:numCache>
            </c:numRef>
          </c:yVal>
          <c:bubbleSize>
            <c:numRef>
              <c:f>Sheet1!$C$2:$C$5</c:f>
              <c:numCache>
                <c:formatCode>General</c:formatCode>
                <c:ptCount val="4"/>
                <c:pt idx="0">
                  <c:v>5129.5136000000002</c:v>
                </c:pt>
                <c:pt idx="1">
                  <c:v>32208.281800000001</c:v>
                </c:pt>
                <c:pt idx="2">
                  <c:v>1987.6420000000001</c:v>
                </c:pt>
                <c:pt idx="3">
                  <c:v>6747.2982000000002</c:v>
                </c:pt>
              </c:numCache>
            </c:numRef>
          </c:bubbleSize>
          <c:bubble3D val="0"/>
          <c:extLst>
            <c:ext xmlns:c15="http://schemas.microsoft.com/office/drawing/2012/chart" uri="{02D57815-91ED-43cb-92C2-25804820EDAC}">
              <c15:datalabelsRange>
                <c15:f>Sheet1!$E$2:$E$50</c15:f>
                <c15:dlblRangeCache>
                  <c:ptCount val="49"/>
                  <c:pt idx="0">
                    <c:v>1/2 CHAMP NICOLAS ROSE 1E C BS 1CT X 375ML</c:v>
                  </c:pt>
                  <c:pt idx="1">
                    <c:v>CHAMPAGNE E.NICOLAS ROSE 1CT X 750ML</c:v>
                  </c:pt>
                  <c:pt idx="2">
                    <c:v>CHAMPAGNE NICOLAS ROSE 1ERE ET 1CT X 750ML</c:v>
                  </c:pt>
                  <c:pt idx="3">
                    <c:v>CHAMPAGNE NICOLAS ROSE 1ERE CU 1CT X 750ML</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7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A59DC6A3-1F8F-4DE4-AA54-E3369C54DF2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F57E65B6-FFEC-443E-BD4F-F756B7A40BB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9AD5372D-1025-439C-9DF0-FF24104748B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D0C9F104-DDD2-4098-BD46-006D6E8D5C9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BFDA-4C69-8E79-A083B7EFBA29}"/>
                </c:ext>
              </c:extLst>
            </c:dLbl>
            <c:dLbl>
              <c:idx val="7"/>
              <c:tx>
                <c:rich>
                  <a:bodyPr/>
                  <a:lstStyle/>
                  <a:p>
                    <a:fld id="{69658D17-8E51-459B-B306-26DEC12EB27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06B133E8-B097-4D40-BE4D-5755BD697E5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590860CE-0DDF-4DDE-BF1C-E1428558D7A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6</c:f>
              <c:numCache>
                <c:formatCode>General</c:formatCode>
                <c:ptCount val="5"/>
                <c:pt idx="0">
                  <c:v>7.3800000000000004E-2</c:v>
                </c:pt>
                <c:pt idx="1">
                  <c:v>1.6000000000000001E-3</c:v>
                </c:pt>
                <c:pt idx="2">
                  <c:v>0.1424</c:v>
                </c:pt>
                <c:pt idx="3">
                  <c:v>0.15690000000000001</c:v>
                </c:pt>
                <c:pt idx="4">
                  <c:v>6.0999999999999999E-2</c:v>
                </c:pt>
              </c:numCache>
            </c:numRef>
          </c:xVal>
          <c:yVal>
            <c:numRef>
              <c:f>Sheet1!$B$2:$B$6</c:f>
              <c:numCache>
                <c:formatCode>General</c:formatCode>
                <c:ptCount val="5"/>
                <c:pt idx="0">
                  <c:v>500.30434782608688</c:v>
                </c:pt>
                <c:pt idx="1">
                  <c:v>1071.7678571428571</c:v>
                </c:pt>
                <c:pt idx="2">
                  <c:v>391.66666666666669</c:v>
                </c:pt>
                <c:pt idx="3">
                  <c:v>392.11111111111109</c:v>
                </c:pt>
                <c:pt idx="4">
                  <c:v>517.75</c:v>
                </c:pt>
              </c:numCache>
            </c:numRef>
          </c:yVal>
          <c:bubbleSize>
            <c:numRef>
              <c:f>Sheet1!$C$2:$C$6</c:f>
              <c:numCache>
                <c:formatCode>General</c:formatCode>
                <c:ptCount val="5"/>
                <c:pt idx="0">
                  <c:v>8881.8364000000001</c:v>
                </c:pt>
                <c:pt idx="1">
                  <c:v>49937.420100000003</c:v>
                </c:pt>
                <c:pt idx="2">
                  <c:v>1679.3806</c:v>
                </c:pt>
                <c:pt idx="3">
                  <c:v>2479.395</c:v>
                </c:pt>
                <c:pt idx="4">
                  <c:v>12964.845799999999</c:v>
                </c:pt>
              </c:numCache>
            </c:numRef>
          </c:bubbleSize>
          <c:bubble3D val="0"/>
          <c:extLst>
            <c:ext xmlns:c15="http://schemas.microsoft.com/office/drawing/2012/chart" uri="{02D57815-91ED-43cb-92C2-25804820EDAC}">
              <c15:datalabelsRange>
                <c15:f>Sheet1!$E$2:$E$50</c15:f>
                <c15:dlblRangeCache>
                  <c:ptCount val="49"/>
                  <c:pt idx="0">
                    <c:v>1/2 CHAMP NICOLAS ROSE 1E C BS 1CT X 375ML</c:v>
                  </c:pt>
                  <c:pt idx="1">
                    <c:v>CHAMPAGNE E.NICOLAS ROSE 1CT X 750ML</c:v>
                  </c:pt>
                  <c:pt idx="2">
                    <c:v>CHAMPAGNE NICOLAS ROSE 1E C BS 1CT X 750ML</c:v>
                  </c:pt>
                  <c:pt idx="3">
                    <c:v>CHAMPAGNE NICOLAS ROSE 1ERE ET 1CT X 750ML</c:v>
                  </c:pt>
                  <c:pt idx="4">
                    <c:v>CHAMPAGNE NICOLAS ROSE 1ERE CU 1CT X 750ML</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7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8F837A8C-9579-4021-AC65-139E22BF818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1F38FBBC-10A3-49B1-B7B8-6F28608F2F3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35F3A0B2-8BCE-4352-ABD1-6330F1B06F8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220CC21D-11FB-4F97-879D-BED2474778C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BFDA-4C69-8E79-A083B7EFBA29}"/>
                </c:ext>
              </c:extLst>
            </c:dLbl>
            <c:dLbl>
              <c:idx val="7"/>
              <c:tx>
                <c:rich>
                  <a:bodyPr/>
                  <a:lstStyle/>
                  <a:p>
                    <a:fld id="{7A2AB9B4-E156-4A1B-97A1-CCEA6023C68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69BDD1DE-4D2C-4509-A92A-989A26C4D2F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C9CEB112-00CA-4F20-A42A-5720D2C5F3E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6</c:f>
              <c:numCache>
                <c:formatCode>General</c:formatCode>
                <c:ptCount val="5"/>
                <c:pt idx="0">
                  <c:v>8.2600000000000007E-2</c:v>
                </c:pt>
                <c:pt idx="1">
                  <c:v>2.0999999999999999E-3</c:v>
                </c:pt>
                <c:pt idx="2">
                  <c:v>7.9799999999999996E-2</c:v>
                </c:pt>
                <c:pt idx="3">
                  <c:v>0.1055</c:v>
                </c:pt>
                <c:pt idx="4">
                  <c:v>5.16E-2</c:v>
                </c:pt>
              </c:numCache>
            </c:numRef>
          </c:xVal>
          <c:yVal>
            <c:numRef>
              <c:f>Sheet1!$B$2:$B$6</c:f>
              <c:numCache>
                <c:formatCode>General</c:formatCode>
                <c:ptCount val="5"/>
                <c:pt idx="0">
                  <c:v>442.88888888888891</c:v>
                </c:pt>
                <c:pt idx="1">
                  <c:v>999.24528301886789</c:v>
                </c:pt>
                <c:pt idx="2">
                  <c:v>249</c:v>
                </c:pt>
                <c:pt idx="3">
                  <c:v>628</c:v>
                </c:pt>
                <c:pt idx="4">
                  <c:v>494.53571428571422</c:v>
                </c:pt>
              </c:numCache>
            </c:numRef>
          </c:yVal>
          <c:bubbleSize>
            <c:numRef>
              <c:f>Sheet1!$C$2:$C$6</c:f>
              <c:numCache>
                <c:formatCode>General</c:formatCode>
                <c:ptCount val="5"/>
                <c:pt idx="0">
                  <c:v>6094.4557999999997</c:v>
                </c:pt>
                <c:pt idx="1">
                  <c:v>44041.5962</c:v>
                </c:pt>
                <c:pt idx="2">
                  <c:v>1336.6007999999999</c:v>
                </c:pt>
                <c:pt idx="3">
                  <c:v>2340.6142</c:v>
                </c:pt>
                <c:pt idx="4">
                  <c:v>10944.071400000001</c:v>
                </c:pt>
              </c:numCache>
            </c:numRef>
          </c:bubbleSize>
          <c:bubble3D val="0"/>
          <c:extLst>
            <c:ext xmlns:c15="http://schemas.microsoft.com/office/drawing/2012/chart" uri="{02D57815-91ED-43cb-92C2-25804820EDAC}">
              <c15:datalabelsRange>
                <c15:f>Sheet1!$E$2:$E$50</c15:f>
                <c15:dlblRangeCache>
                  <c:ptCount val="49"/>
                  <c:pt idx="0">
                    <c:v>1/2 CHAMP NICOLAS ROSE 1E C BS 1CT X 375ML</c:v>
                  </c:pt>
                  <c:pt idx="1">
                    <c:v>CHAMPAGNE E.NICOLAS ROSE 1CT X 750ML</c:v>
                  </c:pt>
                  <c:pt idx="2">
                    <c:v>CHAMPAGNE NICOLAS ROSE 1E C BS 1CT X 750ML</c:v>
                  </c:pt>
                  <c:pt idx="3">
                    <c:v>CHAMPAGNE NICOLAS ROSE 1ERE ET 1CT X 750ML</c:v>
                  </c:pt>
                  <c:pt idx="4">
                    <c:v>CHAMPAGNE NICOLAS ROSE 1ERE CU 1CT X 750ML</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7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5CEF0939-7044-4A47-BC2F-053F83E9171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71943D1D-A27D-415A-9DDF-A1CB1C131FB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B76ED30C-5FD6-4F22-A67B-79F6FE76F36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36BE9428-AE2D-4989-AED7-899CF6624C8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BFDA-4C69-8E79-A083B7EFBA29}"/>
                </c:ext>
              </c:extLst>
            </c:dLbl>
            <c:dLbl>
              <c:idx val="7"/>
              <c:tx>
                <c:rich>
                  <a:bodyPr/>
                  <a:lstStyle/>
                  <a:p>
                    <a:fld id="{520A566A-E0D6-4C4F-B241-5A4BC533B69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CBEBF4FB-C7BE-4BD0-96DB-69845716605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AE66E31A-C96A-400C-B520-C1B30EB1501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5</c:f>
              <c:numCache>
                <c:formatCode>General</c:formatCode>
                <c:ptCount val="4"/>
                <c:pt idx="0">
                  <c:v>8.3099999999999993E-2</c:v>
                </c:pt>
                <c:pt idx="1">
                  <c:v>2.9999999999999997E-4</c:v>
                </c:pt>
                <c:pt idx="2">
                  <c:v>0.13300000000000001</c:v>
                </c:pt>
                <c:pt idx="3">
                  <c:v>5.4399999999999997E-2</c:v>
                </c:pt>
              </c:numCache>
            </c:numRef>
          </c:xVal>
          <c:yVal>
            <c:numRef>
              <c:f>Sheet1!$B$2:$B$5</c:f>
              <c:numCache>
                <c:formatCode>General</c:formatCode>
                <c:ptCount val="4"/>
                <c:pt idx="0">
                  <c:v>464.65</c:v>
                </c:pt>
                <c:pt idx="1">
                  <c:v>1188.088888888889</c:v>
                </c:pt>
                <c:pt idx="2">
                  <c:v>839.75</c:v>
                </c:pt>
                <c:pt idx="3">
                  <c:v>480.29411764705878</c:v>
                </c:pt>
              </c:numCache>
            </c:numRef>
          </c:yVal>
          <c:bubbleSize>
            <c:numRef>
              <c:f>Sheet1!$C$2:$C$5</c:f>
              <c:numCache>
                <c:formatCode>General</c:formatCode>
                <c:ptCount val="4"/>
                <c:pt idx="0">
                  <c:v>7100.8307999999997</c:v>
                </c:pt>
                <c:pt idx="1">
                  <c:v>44541.595400000013</c:v>
                </c:pt>
                <c:pt idx="2">
                  <c:v>2426.8018000000002</c:v>
                </c:pt>
                <c:pt idx="3">
                  <c:v>6433.7096000000001</c:v>
                </c:pt>
              </c:numCache>
            </c:numRef>
          </c:bubbleSize>
          <c:bubble3D val="0"/>
          <c:extLst>
            <c:ext xmlns:c15="http://schemas.microsoft.com/office/drawing/2012/chart" uri="{02D57815-91ED-43cb-92C2-25804820EDAC}">
              <c15:datalabelsRange>
                <c15:f>Sheet1!$E$2:$E$50</c15:f>
                <c15:dlblRangeCache>
                  <c:ptCount val="49"/>
                  <c:pt idx="0">
                    <c:v>1/2 CHAMP NICOLAS ROSE 1E C BS 1CT X 375ML</c:v>
                  </c:pt>
                  <c:pt idx="1">
                    <c:v>CHAMPAGNE E.NICOLAS ROSE 1CT X 750ML</c:v>
                  </c:pt>
                  <c:pt idx="2">
                    <c:v>CHAMPAGNE NICOLAS ROSE 1E C BS 1CT X 750ML</c:v>
                  </c:pt>
                  <c:pt idx="3">
                    <c:v>CHAMPAGNE NICOLAS ROSE 1ERE CU 1CT X 750ML</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7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C44F95BB-9319-4CFB-8662-A1B83E7D1BEE}"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AE5D2BCA-60F7-453E-B653-B828A6F974F8}" type="CELLRANGE">
                      <a:rPr lang="pt-BR"/>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5620C5D3-39F8-4F9B-8A77-B370D9D4CD5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A4AAFE2B-B4A0-4D0E-A76C-733347D418AB}" type="CELLRANGE">
                      <a:rPr lang="fr-FR"/>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432A8597-7CD4-4345-B2F8-1701A3A40C7C}"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E92774AC-1D3C-4802-A2B9-3CBFBF9577D2}" type="CELLRANGE">
                      <a:rPr lang="fr-FR"/>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4A02C01A-FDD6-4F78-85F5-0A475EA97274}" type="CELLRANGE">
                      <a:rPr lang="fr-FR"/>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0C8E772A-DB8E-4F44-8F7B-5CD49ECF08DF}" type="CELLRANGE">
                      <a:rPr lang="fr-FR"/>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E55CC02C-421C-4717-ACA3-19E024DA4EE7}"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fr-FR">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117C4718-C464-41FC-853B-D636CC33AED4}" type="CELLRANGE">
                      <a:rPr lang="fr-FR"/>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fr-F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fr-F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fr-FR"/>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fr-FR"/>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dLbl>
              <c:idx val="2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A-6F2C-4B9B-85F7-445EC0A0F25F}"/>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22</c:f>
              <c:numCache>
                <c:formatCode>General</c:formatCode>
                <c:ptCount val="21"/>
                <c:pt idx="0">
                  <c:v>0.315</c:v>
                </c:pt>
                <c:pt idx="1">
                  <c:v>0.29699999999999999</c:v>
                </c:pt>
                <c:pt idx="2">
                  <c:v>0.17100000000000001</c:v>
                </c:pt>
                <c:pt idx="3">
                  <c:v>0.254</c:v>
                </c:pt>
                <c:pt idx="4">
                  <c:v>0.628</c:v>
                </c:pt>
                <c:pt idx="5">
                  <c:v>0.76700000000000002</c:v>
                </c:pt>
                <c:pt idx="6">
                  <c:v>0.23599999999999999</c:v>
                </c:pt>
                <c:pt idx="7">
                  <c:v>0.2</c:v>
                </c:pt>
                <c:pt idx="8">
                  <c:v>0.20699999999999999</c:v>
                </c:pt>
                <c:pt idx="9">
                  <c:v>8.1000000000000003E-2</c:v>
                </c:pt>
                <c:pt idx="10">
                  <c:v>0.105</c:v>
                </c:pt>
                <c:pt idx="11">
                  <c:v>2.7E-2</c:v>
                </c:pt>
                <c:pt idx="12">
                  <c:v>0.38800000000000001</c:v>
                </c:pt>
                <c:pt idx="13">
                  <c:v>0.998</c:v>
                </c:pt>
                <c:pt idx="14">
                  <c:v>0.58499999999999996</c:v>
                </c:pt>
                <c:pt idx="15">
                  <c:v>9.9000000000000005E-2</c:v>
                </c:pt>
                <c:pt idx="16">
                  <c:v>0.34899999999999998</c:v>
                </c:pt>
                <c:pt idx="17">
                  <c:v>5.7000000000000002E-2</c:v>
                </c:pt>
                <c:pt idx="18">
                  <c:v>0.34699999999999998</c:v>
                </c:pt>
                <c:pt idx="19">
                  <c:v>0.13600000000000001</c:v>
                </c:pt>
                <c:pt idx="20">
                  <c:v>0.189</c:v>
                </c:pt>
              </c:numCache>
            </c:numRef>
          </c:xVal>
          <c:yVal>
            <c:numRef>
              <c:f>Sheet1!$B$2:$B$22</c:f>
              <c:numCache>
                <c:formatCode>General</c:formatCode>
                <c:ptCount val="21"/>
                <c:pt idx="0">
                  <c:v>1861.5238095238101</c:v>
                </c:pt>
                <c:pt idx="1">
                  <c:v>1655.420875420876</c:v>
                </c:pt>
                <c:pt idx="2">
                  <c:v>3376.9590643274851</c:v>
                </c:pt>
                <c:pt idx="3">
                  <c:v>3678.7795275590552</c:v>
                </c:pt>
                <c:pt idx="4">
                  <c:v>4430.9394904458604</c:v>
                </c:pt>
                <c:pt idx="5">
                  <c:v>3148.787483702738</c:v>
                </c:pt>
                <c:pt idx="6">
                  <c:v>1560.550847457627</c:v>
                </c:pt>
                <c:pt idx="7">
                  <c:v>3041.15</c:v>
                </c:pt>
                <c:pt idx="8">
                  <c:v>1814.1062801932369</c:v>
                </c:pt>
                <c:pt idx="9">
                  <c:v>1171.481481481482</c:v>
                </c:pt>
                <c:pt idx="10">
                  <c:v>1485.238095238095</c:v>
                </c:pt>
                <c:pt idx="11">
                  <c:v>2277.7777777777778</c:v>
                </c:pt>
                <c:pt idx="12">
                  <c:v>2524.7422680412369</c:v>
                </c:pt>
                <c:pt idx="13">
                  <c:v>41115.460921843689</c:v>
                </c:pt>
                <c:pt idx="14">
                  <c:v>6637.264957264957</c:v>
                </c:pt>
                <c:pt idx="15">
                  <c:v>2362.121212121212</c:v>
                </c:pt>
                <c:pt idx="16">
                  <c:v>1793.0085959885389</c:v>
                </c:pt>
                <c:pt idx="17">
                  <c:v>1330.526315789474</c:v>
                </c:pt>
                <c:pt idx="18">
                  <c:v>1162.651296829971</c:v>
                </c:pt>
                <c:pt idx="19">
                  <c:v>1050</c:v>
                </c:pt>
                <c:pt idx="20">
                  <c:v>1170.6878306878309</c:v>
                </c:pt>
              </c:numCache>
            </c:numRef>
          </c:yVal>
          <c:bubbleSize>
            <c:numRef>
              <c:f>Sheet1!$C$2:$C$22</c:f>
              <c:numCache>
                <c:formatCode>General</c:formatCode>
                <c:ptCount val="21"/>
                <c:pt idx="0">
                  <c:v>23665.917600000001</c:v>
                </c:pt>
                <c:pt idx="1">
                  <c:v>37518.247200000013</c:v>
                </c:pt>
                <c:pt idx="2">
                  <c:v>43073.496400000004</c:v>
                </c:pt>
                <c:pt idx="3">
                  <c:v>76755.032399999996</c:v>
                </c:pt>
                <c:pt idx="4">
                  <c:v>231541.29620000001</c:v>
                </c:pt>
                <c:pt idx="5">
                  <c:v>206088.80379999999</c:v>
                </c:pt>
                <c:pt idx="6">
                  <c:v>16768.147499999999</c:v>
                </c:pt>
                <c:pt idx="7">
                  <c:v>27280</c:v>
                </c:pt>
                <c:pt idx="8">
                  <c:v>29886.43559999999</c:v>
                </c:pt>
                <c:pt idx="9">
                  <c:v>6818.3055999999997</c:v>
                </c:pt>
                <c:pt idx="10">
                  <c:v>11174.366999999989</c:v>
                </c:pt>
                <c:pt idx="11">
                  <c:v>3201.2289000000001</c:v>
                </c:pt>
                <c:pt idx="12">
                  <c:v>78663.179999999993</c:v>
                </c:pt>
                <c:pt idx="13">
                  <c:v>3279757.6026000022</c:v>
                </c:pt>
                <c:pt idx="14">
                  <c:v>295626.36689999991</c:v>
                </c:pt>
                <c:pt idx="15">
                  <c:v>17459.9964</c:v>
                </c:pt>
                <c:pt idx="16">
                  <c:v>48968.972999999998</c:v>
                </c:pt>
                <c:pt idx="17">
                  <c:v>4321.6875</c:v>
                </c:pt>
                <c:pt idx="18">
                  <c:v>32614.510799999989</c:v>
                </c:pt>
                <c:pt idx="19">
                  <c:v>8672.2607999999982</c:v>
                </c:pt>
                <c:pt idx="20">
                  <c:v>16674.775099999999</c:v>
                </c:pt>
              </c:numCache>
            </c:numRef>
          </c:bubbleSize>
          <c:bubble3D val="0"/>
          <c:extLst>
            <c:ext xmlns:c15="http://schemas.microsoft.com/office/drawing/2012/chart" uri="{02D57815-91ED-43cb-92C2-25804820EDAC}">
              <c15:datalabelsRange>
                <c15:f>Sheet1!$E$2:$E$21</c15:f>
                <c15:dlblRangeCache>
                  <c:ptCount val="20"/>
                  <c:pt idx="0">
                    <c:v>1/2 CHAMP NICOLAS BLC/BLC BS 1CT X 375ML</c:v>
                  </c:pt>
                  <c:pt idx="1">
                    <c:v>1/2 CHAMP NICOLAS ROSE 1E C BS 1CT X 375ML</c:v>
                  </c:pt>
                  <c:pt idx="2">
                    <c:v>MG CHAMPAGNE NICOLAS BLC/BL BS 1CT X 1500ML</c:v>
                  </c:pt>
                  <c:pt idx="3">
                    <c:v>MG CHAMPAGNE E.NICOLAS BRUT 1CT X 1500ML</c:v>
                  </c:pt>
                  <c:pt idx="4">
                    <c:v>CHAMPAGNE E.NICOLAS ROSE 1CT X 750ML</c:v>
                  </c:pt>
                  <c:pt idx="5">
                    <c:v>CHAMPAGNE NICOLAS 1ERE CUVEE 1CT X 750ML</c:v>
                  </c:pt>
                  <c:pt idx="6">
                    <c:v>MG CHAMPAGNE NICOLAS 1ERE CUVE 1CT X 1500ML</c:v>
                  </c:pt>
                  <c:pt idx="7">
                    <c:v>CHAMPAGNE NICOLAS BIO NAT 2017 1CT X 750ML</c:v>
                  </c:pt>
                  <c:pt idx="8">
                    <c:v>CHAMPAGNE NICOLAS BLC DE NOIRS 1CT X 750ML</c:v>
                  </c:pt>
                  <c:pt idx="9">
                    <c:v>CHAMPAGNE NICOLAS ROSE 1E C BS 1CT X 750ML</c:v>
                  </c:pt>
                  <c:pt idx="10">
                    <c:v>CHAMPAGNE NICOLAS ROSE 1ERE ET 1CT X 750ML</c:v>
                  </c:pt>
                  <c:pt idx="11">
                    <c:v>CHAMPAGNE NICOLAS BLC/BL BS ET 1CT X 750ML</c:v>
                  </c:pt>
                  <c:pt idx="12">
                    <c:v>1/2 CHAMPAGNE NICOLAS 1ERE CUV 1CT X 375ML</c:v>
                  </c:pt>
                  <c:pt idx="13">
                    <c:v>CHAMPAGNE E.NICOLAS BRUT 1CT X 750ML</c:v>
                  </c:pt>
                  <c:pt idx="14">
                    <c:v>CHAMPAGNE NICOLAS BLC/BLC BS 1CT X 750ML</c:v>
                  </c:pt>
                  <c:pt idx="15">
                    <c:v>CHAMPAGNE NICOLAS BLC/BLC 2002 1CT X 750ML</c:v>
                  </c:pt>
                  <c:pt idx="16">
                    <c:v>CHAMPAGNE NICOLAS ROSE 1ERE CU 1CT X 750ML</c:v>
                  </c:pt>
                  <c:pt idx="17">
                    <c:v>MG CHAMPAGNE NICOLAS 1E CRU BS 1CT X 1500ML</c:v>
                  </c:pt>
                  <c:pt idx="18">
                    <c:v>CHAMPAGNE NICOLAS 1ER CRU BS 1CT X 750ML</c:v>
                  </c:pt>
                  <c:pt idx="19">
                    <c:v>CHAMPAGNE NICOLAS 1ERE CUV ETU 1CT X 750ML</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7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375FCA42-9010-421B-A5B3-58586B03E50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41CDC52B-6573-4507-BFEE-72C8FBFAC88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E261F754-7272-40BC-8D4A-885E7D87731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2DD81E8C-8F3A-4EB4-9922-74FF9FC1A5E7}"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70A638EE-C894-4C96-87D1-90C974C570F9}"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0A0A8FDF-4AE9-4309-8719-F77601AC75C8}"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86390A3E-2756-4172-A9CD-E56FDA0D8F72}"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5127FF20-6BFE-48EA-9D14-2E5D961A38F2}"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67DD1110-6115-4262-B1E0-2EAFD2FAD57B}"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411E95E4-3014-4A91-BC8C-4D742C1A876A}"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dLbl>
              <c:idx val="2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A-5C04-4AC8-9706-7DC802AA0B04}"/>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22</c:f>
              <c:numCache>
                <c:formatCode>General</c:formatCode>
                <c:ptCount val="21"/>
                <c:pt idx="0">
                  <c:v>0.28000000000000003</c:v>
                </c:pt>
                <c:pt idx="1">
                  <c:v>0.25</c:v>
                </c:pt>
                <c:pt idx="2">
                  <c:v>0.12</c:v>
                </c:pt>
                <c:pt idx="3">
                  <c:v>0.18</c:v>
                </c:pt>
                <c:pt idx="4">
                  <c:v>0.6</c:v>
                </c:pt>
                <c:pt idx="5">
                  <c:v>0.83</c:v>
                </c:pt>
                <c:pt idx="6">
                  <c:v>0.27</c:v>
                </c:pt>
                <c:pt idx="7">
                  <c:v>0.19</c:v>
                </c:pt>
                <c:pt idx="8">
                  <c:v>0.17</c:v>
                </c:pt>
                <c:pt idx="9">
                  <c:v>0.04</c:v>
                </c:pt>
                <c:pt idx="10">
                  <c:v>0.08</c:v>
                </c:pt>
                <c:pt idx="11">
                  <c:v>0.02</c:v>
                </c:pt>
                <c:pt idx="12">
                  <c:v>0.37</c:v>
                </c:pt>
                <c:pt idx="13">
                  <c:v>1</c:v>
                </c:pt>
                <c:pt idx="14">
                  <c:v>0.56999999999999995</c:v>
                </c:pt>
                <c:pt idx="15">
                  <c:v>0.03</c:v>
                </c:pt>
                <c:pt idx="16">
                  <c:v>0.32</c:v>
                </c:pt>
                <c:pt idx="17">
                  <c:v>0.04</c:v>
                </c:pt>
                <c:pt idx="18">
                  <c:v>0.32</c:v>
                </c:pt>
                <c:pt idx="19">
                  <c:v>0.14000000000000001</c:v>
                </c:pt>
                <c:pt idx="20">
                  <c:v>0.18</c:v>
                </c:pt>
              </c:numCache>
            </c:numRef>
          </c:xVal>
          <c:yVal>
            <c:numRef>
              <c:f>Sheet1!$B$2:$B$22</c:f>
              <c:numCache>
                <c:formatCode>General</c:formatCode>
                <c:ptCount val="21"/>
                <c:pt idx="0">
                  <c:v>886.96428571428555</c:v>
                </c:pt>
                <c:pt idx="1">
                  <c:v>925.52</c:v>
                </c:pt>
                <c:pt idx="2">
                  <c:v>2128.083333333333</c:v>
                </c:pt>
                <c:pt idx="3">
                  <c:v>2173.166666666667</c:v>
                </c:pt>
                <c:pt idx="4">
                  <c:v>1972.583333333333</c:v>
                </c:pt>
                <c:pt idx="5">
                  <c:v>1336</c:v>
                </c:pt>
                <c:pt idx="6">
                  <c:v>539.48148148148152</c:v>
                </c:pt>
                <c:pt idx="7">
                  <c:v>1529.526315789474</c:v>
                </c:pt>
                <c:pt idx="8">
                  <c:v>1029.1764705882349</c:v>
                </c:pt>
                <c:pt idx="9">
                  <c:v>960.75</c:v>
                </c:pt>
                <c:pt idx="10">
                  <c:v>804.125</c:v>
                </c:pt>
                <c:pt idx="11">
                  <c:v>1130</c:v>
                </c:pt>
                <c:pt idx="12">
                  <c:v>1241.6756756756761</c:v>
                </c:pt>
                <c:pt idx="13">
                  <c:v>18113.009999999998</c:v>
                </c:pt>
                <c:pt idx="14">
                  <c:v>2986.666666666667</c:v>
                </c:pt>
                <c:pt idx="15">
                  <c:v>2744.333333333333</c:v>
                </c:pt>
                <c:pt idx="16">
                  <c:v>893.375</c:v>
                </c:pt>
                <c:pt idx="17">
                  <c:v>1024.5</c:v>
                </c:pt>
                <c:pt idx="18">
                  <c:v>495.65625</c:v>
                </c:pt>
                <c:pt idx="19">
                  <c:v>455.49999999999989</c:v>
                </c:pt>
                <c:pt idx="20">
                  <c:v>496.88888888888891</c:v>
                </c:pt>
              </c:numCache>
            </c:numRef>
          </c:yVal>
          <c:bubbleSize>
            <c:numRef>
              <c:f>Sheet1!$C$2:$C$22</c:f>
              <c:numCache>
                <c:formatCode>General</c:formatCode>
                <c:ptCount val="21"/>
                <c:pt idx="0">
                  <c:v>10100.4072</c:v>
                </c:pt>
                <c:pt idx="1">
                  <c:v>17931.8982</c:v>
                </c:pt>
                <c:pt idx="2">
                  <c:v>19555.973999999998</c:v>
                </c:pt>
                <c:pt idx="3">
                  <c:v>32460.013800000001</c:v>
                </c:pt>
                <c:pt idx="4">
                  <c:v>98562.342300000004</c:v>
                </c:pt>
                <c:pt idx="5">
                  <c:v>94936.974799999996</c:v>
                </c:pt>
                <c:pt idx="6">
                  <c:v>6741.8325000000004</c:v>
                </c:pt>
                <c:pt idx="7">
                  <c:v>13523.75</c:v>
                </c:pt>
                <c:pt idx="8">
                  <c:v>14009.454</c:v>
                </c:pt>
                <c:pt idx="9">
                  <c:v>2827.04</c:v>
                </c:pt>
                <c:pt idx="10">
                  <c:v>4778.6550000000007</c:v>
                </c:pt>
                <c:pt idx="11">
                  <c:v>1009.3964999999999</c:v>
                </c:pt>
                <c:pt idx="12">
                  <c:v>37160.055</c:v>
                </c:pt>
                <c:pt idx="13">
                  <c:v>1444977.4757999999</c:v>
                </c:pt>
                <c:pt idx="14">
                  <c:v>130073.0886</c:v>
                </c:pt>
                <c:pt idx="15">
                  <c:v>6279.9983999999986</c:v>
                </c:pt>
                <c:pt idx="16">
                  <c:v>22715.9624</c:v>
                </c:pt>
                <c:pt idx="17">
                  <c:v>2477.7674999999999</c:v>
                </c:pt>
                <c:pt idx="18">
                  <c:v>13135.884899999999</c:v>
                </c:pt>
                <c:pt idx="19">
                  <c:v>4181.2686000000003</c:v>
                </c:pt>
                <c:pt idx="20">
                  <c:v>6954.8029000000006</c:v>
                </c:pt>
              </c:numCache>
            </c:numRef>
          </c:bubbleSize>
          <c:bubble3D val="0"/>
          <c:extLst>
            <c:ext xmlns:c15="http://schemas.microsoft.com/office/drawing/2012/chart" uri="{02D57815-91ED-43cb-92C2-25804820EDAC}">
              <c15:datalabelsRange>
                <c15:f>Sheet1!$E$2:$E$21</c15:f>
                <c15:dlblRangeCache>
                  <c:ptCount val="20"/>
                  <c:pt idx="0">
                    <c:v>1/2 CHAMP NICOLAS BLC/BLC BS 1CT X 375ML</c:v>
                  </c:pt>
                  <c:pt idx="1">
                    <c:v>1/2 CHAMP NICOLAS ROSE 1E C BS 1CT X 375ML</c:v>
                  </c:pt>
                  <c:pt idx="2">
                    <c:v>MG CHAMPAGNE NICOLAS BLC/BL BS 1CT X 1500ML</c:v>
                  </c:pt>
                  <c:pt idx="3">
                    <c:v>MG CHAMPAGNE E.NICOLAS BRUT 1CT X 1500ML</c:v>
                  </c:pt>
                  <c:pt idx="4">
                    <c:v>CHAMPAGNE E.NICOLAS ROSE 1CT X 750ML</c:v>
                  </c:pt>
                  <c:pt idx="5">
                    <c:v>CHAMPAGNE NICOLAS 1ERE CUVEE 1CT X 750ML</c:v>
                  </c:pt>
                  <c:pt idx="6">
                    <c:v>MG CHAMPAGNE NICOLAS 1ERE CUVE 1CT X 1500ML</c:v>
                  </c:pt>
                  <c:pt idx="7">
                    <c:v>CHAMPAGNE NICOLAS BIO NAT 2017 1CT X 750ML</c:v>
                  </c:pt>
                  <c:pt idx="8">
                    <c:v>CHAMPAGNE NICOLAS BLC DE NOIRS 1CT X 750ML</c:v>
                  </c:pt>
                  <c:pt idx="9">
                    <c:v>CHAMPAGNE NICOLAS ROSE 1E C BS 1CT X 750ML</c:v>
                  </c:pt>
                  <c:pt idx="10">
                    <c:v>CHAMPAGNE NICOLAS ROSE 1ERE ET 1CT X 750ML</c:v>
                  </c:pt>
                  <c:pt idx="11">
                    <c:v>CHAMPAGNE NICOLAS BLC/BL BS ET 1CT X 750ML</c:v>
                  </c:pt>
                  <c:pt idx="12">
                    <c:v>1/2 CHAMPAGNE NICOLAS 1ERE CUV 1CT X 375ML</c:v>
                  </c:pt>
                  <c:pt idx="13">
                    <c:v>CHAMPAGNE E.NICOLAS BRUT 1CT X 750ML</c:v>
                  </c:pt>
                  <c:pt idx="14">
                    <c:v>CHAMPAGNE NICOLAS BLC/BLC BS 1CT X 750ML</c:v>
                  </c:pt>
                  <c:pt idx="15">
                    <c:v>CHAMPAGNE NICOLAS BLC/BLC 2002 1CT X 750ML</c:v>
                  </c:pt>
                  <c:pt idx="16">
                    <c:v>CHAMPAGNE NICOLAS ROSE 1ERE CU 1CT X 750ML</c:v>
                  </c:pt>
                  <c:pt idx="17">
                    <c:v>MG CHAMPAGNE NICOLAS 1E CRU BS 1CT X 1500ML</c:v>
                  </c:pt>
                  <c:pt idx="18">
                    <c:v>CHAMPAGNE NICOLAS 1ER CRU BS 1CT X 750ML</c:v>
                  </c:pt>
                  <c:pt idx="19">
                    <c:v>CHAMPAGNE NICOLAS 1ERE CUV ETU 1CT X 750ML</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7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B5BCE5E0-6E0B-4AA0-85C8-466C7CA09E8C}"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4FAC1C3B-497F-4A54-ACCD-036D5676946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1E593F64-3CD8-41C1-92DE-7CDE8963DCA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CF597591-8586-4B33-BE74-2DBBC3B90B82}"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CD414E75-D97C-4D39-9CB8-A80B1061953A}"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E69A49AB-A9F6-4907-BDBA-EC12DC6665E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70B2925F-F6FE-4BCD-BA8C-0AA936FEC87C}"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1F4A6E15-C0CA-43B8-B77A-EDF06D9E463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39A5D2A0-CC04-4F76-B9F4-C741BA0B9059}"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32580684-0D34-4CBC-9D16-9118B917702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dLbl>
              <c:idx val="2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A-FAEF-4F3F-A9DC-C458A08CCFFF}"/>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22</c:f>
              <c:numCache>
                <c:formatCode>General</c:formatCode>
                <c:ptCount val="21"/>
                <c:pt idx="0">
                  <c:v>0.28000000000000003</c:v>
                </c:pt>
                <c:pt idx="1">
                  <c:v>0.25</c:v>
                </c:pt>
                <c:pt idx="2">
                  <c:v>0.16</c:v>
                </c:pt>
                <c:pt idx="3">
                  <c:v>0.24</c:v>
                </c:pt>
                <c:pt idx="4">
                  <c:v>0.61</c:v>
                </c:pt>
                <c:pt idx="5">
                  <c:v>0.74</c:v>
                </c:pt>
                <c:pt idx="6">
                  <c:v>0.11</c:v>
                </c:pt>
                <c:pt idx="7">
                  <c:v>0.14000000000000001</c:v>
                </c:pt>
                <c:pt idx="8">
                  <c:v>0.19</c:v>
                </c:pt>
                <c:pt idx="9">
                  <c:v>0.08</c:v>
                </c:pt>
                <c:pt idx="10">
                  <c:v>0.09</c:v>
                </c:pt>
                <c:pt idx="11">
                  <c:v>0.04</c:v>
                </c:pt>
                <c:pt idx="12">
                  <c:v>0.26</c:v>
                </c:pt>
                <c:pt idx="13">
                  <c:v>0.99</c:v>
                </c:pt>
                <c:pt idx="14">
                  <c:v>0.56999999999999995</c:v>
                </c:pt>
                <c:pt idx="15">
                  <c:v>0.08</c:v>
                </c:pt>
                <c:pt idx="16">
                  <c:v>0.28000000000000003</c:v>
                </c:pt>
                <c:pt idx="17">
                  <c:v>0.09</c:v>
                </c:pt>
                <c:pt idx="18">
                  <c:v>0.46</c:v>
                </c:pt>
                <c:pt idx="19">
                  <c:v>0.11</c:v>
                </c:pt>
                <c:pt idx="20">
                  <c:v>0.11</c:v>
                </c:pt>
              </c:numCache>
            </c:numRef>
          </c:xVal>
          <c:yVal>
            <c:numRef>
              <c:f>Sheet1!$B$2:$B$22</c:f>
              <c:numCache>
                <c:formatCode>General</c:formatCode>
                <c:ptCount val="21"/>
                <c:pt idx="0">
                  <c:v>423.53571428571422</c:v>
                </c:pt>
                <c:pt idx="1">
                  <c:v>408.96</c:v>
                </c:pt>
                <c:pt idx="2">
                  <c:v>793.125</c:v>
                </c:pt>
                <c:pt idx="3">
                  <c:v>784.08333333333337</c:v>
                </c:pt>
                <c:pt idx="4">
                  <c:v>1087.5081967213109</c:v>
                </c:pt>
                <c:pt idx="5">
                  <c:v>775.16216216216219</c:v>
                </c:pt>
                <c:pt idx="6">
                  <c:v>840.27272727272725</c:v>
                </c:pt>
                <c:pt idx="7">
                  <c:v>759.57142857142844</c:v>
                </c:pt>
                <c:pt idx="8">
                  <c:v>541.31578947368416</c:v>
                </c:pt>
                <c:pt idx="9">
                  <c:v>344.125</c:v>
                </c:pt>
                <c:pt idx="10">
                  <c:v>421.66666666666669</c:v>
                </c:pt>
                <c:pt idx="11">
                  <c:v>409</c:v>
                </c:pt>
                <c:pt idx="12">
                  <c:v>680.5</c:v>
                </c:pt>
                <c:pt idx="13">
                  <c:v>8910.3333333333339</c:v>
                </c:pt>
                <c:pt idx="14">
                  <c:v>1670.5438596491231</c:v>
                </c:pt>
                <c:pt idx="15">
                  <c:v>627.125</c:v>
                </c:pt>
                <c:pt idx="16">
                  <c:v>450.67857142857139</c:v>
                </c:pt>
                <c:pt idx="17">
                  <c:v>210.33333333333329</c:v>
                </c:pt>
                <c:pt idx="18">
                  <c:v>264.47826086956519</c:v>
                </c:pt>
                <c:pt idx="19">
                  <c:v>339.72727272727269</c:v>
                </c:pt>
                <c:pt idx="20">
                  <c:v>339.18181818181819</c:v>
                </c:pt>
              </c:numCache>
            </c:numRef>
          </c:yVal>
          <c:bubbleSize>
            <c:numRef>
              <c:f>Sheet1!$C$2:$C$22</c:f>
              <c:numCache>
                <c:formatCode>General</c:formatCode>
                <c:ptCount val="21"/>
                <c:pt idx="0">
                  <c:v>4902.7524000000003</c:v>
                </c:pt>
                <c:pt idx="1">
                  <c:v>7855.2091999999993</c:v>
                </c:pt>
                <c:pt idx="2">
                  <c:v>9578.7224000000006</c:v>
                </c:pt>
                <c:pt idx="3">
                  <c:v>15687.0903</c:v>
                </c:pt>
                <c:pt idx="4">
                  <c:v>55666.577599999997</c:v>
                </c:pt>
                <c:pt idx="5">
                  <c:v>50401.209000000003</c:v>
                </c:pt>
                <c:pt idx="6">
                  <c:v>3745.462500000001</c:v>
                </c:pt>
                <c:pt idx="7">
                  <c:v>4340</c:v>
                </c:pt>
                <c:pt idx="8">
                  <c:v>8243.9351999999999</c:v>
                </c:pt>
                <c:pt idx="9">
                  <c:v>1940.376</c:v>
                </c:pt>
                <c:pt idx="10">
                  <c:v>2723.3622</c:v>
                </c:pt>
                <c:pt idx="11">
                  <c:v>1067.0762999999999</c:v>
                </c:pt>
                <c:pt idx="12">
                  <c:v>14275.365</c:v>
                </c:pt>
                <c:pt idx="13">
                  <c:v>707509.91910000006</c:v>
                </c:pt>
                <c:pt idx="14">
                  <c:v>72774.786599999992</c:v>
                </c:pt>
                <c:pt idx="15">
                  <c:v>3846.6660000000002</c:v>
                </c:pt>
                <c:pt idx="16">
                  <c:v>10077.9148</c:v>
                </c:pt>
                <c:pt idx="17">
                  <c:v>1152.45</c:v>
                </c:pt>
                <c:pt idx="18">
                  <c:v>10311.304099999999</c:v>
                </c:pt>
                <c:pt idx="19">
                  <c:v>1987.3931</c:v>
                </c:pt>
                <c:pt idx="20">
                  <c:v>2800.0599000000002</c:v>
                </c:pt>
              </c:numCache>
            </c:numRef>
          </c:bubbleSize>
          <c:bubble3D val="0"/>
          <c:extLst>
            <c:ext xmlns:c15="http://schemas.microsoft.com/office/drawing/2012/chart" uri="{02D57815-91ED-43cb-92C2-25804820EDAC}">
              <c15:datalabelsRange>
                <c15:f>Sheet1!$E$2:$E$21</c15:f>
                <c15:dlblRangeCache>
                  <c:ptCount val="20"/>
                  <c:pt idx="0">
                    <c:v>1/2 CHAMP NICOLAS BLC/BLC BS 1CT X 375ML</c:v>
                  </c:pt>
                  <c:pt idx="1">
                    <c:v>1/2 CHAMP NICOLAS ROSE 1E C BS 1CT X 375ML</c:v>
                  </c:pt>
                  <c:pt idx="2">
                    <c:v>MG CHAMPAGNE NICOLAS BLC/BL BS 1CT X 1500ML</c:v>
                  </c:pt>
                  <c:pt idx="3">
                    <c:v>MG CHAMPAGNE E.NICOLAS BRUT 1CT X 1500ML</c:v>
                  </c:pt>
                  <c:pt idx="4">
                    <c:v>CHAMPAGNE E.NICOLAS ROSE 1CT X 750ML</c:v>
                  </c:pt>
                  <c:pt idx="5">
                    <c:v>CHAMPAGNE NICOLAS 1ERE CUVEE 1CT X 750ML</c:v>
                  </c:pt>
                  <c:pt idx="6">
                    <c:v>MG CHAMPAGNE NICOLAS 1ERE CUVE 1CT X 1500ML</c:v>
                  </c:pt>
                  <c:pt idx="7">
                    <c:v>CHAMPAGNE NICOLAS BIO NAT 2017 1CT X 750ML</c:v>
                  </c:pt>
                  <c:pt idx="8">
                    <c:v>CHAMPAGNE NICOLAS BLC DE NOIRS 1CT X 750ML</c:v>
                  </c:pt>
                  <c:pt idx="9">
                    <c:v>CHAMPAGNE NICOLAS ROSE 1E C BS 1CT X 750ML</c:v>
                  </c:pt>
                  <c:pt idx="10">
                    <c:v>CHAMPAGNE NICOLAS ROSE 1ERE ET 1CT X 750ML</c:v>
                  </c:pt>
                  <c:pt idx="11">
                    <c:v>CHAMPAGNE NICOLAS BLC/BL BS ET 1CT X 750ML</c:v>
                  </c:pt>
                  <c:pt idx="12">
                    <c:v>1/2 CHAMPAGNE NICOLAS 1ERE CUV 1CT X 375ML</c:v>
                  </c:pt>
                  <c:pt idx="13">
                    <c:v>CHAMPAGNE E.NICOLAS BRUT 1CT X 750ML</c:v>
                  </c:pt>
                  <c:pt idx="14">
                    <c:v>CHAMPAGNE NICOLAS BLC/BLC BS 1CT X 750ML</c:v>
                  </c:pt>
                  <c:pt idx="15">
                    <c:v>CHAMPAGNE NICOLAS BLC/BLC 2002 1CT X 750ML</c:v>
                  </c:pt>
                  <c:pt idx="16">
                    <c:v>CHAMPAGNE NICOLAS ROSE 1ERE CU 1CT X 750ML</c:v>
                  </c:pt>
                  <c:pt idx="17">
                    <c:v>MG CHAMPAGNE NICOLAS 1E CRU BS 1CT X 1500ML</c:v>
                  </c:pt>
                  <c:pt idx="18">
                    <c:v>CHAMPAGNE NICOLAS 1ER CRU BS 1CT X 750ML</c:v>
                  </c:pt>
                  <c:pt idx="19">
                    <c:v>CHAMPAGNE NICOLAS 1ERE CUV ETU 1CT X 750ML</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Nicolas</c:v>
                </c:pt>
                <c:pt idx="2">
                  <c:v>Malard</c:v>
                </c:pt>
                <c:pt idx="3">
                  <c:v>Besserat De Bellefon</c:v>
                </c:pt>
                <c:pt idx="4">
                  <c:v>Henriot</c:v>
                </c:pt>
                <c:pt idx="5">
                  <c:v>Delamotte</c:v>
                </c:pt>
                <c:pt idx="6">
                  <c:v>De Bligny</c:v>
                </c:pt>
                <c:pt idx="7">
                  <c:v>Ayala</c:v>
                </c:pt>
                <c:pt idx="8">
                  <c:v>De Venoge</c:v>
                </c:pt>
                <c:pt idx="9">
                  <c:v>Others</c:v>
                </c:pt>
              </c:strCache>
            </c:strRef>
          </c:cat>
          <c:val>
            <c:numRef>
              <c:f>Sheet1!$B$2:$B$11</c:f>
              <c:numCache>
                <c:formatCode>General</c:formatCode>
                <c:ptCount val="10"/>
                <c:pt idx="0">
                  <c:v>0.6395108934721333</c:v>
                </c:pt>
                <c:pt idx="1">
                  <c:v>7.3736726978315265E-2</c:v>
                </c:pt>
                <c:pt idx="2">
                  <c:v>6.0635301402929706E-2</c:v>
                </c:pt>
                <c:pt idx="3">
                  <c:v>4.5261292026016475E-2</c:v>
                </c:pt>
                <c:pt idx="4">
                  <c:v>3.7014658566328282E-2</c:v>
                </c:pt>
                <c:pt idx="5">
                  <c:v>3.2798153876368634E-2</c:v>
                </c:pt>
                <c:pt idx="6">
                  <c:v>2.0526401752334458E-2</c:v>
                </c:pt>
                <c:pt idx="7">
                  <c:v>2.031497530519057E-2</c:v>
                </c:pt>
                <c:pt idx="8">
                  <c:v>1.6032337224181174E-2</c:v>
                </c:pt>
                <c:pt idx="9">
                  <c:v>5.4169259396202138E-2</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Nicolas</c:v>
                </c:pt>
                <c:pt idx="2">
                  <c:v>Malard</c:v>
                </c:pt>
                <c:pt idx="3">
                  <c:v>Besserat De Bellefon</c:v>
                </c:pt>
                <c:pt idx="4">
                  <c:v>Henriot</c:v>
                </c:pt>
                <c:pt idx="5">
                  <c:v>Delamotte</c:v>
                </c:pt>
                <c:pt idx="6">
                  <c:v>De Bligny</c:v>
                </c:pt>
                <c:pt idx="7">
                  <c:v>Ayala</c:v>
                </c:pt>
                <c:pt idx="8">
                  <c:v>De Venoge</c:v>
                </c:pt>
                <c:pt idx="9">
                  <c:v>Others</c:v>
                </c:pt>
              </c:strCache>
            </c:strRef>
          </c:cat>
          <c:val>
            <c:numRef>
              <c:f>Sheet1!$C$2:$C$11</c:f>
              <c:numCache>
                <c:formatCode>General</c:formatCode>
                <c:ptCount val="10"/>
                <c:pt idx="0">
                  <c:v>0.27455357142857145</c:v>
                </c:pt>
                <c:pt idx="1">
                  <c:v>0.14285714285714288</c:v>
                </c:pt>
                <c:pt idx="2">
                  <c:v>7.8125E-2</c:v>
                </c:pt>
                <c:pt idx="3">
                  <c:v>5.6919642857142863E-2</c:v>
                </c:pt>
                <c:pt idx="4">
                  <c:v>9.375E-2</c:v>
                </c:pt>
                <c:pt idx="5">
                  <c:v>5.4687500000000007E-2</c:v>
                </c:pt>
                <c:pt idx="6">
                  <c:v>6.1383928571428582E-2</c:v>
                </c:pt>
                <c:pt idx="7">
                  <c:v>5.1339285714285719E-2</c:v>
                </c:pt>
                <c:pt idx="8">
                  <c:v>4.6875E-2</c:v>
                </c:pt>
                <c:pt idx="9">
                  <c:v>0.1395089285714286</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Nicolas</c:v>
                </c:pt>
                <c:pt idx="2">
                  <c:v>Malard</c:v>
                </c:pt>
                <c:pt idx="3">
                  <c:v>Besserat De Bellefon</c:v>
                </c:pt>
                <c:pt idx="4">
                  <c:v>Henriot</c:v>
                </c:pt>
                <c:pt idx="5">
                  <c:v>Delamotte</c:v>
                </c:pt>
                <c:pt idx="6">
                  <c:v>De Bligny</c:v>
                </c:pt>
                <c:pt idx="7">
                  <c:v>Ayala</c:v>
                </c:pt>
                <c:pt idx="8">
                  <c:v>De Venoge</c:v>
                </c:pt>
                <c:pt idx="9">
                  <c:v>Others</c:v>
                </c:pt>
              </c:strCache>
            </c:strRef>
          </c:cat>
          <c:val>
            <c:numRef>
              <c:f>Sheet1!$D$2:$D$11</c:f>
              <c:numCache>
                <c:formatCode>General</c:formatCode>
                <c:ptCount val="10"/>
                <c:pt idx="0">
                  <c:v>42.931805264163984</c:v>
                </c:pt>
                <c:pt idx="1">
                  <c:v>193.7394683915856</c:v>
                </c:pt>
                <c:pt idx="2">
                  <c:v>128.84408618809181</c:v>
                </c:pt>
                <c:pt idx="3">
                  <c:v>125.75788341266329</c:v>
                </c:pt>
                <c:pt idx="4">
                  <c:v>253.27803532755823</c:v>
                </c:pt>
                <c:pt idx="5">
                  <c:v>166.73956773952099</c:v>
                </c:pt>
                <c:pt idx="6">
                  <c:v>299.04865602880164</c:v>
                </c:pt>
                <c:pt idx="7">
                  <c:v>252.71645642201838</c:v>
                </c:pt>
                <c:pt idx="8">
                  <c:v>292.37783203124997</c:v>
                </c:pt>
                <c:pt idx="9">
                  <c:v>257.5426175776914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9BC2BA74-5B2C-4D99-B4B9-CC2438F6A69D}"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D89F03F6-5869-4F49-B891-E4431165121C}"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5209DB9E-45F7-473E-9BDE-3D4224884EE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B761286B-A7DB-4C06-9DC3-C28091199CCC}"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D286F022-1CB9-4283-B2E6-AF3FE7655FDC}"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861683E1-3EB9-4A08-99FE-E3015DF0FA2A}"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D1A4A8A9-BAB8-442D-9B99-0577E6CA7CED}"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FC8B42E0-3E95-4736-B6D2-467EBD82A3EC}"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61D2E690-F995-460F-930E-36F3C570761F}"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B9CD9182-71C7-4190-ADC1-F8BD0AA0BBD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7</c:f>
              <c:numCache>
                <c:formatCode>General</c:formatCode>
                <c:ptCount val="16"/>
                <c:pt idx="0">
                  <c:v>0.33</c:v>
                </c:pt>
                <c:pt idx="1">
                  <c:v>0.35</c:v>
                </c:pt>
                <c:pt idx="2">
                  <c:v>0.2</c:v>
                </c:pt>
                <c:pt idx="3">
                  <c:v>0.28000000000000003</c:v>
                </c:pt>
                <c:pt idx="4">
                  <c:v>0.56000000000000005</c:v>
                </c:pt>
                <c:pt idx="5">
                  <c:v>0.77</c:v>
                </c:pt>
                <c:pt idx="6">
                  <c:v>0.19</c:v>
                </c:pt>
                <c:pt idx="7">
                  <c:v>0.3</c:v>
                </c:pt>
                <c:pt idx="8">
                  <c:v>0.37</c:v>
                </c:pt>
                <c:pt idx="9">
                  <c:v>0.49</c:v>
                </c:pt>
                <c:pt idx="10">
                  <c:v>1</c:v>
                </c:pt>
                <c:pt idx="11">
                  <c:v>0.51</c:v>
                </c:pt>
                <c:pt idx="12">
                  <c:v>0.13</c:v>
                </c:pt>
                <c:pt idx="13">
                  <c:v>0.42</c:v>
                </c:pt>
                <c:pt idx="14">
                  <c:v>0.39</c:v>
                </c:pt>
                <c:pt idx="15">
                  <c:v>0.16</c:v>
                </c:pt>
              </c:numCache>
            </c:numRef>
          </c:xVal>
          <c:yVal>
            <c:numRef>
              <c:f>Sheet1!$B$2:$B$17</c:f>
              <c:numCache>
                <c:formatCode>General</c:formatCode>
                <c:ptCount val="16"/>
                <c:pt idx="0">
                  <c:v>217.27272727272731</c:v>
                </c:pt>
                <c:pt idx="1">
                  <c:v>204.14285714285711</c:v>
                </c:pt>
                <c:pt idx="2">
                  <c:v>248.9</c:v>
                </c:pt>
                <c:pt idx="3">
                  <c:v>337.32142857142861</c:v>
                </c:pt>
                <c:pt idx="4">
                  <c:v>468.76785714285711</c:v>
                </c:pt>
                <c:pt idx="5">
                  <c:v>280.97402597402589</c:v>
                </c:pt>
                <c:pt idx="6">
                  <c:v>243.15789473684211</c:v>
                </c:pt>
                <c:pt idx="7">
                  <c:v>315.39999999999998</c:v>
                </c:pt>
                <c:pt idx="8">
                  <c:v>73.270270270270274</c:v>
                </c:pt>
                <c:pt idx="9">
                  <c:v>281.55102040816331</c:v>
                </c:pt>
                <c:pt idx="10">
                  <c:v>4501.0200000000004</c:v>
                </c:pt>
                <c:pt idx="11">
                  <c:v>631.52941176470586</c:v>
                </c:pt>
                <c:pt idx="12">
                  <c:v>263.92307692307691</c:v>
                </c:pt>
                <c:pt idx="13">
                  <c:v>175.04761904761901</c:v>
                </c:pt>
                <c:pt idx="14">
                  <c:v>102.3333333333333</c:v>
                </c:pt>
                <c:pt idx="15">
                  <c:v>182.625</c:v>
                </c:pt>
              </c:numCache>
            </c:numRef>
          </c:yVal>
          <c:bubbleSize>
            <c:numRef>
              <c:f>Sheet1!$C$2:$C$17</c:f>
              <c:numCache>
                <c:formatCode>General</c:formatCode>
                <c:ptCount val="16"/>
                <c:pt idx="0">
                  <c:v>2985.8868000000002</c:v>
                </c:pt>
                <c:pt idx="1">
                  <c:v>5452.527</c:v>
                </c:pt>
                <c:pt idx="2">
                  <c:v>3637.1163999999999</c:v>
                </c:pt>
                <c:pt idx="3">
                  <c:v>7693.3367999999991</c:v>
                </c:pt>
                <c:pt idx="4">
                  <c:v>21791.631799999999</c:v>
                </c:pt>
                <c:pt idx="5">
                  <c:v>17890.1122</c:v>
                </c:pt>
                <c:pt idx="6">
                  <c:v>2189.6550000000002</c:v>
                </c:pt>
                <c:pt idx="7">
                  <c:v>4262.5</c:v>
                </c:pt>
                <c:pt idx="8">
                  <c:v>2141.886</c:v>
                </c:pt>
                <c:pt idx="9">
                  <c:v>11122.71</c:v>
                </c:pt>
                <c:pt idx="10">
                  <c:v>358993.02679999999</c:v>
                </c:pt>
                <c:pt idx="11">
                  <c:v>24585.891299999999</c:v>
                </c:pt>
                <c:pt idx="12">
                  <c:v>2521.6662000000001</c:v>
                </c:pt>
                <c:pt idx="13">
                  <c:v>5571.3715999999986</c:v>
                </c:pt>
                <c:pt idx="14">
                  <c:v>2999.828</c:v>
                </c:pt>
                <c:pt idx="15">
                  <c:v>2153.1293999999998</c:v>
                </c:pt>
              </c:numCache>
            </c:numRef>
          </c:bubbleSize>
          <c:bubble3D val="0"/>
          <c:extLst>
            <c:ext xmlns:c15="http://schemas.microsoft.com/office/drawing/2012/chart" uri="{02D57815-91ED-43cb-92C2-25804820EDAC}">
              <c15:datalabelsRange>
                <c15:f>Sheet1!$E$2:$E$21</c15:f>
                <c15:dlblRangeCache>
                  <c:ptCount val="20"/>
                  <c:pt idx="0">
                    <c:v>1/2 CHAMP NICOLAS BLC/BLC BS 1CT X 375ML</c:v>
                  </c:pt>
                  <c:pt idx="1">
                    <c:v>1/2 CHAMP NICOLAS ROSE 1E C BS 1CT X 375ML</c:v>
                  </c:pt>
                  <c:pt idx="2">
                    <c:v>MG CHAMPAGNE NICOLAS BLC/BL BS 1CT X 1500ML</c:v>
                  </c:pt>
                  <c:pt idx="3">
                    <c:v>MG CHAMPAGNE E.NICOLAS BRUT 1CT X 1500ML</c:v>
                  </c:pt>
                  <c:pt idx="4">
                    <c:v>CHAMPAGNE E.NICOLAS ROSE 1CT X 750ML</c:v>
                  </c:pt>
                  <c:pt idx="5">
                    <c:v>CHAMPAGNE NICOLAS 1ERE CUVEE 1CT X 750ML</c:v>
                  </c:pt>
                  <c:pt idx="6">
                    <c:v>MG CHAMPAGNE NICOLAS 1ERE CUVE 1CT X 1500ML</c:v>
                  </c:pt>
                  <c:pt idx="7">
                    <c:v>CHAMPAGNE NICOLAS BIO NAT 2017 1CT X 750ML</c:v>
                  </c:pt>
                  <c:pt idx="8">
                    <c:v>CHAMPAGNE NICOLAS BLC DE NOIRS 1CT X 750ML</c:v>
                  </c:pt>
                  <c:pt idx="9">
                    <c:v>1/2 CHAMPAGNE NICOLAS 1ERE CUV 1CT X 375ML</c:v>
                  </c:pt>
                  <c:pt idx="10">
                    <c:v>CHAMPAGNE E.NICOLAS BRUT 1CT X 750ML</c:v>
                  </c:pt>
                  <c:pt idx="11">
                    <c:v>CHAMPAGNE NICOLAS BLC/BLC BS 1CT X 750ML</c:v>
                  </c:pt>
                  <c:pt idx="12">
                    <c:v>CHAMPAGNE NICOLAS BLC/BLC 2002 1CT X 750ML</c:v>
                  </c:pt>
                  <c:pt idx="13">
                    <c:v>CHAMPAGNE NICOLAS ROSE 1ERE CU 1CT X 750ML</c:v>
                  </c:pt>
                  <c:pt idx="14">
                    <c:v>CHAMPAGNE NICOLAS 1ER CRU BS 1CT X 750ML</c:v>
                  </c:pt>
                  <c:pt idx="15">
                    <c:v>CHAMPAGNE NICOLAS 1ER CRU ETUI 1CT X 750ML</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7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492BAF42-F5B4-4117-94A9-BCBE317F7CC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CE4F6299-6CA1-434A-B5E8-C46E139C2A1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BCF35C5B-EA35-4976-A59B-6F9B27CA5DD0}"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11C28630-5F09-4486-BE10-9C71EBFFC3FC}"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AA18CA1A-3CA0-4CDD-BBC1-7201A7541FC9}"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A5EAD853-E2B9-4275-A25B-D7582FC3886B}"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9E0E294E-DA63-468B-800E-A92E0DA09E87}"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48811F1C-2254-401D-8711-E98D8EC3E7A9}"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B746D541-F891-4B76-A7D7-8C440E3F6C3D}"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6D6C8BA8-4986-4F93-A8B5-6F4F481122F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6</c:f>
              <c:numCache>
                <c:formatCode>General</c:formatCode>
                <c:ptCount val="15"/>
                <c:pt idx="0">
                  <c:v>0.39</c:v>
                </c:pt>
                <c:pt idx="1">
                  <c:v>0.44</c:v>
                </c:pt>
                <c:pt idx="2">
                  <c:v>0.19</c:v>
                </c:pt>
                <c:pt idx="3">
                  <c:v>0.28000000000000003</c:v>
                </c:pt>
                <c:pt idx="4">
                  <c:v>0.64</c:v>
                </c:pt>
                <c:pt idx="5">
                  <c:v>0.6</c:v>
                </c:pt>
                <c:pt idx="6">
                  <c:v>0.15</c:v>
                </c:pt>
                <c:pt idx="7">
                  <c:v>0.23</c:v>
                </c:pt>
                <c:pt idx="8">
                  <c:v>0.43</c:v>
                </c:pt>
                <c:pt idx="9">
                  <c:v>1</c:v>
                </c:pt>
                <c:pt idx="10">
                  <c:v>0.59</c:v>
                </c:pt>
                <c:pt idx="11">
                  <c:v>0.28000000000000003</c:v>
                </c:pt>
                <c:pt idx="12">
                  <c:v>0.38</c:v>
                </c:pt>
                <c:pt idx="13">
                  <c:v>0.2</c:v>
                </c:pt>
                <c:pt idx="14">
                  <c:v>0.4</c:v>
                </c:pt>
              </c:numCache>
            </c:numRef>
          </c:xVal>
          <c:yVal>
            <c:numRef>
              <c:f>Sheet1!$B$2:$B$16</c:f>
              <c:numCache>
                <c:formatCode>General</c:formatCode>
                <c:ptCount val="15"/>
                <c:pt idx="0">
                  <c:v>132.2051282051282</c:v>
                </c:pt>
                <c:pt idx="1">
                  <c:v>67.909090909090907</c:v>
                </c:pt>
                <c:pt idx="2">
                  <c:v>150.4736842105263</c:v>
                </c:pt>
                <c:pt idx="3">
                  <c:v>194</c:v>
                </c:pt>
                <c:pt idx="4">
                  <c:v>283.578125</c:v>
                </c:pt>
                <c:pt idx="5">
                  <c:v>169.55</c:v>
                </c:pt>
                <c:pt idx="6">
                  <c:v>280.66666666666669</c:v>
                </c:pt>
                <c:pt idx="7">
                  <c:v>133.56521739130429</c:v>
                </c:pt>
                <c:pt idx="8">
                  <c:v>136.18604651162789</c:v>
                </c:pt>
                <c:pt idx="9">
                  <c:v>2484.3200000000002</c:v>
                </c:pt>
                <c:pt idx="10">
                  <c:v>394.05084745762713</c:v>
                </c:pt>
                <c:pt idx="11">
                  <c:v>51.499999999999993</c:v>
                </c:pt>
                <c:pt idx="12">
                  <c:v>100.0263157894737</c:v>
                </c:pt>
                <c:pt idx="13">
                  <c:v>95.55</c:v>
                </c:pt>
                <c:pt idx="14">
                  <c:v>61.825000000000003</c:v>
                </c:pt>
              </c:numCache>
            </c:numRef>
          </c:yVal>
          <c:bubbleSize>
            <c:numRef>
              <c:f>Sheet1!$C$2:$C$16</c:f>
              <c:numCache>
                <c:formatCode>General</c:formatCode>
                <c:ptCount val="15"/>
                <c:pt idx="0">
                  <c:v>1787.8458000000001</c:v>
                </c:pt>
                <c:pt idx="1">
                  <c:v>2227.174</c:v>
                </c:pt>
                <c:pt idx="2">
                  <c:v>2024.117</c:v>
                </c:pt>
                <c:pt idx="3">
                  <c:v>4340.8356000000003</c:v>
                </c:pt>
                <c:pt idx="4">
                  <c:v>15041.642599999999</c:v>
                </c:pt>
                <c:pt idx="5">
                  <c:v>8259.4321</c:v>
                </c:pt>
                <c:pt idx="6">
                  <c:v>2053.75</c:v>
                </c:pt>
                <c:pt idx="7">
                  <c:v>2451.4416000000001</c:v>
                </c:pt>
                <c:pt idx="8">
                  <c:v>4704.8100000000004</c:v>
                </c:pt>
                <c:pt idx="9">
                  <c:v>198113.8518</c:v>
                </c:pt>
                <c:pt idx="10">
                  <c:v>17628.3279</c:v>
                </c:pt>
                <c:pt idx="11">
                  <c:v>1093.3332</c:v>
                </c:pt>
                <c:pt idx="12">
                  <c:v>2900.6026000000002</c:v>
                </c:pt>
                <c:pt idx="13">
                  <c:v>1478.8743999999999</c:v>
                </c:pt>
                <c:pt idx="14">
                  <c:v>1875.0716</c:v>
                </c:pt>
              </c:numCache>
            </c:numRef>
          </c:bubbleSize>
          <c:bubble3D val="0"/>
          <c:extLst>
            <c:ext xmlns:c15="http://schemas.microsoft.com/office/drawing/2012/chart" uri="{02D57815-91ED-43cb-92C2-25804820EDAC}">
              <c15:datalabelsRange>
                <c15:f>Sheet1!$E$2:$E$21</c15:f>
                <c15:dlblRangeCache>
                  <c:ptCount val="20"/>
                  <c:pt idx="0">
                    <c:v>1/2 CHAMP NICOLAS BLC/BLC BS 1CT X 375ML</c:v>
                  </c:pt>
                  <c:pt idx="1">
                    <c:v>1/2 CHAMP NICOLAS ROSE 1E C BS 1CT X 375ML</c:v>
                  </c:pt>
                  <c:pt idx="2">
                    <c:v>MG CHAMPAGNE NICOLAS BLC/BL BS 1CT X 1500ML</c:v>
                  </c:pt>
                  <c:pt idx="3">
                    <c:v>MG CHAMPAGNE E.NICOLAS BRUT 1CT X 1500ML</c:v>
                  </c:pt>
                  <c:pt idx="4">
                    <c:v>CHAMPAGNE E.NICOLAS ROSE 1CT X 750ML</c:v>
                  </c:pt>
                  <c:pt idx="5">
                    <c:v>CHAMPAGNE NICOLAS 1ERE CUVEE 1CT X 750ML</c:v>
                  </c:pt>
                  <c:pt idx="6">
                    <c:v>CHAMPAGNE NICOLAS BIO NAT 2017 1CT X 750ML</c:v>
                  </c:pt>
                  <c:pt idx="7">
                    <c:v>CHAMPAGNE NICOLAS BLC DE NOIRS 1CT X 750ML</c:v>
                  </c:pt>
                  <c:pt idx="8">
                    <c:v>1/2 CHAMPAGNE NICOLAS 1ERE CUV 1CT X 375ML</c:v>
                  </c:pt>
                  <c:pt idx="9">
                    <c:v>CHAMPAGNE E.NICOLAS BRUT 1CT X 750ML</c:v>
                  </c:pt>
                  <c:pt idx="10">
                    <c:v>CHAMPAGNE NICOLAS BLC/BLC BS 1CT X 750ML</c:v>
                  </c:pt>
                  <c:pt idx="11">
                    <c:v>CHAMPAGNE NICOLAS BLC/BLC 2002 1CT X 750ML</c:v>
                  </c:pt>
                  <c:pt idx="12">
                    <c:v>CHAMPAGNE NICOLAS ROSE 1ERE CU 1CT X 750ML</c:v>
                  </c:pt>
                  <c:pt idx="13">
                    <c:v>CHAMPAGNE NICOLAS 1ER CRU BS 1CT X 750ML</c:v>
                  </c:pt>
                  <c:pt idx="14">
                    <c:v>CHAMPAGNE NICOLAS 1ER CRU ETUI 1CT X 750ML</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7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5E3E572C-14FB-4EB1-8187-2435858E670B}"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779737ED-E3D2-41E1-A140-FD18A426ADE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E0B8E762-C838-4783-8138-165A850DB41E}"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6A873E16-752C-4E8D-A2D7-652767E5233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5D51F006-B6A7-4AEE-8A84-6C17D7738C23}"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2FFC7FC7-00F0-4CB8-ABF8-A069DD1B7490}"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7FF2A573-8BD4-432B-8779-EF85F02EA3EB}"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05A5E669-FF62-4370-9AC0-966D46F302AB}"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D034A5F5-0407-4F86-A4C6-A38AA0BFB0AA}"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F52DF542-9CDE-4449-B378-50A618D4A5F8}"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2</c:f>
              <c:numCache>
                <c:formatCode>General</c:formatCode>
                <c:ptCount val="11"/>
                <c:pt idx="0">
                  <c:v>0.53</c:v>
                </c:pt>
                <c:pt idx="1">
                  <c:v>0.43</c:v>
                </c:pt>
                <c:pt idx="2">
                  <c:v>0.34</c:v>
                </c:pt>
                <c:pt idx="3">
                  <c:v>0.35</c:v>
                </c:pt>
                <c:pt idx="4">
                  <c:v>0.82</c:v>
                </c:pt>
                <c:pt idx="5">
                  <c:v>0.76</c:v>
                </c:pt>
                <c:pt idx="6">
                  <c:v>0.23</c:v>
                </c:pt>
                <c:pt idx="7">
                  <c:v>0.61</c:v>
                </c:pt>
                <c:pt idx="8">
                  <c:v>1</c:v>
                </c:pt>
                <c:pt idx="9">
                  <c:v>0.65</c:v>
                </c:pt>
                <c:pt idx="10">
                  <c:v>0.39</c:v>
                </c:pt>
              </c:numCache>
            </c:numRef>
          </c:xVal>
          <c:yVal>
            <c:numRef>
              <c:f>Sheet1!$B$2:$B$12</c:f>
              <c:numCache>
                <c:formatCode>General</c:formatCode>
                <c:ptCount val="11"/>
                <c:pt idx="0">
                  <c:v>50.150943396226417</c:v>
                </c:pt>
                <c:pt idx="1">
                  <c:v>48.139534883720927</c:v>
                </c:pt>
                <c:pt idx="2">
                  <c:v>103.61764705882349</c:v>
                </c:pt>
                <c:pt idx="3">
                  <c:v>117.4</c:v>
                </c:pt>
                <c:pt idx="4">
                  <c:v>163.08536585365849</c:v>
                </c:pt>
                <c:pt idx="5">
                  <c:v>134.71052631578951</c:v>
                </c:pt>
                <c:pt idx="6">
                  <c:v>78.130434782608702</c:v>
                </c:pt>
                <c:pt idx="7">
                  <c:v>38.918032786885249</c:v>
                </c:pt>
                <c:pt idx="8">
                  <c:v>1744.57</c:v>
                </c:pt>
                <c:pt idx="9">
                  <c:v>276.32307692307688</c:v>
                </c:pt>
                <c:pt idx="10">
                  <c:v>61.307692307692307</c:v>
                </c:pt>
              </c:numCache>
            </c:numRef>
          </c:yVal>
          <c:bubbleSize>
            <c:numRef>
              <c:f>Sheet1!$C$2:$C$12</c:f>
              <c:numCache>
                <c:formatCode>General</c:formatCode>
                <c:ptCount val="11"/>
                <c:pt idx="0">
                  <c:v>1105.884</c:v>
                </c:pt>
                <c:pt idx="1">
                  <c:v>1486.9084</c:v>
                </c:pt>
                <c:pt idx="2">
                  <c:v>2565.979600000001</c:v>
                </c:pt>
                <c:pt idx="3">
                  <c:v>3277.9178999999999</c:v>
                </c:pt>
                <c:pt idx="4">
                  <c:v>11041.648999999999</c:v>
                </c:pt>
                <c:pt idx="5">
                  <c:v>8494.0993000000017</c:v>
                </c:pt>
                <c:pt idx="6">
                  <c:v>1410.2208000000001</c:v>
                </c:pt>
                <c:pt idx="7">
                  <c:v>1817.7974999999999</c:v>
                </c:pt>
                <c:pt idx="8">
                  <c:v>139572.4345</c:v>
                </c:pt>
                <c:pt idx="9">
                  <c:v>13564.0926</c:v>
                </c:pt>
                <c:pt idx="10">
                  <c:v>1884.8882000000001</c:v>
                </c:pt>
              </c:numCache>
            </c:numRef>
          </c:bubbleSize>
          <c:bubble3D val="0"/>
          <c:extLst>
            <c:ext xmlns:c15="http://schemas.microsoft.com/office/drawing/2012/chart" uri="{02D57815-91ED-43cb-92C2-25804820EDAC}">
              <c15:datalabelsRange>
                <c15:f>Sheet1!$E$2:$E$21</c15:f>
                <c15:dlblRangeCache>
                  <c:ptCount val="20"/>
                  <c:pt idx="0">
                    <c:v>1/2 CHAMP NICOLAS BLC/BLC BS 1CT X 375ML</c:v>
                  </c:pt>
                  <c:pt idx="1">
                    <c:v>1/2 CHAMP NICOLAS ROSE 1E C BS 1CT X 375ML</c:v>
                  </c:pt>
                  <c:pt idx="2">
                    <c:v>MG CHAMPAGNE NICOLAS BLC/BL BS 1CT X 1500ML</c:v>
                  </c:pt>
                  <c:pt idx="3">
                    <c:v>MG CHAMPAGNE E.NICOLAS BRUT 1CT X 1500ML</c:v>
                  </c:pt>
                  <c:pt idx="4">
                    <c:v>CHAMPAGNE E.NICOLAS ROSE 1CT X 750ML</c:v>
                  </c:pt>
                  <c:pt idx="5">
                    <c:v>CHAMPAGNE NICOLAS 1ERE CUVEE 1CT X 750ML</c:v>
                  </c:pt>
                  <c:pt idx="6">
                    <c:v>CHAMPAGNE NICOLAS BLC DE NOIRS 1CT X 750ML</c:v>
                  </c:pt>
                  <c:pt idx="7">
                    <c:v>1/2 CHAMPAGNE NICOLAS 1ERE CUV 1CT X 375ML</c:v>
                  </c:pt>
                  <c:pt idx="8">
                    <c:v>CHAMPAGNE E.NICOLAS BRUT 1CT X 750ML</c:v>
                  </c:pt>
                  <c:pt idx="9">
                    <c:v>CHAMPAGNE NICOLAS BLC/BLC BS 1CT X 750ML</c:v>
                  </c:pt>
                  <c:pt idx="10">
                    <c:v>CHAMPAGNE NICOLAS ROSE 1ERE CU 1CT X 750ML</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7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7CEF497A-7DB1-4998-9AAE-1D05D6A7CB07}"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7AA42FBF-FF91-4CCE-9C79-3291EA3C5F9D}"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BF155EAD-5AD9-4990-8027-01F17E0D1376}"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15A83776-58CF-4D41-AB94-B842AE68985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F3702B46-A2B9-4B81-B6F4-1389A4D14665}"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CA1FC102-9C59-4A17-BA7F-673759D8942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A3DEA38E-4542-489A-A48D-96F1F35DB4BF}"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D74B8CEB-7E03-44D2-BE68-D04B97F3BED7}"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2FDA60B9-0A2C-4F06-A5BE-E939D278E8F8}"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181D73DA-FDE9-4B8E-B449-F78BCABA630D}"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dLbl>
              <c:idx val="2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A-B463-4F4A-A6D1-804865EFAA9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22</c:f>
              <c:numCache>
                <c:formatCode>General</c:formatCode>
                <c:ptCount val="21"/>
                <c:pt idx="0">
                  <c:v>0.24</c:v>
                </c:pt>
                <c:pt idx="1">
                  <c:v>0.27</c:v>
                </c:pt>
                <c:pt idx="2">
                  <c:v>0.14000000000000001</c:v>
                </c:pt>
                <c:pt idx="3">
                  <c:v>0.16</c:v>
                </c:pt>
                <c:pt idx="4">
                  <c:v>0.59</c:v>
                </c:pt>
                <c:pt idx="5">
                  <c:v>0.78</c:v>
                </c:pt>
                <c:pt idx="6">
                  <c:v>0.18</c:v>
                </c:pt>
                <c:pt idx="7">
                  <c:v>0.15</c:v>
                </c:pt>
                <c:pt idx="8">
                  <c:v>0.18</c:v>
                </c:pt>
                <c:pt idx="9">
                  <c:v>0.05</c:v>
                </c:pt>
                <c:pt idx="10">
                  <c:v>0.09</c:v>
                </c:pt>
                <c:pt idx="11">
                  <c:v>0.02</c:v>
                </c:pt>
                <c:pt idx="12">
                  <c:v>0.32</c:v>
                </c:pt>
                <c:pt idx="13">
                  <c:v>0.99</c:v>
                </c:pt>
                <c:pt idx="14">
                  <c:v>0.55000000000000004</c:v>
                </c:pt>
                <c:pt idx="15">
                  <c:v>0.04</c:v>
                </c:pt>
                <c:pt idx="16">
                  <c:v>0.33</c:v>
                </c:pt>
                <c:pt idx="17">
                  <c:v>0.04</c:v>
                </c:pt>
                <c:pt idx="18">
                  <c:v>0.32</c:v>
                </c:pt>
                <c:pt idx="19">
                  <c:v>0.11</c:v>
                </c:pt>
                <c:pt idx="20">
                  <c:v>0.18</c:v>
                </c:pt>
              </c:numCache>
            </c:numRef>
          </c:xVal>
          <c:yVal>
            <c:numRef>
              <c:f>Sheet1!$B$2:$B$22</c:f>
              <c:numCache>
                <c:formatCode>General</c:formatCode>
                <c:ptCount val="21"/>
                <c:pt idx="0">
                  <c:v>1603.583333333333</c:v>
                </c:pt>
                <c:pt idx="1">
                  <c:v>1250.962962962963</c:v>
                </c:pt>
                <c:pt idx="2">
                  <c:v>2556.3571428571431</c:v>
                </c:pt>
                <c:pt idx="3">
                  <c:v>3170.375</c:v>
                </c:pt>
                <c:pt idx="4">
                  <c:v>2988.0338983050851</c:v>
                </c:pt>
                <c:pt idx="5">
                  <c:v>2029.1923076923081</c:v>
                </c:pt>
                <c:pt idx="6">
                  <c:v>1121.3888888888889</c:v>
                </c:pt>
                <c:pt idx="7">
                  <c:v>2824.0666666666671</c:v>
                </c:pt>
                <c:pt idx="8">
                  <c:v>1489.3888888888889</c:v>
                </c:pt>
                <c:pt idx="9">
                  <c:v>1025</c:v>
                </c:pt>
                <c:pt idx="10">
                  <c:v>1141.2222222222219</c:v>
                </c:pt>
                <c:pt idx="11">
                  <c:v>2045</c:v>
                </c:pt>
                <c:pt idx="12">
                  <c:v>2088.78125</c:v>
                </c:pt>
                <c:pt idx="13">
                  <c:v>27681.21212121212</c:v>
                </c:pt>
                <c:pt idx="14">
                  <c:v>4890.9272727272719</c:v>
                </c:pt>
                <c:pt idx="15">
                  <c:v>2986</c:v>
                </c:pt>
                <c:pt idx="16">
                  <c:v>1302.878787878788</c:v>
                </c:pt>
                <c:pt idx="17">
                  <c:v>1233.5</c:v>
                </c:pt>
                <c:pt idx="18">
                  <c:v>770.59375</c:v>
                </c:pt>
                <c:pt idx="19">
                  <c:v>879.18181818181813</c:v>
                </c:pt>
                <c:pt idx="20">
                  <c:v>891.5</c:v>
                </c:pt>
              </c:numCache>
            </c:numRef>
          </c:yVal>
          <c:bubbleSize>
            <c:numRef>
              <c:f>Sheet1!$C$2:$C$22</c:f>
              <c:numCache>
                <c:formatCode>General</c:formatCode>
                <c:ptCount val="21"/>
                <c:pt idx="0">
                  <c:v>15261.199199999999</c:v>
                </c:pt>
                <c:pt idx="1">
                  <c:v>26195.250400000001</c:v>
                </c:pt>
                <c:pt idx="2">
                  <c:v>27646.147799999999</c:v>
                </c:pt>
                <c:pt idx="3">
                  <c:v>42099.603300000002</c:v>
                </c:pt>
                <c:pt idx="4">
                  <c:v>146791.43179999999</c:v>
                </c:pt>
                <c:pt idx="5">
                  <c:v>136720.74660000001</c:v>
                </c:pt>
                <c:pt idx="6">
                  <c:v>8470.5074999999997</c:v>
                </c:pt>
                <c:pt idx="7">
                  <c:v>18755</c:v>
                </c:pt>
                <c:pt idx="8">
                  <c:v>21531.75</c:v>
                </c:pt>
                <c:pt idx="9">
                  <c:v>3837.8892000000001</c:v>
                </c:pt>
                <c:pt idx="10">
                  <c:v>7789.3092000000006</c:v>
                </c:pt>
                <c:pt idx="11">
                  <c:v>2162.9924999999998</c:v>
                </c:pt>
                <c:pt idx="12">
                  <c:v>54240.614999999998</c:v>
                </c:pt>
                <c:pt idx="13">
                  <c:v>2186773.7568999999</c:v>
                </c:pt>
                <c:pt idx="14">
                  <c:v>205922.62530000001</c:v>
                </c:pt>
                <c:pt idx="15">
                  <c:v>9431.6645999999982</c:v>
                </c:pt>
                <c:pt idx="16">
                  <c:v>34143.103000000003</c:v>
                </c:pt>
                <c:pt idx="17">
                  <c:v>2881.125</c:v>
                </c:pt>
                <c:pt idx="18">
                  <c:v>20279.3665</c:v>
                </c:pt>
                <c:pt idx="19">
                  <c:v>6039.6102000000001</c:v>
                </c:pt>
                <c:pt idx="20">
                  <c:v>12648.247100000001</c:v>
                </c:pt>
              </c:numCache>
            </c:numRef>
          </c:bubbleSize>
          <c:bubble3D val="0"/>
          <c:extLst>
            <c:ext xmlns:c15="http://schemas.microsoft.com/office/drawing/2012/chart" uri="{02D57815-91ED-43cb-92C2-25804820EDAC}">
              <c15:datalabelsRange>
                <c15:f>Sheet1!$E$2:$E$21</c15:f>
                <c15:dlblRangeCache>
                  <c:ptCount val="20"/>
                  <c:pt idx="0">
                    <c:v>1/2 CHAMP NICOLAS BLC/BLC BS 1CT X 375ML</c:v>
                  </c:pt>
                  <c:pt idx="1">
                    <c:v>1/2 CHAMP NICOLAS ROSE 1E C BS 1CT X 375ML</c:v>
                  </c:pt>
                  <c:pt idx="2">
                    <c:v>MG CHAMPAGNE NICOLAS BLC/BL BS 1CT X 1500ML</c:v>
                  </c:pt>
                  <c:pt idx="3">
                    <c:v>MG CHAMPAGNE E.NICOLAS BRUT 1CT X 1500ML</c:v>
                  </c:pt>
                  <c:pt idx="4">
                    <c:v>CHAMPAGNE E.NICOLAS ROSE 1CT X 750ML</c:v>
                  </c:pt>
                  <c:pt idx="5">
                    <c:v>CHAMPAGNE NICOLAS 1ERE CUVEE 1CT X 750ML</c:v>
                  </c:pt>
                  <c:pt idx="6">
                    <c:v>MG CHAMPAGNE NICOLAS 1ERE CUVE 1CT X 1500ML</c:v>
                  </c:pt>
                  <c:pt idx="7">
                    <c:v>CHAMPAGNE NICOLAS BIO NAT 2017 1CT X 750ML</c:v>
                  </c:pt>
                  <c:pt idx="8">
                    <c:v>CHAMPAGNE NICOLAS BLC DE NOIRS 1CT X 750ML</c:v>
                  </c:pt>
                  <c:pt idx="9">
                    <c:v>CHAMPAGNE NICOLAS ROSE 1E C BS 1CT X 750ML</c:v>
                  </c:pt>
                  <c:pt idx="10">
                    <c:v>CHAMPAGNE NICOLAS ROSE 1ERE ET 1CT X 750ML</c:v>
                  </c:pt>
                  <c:pt idx="11">
                    <c:v>CHAMPAGNE NICOLAS BLC/BL BS ET 1CT X 750ML</c:v>
                  </c:pt>
                  <c:pt idx="12">
                    <c:v>1/2 CHAMPAGNE NICOLAS 1ERE CUV 1CT X 375ML</c:v>
                  </c:pt>
                  <c:pt idx="13">
                    <c:v>CHAMPAGNE E.NICOLAS BRUT 1CT X 750ML</c:v>
                  </c:pt>
                  <c:pt idx="14">
                    <c:v>CHAMPAGNE NICOLAS BLC/BLC BS 1CT X 750ML</c:v>
                  </c:pt>
                  <c:pt idx="15">
                    <c:v>CHAMPAGNE NICOLAS BLC/BLC 2002 1CT X 750ML</c:v>
                  </c:pt>
                  <c:pt idx="16">
                    <c:v>CHAMPAGNE NICOLAS ROSE 1ERE CU 1CT X 750ML</c:v>
                  </c:pt>
                  <c:pt idx="17">
                    <c:v>MG CHAMPAGNE NICOLAS 1E CRU BS 1CT X 1500ML</c:v>
                  </c:pt>
                  <c:pt idx="18">
                    <c:v>CHAMPAGNE NICOLAS 1ER CRU BS 1CT X 750ML</c:v>
                  </c:pt>
                  <c:pt idx="19">
                    <c:v>CHAMPAGNE NICOLAS 1ERE CUV ETU 1CT X 750ML</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7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780882C5-064A-493F-85A8-753E468D002C}"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1A384E46-1E0D-4C4A-9291-B6833265D7E7}"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2A9BA937-6147-4568-85D0-C551702318E7}"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C27683CD-5AB8-431B-B8AE-1133FB09968A}"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90997A85-DEC8-4A88-B1B4-276CFDD17D46}"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B47CB28D-1328-4F07-8EDB-61F86B97D6AE}"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BC3D692D-A862-48D5-9E6D-E35BF2B2C640}"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C5D1F41B-702C-4CC6-8E59-18286169AFA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41516FF4-496F-490F-9482-B30520AAE71D}"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7EE5373A-4D06-4F87-B165-466CACC5823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7</c:f>
              <c:numCache>
                <c:formatCode>General</c:formatCode>
                <c:ptCount val="16"/>
                <c:pt idx="0">
                  <c:v>0.37</c:v>
                </c:pt>
                <c:pt idx="1">
                  <c:v>0.41</c:v>
                </c:pt>
                <c:pt idx="2">
                  <c:v>0.2</c:v>
                </c:pt>
                <c:pt idx="3">
                  <c:v>0.39</c:v>
                </c:pt>
                <c:pt idx="4">
                  <c:v>0.86</c:v>
                </c:pt>
                <c:pt idx="5">
                  <c:v>0.78</c:v>
                </c:pt>
                <c:pt idx="6">
                  <c:v>0.26</c:v>
                </c:pt>
                <c:pt idx="7">
                  <c:v>0.19</c:v>
                </c:pt>
                <c:pt idx="8">
                  <c:v>0.2</c:v>
                </c:pt>
                <c:pt idx="9">
                  <c:v>0.44</c:v>
                </c:pt>
                <c:pt idx="10">
                  <c:v>1</c:v>
                </c:pt>
                <c:pt idx="11">
                  <c:v>0.73</c:v>
                </c:pt>
                <c:pt idx="12">
                  <c:v>0.17</c:v>
                </c:pt>
                <c:pt idx="13">
                  <c:v>0.43</c:v>
                </c:pt>
                <c:pt idx="14">
                  <c:v>0.25</c:v>
                </c:pt>
                <c:pt idx="15">
                  <c:v>0.16</c:v>
                </c:pt>
              </c:numCache>
            </c:numRef>
          </c:xVal>
          <c:yVal>
            <c:numRef>
              <c:f>Sheet1!$B$2:$B$17</c:f>
              <c:numCache>
                <c:formatCode>General</c:formatCode>
                <c:ptCount val="16"/>
                <c:pt idx="0">
                  <c:v>214.32432432432429</c:v>
                </c:pt>
                <c:pt idx="1">
                  <c:v>105.609756097561</c:v>
                </c:pt>
                <c:pt idx="2">
                  <c:v>330.95</c:v>
                </c:pt>
                <c:pt idx="3">
                  <c:v>383.10256410256409</c:v>
                </c:pt>
                <c:pt idx="4">
                  <c:v>355.97674418604652</c:v>
                </c:pt>
                <c:pt idx="5">
                  <c:v>284.11538461538458</c:v>
                </c:pt>
                <c:pt idx="6">
                  <c:v>189.34615384615381</c:v>
                </c:pt>
                <c:pt idx="7">
                  <c:v>262.10526315789468</c:v>
                </c:pt>
                <c:pt idx="8">
                  <c:v>98.5</c:v>
                </c:pt>
                <c:pt idx="9">
                  <c:v>210.5454545454545</c:v>
                </c:pt>
                <c:pt idx="10">
                  <c:v>4592.25</c:v>
                </c:pt>
                <c:pt idx="11">
                  <c:v>578.94520547945206</c:v>
                </c:pt>
                <c:pt idx="12">
                  <c:v>217.29411764705881</c:v>
                </c:pt>
                <c:pt idx="13">
                  <c:v>173.7441860465116</c:v>
                </c:pt>
                <c:pt idx="14">
                  <c:v>174.64</c:v>
                </c:pt>
                <c:pt idx="15">
                  <c:v>138.5625</c:v>
                </c:pt>
              </c:numCache>
            </c:numRef>
          </c:yVal>
          <c:bubbleSize>
            <c:numRef>
              <c:f>Sheet1!$C$2:$C$17</c:f>
              <c:numCache>
                <c:formatCode>General</c:formatCode>
                <c:ptCount val="16"/>
                <c:pt idx="0">
                  <c:v>3354.5148000000008</c:v>
                </c:pt>
                <c:pt idx="1">
                  <c:v>3249.0277999999998</c:v>
                </c:pt>
                <c:pt idx="2">
                  <c:v>4883.0576000000001</c:v>
                </c:pt>
                <c:pt idx="3">
                  <c:v>12278.337600000001</c:v>
                </c:pt>
                <c:pt idx="4">
                  <c:v>25437.459299999999</c:v>
                </c:pt>
                <c:pt idx="5">
                  <c:v>18105.7834</c:v>
                </c:pt>
                <c:pt idx="6">
                  <c:v>2650.6350000000002</c:v>
                </c:pt>
                <c:pt idx="7">
                  <c:v>2518.75</c:v>
                </c:pt>
                <c:pt idx="8">
                  <c:v>1537.248</c:v>
                </c:pt>
                <c:pt idx="9">
                  <c:v>7387.3650000000007</c:v>
                </c:pt>
                <c:pt idx="10">
                  <c:v>368051.65149999998</c:v>
                </c:pt>
                <c:pt idx="11">
                  <c:v>32173.861499999999</c:v>
                </c:pt>
                <c:pt idx="12">
                  <c:v>2753.3327999999992</c:v>
                </c:pt>
                <c:pt idx="13">
                  <c:v>5633.6952000000001</c:v>
                </c:pt>
                <c:pt idx="14">
                  <c:v>3490.2640999999999</c:v>
                </c:pt>
                <c:pt idx="15">
                  <c:v>1556.1465000000001</c:v>
                </c:pt>
              </c:numCache>
            </c:numRef>
          </c:bubbleSize>
          <c:bubble3D val="0"/>
          <c:extLst>
            <c:ext xmlns:c15="http://schemas.microsoft.com/office/drawing/2012/chart" uri="{02D57815-91ED-43cb-92C2-25804820EDAC}">
              <c15:datalabelsRange>
                <c15:f>Sheet1!$E$2:$E$21</c15:f>
                <c15:dlblRangeCache>
                  <c:ptCount val="20"/>
                  <c:pt idx="0">
                    <c:v>1/2 CHAMP NICOLAS BLC/BLC BS 1CT X 375ML</c:v>
                  </c:pt>
                  <c:pt idx="1">
                    <c:v>1/2 CHAMP NICOLAS ROSE 1E C BS 1CT X 375ML</c:v>
                  </c:pt>
                  <c:pt idx="2">
                    <c:v>MG CHAMPAGNE NICOLAS BLC/BL BS 1CT X 1500ML</c:v>
                  </c:pt>
                  <c:pt idx="3">
                    <c:v>MG CHAMPAGNE E.NICOLAS BRUT 1CT X 1500ML</c:v>
                  </c:pt>
                  <c:pt idx="4">
                    <c:v>CHAMPAGNE E.NICOLAS ROSE 1CT X 750ML</c:v>
                  </c:pt>
                  <c:pt idx="5">
                    <c:v>CHAMPAGNE NICOLAS 1ERE CUVEE 1CT X 750ML</c:v>
                  </c:pt>
                  <c:pt idx="6">
                    <c:v>MG CHAMPAGNE NICOLAS 1ERE CUVE 1CT X 1500ML</c:v>
                  </c:pt>
                  <c:pt idx="7">
                    <c:v>CHAMPAGNE NICOLAS BIO NAT 2017 1CT X 750ML</c:v>
                  </c:pt>
                  <c:pt idx="8">
                    <c:v>CHAMPAGNE NICOLAS BLC DE NOIRS 1CT X 750ML</c:v>
                  </c:pt>
                  <c:pt idx="9">
                    <c:v>1/2 CHAMPAGNE NICOLAS 1ERE CUV 1CT X 375ML</c:v>
                  </c:pt>
                  <c:pt idx="10">
                    <c:v>CHAMPAGNE E.NICOLAS BRUT 1CT X 750ML</c:v>
                  </c:pt>
                  <c:pt idx="11">
                    <c:v>CHAMPAGNE NICOLAS BLC/BLC BS 1CT X 750ML</c:v>
                  </c:pt>
                  <c:pt idx="12">
                    <c:v>CHAMPAGNE NICOLAS BLC/BLC 2002 1CT X 750ML</c:v>
                  </c:pt>
                  <c:pt idx="13">
                    <c:v>CHAMPAGNE NICOLAS ROSE 1ERE CU 1CT X 750ML</c:v>
                  </c:pt>
                  <c:pt idx="14">
                    <c:v>CHAMPAGNE NICOLAS 1ER CRU BS 1CT X 750ML</c:v>
                  </c:pt>
                  <c:pt idx="15">
                    <c:v>CHAMPAGNE NICOLAS 1ER CRU ETUI 1CT X 750ML</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7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776DD601-7933-40AB-A9DB-4D50921C7810}"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F1DB137B-A209-47D4-BFDE-E0C28834EB27}"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EF86E839-16A0-4957-9742-4BFEBCFDDF07}"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8714023D-FCF5-4CBA-8732-F2C3C4A1D79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A26D3E02-92D6-4F3B-9B68-2930E93C35A7}"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249C1BF4-9054-4F09-899B-39CE0D56B18E}"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4758EE51-C98D-4EF7-8BEC-680472B7B4FC}"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4A868ECA-9C04-4842-B92D-EF26E5B40C06}"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721C42AE-6BF9-46A8-87F7-855B793BEE22}"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F8334957-E5A8-4E0C-932C-2C39F3C24B9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6</c:f>
              <c:numCache>
                <c:formatCode>General</c:formatCode>
                <c:ptCount val="15"/>
                <c:pt idx="0">
                  <c:v>0.33</c:v>
                </c:pt>
                <c:pt idx="1">
                  <c:v>0.47</c:v>
                </c:pt>
                <c:pt idx="2">
                  <c:v>0.27</c:v>
                </c:pt>
                <c:pt idx="3">
                  <c:v>0.4</c:v>
                </c:pt>
                <c:pt idx="4">
                  <c:v>0.72</c:v>
                </c:pt>
                <c:pt idx="5">
                  <c:v>0.72</c:v>
                </c:pt>
                <c:pt idx="6">
                  <c:v>0.14000000000000001</c:v>
                </c:pt>
                <c:pt idx="7">
                  <c:v>0.26</c:v>
                </c:pt>
                <c:pt idx="8">
                  <c:v>0.33</c:v>
                </c:pt>
                <c:pt idx="9">
                  <c:v>0.56000000000000005</c:v>
                </c:pt>
                <c:pt idx="10">
                  <c:v>1</c:v>
                </c:pt>
                <c:pt idx="11">
                  <c:v>0.63</c:v>
                </c:pt>
                <c:pt idx="12">
                  <c:v>0.19</c:v>
                </c:pt>
                <c:pt idx="13">
                  <c:v>0.5</c:v>
                </c:pt>
                <c:pt idx="14">
                  <c:v>0.33</c:v>
                </c:pt>
              </c:numCache>
            </c:numRef>
          </c:xVal>
          <c:yVal>
            <c:numRef>
              <c:f>Sheet1!$B$2:$B$16</c:f>
              <c:numCache>
                <c:formatCode>General</c:formatCode>
                <c:ptCount val="15"/>
                <c:pt idx="0">
                  <c:v>93.030303030303031</c:v>
                </c:pt>
                <c:pt idx="1">
                  <c:v>66.042553191489361</c:v>
                </c:pt>
                <c:pt idx="2">
                  <c:v>181.44444444444451</c:v>
                </c:pt>
                <c:pt idx="3">
                  <c:v>239.52500000000001</c:v>
                </c:pt>
                <c:pt idx="4">
                  <c:v>238.43055555555549</c:v>
                </c:pt>
                <c:pt idx="5">
                  <c:v>221.125</c:v>
                </c:pt>
                <c:pt idx="6">
                  <c:v>216.78571428571419</c:v>
                </c:pt>
                <c:pt idx="7">
                  <c:v>133.11538461538461</c:v>
                </c:pt>
                <c:pt idx="8">
                  <c:v>92.63636363636364</c:v>
                </c:pt>
                <c:pt idx="9">
                  <c:v>105.625</c:v>
                </c:pt>
                <c:pt idx="10">
                  <c:v>1794.81</c:v>
                </c:pt>
                <c:pt idx="11">
                  <c:v>265.66666666666669</c:v>
                </c:pt>
                <c:pt idx="12">
                  <c:v>106.21052631578949</c:v>
                </c:pt>
                <c:pt idx="13">
                  <c:v>85.72</c:v>
                </c:pt>
                <c:pt idx="14">
                  <c:v>82.030303030303031</c:v>
                </c:pt>
              </c:numCache>
            </c:numRef>
          </c:yVal>
          <c:bubbleSize>
            <c:numRef>
              <c:f>Sheet1!$C$2:$C$16</c:f>
              <c:numCache>
                <c:formatCode>General</c:formatCode>
                <c:ptCount val="15"/>
                <c:pt idx="0">
                  <c:v>1161.1782000000001</c:v>
                </c:pt>
                <c:pt idx="1">
                  <c:v>2279.9875999999999</c:v>
                </c:pt>
                <c:pt idx="2">
                  <c:v>3578.0381000000002</c:v>
                </c:pt>
                <c:pt idx="3">
                  <c:v>7842.5033999999996</c:v>
                </c:pt>
                <c:pt idx="4">
                  <c:v>14208.310600000001</c:v>
                </c:pt>
                <c:pt idx="5">
                  <c:v>12879.6119</c:v>
                </c:pt>
                <c:pt idx="6">
                  <c:v>1382.94</c:v>
                </c:pt>
                <c:pt idx="7">
                  <c:v>1860</c:v>
                </c:pt>
                <c:pt idx="8">
                  <c:v>2357.136</c:v>
                </c:pt>
                <c:pt idx="9">
                  <c:v>4658.1450000000004</c:v>
                </c:pt>
                <c:pt idx="10">
                  <c:v>142884.38889999999</c:v>
                </c:pt>
                <c:pt idx="11">
                  <c:v>12599.8182</c:v>
                </c:pt>
                <c:pt idx="12">
                  <c:v>1324.9998000000001</c:v>
                </c:pt>
                <c:pt idx="13">
                  <c:v>3518.0493999999999</c:v>
                </c:pt>
                <c:pt idx="14">
                  <c:v>1986.3320000000001</c:v>
                </c:pt>
              </c:numCache>
            </c:numRef>
          </c:bubbleSize>
          <c:bubble3D val="0"/>
          <c:extLst>
            <c:ext xmlns:c15="http://schemas.microsoft.com/office/drawing/2012/chart" uri="{02D57815-91ED-43cb-92C2-25804820EDAC}">
              <c15:datalabelsRange>
                <c15:f>Sheet1!$E$2:$E$21</c15:f>
                <c15:dlblRangeCache>
                  <c:ptCount val="20"/>
                  <c:pt idx="0">
                    <c:v>1/2 CHAMP NICOLAS BLC/BLC BS 1CT X 375ML</c:v>
                  </c:pt>
                  <c:pt idx="1">
                    <c:v>1/2 CHAMP NICOLAS ROSE 1E C BS 1CT X 375ML</c:v>
                  </c:pt>
                  <c:pt idx="2">
                    <c:v>MG CHAMPAGNE NICOLAS BLC/BL BS 1CT X 1500ML</c:v>
                  </c:pt>
                  <c:pt idx="3">
                    <c:v>MG CHAMPAGNE E.NICOLAS BRUT 1CT X 1500ML</c:v>
                  </c:pt>
                  <c:pt idx="4">
                    <c:v>CHAMPAGNE E.NICOLAS ROSE 1CT X 750ML</c:v>
                  </c:pt>
                  <c:pt idx="5">
                    <c:v>CHAMPAGNE NICOLAS 1ERE CUVEE 1CT X 750ML</c:v>
                  </c:pt>
                  <c:pt idx="6">
                    <c:v>MG CHAMPAGNE NICOLAS 1ERE CUVE 1CT X 1500ML</c:v>
                  </c:pt>
                  <c:pt idx="7">
                    <c:v>CHAMPAGNE NICOLAS BIO NAT 2017 1CT X 750ML</c:v>
                  </c:pt>
                  <c:pt idx="8">
                    <c:v>CHAMPAGNE NICOLAS BLC DE NOIRS 1CT X 750ML</c:v>
                  </c:pt>
                  <c:pt idx="9">
                    <c:v>1/2 CHAMPAGNE NICOLAS 1ERE CUV 1CT X 375ML</c:v>
                  </c:pt>
                  <c:pt idx="10">
                    <c:v>CHAMPAGNE E.NICOLAS BRUT 1CT X 750ML</c:v>
                  </c:pt>
                  <c:pt idx="11">
                    <c:v>CHAMPAGNE NICOLAS BLC/BLC BS 1CT X 750ML</c:v>
                  </c:pt>
                  <c:pt idx="12">
                    <c:v>CHAMPAGNE NICOLAS BLC/BLC 2002 1CT X 750ML</c:v>
                  </c:pt>
                  <c:pt idx="13">
                    <c:v>CHAMPAGNE NICOLAS ROSE 1ERE CU 1CT X 750ML</c:v>
                  </c:pt>
                  <c:pt idx="14">
                    <c:v>CHAMPAGNE NICOLAS 1ER CRU BS 1CT X 750ML</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7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B0571B96-7555-4696-9699-63D8969726E0}"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B625A8D2-6B7A-49F6-896C-BE176E44459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FC3854FC-BA7B-45B1-A5C2-CFAAD74A9958}"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2FF895FD-DBFA-4434-B750-1B2D31C4D73C}"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D121D7BE-FBB8-44BB-9584-6F5A66BEE8F5}"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63E7ED77-CE35-44FB-9A00-71CEB596119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0106DA9C-6E39-457A-8BC3-87C9FB41401F}"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E1110103-98C6-4EA8-A09B-B44D7F34043F}"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498FFEAA-2E6F-4A8E-9B48-49F98C014A3A}"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96CABFD7-5DE6-4854-8E5C-A3E97E2C53CC}"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0</c:f>
              <c:numCache>
                <c:formatCode>General</c:formatCode>
                <c:ptCount val="9"/>
                <c:pt idx="0">
                  <c:v>0.16</c:v>
                </c:pt>
                <c:pt idx="1">
                  <c:v>0.36</c:v>
                </c:pt>
                <c:pt idx="2">
                  <c:v>0.68</c:v>
                </c:pt>
                <c:pt idx="3">
                  <c:v>0.83</c:v>
                </c:pt>
                <c:pt idx="4">
                  <c:v>0.51</c:v>
                </c:pt>
                <c:pt idx="5">
                  <c:v>1</c:v>
                </c:pt>
                <c:pt idx="6">
                  <c:v>0.56000000000000005</c:v>
                </c:pt>
                <c:pt idx="7">
                  <c:v>0.47</c:v>
                </c:pt>
                <c:pt idx="8">
                  <c:v>0.38</c:v>
                </c:pt>
              </c:numCache>
            </c:numRef>
          </c:xVal>
          <c:yVal>
            <c:numRef>
              <c:f>Sheet1!$B$2:$B$10</c:f>
              <c:numCache>
                <c:formatCode>General</c:formatCode>
                <c:ptCount val="9"/>
                <c:pt idx="0">
                  <c:v>91.3125</c:v>
                </c:pt>
                <c:pt idx="1">
                  <c:v>92.722222222222229</c:v>
                </c:pt>
                <c:pt idx="2">
                  <c:v>165.33823529411771</c:v>
                </c:pt>
                <c:pt idx="3">
                  <c:v>128.18072289156629</c:v>
                </c:pt>
                <c:pt idx="4">
                  <c:v>73.235294117647058</c:v>
                </c:pt>
                <c:pt idx="5">
                  <c:v>1647.1</c:v>
                </c:pt>
                <c:pt idx="6">
                  <c:v>157.69642857142861</c:v>
                </c:pt>
                <c:pt idx="7">
                  <c:v>40</c:v>
                </c:pt>
                <c:pt idx="8">
                  <c:v>45.39473684210526</c:v>
                </c:pt>
              </c:numCache>
            </c:numRef>
          </c:yVal>
          <c:bubbleSize>
            <c:numRef>
              <c:f>Sheet1!$C$2:$C$10</c:f>
              <c:numCache>
                <c:formatCode>General</c:formatCode>
                <c:ptCount val="9"/>
                <c:pt idx="0">
                  <c:v>1083.7252000000001</c:v>
                </c:pt>
                <c:pt idx="1">
                  <c:v>2633.3339999999998</c:v>
                </c:pt>
                <c:pt idx="2">
                  <c:v>9312.4851000000017</c:v>
                </c:pt>
                <c:pt idx="3">
                  <c:v>9012.6797999999999</c:v>
                </c:pt>
                <c:pt idx="4">
                  <c:v>2878.755000000001</c:v>
                </c:pt>
                <c:pt idx="5">
                  <c:v>132610.51420000001</c:v>
                </c:pt>
                <c:pt idx="6">
                  <c:v>6645.877199999999</c:v>
                </c:pt>
                <c:pt idx="7">
                  <c:v>1472.9490000000001</c:v>
                </c:pt>
                <c:pt idx="8">
                  <c:v>1345.7064</c:v>
                </c:pt>
              </c:numCache>
            </c:numRef>
          </c:bubbleSize>
          <c:bubble3D val="0"/>
          <c:extLst>
            <c:ext xmlns:c15="http://schemas.microsoft.com/office/drawing/2012/chart" uri="{02D57815-91ED-43cb-92C2-25804820EDAC}">
              <c15:datalabelsRange>
                <c15:f>Sheet1!$E$2:$E$21</c15:f>
                <c15:dlblRangeCache>
                  <c:ptCount val="20"/>
                  <c:pt idx="0">
                    <c:v>MG CHAMPAGNE NICOLAS BLC/BL BS 1CT X 1500ML</c:v>
                  </c:pt>
                  <c:pt idx="1">
                    <c:v>MG CHAMPAGNE E.NICOLAS BRUT 1CT X 1500ML</c:v>
                  </c:pt>
                  <c:pt idx="2">
                    <c:v>CHAMPAGNE E.NICOLAS ROSE 1CT X 750ML</c:v>
                  </c:pt>
                  <c:pt idx="3">
                    <c:v>CHAMPAGNE NICOLAS 1ERE CUVEE 1CT X 750ML</c:v>
                  </c:pt>
                  <c:pt idx="4">
                    <c:v>1/2 CHAMPAGNE NICOLAS 1ERE CUV 1CT X 375ML</c:v>
                  </c:pt>
                  <c:pt idx="5">
                    <c:v>CHAMPAGNE E.NICOLAS BRUT 1CT X 750ML</c:v>
                  </c:pt>
                  <c:pt idx="6">
                    <c:v>CHAMPAGNE NICOLAS BLC/BLC BS 1CT X 750ML</c:v>
                  </c:pt>
                  <c:pt idx="7">
                    <c:v>CHAMPAGNE NICOLAS ROSE 1ERE CU 1CT X 750ML</c:v>
                  </c:pt>
                  <c:pt idx="8">
                    <c:v>CHAMPAGNE NICOLAS 1ER CRU BS 1CT X 750ML</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7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FDDB702E-A501-479D-A0C3-6B9B5E46A1AE}"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1EFAE327-4EBE-4346-9158-A38FE1E93502}"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2B760CD5-E0B3-4030-975F-7F90EE4497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CBA8EB9A-ACA0-4927-A94D-180F83F20C7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B976E4FB-CB09-467A-90CB-7CA2D5ECA137}"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214B730C-3DC7-4FAB-826E-D5AE2B3CC049}"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F479855D-7029-45A4-9EE7-38958C024EAB}"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0BFC3E8E-C64C-43BC-8F08-D0D8C69E8102}"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2AF2404E-BAEE-4024-82CB-42D454E60CE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1C0D54C8-E9DE-4756-BEE1-7DE74A0A190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1</c:f>
              <c:numCache>
                <c:formatCode>General</c:formatCode>
                <c:ptCount val="10"/>
                <c:pt idx="0">
                  <c:v>0.34</c:v>
                </c:pt>
                <c:pt idx="1">
                  <c:v>0.32</c:v>
                </c:pt>
                <c:pt idx="2">
                  <c:v>0.74</c:v>
                </c:pt>
                <c:pt idx="3">
                  <c:v>0.56999999999999995</c:v>
                </c:pt>
                <c:pt idx="4">
                  <c:v>0.27</c:v>
                </c:pt>
                <c:pt idx="5">
                  <c:v>0.42</c:v>
                </c:pt>
                <c:pt idx="6">
                  <c:v>0.5</c:v>
                </c:pt>
                <c:pt idx="7">
                  <c:v>1</c:v>
                </c:pt>
                <c:pt idx="8">
                  <c:v>0.43</c:v>
                </c:pt>
                <c:pt idx="9">
                  <c:v>0.25</c:v>
                </c:pt>
              </c:numCache>
            </c:numRef>
          </c:xVal>
          <c:yVal>
            <c:numRef>
              <c:f>Sheet1!$B$2:$B$11</c:f>
              <c:numCache>
                <c:formatCode>General</c:formatCode>
                <c:ptCount val="10"/>
                <c:pt idx="0">
                  <c:v>56.647058823529413</c:v>
                </c:pt>
                <c:pt idx="1">
                  <c:v>69.28125</c:v>
                </c:pt>
                <c:pt idx="2">
                  <c:v>197.51351351351349</c:v>
                </c:pt>
                <c:pt idx="3">
                  <c:v>54.000000000000007</c:v>
                </c:pt>
                <c:pt idx="4">
                  <c:v>88.074074074074076</c:v>
                </c:pt>
                <c:pt idx="5">
                  <c:v>55.523809523809533</c:v>
                </c:pt>
                <c:pt idx="6">
                  <c:v>35.32</c:v>
                </c:pt>
                <c:pt idx="7">
                  <c:v>1057.96</c:v>
                </c:pt>
                <c:pt idx="8">
                  <c:v>192.4651162790698</c:v>
                </c:pt>
                <c:pt idx="9">
                  <c:v>56.44</c:v>
                </c:pt>
              </c:numCache>
            </c:numRef>
          </c:yVal>
          <c:bubbleSize>
            <c:numRef>
              <c:f>Sheet1!$C$2:$C$11</c:f>
              <c:numCache>
                <c:formatCode>General</c:formatCode>
                <c:ptCount val="10"/>
                <c:pt idx="0">
                  <c:v>1454.5848000000001</c:v>
                </c:pt>
                <c:pt idx="1">
                  <c:v>1847.0841</c:v>
                </c:pt>
                <c:pt idx="2">
                  <c:v>12520.8133</c:v>
                </c:pt>
                <c:pt idx="3">
                  <c:v>2427.2689</c:v>
                </c:pt>
                <c:pt idx="4">
                  <c:v>1278.75</c:v>
                </c:pt>
                <c:pt idx="5">
                  <c:v>1865.3040000000001</c:v>
                </c:pt>
                <c:pt idx="6">
                  <c:v>1380.615</c:v>
                </c:pt>
                <c:pt idx="7">
                  <c:v>86540.523000000016</c:v>
                </c:pt>
                <c:pt idx="8">
                  <c:v>6214.7007000000003</c:v>
                </c:pt>
                <c:pt idx="9">
                  <c:v>1005.984</c:v>
                </c:pt>
              </c:numCache>
            </c:numRef>
          </c:bubbleSize>
          <c:bubble3D val="0"/>
          <c:extLst>
            <c:ext xmlns:c15="http://schemas.microsoft.com/office/drawing/2012/chart" uri="{02D57815-91ED-43cb-92C2-25804820EDAC}">
              <c15:datalabelsRange>
                <c15:f>Sheet1!$E$2:$E$21</c15:f>
                <c15:dlblRangeCache>
                  <c:ptCount val="20"/>
                  <c:pt idx="0">
                    <c:v>1/2 CHAMP NICOLAS ROSE 1E C BS 1CT X 375ML</c:v>
                  </c:pt>
                  <c:pt idx="1">
                    <c:v>MG CHAMPAGNE E.NICOLAS BRUT 1CT X 1500ML</c:v>
                  </c:pt>
                  <c:pt idx="2">
                    <c:v>CHAMPAGNE E.NICOLAS ROSE 1CT X 750ML</c:v>
                  </c:pt>
                  <c:pt idx="3">
                    <c:v>CHAMPAGNE NICOLAS 1ERE CUVEE 1CT X 750ML</c:v>
                  </c:pt>
                  <c:pt idx="4">
                    <c:v>CHAMPAGNE NICOLAS BIO NAT 2017 1CT X 750ML</c:v>
                  </c:pt>
                  <c:pt idx="5">
                    <c:v>CHAMPAGNE NICOLAS BLC DE NOIRS 1CT X 750ML</c:v>
                  </c:pt>
                  <c:pt idx="6">
                    <c:v>1/2 CHAMPAGNE NICOLAS 1ERE CUV 1CT X 375ML</c:v>
                  </c:pt>
                  <c:pt idx="7">
                    <c:v>CHAMPAGNE E.NICOLAS BRUT 1CT X 750ML</c:v>
                  </c:pt>
                  <c:pt idx="8">
                    <c:v>CHAMPAGNE NICOLAS BLC/BLC BS 1CT X 750ML</c:v>
                  </c:pt>
                  <c:pt idx="9">
                    <c:v>CHAMPAGNE NICOLAS ROSE 1ERE CU 1CT X 750ML</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7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8538116A-3D82-488E-A780-CD6218FF6739}"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562FA772-668B-4926-AA35-F108DBE2C898}"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2D7D407F-AA9E-40D2-8EBF-F2CD09A806D7}"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D4E5BCD0-3CAF-4DDA-9605-C4759B3B0DE6}"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4AFDBCA5-1E59-48DD-A726-D8AF5DB5DB8B}"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24D2BBEF-A946-48FD-870D-941848A303CA}"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954F1FF8-2F81-4E6F-A901-8AB904E868BF}"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FD5CF876-1E38-4E6C-A77C-2347A0A96C2E}"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FA184DCD-75BC-4AEE-BF5B-B69D61B8EAF7}"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3AC6A231-6B8D-4AD0-AB5E-C10FA8D63EEF}"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8</c:f>
              <c:numCache>
                <c:formatCode>General</c:formatCode>
                <c:ptCount val="17"/>
                <c:pt idx="0">
                  <c:v>0.35</c:v>
                </c:pt>
                <c:pt idx="1">
                  <c:v>0.42</c:v>
                </c:pt>
                <c:pt idx="2">
                  <c:v>0.23</c:v>
                </c:pt>
                <c:pt idx="3">
                  <c:v>0.34</c:v>
                </c:pt>
                <c:pt idx="4">
                  <c:v>0.73</c:v>
                </c:pt>
                <c:pt idx="5">
                  <c:v>0.9</c:v>
                </c:pt>
                <c:pt idx="6">
                  <c:v>0.24</c:v>
                </c:pt>
                <c:pt idx="7">
                  <c:v>0.28000000000000003</c:v>
                </c:pt>
                <c:pt idx="8">
                  <c:v>0.25</c:v>
                </c:pt>
                <c:pt idx="9">
                  <c:v>0.14000000000000001</c:v>
                </c:pt>
                <c:pt idx="10">
                  <c:v>0.43</c:v>
                </c:pt>
                <c:pt idx="11">
                  <c:v>1</c:v>
                </c:pt>
                <c:pt idx="12">
                  <c:v>0.7</c:v>
                </c:pt>
                <c:pt idx="13">
                  <c:v>7.0000000000000007E-2</c:v>
                </c:pt>
                <c:pt idx="14">
                  <c:v>0.42</c:v>
                </c:pt>
                <c:pt idx="15">
                  <c:v>0.31</c:v>
                </c:pt>
                <c:pt idx="16">
                  <c:v>0.21</c:v>
                </c:pt>
              </c:numCache>
            </c:numRef>
          </c:xVal>
          <c:yVal>
            <c:numRef>
              <c:f>Sheet1!$B$2:$B$18</c:f>
              <c:numCache>
                <c:formatCode>General</c:formatCode>
                <c:ptCount val="17"/>
                <c:pt idx="0">
                  <c:v>443.71428571428572</c:v>
                </c:pt>
                <c:pt idx="1">
                  <c:v>325.47619047619048</c:v>
                </c:pt>
                <c:pt idx="2">
                  <c:v>697.86956521739125</c:v>
                </c:pt>
                <c:pt idx="3">
                  <c:v>784.41176470588232</c:v>
                </c:pt>
                <c:pt idx="4">
                  <c:v>1000.931506849315</c:v>
                </c:pt>
                <c:pt idx="5">
                  <c:v>757.83333333333337</c:v>
                </c:pt>
                <c:pt idx="6">
                  <c:v>369.25</c:v>
                </c:pt>
                <c:pt idx="7">
                  <c:v>502.89285714285711</c:v>
                </c:pt>
                <c:pt idx="8">
                  <c:v>431.2</c:v>
                </c:pt>
                <c:pt idx="9">
                  <c:v>377.28571428571422</c:v>
                </c:pt>
                <c:pt idx="10">
                  <c:v>511.97674418604652</c:v>
                </c:pt>
                <c:pt idx="11">
                  <c:v>10463.09</c:v>
                </c:pt>
                <c:pt idx="12">
                  <c:v>1545.1</c:v>
                </c:pt>
                <c:pt idx="13">
                  <c:v>905.142857142857</c:v>
                </c:pt>
                <c:pt idx="14">
                  <c:v>364.28571428571428</c:v>
                </c:pt>
                <c:pt idx="15">
                  <c:v>148.58064516129031</c:v>
                </c:pt>
                <c:pt idx="16">
                  <c:v>207.47619047619051</c:v>
                </c:pt>
              </c:numCache>
            </c:numRef>
          </c:yVal>
          <c:bubbleSize>
            <c:numRef>
              <c:f>Sheet1!$C$2:$C$18</c:f>
              <c:numCache>
                <c:formatCode>General</c:formatCode>
                <c:ptCount val="17"/>
                <c:pt idx="0">
                  <c:v>6561.5784000000003</c:v>
                </c:pt>
                <c:pt idx="1">
                  <c:v>10563.1468</c:v>
                </c:pt>
                <c:pt idx="2">
                  <c:v>12262.8586</c:v>
                </c:pt>
                <c:pt idx="3">
                  <c:v>22168.7595</c:v>
                </c:pt>
                <c:pt idx="4">
                  <c:v>61124.902199999997</c:v>
                </c:pt>
                <c:pt idx="5">
                  <c:v>58409.179300000011</c:v>
                </c:pt>
                <c:pt idx="6">
                  <c:v>3975.9524999999999</c:v>
                </c:pt>
                <c:pt idx="7">
                  <c:v>7285</c:v>
                </c:pt>
                <c:pt idx="8">
                  <c:v>8686.6008000000002</c:v>
                </c:pt>
                <c:pt idx="9">
                  <c:v>3926.0473999999999</c:v>
                </c:pt>
                <c:pt idx="10">
                  <c:v>17814.044999999998</c:v>
                </c:pt>
                <c:pt idx="11">
                  <c:v>838278.9384000001</c:v>
                </c:pt>
                <c:pt idx="12">
                  <c:v>82824.232499999998</c:v>
                </c:pt>
                <c:pt idx="13">
                  <c:v>4909.1655000000001</c:v>
                </c:pt>
                <c:pt idx="14">
                  <c:v>12331.8794</c:v>
                </c:pt>
                <c:pt idx="15">
                  <c:v>3676.8560000000002</c:v>
                </c:pt>
                <c:pt idx="16">
                  <c:v>3322.1214</c:v>
                </c:pt>
              </c:numCache>
            </c:numRef>
          </c:bubbleSize>
          <c:bubble3D val="0"/>
          <c:extLst>
            <c:ext xmlns:c15="http://schemas.microsoft.com/office/drawing/2012/chart" uri="{02D57815-91ED-43cb-92C2-25804820EDAC}">
              <c15:datalabelsRange>
                <c15:f>Sheet1!$E$2:$E$21</c15:f>
                <c15:dlblRangeCache>
                  <c:ptCount val="20"/>
                  <c:pt idx="0">
                    <c:v>1/2 CHAMP NICOLAS BLC/BLC BS 1CT X 375ML</c:v>
                  </c:pt>
                  <c:pt idx="1">
                    <c:v>1/2 CHAMP NICOLAS ROSE 1E C BS 1CT X 375ML</c:v>
                  </c:pt>
                  <c:pt idx="2">
                    <c:v>MG CHAMPAGNE NICOLAS BLC/BL BS 1CT X 1500ML</c:v>
                  </c:pt>
                  <c:pt idx="3">
                    <c:v>MG CHAMPAGNE E.NICOLAS BRUT 1CT X 1500ML</c:v>
                  </c:pt>
                  <c:pt idx="4">
                    <c:v>CHAMPAGNE E.NICOLAS ROSE 1CT X 750ML</c:v>
                  </c:pt>
                  <c:pt idx="5">
                    <c:v>CHAMPAGNE NICOLAS 1ERE CUVEE 1CT X 750ML</c:v>
                  </c:pt>
                  <c:pt idx="6">
                    <c:v>MG CHAMPAGNE NICOLAS 1ERE CUVE 1CT X 1500ML</c:v>
                  </c:pt>
                  <c:pt idx="7">
                    <c:v>CHAMPAGNE NICOLAS BIO NAT 2017 1CT X 750ML</c:v>
                  </c:pt>
                  <c:pt idx="8">
                    <c:v>CHAMPAGNE NICOLAS BLC DE NOIRS 1CT X 750ML</c:v>
                  </c:pt>
                  <c:pt idx="9">
                    <c:v>CHAMPAGNE NICOLAS ROSE 1ERE ET 1CT X 750ML</c:v>
                  </c:pt>
                  <c:pt idx="10">
                    <c:v>1/2 CHAMPAGNE NICOLAS 1ERE CUV 1CT X 375ML</c:v>
                  </c:pt>
                  <c:pt idx="11">
                    <c:v>CHAMPAGNE E.NICOLAS BRUT 1CT X 750ML</c:v>
                  </c:pt>
                  <c:pt idx="12">
                    <c:v>CHAMPAGNE NICOLAS BLC/BLC BS 1CT X 750ML</c:v>
                  </c:pt>
                  <c:pt idx="13">
                    <c:v>CHAMPAGNE NICOLAS BLC/BLC 2002 1CT X 750ML</c:v>
                  </c:pt>
                  <c:pt idx="14">
                    <c:v>CHAMPAGNE NICOLAS ROSE 1ERE CU 1CT X 750ML</c:v>
                  </c:pt>
                  <c:pt idx="15">
                    <c:v>CHAMPAGNE NICOLAS 1ER CRU BS 1CT X 750ML</c:v>
                  </c:pt>
                  <c:pt idx="16">
                    <c:v>CHAMPAGNE NICOLAS 1ER CRU ETUI 1CT X 750ML</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7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5C85EE16-31AF-47B2-958F-92468B1992E0}"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4DA65596-3B45-45E1-8A1C-B54A97646722}"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94FE09B1-46E4-4B51-8C73-722AC6D2C23F}"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200BD079-8E6E-42E8-B9F5-DB25BABD50AF}"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44A0AB89-BA23-44BF-A9CB-F0E307CD7799}"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9F7FF9EC-2BB4-4FDD-840C-44148F8B2CE2}"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3569C405-7E86-4764-AE5B-6C41909285B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E3C5F17A-DA3D-4727-A427-6D40203A588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842EC5D5-2A92-4603-967A-B93FDA0C5FFD}"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C2FBA264-5635-4889-8AFC-2CE601C15B28}"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8</c:f>
              <c:numCache>
                <c:formatCode>General</c:formatCode>
                <c:ptCount val="17"/>
                <c:pt idx="0">
                  <c:v>0.3</c:v>
                </c:pt>
                <c:pt idx="1">
                  <c:v>0.32</c:v>
                </c:pt>
                <c:pt idx="2">
                  <c:v>0.19</c:v>
                </c:pt>
                <c:pt idx="3">
                  <c:v>0.21</c:v>
                </c:pt>
                <c:pt idx="4">
                  <c:v>0.75</c:v>
                </c:pt>
                <c:pt idx="5">
                  <c:v>0.91</c:v>
                </c:pt>
                <c:pt idx="6">
                  <c:v>0.12</c:v>
                </c:pt>
                <c:pt idx="7">
                  <c:v>0.21</c:v>
                </c:pt>
                <c:pt idx="8">
                  <c:v>0.21</c:v>
                </c:pt>
                <c:pt idx="9">
                  <c:v>0.16</c:v>
                </c:pt>
                <c:pt idx="10">
                  <c:v>0.45</c:v>
                </c:pt>
                <c:pt idx="11">
                  <c:v>1</c:v>
                </c:pt>
                <c:pt idx="12">
                  <c:v>0.69</c:v>
                </c:pt>
                <c:pt idx="13">
                  <c:v>0.05</c:v>
                </c:pt>
                <c:pt idx="14">
                  <c:v>0.32</c:v>
                </c:pt>
                <c:pt idx="15">
                  <c:v>0.44</c:v>
                </c:pt>
                <c:pt idx="16">
                  <c:v>0.23</c:v>
                </c:pt>
              </c:numCache>
            </c:numRef>
          </c:xVal>
          <c:yVal>
            <c:numRef>
              <c:f>Sheet1!$B$2:$B$18</c:f>
              <c:numCache>
                <c:formatCode>General</c:formatCode>
                <c:ptCount val="17"/>
                <c:pt idx="0">
                  <c:v>226.33333333333329</c:v>
                </c:pt>
                <c:pt idx="1">
                  <c:v>210.625</c:v>
                </c:pt>
                <c:pt idx="2">
                  <c:v>456.84210526315792</c:v>
                </c:pt>
                <c:pt idx="3">
                  <c:v>461.28571428571428</c:v>
                </c:pt>
                <c:pt idx="4">
                  <c:v>516.91999999999996</c:v>
                </c:pt>
                <c:pt idx="5">
                  <c:v>361.03296703296701</c:v>
                </c:pt>
                <c:pt idx="6">
                  <c:v>409.58333333333331</c:v>
                </c:pt>
                <c:pt idx="7">
                  <c:v>378.90476190476193</c:v>
                </c:pt>
                <c:pt idx="8">
                  <c:v>256.38095238095241</c:v>
                </c:pt>
                <c:pt idx="9">
                  <c:v>176.1875</c:v>
                </c:pt>
                <c:pt idx="10">
                  <c:v>364.95555555555558</c:v>
                </c:pt>
                <c:pt idx="11">
                  <c:v>6289.38</c:v>
                </c:pt>
                <c:pt idx="12">
                  <c:v>791.89855072463763</c:v>
                </c:pt>
                <c:pt idx="13">
                  <c:v>578.6</c:v>
                </c:pt>
                <c:pt idx="14">
                  <c:v>272.1875</c:v>
                </c:pt>
                <c:pt idx="15">
                  <c:v>103.7045454545455</c:v>
                </c:pt>
                <c:pt idx="16">
                  <c:v>210.52173913043481</c:v>
                </c:pt>
              </c:numCache>
            </c:numRef>
          </c:yVal>
          <c:bubbleSize>
            <c:numRef>
              <c:f>Sheet1!$C$2:$C$18</c:f>
              <c:numCache>
                <c:formatCode>General</c:formatCode>
                <c:ptCount val="17"/>
                <c:pt idx="0">
                  <c:v>2746.2786000000001</c:v>
                </c:pt>
                <c:pt idx="1">
                  <c:v>5129.5136000000002</c:v>
                </c:pt>
                <c:pt idx="2">
                  <c:v>6504.7816999999995</c:v>
                </c:pt>
                <c:pt idx="3">
                  <c:v>7881.6701999999996</c:v>
                </c:pt>
                <c:pt idx="4">
                  <c:v>32208.281800000001</c:v>
                </c:pt>
                <c:pt idx="5">
                  <c:v>28222.456399999999</c:v>
                </c:pt>
                <c:pt idx="6">
                  <c:v>2016.7874999999999</c:v>
                </c:pt>
                <c:pt idx="7">
                  <c:v>3681.25</c:v>
                </c:pt>
                <c:pt idx="8">
                  <c:v>4265.3556000000008</c:v>
                </c:pt>
                <c:pt idx="9">
                  <c:v>1987.6420000000001</c:v>
                </c:pt>
                <c:pt idx="10">
                  <c:v>13245.51</c:v>
                </c:pt>
                <c:pt idx="11">
                  <c:v>503437.10680000001</c:v>
                </c:pt>
                <c:pt idx="12">
                  <c:v>41743.224000000002</c:v>
                </c:pt>
                <c:pt idx="13">
                  <c:v>2174.9994000000002</c:v>
                </c:pt>
                <c:pt idx="14">
                  <c:v>6747.2982000000002</c:v>
                </c:pt>
                <c:pt idx="15">
                  <c:v>3620.4369999999999</c:v>
                </c:pt>
                <c:pt idx="16">
                  <c:v>3759.2235000000001</c:v>
                </c:pt>
              </c:numCache>
            </c:numRef>
          </c:bubbleSize>
          <c:bubble3D val="0"/>
          <c:extLst>
            <c:ext xmlns:c15="http://schemas.microsoft.com/office/drawing/2012/chart" uri="{02D57815-91ED-43cb-92C2-25804820EDAC}">
              <c15:datalabelsRange>
                <c15:f>Sheet1!$E$2:$E$21</c15:f>
                <c15:dlblRangeCache>
                  <c:ptCount val="20"/>
                  <c:pt idx="0">
                    <c:v>1/2 CHAMP NICOLAS BLC/BLC BS 1CT X 375ML</c:v>
                  </c:pt>
                  <c:pt idx="1">
                    <c:v>1/2 CHAMP NICOLAS ROSE 1E C BS 1CT X 375ML</c:v>
                  </c:pt>
                  <c:pt idx="2">
                    <c:v>MG CHAMPAGNE NICOLAS BLC/BL BS 1CT X 1500ML</c:v>
                  </c:pt>
                  <c:pt idx="3">
                    <c:v>MG CHAMPAGNE E.NICOLAS BRUT 1CT X 1500ML</c:v>
                  </c:pt>
                  <c:pt idx="4">
                    <c:v>CHAMPAGNE E.NICOLAS ROSE 1CT X 750ML</c:v>
                  </c:pt>
                  <c:pt idx="5">
                    <c:v>CHAMPAGNE NICOLAS 1ERE CUVEE 1CT X 750ML</c:v>
                  </c:pt>
                  <c:pt idx="6">
                    <c:v>MG CHAMPAGNE NICOLAS 1ERE CUVE 1CT X 1500ML</c:v>
                  </c:pt>
                  <c:pt idx="7">
                    <c:v>CHAMPAGNE NICOLAS BIO NAT 2017 1CT X 750ML</c:v>
                  </c:pt>
                  <c:pt idx="8">
                    <c:v>CHAMPAGNE NICOLAS BLC DE NOIRS 1CT X 750ML</c:v>
                  </c:pt>
                  <c:pt idx="9">
                    <c:v>CHAMPAGNE NICOLAS ROSE 1ERE ET 1CT X 750ML</c:v>
                  </c:pt>
                  <c:pt idx="10">
                    <c:v>1/2 CHAMPAGNE NICOLAS 1ERE CUV 1CT X 375ML</c:v>
                  </c:pt>
                  <c:pt idx="11">
                    <c:v>CHAMPAGNE E.NICOLAS BRUT 1CT X 750ML</c:v>
                  </c:pt>
                  <c:pt idx="12">
                    <c:v>CHAMPAGNE NICOLAS BLC/BLC BS 1CT X 750ML</c:v>
                  </c:pt>
                  <c:pt idx="13">
                    <c:v>CHAMPAGNE NICOLAS BLC/BLC 2002 1CT X 750ML</c:v>
                  </c:pt>
                  <c:pt idx="14">
                    <c:v>CHAMPAGNE NICOLAS ROSE 1ERE CU 1CT X 750ML</c:v>
                  </c:pt>
                  <c:pt idx="15">
                    <c:v>CHAMPAGNE NICOLAS 1ER CRU BS 1CT X 750ML</c:v>
                  </c:pt>
                  <c:pt idx="16">
                    <c:v>CHAMPAGNE NICOLAS 1ER CRU ETUI 1CT X 750ML</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Nicolas</c:v>
                </c:pt>
                <c:pt idx="2">
                  <c:v>Malard</c:v>
                </c:pt>
                <c:pt idx="3">
                  <c:v>Besserat De Bellefon</c:v>
                </c:pt>
                <c:pt idx="4">
                  <c:v>Henriot</c:v>
                </c:pt>
                <c:pt idx="5">
                  <c:v>De Bligny</c:v>
                </c:pt>
                <c:pt idx="6">
                  <c:v>Delamotte</c:v>
                </c:pt>
                <c:pt idx="7">
                  <c:v>Ayala</c:v>
                </c:pt>
                <c:pt idx="8">
                  <c:v>Deutz</c:v>
                </c:pt>
                <c:pt idx="9">
                  <c:v>Others</c:v>
                </c:pt>
              </c:strCache>
            </c:strRef>
          </c:cat>
          <c:val>
            <c:numRef>
              <c:f>Sheet1!$B$2:$B$11</c:f>
              <c:numCache>
                <c:formatCode>General</c:formatCode>
                <c:ptCount val="10"/>
                <c:pt idx="0">
                  <c:v>0.64328154744198807</c:v>
                </c:pt>
                <c:pt idx="1">
                  <c:v>6.8850128232559302E-2</c:v>
                </c:pt>
                <c:pt idx="2">
                  <c:v>6.2877732298659228E-2</c:v>
                </c:pt>
                <c:pt idx="3">
                  <c:v>4.1992901546502641E-2</c:v>
                </c:pt>
                <c:pt idx="4">
                  <c:v>3.6245485187588321E-2</c:v>
                </c:pt>
                <c:pt idx="5">
                  <c:v>2.2137874209744748E-2</c:v>
                </c:pt>
                <c:pt idx="6">
                  <c:v>2.2132655611355901E-2</c:v>
                </c:pt>
                <c:pt idx="7">
                  <c:v>2.1160836622499929E-2</c:v>
                </c:pt>
                <c:pt idx="8">
                  <c:v>1.7443455036846203E-2</c:v>
                </c:pt>
                <c:pt idx="9">
                  <c:v>6.3877383812255703E-2</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Nicolas</c:v>
                </c:pt>
                <c:pt idx="2">
                  <c:v>Malard</c:v>
                </c:pt>
                <c:pt idx="3">
                  <c:v>Besserat De Bellefon</c:v>
                </c:pt>
                <c:pt idx="4">
                  <c:v>Henriot</c:v>
                </c:pt>
                <c:pt idx="5">
                  <c:v>De Bligny</c:v>
                </c:pt>
                <c:pt idx="6">
                  <c:v>Delamotte</c:v>
                </c:pt>
                <c:pt idx="7">
                  <c:v>Ayala</c:v>
                </c:pt>
                <c:pt idx="8">
                  <c:v>Deutz</c:v>
                </c:pt>
                <c:pt idx="9">
                  <c:v>Others</c:v>
                </c:pt>
              </c:strCache>
            </c:strRef>
          </c:cat>
          <c:val>
            <c:numRef>
              <c:f>Sheet1!$C$2:$C$11</c:f>
              <c:numCache>
                <c:formatCode>General</c:formatCode>
                <c:ptCount val="10"/>
                <c:pt idx="0">
                  <c:v>0.29551451187335104</c:v>
                </c:pt>
                <c:pt idx="1">
                  <c:v>0.12928759894459108</c:v>
                </c:pt>
                <c:pt idx="2">
                  <c:v>8.8390501319261267E-2</c:v>
                </c:pt>
                <c:pt idx="3">
                  <c:v>6.8601583113456502E-2</c:v>
                </c:pt>
                <c:pt idx="4">
                  <c:v>8.5751978891820624E-2</c:v>
                </c:pt>
                <c:pt idx="5">
                  <c:v>7.3878627968337773E-2</c:v>
                </c:pt>
                <c:pt idx="6">
                  <c:v>4.2216358839050151E-2</c:v>
                </c:pt>
                <c:pt idx="7">
                  <c:v>6.332453825857523E-2</c:v>
                </c:pt>
                <c:pt idx="8">
                  <c:v>1.7150395778364125E-2</c:v>
                </c:pt>
                <c:pt idx="9">
                  <c:v>0.13588390501319267</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Nicolas</c:v>
                </c:pt>
                <c:pt idx="2">
                  <c:v>Malard</c:v>
                </c:pt>
                <c:pt idx="3">
                  <c:v>Besserat De Bellefon</c:v>
                </c:pt>
                <c:pt idx="4">
                  <c:v>Henriot</c:v>
                </c:pt>
                <c:pt idx="5">
                  <c:v>De Bligny</c:v>
                </c:pt>
                <c:pt idx="6">
                  <c:v>Delamotte</c:v>
                </c:pt>
                <c:pt idx="7">
                  <c:v>Ayala</c:v>
                </c:pt>
                <c:pt idx="8">
                  <c:v>Deutz</c:v>
                </c:pt>
                <c:pt idx="9">
                  <c:v>Others</c:v>
                </c:pt>
              </c:strCache>
            </c:strRef>
          </c:cat>
          <c:val>
            <c:numRef>
              <c:f>Sheet1!$D$2:$D$11</c:f>
              <c:numCache>
                <c:formatCode>General</c:formatCode>
                <c:ptCount val="10"/>
                <c:pt idx="0">
                  <c:v>45.938596101266363</c:v>
                </c:pt>
                <c:pt idx="1">
                  <c:v>187.78120282926477</c:v>
                </c:pt>
                <c:pt idx="2">
                  <c:v>140.57520538339463</c:v>
                </c:pt>
                <c:pt idx="3">
                  <c:v>163.36471305153228</c:v>
                </c:pt>
                <c:pt idx="4">
                  <c:v>236.58664920061548</c:v>
                </c:pt>
                <c:pt idx="5">
                  <c:v>333.7205156573595</c:v>
                </c:pt>
                <c:pt idx="6">
                  <c:v>190.74240154620051</c:v>
                </c:pt>
                <c:pt idx="7">
                  <c:v>299.25347181804437</c:v>
                </c:pt>
                <c:pt idx="8">
                  <c:v>98.31994717868082</c:v>
                </c:pt>
                <c:pt idx="9">
                  <c:v>212.72615893689996</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9B670203-3C9D-45C5-B7F4-3EE97FD9A17B}"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C8CBEA58-5AED-4451-B073-E918F70C7E5C}"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0CF4A67D-A7C5-45EE-B793-66B7B7C3A300}"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ED791794-D961-4957-B0C6-70348A31B7BA}"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38E3E451-3E0B-4F75-9F93-E176B8584D3C}"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C81B3D76-4A17-4EFF-94CB-911A46952A8B}"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63EE7427-3E55-4387-84D6-EE8C0361FC6D}"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BA5B7378-B32C-458F-9C57-EF38A1A4638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909090AA-3CFF-4FD7-BF74-DB078E8D2682}"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87F77E8B-91C8-416D-94CF-3C96BBEA7A69}"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20</c:f>
              <c:numCache>
                <c:formatCode>General</c:formatCode>
                <c:ptCount val="19"/>
                <c:pt idx="0">
                  <c:v>0.25</c:v>
                </c:pt>
                <c:pt idx="1">
                  <c:v>0.23</c:v>
                </c:pt>
                <c:pt idx="2">
                  <c:v>0.13</c:v>
                </c:pt>
                <c:pt idx="3">
                  <c:v>0.17</c:v>
                </c:pt>
                <c:pt idx="4">
                  <c:v>0.56000000000000005</c:v>
                </c:pt>
                <c:pt idx="5">
                  <c:v>0.77</c:v>
                </c:pt>
                <c:pt idx="6">
                  <c:v>0.06</c:v>
                </c:pt>
                <c:pt idx="7">
                  <c:v>0.18</c:v>
                </c:pt>
                <c:pt idx="8">
                  <c:v>0.17</c:v>
                </c:pt>
                <c:pt idx="9">
                  <c:v>0.06</c:v>
                </c:pt>
                <c:pt idx="10">
                  <c:v>0.09</c:v>
                </c:pt>
                <c:pt idx="11">
                  <c:v>0.36</c:v>
                </c:pt>
                <c:pt idx="12">
                  <c:v>1</c:v>
                </c:pt>
                <c:pt idx="13">
                  <c:v>0.51</c:v>
                </c:pt>
                <c:pt idx="14">
                  <c:v>0.06</c:v>
                </c:pt>
                <c:pt idx="15">
                  <c:v>0.32</c:v>
                </c:pt>
                <c:pt idx="16">
                  <c:v>0.28000000000000003</c:v>
                </c:pt>
                <c:pt idx="17">
                  <c:v>0.16</c:v>
                </c:pt>
                <c:pt idx="18">
                  <c:v>0.19</c:v>
                </c:pt>
              </c:numCache>
            </c:numRef>
          </c:xVal>
          <c:yVal>
            <c:numRef>
              <c:f>Sheet1!$B$2:$B$20</c:f>
              <c:numCache>
                <c:formatCode>General</c:formatCode>
                <c:ptCount val="19"/>
                <c:pt idx="0">
                  <c:v>624.6</c:v>
                </c:pt>
                <c:pt idx="1">
                  <c:v>500.30434782608688</c:v>
                </c:pt>
                <c:pt idx="2">
                  <c:v>946.84615384615381</c:v>
                </c:pt>
                <c:pt idx="3">
                  <c:v>1297.4705882352939</c:v>
                </c:pt>
                <c:pt idx="4">
                  <c:v>1071.7678571428571</c:v>
                </c:pt>
                <c:pt idx="5">
                  <c:v>779.16883116883116</c:v>
                </c:pt>
                <c:pt idx="6">
                  <c:v>1504.166666666667</c:v>
                </c:pt>
                <c:pt idx="7">
                  <c:v>741.27777777777783</c:v>
                </c:pt>
                <c:pt idx="8">
                  <c:v>572.58823529411768</c:v>
                </c:pt>
                <c:pt idx="9">
                  <c:v>391.66666666666669</c:v>
                </c:pt>
                <c:pt idx="10">
                  <c:v>392.11111111111109</c:v>
                </c:pt>
                <c:pt idx="11">
                  <c:v>636.66666666666663</c:v>
                </c:pt>
                <c:pt idx="12">
                  <c:v>9504.58</c:v>
                </c:pt>
                <c:pt idx="13">
                  <c:v>1649.4313725490199</c:v>
                </c:pt>
                <c:pt idx="14">
                  <c:v>940.83333333333337</c:v>
                </c:pt>
                <c:pt idx="15">
                  <c:v>517.75</c:v>
                </c:pt>
                <c:pt idx="16">
                  <c:v>267.60714285714278</c:v>
                </c:pt>
                <c:pt idx="17">
                  <c:v>175.6875</c:v>
                </c:pt>
                <c:pt idx="18">
                  <c:v>311.63157894736838</c:v>
                </c:pt>
              </c:numCache>
            </c:numRef>
          </c:yVal>
          <c:bubbleSize>
            <c:numRef>
              <c:f>Sheet1!$C$2:$C$20</c:f>
              <c:numCache>
                <c:formatCode>General</c:formatCode>
                <c:ptCount val="19"/>
                <c:pt idx="0">
                  <c:v>6119.2248</c:v>
                </c:pt>
                <c:pt idx="1">
                  <c:v>8881.8364000000001</c:v>
                </c:pt>
                <c:pt idx="2">
                  <c:v>9354.9976000000006</c:v>
                </c:pt>
                <c:pt idx="3">
                  <c:v>18277.5072</c:v>
                </c:pt>
                <c:pt idx="4">
                  <c:v>49937.420100000003</c:v>
                </c:pt>
                <c:pt idx="5">
                  <c:v>51340.187000000013</c:v>
                </c:pt>
                <c:pt idx="6">
                  <c:v>3399.7275</c:v>
                </c:pt>
                <c:pt idx="7">
                  <c:v>5192.5</c:v>
                </c:pt>
                <c:pt idx="8">
                  <c:v>7739.6016</c:v>
                </c:pt>
                <c:pt idx="9">
                  <c:v>1679.3806</c:v>
                </c:pt>
                <c:pt idx="10">
                  <c:v>2479.395</c:v>
                </c:pt>
                <c:pt idx="11">
                  <c:v>18532.477500000001</c:v>
                </c:pt>
                <c:pt idx="12">
                  <c:v>760337.93420000002</c:v>
                </c:pt>
                <c:pt idx="13">
                  <c:v>64308.811500000003</c:v>
                </c:pt>
                <c:pt idx="14">
                  <c:v>4239.1659</c:v>
                </c:pt>
                <c:pt idx="15">
                  <c:v>12964.845799999999</c:v>
                </c:pt>
                <c:pt idx="16">
                  <c:v>5877.6760000000004</c:v>
                </c:pt>
                <c:pt idx="17">
                  <c:v>1522.8077000000001</c:v>
                </c:pt>
                <c:pt idx="18">
                  <c:v>4479.5236000000004</c:v>
                </c:pt>
              </c:numCache>
            </c:numRef>
          </c:bubbleSize>
          <c:bubble3D val="0"/>
          <c:extLst>
            <c:ext xmlns:c15="http://schemas.microsoft.com/office/drawing/2012/chart" uri="{02D57815-91ED-43cb-92C2-25804820EDAC}">
              <c15:datalabelsRange>
                <c15:f>Sheet1!$E$2:$E$21</c15:f>
                <c15:dlblRangeCache>
                  <c:ptCount val="20"/>
                  <c:pt idx="0">
                    <c:v>1/2 CHAMP NICOLAS BLC/BLC BS 1CT X 375ML</c:v>
                  </c:pt>
                  <c:pt idx="1">
                    <c:v>1/2 CHAMP NICOLAS ROSE 1E C BS 1CT X 375ML</c:v>
                  </c:pt>
                  <c:pt idx="2">
                    <c:v>MG CHAMPAGNE NICOLAS BLC/BL BS 1CT X 1500ML</c:v>
                  </c:pt>
                  <c:pt idx="3">
                    <c:v>MG CHAMPAGNE E.NICOLAS BRUT 1CT X 1500ML</c:v>
                  </c:pt>
                  <c:pt idx="4">
                    <c:v>CHAMPAGNE E.NICOLAS ROSE 1CT X 750ML</c:v>
                  </c:pt>
                  <c:pt idx="5">
                    <c:v>CHAMPAGNE NICOLAS 1ERE CUVEE 1CT X 750ML</c:v>
                  </c:pt>
                  <c:pt idx="6">
                    <c:v>MG CHAMPAGNE NICOLAS 1ERE CUVE 1CT X 1500ML</c:v>
                  </c:pt>
                  <c:pt idx="7">
                    <c:v>CHAMPAGNE NICOLAS BIO NAT 2017 1CT X 750ML</c:v>
                  </c:pt>
                  <c:pt idx="8">
                    <c:v>CHAMPAGNE NICOLAS BLC DE NOIRS 1CT X 750ML</c:v>
                  </c:pt>
                  <c:pt idx="9">
                    <c:v>CHAMPAGNE NICOLAS ROSE 1E C BS 1CT X 750ML</c:v>
                  </c:pt>
                  <c:pt idx="10">
                    <c:v>CHAMPAGNE NICOLAS ROSE 1ERE ET 1CT X 750ML</c:v>
                  </c:pt>
                  <c:pt idx="11">
                    <c:v>1/2 CHAMPAGNE NICOLAS 1ERE CUV 1CT X 375ML</c:v>
                  </c:pt>
                  <c:pt idx="12">
                    <c:v>CHAMPAGNE E.NICOLAS BRUT 1CT X 750ML</c:v>
                  </c:pt>
                  <c:pt idx="13">
                    <c:v>CHAMPAGNE NICOLAS BLC/BLC BS 1CT X 750ML</c:v>
                  </c:pt>
                  <c:pt idx="14">
                    <c:v>CHAMPAGNE NICOLAS BLC/BLC 2002 1CT X 750ML</c:v>
                  </c:pt>
                  <c:pt idx="15">
                    <c:v>CHAMPAGNE NICOLAS ROSE 1ERE CU 1CT X 750ML</c:v>
                  </c:pt>
                  <c:pt idx="16">
                    <c:v>CHAMPAGNE NICOLAS 1ER CRU BS 1CT X 750ML</c:v>
                  </c:pt>
                  <c:pt idx="17">
                    <c:v>CHAMPAGNE NICOLAS 1ERE CUV ETU 1CT X 750ML</c:v>
                  </c:pt>
                  <c:pt idx="18">
                    <c:v>CHAMPAGNE NICOLAS 1ER CRU ETUI 1CT X 750ML</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7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F1944812-6039-4EDA-99BA-73CA9A1C71B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F516AA2D-322E-4441-A9A3-6721B538220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66FFA2CA-8886-4F68-95B5-8B846BA36F9D}"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D0D67466-5DCF-49A2-A057-1DDBCFC4B7B9}"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0A302A7F-2AF3-4679-BA0D-AF9C98479262}"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94FE9D8A-5FB4-44F6-8BEB-6C4034439B7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709EAC6A-CAB1-414F-A4D8-70343BB7BC3F}"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C45A1DFD-B3E6-4C9C-82FA-148C4F9C776F}"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A6378191-1999-4ACF-983E-8EB987E6F472}"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F800CD8B-5B7E-48A9-BB1B-594A597EB20E}"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21</c:f>
              <c:numCache>
                <c:formatCode>General</c:formatCode>
                <c:ptCount val="20"/>
                <c:pt idx="0">
                  <c:v>0.15</c:v>
                </c:pt>
                <c:pt idx="1">
                  <c:v>0.18</c:v>
                </c:pt>
                <c:pt idx="2">
                  <c:v>0.08</c:v>
                </c:pt>
                <c:pt idx="3">
                  <c:v>0.15</c:v>
                </c:pt>
                <c:pt idx="4">
                  <c:v>0.53</c:v>
                </c:pt>
                <c:pt idx="5">
                  <c:v>0.62</c:v>
                </c:pt>
                <c:pt idx="6">
                  <c:v>0.06</c:v>
                </c:pt>
                <c:pt idx="7">
                  <c:v>0.18</c:v>
                </c:pt>
                <c:pt idx="8">
                  <c:v>0.13</c:v>
                </c:pt>
                <c:pt idx="9">
                  <c:v>7.0000000000000007E-2</c:v>
                </c:pt>
                <c:pt idx="10">
                  <c:v>0.05</c:v>
                </c:pt>
                <c:pt idx="11">
                  <c:v>0.25</c:v>
                </c:pt>
                <c:pt idx="12">
                  <c:v>0.99</c:v>
                </c:pt>
                <c:pt idx="13">
                  <c:v>0.51</c:v>
                </c:pt>
                <c:pt idx="14">
                  <c:v>0.03</c:v>
                </c:pt>
                <c:pt idx="15">
                  <c:v>0.28000000000000003</c:v>
                </c:pt>
                <c:pt idx="16">
                  <c:v>0.03</c:v>
                </c:pt>
                <c:pt idx="17">
                  <c:v>0.28000000000000003</c:v>
                </c:pt>
                <c:pt idx="18">
                  <c:v>0.15</c:v>
                </c:pt>
                <c:pt idx="19">
                  <c:v>0.1</c:v>
                </c:pt>
              </c:numCache>
            </c:numRef>
          </c:xVal>
          <c:yVal>
            <c:numRef>
              <c:f>Sheet1!$B$2:$B$21</c:f>
              <c:numCache>
                <c:formatCode>General</c:formatCode>
                <c:ptCount val="20"/>
                <c:pt idx="0">
                  <c:v>653.5333333333333</c:v>
                </c:pt>
                <c:pt idx="1">
                  <c:v>442.88888888888891</c:v>
                </c:pt>
                <c:pt idx="2">
                  <c:v>1009.75</c:v>
                </c:pt>
                <c:pt idx="3">
                  <c:v>1152.0666666666671</c:v>
                </c:pt>
                <c:pt idx="4">
                  <c:v>999.24528301886789</c:v>
                </c:pt>
                <c:pt idx="5">
                  <c:v>714.12903225806451</c:v>
                </c:pt>
                <c:pt idx="6">
                  <c:v>1150.333333333333</c:v>
                </c:pt>
                <c:pt idx="7">
                  <c:v>745.88888888888891</c:v>
                </c:pt>
                <c:pt idx="8">
                  <c:v>474.61538461538458</c:v>
                </c:pt>
                <c:pt idx="9">
                  <c:v>249</c:v>
                </c:pt>
                <c:pt idx="10">
                  <c:v>628</c:v>
                </c:pt>
                <c:pt idx="11">
                  <c:v>760.28</c:v>
                </c:pt>
                <c:pt idx="12">
                  <c:v>7373.9494949494947</c:v>
                </c:pt>
                <c:pt idx="13">
                  <c:v>1265.294117647059</c:v>
                </c:pt>
                <c:pt idx="14">
                  <c:v>1255.666666666667</c:v>
                </c:pt>
                <c:pt idx="15">
                  <c:v>494.53571428571422</c:v>
                </c:pt>
                <c:pt idx="16">
                  <c:v>556.33333333333337</c:v>
                </c:pt>
                <c:pt idx="17">
                  <c:v>297.49999999999989</c:v>
                </c:pt>
                <c:pt idx="18">
                  <c:v>254.6</c:v>
                </c:pt>
                <c:pt idx="19">
                  <c:v>535</c:v>
                </c:pt>
              </c:numCache>
            </c:numRef>
          </c:yVal>
          <c:bubbleSize>
            <c:numRef>
              <c:f>Sheet1!$C$2:$C$21</c:f>
              <c:numCache>
                <c:formatCode>General</c:formatCode>
                <c:ptCount val="20"/>
                <c:pt idx="0">
                  <c:v>3723.1428000000001</c:v>
                </c:pt>
                <c:pt idx="1">
                  <c:v>6094.4557999999997</c:v>
                </c:pt>
                <c:pt idx="2">
                  <c:v>6103.8220000000001</c:v>
                </c:pt>
                <c:pt idx="3">
                  <c:v>14181.673199999999</c:v>
                </c:pt>
                <c:pt idx="4">
                  <c:v>44041.5962</c:v>
                </c:pt>
                <c:pt idx="5">
                  <c:v>37732.482300000003</c:v>
                </c:pt>
                <c:pt idx="6">
                  <c:v>3399.7275</c:v>
                </c:pt>
                <c:pt idx="7">
                  <c:v>6277.5</c:v>
                </c:pt>
                <c:pt idx="8">
                  <c:v>4820.8271999999997</c:v>
                </c:pt>
                <c:pt idx="9">
                  <c:v>1336.6007999999999</c:v>
                </c:pt>
                <c:pt idx="10">
                  <c:v>2340.6142</c:v>
                </c:pt>
                <c:pt idx="11">
                  <c:v>15325.342500000001</c:v>
                </c:pt>
                <c:pt idx="12">
                  <c:v>581642.16099999996</c:v>
                </c:pt>
                <c:pt idx="13">
                  <c:v>49115.3364</c:v>
                </c:pt>
                <c:pt idx="14">
                  <c:v>2772.4994999999999</c:v>
                </c:pt>
                <c:pt idx="15">
                  <c:v>10944.071400000001</c:v>
                </c:pt>
                <c:pt idx="16">
                  <c:v>1037.2049999999999</c:v>
                </c:pt>
                <c:pt idx="17">
                  <c:v>6714.1922000000004</c:v>
                </c:pt>
                <c:pt idx="18">
                  <c:v>2787.5124000000001</c:v>
                </c:pt>
                <c:pt idx="19">
                  <c:v>4143.8684999999996</c:v>
                </c:pt>
              </c:numCache>
            </c:numRef>
          </c:bubbleSize>
          <c:bubble3D val="0"/>
          <c:extLst>
            <c:ext xmlns:c15="http://schemas.microsoft.com/office/drawing/2012/chart" uri="{02D57815-91ED-43cb-92C2-25804820EDAC}">
              <c15:datalabelsRange>
                <c15:f>Sheet1!$E$2:$E$21</c15:f>
                <c15:dlblRangeCache>
                  <c:ptCount val="20"/>
                  <c:pt idx="0">
                    <c:v>1/2 CHAMP NICOLAS BLC/BLC BS 1CT X 375ML</c:v>
                  </c:pt>
                  <c:pt idx="1">
                    <c:v>1/2 CHAMP NICOLAS ROSE 1E C BS 1CT X 375ML</c:v>
                  </c:pt>
                  <c:pt idx="2">
                    <c:v>MG CHAMPAGNE NICOLAS BLC/BL BS 1CT X 1500ML</c:v>
                  </c:pt>
                  <c:pt idx="3">
                    <c:v>MG CHAMPAGNE E.NICOLAS BRUT 1CT X 1500ML</c:v>
                  </c:pt>
                  <c:pt idx="4">
                    <c:v>CHAMPAGNE E.NICOLAS ROSE 1CT X 750ML</c:v>
                  </c:pt>
                  <c:pt idx="5">
                    <c:v>CHAMPAGNE NICOLAS 1ERE CUVEE 1CT X 750ML</c:v>
                  </c:pt>
                  <c:pt idx="6">
                    <c:v>MG CHAMPAGNE NICOLAS 1ERE CUVE 1CT X 1500ML</c:v>
                  </c:pt>
                  <c:pt idx="7">
                    <c:v>CHAMPAGNE NICOLAS BIO NAT 2017 1CT X 750ML</c:v>
                  </c:pt>
                  <c:pt idx="8">
                    <c:v>CHAMPAGNE NICOLAS BLC DE NOIRS 1CT X 750ML</c:v>
                  </c:pt>
                  <c:pt idx="9">
                    <c:v>CHAMPAGNE NICOLAS ROSE 1E C BS 1CT X 750ML</c:v>
                  </c:pt>
                  <c:pt idx="10">
                    <c:v>CHAMPAGNE NICOLAS ROSE 1ERE ET 1CT X 750ML</c:v>
                  </c:pt>
                  <c:pt idx="11">
                    <c:v>1/2 CHAMPAGNE NICOLAS 1ERE CUV 1CT X 375ML</c:v>
                  </c:pt>
                  <c:pt idx="12">
                    <c:v>CHAMPAGNE E.NICOLAS BRUT 1CT X 750ML</c:v>
                  </c:pt>
                  <c:pt idx="13">
                    <c:v>CHAMPAGNE NICOLAS BLC/BLC BS 1CT X 750ML</c:v>
                  </c:pt>
                  <c:pt idx="14">
                    <c:v>CHAMPAGNE NICOLAS BLC/BLC 2002 1CT X 750ML</c:v>
                  </c:pt>
                  <c:pt idx="15">
                    <c:v>CHAMPAGNE NICOLAS ROSE 1ERE CU 1CT X 750ML</c:v>
                  </c:pt>
                  <c:pt idx="16">
                    <c:v>MG CHAMPAGNE NICOLAS 1E CRU BS 1CT X 1500ML</c:v>
                  </c:pt>
                  <c:pt idx="17">
                    <c:v>CHAMPAGNE NICOLAS 1ER CRU BS 1CT X 750ML</c:v>
                  </c:pt>
                  <c:pt idx="18">
                    <c:v>CHAMPAGNE NICOLAS 1ERE CUV ETU 1CT X 750ML</c:v>
                  </c:pt>
                  <c:pt idx="19">
                    <c:v>CHAMPAGNE NICOLAS 1ER CRU ETUI 1CT X 750ML</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7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A23AC920-1800-40B2-967E-F7F814F679DA}"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D0F23CC2-82E8-45F5-80D6-59F8F08E7E52}"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1F620DBF-AE52-4267-89E0-E48AFF522D3A}"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506F53FE-E3F5-417E-BDBA-1AA4A45DC950}"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A876F29B-962F-4FFD-A4F8-6F7198B913C5}"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942A151A-F768-43EF-9084-5405BDD43C48}"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0D893FD3-2C00-41BA-B7E2-178AFFC3D8AF}"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308FD2D5-0817-4106-A882-99D3EABA2D2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7017C2DF-0D35-42D8-8BB6-CEF2DE32FD5E}"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39F6A94F-052E-41A0-B96A-3B4C52A5E0EB}"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21</c:f>
              <c:numCache>
                <c:formatCode>General</c:formatCode>
                <c:ptCount val="20"/>
                <c:pt idx="0">
                  <c:v>0.17</c:v>
                </c:pt>
                <c:pt idx="1">
                  <c:v>0.2</c:v>
                </c:pt>
                <c:pt idx="2">
                  <c:v>0.1</c:v>
                </c:pt>
                <c:pt idx="3">
                  <c:v>0.15</c:v>
                </c:pt>
                <c:pt idx="4">
                  <c:v>0.45</c:v>
                </c:pt>
                <c:pt idx="5">
                  <c:v>0.55000000000000004</c:v>
                </c:pt>
                <c:pt idx="6">
                  <c:v>0.06</c:v>
                </c:pt>
                <c:pt idx="7">
                  <c:v>0.1</c:v>
                </c:pt>
                <c:pt idx="8">
                  <c:v>7.0000000000000007E-2</c:v>
                </c:pt>
                <c:pt idx="9">
                  <c:v>0.04</c:v>
                </c:pt>
                <c:pt idx="10">
                  <c:v>0.04</c:v>
                </c:pt>
                <c:pt idx="11">
                  <c:v>0.22</c:v>
                </c:pt>
                <c:pt idx="12">
                  <c:v>0.97</c:v>
                </c:pt>
                <c:pt idx="13">
                  <c:v>0.34</c:v>
                </c:pt>
                <c:pt idx="14">
                  <c:v>0.06</c:v>
                </c:pt>
                <c:pt idx="15">
                  <c:v>0.17</c:v>
                </c:pt>
                <c:pt idx="16">
                  <c:v>0.04</c:v>
                </c:pt>
                <c:pt idx="17">
                  <c:v>0.43</c:v>
                </c:pt>
                <c:pt idx="18">
                  <c:v>0.13</c:v>
                </c:pt>
                <c:pt idx="19">
                  <c:v>0.02</c:v>
                </c:pt>
              </c:numCache>
            </c:numRef>
          </c:xVal>
          <c:yVal>
            <c:numRef>
              <c:f>Sheet1!$B$2:$B$21</c:f>
              <c:numCache>
                <c:formatCode>General</c:formatCode>
                <c:ptCount val="20"/>
                <c:pt idx="0">
                  <c:v>642</c:v>
                </c:pt>
                <c:pt idx="1">
                  <c:v>464.65</c:v>
                </c:pt>
                <c:pt idx="2">
                  <c:v>1263.2</c:v>
                </c:pt>
                <c:pt idx="3">
                  <c:v>1184</c:v>
                </c:pt>
                <c:pt idx="4">
                  <c:v>1188.088888888889</c:v>
                </c:pt>
                <c:pt idx="5">
                  <c:v>658.12727272727261</c:v>
                </c:pt>
                <c:pt idx="6">
                  <c:v>1187.833333333333</c:v>
                </c:pt>
                <c:pt idx="7">
                  <c:v>1202.5999999999999</c:v>
                </c:pt>
                <c:pt idx="8">
                  <c:v>783.42857142857133</c:v>
                </c:pt>
                <c:pt idx="9">
                  <c:v>839.75</c:v>
                </c:pt>
                <c:pt idx="10">
                  <c:v>818.25</c:v>
                </c:pt>
                <c:pt idx="11">
                  <c:v>800.18181818181813</c:v>
                </c:pt>
                <c:pt idx="12">
                  <c:v>7707.4123711340208</c:v>
                </c:pt>
                <c:pt idx="13">
                  <c:v>2260.5294117647059</c:v>
                </c:pt>
                <c:pt idx="14">
                  <c:v>790.33333333333337</c:v>
                </c:pt>
                <c:pt idx="15">
                  <c:v>480.29411764705878</c:v>
                </c:pt>
                <c:pt idx="16">
                  <c:v>663.75</c:v>
                </c:pt>
                <c:pt idx="17">
                  <c:v>357.30232558139528</c:v>
                </c:pt>
                <c:pt idx="18">
                  <c:v>383.23076923076923</c:v>
                </c:pt>
                <c:pt idx="19">
                  <c:v>832.5</c:v>
                </c:pt>
              </c:numCache>
            </c:numRef>
          </c:yVal>
          <c:bubbleSize>
            <c:numRef>
              <c:f>Sheet1!$C$2:$C$21</c:f>
              <c:numCache>
                <c:formatCode>General</c:formatCode>
                <c:ptCount val="20"/>
                <c:pt idx="0">
                  <c:v>4700.0069999999996</c:v>
                </c:pt>
                <c:pt idx="1">
                  <c:v>7100.8307999999997</c:v>
                </c:pt>
                <c:pt idx="2">
                  <c:v>9669.2716999999993</c:v>
                </c:pt>
                <c:pt idx="3">
                  <c:v>14623.3392</c:v>
                </c:pt>
                <c:pt idx="4">
                  <c:v>44541.595400000013</c:v>
                </c:pt>
                <c:pt idx="5">
                  <c:v>30828.814399999999</c:v>
                </c:pt>
                <c:pt idx="6">
                  <c:v>3803.085</c:v>
                </c:pt>
                <c:pt idx="7">
                  <c:v>4960</c:v>
                </c:pt>
                <c:pt idx="8">
                  <c:v>4314.6060000000007</c:v>
                </c:pt>
                <c:pt idx="9">
                  <c:v>2426.8018000000002</c:v>
                </c:pt>
                <c:pt idx="10">
                  <c:v>1874.5934999999999</c:v>
                </c:pt>
                <c:pt idx="11">
                  <c:v>14161.9575</c:v>
                </c:pt>
                <c:pt idx="12">
                  <c:v>596350.77399999998</c:v>
                </c:pt>
                <c:pt idx="13">
                  <c:v>58638.855600000003</c:v>
                </c:pt>
                <c:pt idx="14">
                  <c:v>3557.499299999999</c:v>
                </c:pt>
                <c:pt idx="15">
                  <c:v>6433.7096000000001</c:v>
                </c:pt>
                <c:pt idx="16">
                  <c:v>1382.94</c:v>
                </c:pt>
                <c:pt idx="17">
                  <c:v>12986.957899999999</c:v>
                </c:pt>
                <c:pt idx="18">
                  <c:v>3097.2359999999999</c:v>
                </c:pt>
                <c:pt idx="19">
                  <c:v>1205.6768</c:v>
                </c:pt>
              </c:numCache>
            </c:numRef>
          </c:bubbleSize>
          <c:bubble3D val="0"/>
          <c:extLst>
            <c:ext xmlns:c15="http://schemas.microsoft.com/office/drawing/2012/chart" uri="{02D57815-91ED-43cb-92C2-25804820EDAC}">
              <c15:datalabelsRange>
                <c15:f>Sheet1!$E$2:$E$21</c15:f>
                <c15:dlblRangeCache>
                  <c:ptCount val="20"/>
                  <c:pt idx="0">
                    <c:v>1/2 CHAMP NICOLAS BLC/BLC BS 1CT X 375ML</c:v>
                  </c:pt>
                  <c:pt idx="1">
                    <c:v>1/2 CHAMP NICOLAS ROSE 1E C BS 1CT X 375ML</c:v>
                  </c:pt>
                  <c:pt idx="2">
                    <c:v>MG CHAMPAGNE NICOLAS BLC/BL BS 1CT X 1500ML</c:v>
                  </c:pt>
                  <c:pt idx="3">
                    <c:v>MG CHAMPAGNE E.NICOLAS BRUT 1CT X 1500ML</c:v>
                  </c:pt>
                  <c:pt idx="4">
                    <c:v>CHAMPAGNE E.NICOLAS ROSE 1CT X 750ML</c:v>
                  </c:pt>
                  <c:pt idx="5">
                    <c:v>CHAMPAGNE NICOLAS 1ERE CUVEE 1CT X 750ML</c:v>
                  </c:pt>
                  <c:pt idx="6">
                    <c:v>MG CHAMPAGNE NICOLAS 1ERE CUVE 1CT X 1500ML</c:v>
                  </c:pt>
                  <c:pt idx="7">
                    <c:v>CHAMPAGNE NICOLAS BIO NAT 2017 1CT X 750ML</c:v>
                  </c:pt>
                  <c:pt idx="8">
                    <c:v>CHAMPAGNE NICOLAS BLC DE NOIRS 1CT X 750ML</c:v>
                  </c:pt>
                  <c:pt idx="9">
                    <c:v>CHAMPAGNE NICOLAS ROSE 1E C BS 1CT X 750ML</c:v>
                  </c:pt>
                  <c:pt idx="10">
                    <c:v>CHAMPAGNE NICOLAS BLC/BL BS ET 1CT X 750ML</c:v>
                  </c:pt>
                  <c:pt idx="11">
                    <c:v>1/2 CHAMPAGNE NICOLAS 1ERE CUV 1CT X 375ML</c:v>
                  </c:pt>
                  <c:pt idx="12">
                    <c:v>CHAMPAGNE E.NICOLAS BRUT 1CT X 750ML</c:v>
                  </c:pt>
                  <c:pt idx="13">
                    <c:v>CHAMPAGNE NICOLAS BLC/BLC BS 1CT X 750ML</c:v>
                  </c:pt>
                  <c:pt idx="14">
                    <c:v>CHAMPAGNE NICOLAS BLC/BLC 2002 1CT X 750ML</c:v>
                  </c:pt>
                  <c:pt idx="15">
                    <c:v>CHAMPAGNE NICOLAS ROSE 1ERE CU 1CT X 750ML</c:v>
                  </c:pt>
                  <c:pt idx="16">
                    <c:v>MG CHAMPAGNE NICOLAS 1E CRU BS 1CT X 1500ML</c:v>
                  </c:pt>
                  <c:pt idx="17">
                    <c:v>CHAMPAGNE NICOLAS 1ER CRU BS 1CT X 750ML</c:v>
                  </c:pt>
                  <c:pt idx="18">
                    <c:v>CHAMPAGNE NICOLAS 1ERE CUV ETU 1CT X 750ML</c:v>
                  </c:pt>
                  <c:pt idx="19">
                    <c:v>CHAMPAGNE NICOLAS 1ER CRU ETUI 1CT X 750ML</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7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D4AD836E-856D-4ED9-9B0F-3F824DA30270}"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2CB58CD0-67A5-4877-824F-F67629757B39}"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FB073F6E-CBFA-4E49-90F1-4E79B80C78F7}"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9F251841-289C-4E45-81F7-BA0152C22F96}"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B6A226C3-2AF8-4445-B58E-FD2A85DEE2C8}"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970E4675-29C2-474B-A306-AB9F29339796}"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8286620C-1226-4E6C-A036-419B02F3E9A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2550345E-011F-42F3-BDBB-9F5F3E817BE0}"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F53C3CC8-B4E7-4381-8266-B7A93B633AEF}"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0EEC3A7A-B2C9-4B76-95F8-12AF3E36B279}"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dLbl>
              <c:idx val="2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A-21B6-45C0-9BFF-00C945BF3B23}"/>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22</c:f>
              <c:numCache>
                <c:formatCode>General</c:formatCode>
                <c:ptCount val="21"/>
                <c:pt idx="0">
                  <c:v>0.315</c:v>
                </c:pt>
                <c:pt idx="1">
                  <c:v>0.29699999999999999</c:v>
                </c:pt>
                <c:pt idx="2">
                  <c:v>0.17100000000000001</c:v>
                </c:pt>
                <c:pt idx="3">
                  <c:v>0.254</c:v>
                </c:pt>
                <c:pt idx="4">
                  <c:v>0.628</c:v>
                </c:pt>
                <c:pt idx="5">
                  <c:v>0.76700000000000002</c:v>
                </c:pt>
                <c:pt idx="6">
                  <c:v>0.23599999999999999</c:v>
                </c:pt>
                <c:pt idx="7">
                  <c:v>0.2</c:v>
                </c:pt>
                <c:pt idx="8">
                  <c:v>0.20699999999999999</c:v>
                </c:pt>
                <c:pt idx="9">
                  <c:v>8.1000000000000003E-2</c:v>
                </c:pt>
                <c:pt idx="10">
                  <c:v>0.105</c:v>
                </c:pt>
                <c:pt idx="11">
                  <c:v>2.7E-2</c:v>
                </c:pt>
                <c:pt idx="12">
                  <c:v>0.38800000000000001</c:v>
                </c:pt>
                <c:pt idx="13">
                  <c:v>0.998</c:v>
                </c:pt>
                <c:pt idx="14">
                  <c:v>0.58499999999999996</c:v>
                </c:pt>
                <c:pt idx="15">
                  <c:v>9.9000000000000005E-2</c:v>
                </c:pt>
                <c:pt idx="16">
                  <c:v>0.34899999999999998</c:v>
                </c:pt>
                <c:pt idx="17">
                  <c:v>5.7000000000000002E-2</c:v>
                </c:pt>
                <c:pt idx="18">
                  <c:v>0.34699999999999998</c:v>
                </c:pt>
                <c:pt idx="19">
                  <c:v>0.13600000000000001</c:v>
                </c:pt>
                <c:pt idx="20">
                  <c:v>0.189</c:v>
                </c:pt>
              </c:numCache>
            </c:numRef>
          </c:xVal>
          <c:yVal>
            <c:numRef>
              <c:f>Sheet1!$B$2:$B$22</c:f>
              <c:numCache>
                <c:formatCode>General</c:formatCode>
                <c:ptCount val="21"/>
                <c:pt idx="0">
                  <c:v>1861.5238095238101</c:v>
                </c:pt>
                <c:pt idx="1">
                  <c:v>1655.420875420876</c:v>
                </c:pt>
                <c:pt idx="2">
                  <c:v>3376.9590643274851</c:v>
                </c:pt>
                <c:pt idx="3">
                  <c:v>3678.7795275590552</c:v>
                </c:pt>
                <c:pt idx="4">
                  <c:v>4430.9394904458604</c:v>
                </c:pt>
                <c:pt idx="5">
                  <c:v>3148.787483702738</c:v>
                </c:pt>
                <c:pt idx="6">
                  <c:v>1560.550847457627</c:v>
                </c:pt>
                <c:pt idx="7">
                  <c:v>3041.15</c:v>
                </c:pt>
                <c:pt idx="8">
                  <c:v>1814.1062801932369</c:v>
                </c:pt>
                <c:pt idx="9">
                  <c:v>1171.481481481482</c:v>
                </c:pt>
                <c:pt idx="10">
                  <c:v>1485.238095238095</c:v>
                </c:pt>
                <c:pt idx="11">
                  <c:v>2277.7777777777778</c:v>
                </c:pt>
                <c:pt idx="12">
                  <c:v>2524.7422680412369</c:v>
                </c:pt>
                <c:pt idx="13">
                  <c:v>41115.460921843689</c:v>
                </c:pt>
                <c:pt idx="14">
                  <c:v>6637.264957264957</c:v>
                </c:pt>
                <c:pt idx="15">
                  <c:v>2362.121212121212</c:v>
                </c:pt>
                <c:pt idx="16">
                  <c:v>1793.0085959885389</c:v>
                </c:pt>
                <c:pt idx="17">
                  <c:v>1330.526315789474</c:v>
                </c:pt>
                <c:pt idx="18">
                  <c:v>1162.651296829971</c:v>
                </c:pt>
                <c:pt idx="19">
                  <c:v>1050</c:v>
                </c:pt>
                <c:pt idx="20">
                  <c:v>1170.6878306878309</c:v>
                </c:pt>
              </c:numCache>
            </c:numRef>
          </c:yVal>
          <c:bubbleSize>
            <c:numRef>
              <c:f>Sheet1!$C$2:$C$22</c:f>
              <c:numCache>
                <c:formatCode>General</c:formatCode>
                <c:ptCount val="21"/>
                <c:pt idx="0">
                  <c:v>23665.917600000001</c:v>
                </c:pt>
                <c:pt idx="1">
                  <c:v>37518.247200000013</c:v>
                </c:pt>
                <c:pt idx="2">
                  <c:v>43073.496400000004</c:v>
                </c:pt>
                <c:pt idx="3">
                  <c:v>76755.032399999996</c:v>
                </c:pt>
                <c:pt idx="4">
                  <c:v>231541.29620000001</c:v>
                </c:pt>
                <c:pt idx="5">
                  <c:v>206088.80379999999</c:v>
                </c:pt>
                <c:pt idx="6">
                  <c:v>16768.147499999999</c:v>
                </c:pt>
                <c:pt idx="7">
                  <c:v>27280</c:v>
                </c:pt>
                <c:pt idx="8">
                  <c:v>29886.43559999999</c:v>
                </c:pt>
                <c:pt idx="9">
                  <c:v>6818.3055999999997</c:v>
                </c:pt>
                <c:pt idx="10">
                  <c:v>11174.366999999989</c:v>
                </c:pt>
                <c:pt idx="11">
                  <c:v>3201.2289000000001</c:v>
                </c:pt>
                <c:pt idx="12">
                  <c:v>78663.179999999993</c:v>
                </c:pt>
                <c:pt idx="13">
                  <c:v>3279757.6026000022</c:v>
                </c:pt>
                <c:pt idx="14">
                  <c:v>295626.36689999991</c:v>
                </c:pt>
                <c:pt idx="15">
                  <c:v>17459.9964</c:v>
                </c:pt>
                <c:pt idx="16">
                  <c:v>48968.972999999998</c:v>
                </c:pt>
                <c:pt idx="17">
                  <c:v>4321.6875</c:v>
                </c:pt>
                <c:pt idx="18">
                  <c:v>32614.510799999989</c:v>
                </c:pt>
                <c:pt idx="19">
                  <c:v>8672.2607999999982</c:v>
                </c:pt>
                <c:pt idx="20">
                  <c:v>16674.775099999999</c:v>
                </c:pt>
              </c:numCache>
            </c:numRef>
          </c:bubbleSize>
          <c:bubble3D val="0"/>
          <c:extLst>
            <c:ext xmlns:c15="http://schemas.microsoft.com/office/drawing/2012/chart" uri="{02D57815-91ED-43cb-92C2-25804820EDAC}">
              <c15:datalabelsRange>
                <c15:f>Sheet1!$E$2:$E$21</c15:f>
                <c15:dlblRangeCache>
                  <c:ptCount val="20"/>
                  <c:pt idx="0">
                    <c:v>1/2 CHAMP NICOLAS BLC/BLC BS 1CT X 375ML</c:v>
                  </c:pt>
                  <c:pt idx="1">
                    <c:v>1/2 CHAMP NICOLAS ROSE 1E C BS 1CT X 375ML</c:v>
                  </c:pt>
                  <c:pt idx="2">
                    <c:v>MG CHAMPAGNE NICOLAS BLC/BL BS 1CT X 1500ML</c:v>
                  </c:pt>
                  <c:pt idx="3">
                    <c:v>MG CHAMPAGNE E.NICOLAS BRUT 1CT X 1500ML</c:v>
                  </c:pt>
                  <c:pt idx="4">
                    <c:v>CHAMPAGNE E.NICOLAS ROSE 1CT X 750ML</c:v>
                  </c:pt>
                  <c:pt idx="5">
                    <c:v>CHAMPAGNE NICOLAS 1ERE CUVEE 1CT X 750ML</c:v>
                  </c:pt>
                  <c:pt idx="6">
                    <c:v>MG CHAMPAGNE NICOLAS 1ERE CUVE 1CT X 1500ML</c:v>
                  </c:pt>
                  <c:pt idx="7">
                    <c:v>CHAMPAGNE NICOLAS BIO NAT 2017 1CT X 750ML</c:v>
                  </c:pt>
                  <c:pt idx="8">
                    <c:v>CHAMPAGNE NICOLAS BLC DE NOIRS 1CT X 750ML</c:v>
                  </c:pt>
                  <c:pt idx="9">
                    <c:v>CHAMPAGNE NICOLAS ROSE 1E C BS 1CT X 750ML</c:v>
                  </c:pt>
                  <c:pt idx="10">
                    <c:v>CHAMPAGNE NICOLAS ROSE 1ERE ET 1CT X 750ML</c:v>
                  </c:pt>
                  <c:pt idx="11">
                    <c:v>CHAMPAGNE NICOLAS BLC/BL BS ET 1CT X 750ML</c:v>
                  </c:pt>
                  <c:pt idx="12">
                    <c:v>1/2 CHAMPAGNE NICOLAS 1ERE CUV 1CT X 375ML</c:v>
                  </c:pt>
                  <c:pt idx="13">
                    <c:v>CHAMPAGNE E.NICOLAS BRUT 1CT X 750ML</c:v>
                  </c:pt>
                  <c:pt idx="14">
                    <c:v>CHAMPAGNE NICOLAS BLC/BLC BS 1CT X 750ML</c:v>
                  </c:pt>
                  <c:pt idx="15">
                    <c:v>CHAMPAGNE NICOLAS BLC/BLC 2002 1CT X 750ML</c:v>
                  </c:pt>
                  <c:pt idx="16">
                    <c:v>CHAMPAGNE NICOLAS ROSE 1ERE CU 1CT X 750ML</c:v>
                  </c:pt>
                  <c:pt idx="17">
                    <c:v>MG CHAMPAGNE NICOLAS 1E CRU BS 1CT X 1500ML</c:v>
                  </c:pt>
                  <c:pt idx="18">
                    <c:v>CHAMPAGNE NICOLAS 1ER CRU BS 1CT X 750ML</c:v>
                  </c:pt>
                  <c:pt idx="19">
                    <c:v>CHAMPAGNE NICOLAS 1ERE CUV ETU 1CT X 750ML</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7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8B3157F4-9AF2-45B7-B066-84B0C15A2B3B}"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27F985B6-BC61-4F67-931C-A224401FDB2F}"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7E9F3063-53D8-46E9-B75B-4D6C1AE430D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A0920577-376B-496A-A5CB-FF783D41771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69EAB383-9D71-428E-A0D5-B8218B45E2DB}"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8747BB36-F9BB-499E-9FE9-68C15AFBCFF0}"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23084A70-DC9C-427A-951B-84E19ACEC4CC}"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CEFCCBD9-D905-4EBE-AA57-2E914B9138EC}"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56D9A4FB-0604-4C38-8566-02276B1C4EED}"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FC67245E-B17F-4544-8C28-B62B82F427E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dLbl>
              <c:idx val="2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A-E226-42FA-BFC8-D6357D8AE2EC}"/>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22</c:f>
              <c:numCache>
                <c:formatCode>General</c:formatCode>
                <c:ptCount val="21"/>
                <c:pt idx="0">
                  <c:v>0.28000000000000003</c:v>
                </c:pt>
                <c:pt idx="1">
                  <c:v>0.25</c:v>
                </c:pt>
                <c:pt idx="2">
                  <c:v>0.12</c:v>
                </c:pt>
                <c:pt idx="3">
                  <c:v>0.18</c:v>
                </c:pt>
                <c:pt idx="4">
                  <c:v>0.6</c:v>
                </c:pt>
                <c:pt idx="5">
                  <c:v>0.83</c:v>
                </c:pt>
                <c:pt idx="6">
                  <c:v>0.27</c:v>
                </c:pt>
                <c:pt idx="7">
                  <c:v>0.19</c:v>
                </c:pt>
                <c:pt idx="8">
                  <c:v>0.17</c:v>
                </c:pt>
                <c:pt idx="9">
                  <c:v>0.04</c:v>
                </c:pt>
                <c:pt idx="10">
                  <c:v>0.08</c:v>
                </c:pt>
                <c:pt idx="11">
                  <c:v>0.02</c:v>
                </c:pt>
                <c:pt idx="12">
                  <c:v>0.37</c:v>
                </c:pt>
                <c:pt idx="13">
                  <c:v>1</c:v>
                </c:pt>
                <c:pt idx="14">
                  <c:v>0.56999999999999995</c:v>
                </c:pt>
                <c:pt idx="15">
                  <c:v>0.03</c:v>
                </c:pt>
                <c:pt idx="16">
                  <c:v>0.32</c:v>
                </c:pt>
                <c:pt idx="17">
                  <c:v>0.04</c:v>
                </c:pt>
                <c:pt idx="18">
                  <c:v>0.32</c:v>
                </c:pt>
                <c:pt idx="19">
                  <c:v>0.14000000000000001</c:v>
                </c:pt>
                <c:pt idx="20">
                  <c:v>0.18</c:v>
                </c:pt>
              </c:numCache>
            </c:numRef>
          </c:xVal>
          <c:yVal>
            <c:numRef>
              <c:f>Sheet1!$B$2:$B$22</c:f>
              <c:numCache>
                <c:formatCode>General</c:formatCode>
                <c:ptCount val="21"/>
                <c:pt idx="0">
                  <c:v>886.96428571428555</c:v>
                </c:pt>
                <c:pt idx="1">
                  <c:v>925.52</c:v>
                </c:pt>
                <c:pt idx="2">
                  <c:v>2128.083333333333</c:v>
                </c:pt>
                <c:pt idx="3">
                  <c:v>2173.166666666667</c:v>
                </c:pt>
                <c:pt idx="4">
                  <c:v>1972.583333333333</c:v>
                </c:pt>
                <c:pt idx="5">
                  <c:v>1336</c:v>
                </c:pt>
                <c:pt idx="6">
                  <c:v>539.48148148148152</c:v>
                </c:pt>
                <c:pt idx="7">
                  <c:v>1529.526315789474</c:v>
                </c:pt>
                <c:pt idx="8">
                  <c:v>1029.1764705882349</c:v>
                </c:pt>
                <c:pt idx="9">
                  <c:v>960.75</c:v>
                </c:pt>
                <c:pt idx="10">
                  <c:v>804.125</c:v>
                </c:pt>
                <c:pt idx="11">
                  <c:v>1130</c:v>
                </c:pt>
                <c:pt idx="12">
                  <c:v>1241.6756756756761</c:v>
                </c:pt>
                <c:pt idx="13">
                  <c:v>18113.009999999998</c:v>
                </c:pt>
                <c:pt idx="14">
                  <c:v>2986.666666666667</c:v>
                </c:pt>
                <c:pt idx="15">
                  <c:v>2744.333333333333</c:v>
                </c:pt>
                <c:pt idx="16">
                  <c:v>893.375</c:v>
                </c:pt>
                <c:pt idx="17">
                  <c:v>1024.5</c:v>
                </c:pt>
                <c:pt idx="18">
                  <c:v>495.65625</c:v>
                </c:pt>
                <c:pt idx="19">
                  <c:v>455.49999999999989</c:v>
                </c:pt>
                <c:pt idx="20">
                  <c:v>496.88888888888891</c:v>
                </c:pt>
              </c:numCache>
            </c:numRef>
          </c:yVal>
          <c:bubbleSize>
            <c:numRef>
              <c:f>Sheet1!$C$2:$C$22</c:f>
              <c:numCache>
                <c:formatCode>General</c:formatCode>
                <c:ptCount val="21"/>
                <c:pt idx="0">
                  <c:v>10100.4072</c:v>
                </c:pt>
                <c:pt idx="1">
                  <c:v>17931.8982</c:v>
                </c:pt>
                <c:pt idx="2">
                  <c:v>19555.973999999998</c:v>
                </c:pt>
                <c:pt idx="3">
                  <c:v>32460.013800000001</c:v>
                </c:pt>
                <c:pt idx="4">
                  <c:v>98562.342300000004</c:v>
                </c:pt>
                <c:pt idx="5">
                  <c:v>94936.974799999996</c:v>
                </c:pt>
                <c:pt idx="6">
                  <c:v>6741.8325000000004</c:v>
                </c:pt>
                <c:pt idx="7">
                  <c:v>13523.75</c:v>
                </c:pt>
                <c:pt idx="8">
                  <c:v>14009.454</c:v>
                </c:pt>
                <c:pt idx="9">
                  <c:v>2827.04</c:v>
                </c:pt>
                <c:pt idx="10">
                  <c:v>4778.6550000000007</c:v>
                </c:pt>
                <c:pt idx="11">
                  <c:v>1009.3964999999999</c:v>
                </c:pt>
                <c:pt idx="12">
                  <c:v>37160.055</c:v>
                </c:pt>
                <c:pt idx="13">
                  <c:v>1444977.4757999999</c:v>
                </c:pt>
                <c:pt idx="14">
                  <c:v>130073.0886</c:v>
                </c:pt>
                <c:pt idx="15">
                  <c:v>6279.9983999999986</c:v>
                </c:pt>
                <c:pt idx="16">
                  <c:v>22715.9624</c:v>
                </c:pt>
                <c:pt idx="17">
                  <c:v>2477.7674999999999</c:v>
                </c:pt>
                <c:pt idx="18">
                  <c:v>13135.884899999999</c:v>
                </c:pt>
                <c:pt idx="19">
                  <c:v>4181.2686000000003</c:v>
                </c:pt>
                <c:pt idx="20">
                  <c:v>6954.8029000000006</c:v>
                </c:pt>
              </c:numCache>
            </c:numRef>
          </c:bubbleSize>
          <c:bubble3D val="0"/>
          <c:extLst>
            <c:ext xmlns:c15="http://schemas.microsoft.com/office/drawing/2012/chart" uri="{02D57815-91ED-43cb-92C2-25804820EDAC}">
              <c15:datalabelsRange>
                <c15:f>Sheet1!$E$2:$E$21</c15:f>
                <c15:dlblRangeCache>
                  <c:ptCount val="20"/>
                  <c:pt idx="0">
                    <c:v>1/2 CHAMP NICOLAS BLC/BLC BS 1CT X 375ML</c:v>
                  </c:pt>
                  <c:pt idx="1">
                    <c:v>1/2 CHAMP NICOLAS ROSE 1E C BS 1CT X 375ML</c:v>
                  </c:pt>
                  <c:pt idx="2">
                    <c:v>MG CHAMPAGNE NICOLAS BLC/BL BS 1CT X 1500ML</c:v>
                  </c:pt>
                  <c:pt idx="3">
                    <c:v>MG CHAMPAGNE E.NICOLAS BRUT 1CT X 1500ML</c:v>
                  </c:pt>
                  <c:pt idx="4">
                    <c:v>CHAMPAGNE E.NICOLAS ROSE 1CT X 750ML</c:v>
                  </c:pt>
                  <c:pt idx="5">
                    <c:v>CHAMPAGNE NICOLAS 1ERE CUVEE 1CT X 750ML</c:v>
                  </c:pt>
                  <c:pt idx="6">
                    <c:v>MG CHAMPAGNE NICOLAS 1ERE CUVE 1CT X 1500ML</c:v>
                  </c:pt>
                  <c:pt idx="7">
                    <c:v>CHAMPAGNE NICOLAS BIO NAT 2017 1CT X 750ML</c:v>
                  </c:pt>
                  <c:pt idx="8">
                    <c:v>CHAMPAGNE NICOLAS BLC DE NOIRS 1CT X 750ML</c:v>
                  </c:pt>
                  <c:pt idx="9">
                    <c:v>CHAMPAGNE NICOLAS ROSE 1E C BS 1CT X 750ML</c:v>
                  </c:pt>
                  <c:pt idx="10">
                    <c:v>CHAMPAGNE NICOLAS ROSE 1ERE ET 1CT X 750ML</c:v>
                  </c:pt>
                  <c:pt idx="11">
                    <c:v>CHAMPAGNE NICOLAS BLC/BL BS ET 1CT X 750ML</c:v>
                  </c:pt>
                  <c:pt idx="12">
                    <c:v>1/2 CHAMPAGNE NICOLAS 1ERE CUV 1CT X 375ML</c:v>
                  </c:pt>
                  <c:pt idx="13">
                    <c:v>CHAMPAGNE E.NICOLAS BRUT 1CT X 750ML</c:v>
                  </c:pt>
                  <c:pt idx="14">
                    <c:v>CHAMPAGNE NICOLAS BLC/BLC BS 1CT X 750ML</c:v>
                  </c:pt>
                  <c:pt idx="15">
                    <c:v>CHAMPAGNE NICOLAS BLC/BLC 2002 1CT X 750ML</c:v>
                  </c:pt>
                  <c:pt idx="16">
                    <c:v>CHAMPAGNE NICOLAS ROSE 1ERE CU 1CT X 750ML</c:v>
                  </c:pt>
                  <c:pt idx="17">
                    <c:v>MG CHAMPAGNE NICOLAS 1E CRU BS 1CT X 1500ML</c:v>
                  </c:pt>
                  <c:pt idx="18">
                    <c:v>CHAMPAGNE NICOLAS 1ER CRU BS 1CT X 750ML</c:v>
                  </c:pt>
                  <c:pt idx="19">
                    <c:v>CHAMPAGNE NICOLAS 1ERE CUV ETU 1CT X 750ML</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7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89B2A3F7-AFBB-4AED-8C55-6C4D40F868FE}"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B99FEF44-7192-49EF-9C4B-66520476278C}"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2EE0DE90-E4B1-446F-A307-C3EFC259ABBB}"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EB690467-1E85-45F4-9AD1-D8EA774B6CDE}"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A0A83275-CA5C-4FE1-AE5B-84F545F6EA16}"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9E6D0E0F-938D-4402-8777-D6724D80F429}"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56CF1A87-A1C0-4D83-9E31-53D2A9FBAEDE}"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C0579205-E1BF-49BB-B48D-66F92E4E0416}"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DCE2453D-76C1-406A-B361-B9DB15179B6F}"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73AA3FAC-8AD1-402A-9C42-4D17A718981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dLbl>
              <c:idx val="2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A-3874-43E1-AD75-986DE1AECD62}"/>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22</c:f>
              <c:numCache>
                <c:formatCode>General</c:formatCode>
                <c:ptCount val="21"/>
                <c:pt idx="0">
                  <c:v>0.28000000000000003</c:v>
                </c:pt>
                <c:pt idx="1">
                  <c:v>0.25</c:v>
                </c:pt>
                <c:pt idx="2">
                  <c:v>0.16</c:v>
                </c:pt>
                <c:pt idx="3">
                  <c:v>0.24</c:v>
                </c:pt>
                <c:pt idx="4">
                  <c:v>0.61</c:v>
                </c:pt>
                <c:pt idx="5">
                  <c:v>0.74</c:v>
                </c:pt>
                <c:pt idx="6">
                  <c:v>0.11</c:v>
                </c:pt>
                <c:pt idx="7">
                  <c:v>0.14000000000000001</c:v>
                </c:pt>
                <c:pt idx="8">
                  <c:v>0.19</c:v>
                </c:pt>
                <c:pt idx="9">
                  <c:v>0.08</c:v>
                </c:pt>
                <c:pt idx="10">
                  <c:v>0.09</c:v>
                </c:pt>
                <c:pt idx="11">
                  <c:v>0.04</c:v>
                </c:pt>
                <c:pt idx="12">
                  <c:v>0.26</c:v>
                </c:pt>
                <c:pt idx="13">
                  <c:v>0.99</c:v>
                </c:pt>
                <c:pt idx="14">
                  <c:v>0.56999999999999995</c:v>
                </c:pt>
                <c:pt idx="15">
                  <c:v>0.08</c:v>
                </c:pt>
                <c:pt idx="16">
                  <c:v>0.28000000000000003</c:v>
                </c:pt>
                <c:pt idx="17">
                  <c:v>0.09</c:v>
                </c:pt>
                <c:pt idx="18">
                  <c:v>0.46</c:v>
                </c:pt>
                <c:pt idx="19">
                  <c:v>0.11</c:v>
                </c:pt>
                <c:pt idx="20">
                  <c:v>0.11</c:v>
                </c:pt>
              </c:numCache>
            </c:numRef>
          </c:xVal>
          <c:yVal>
            <c:numRef>
              <c:f>Sheet1!$B$2:$B$22</c:f>
              <c:numCache>
                <c:formatCode>General</c:formatCode>
                <c:ptCount val="21"/>
                <c:pt idx="0">
                  <c:v>423.53571428571422</c:v>
                </c:pt>
                <c:pt idx="1">
                  <c:v>408.96</c:v>
                </c:pt>
                <c:pt idx="2">
                  <c:v>793.125</c:v>
                </c:pt>
                <c:pt idx="3">
                  <c:v>784.08333333333337</c:v>
                </c:pt>
                <c:pt idx="4">
                  <c:v>1087.5081967213109</c:v>
                </c:pt>
                <c:pt idx="5">
                  <c:v>775.16216216216219</c:v>
                </c:pt>
                <c:pt idx="6">
                  <c:v>840.27272727272725</c:v>
                </c:pt>
                <c:pt idx="7">
                  <c:v>759.57142857142844</c:v>
                </c:pt>
                <c:pt idx="8">
                  <c:v>541.31578947368416</c:v>
                </c:pt>
                <c:pt idx="9">
                  <c:v>344.125</c:v>
                </c:pt>
                <c:pt idx="10">
                  <c:v>421.66666666666669</c:v>
                </c:pt>
                <c:pt idx="11">
                  <c:v>409</c:v>
                </c:pt>
                <c:pt idx="12">
                  <c:v>680.5</c:v>
                </c:pt>
                <c:pt idx="13">
                  <c:v>8910.3333333333339</c:v>
                </c:pt>
                <c:pt idx="14">
                  <c:v>1670.5438596491231</c:v>
                </c:pt>
                <c:pt idx="15">
                  <c:v>627.125</c:v>
                </c:pt>
                <c:pt idx="16">
                  <c:v>450.67857142857139</c:v>
                </c:pt>
                <c:pt idx="17">
                  <c:v>210.33333333333329</c:v>
                </c:pt>
                <c:pt idx="18">
                  <c:v>264.47826086956519</c:v>
                </c:pt>
                <c:pt idx="19">
                  <c:v>339.72727272727269</c:v>
                </c:pt>
                <c:pt idx="20">
                  <c:v>339.18181818181819</c:v>
                </c:pt>
              </c:numCache>
            </c:numRef>
          </c:yVal>
          <c:bubbleSize>
            <c:numRef>
              <c:f>Sheet1!$C$2:$C$22</c:f>
              <c:numCache>
                <c:formatCode>General</c:formatCode>
                <c:ptCount val="21"/>
                <c:pt idx="0">
                  <c:v>4902.7524000000003</c:v>
                </c:pt>
                <c:pt idx="1">
                  <c:v>7855.2091999999993</c:v>
                </c:pt>
                <c:pt idx="2">
                  <c:v>9578.7224000000006</c:v>
                </c:pt>
                <c:pt idx="3">
                  <c:v>15687.0903</c:v>
                </c:pt>
                <c:pt idx="4">
                  <c:v>55666.577599999997</c:v>
                </c:pt>
                <c:pt idx="5">
                  <c:v>50401.209000000003</c:v>
                </c:pt>
                <c:pt idx="6">
                  <c:v>3745.462500000001</c:v>
                </c:pt>
                <c:pt idx="7">
                  <c:v>4340</c:v>
                </c:pt>
                <c:pt idx="8">
                  <c:v>8243.9351999999999</c:v>
                </c:pt>
                <c:pt idx="9">
                  <c:v>1940.376</c:v>
                </c:pt>
                <c:pt idx="10">
                  <c:v>2723.3622</c:v>
                </c:pt>
                <c:pt idx="11">
                  <c:v>1067.0762999999999</c:v>
                </c:pt>
                <c:pt idx="12">
                  <c:v>14275.365</c:v>
                </c:pt>
                <c:pt idx="13">
                  <c:v>707509.91910000006</c:v>
                </c:pt>
                <c:pt idx="14">
                  <c:v>72774.786599999992</c:v>
                </c:pt>
                <c:pt idx="15">
                  <c:v>3846.6660000000002</c:v>
                </c:pt>
                <c:pt idx="16">
                  <c:v>10077.9148</c:v>
                </c:pt>
                <c:pt idx="17">
                  <c:v>1152.45</c:v>
                </c:pt>
                <c:pt idx="18">
                  <c:v>10311.304099999999</c:v>
                </c:pt>
                <c:pt idx="19">
                  <c:v>1987.3931</c:v>
                </c:pt>
                <c:pt idx="20">
                  <c:v>2800.0599000000002</c:v>
                </c:pt>
              </c:numCache>
            </c:numRef>
          </c:bubbleSize>
          <c:bubble3D val="0"/>
          <c:extLst>
            <c:ext xmlns:c15="http://schemas.microsoft.com/office/drawing/2012/chart" uri="{02D57815-91ED-43cb-92C2-25804820EDAC}">
              <c15:datalabelsRange>
                <c15:f>Sheet1!$E$2:$E$21</c15:f>
                <c15:dlblRangeCache>
                  <c:ptCount val="20"/>
                  <c:pt idx="0">
                    <c:v>1/2 CHAMP NICOLAS BLC/BLC BS 1CT X 375ML</c:v>
                  </c:pt>
                  <c:pt idx="1">
                    <c:v>1/2 CHAMP NICOLAS ROSE 1E C BS 1CT X 375ML</c:v>
                  </c:pt>
                  <c:pt idx="2">
                    <c:v>MG CHAMPAGNE NICOLAS BLC/BL BS 1CT X 1500ML</c:v>
                  </c:pt>
                  <c:pt idx="3">
                    <c:v>MG CHAMPAGNE E.NICOLAS BRUT 1CT X 1500ML</c:v>
                  </c:pt>
                  <c:pt idx="4">
                    <c:v>CHAMPAGNE E.NICOLAS ROSE 1CT X 750ML</c:v>
                  </c:pt>
                  <c:pt idx="5">
                    <c:v>CHAMPAGNE NICOLAS 1ERE CUVEE 1CT X 750ML</c:v>
                  </c:pt>
                  <c:pt idx="6">
                    <c:v>MG CHAMPAGNE NICOLAS 1ERE CUVE 1CT X 1500ML</c:v>
                  </c:pt>
                  <c:pt idx="7">
                    <c:v>CHAMPAGNE NICOLAS BIO NAT 2017 1CT X 750ML</c:v>
                  </c:pt>
                  <c:pt idx="8">
                    <c:v>CHAMPAGNE NICOLAS BLC DE NOIRS 1CT X 750ML</c:v>
                  </c:pt>
                  <c:pt idx="9">
                    <c:v>CHAMPAGNE NICOLAS ROSE 1E C BS 1CT X 750ML</c:v>
                  </c:pt>
                  <c:pt idx="10">
                    <c:v>CHAMPAGNE NICOLAS ROSE 1ERE ET 1CT X 750ML</c:v>
                  </c:pt>
                  <c:pt idx="11">
                    <c:v>CHAMPAGNE NICOLAS BLC/BL BS ET 1CT X 750ML</c:v>
                  </c:pt>
                  <c:pt idx="12">
                    <c:v>1/2 CHAMPAGNE NICOLAS 1ERE CUV 1CT X 375ML</c:v>
                  </c:pt>
                  <c:pt idx="13">
                    <c:v>CHAMPAGNE E.NICOLAS BRUT 1CT X 750ML</c:v>
                  </c:pt>
                  <c:pt idx="14">
                    <c:v>CHAMPAGNE NICOLAS BLC/BLC BS 1CT X 750ML</c:v>
                  </c:pt>
                  <c:pt idx="15">
                    <c:v>CHAMPAGNE NICOLAS BLC/BLC 2002 1CT X 750ML</c:v>
                  </c:pt>
                  <c:pt idx="16">
                    <c:v>CHAMPAGNE NICOLAS ROSE 1ERE CU 1CT X 750ML</c:v>
                  </c:pt>
                  <c:pt idx="17">
                    <c:v>MG CHAMPAGNE NICOLAS 1E CRU BS 1CT X 1500ML</c:v>
                  </c:pt>
                  <c:pt idx="18">
                    <c:v>CHAMPAGNE NICOLAS 1ER CRU BS 1CT X 750ML</c:v>
                  </c:pt>
                  <c:pt idx="19">
                    <c:v>CHAMPAGNE NICOLAS 1ERE CUV ETU 1CT X 750ML</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7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1FB22431-9CC4-4CDF-8D18-99660A4B95B6}"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5797E77A-27D3-4A5F-98F5-C93F9EA6779F}"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3B3AB04F-7B00-42A0-BA66-B1321787E17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4F113CEB-5B27-4B20-BD6F-3AE26F3C1E0C}"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E60386B5-6B67-4E90-91B8-FEA7C14399A8}"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5700081D-8323-4B7E-8F62-A49B9366E8AF}"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96515A06-D44B-494D-A4F2-E94836638AD2}"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C8AEA6FA-B87F-4B9D-BCE4-4ACA8AFB92DE}"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16C97FC8-819B-49C2-9F5D-A1107DA7858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5103AF17-66FB-4EF0-95C6-56658A87C48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7</c:f>
              <c:numCache>
                <c:formatCode>General</c:formatCode>
                <c:ptCount val="16"/>
                <c:pt idx="0">
                  <c:v>0.33</c:v>
                </c:pt>
                <c:pt idx="1">
                  <c:v>0.35</c:v>
                </c:pt>
                <c:pt idx="2">
                  <c:v>0.2</c:v>
                </c:pt>
                <c:pt idx="3">
                  <c:v>0.28000000000000003</c:v>
                </c:pt>
                <c:pt idx="4">
                  <c:v>0.56000000000000005</c:v>
                </c:pt>
                <c:pt idx="5">
                  <c:v>0.77</c:v>
                </c:pt>
                <c:pt idx="6">
                  <c:v>0.19</c:v>
                </c:pt>
                <c:pt idx="7">
                  <c:v>0.3</c:v>
                </c:pt>
                <c:pt idx="8">
                  <c:v>0.37</c:v>
                </c:pt>
                <c:pt idx="9">
                  <c:v>0.49</c:v>
                </c:pt>
                <c:pt idx="10">
                  <c:v>1</c:v>
                </c:pt>
                <c:pt idx="11">
                  <c:v>0.51</c:v>
                </c:pt>
                <c:pt idx="12">
                  <c:v>0.13</c:v>
                </c:pt>
                <c:pt idx="13">
                  <c:v>0.42</c:v>
                </c:pt>
                <c:pt idx="14">
                  <c:v>0.39</c:v>
                </c:pt>
                <c:pt idx="15">
                  <c:v>0.16</c:v>
                </c:pt>
              </c:numCache>
            </c:numRef>
          </c:xVal>
          <c:yVal>
            <c:numRef>
              <c:f>Sheet1!$B$2:$B$17</c:f>
              <c:numCache>
                <c:formatCode>General</c:formatCode>
                <c:ptCount val="16"/>
                <c:pt idx="0">
                  <c:v>217.27272727272731</c:v>
                </c:pt>
                <c:pt idx="1">
                  <c:v>204.14285714285711</c:v>
                </c:pt>
                <c:pt idx="2">
                  <c:v>248.9</c:v>
                </c:pt>
                <c:pt idx="3">
                  <c:v>337.32142857142861</c:v>
                </c:pt>
                <c:pt idx="4">
                  <c:v>468.76785714285711</c:v>
                </c:pt>
                <c:pt idx="5">
                  <c:v>280.97402597402589</c:v>
                </c:pt>
                <c:pt idx="6">
                  <c:v>243.15789473684211</c:v>
                </c:pt>
                <c:pt idx="7">
                  <c:v>315.39999999999998</c:v>
                </c:pt>
                <c:pt idx="8">
                  <c:v>73.270270270270274</c:v>
                </c:pt>
                <c:pt idx="9">
                  <c:v>281.55102040816331</c:v>
                </c:pt>
                <c:pt idx="10">
                  <c:v>4501.0200000000004</c:v>
                </c:pt>
                <c:pt idx="11">
                  <c:v>631.52941176470586</c:v>
                </c:pt>
                <c:pt idx="12">
                  <c:v>263.92307692307691</c:v>
                </c:pt>
                <c:pt idx="13">
                  <c:v>175.04761904761901</c:v>
                </c:pt>
                <c:pt idx="14">
                  <c:v>102.3333333333333</c:v>
                </c:pt>
                <c:pt idx="15">
                  <c:v>182.625</c:v>
                </c:pt>
              </c:numCache>
            </c:numRef>
          </c:yVal>
          <c:bubbleSize>
            <c:numRef>
              <c:f>Sheet1!$C$2:$C$17</c:f>
              <c:numCache>
                <c:formatCode>General</c:formatCode>
                <c:ptCount val="16"/>
                <c:pt idx="0">
                  <c:v>2985.8868000000002</c:v>
                </c:pt>
                <c:pt idx="1">
                  <c:v>5452.527</c:v>
                </c:pt>
                <c:pt idx="2">
                  <c:v>3637.1163999999999</c:v>
                </c:pt>
                <c:pt idx="3">
                  <c:v>7693.3367999999991</c:v>
                </c:pt>
                <c:pt idx="4">
                  <c:v>21791.631799999999</c:v>
                </c:pt>
                <c:pt idx="5">
                  <c:v>17890.1122</c:v>
                </c:pt>
                <c:pt idx="6">
                  <c:v>2189.6550000000002</c:v>
                </c:pt>
                <c:pt idx="7">
                  <c:v>4262.5</c:v>
                </c:pt>
                <c:pt idx="8">
                  <c:v>2141.886</c:v>
                </c:pt>
                <c:pt idx="9">
                  <c:v>11122.71</c:v>
                </c:pt>
                <c:pt idx="10">
                  <c:v>358993.02679999999</c:v>
                </c:pt>
                <c:pt idx="11">
                  <c:v>24585.891299999999</c:v>
                </c:pt>
                <c:pt idx="12">
                  <c:v>2521.6662000000001</c:v>
                </c:pt>
                <c:pt idx="13">
                  <c:v>5571.3715999999986</c:v>
                </c:pt>
                <c:pt idx="14">
                  <c:v>2999.828</c:v>
                </c:pt>
                <c:pt idx="15">
                  <c:v>2153.1293999999998</c:v>
                </c:pt>
              </c:numCache>
            </c:numRef>
          </c:bubbleSize>
          <c:bubble3D val="0"/>
          <c:extLst>
            <c:ext xmlns:c15="http://schemas.microsoft.com/office/drawing/2012/chart" uri="{02D57815-91ED-43cb-92C2-25804820EDAC}">
              <c15:datalabelsRange>
                <c15:f>Sheet1!$E$2:$E$21</c15:f>
                <c15:dlblRangeCache>
                  <c:ptCount val="20"/>
                  <c:pt idx="0">
                    <c:v>1/2 CHAMP NICOLAS BLC/BLC BS 1CT X 375ML</c:v>
                  </c:pt>
                  <c:pt idx="1">
                    <c:v>1/2 CHAMP NICOLAS ROSE 1E C BS 1CT X 375ML</c:v>
                  </c:pt>
                  <c:pt idx="2">
                    <c:v>MG CHAMPAGNE NICOLAS BLC/BL BS 1CT X 1500ML</c:v>
                  </c:pt>
                  <c:pt idx="3">
                    <c:v>MG CHAMPAGNE E.NICOLAS BRUT 1CT X 1500ML</c:v>
                  </c:pt>
                  <c:pt idx="4">
                    <c:v>CHAMPAGNE E.NICOLAS ROSE 1CT X 750ML</c:v>
                  </c:pt>
                  <c:pt idx="5">
                    <c:v>CHAMPAGNE NICOLAS 1ERE CUVEE 1CT X 750ML</c:v>
                  </c:pt>
                  <c:pt idx="6">
                    <c:v>MG CHAMPAGNE NICOLAS 1ERE CUVE 1CT X 1500ML</c:v>
                  </c:pt>
                  <c:pt idx="7">
                    <c:v>CHAMPAGNE NICOLAS BIO NAT 2017 1CT X 750ML</c:v>
                  </c:pt>
                  <c:pt idx="8">
                    <c:v>CHAMPAGNE NICOLAS BLC DE NOIRS 1CT X 750ML</c:v>
                  </c:pt>
                  <c:pt idx="9">
                    <c:v>1/2 CHAMPAGNE NICOLAS 1ERE CUV 1CT X 375ML</c:v>
                  </c:pt>
                  <c:pt idx="10">
                    <c:v>CHAMPAGNE E.NICOLAS BRUT 1CT X 750ML</c:v>
                  </c:pt>
                  <c:pt idx="11">
                    <c:v>CHAMPAGNE NICOLAS BLC/BLC BS 1CT X 750ML</c:v>
                  </c:pt>
                  <c:pt idx="12">
                    <c:v>CHAMPAGNE NICOLAS BLC/BLC 2002 1CT X 750ML</c:v>
                  </c:pt>
                  <c:pt idx="13">
                    <c:v>CHAMPAGNE NICOLAS ROSE 1ERE CU 1CT X 750ML</c:v>
                  </c:pt>
                  <c:pt idx="14">
                    <c:v>CHAMPAGNE NICOLAS 1ER CRU BS 1CT X 750ML</c:v>
                  </c:pt>
                  <c:pt idx="15">
                    <c:v>CHAMPAGNE NICOLAS 1ER CRU ETUI 1CT X 750ML</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7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B2CDABE5-5A6B-4DE2-94B4-93E0228B9B49}"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4C7A760A-B77D-4E39-ABF3-FBF5E2B754D9}"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B32B7857-5CD7-4ED5-BAF9-95ADF38ED229}"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17D036C8-30AA-4218-93FA-2B459355F60B}"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C1085F85-A103-427E-9448-F0B008D32BFC}"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46DD7FC2-4023-44DB-906C-03CE59A3A9AF}"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01790F38-07F6-4FEE-B11C-DD1092DFA7F9}"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1EE1122A-4884-4E4D-BEB2-D2D32EB1952C}"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61BB79D3-9273-4B45-9158-4AB6EEF685DE}"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E0B83805-EB77-4146-9F47-0F2CC96E01AB}"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6</c:f>
              <c:numCache>
                <c:formatCode>General</c:formatCode>
                <c:ptCount val="15"/>
                <c:pt idx="0">
                  <c:v>0.39</c:v>
                </c:pt>
                <c:pt idx="1">
                  <c:v>0.44</c:v>
                </c:pt>
                <c:pt idx="2">
                  <c:v>0.19</c:v>
                </c:pt>
                <c:pt idx="3">
                  <c:v>0.28000000000000003</c:v>
                </c:pt>
                <c:pt idx="4">
                  <c:v>0.64</c:v>
                </c:pt>
                <c:pt idx="5">
                  <c:v>0.6</c:v>
                </c:pt>
                <c:pt idx="6">
                  <c:v>0.15</c:v>
                </c:pt>
                <c:pt idx="7">
                  <c:v>0.23</c:v>
                </c:pt>
                <c:pt idx="8">
                  <c:v>0.43</c:v>
                </c:pt>
                <c:pt idx="9">
                  <c:v>1</c:v>
                </c:pt>
                <c:pt idx="10">
                  <c:v>0.59</c:v>
                </c:pt>
                <c:pt idx="11">
                  <c:v>0.28000000000000003</c:v>
                </c:pt>
                <c:pt idx="12">
                  <c:v>0.38</c:v>
                </c:pt>
                <c:pt idx="13">
                  <c:v>0.2</c:v>
                </c:pt>
                <c:pt idx="14">
                  <c:v>0.4</c:v>
                </c:pt>
              </c:numCache>
            </c:numRef>
          </c:xVal>
          <c:yVal>
            <c:numRef>
              <c:f>Sheet1!$B$2:$B$16</c:f>
              <c:numCache>
                <c:formatCode>General</c:formatCode>
                <c:ptCount val="15"/>
                <c:pt idx="0">
                  <c:v>132.2051282051282</c:v>
                </c:pt>
                <c:pt idx="1">
                  <c:v>67.909090909090907</c:v>
                </c:pt>
                <c:pt idx="2">
                  <c:v>150.4736842105263</c:v>
                </c:pt>
                <c:pt idx="3">
                  <c:v>194</c:v>
                </c:pt>
                <c:pt idx="4">
                  <c:v>283.578125</c:v>
                </c:pt>
                <c:pt idx="5">
                  <c:v>169.55</c:v>
                </c:pt>
                <c:pt idx="6">
                  <c:v>280.66666666666669</c:v>
                </c:pt>
                <c:pt idx="7">
                  <c:v>133.56521739130429</c:v>
                </c:pt>
                <c:pt idx="8">
                  <c:v>136.18604651162789</c:v>
                </c:pt>
                <c:pt idx="9">
                  <c:v>2484.3200000000002</c:v>
                </c:pt>
                <c:pt idx="10">
                  <c:v>394.05084745762713</c:v>
                </c:pt>
                <c:pt idx="11">
                  <c:v>51.499999999999993</c:v>
                </c:pt>
                <c:pt idx="12">
                  <c:v>100.0263157894737</c:v>
                </c:pt>
                <c:pt idx="13">
                  <c:v>95.55</c:v>
                </c:pt>
                <c:pt idx="14">
                  <c:v>61.825000000000003</c:v>
                </c:pt>
              </c:numCache>
            </c:numRef>
          </c:yVal>
          <c:bubbleSize>
            <c:numRef>
              <c:f>Sheet1!$C$2:$C$16</c:f>
              <c:numCache>
                <c:formatCode>General</c:formatCode>
                <c:ptCount val="15"/>
                <c:pt idx="0">
                  <c:v>1787.8458000000001</c:v>
                </c:pt>
                <c:pt idx="1">
                  <c:v>2227.174</c:v>
                </c:pt>
                <c:pt idx="2">
                  <c:v>2024.117</c:v>
                </c:pt>
                <c:pt idx="3">
                  <c:v>4340.8356000000003</c:v>
                </c:pt>
                <c:pt idx="4">
                  <c:v>15041.642599999999</c:v>
                </c:pt>
                <c:pt idx="5">
                  <c:v>8259.4321</c:v>
                </c:pt>
                <c:pt idx="6">
                  <c:v>2053.75</c:v>
                </c:pt>
                <c:pt idx="7">
                  <c:v>2451.4416000000001</c:v>
                </c:pt>
                <c:pt idx="8">
                  <c:v>4704.8100000000004</c:v>
                </c:pt>
                <c:pt idx="9">
                  <c:v>198113.8518</c:v>
                </c:pt>
                <c:pt idx="10">
                  <c:v>17628.3279</c:v>
                </c:pt>
                <c:pt idx="11">
                  <c:v>1093.3332</c:v>
                </c:pt>
                <c:pt idx="12">
                  <c:v>2900.6026000000002</c:v>
                </c:pt>
                <c:pt idx="13">
                  <c:v>1478.8743999999999</c:v>
                </c:pt>
                <c:pt idx="14">
                  <c:v>1875.0716</c:v>
                </c:pt>
              </c:numCache>
            </c:numRef>
          </c:bubbleSize>
          <c:bubble3D val="0"/>
          <c:extLst>
            <c:ext xmlns:c15="http://schemas.microsoft.com/office/drawing/2012/chart" uri="{02D57815-91ED-43cb-92C2-25804820EDAC}">
              <c15:datalabelsRange>
                <c15:f>Sheet1!$E$2:$E$21</c15:f>
                <c15:dlblRangeCache>
                  <c:ptCount val="20"/>
                  <c:pt idx="0">
                    <c:v>1/2 CHAMP NICOLAS BLC/BLC BS 1CT X 375ML</c:v>
                  </c:pt>
                  <c:pt idx="1">
                    <c:v>1/2 CHAMP NICOLAS ROSE 1E C BS 1CT X 375ML</c:v>
                  </c:pt>
                  <c:pt idx="2">
                    <c:v>MG CHAMPAGNE NICOLAS BLC/BL BS 1CT X 1500ML</c:v>
                  </c:pt>
                  <c:pt idx="3">
                    <c:v>MG CHAMPAGNE E.NICOLAS BRUT 1CT X 1500ML</c:v>
                  </c:pt>
                  <c:pt idx="4">
                    <c:v>CHAMPAGNE E.NICOLAS ROSE 1CT X 750ML</c:v>
                  </c:pt>
                  <c:pt idx="5">
                    <c:v>CHAMPAGNE NICOLAS 1ERE CUVEE 1CT X 750ML</c:v>
                  </c:pt>
                  <c:pt idx="6">
                    <c:v>CHAMPAGNE NICOLAS BIO NAT 2017 1CT X 750ML</c:v>
                  </c:pt>
                  <c:pt idx="7">
                    <c:v>CHAMPAGNE NICOLAS BLC DE NOIRS 1CT X 750ML</c:v>
                  </c:pt>
                  <c:pt idx="8">
                    <c:v>1/2 CHAMPAGNE NICOLAS 1ERE CUV 1CT X 375ML</c:v>
                  </c:pt>
                  <c:pt idx="9">
                    <c:v>CHAMPAGNE E.NICOLAS BRUT 1CT X 750ML</c:v>
                  </c:pt>
                  <c:pt idx="10">
                    <c:v>CHAMPAGNE NICOLAS BLC/BLC BS 1CT X 750ML</c:v>
                  </c:pt>
                  <c:pt idx="11">
                    <c:v>CHAMPAGNE NICOLAS BLC/BLC 2002 1CT X 750ML</c:v>
                  </c:pt>
                  <c:pt idx="12">
                    <c:v>CHAMPAGNE NICOLAS ROSE 1ERE CU 1CT X 750ML</c:v>
                  </c:pt>
                  <c:pt idx="13">
                    <c:v>CHAMPAGNE NICOLAS 1ER CRU BS 1CT X 750ML</c:v>
                  </c:pt>
                  <c:pt idx="14">
                    <c:v>CHAMPAGNE NICOLAS 1ER CRU ETUI 1CT X 750ML</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7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A8FDDF5A-F8B5-45AF-8473-85B32B6E0272}"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1974847B-7CCF-4879-B89B-D1001852DE0D}"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F82F1F22-BDD3-4A9F-BE3E-D5141521BDA9}"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FC8E3ACF-C5DB-49C3-8604-A46A58115F90}"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66903C53-231F-4A39-ABE4-FE078626BDB3}"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2E2D747E-97E8-4DC9-8180-A131246CC71A}"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494AB1C8-9831-48AB-BCEA-31714AFAE3A2}"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D61A8F1E-1C67-4796-8253-69D8100C059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DA1C3B02-8BF5-4D2C-88E3-995E0C0A5D22}"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D46B76DC-4818-4387-9318-E46F5E96F9C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2</c:f>
              <c:numCache>
                <c:formatCode>General</c:formatCode>
                <c:ptCount val="11"/>
                <c:pt idx="0">
                  <c:v>0.53</c:v>
                </c:pt>
                <c:pt idx="1">
                  <c:v>0.43</c:v>
                </c:pt>
                <c:pt idx="2">
                  <c:v>0.34</c:v>
                </c:pt>
                <c:pt idx="3">
                  <c:v>0.35</c:v>
                </c:pt>
                <c:pt idx="4">
                  <c:v>0.82</c:v>
                </c:pt>
                <c:pt idx="5">
                  <c:v>0.76</c:v>
                </c:pt>
                <c:pt idx="6">
                  <c:v>0.23</c:v>
                </c:pt>
                <c:pt idx="7">
                  <c:v>0.61</c:v>
                </c:pt>
                <c:pt idx="8">
                  <c:v>1</c:v>
                </c:pt>
                <c:pt idx="9">
                  <c:v>0.65</c:v>
                </c:pt>
                <c:pt idx="10">
                  <c:v>0.39</c:v>
                </c:pt>
              </c:numCache>
            </c:numRef>
          </c:xVal>
          <c:yVal>
            <c:numRef>
              <c:f>Sheet1!$B$2:$B$12</c:f>
              <c:numCache>
                <c:formatCode>General</c:formatCode>
                <c:ptCount val="11"/>
                <c:pt idx="0">
                  <c:v>50.150943396226417</c:v>
                </c:pt>
                <c:pt idx="1">
                  <c:v>48.139534883720927</c:v>
                </c:pt>
                <c:pt idx="2">
                  <c:v>103.61764705882349</c:v>
                </c:pt>
                <c:pt idx="3">
                  <c:v>117.4</c:v>
                </c:pt>
                <c:pt idx="4">
                  <c:v>163.08536585365849</c:v>
                </c:pt>
                <c:pt idx="5">
                  <c:v>134.71052631578951</c:v>
                </c:pt>
                <c:pt idx="6">
                  <c:v>78.130434782608702</c:v>
                </c:pt>
                <c:pt idx="7">
                  <c:v>38.918032786885249</c:v>
                </c:pt>
                <c:pt idx="8">
                  <c:v>1744.57</c:v>
                </c:pt>
                <c:pt idx="9">
                  <c:v>276.32307692307688</c:v>
                </c:pt>
                <c:pt idx="10">
                  <c:v>61.307692307692307</c:v>
                </c:pt>
              </c:numCache>
            </c:numRef>
          </c:yVal>
          <c:bubbleSize>
            <c:numRef>
              <c:f>Sheet1!$C$2:$C$12</c:f>
              <c:numCache>
                <c:formatCode>General</c:formatCode>
                <c:ptCount val="11"/>
                <c:pt idx="0">
                  <c:v>1105.884</c:v>
                </c:pt>
                <c:pt idx="1">
                  <c:v>1486.9084</c:v>
                </c:pt>
                <c:pt idx="2">
                  <c:v>2565.979600000001</c:v>
                </c:pt>
                <c:pt idx="3">
                  <c:v>3277.9178999999999</c:v>
                </c:pt>
                <c:pt idx="4">
                  <c:v>11041.648999999999</c:v>
                </c:pt>
                <c:pt idx="5">
                  <c:v>8494.0993000000017</c:v>
                </c:pt>
                <c:pt idx="6">
                  <c:v>1410.2208000000001</c:v>
                </c:pt>
                <c:pt idx="7">
                  <c:v>1817.7974999999999</c:v>
                </c:pt>
                <c:pt idx="8">
                  <c:v>139572.4345</c:v>
                </c:pt>
                <c:pt idx="9">
                  <c:v>13564.0926</c:v>
                </c:pt>
                <c:pt idx="10">
                  <c:v>1884.8882000000001</c:v>
                </c:pt>
              </c:numCache>
            </c:numRef>
          </c:bubbleSize>
          <c:bubble3D val="0"/>
          <c:extLst>
            <c:ext xmlns:c15="http://schemas.microsoft.com/office/drawing/2012/chart" uri="{02D57815-91ED-43cb-92C2-25804820EDAC}">
              <c15:datalabelsRange>
                <c15:f>Sheet1!$E$2:$E$21</c15:f>
                <c15:dlblRangeCache>
                  <c:ptCount val="20"/>
                  <c:pt idx="0">
                    <c:v>1/2 CHAMP NICOLAS BLC/BLC BS 1CT X 375ML</c:v>
                  </c:pt>
                  <c:pt idx="1">
                    <c:v>1/2 CHAMP NICOLAS ROSE 1E C BS 1CT X 375ML</c:v>
                  </c:pt>
                  <c:pt idx="2">
                    <c:v>MG CHAMPAGNE NICOLAS BLC/BL BS 1CT X 1500ML</c:v>
                  </c:pt>
                  <c:pt idx="3">
                    <c:v>MG CHAMPAGNE E.NICOLAS BRUT 1CT X 1500ML</c:v>
                  </c:pt>
                  <c:pt idx="4">
                    <c:v>CHAMPAGNE E.NICOLAS ROSE 1CT X 750ML</c:v>
                  </c:pt>
                  <c:pt idx="5">
                    <c:v>CHAMPAGNE NICOLAS 1ERE CUVEE 1CT X 750ML</c:v>
                  </c:pt>
                  <c:pt idx="6">
                    <c:v>CHAMPAGNE NICOLAS BLC DE NOIRS 1CT X 750ML</c:v>
                  </c:pt>
                  <c:pt idx="7">
                    <c:v>1/2 CHAMPAGNE NICOLAS 1ERE CUV 1CT X 375ML</c:v>
                  </c:pt>
                  <c:pt idx="8">
                    <c:v>CHAMPAGNE E.NICOLAS BRUT 1CT X 750ML</c:v>
                  </c:pt>
                  <c:pt idx="9">
                    <c:v>CHAMPAGNE NICOLAS BLC/BLC BS 1CT X 750ML</c:v>
                  </c:pt>
                  <c:pt idx="10">
                    <c:v>CHAMPAGNE NICOLAS ROSE 1ERE CU 1CT X 750ML</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7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C47A5A1F-1BF8-4BA6-8727-213602F24740}"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9355C342-5852-430D-B17D-883704938A5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12541F5A-D07B-462E-985C-C4482C739C87}"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7EDB6B6B-771E-4BC8-9456-E28DE25F1F0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A4C616D5-9CE7-40CB-8D71-A17FA14E4969}"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88CA7A44-82DE-4CAA-A830-D65EBB7551E0}"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70AF4BC8-7208-45F2-9B31-7002DA600B77}"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56030983-59B8-4F76-A85E-E1A34B8E27B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31DA3C84-7FB6-4740-A989-B2620958E149}"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1488ABA6-D1B3-4A77-A6E5-EC948EFC909D}"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dLbl>
              <c:idx val="2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A-677C-4EA0-8944-A19FCB2F89ED}"/>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22</c:f>
              <c:numCache>
                <c:formatCode>General</c:formatCode>
                <c:ptCount val="21"/>
                <c:pt idx="0">
                  <c:v>0.24</c:v>
                </c:pt>
                <c:pt idx="1">
                  <c:v>0.27</c:v>
                </c:pt>
                <c:pt idx="2">
                  <c:v>0.14000000000000001</c:v>
                </c:pt>
                <c:pt idx="3">
                  <c:v>0.16</c:v>
                </c:pt>
                <c:pt idx="4">
                  <c:v>0.59</c:v>
                </c:pt>
                <c:pt idx="5">
                  <c:v>0.78</c:v>
                </c:pt>
                <c:pt idx="6">
                  <c:v>0.18</c:v>
                </c:pt>
                <c:pt idx="7">
                  <c:v>0.15</c:v>
                </c:pt>
                <c:pt idx="8">
                  <c:v>0.18</c:v>
                </c:pt>
                <c:pt idx="9">
                  <c:v>0.05</c:v>
                </c:pt>
                <c:pt idx="10">
                  <c:v>0.09</c:v>
                </c:pt>
                <c:pt idx="11">
                  <c:v>0.02</c:v>
                </c:pt>
                <c:pt idx="12">
                  <c:v>0.32</c:v>
                </c:pt>
                <c:pt idx="13">
                  <c:v>0.99</c:v>
                </c:pt>
                <c:pt idx="14">
                  <c:v>0.55000000000000004</c:v>
                </c:pt>
                <c:pt idx="15">
                  <c:v>0.04</c:v>
                </c:pt>
                <c:pt idx="16">
                  <c:v>0.33</c:v>
                </c:pt>
                <c:pt idx="17">
                  <c:v>0.04</c:v>
                </c:pt>
                <c:pt idx="18">
                  <c:v>0.32</c:v>
                </c:pt>
                <c:pt idx="19">
                  <c:v>0.11</c:v>
                </c:pt>
                <c:pt idx="20">
                  <c:v>0.18</c:v>
                </c:pt>
              </c:numCache>
            </c:numRef>
          </c:xVal>
          <c:yVal>
            <c:numRef>
              <c:f>Sheet1!$B$2:$B$22</c:f>
              <c:numCache>
                <c:formatCode>General</c:formatCode>
                <c:ptCount val="21"/>
                <c:pt idx="0">
                  <c:v>1603.583333333333</c:v>
                </c:pt>
                <c:pt idx="1">
                  <c:v>1250.962962962963</c:v>
                </c:pt>
                <c:pt idx="2">
                  <c:v>2556.3571428571431</c:v>
                </c:pt>
                <c:pt idx="3">
                  <c:v>3170.375</c:v>
                </c:pt>
                <c:pt idx="4">
                  <c:v>2988.0338983050851</c:v>
                </c:pt>
                <c:pt idx="5">
                  <c:v>2029.1923076923081</c:v>
                </c:pt>
                <c:pt idx="6">
                  <c:v>1121.3888888888889</c:v>
                </c:pt>
                <c:pt idx="7">
                  <c:v>2824.0666666666671</c:v>
                </c:pt>
                <c:pt idx="8">
                  <c:v>1489.3888888888889</c:v>
                </c:pt>
                <c:pt idx="9">
                  <c:v>1025</c:v>
                </c:pt>
                <c:pt idx="10">
                  <c:v>1141.2222222222219</c:v>
                </c:pt>
                <c:pt idx="11">
                  <c:v>2045</c:v>
                </c:pt>
                <c:pt idx="12">
                  <c:v>2088.78125</c:v>
                </c:pt>
                <c:pt idx="13">
                  <c:v>27681.21212121212</c:v>
                </c:pt>
                <c:pt idx="14">
                  <c:v>4890.9272727272719</c:v>
                </c:pt>
                <c:pt idx="15">
                  <c:v>2986</c:v>
                </c:pt>
                <c:pt idx="16">
                  <c:v>1302.878787878788</c:v>
                </c:pt>
                <c:pt idx="17">
                  <c:v>1233.5</c:v>
                </c:pt>
                <c:pt idx="18">
                  <c:v>770.59375</c:v>
                </c:pt>
                <c:pt idx="19">
                  <c:v>879.18181818181813</c:v>
                </c:pt>
                <c:pt idx="20">
                  <c:v>891.5</c:v>
                </c:pt>
              </c:numCache>
            </c:numRef>
          </c:yVal>
          <c:bubbleSize>
            <c:numRef>
              <c:f>Sheet1!$C$2:$C$22</c:f>
              <c:numCache>
                <c:formatCode>General</c:formatCode>
                <c:ptCount val="21"/>
                <c:pt idx="0">
                  <c:v>15261.199199999999</c:v>
                </c:pt>
                <c:pt idx="1">
                  <c:v>26195.250400000001</c:v>
                </c:pt>
                <c:pt idx="2">
                  <c:v>27646.147799999999</c:v>
                </c:pt>
                <c:pt idx="3">
                  <c:v>42099.603300000002</c:v>
                </c:pt>
                <c:pt idx="4">
                  <c:v>146791.43179999999</c:v>
                </c:pt>
                <c:pt idx="5">
                  <c:v>136720.74660000001</c:v>
                </c:pt>
                <c:pt idx="6">
                  <c:v>8470.5074999999997</c:v>
                </c:pt>
                <c:pt idx="7">
                  <c:v>18755</c:v>
                </c:pt>
                <c:pt idx="8">
                  <c:v>21531.75</c:v>
                </c:pt>
                <c:pt idx="9">
                  <c:v>3837.8892000000001</c:v>
                </c:pt>
                <c:pt idx="10">
                  <c:v>7789.3092000000006</c:v>
                </c:pt>
                <c:pt idx="11">
                  <c:v>2162.9924999999998</c:v>
                </c:pt>
                <c:pt idx="12">
                  <c:v>54240.614999999998</c:v>
                </c:pt>
                <c:pt idx="13">
                  <c:v>2186773.7568999999</c:v>
                </c:pt>
                <c:pt idx="14">
                  <c:v>205922.62530000001</c:v>
                </c:pt>
                <c:pt idx="15">
                  <c:v>9431.6645999999982</c:v>
                </c:pt>
                <c:pt idx="16">
                  <c:v>34143.103000000003</c:v>
                </c:pt>
                <c:pt idx="17">
                  <c:v>2881.125</c:v>
                </c:pt>
                <c:pt idx="18">
                  <c:v>20279.3665</c:v>
                </c:pt>
                <c:pt idx="19">
                  <c:v>6039.6102000000001</c:v>
                </c:pt>
                <c:pt idx="20">
                  <c:v>12648.247100000001</c:v>
                </c:pt>
              </c:numCache>
            </c:numRef>
          </c:bubbleSize>
          <c:bubble3D val="0"/>
          <c:extLst>
            <c:ext xmlns:c15="http://schemas.microsoft.com/office/drawing/2012/chart" uri="{02D57815-91ED-43cb-92C2-25804820EDAC}">
              <c15:datalabelsRange>
                <c15:f>Sheet1!$E$2:$E$21</c15:f>
                <c15:dlblRangeCache>
                  <c:ptCount val="20"/>
                  <c:pt idx="0">
                    <c:v>1/2 CHAMP NICOLAS BLC/BLC BS 1CT X 375ML</c:v>
                  </c:pt>
                  <c:pt idx="1">
                    <c:v>1/2 CHAMP NICOLAS ROSE 1E C BS 1CT X 375ML</c:v>
                  </c:pt>
                  <c:pt idx="2">
                    <c:v>MG CHAMPAGNE NICOLAS BLC/BL BS 1CT X 1500ML</c:v>
                  </c:pt>
                  <c:pt idx="3">
                    <c:v>MG CHAMPAGNE E.NICOLAS BRUT 1CT X 1500ML</c:v>
                  </c:pt>
                  <c:pt idx="4">
                    <c:v>CHAMPAGNE E.NICOLAS ROSE 1CT X 750ML</c:v>
                  </c:pt>
                  <c:pt idx="5">
                    <c:v>CHAMPAGNE NICOLAS 1ERE CUVEE 1CT X 750ML</c:v>
                  </c:pt>
                  <c:pt idx="6">
                    <c:v>MG CHAMPAGNE NICOLAS 1ERE CUVE 1CT X 1500ML</c:v>
                  </c:pt>
                  <c:pt idx="7">
                    <c:v>CHAMPAGNE NICOLAS BIO NAT 2017 1CT X 750ML</c:v>
                  </c:pt>
                  <c:pt idx="8">
                    <c:v>CHAMPAGNE NICOLAS BLC DE NOIRS 1CT X 750ML</c:v>
                  </c:pt>
                  <c:pt idx="9">
                    <c:v>CHAMPAGNE NICOLAS ROSE 1E C BS 1CT X 750ML</c:v>
                  </c:pt>
                  <c:pt idx="10">
                    <c:v>CHAMPAGNE NICOLAS ROSE 1ERE ET 1CT X 750ML</c:v>
                  </c:pt>
                  <c:pt idx="11">
                    <c:v>CHAMPAGNE NICOLAS BLC/BL BS ET 1CT X 750ML</c:v>
                  </c:pt>
                  <c:pt idx="12">
                    <c:v>1/2 CHAMPAGNE NICOLAS 1ERE CUV 1CT X 375ML</c:v>
                  </c:pt>
                  <c:pt idx="13">
                    <c:v>CHAMPAGNE E.NICOLAS BRUT 1CT X 750ML</c:v>
                  </c:pt>
                  <c:pt idx="14">
                    <c:v>CHAMPAGNE NICOLAS BLC/BLC BS 1CT X 750ML</c:v>
                  </c:pt>
                  <c:pt idx="15">
                    <c:v>CHAMPAGNE NICOLAS BLC/BLC 2002 1CT X 750ML</c:v>
                  </c:pt>
                  <c:pt idx="16">
                    <c:v>CHAMPAGNE NICOLAS ROSE 1ERE CU 1CT X 750ML</c:v>
                  </c:pt>
                  <c:pt idx="17">
                    <c:v>MG CHAMPAGNE NICOLAS 1E CRU BS 1CT X 1500ML</c:v>
                  </c:pt>
                  <c:pt idx="18">
                    <c:v>CHAMPAGNE NICOLAS 1ER CRU BS 1CT X 750ML</c:v>
                  </c:pt>
                  <c:pt idx="19">
                    <c:v>CHAMPAGNE NICOLAS 1ERE CUV ETU 1CT X 750ML</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Nicolas</c:v>
                </c:pt>
                <c:pt idx="2">
                  <c:v>Malard</c:v>
                </c:pt>
                <c:pt idx="3">
                  <c:v>Besserat De Bellefon</c:v>
                </c:pt>
                <c:pt idx="4">
                  <c:v>Henriot</c:v>
                </c:pt>
                <c:pt idx="5">
                  <c:v>De Bligny</c:v>
                </c:pt>
                <c:pt idx="6">
                  <c:v>Delamotte</c:v>
                </c:pt>
                <c:pt idx="7">
                  <c:v>Ayala</c:v>
                </c:pt>
                <c:pt idx="8">
                  <c:v>De Venoge</c:v>
                </c:pt>
                <c:pt idx="9">
                  <c:v>Others</c:v>
                </c:pt>
              </c:strCache>
            </c:strRef>
          </c:cat>
          <c:val>
            <c:numRef>
              <c:f>Sheet1!$B$2:$B$11</c:f>
              <c:numCache>
                <c:formatCode>General</c:formatCode>
                <c:ptCount val="10"/>
                <c:pt idx="0">
                  <c:v>0.66170499005533856</c:v>
                </c:pt>
                <c:pt idx="1">
                  <c:v>6.3421370343842667E-2</c:v>
                </c:pt>
                <c:pt idx="2">
                  <c:v>5.8632096921586087E-2</c:v>
                </c:pt>
                <c:pt idx="3">
                  <c:v>4.4185823518216386E-2</c:v>
                </c:pt>
                <c:pt idx="4">
                  <c:v>3.9989307128048594E-2</c:v>
                </c:pt>
                <c:pt idx="5">
                  <c:v>2.8317950222937663E-2</c:v>
                </c:pt>
                <c:pt idx="6">
                  <c:v>2.5594609397814064E-2</c:v>
                </c:pt>
                <c:pt idx="7">
                  <c:v>2.0827854931433413E-2</c:v>
                </c:pt>
                <c:pt idx="8">
                  <c:v>1.8044221417996859E-2</c:v>
                </c:pt>
                <c:pt idx="9">
                  <c:v>3.9281776062785753E-2</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Nicolas</c:v>
                </c:pt>
                <c:pt idx="2">
                  <c:v>Malard</c:v>
                </c:pt>
                <c:pt idx="3">
                  <c:v>Besserat De Bellefon</c:v>
                </c:pt>
                <c:pt idx="4">
                  <c:v>Henriot</c:v>
                </c:pt>
                <c:pt idx="5">
                  <c:v>De Bligny</c:v>
                </c:pt>
                <c:pt idx="6">
                  <c:v>Delamotte</c:v>
                </c:pt>
                <c:pt idx="7">
                  <c:v>Ayala</c:v>
                </c:pt>
                <c:pt idx="8">
                  <c:v>De Venoge</c:v>
                </c:pt>
                <c:pt idx="9">
                  <c:v>Others</c:v>
                </c:pt>
              </c:strCache>
            </c:strRef>
          </c:cat>
          <c:val>
            <c:numRef>
              <c:f>Sheet1!$C$2:$C$11</c:f>
              <c:numCache>
                <c:formatCode>General</c:formatCode>
                <c:ptCount val="10"/>
                <c:pt idx="0">
                  <c:v>0.32232704402515755</c:v>
                </c:pt>
                <c:pt idx="1">
                  <c:v>0.12735849056603787</c:v>
                </c:pt>
                <c:pt idx="2">
                  <c:v>7.8616352201257941E-2</c:v>
                </c:pt>
                <c:pt idx="3">
                  <c:v>6.9182389937106986E-2</c:v>
                </c:pt>
                <c:pt idx="4">
                  <c:v>8.0188679245283098E-2</c:v>
                </c:pt>
                <c:pt idx="5">
                  <c:v>8.0188679245283098E-2</c:v>
                </c:pt>
                <c:pt idx="6">
                  <c:v>4.4025157232704448E-2</c:v>
                </c:pt>
                <c:pt idx="7">
                  <c:v>4.5597484276729605E-2</c:v>
                </c:pt>
                <c:pt idx="8">
                  <c:v>3.616352201257865E-2</c:v>
                </c:pt>
                <c:pt idx="9">
                  <c:v>0.11635220125786175</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Nicolas</c:v>
                </c:pt>
                <c:pt idx="2">
                  <c:v>Malard</c:v>
                </c:pt>
                <c:pt idx="3">
                  <c:v>Besserat De Bellefon</c:v>
                </c:pt>
                <c:pt idx="4">
                  <c:v>Henriot</c:v>
                </c:pt>
                <c:pt idx="5">
                  <c:v>De Bligny</c:v>
                </c:pt>
                <c:pt idx="6">
                  <c:v>Delamotte</c:v>
                </c:pt>
                <c:pt idx="7">
                  <c:v>Ayala</c:v>
                </c:pt>
                <c:pt idx="8">
                  <c:v>De Venoge</c:v>
                </c:pt>
                <c:pt idx="9">
                  <c:v>Others</c:v>
                </c:pt>
              </c:strCache>
            </c:strRef>
          </c:cat>
          <c:val>
            <c:numRef>
              <c:f>Sheet1!$D$2:$D$11</c:f>
              <c:numCache>
                <c:formatCode>General</c:formatCode>
                <c:ptCount val="10"/>
                <c:pt idx="0">
                  <c:v>48.711593364015776</c:v>
                </c:pt>
                <c:pt idx="1">
                  <c:v>200.81321150198485</c:v>
                </c:pt>
                <c:pt idx="2">
                  <c:v>134.08415582747887</c:v>
                </c:pt>
                <c:pt idx="3">
                  <c:v>156.57146213102791</c:v>
                </c:pt>
                <c:pt idx="4">
                  <c:v>200.52530289788035</c:v>
                </c:pt>
                <c:pt idx="5">
                  <c:v>283.17261176739379</c:v>
                </c:pt>
                <c:pt idx="6">
                  <c:v>172.0094905471168</c:v>
                </c:pt>
                <c:pt idx="7">
                  <c:v>218.92549389670393</c:v>
                </c:pt>
                <c:pt idx="8">
                  <c:v>200.41608432331722</c:v>
                </c:pt>
                <c:pt idx="9">
                  <c:v>296.19893222722675</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7F6AF3F2-E953-4573-ADC3-A8B9E9E22057}"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514421A5-EBCE-4558-ACF7-3DFB301D7A42}"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38B5B3DE-54DC-43D0-A186-A4F37EE622F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0FFFF1A5-AC3B-4A60-B135-A5A2A7596C06}"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A299C59D-3F69-490F-A428-97BF26E02993}"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F759C387-3F09-42F1-B3C5-D84B2CA41AC2}"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6FF7C844-593C-46F6-94CF-14A65F1B806D}"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ADCC32AF-E285-48A8-937E-D69C739C2352}"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335BA41B-C0E7-4493-B9F1-741A88D9D660}"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83287317-4D75-4A28-B0E4-42B18554CB18}"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7</c:f>
              <c:numCache>
                <c:formatCode>General</c:formatCode>
                <c:ptCount val="16"/>
                <c:pt idx="0">
                  <c:v>0.37</c:v>
                </c:pt>
                <c:pt idx="1">
                  <c:v>0.41</c:v>
                </c:pt>
                <c:pt idx="2">
                  <c:v>0.2</c:v>
                </c:pt>
                <c:pt idx="3">
                  <c:v>0.39</c:v>
                </c:pt>
                <c:pt idx="4">
                  <c:v>0.86</c:v>
                </c:pt>
                <c:pt idx="5">
                  <c:v>0.78</c:v>
                </c:pt>
                <c:pt idx="6">
                  <c:v>0.26</c:v>
                </c:pt>
                <c:pt idx="7">
                  <c:v>0.19</c:v>
                </c:pt>
                <c:pt idx="8">
                  <c:v>0.2</c:v>
                </c:pt>
                <c:pt idx="9">
                  <c:v>0.44</c:v>
                </c:pt>
                <c:pt idx="10">
                  <c:v>1</c:v>
                </c:pt>
                <c:pt idx="11">
                  <c:v>0.73</c:v>
                </c:pt>
                <c:pt idx="12">
                  <c:v>0.17</c:v>
                </c:pt>
                <c:pt idx="13">
                  <c:v>0.43</c:v>
                </c:pt>
                <c:pt idx="14">
                  <c:v>0.25</c:v>
                </c:pt>
                <c:pt idx="15">
                  <c:v>0.16</c:v>
                </c:pt>
              </c:numCache>
            </c:numRef>
          </c:xVal>
          <c:yVal>
            <c:numRef>
              <c:f>Sheet1!$B$2:$B$17</c:f>
              <c:numCache>
                <c:formatCode>General</c:formatCode>
                <c:ptCount val="16"/>
                <c:pt idx="0">
                  <c:v>214.32432432432429</c:v>
                </c:pt>
                <c:pt idx="1">
                  <c:v>105.609756097561</c:v>
                </c:pt>
                <c:pt idx="2">
                  <c:v>330.95</c:v>
                </c:pt>
                <c:pt idx="3">
                  <c:v>383.10256410256409</c:v>
                </c:pt>
                <c:pt idx="4">
                  <c:v>355.97674418604652</c:v>
                </c:pt>
                <c:pt idx="5">
                  <c:v>284.11538461538458</c:v>
                </c:pt>
                <c:pt idx="6">
                  <c:v>189.34615384615381</c:v>
                </c:pt>
                <c:pt idx="7">
                  <c:v>262.10526315789468</c:v>
                </c:pt>
                <c:pt idx="8">
                  <c:v>98.5</c:v>
                </c:pt>
                <c:pt idx="9">
                  <c:v>210.5454545454545</c:v>
                </c:pt>
                <c:pt idx="10">
                  <c:v>4592.25</c:v>
                </c:pt>
                <c:pt idx="11">
                  <c:v>578.94520547945206</c:v>
                </c:pt>
                <c:pt idx="12">
                  <c:v>217.29411764705881</c:v>
                </c:pt>
                <c:pt idx="13">
                  <c:v>173.7441860465116</c:v>
                </c:pt>
                <c:pt idx="14">
                  <c:v>174.64</c:v>
                </c:pt>
                <c:pt idx="15">
                  <c:v>138.5625</c:v>
                </c:pt>
              </c:numCache>
            </c:numRef>
          </c:yVal>
          <c:bubbleSize>
            <c:numRef>
              <c:f>Sheet1!$C$2:$C$17</c:f>
              <c:numCache>
                <c:formatCode>General</c:formatCode>
                <c:ptCount val="16"/>
                <c:pt idx="0">
                  <c:v>3354.5148000000008</c:v>
                </c:pt>
                <c:pt idx="1">
                  <c:v>3249.0277999999998</c:v>
                </c:pt>
                <c:pt idx="2">
                  <c:v>4883.0576000000001</c:v>
                </c:pt>
                <c:pt idx="3">
                  <c:v>12278.337600000001</c:v>
                </c:pt>
                <c:pt idx="4">
                  <c:v>25437.459299999999</c:v>
                </c:pt>
                <c:pt idx="5">
                  <c:v>18105.7834</c:v>
                </c:pt>
                <c:pt idx="6">
                  <c:v>2650.6350000000002</c:v>
                </c:pt>
                <c:pt idx="7">
                  <c:v>2518.75</c:v>
                </c:pt>
                <c:pt idx="8">
                  <c:v>1537.248</c:v>
                </c:pt>
                <c:pt idx="9">
                  <c:v>7387.3650000000007</c:v>
                </c:pt>
                <c:pt idx="10">
                  <c:v>368051.65149999998</c:v>
                </c:pt>
                <c:pt idx="11">
                  <c:v>32173.861499999999</c:v>
                </c:pt>
                <c:pt idx="12">
                  <c:v>2753.3327999999992</c:v>
                </c:pt>
                <c:pt idx="13">
                  <c:v>5633.6952000000001</c:v>
                </c:pt>
                <c:pt idx="14">
                  <c:v>3490.2640999999999</c:v>
                </c:pt>
                <c:pt idx="15">
                  <c:v>1556.1465000000001</c:v>
                </c:pt>
              </c:numCache>
            </c:numRef>
          </c:bubbleSize>
          <c:bubble3D val="0"/>
          <c:extLst>
            <c:ext xmlns:c15="http://schemas.microsoft.com/office/drawing/2012/chart" uri="{02D57815-91ED-43cb-92C2-25804820EDAC}">
              <c15:datalabelsRange>
                <c15:f>Sheet1!$E$2:$E$21</c15:f>
                <c15:dlblRangeCache>
                  <c:ptCount val="20"/>
                  <c:pt idx="0">
                    <c:v>1/2 CHAMP NICOLAS BLC/BLC BS 1CT X 375ML</c:v>
                  </c:pt>
                  <c:pt idx="1">
                    <c:v>1/2 CHAMP NICOLAS ROSE 1E C BS 1CT X 375ML</c:v>
                  </c:pt>
                  <c:pt idx="2">
                    <c:v>MG CHAMPAGNE NICOLAS BLC/BL BS 1CT X 1500ML</c:v>
                  </c:pt>
                  <c:pt idx="3">
                    <c:v>MG CHAMPAGNE E.NICOLAS BRUT 1CT X 1500ML</c:v>
                  </c:pt>
                  <c:pt idx="4">
                    <c:v>CHAMPAGNE E.NICOLAS ROSE 1CT X 750ML</c:v>
                  </c:pt>
                  <c:pt idx="5">
                    <c:v>CHAMPAGNE NICOLAS 1ERE CUVEE 1CT X 750ML</c:v>
                  </c:pt>
                  <c:pt idx="6">
                    <c:v>MG CHAMPAGNE NICOLAS 1ERE CUVE 1CT X 1500ML</c:v>
                  </c:pt>
                  <c:pt idx="7">
                    <c:v>CHAMPAGNE NICOLAS BIO NAT 2017 1CT X 750ML</c:v>
                  </c:pt>
                  <c:pt idx="8">
                    <c:v>CHAMPAGNE NICOLAS BLC DE NOIRS 1CT X 750ML</c:v>
                  </c:pt>
                  <c:pt idx="9">
                    <c:v>1/2 CHAMPAGNE NICOLAS 1ERE CUV 1CT X 375ML</c:v>
                  </c:pt>
                  <c:pt idx="10">
                    <c:v>CHAMPAGNE E.NICOLAS BRUT 1CT X 750ML</c:v>
                  </c:pt>
                  <c:pt idx="11">
                    <c:v>CHAMPAGNE NICOLAS BLC/BLC BS 1CT X 750ML</c:v>
                  </c:pt>
                  <c:pt idx="12">
                    <c:v>CHAMPAGNE NICOLAS BLC/BLC 2002 1CT X 750ML</c:v>
                  </c:pt>
                  <c:pt idx="13">
                    <c:v>CHAMPAGNE NICOLAS ROSE 1ERE CU 1CT X 750ML</c:v>
                  </c:pt>
                  <c:pt idx="14">
                    <c:v>CHAMPAGNE NICOLAS 1ER CRU BS 1CT X 750ML</c:v>
                  </c:pt>
                  <c:pt idx="15">
                    <c:v>CHAMPAGNE NICOLAS 1ER CRU ETUI 1CT X 750ML</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7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31F844F1-0D27-4C7A-A622-1A19E3B2ED28}"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FF07DE8A-0433-4489-A702-8B1CA69F54C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855F0D18-CC20-4843-9AAF-FF39906DE859}"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89DD0EE9-468D-4230-9A11-676E03FF0FBA}"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D6727317-467E-4BC4-809B-5A67720E83C5}"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C27692A7-A022-4BCB-B15E-6D8F2A07826D}"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51304486-98BE-4123-8BF9-7FADD7895CE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76BA211C-9F9A-4B0D-BD5D-030E3F54F79C}"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97964308-90DD-480E-8C9D-0119401FEFD7}"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5521E398-C682-42C6-876E-7EE8EFD5B2E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6</c:f>
              <c:numCache>
                <c:formatCode>General</c:formatCode>
                <c:ptCount val="15"/>
                <c:pt idx="0">
                  <c:v>0.33</c:v>
                </c:pt>
                <c:pt idx="1">
                  <c:v>0.47</c:v>
                </c:pt>
                <c:pt idx="2">
                  <c:v>0.27</c:v>
                </c:pt>
                <c:pt idx="3">
                  <c:v>0.4</c:v>
                </c:pt>
                <c:pt idx="4">
                  <c:v>0.72</c:v>
                </c:pt>
                <c:pt idx="5">
                  <c:v>0.72</c:v>
                </c:pt>
                <c:pt idx="6">
                  <c:v>0.14000000000000001</c:v>
                </c:pt>
                <c:pt idx="7">
                  <c:v>0.26</c:v>
                </c:pt>
                <c:pt idx="8">
                  <c:v>0.33</c:v>
                </c:pt>
                <c:pt idx="9">
                  <c:v>0.56000000000000005</c:v>
                </c:pt>
                <c:pt idx="10">
                  <c:v>1</c:v>
                </c:pt>
                <c:pt idx="11">
                  <c:v>0.63</c:v>
                </c:pt>
                <c:pt idx="12">
                  <c:v>0.19</c:v>
                </c:pt>
                <c:pt idx="13">
                  <c:v>0.5</c:v>
                </c:pt>
                <c:pt idx="14">
                  <c:v>0.33</c:v>
                </c:pt>
              </c:numCache>
            </c:numRef>
          </c:xVal>
          <c:yVal>
            <c:numRef>
              <c:f>Sheet1!$B$2:$B$16</c:f>
              <c:numCache>
                <c:formatCode>General</c:formatCode>
                <c:ptCount val="15"/>
                <c:pt idx="0">
                  <c:v>93.030303030303031</c:v>
                </c:pt>
                <c:pt idx="1">
                  <c:v>66.042553191489361</c:v>
                </c:pt>
                <c:pt idx="2">
                  <c:v>181.44444444444451</c:v>
                </c:pt>
                <c:pt idx="3">
                  <c:v>239.52500000000001</c:v>
                </c:pt>
                <c:pt idx="4">
                  <c:v>238.43055555555549</c:v>
                </c:pt>
                <c:pt idx="5">
                  <c:v>221.125</c:v>
                </c:pt>
                <c:pt idx="6">
                  <c:v>216.78571428571419</c:v>
                </c:pt>
                <c:pt idx="7">
                  <c:v>133.11538461538461</c:v>
                </c:pt>
                <c:pt idx="8">
                  <c:v>92.63636363636364</c:v>
                </c:pt>
                <c:pt idx="9">
                  <c:v>105.625</c:v>
                </c:pt>
                <c:pt idx="10">
                  <c:v>1794.81</c:v>
                </c:pt>
                <c:pt idx="11">
                  <c:v>265.66666666666669</c:v>
                </c:pt>
                <c:pt idx="12">
                  <c:v>106.21052631578949</c:v>
                </c:pt>
                <c:pt idx="13">
                  <c:v>85.72</c:v>
                </c:pt>
                <c:pt idx="14">
                  <c:v>82.030303030303031</c:v>
                </c:pt>
              </c:numCache>
            </c:numRef>
          </c:yVal>
          <c:bubbleSize>
            <c:numRef>
              <c:f>Sheet1!$C$2:$C$16</c:f>
              <c:numCache>
                <c:formatCode>General</c:formatCode>
                <c:ptCount val="15"/>
                <c:pt idx="0">
                  <c:v>1161.1782000000001</c:v>
                </c:pt>
                <c:pt idx="1">
                  <c:v>2279.9875999999999</c:v>
                </c:pt>
                <c:pt idx="2">
                  <c:v>3578.0381000000002</c:v>
                </c:pt>
                <c:pt idx="3">
                  <c:v>7842.5033999999996</c:v>
                </c:pt>
                <c:pt idx="4">
                  <c:v>14208.310600000001</c:v>
                </c:pt>
                <c:pt idx="5">
                  <c:v>12879.6119</c:v>
                </c:pt>
                <c:pt idx="6">
                  <c:v>1382.94</c:v>
                </c:pt>
                <c:pt idx="7">
                  <c:v>1860</c:v>
                </c:pt>
                <c:pt idx="8">
                  <c:v>2357.136</c:v>
                </c:pt>
                <c:pt idx="9">
                  <c:v>4658.1450000000004</c:v>
                </c:pt>
                <c:pt idx="10">
                  <c:v>142884.38889999999</c:v>
                </c:pt>
                <c:pt idx="11">
                  <c:v>12599.8182</c:v>
                </c:pt>
                <c:pt idx="12">
                  <c:v>1324.9998000000001</c:v>
                </c:pt>
                <c:pt idx="13">
                  <c:v>3518.0493999999999</c:v>
                </c:pt>
                <c:pt idx="14">
                  <c:v>1986.3320000000001</c:v>
                </c:pt>
              </c:numCache>
            </c:numRef>
          </c:bubbleSize>
          <c:bubble3D val="0"/>
          <c:extLst>
            <c:ext xmlns:c15="http://schemas.microsoft.com/office/drawing/2012/chart" uri="{02D57815-91ED-43cb-92C2-25804820EDAC}">
              <c15:datalabelsRange>
                <c15:f>Sheet1!$E$2:$E$21</c15:f>
                <c15:dlblRangeCache>
                  <c:ptCount val="20"/>
                  <c:pt idx="0">
                    <c:v>1/2 CHAMP NICOLAS BLC/BLC BS 1CT X 375ML</c:v>
                  </c:pt>
                  <c:pt idx="1">
                    <c:v>1/2 CHAMP NICOLAS ROSE 1E C BS 1CT X 375ML</c:v>
                  </c:pt>
                  <c:pt idx="2">
                    <c:v>MG CHAMPAGNE NICOLAS BLC/BL BS 1CT X 1500ML</c:v>
                  </c:pt>
                  <c:pt idx="3">
                    <c:v>MG CHAMPAGNE E.NICOLAS BRUT 1CT X 1500ML</c:v>
                  </c:pt>
                  <c:pt idx="4">
                    <c:v>CHAMPAGNE E.NICOLAS ROSE 1CT X 750ML</c:v>
                  </c:pt>
                  <c:pt idx="5">
                    <c:v>CHAMPAGNE NICOLAS 1ERE CUVEE 1CT X 750ML</c:v>
                  </c:pt>
                  <c:pt idx="6">
                    <c:v>MG CHAMPAGNE NICOLAS 1ERE CUVE 1CT X 1500ML</c:v>
                  </c:pt>
                  <c:pt idx="7">
                    <c:v>CHAMPAGNE NICOLAS BIO NAT 2017 1CT X 750ML</c:v>
                  </c:pt>
                  <c:pt idx="8">
                    <c:v>CHAMPAGNE NICOLAS BLC DE NOIRS 1CT X 750ML</c:v>
                  </c:pt>
                  <c:pt idx="9">
                    <c:v>1/2 CHAMPAGNE NICOLAS 1ERE CUV 1CT X 375ML</c:v>
                  </c:pt>
                  <c:pt idx="10">
                    <c:v>CHAMPAGNE E.NICOLAS BRUT 1CT X 750ML</c:v>
                  </c:pt>
                  <c:pt idx="11">
                    <c:v>CHAMPAGNE NICOLAS BLC/BLC BS 1CT X 750ML</c:v>
                  </c:pt>
                  <c:pt idx="12">
                    <c:v>CHAMPAGNE NICOLAS BLC/BLC 2002 1CT X 750ML</c:v>
                  </c:pt>
                  <c:pt idx="13">
                    <c:v>CHAMPAGNE NICOLAS ROSE 1ERE CU 1CT X 750ML</c:v>
                  </c:pt>
                  <c:pt idx="14">
                    <c:v>CHAMPAGNE NICOLAS 1ER CRU BS 1CT X 750ML</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7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B1169FE1-BA08-473D-9068-8F1212D1C25A}"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E718ECF7-C5C5-45E9-B123-B351186F8069}"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23CB7E42-0C4E-4AEB-8B8D-FAEB83936C4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71F0E93B-61E4-4CE7-89D5-6B69E99AB1DC}"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BEA81B26-1D09-4F03-9F22-CFAB46E4FA96}"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486E3E1E-341F-4243-A001-D8C631938078}"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57782F01-FD4C-4292-85DA-FE9B770B9268}"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D89AF753-7C98-459F-8153-D6917FDC4F3A}"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CE642049-4A85-458A-8777-19E5238AC6CE}"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214124CE-0AEB-44A1-8B4B-CA26C04DB0D7}"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0</c:f>
              <c:numCache>
                <c:formatCode>General</c:formatCode>
                <c:ptCount val="9"/>
                <c:pt idx="0">
                  <c:v>0.16</c:v>
                </c:pt>
                <c:pt idx="1">
                  <c:v>0.36</c:v>
                </c:pt>
                <c:pt idx="2">
                  <c:v>0.68</c:v>
                </c:pt>
                <c:pt idx="3">
                  <c:v>0.83</c:v>
                </c:pt>
                <c:pt idx="4">
                  <c:v>0.51</c:v>
                </c:pt>
                <c:pt idx="5">
                  <c:v>1</c:v>
                </c:pt>
                <c:pt idx="6">
                  <c:v>0.56000000000000005</c:v>
                </c:pt>
                <c:pt idx="7">
                  <c:v>0.47</c:v>
                </c:pt>
                <c:pt idx="8">
                  <c:v>0.38</c:v>
                </c:pt>
              </c:numCache>
            </c:numRef>
          </c:xVal>
          <c:yVal>
            <c:numRef>
              <c:f>Sheet1!$B$2:$B$10</c:f>
              <c:numCache>
                <c:formatCode>General</c:formatCode>
                <c:ptCount val="9"/>
                <c:pt idx="0">
                  <c:v>91.3125</c:v>
                </c:pt>
                <c:pt idx="1">
                  <c:v>92.722222222222229</c:v>
                </c:pt>
                <c:pt idx="2">
                  <c:v>165.33823529411771</c:v>
                </c:pt>
                <c:pt idx="3">
                  <c:v>128.18072289156629</c:v>
                </c:pt>
                <c:pt idx="4">
                  <c:v>73.235294117647058</c:v>
                </c:pt>
                <c:pt idx="5">
                  <c:v>1647.1</c:v>
                </c:pt>
                <c:pt idx="6">
                  <c:v>157.69642857142861</c:v>
                </c:pt>
                <c:pt idx="7">
                  <c:v>40</c:v>
                </c:pt>
                <c:pt idx="8">
                  <c:v>45.39473684210526</c:v>
                </c:pt>
              </c:numCache>
            </c:numRef>
          </c:yVal>
          <c:bubbleSize>
            <c:numRef>
              <c:f>Sheet1!$C$2:$C$10</c:f>
              <c:numCache>
                <c:formatCode>General</c:formatCode>
                <c:ptCount val="9"/>
                <c:pt idx="0">
                  <c:v>1083.7252000000001</c:v>
                </c:pt>
                <c:pt idx="1">
                  <c:v>2633.3339999999998</c:v>
                </c:pt>
                <c:pt idx="2">
                  <c:v>9312.4851000000017</c:v>
                </c:pt>
                <c:pt idx="3">
                  <c:v>9012.6797999999999</c:v>
                </c:pt>
                <c:pt idx="4">
                  <c:v>2878.755000000001</c:v>
                </c:pt>
                <c:pt idx="5">
                  <c:v>132610.51420000001</c:v>
                </c:pt>
                <c:pt idx="6">
                  <c:v>6645.877199999999</c:v>
                </c:pt>
                <c:pt idx="7">
                  <c:v>1472.9490000000001</c:v>
                </c:pt>
                <c:pt idx="8">
                  <c:v>1345.7064</c:v>
                </c:pt>
              </c:numCache>
            </c:numRef>
          </c:bubbleSize>
          <c:bubble3D val="0"/>
          <c:extLst>
            <c:ext xmlns:c15="http://schemas.microsoft.com/office/drawing/2012/chart" uri="{02D57815-91ED-43cb-92C2-25804820EDAC}">
              <c15:datalabelsRange>
                <c15:f>Sheet1!$E$2:$E$21</c15:f>
                <c15:dlblRangeCache>
                  <c:ptCount val="20"/>
                  <c:pt idx="0">
                    <c:v>MG CHAMPAGNE NICOLAS BLC/BL BS 1CT X 1500ML</c:v>
                  </c:pt>
                  <c:pt idx="1">
                    <c:v>MG CHAMPAGNE E.NICOLAS BRUT 1CT X 1500ML</c:v>
                  </c:pt>
                  <c:pt idx="2">
                    <c:v>CHAMPAGNE E.NICOLAS ROSE 1CT X 750ML</c:v>
                  </c:pt>
                  <c:pt idx="3">
                    <c:v>CHAMPAGNE NICOLAS 1ERE CUVEE 1CT X 750ML</c:v>
                  </c:pt>
                  <c:pt idx="4">
                    <c:v>1/2 CHAMPAGNE NICOLAS 1ERE CUV 1CT X 375ML</c:v>
                  </c:pt>
                  <c:pt idx="5">
                    <c:v>CHAMPAGNE E.NICOLAS BRUT 1CT X 750ML</c:v>
                  </c:pt>
                  <c:pt idx="6">
                    <c:v>CHAMPAGNE NICOLAS BLC/BLC BS 1CT X 750ML</c:v>
                  </c:pt>
                  <c:pt idx="7">
                    <c:v>CHAMPAGNE NICOLAS ROSE 1ERE CU 1CT X 750ML</c:v>
                  </c:pt>
                  <c:pt idx="8">
                    <c:v>CHAMPAGNE NICOLAS 1ER CRU BS 1CT X 750ML</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7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E56AD065-FEA3-46BF-86D7-97722A259A98}"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208D95B4-4E90-4A0D-B6EE-683BFB761C18}"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7E5292CD-B8CE-47C3-A99E-FA20FFA7474F}"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87AAEE48-EA38-4A9F-86F4-BE15F64B4E8A}"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CED23281-B255-4056-A78F-BA66EE34D6D0}"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59D1E8B7-107E-4308-A466-57F03EB1D7C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6CE29E60-7E39-4061-8047-0B90CE29BC6E}"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9DEE9F04-D6E5-49B6-A33F-4744B705304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9BDFED45-634F-45A2-87EC-8807E2C0A51B}"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3A065338-FD02-46FA-91CF-530E452E29C6}"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1</c:f>
              <c:numCache>
                <c:formatCode>General</c:formatCode>
                <c:ptCount val="10"/>
                <c:pt idx="0">
                  <c:v>0.34</c:v>
                </c:pt>
                <c:pt idx="1">
                  <c:v>0.32</c:v>
                </c:pt>
                <c:pt idx="2">
                  <c:v>0.74</c:v>
                </c:pt>
                <c:pt idx="3">
                  <c:v>0.56999999999999995</c:v>
                </c:pt>
                <c:pt idx="4">
                  <c:v>0.27</c:v>
                </c:pt>
                <c:pt idx="5">
                  <c:v>0.42</c:v>
                </c:pt>
                <c:pt idx="6">
                  <c:v>0.5</c:v>
                </c:pt>
                <c:pt idx="7">
                  <c:v>1</c:v>
                </c:pt>
                <c:pt idx="8">
                  <c:v>0.43</c:v>
                </c:pt>
                <c:pt idx="9">
                  <c:v>0.25</c:v>
                </c:pt>
              </c:numCache>
            </c:numRef>
          </c:xVal>
          <c:yVal>
            <c:numRef>
              <c:f>Sheet1!$B$2:$B$11</c:f>
              <c:numCache>
                <c:formatCode>General</c:formatCode>
                <c:ptCount val="10"/>
                <c:pt idx="0">
                  <c:v>56.647058823529413</c:v>
                </c:pt>
                <c:pt idx="1">
                  <c:v>69.28125</c:v>
                </c:pt>
                <c:pt idx="2">
                  <c:v>197.51351351351349</c:v>
                </c:pt>
                <c:pt idx="3">
                  <c:v>54.000000000000007</c:v>
                </c:pt>
                <c:pt idx="4">
                  <c:v>88.074074074074076</c:v>
                </c:pt>
                <c:pt idx="5">
                  <c:v>55.523809523809533</c:v>
                </c:pt>
                <c:pt idx="6">
                  <c:v>35.32</c:v>
                </c:pt>
                <c:pt idx="7">
                  <c:v>1057.96</c:v>
                </c:pt>
                <c:pt idx="8">
                  <c:v>192.4651162790698</c:v>
                </c:pt>
                <c:pt idx="9">
                  <c:v>56.44</c:v>
                </c:pt>
              </c:numCache>
            </c:numRef>
          </c:yVal>
          <c:bubbleSize>
            <c:numRef>
              <c:f>Sheet1!$C$2:$C$11</c:f>
              <c:numCache>
                <c:formatCode>General</c:formatCode>
                <c:ptCount val="10"/>
                <c:pt idx="0">
                  <c:v>1454.5848000000001</c:v>
                </c:pt>
                <c:pt idx="1">
                  <c:v>1847.0841</c:v>
                </c:pt>
                <c:pt idx="2">
                  <c:v>12520.8133</c:v>
                </c:pt>
                <c:pt idx="3">
                  <c:v>2427.2689</c:v>
                </c:pt>
                <c:pt idx="4">
                  <c:v>1278.75</c:v>
                </c:pt>
                <c:pt idx="5">
                  <c:v>1865.3040000000001</c:v>
                </c:pt>
                <c:pt idx="6">
                  <c:v>1380.615</c:v>
                </c:pt>
                <c:pt idx="7">
                  <c:v>86540.523000000016</c:v>
                </c:pt>
                <c:pt idx="8">
                  <c:v>6214.7007000000003</c:v>
                </c:pt>
                <c:pt idx="9">
                  <c:v>1005.984</c:v>
                </c:pt>
              </c:numCache>
            </c:numRef>
          </c:bubbleSize>
          <c:bubble3D val="0"/>
          <c:extLst>
            <c:ext xmlns:c15="http://schemas.microsoft.com/office/drawing/2012/chart" uri="{02D57815-91ED-43cb-92C2-25804820EDAC}">
              <c15:datalabelsRange>
                <c15:f>Sheet1!$E$2:$E$21</c15:f>
                <c15:dlblRangeCache>
                  <c:ptCount val="20"/>
                  <c:pt idx="0">
                    <c:v>1/2 CHAMP NICOLAS ROSE 1E C BS 1CT X 375ML</c:v>
                  </c:pt>
                  <c:pt idx="1">
                    <c:v>MG CHAMPAGNE E.NICOLAS BRUT 1CT X 1500ML</c:v>
                  </c:pt>
                  <c:pt idx="2">
                    <c:v>CHAMPAGNE E.NICOLAS ROSE 1CT X 750ML</c:v>
                  </c:pt>
                  <c:pt idx="3">
                    <c:v>CHAMPAGNE NICOLAS 1ERE CUVEE 1CT X 750ML</c:v>
                  </c:pt>
                  <c:pt idx="4">
                    <c:v>CHAMPAGNE NICOLAS BIO NAT 2017 1CT X 750ML</c:v>
                  </c:pt>
                  <c:pt idx="5">
                    <c:v>CHAMPAGNE NICOLAS BLC DE NOIRS 1CT X 750ML</c:v>
                  </c:pt>
                  <c:pt idx="6">
                    <c:v>1/2 CHAMPAGNE NICOLAS 1ERE CUV 1CT X 375ML</c:v>
                  </c:pt>
                  <c:pt idx="7">
                    <c:v>CHAMPAGNE E.NICOLAS BRUT 1CT X 750ML</c:v>
                  </c:pt>
                  <c:pt idx="8">
                    <c:v>CHAMPAGNE NICOLAS BLC/BLC BS 1CT X 750ML</c:v>
                  </c:pt>
                  <c:pt idx="9">
                    <c:v>CHAMPAGNE NICOLAS ROSE 1ERE CU 1CT X 750ML</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7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559748C6-C17C-4269-ABDA-1608808A5F30}"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871C744D-348F-4CEE-A3FF-11F4BE57DF47}"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3F55C401-9D27-49FD-A3AF-DDAD0BAFA7F0}"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936AE462-88DD-4023-AA78-A55C04620D6D}"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A91CECA8-1964-4AD0-879C-5E43CDB03FD7}"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DCA9AA22-6403-495D-9245-66D42474FE58}"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611AEA50-FAA4-4CFE-B2AD-D71F07E54D49}"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C12664B9-2D11-40FC-8AA8-9E6B6084BB56}"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0AFD69BC-6EF3-4110-A3CC-0B6E14CFA010}"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2D07306C-5D1C-406C-85E0-B47892086C70}"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8</c:f>
              <c:numCache>
                <c:formatCode>General</c:formatCode>
                <c:ptCount val="17"/>
                <c:pt idx="0">
                  <c:v>0.35</c:v>
                </c:pt>
                <c:pt idx="1">
                  <c:v>0.42</c:v>
                </c:pt>
                <c:pt idx="2">
                  <c:v>0.23</c:v>
                </c:pt>
                <c:pt idx="3">
                  <c:v>0.34</c:v>
                </c:pt>
                <c:pt idx="4">
                  <c:v>0.73</c:v>
                </c:pt>
                <c:pt idx="5">
                  <c:v>0.9</c:v>
                </c:pt>
                <c:pt idx="6">
                  <c:v>0.24</c:v>
                </c:pt>
                <c:pt idx="7">
                  <c:v>0.28000000000000003</c:v>
                </c:pt>
                <c:pt idx="8">
                  <c:v>0.25</c:v>
                </c:pt>
                <c:pt idx="9">
                  <c:v>0.14000000000000001</c:v>
                </c:pt>
                <c:pt idx="10">
                  <c:v>0.43</c:v>
                </c:pt>
                <c:pt idx="11">
                  <c:v>1</c:v>
                </c:pt>
                <c:pt idx="12">
                  <c:v>0.7</c:v>
                </c:pt>
                <c:pt idx="13">
                  <c:v>7.0000000000000007E-2</c:v>
                </c:pt>
                <c:pt idx="14">
                  <c:v>0.42</c:v>
                </c:pt>
                <c:pt idx="15">
                  <c:v>0.31</c:v>
                </c:pt>
                <c:pt idx="16">
                  <c:v>0.21</c:v>
                </c:pt>
              </c:numCache>
            </c:numRef>
          </c:xVal>
          <c:yVal>
            <c:numRef>
              <c:f>Sheet1!$B$2:$B$18</c:f>
              <c:numCache>
                <c:formatCode>General</c:formatCode>
                <c:ptCount val="17"/>
                <c:pt idx="0">
                  <c:v>443.71428571428572</c:v>
                </c:pt>
                <c:pt idx="1">
                  <c:v>325.47619047619048</c:v>
                </c:pt>
                <c:pt idx="2">
                  <c:v>697.86956521739125</c:v>
                </c:pt>
                <c:pt idx="3">
                  <c:v>784.41176470588232</c:v>
                </c:pt>
                <c:pt idx="4">
                  <c:v>1000.931506849315</c:v>
                </c:pt>
                <c:pt idx="5">
                  <c:v>757.83333333333337</c:v>
                </c:pt>
                <c:pt idx="6">
                  <c:v>369.25</c:v>
                </c:pt>
                <c:pt idx="7">
                  <c:v>502.89285714285711</c:v>
                </c:pt>
                <c:pt idx="8">
                  <c:v>431.2</c:v>
                </c:pt>
                <c:pt idx="9">
                  <c:v>377.28571428571422</c:v>
                </c:pt>
                <c:pt idx="10">
                  <c:v>511.97674418604652</c:v>
                </c:pt>
                <c:pt idx="11">
                  <c:v>10463.09</c:v>
                </c:pt>
                <c:pt idx="12">
                  <c:v>1545.1</c:v>
                </c:pt>
                <c:pt idx="13">
                  <c:v>905.142857142857</c:v>
                </c:pt>
                <c:pt idx="14">
                  <c:v>364.28571428571428</c:v>
                </c:pt>
                <c:pt idx="15">
                  <c:v>148.58064516129031</c:v>
                </c:pt>
                <c:pt idx="16">
                  <c:v>207.47619047619051</c:v>
                </c:pt>
              </c:numCache>
            </c:numRef>
          </c:yVal>
          <c:bubbleSize>
            <c:numRef>
              <c:f>Sheet1!$C$2:$C$18</c:f>
              <c:numCache>
                <c:formatCode>General</c:formatCode>
                <c:ptCount val="17"/>
                <c:pt idx="0">
                  <c:v>6561.5784000000003</c:v>
                </c:pt>
                <c:pt idx="1">
                  <c:v>10563.1468</c:v>
                </c:pt>
                <c:pt idx="2">
                  <c:v>12262.8586</c:v>
                </c:pt>
                <c:pt idx="3">
                  <c:v>22168.7595</c:v>
                </c:pt>
                <c:pt idx="4">
                  <c:v>61124.902199999997</c:v>
                </c:pt>
                <c:pt idx="5">
                  <c:v>58409.179300000011</c:v>
                </c:pt>
                <c:pt idx="6">
                  <c:v>3975.9524999999999</c:v>
                </c:pt>
                <c:pt idx="7">
                  <c:v>7285</c:v>
                </c:pt>
                <c:pt idx="8">
                  <c:v>8686.6008000000002</c:v>
                </c:pt>
                <c:pt idx="9">
                  <c:v>3926.0473999999999</c:v>
                </c:pt>
                <c:pt idx="10">
                  <c:v>17814.044999999998</c:v>
                </c:pt>
                <c:pt idx="11">
                  <c:v>838278.9384000001</c:v>
                </c:pt>
                <c:pt idx="12">
                  <c:v>82824.232499999998</c:v>
                </c:pt>
                <c:pt idx="13">
                  <c:v>4909.1655000000001</c:v>
                </c:pt>
                <c:pt idx="14">
                  <c:v>12331.8794</c:v>
                </c:pt>
                <c:pt idx="15">
                  <c:v>3676.8560000000002</c:v>
                </c:pt>
                <c:pt idx="16">
                  <c:v>3322.1214</c:v>
                </c:pt>
              </c:numCache>
            </c:numRef>
          </c:bubbleSize>
          <c:bubble3D val="0"/>
          <c:extLst>
            <c:ext xmlns:c15="http://schemas.microsoft.com/office/drawing/2012/chart" uri="{02D57815-91ED-43cb-92C2-25804820EDAC}">
              <c15:datalabelsRange>
                <c15:f>Sheet1!$E$2:$E$21</c15:f>
                <c15:dlblRangeCache>
                  <c:ptCount val="20"/>
                  <c:pt idx="0">
                    <c:v>1/2 CHAMP NICOLAS BLC/BLC BS 1CT X 375ML</c:v>
                  </c:pt>
                  <c:pt idx="1">
                    <c:v>1/2 CHAMP NICOLAS ROSE 1E C BS 1CT X 375ML</c:v>
                  </c:pt>
                  <c:pt idx="2">
                    <c:v>MG CHAMPAGNE NICOLAS BLC/BL BS 1CT X 1500ML</c:v>
                  </c:pt>
                  <c:pt idx="3">
                    <c:v>MG CHAMPAGNE E.NICOLAS BRUT 1CT X 1500ML</c:v>
                  </c:pt>
                  <c:pt idx="4">
                    <c:v>CHAMPAGNE E.NICOLAS ROSE 1CT X 750ML</c:v>
                  </c:pt>
                  <c:pt idx="5">
                    <c:v>CHAMPAGNE NICOLAS 1ERE CUVEE 1CT X 750ML</c:v>
                  </c:pt>
                  <c:pt idx="6">
                    <c:v>MG CHAMPAGNE NICOLAS 1ERE CUVE 1CT X 1500ML</c:v>
                  </c:pt>
                  <c:pt idx="7">
                    <c:v>CHAMPAGNE NICOLAS BIO NAT 2017 1CT X 750ML</c:v>
                  </c:pt>
                  <c:pt idx="8">
                    <c:v>CHAMPAGNE NICOLAS BLC DE NOIRS 1CT X 750ML</c:v>
                  </c:pt>
                  <c:pt idx="9">
                    <c:v>CHAMPAGNE NICOLAS ROSE 1ERE ET 1CT X 750ML</c:v>
                  </c:pt>
                  <c:pt idx="10">
                    <c:v>1/2 CHAMPAGNE NICOLAS 1ERE CUV 1CT X 375ML</c:v>
                  </c:pt>
                  <c:pt idx="11">
                    <c:v>CHAMPAGNE E.NICOLAS BRUT 1CT X 750ML</c:v>
                  </c:pt>
                  <c:pt idx="12">
                    <c:v>CHAMPAGNE NICOLAS BLC/BLC BS 1CT X 750ML</c:v>
                  </c:pt>
                  <c:pt idx="13">
                    <c:v>CHAMPAGNE NICOLAS BLC/BLC 2002 1CT X 750ML</c:v>
                  </c:pt>
                  <c:pt idx="14">
                    <c:v>CHAMPAGNE NICOLAS ROSE 1ERE CU 1CT X 750ML</c:v>
                  </c:pt>
                  <c:pt idx="15">
                    <c:v>CHAMPAGNE NICOLAS 1ER CRU BS 1CT X 750ML</c:v>
                  </c:pt>
                  <c:pt idx="16">
                    <c:v>CHAMPAGNE NICOLAS 1ER CRU ETUI 1CT X 750ML</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7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0A404117-5E15-4BFA-9F0F-A45FCE550882}"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83E17C16-8C1A-46FE-AD7E-D5436AD7557A}"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5843568A-DB00-4EEB-B7BB-CAAF9D11D43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1DAA039F-3C2B-418D-BB85-3A1AD39A8E4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431505E8-82AE-492C-8B16-9996CBF5799B}"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6F06E48A-D88E-4E44-A846-030B12CE6D19}"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5461E7C7-6147-4E04-8D28-D3606B654BD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F3BC7E89-A6B9-4C65-BCB4-CD3B5F9BFA0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4475B435-6CF9-49C5-8098-643D91380D86}"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FADE898A-7C4E-4603-B777-FBAB06E24FE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8</c:f>
              <c:numCache>
                <c:formatCode>General</c:formatCode>
                <c:ptCount val="17"/>
                <c:pt idx="0">
                  <c:v>0.3</c:v>
                </c:pt>
                <c:pt idx="1">
                  <c:v>0.32</c:v>
                </c:pt>
                <c:pt idx="2">
                  <c:v>0.19</c:v>
                </c:pt>
                <c:pt idx="3">
                  <c:v>0.21</c:v>
                </c:pt>
                <c:pt idx="4">
                  <c:v>0.75</c:v>
                </c:pt>
                <c:pt idx="5">
                  <c:v>0.91</c:v>
                </c:pt>
                <c:pt idx="6">
                  <c:v>0.12</c:v>
                </c:pt>
                <c:pt idx="7">
                  <c:v>0.21</c:v>
                </c:pt>
                <c:pt idx="8">
                  <c:v>0.21</c:v>
                </c:pt>
                <c:pt idx="9">
                  <c:v>0.16</c:v>
                </c:pt>
                <c:pt idx="10">
                  <c:v>0.45</c:v>
                </c:pt>
                <c:pt idx="11">
                  <c:v>1</c:v>
                </c:pt>
                <c:pt idx="12">
                  <c:v>0.69</c:v>
                </c:pt>
                <c:pt idx="13">
                  <c:v>0.05</c:v>
                </c:pt>
                <c:pt idx="14">
                  <c:v>0.32</c:v>
                </c:pt>
                <c:pt idx="15">
                  <c:v>0.44</c:v>
                </c:pt>
                <c:pt idx="16">
                  <c:v>0.23</c:v>
                </c:pt>
              </c:numCache>
            </c:numRef>
          </c:xVal>
          <c:yVal>
            <c:numRef>
              <c:f>Sheet1!$B$2:$B$18</c:f>
              <c:numCache>
                <c:formatCode>General</c:formatCode>
                <c:ptCount val="17"/>
                <c:pt idx="0">
                  <c:v>226.33333333333329</c:v>
                </c:pt>
                <c:pt idx="1">
                  <c:v>210.625</c:v>
                </c:pt>
                <c:pt idx="2">
                  <c:v>456.84210526315792</c:v>
                </c:pt>
                <c:pt idx="3">
                  <c:v>461.28571428571428</c:v>
                </c:pt>
                <c:pt idx="4">
                  <c:v>516.91999999999996</c:v>
                </c:pt>
                <c:pt idx="5">
                  <c:v>361.03296703296701</c:v>
                </c:pt>
                <c:pt idx="6">
                  <c:v>409.58333333333331</c:v>
                </c:pt>
                <c:pt idx="7">
                  <c:v>378.90476190476193</c:v>
                </c:pt>
                <c:pt idx="8">
                  <c:v>256.38095238095241</c:v>
                </c:pt>
                <c:pt idx="9">
                  <c:v>176.1875</c:v>
                </c:pt>
                <c:pt idx="10">
                  <c:v>364.95555555555558</c:v>
                </c:pt>
                <c:pt idx="11">
                  <c:v>6289.38</c:v>
                </c:pt>
                <c:pt idx="12">
                  <c:v>791.89855072463763</c:v>
                </c:pt>
                <c:pt idx="13">
                  <c:v>578.6</c:v>
                </c:pt>
                <c:pt idx="14">
                  <c:v>272.1875</c:v>
                </c:pt>
                <c:pt idx="15">
                  <c:v>103.7045454545455</c:v>
                </c:pt>
                <c:pt idx="16">
                  <c:v>210.52173913043481</c:v>
                </c:pt>
              </c:numCache>
            </c:numRef>
          </c:yVal>
          <c:bubbleSize>
            <c:numRef>
              <c:f>Sheet1!$C$2:$C$18</c:f>
              <c:numCache>
                <c:formatCode>General</c:formatCode>
                <c:ptCount val="17"/>
                <c:pt idx="0">
                  <c:v>2746.2786000000001</c:v>
                </c:pt>
                <c:pt idx="1">
                  <c:v>5129.5136000000002</c:v>
                </c:pt>
                <c:pt idx="2">
                  <c:v>6504.7816999999995</c:v>
                </c:pt>
                <c:pt idx="3">
                  <c:v>7881.6701999999996</c:v>
                </c:pt>
                <c:pt idx="4">
                  <c:v>32208.281800000001</c:v>
                </c:pt>
                <c:pt idx="5">
                  <c:v>28222.456399999999</c:v>
                </c:pt>
                <c:pt idx="6">
                  <c:v>2016.7874999999999</c:v>
                </c:pt>
                <c:pt idx="7">
                  <c:v>3681.25</c:v>
                </c:pt>
                <c:pt idx="8">
                  <c:v>4265.3556000000008</c:v>
                </c:pt>
                <c:pt idx="9">
                  <c:v>1987.6420000000001</c:v>
                </c:pt>
                <c:pt idx="10">
                  <c:v>13245.51</c:v>
                </c:pt>
                <c:pt idx="11">
                  <c:v>503437.10680000001</c:v>
                </c:pt>
                <c:pt idx="12">
                  <c:v>41743.224000000002</c:v>
                </c:pt>
                <c:pt idx="13">
                  <c:v>2174.9994000000002</c:v>
                </c:pt>
                <c:pt idx="14">
                  <c:v>6747.2982000000002</c:v>
                </c:pt>
                <c:pt idx="15">
                  <c:v>3620.4369999999999</c:v>
                </c:pt>
                <c:pt idx="16">
                  <c:v>3759.2235000000001</c:v>
                </c:pt>
              </c:numCache>
            </c:numRef>
          </c:bubbleSize>
          <c:bubble3D val="0"/>
          <c:extLst>
            <c:ext xmlns:c15="http://schemas.microsoft.com/office/drawing/2012/chart" uri="{02D57815-91ED-43cb-92C2-25804820EDAC}">
              <c15:datalabelsRange>
                <c15:f>Sheet1!$E$2:$E$21</c15:f>
                <c15:dlblRangeCache>
                  <c:ptCount val="20"/>
                  <c:pt idx="0">
                    <c:v>1/2 CHAMP NICOLAS BLC/BLC BS 1CT X 375ML</c:v>
                  </c:pt>
                  <c:pt idx="1">
                    <c:v>1/2 CHAMP NICOLAS ROSE 1E C BS 1CT X 375ML</c:v>
                  </c:pt>
                  <c:pt idx="2">
                    <c:v>MG CHAMPAGNE NICOLAS BLC/BL BS 1CT X 1500ML</c:v>
                  </c:pt>
                  <c:pt idx="3">
                    <c:v>MG CHAMPAGNE E.NICOLAS BRUT 1CT X 1500ML</c:v>
                  </c:pt>
                  <c:pt idx="4">
                    <c:v>CHAMPAGNE E.NICOLAS ROSE 1CT X 750ML</c:v>
                  </c:pt>
                  <c:pt idx="5">
                    <c:v>CHAMPAGNE NICOLAS 1ERE CUVEE 1CT X 750ML</c:v>
                  </c:pt>
                  <c:pt idx="6">
                    <c:v>MG CHAMPAGNE NICOLAS 1ERE CUVE 1CT X 1500ML</c:v>
                  </c:pt>
                  <c:pt idx="7">
                    <c:v>CHAMPAGNE NICOLAS BIO NAT 2017 1CT X 750ML</c:v>
                  </c:pt>
                  <c:pt idx="8">
                    <c:v>CHAMPAGNE NICOLAS BLC DE NOIRS 1CT X 750ML</c:v>
                  </c:pt>
                  <c:pt idx="9">
                    <c:v>CHAMPAGNE NICOLAS ROSE 1ERE ET 1CT X 750ML</c:v>
                  </c:pt>
                  <c:pt idx="10">
                    <c:v>1/2 CHAMPAGNE NICOLAS 1ERE CUV 1CT X 375ML</c:v>
                  </c:pt>
                  <c:pt idx="11">
                    <c:v>CHAMPAGNE E.NICOLAS BRUT 1CT X 750ML</c:v>
                  </c:pt>
                  <c:pt idx="12">
                    <c:v>CHAMPAGNE NICOLAS BLC/BLC BS 1CT X 750ML</c:v>
                  </c:pt>
                  <c:pt idx="13">
                    <c:v>CHAMPAGNE NICOLAS BLC/BLC 2002 1CT X 750ML</c:v>
                  </c:pt>
                  <c:pt idx="14">
                    <c:v>CHAMPAGNE NICOLAS ROSE 1ERE CU 1CT X 750ML</c:v>
                  </c:pt>
                  <c:pt idx="15">
                    <c:v>CHAMPAGNE NICOLAS 1ER CRU BS 1CT X 750ML</c:v>
                  </c:pt>
                  <c:pt idx="16">
                    <c:v>CHAMPAGNE NICOLAS 1ER CRU ETUI 1CT X 750ML</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7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C77F1584-D169-49EB-A385-6BECD96E825B}"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E559ABAB-4E30-4BFE-9D0F-0DBD52B9C420}"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0DB3B18D-0304-416B-97D0-B128BACDF01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CE010305-0879-460B-A55C-5CA4D29D246C}"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9E33CB95-5F05-48F9-B220-C010937B58AC}"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E089C74A-61D3-4043-B892-7FFFA193A429}"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54142FFE-8FF7-4E5B-8E5E-EE7B835B317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4BB5B30A-1205-4C3B-ADE4-1E3AA79B2EC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D7EC184B-12FE-4569-B2FB-EC73F479B098}"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7AD85CEB-AF39-4BEC-A440-DB565334504E}"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20</c:f>
              <c:numCache>
                <c:formatCode>General</c:formatCode>
                <c:ptCount val="19"/>
                <c:pt idx="0">
                  <c:v>0.25</c:v>
                </c:pt>
                <c:pt idx="1">
                  <c:v>0.23</c:v>
                </c:pt>
                <c:pt idx="2">
                  <c:v>0.13</c:v>
                </c:pt>
                <c:pt idx="3">
                  <c:v>0.17</c:v>
                </c:pt>
                <c:pt idx="4">
                  <c:v>0.56000000000000005</c:v>
                </c:pt>
                <c:pt idx="5">
                  <c:v>0.77</c:v>
                </c:pt>
                <c:pt idx="6">
                  <c:v>0.06</c:v>
                </c:pt>
                <c:pt idx="7">
                  <c:v>0.18</c:v>
                </c:pt>
                <c:pt idx="8">
                  <c:v>0.17</c:v>
                </c:pt>
                <c:pt idx="9">
                  <c:v>0.06</c:v>
                </c:pt>
                <c:pt idx="10">
                  <c:v>0.09</c:v>
                </c:pt>
                <c:pt idx="11">
                  <c:v>0.36</c:v>
                </c:pt>
                <c:pt idx="12">
                  <c:v>1</c:v>
                </c:pt>
                <c:pt idx="13">
                  <c:v>0.51</c:v>
                </c:pt>
                <c:pt idx="14">
                  <c:v>0.06</c:v>
                </c:pt>
                <c:pt idx="15">
                  <c:v>0.32</c:v>
                </c:pt>
                <c:pt idx="16">
                  <c:v>0.28000000000000003</c:v>
                </c:pt>
                <c:pt idx="17">
                  <c:v>0.16</c:v>
                </c:pt>
                <c:pt idx="18">
                  <c:v>0.19</c:v>
                </c:pt>
              </c:numCache>
            </c:numRef>
          </c:xVal>
          <c:yVal>
            <c:numRef>
              <c:f>Sheet1!$B$2:$B$20</c:f>
              <c:numCache>
                <c:formatCode>General</c:formatCode>
                <c:ptCount val="19"/>
                <c:pt idx="0">
                  <c:v>624.6</c:v>
                </c:pt>
                <c:pt idx="1">
                  <c:v>500.30434782608688</c:v>
                </c:pt>
                <c:pt idx="2">
                  <c:v>946.84615384615381</c:v>
                </c:pt>
                <c:pt idx="3">
                  <c:v>1297.4705882352939</c:v>
                </c:pt>
                <c:pt idx="4">
                  <c:v>1071.7678571428571</c:v>
                </c:pt>
                <c:pt idx="5">
                  <c:v>779.16883116883116</c:v>
                </c:pt>
                <c:pt idx="6">
                  <c:v>1504.166666666667</c:v>
                </c:pt>
                <c:pt idx="7">
                  <c:v>741.27777777777783</c:v>
                </c:pt>
                <c:pt idx="8">
                  <c:v>572.58823529411768</c:v>
                </c:pt>
                <c:pt idx="9">
                  <c:v>391.66666666666669</c:v>
                </c:pt>
                <c:pt idx="10">
                  <c:v>392.11111111111109</c:v>
                </c:pt>
                <c:pt idx="11">
                  <c:v>636.66666666666663</c:v>
                </c:pt>
                <c:pt idx="12">
                  <c:v>9504.58</c:v>
                </c:pt>
                <c:pt idx="13">
                  <c:v>1649.4313725490199</c:v>
                </c:pt>
                <c:pt idx="14">
                  <c:v>940.83333333333337</c:v>
                </c:pt>
                <c:pt idx="15">
                  <c:v>517.75</c:v>
                </c:pt>
                <c:pt idx="16">
                  <c:v>267.60714285714278</c:v>
                </c:pt>
                <c:pt idx="17">
                  <c:v>175.6875</c:v>
                </c:pt>
                <c:pt idx="18">
                  <c:v>311.63157894736838</c:v>
                </c:pt>
              </c:numCache>
            </c:numRef>
          </c:yVal>
          <c:bubbleSize>
            <c:numRef>
              <c:f>Sheet1!$C$2:$C$20</c:f>
              <c:numCache>
                <c:formatCode>General</c:formatCode>
                <c:ptCount val="19"/>
                <c:pt idx="0">
                  <c:v>6119.2248</c:v>
                </c:pt>
                <c:pt idx="1">
                  <c:v>8881.8364000000001</c:v>
                </c:pt>
                <c:pt idx="2">
                  <c:v>9354.9976000000006</c:v>
                </c:pt>
                <c:pt idx="3">
                  <c:v>18277.5072</c:v>
                </c:pt>
                <c:pt idx="4">
                  <c:v>49937.420100000003</c:v>
                </c:pt>
                <c:pt idx="5">
                  <c:v>51340.187000000013</c:v>
                </c:pt>
                <c:pt idx="6">
                  <c:v>3399.7275</c:v>
                </c:pt>
                <c:pt idx="7">
                  <c:v>5192.5</c:v>
                </c:pt>
                <c:pt idx="8">
                  <c:v>7739.6016</c:v>
                </c:pt>
                <c:pt idx="9">
                  <c:v>1679.3806</c:v>
                </c:pt>
                <c:pt idx="10">
                  <c:v>2479.395</c:v>
                </c:pt>
                <c:pt idx="11">
                  <c:v>18532.477500000001</c:v>
                </c:pt>
                <c:pt idx="12">
                  <c:v>760337.93420000002</c:v>
                </c:pt>
                <c:pt idx="13">
                  <c:v>64308.811500000003</c:v>
                </c:pt>
                <c:pt idx="14">
                  <c:v>4239.1659</c:v>
                </c:pt>
                <c:pt idx="15">
                  <c:v>12964.845799999999</c:v>
                </c:pt>
                <c:pt idx="16">
                  <c:v>5877.6760000000004</c:v>
                </c:pt>
                <c:pt idx="17">
                  <c:v>1522.8077000000001</c:v>
                </c:pt>
                <c:pt idx="18">
                  <c:v>4479.5236000000004</c:v>
                </c:pt>
              </c:numCache>
            </c:numRef>
          </c:bubbleSize>
          <c:bubble3D val="0"/>
          <c:extLst>
            <c:ext xmlns:c15="http://schemas.microsoft.com/office/drawing/2012/chart" uri="{02D57815-91ED-43cb-92C2-25804820EDAC}">
              <c15:datalabelsRange>
                <c15:f>Sheet1!$E$2:$E$21</c15:f>
                <c15:dlblRangeCache>
                  <c:ptCount val="20"/>
                  <c:pt idx="0">
                    <c:v>1/2 CHAMP NICOLAS BLC/BLC BS 1CT X 375ML</c:v>
                  </c:pt>
                  <c:pt idx="1">
                    <c:v>1/2 CHAMP NICOLAS ROSE 1E C BS 1CT X 375ML</c:v>
                  </c:pt>
                  <c:pt idx="2">
                    <c:v>MG CHAMPAGNE NICOLAS BLC/BL BS 1CT X 1500ML</c:v>
                  </c:pt>
                  <c:pt idx="3">
                    <c:v>MG CHAMPAGNE E.NICOLAS BRUT 1CT X 1500ML</c:v>
                  </c:pt>
                  <c:pt idx="4">
                    <c:v>CHAMPAGNE E.NICOLAS ROSE 1CT X 750ML</c:v>
                  </c:pt>
                  <c:pt idx="5">
                    <c:v>CHAMPAGNE NICOLAS 1ERE CUVEE 1CT X 750ML</c:v>
                  </c:pt>
                  <c:pt idx="6">
                    <c:v>MG CHAMPAGNE NICOLAS 1ERE CUVE 1CT X 1500ML</c:v>
                  </c:pt>
                  <c:pt idx="7">
                    <c:v>CHAMPAGNE NICOLAS BIO NAT 2017 1CT X 750ML</c:v>
                  </c:pt>
                  <c:pt idx="8">
                    <c:v>CHAMPAGNE NICOLAS BLC DE NOIRS 1CT X 750ML</c:v>
                  </c:pt>
                  <c:pt idx="9">
                    <c:v>CHAMPAGNE NICOLAS ROSE 1E C BS 1CT X 750ML</c:v>
                  </c:pt>
                  <c:pt idx="10">
                    <c:v>CHAMPAGNE NICOLAS ROSE 1ERE ET 1CT X 750ML</c:v>
                  </c:pt>
                  <c:pt idx="11">
                    <c:v>1/2 CHAMPAGNE NICOLAS 1ERE CUV 1CT X 375ML</c:v>
                  </c:pt>
                  <c:pt idx="12">
                    <c:v>CHAMPAGNE E.NICOLAS BRUT 1CT X 750ML</c:v>
                  </c:pt>
                  <c:pt idx="13">
                    <c:v>CHAMPAGNE NICOLAS BLC/BLC BS 1CT X 750ML</c:v>
                  </c:pt>
                  <c:pt idx="14">
                    <c:v>CHAMPAGNE NICOLAS BLC/BLC 2002 1CT X 750ML</c:v>
                  </c:pt>
                  <c:pt idx="15">
                    <c:v>CHAMPAGNE NICOLAS ROSE 1ERE CU 1CT X 750ML</c:v>
                  </c:pt>
                  <c:pt idx="16">
                    <c:v>CHAMPAGNE NICOLAS 1ER CRU BS 1CT X 750ML</c:v>
                  </c:pt>
                  <c:pt idx="17">
                    <c:v>CHAMPAGNE NICOLAS 1ERE CUV ETU 1CT X 750ML</c:v>
                  </c:pt>
                  <c:pt idx="18">
                    <c:v>CHAMPAGNE NICOLAS 1ER CRU ETUI 1CT X 750ML</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7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76B172E2-5C7A-4735-B234-E8D5FE830BDE}"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C8BBC7E3-179E-4FCB-BFE6-01E4982222E7}"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3324CB65-6861-450B-80C1-3EA0FDF845EF}"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545727D6-DB8A-482F-A939-0DF44611DFBB}"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093162A1-C386-434F-BC16-8FE924F87BBB}"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F8221C93-11FD-4829-9728-1E6D5309D21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D2757598-FA52-4CB2-B2E8-C71E948586B8}"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AC3C76EC-9535-45DB-BE77-8C6ECE5B8FC6}"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AED9F4D0-AF93-4FB6-B587-5DD5A9CF101F}"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4FEAFFD3-9532-4E48-A7CC-B4E357A204F7}"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21</c:f>
              <c:numCache>
                <c:formatCode>General</c:formatCode>
                <c:ptCount val="20"/>
                <c:pt idx="0">
                  <c:v>0.15</c:v>
                </c:pt>
                <c:pt idx="1">
                  <c:v>0.18</c:v>
                </c:pt>
                <c:pt idx="2">
                  <c:v>0.08</c:v>
                </c:pt>
                <c:pt idx="3">
                  <c:v>0.15</c:v>
                </c:pt>
                <c:pt idx="4">
                  <c:v>0.53</c:v>
                </c:pt>
                <c:pt idx="5">
                  <c:v>0.62</c:v>
                </c:pt>
                <c:pt idx="6">
                  <c:v>0.06</c:v>
                </c:pt>
                <c:pt idx="7">
                  <c:v>0.18</c:v>
                </c:pt>
                <c:pt idx="8">
                  <c:v>0.13</c:v>
                </c:pt>
                <c:pt idx="9">
                  <c:v>7.0000000000000007E-2</c:v>
                </c:pt>
                <c:pt idx="10">
                  <c:v>0.05</c:v>
                </c:pt>
                <c:pt idx="11">
                  <c:v>0.25</c:v>
                </c:pt>
                <c:pt idx="12">
                  <c:v>0.99</c:v>
                </c:pt>
                <c:pt idx="13">
                  <c:v>0.51</c:v>
                </c:pt>
                <c:pt idx="14">
                  <c:v>0.03</c:v>
                </c:pt>
                <c:pt idx="15">
                  <c:v>0.28000000000000003</c:v>
                </c:pt>
                <c:pt idx="16">
                  <c:v>0.03</c:v>
                </c:pt>
                <c:pt idx="17">
                  <c:v>0.28000000000000003</c:v>
                </c:pt>
                <c:pt idx="18">
                  <c:v>0.15</c:v>
                </c:pt>
                <c:pt idx="19">
                  <c:v>0.1</c:v>
                </c:pt>
              </c:numCache>
            </c:numRef>
          </c:xVal>
          <c:yVal>
            <c:numRef>
              <c:f>Sheet1!$B$2:$B$21</c:f>
              <c:numCache>
                <c:formatCode>General</c:formatCode>
                <c:ptCount val="20"/>
                <c:pt idx="0">
                  <c:v>653.5333333333333</c:v>
                </c:pt>
                <c:pt idx="1">
                  <c:v>442.88888888888891</c:v>
                </c:pt>
                <c:pt idx="2">
                  <c:v>1009.75</c:v>
                </c:pt>
                <c:pt idx="3">
                  <c:v>1152.0666666666671</c:v>
                </c:pt>
                <c:pt idx="4">
                  <c:v>999.24528301886789</c:v>
                </c:pt>
                <c:pt idx="5">
                  <c:v>714.12903225806451</c:v>
                </c:pt>
                <c:pt idx="6">
                  <c:v>1150.333333333333</c:v>
                </c:pt>
                <c:pt idx="7">
                  <c:v>745.88888888888891</c:v>
                </c:pt>
                <c:pt idx="8">
                  <c:v>474.61538461538458</c:v>
                </c:pt>
                <c:pt idx="9">
                  <c:v>249</c:v>
                </c:pt>
                <c:pt idx="10">
                  <c:v>628</c:v>
                </c:pt>
                <c:pt idx="11">
                  <c:v>760.28</c:v>
                </c:pt>
                <c:pt idx="12">
                  <c:v>7373.9494949494947</c:v>
                </c:pt>
                <c:pt idx="13">
                  <c:v>1265.294117647059</c:v>
                </c:pt>
                <c:pt idx="14">
                  <c:v>1255.666666666667</c:v>
                </c:pt>
                <c:pt idx="15">
                  <c:v>494.53571428571422</c:v>
                </c:pt>
                <c:pt idx="16">
                  <c:v>556.33333333333337</c:v>
                </c:pt>
                <c:pt idx="17">
                  <c:v>297.49999999999989</c:v>
                </c:pt>
                <c:pt idx="18">
                  <c:v>254.6</c:v>
                </c:pt>
                <c:pt idx="19">
                  <c:v>535</c:v>
                </c:pt>
              </c:numCache>
            </c:numRef>
          </c:yVal>
          <c:bubbleSize>
            <c:numRef>
              <c:f>Sheet1!$C$2:$C$21</c:f>
              <c:numCache>
                <c:formatCode>General</c:formatCode>
                <c:ptCount val="20"/>
                <c:pt idx="0">
                  <c:v>3723.1428000000001</c:v>
                </c:pt>
                <c:pt idx="1">
                  <c:v>6094.4557999999997</c:v>
                </c:pt>
                <c:pt idx="2">
                  <c:v>6103.8220000000001</c:v>
                </c:pt>
                <c:pt idx="3">
                  <c:v>14181.673199999999</c:v>
                </c:pt>
                <c:pt idx="4">
                  <c:v>44041.5962</c:v>
                </c:pt>
                <c:pt idx="5">
                  <c:v>37732.482300000003</c:v>
                </c:pt>
                <c:pt idx="6">
                  <c:v>3399.7275</c:v>
                </c:pt>
                <c:pt idx="7">
                  <c:v>6277.5</c:v>
                </c:pt>
                <c:pt idx="8">
                  <c:v>4820.8271999999997</c:v>
                </c:pt>
                <c:pt idx="9">
                  <c:v>1336.6007999999999</c:v>
                </c:pt>
                <c:pt idx="10">
                  <c:v>2340.6142</c:v>
                </c:pt>
                <c:pt idx="11">
                  <c:v>15325.342500000001</c:v>
                </c:pt>
                <c:pt idx="12">
                  <c:v>581642.16099999996</c:v>
                </c:pt>
                <c:pt idx="13">
                  <c:v>49115.3364</c:v>
                </c:pt>
                <c:pt idx="14">
                  <c:v>2772.4994999999999</c:v>
                </c:pt>
                <c:pt idx="15">
                  <c:v>10944.071400000001</c:v>
                </c:pt>
                <c:pt idx="16">
                  <c:v>1037.2049999999999</c:v>
                </c:pt>
                <c:pt idx="17">
                  <c:v>6714.1922000000004</c:v>
                </c:pt>
                <c:pt idx="18">
                  <c:v>2787.5124000000001</c:v>
                </c:pt>
                <c:pt idx="19">
                  <c:v>4143.8684999999996</c:v>
                </c:pt>
              </c:numCache>
            </c:numRef>
          </c:bubbleSize>
          <c:bubble3D val="0"/>
          <c:extLst>
            <c:ext xmlns:c15="http://schemas.microsoft.com/office/drawing/2012/chart" uri="{02D57815-91ED-43cb-92C2-25804820EDAC}">
              <c15:datalabelsRange>
                <c15:f>Sheet1!$E$2:$E$21</c15:f>
                <c15:dlblRangeCache>
                  <c:ptCount val="20"/>
                  <c:pt idx="0">
                    <c:v>1/2 CHAMP NICOLAS BLC/BLC BS 1CT X 375ML</c:v>
                  </c:pt>
                  <c:pt idx="1">
                    <c:v>1/2 CHAMP NICOLAS ROSE 1E C BS 1CT X 375ML</c:v>
                  </c:pt>
                  <c:pt idx="2">
                    <c:v>MG CHAMPAGNE NICOLAS BLC/BL BS 1CT X 1500ML</c:v>
                  </c:pt>
                  <c:pt idx="3">
                    <c:v>MG CHAMPAGNE E.NICOLAS BRUT 1CT X 1500ML</c:v>
                  </c:pt>
                  <c:pt idx="4">
                    <c:v>CHAMPAGNE E.NICOLAS ROSE 1CT X 750ML</c:v>
                  </c:pt>
                  <c:pt idx="5">
                    <c:v>CHAMPAGNE NICOLAS 1ERE CUVEE 1CT X 750ML</c:v>
                  </c:pt>
                  <c:pt idx="6">
                    <c:v>MG CHAMPAGNE NICOLAS 1ERE CUVE 1CT X 1500ML</c:v>
                  </c:pt>
                  <c:pt idx="7">
                    <c:v>CHAMPAGNE NICOLAS BIO NAT 2017 1CT X 750ML</c:v>
                  </c:pt>
                  <c:pt idx="8">
                    <c:v>CHAMPAGNE NICOLAS BLC DE NOIRS 1CT X 750ML</c:v>
                  </c:pt>
                  <c:pt idx="9">
                    <c:v>CHAMPAGNE NICOLAS ROSE 1E C BS 1CT X 750ML</c:v>
                  </c:pt>
                  <c:pt idx="10">
                    <c:v>CHAMPAGNE NICOLAS ROSE 1ERE ET 1CT X 750ML</c:v>
                  </c:pt>
                  <c:pt idx="11">
                    <c:v>1/2 CHAMPAGNE NICOLAS 1ERE CUV 1CT X 375ML</c:v>
                  </c:pt>
                  <c:pt idx="12">
                    <c:v>CHAMPAGNE E.NICOLAS BRUT 1CT X 750ML</c:v>
                  </c:pt>
                  <c:pt idx="13">
                    <c:v>CHAMPAGNE NICOLAS BLC/BLC BS 1CT X 750ML</c:v>
                  </c:pt>
                  <c:pt idx="14">
                    <c:v>CHAMPAGNE NICOLAS BLC/BLC 2002 1CT X 750ML</c:v>
                  </c:pt>
                  <c:pt idx="15">
                    <c:v>CHAMPAGNE NICOLAS ROSE 1ERE CU 1CT X 750ML</c:v>
                  </c:pt>
                  <c:pt idx="16">
                    <c:v>MG CHAMPAGNE NICOLAS 1E CRU BS 1CT X 1500ML</c:v>
                  </c:pt>
                  <c:pt idx="17">
                    <c:v>CHAMPAGNE NICOLAS 1ER CRU BS 1CT X 750ML</c:v>
                  </c:pt>
                  <c:pt idx="18">
                    <c:v>CHAMPAGNE NICOLAS 1ERE CUV ETU 1CT X 750ML</c:v>
                  </c:pt>
                  <c:pt idx="19">
                    <c:v>CHAMPAGNE NICOLAS 1ER CRU ETUI 1CT X 750ML</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7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15E76938-48D9-43C5-9D6F-28C19118651B}"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B506C62B-13B2-462E-BB28-00E03A24B19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F572353B-ABD9-480F-8BCE-3B9FE76B85F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17480319-9F30-4F6C-B4EE-4A583AE6A2B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08FE9DA5-BCDE-488C-A429-D59BE88D5ED8}"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F2D8CA3C-7929-4955-8DAE-923A0C8433F2}"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5A6B95FF-B478-4B1D-AF4E-1F7D8F1D2C17}"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13F94017-803C-4F7D-A63E-88A935BFD897}"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7C80DBB8-AD27-4241-9A7E-3F50AAC495F6}"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AA4256D2-38BF-495C-9D53-A6ADBBBBE0DD}"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21</c:f>
              <c:numCache>
                <c:formatCode>General</c:formatCode>
                <c:ptCount val="20"/>
                <c:pt idx="0">
                  <c:v>0.17</c:v>
                </c:pt>
                <c:pt idx="1">
                  <c:v>0.2</c:v>
                </c:pt>
                <c:pt idx="2">
                  <c:v>0.1</c:v>
                </c:pt>
                <c:pt idx="3">
                  <c:v>0.15</c:v>
                </c:pt>
                <c:pt idx="4">
                  <c:v>0.45</c:v>
                </c:pt>
                <c:pt idx="5">
                  <c:v>0.55000000000000004</c:v>
                </c:pt>
                <c:pt idx="6">
                  <c:v>0.06</c:v>
                </c:pt>
                <c:pt idx="7">
                  <c:v>0.1</c:v>
                </c:pt>
                <c:pt idx="8">
                  <c:v>7.0000000000000007E-2</c:v>
                </c:pt>
                <c:pt idx="9">
                  <c:v>0.04</c:v>
                </c:pt>
                <c:pt idx="10">
                  <c:v>0.04</c:v>
                </c:pt>
                <c:pt idx="11">
                  <c:v>0.22</c:v>
                </c:pt>
                <c:pt idx="12">
                  <c:v>0.97</c:v>
                </c:pt>
                <c:pt idx="13">
                  <c:v>0.34</c:v>
                </c:pt>
                <c:pt idx="14">
                  <c:v>0.06</c:v>
                </c:pt>
                <c:pt idx="15">
                  <c:v>0.17</c:v>
                </c:pt>
                <c:pt idx="16">
                  <c:v>0.04</c:v>
                </c:pt>
                <c:pt idx="17">
                  <c:v>0.43</c:v>
                </c:pt>
                <c:pt idx="18">
                  <c:v>0.13</c:v>
                </c:pt>
                <c:pt idx="19">
                  <c:v>0.02</c:v>
                </c:pt>
              </c:numCache>
            </c:numRef>
          </c:xVal>
          <c:yVal>
            <c:numRef>
              <c:f>Sheet1!$B$2:$B$21</c:f>
              <c:numCache>
                <c:formatCode>General</c:formatCode>
                <c:ptCount val="20"/>
                <c:pt idx="0">
                  <c:v>642</c:v>
                </c:pt>
                <c:pt idx="1">
                  <c:v>464.65</c:v>
                </c:pt>
                <c:pt idx="2">
                  <c:v>1263.2</c:v>
                </c:pt>
                <c:pt idx="3">
                  <c:v>1184</c:v>
                </c:pt>
                <c:pt idx="4">
                  <c:v>1188.088888888889</c:v>
                </c:pt>
                <c:pt idx="5">
                  <c:v>658.12727272727261</c:v>
                </c:pt>
                <c:pt idx="6">
                  <c:v>1187.833333333333</c:v>
                </c:pt>
                <c:pt idx="7">
                  <c:v>1202.5999999999999</c:v>
                </c:pt>
                <c:pt idx="8">
                  <c:v>783.42857142857133</c:v>
                </c:pt>
                <c:pt idx="9">
                  <c:v>839.75</c:v>
                </c:pt>
                <c:pt idx="10">
                  <c:v>818.25</c:v>
                </c:pt>
                <c:pt idx="11">
                  <c:v>800.18181818181813</c:v>
                </c:pt>
                <c:pt idx="12">
                  <c:v>7707.4123711340208</c:v>
                </c:pt>
                <c:pt idx="13">
                  <c:v>2260.5294117647059</c:v>
                </c:pt>
                <c:pt idx="14">
                  <c:v>790.33333333333337</c:v>
                </c:pt>
                <c:pt idx="15">
                  <c:v>480.29411764705878</c:v>
                </c:pt>
                <c:pt idx="16">
                  <c:v>663.75</c:v>
                </c:pt>
                <c:pt idx="17">
                  <c:v>357.30232558139528</c:v>
                </c:pt>
                <c:pt idx="18">
                  <c:v>383.23076923076923</c:v>
                </c:pt>
                <c:pt idx="19">
                  <c:v>832.5</c:v>
                </c:pt>
              </c:numCache>
            </c:numRef>
          </c:yVal>
          <c:bubbleSize>
            <c:numRef>
              <c:f>Sheet1!$C$2:$C$21</c:f>
              <c:numCache>
                <c:formatCode>General</c:formatCode>
                <c:ptCount val="20"/>
                <c:pt idx="0">
                  <c:v>4700.0069999999996</c:v>
                </c:pt>
                <c:pt idx="1">
                  <c:v>7100.8307999999997</c:v>
                </c:pt>
                <c:pt idx="2">
                  <c:v>9669.2716999999993</c:v>
                </c:pt>
                <c:pt idx="3">
                  <c:v>14623.3392</c:v>
                </c:pt>
                <c:pt idx="4">
                  <c:v>44541.595400000013</c:v>
                </c:pt>
                <c:pt idx="5">
                  <c:v>30828.814399999999</c:v>
                </c:pt>
                <c:pt idx="6">
                  <c:v>3803.085</c:v>
                </c:pt>
                <c:pt idx="7">
                  <c:v>4960</c:v>
                </c:pt>
                <c:pt idx="8">
                  <c:v>4314.6060000000007</c:v>
                </c:pt>
                <c:pt idx="9">
                  <c:v>2426.8018000000002</c:v>
                </c:pt>
                <c:pt idx="10">
                  <c:v>1874.5934999999999</c:v>
                </c:pt>
                <c:pt idx="11">
                  <c:v>14161.9575</c:v>
                </c:pt>
                <c:pt idx="12">
                  <c:v>596350.77399999998</c:v>
                </c:pt>
                <c:pt idx="13">
                  <c:v>58638.855600000003</c:v>
                </c:pt>
                <c:pt idx="14">
                  <c:v>3557.499299999999</c:v>
                </c:pt>
                <c:pt idx="15">
                  <c:v>6433.7096000000001</c:v>
                </c:pt>
                <c:pt idx="16">
                  <c:v>1382.94</c:v>
                </c:pt>
                <c:pt idx="17">
                  <c:v>12986.957899999999</c:v>
                </c:pt>
                <c:pt idx="18">
                  <c:v>3097.2359999999999</c:v>
                </c:pt>
                <c:pt idx="19">
                  <c:v>1205.6768</c:v>
                </c:pt>
              </c:numCache>
            </c:numRef>
          </c:bubbleSize>
          <c:bubble3D val="0"/>
          <c:extLst>
            <c:ext xmlns:c15="http://schemas.microsoft.com/office/drawing/2012/chart" uri="{02D57815-91ED-43cb-92C2-25804820EDAC}">
              <c15:datalabelsRange>
                <c15:f>Sheet1!$E$2:$E$21</c15:f>
                <c15:dlblRangeCache>
                  <c:ptCount val="20"/>
                  <c:pt idx="0">
                    <c:v>1/2 CHAMP NICOLAS BLC/BLC BS 1CT X 375ML</c:v>
                  </c:pt>
                  <c:pt idx="1">
                    <c:v>1/2 CHAMP NICOLAS ROSE 1E C BS 1CT X 375ML</c:v>
                  </c:pt>
                  <c:pt idx="2">
                    <c:v>MG CHAMPAGNE NICOLAS BLC/BL BS 1CT X 1500ML</c:v>
                  </c:pt>
                  <c:pt idx="3">
                    <c:v>MG CHAMPAGNE E.NICOLAS BRUT 1CT X 1500ML</c:v>
                  </c:pt>
                  <c:pt idx="4">
                    <c:v>CHAMPAGNE E.NICOLAS ROSE 1CT X 750ML</c:v>
                  </c:pt>
                  <c:pt idx="5">
                    <c:v>CHAMPAGNE NICOLAS 1ERE CUVEE 1CT X 750ML</c:v>
                  </c:pt>
                  <c:pt idx="6">
                    <c:v>MG CHAMPAGNE NICOLAS 1ERE CUVE 1CT X 1500ML</c:v>
                  </c:pt>
                  <c:pt idx="7">
                    <c:v>CHAMPAGNE NICOLAS BIO NAT 2017 1CT X 750ML</c:v>
                  </c:pt>
                  <c:pt idx="8">
                    <c:v>CHAMPAGNE NICOLAS BLC DE NOIRS 1CT X 750ML</c:v>
                  </c:pt>
                  <c:pt idx="9">
                    <c:v>CHAMPAGNE NICOLAS ROSE 1E C BS 1CT X 750ML</c:v>
                  </c:pt>
                  <c:pt idx="10">
                    <c:v>CHAMPAGNE NICOLAS BLC/BL BS ET 1CT X 750ML</c:v>
                  </c:pt>
                  <c:pt idx="11">
                    <c:v>1/2 CHAMPAGNE NICOLAS 1ERE CUV 1CT X 375ML</c:v>
                  </c:pt>
                  <c:pt idx="12">
                    <c:v>CHAMPAGNE E.NICOLAS BRUT 1CT X 750ML</c:v>
                  </c:pt>
                  <c:pt idx="13">
                    <c:v>CHAMPAGNE NICOLAS BLC/BLC BS 1CT X 750ML</c:v>
                  </c:pt>
                  <c:pt idx="14">
                    <c:v>CHAMPAGNE NICOLAS BLC/BLC 2002 1CT X 750ML</c:v>
                  </c:pt>
                  <c:pt idx="15">
                    <c:v>CHAMPAGNE NICOLAS ROSE 1ERE CU 1CT X 750ML</c:v>
                  </c:pt>
                  <c:pt idx="16">
                    <c:v>MG CHAMPAGNE NICOLAS 1E CRU BS 1CT X 1500ML</c:v>
                  </c:pt>
                  <c:pt idx="17">
                    <c:v>CHAMPAGNE NICOLAS 1ER CRU BS 1CT X 750ML</c:v>
                  </c:pt>
                  <c:pt idx="18">
                    <c:v>CHAMPAGNE NICOLAS 1ERE CUV ETU 1CT X 750ML</c:v>
                  </c:pt>
                  <c:pt idx="19">
                    <c:v>CHAMPAGNE NICOLAS 1ER CRU ETUI 1CT X 750ML</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7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43C74DF4-3AD3-41D2-B17D-B0CC81320F0B}"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4BB58B76-39A7-4C77-8851-8487E66F755E}"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74CAC662-3FAF-43E9-AC66-58DD58B41E40}"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32D09AD5-E12F-4383-A9C1-5BCEC79DF389}"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3F0EF2B1-3E15-4484-9F37-956D78CF520F}"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3A198217-8CFC-4F87-A9CC-4739A18ECE7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5C379466-144D-4BF5-A229-6C87D68DB58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82719B44-4054-40F9-8F42-73A76DA2BAA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2646F80A-878C-415E-B51F-A45A7F6A7E77}"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543E8D31-18F6-4664-BCEF-132BF84939B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6</c:f>
              <c:numCache>
                <c:formatCode>General</c:formatCode>
                <c:ptCount val="5"/>
                <c:pt idx="0">
                  <c:v>0.315</c:v>
                </c:pt>
                <c:pt idx="1">
                  <c:v>0.17100000000000001</c:v>
                </c:pt>
                <c:pt idx="2">
                  <c:v>2.7E-2</c:v>
                </c:pt>
                <c:pt idx="3">
                  <c:v>0.58499999999999996</c:v>
                </c:pt>
                <c:pt idx="4">
                  <c:v>9.9000000000000005E-2</c:v>
                </c:pt>
              </c:numCache>
            </c:numRef>
          </c:xVal>
          <c:yVal>
            <c:numRef>
              <c:f>Sheet1!$B$2:$B$6</c:f>
              <c:numCache>
                <c:formatCode>General</c:formatCode>
                <c:ptCount val="5"/>
                <c:pt idx="0">
                  <c:v>1861.5238095238101</c:v>
                </c:pt>
                <c:pt idx="1">
                  <c:v>3376.9590643274851</c:v>
                </c:pt>
                <c:pt idx="2">
                  <c:v>2277.7777777777778</c:v>
                </c:pt>
                <c:pt idx="3">
                  <c:v>6637.264957264957</c:v>
                </c:pt>
                <c:pt idx="4">
                  <c:v>2362.121212121212</c:v>
                </c:pt>
              </c:numCache>
            </c:numRef>
          </c:yVal>
          <c:bubbleSize>
            <c:numRef>
              <c:f>Sheet1!$C$2:$C$6</c:f>
              <c:numCache>
                <c:formatCode>General</c:formatCode>
                <c:ptCount val="5"/>
                <c:pt idx="0">
                  <c:v>23665.917600000001</c:v>
                </c:pt>
                <c:pt idx="1">
                  <c:v>43073.496400000004</c:v>
                </c:pt>
                <c:pt idx="2">
                  <c:v>3201.2289000000001</c:v>
                </c:pt>
                <c:pt idx="3">
                  <c:v>295626.36689999991</c:v>
                </c:pt>
                <c:pt idx="4">
                  <c:v>17459.9964</c:v>
                </c:pt>
              </c:numCache>
            </c:numRef>
          </c:bubbleSize>
          <c:bubble3D val="0"/>
          <c:extLst>
            <c:ext xmlns:c15="http://schemas.microsoft.com/office/drawing/2012/chart" uri="{02D57815-91ED-43cb-92C2-25804820EDAC}">
              <c15:datalabelsRange>
                <c15:f>Sheet1!$E$2:$E$21</c15:f>
                <c15:dlblRangeCache>
                  <c:ptCount val="20"/>
                  <c:pt idx="0">
                    <c:v>1/2 CHAMP NICOLAS BLC/BLC BS 1CT X 375ML</c:v>
                  </c:pt>
                  <c:pt idx="1">
                    <c:v>MG CHAMPAGNE NICOLAS BLC/BL BS 1CT X 1500ML</c:v>
                  </c:pt>
                  <c:pt idx="2">
                    <c:v>CHAMPAGNE NICOLAS BLC/BL BS ET 1CT X 750ML</c:v>
                  </c:pt>
                  <c:pt idx="3">
                    <c:v>CHAMPAGNE NICOLAS BLC/BLC BS 1CT X 750ML</c:v>
                  </c:pt>
                  <c:pt idx="4">
                    <c:v>CHAMPAGNE NICOLAS BLC/BLC 2002 1CT X 750ML</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Nicolas</c:v>
                </c:pt>
                <c:pt idx="2">
                  <c:v>Deutz</c:v>
                </c:pt>
                <c:pt idx="3">
                  <c:v>Laurent Perrier</c:v>
                </c:pt>
                <c:pt idx="4">
                  <c:v>Roederer</c:v>
                </c:pt>
                <c:pt idx="5">
                  <c:v>Heidsieck &amp; Co Monopole</c:v>
                </c:pt>
                <c:pt idx="6">
                  <c:v>Malard</c:v>
                </c:pt>
                <c:pt idx="7">
                  <c:v>Dom Perignon</c:v>
                </c:pt>
                <c:pt idx="8">
                  <c:v>Taittinger</c:v>
                </c:pt>
                <c:pt idx="9">
                  <c:v>Others</c:v>
                </c:pt>
              </c:strCache>
            </c:strRef>
          </c:cat>
          <c:val>
            <c:numRef>
              <c:f>Sheet1!$B$2:$B$11</c:f>
              <c:numCache>
                <c:formatCode>General</c:formatCode>
                <c:ptCount val="10"/>
                <c:pt idx="0">
                  <c:v>0.28573422763082984</c:v>
                </c:pt>
                <c:pt idx="1">
                  <c:v>9.4590507737688526E-2</c:v>
                </c:pt>
                <c:pt idx="2">
                  <c:v>7.367383631045156E-2</c:v>
                </c:pt>
                <c:pt idx="3">
                  <c:v>5.1683899931162902E-2</c:v>
                </c:pt>
                <c:pt idx="4">
                  <c:v>3.5225671274149023E-2</c:v>
                </c:pt>
                <c:pt idx="5">
                  <c:v>3.2647166471070951E-2</c:v>
                </c:pt>
                <c:pt idx="6">
                  <c:v>3.1860135494077478E-2</c:v>
                </c:pt>
                <c:pt idx="7">
                  <c:v>2.8172980082523551E-2</c:v>
                </c:pt>
                <c:pt idx="8">
                  <c:v>2.7105412820913041E-2</c:v>
                </c:pt>
                <c:pt idx="9">
                  <c:v>0.33930616224713317</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Nicolas</c:v>
                </c:pt>
                <c:pt idx="2">
                  <c:v>Deutz</c:v>
                </c:pt>
                <c:pt idx="3">
                  <c:v>Laurent Perrier</c:v>
                </c:pt>
                <c:pt idx="4">
                  <c:v>Roederer</c:v>
                </c:pt>
                <c:pt idx="5">
                  <c:v>Heidsieck &amp; Co Monopole</c:v>
                </c:pt>
                <c:pt idx="6">
                  <c:v>Malard</c:v>
                </c:pt>
                <c:pt idx="7">
                  <c:v>Dom Perignon</c:v>
                </c:pt>
                <c:pt idx="8">
                  <c:v>Taittinger</c:v>
                </c:pt>
                <c:pt idx="9">
                  <c:v>Others</c:v>
                </c:pt>
              </c:strCache>
            </c:strRef>
          </c:cat>
          <c:val>
            <c:numRef>
              <c:f>Sheet1!$C$2:$C$11</c:f>
              <c:numCache>
                <c:formatCode>General</c:formatCode>
                <c:ptCount val="10"/>
                <c:pt idx="0">
                  <c:v>0.10005073566717394</c:v>
                </c:pt>
                <c:pt idx="1">
                  <c:v>7.3465246067985726E-2</c:v>
                </c:pt>
                <c:pt idx="2">
                  <c:v>4.6372399797057304E-2</c:v>
                </c:pt>
                <c:pt idx="3">
                  <c:v>4.3632673769660027E-2</c:v>
                </c:pt>
                <c:pt idx="4">
                  <c:v>5.1040081177067452E-2</c:v>
                </c:pt>
                <c:pt idx="5">
                  <c:v>1.0045662100456614E-2</c:v>
                </c:pt>
                <c:pt idx="6">
                  <c:v>3.4398782343987792E-2</c:v>
                </c:pt>
                <c:pt idx="7">
                  <c:v>1.7656012176560109E-2</c:v>
                </c:pt>
                <c:pt idx="8">
                  <c:v>2.2222222222222209E-2</c:v>
                </c:pt>
                <c:pt idx="9">
                  <c:v>0.60111618467782801</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Nicolas</c:v>
                </c:pt>
                <c:pt idx="2">
                  <c:v>Deutz</c:v>
                </c:pt>
                <c:pt idx="3">
                  <c:v>Laurent Perrier</c:v>
                </c:pt>
                <c:pt idx="4">
                  <c:v>Roederer</c:v>
                </c:pt>
                <c:pt idx="5">
                  <c:v>Heidsieck &amp; Co Monopole</c:v>
                </c:pt>
                <c:pt idx="6">
                  <c:v>Malard</c:v>
                </c:pt>
                <c:pt idx="7">
                  <c:v>Dom Perignon</c:v>
                </c:pt>
                <c:pt idx="8">
                  <c:v>Taittinger</c:v>
                </c:pt>
                <c:pt idx="9">
                  <c:v>Others</c:v>
                </c:pt>
              </c:strCache>
            </c:strRef>
          </c:cat>
          <c:val>
            <c:numRef>
              <c:f>Sheet1!$D$2:$D$11</c:f>
              <c:numCache>
                <c:formatCode>General</c:formatCode>
                <c:ptCount val="10"/>
                <c:pt idx="0">
                  <c:v>35.015313529900247</c:v>
                </c:pt>
                <c:pt idx="1">
                  <c:v>77.666615630940655</c:v>
                </c:pt>
                <c:pt idx="2">
                  <c:v>62.942833059012017</c:v>
                </c:pt>
                <c:pt idx="3">
                  <c:v>84.422177559692287</c:v>
                </c:pt>
                <c:pt idx="4">
                  <c:v>144.89455936791219</c:v>
                </c:pt>
                <c:pt idx="5">
                  <c:v>30.770395064325712</c:v>
                </c:pt>
                <c:pt idx="6">
                  <c:v>107.96809809670216</c:v>
                </c:pt>
                <c:pt idx="7">
                  <c:v>62.670019731113221</c:v>
                </c:pt>
                <c:pt idx="8">
                  <c:v>81.984444837810287</c:v>
                </c:pt>
                <c:pt idx="9">
                  <c:v>177.1604089642220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Nicolas</c:v>
                </c:pt>
                <c:pt idx="2">
                  <c:v>Malard</c:v>
                </c:pt>
                <c:pt idx="3">
                  <c:v>Besserat De Bellefon</c:v>
                </c:pt>
                <c:pt idx="4">
                  <c:v>De Bligny</c:v>
                </c:pt>
                <c:pt idx="5">
                  <c:v>Henriot</c:v>
                </c:pt>
                <c:pt idx="6">
                  <c:v>Delamotte</c:v>
                </c:pt>
                <c:pt idx="7">
                  <c:v>Ayala</c:v>
                </c:pt>
                <c:pt idx="8">
                  <c:v>De Venoge</c:v>
                </c:pt>
                <c:pt idx="9">
                  <c:v>Others</c:v>
                </c:pt>
              </c:strCache>
            </c:strRef>
          </c:cat>
          <c:val>
            <c:numRef>
              <c:f>Sheet1!$B$2:$B$11</c:f>
              <c:numCache>
                <c:formatCode>General</c:formatCode>
                <c:ptCount val="10"/>
                <c:pt idx="0">
                  <c:v>0.61018985090849509</c:v>
                </c:pt>
                <c:pt idx="1">
                  <c:v>8.6648897697892899E-2</c:v>
                </c:pt>
                <c:pt idx="2">
                  <c:v>6.7444824954345478E-2</c:v>
                </c:pt>
                <c:pt idx="3">
                  <c:v>4.5509872167321351E-2</c:v>
                </c:pt>
                <c:pt idx="4">
                  <c:v>3.8309843395977608E-2</c:v>
                </c:pt>
                <c:pt idx="5">
                  <c:v>3.6726620286194951E-2</c:v>
                </c:pt>
                <c:pt idx="6">
                  <c:v>2.4653844770608474E-2</c:v>
                </c:pt>
                <c:pt idx="7">
                  <c:v>2.3989706252572438E-2</c:v>
                </c:pt>
                <c:pt idx="8">
                  <c:v>2.1695191589177178E-2</c:v>
                </c:pt>
                <c:pt idx="9">
                  <c:v>4.4831347977414497E-2</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Nicolas</c:v>
                </c:pt>
                <c:pt idx="2">
                  <c:v>Malard</c:v>
                </c:pt>
                <c:pt idx="3">
                  <c:v>Besserat De Bellefon</c:v>
                </c:pt>
                <c:pt idx="4">
                  <c:v>De Bligny</c:v>
                </c:pt>
                <c:pt idx="5">
                  <c:v>Henriot</c:v>
                </c:pt>
                <c:pt idx="6">
                  <c:v>Delamotte</c:v>
                </c:pt>
                <c:pt idx="7">
                  <c:v>Ayala</c:v>
                </c:pt>
                <c:pt idx="8">
                  <c:v>De Venoge</c:v>
                </c:pt>
                <c:pt idx="9">
                  <c:v>Others</c:v>
                </c:pt>
              </c:strCache>
            </c:strRef>
          </c:cat>
          <c:val>
            <c:numRef>
              <c:f>Sheet1!$C$2:$C$11</c:f>
              <c:numCache>
                <c:formatCode>General</c:formatCode>
                <c:ptCount val="10"/>
                <c:pt idx="0">
                  <c:v>0.30661322645290601</c:v>
                </c:pt>
                <c:pt idx="1">
                  <c:v>0.14228456913827661</c:v>
                </c:pt>
                <c:pt idx="2">
                  <c:v>8.6172344689378802E-2</c:v>
                </c:pt>
                <c:pt idx="3">
                  <c:v>6.4128256513026088E-2</c:v>
                </c:pt>
                <c:pt idx="4">
                  <c:v>8.4168336673346736E-2</c:v>
                </c:pt>
                <c:pt idx="5">
                  <c:v>7.8156312625250537E-2</c:v>
                </c:pt>
                <c:pt idx="6">
                  <c:v>3.8076152304609236E-2</c:v>
                </c:pt>
                <c:pt idx="7">
                  <c:v>5.4108216432865765E-2</c:v>
                </c:pt>
                <c:pt idx="8">
                  <c:v>3.406813627254511E-2</c:v>
                </c:pt>
                <c:pt idx="9">
                  <c:v>0.11222444889779565</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Nicolas</c:v>
                </c:pt>
                <c:pt idx="2">
                  <c:v>Malard</c:v>
                </c:pt>
                <c:pt idx="3">
                  <c:v>Besserat De Bellefon</c:v>
                </c:pt>
                <c:pt idx="4">
                  <c:v>De Bligny</c:v>
                </c:pt>
                <c:pt idx="5">
                  <c:v>Henriot</c:v>
                </c:pt>
                <c:pt idx="6">
                  <c:v>Delamotte</c:v>
                </c:pt>
                <c:pt idx="7">
                  <c:v>Ayala</c:v>
                </c:pt>
                <c:pt idx="8">
                  <c:v>De Venoge</c:v>
                </c:pt>
                <c:pt idx="9">
                  <c:v>Others</c:v>
                </c:pt>
              </c:strCache>
            </c:strRef>
          </c:cat>
          <c:val>
            <c:numRef>
              <c:f>Sheet1!$D$2:$D$11</c:f>
              <c:numCache>
                <c:formatCode>General</c:formatCode>
                <c:ptCount val="10"/>
                <c:pt idx="0">
                  <c:v>50.248824361204612</c:v>
                </c:pt>
                <c:pt idx="1">
                  <c:v>164.20816988850933</c:v>
                </c:pt>
                <c:pt idx="2">
                  <c:v>127.76717079139918</c:v>
                </c:pt>
                <c:pt idx="3">
                  <c:v>140.91064962180619</c:v>
                </c:pt>
                <c:pt idx="4">
                  <c:v>219.70420448699645</c:v>
                </c:pt>
                <c:pt idx="5">
                  <c:v>212.80562168860513</c:v>
                </c:pt>
                <c:pt idx="6">
                  <c:v>154.44306013479249</c:v>
                </c:pt>
                <c:pt idx="7">
                  <c:v>225.54764057214621</c:v>
                </c:pt>
                <c:pt idx="8">
                  <c:v>157.03081548051537</c:v>
                </c:pt>
                <c:pt idx="9">
                  <c:v>250.32584109300706</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95854CC8-8718-4B0D-841E-296C7FFBD2E0}"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7F4CB0FC-0E08-4B86-8F64-12609BFDCDDE}"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B63E38BA-1C69-45E6-B1A4-95579A397C6F}"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880C12E1-8CB3-4806-A16D-34168E615E92}"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47BDDFFB-A6F1-4514-BC59-DF8E6CA12729}"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EF1D4D4E-E6DC-4B8A-84E6-EF119FB5D2A0}"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173D53E2-6689-4E98-ACEA-9A0915501A1E}"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725557E5-1773-4951-8592-026D9CE3F2EE}"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032EF900-EF23-4F59-B94C-742FF466A42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05B1817F-7BA3-4448-AB45-EBDD5E6ADBE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6</c:f>
              <c:numCache>
                <c:formatCode>General</c:formatCode>
                <c:ptCount val="5"/>
                <c:pt idx="0">
                  <c:v>0.28000000000000003</c:v>
                </c:pt>
                <c:pt idx="1">
                  <c:v>0.12</c:v>
                </c:pt>
                <c:pt idx="2">
                  <c:v>0.02</c:v>
                </c:pt>
                <c:pt idx="3">
                  <c:v>0.56999999999999995</c:v>
                </c:pt>
                <c:pt idx="4">
                  <c:v>0.03</c:v>
                </c:pt>
              </c:numCache>
            </c:numRef>
          </c:xVal>
          <c:yVal>
            <c:numRef>
              <c:f>Sheet1!$B$2:$B$6</c:f>
              <c:numCache>
                <c:formatCode>General</c:formatCode>
                <c:ptCount val="5"/>
                <c:pt idx="0">
                  <c:v>886.96428571428555</c:v>
                </c:pt>
                <c:pt idx="1">
                  <c:v>2128.083333333333</c:v>
                </c:pt>
                <c:pt idx="2">
                  <c:v>1130</c:v>
                </c:pt>
                <c:pt idx="3">
                  <c:v>2986.666666666667</c:v>
                </c:pt>
                <c:pt idx="4">
                  <c:v>2744.333333333333</c:v>
                </c:pt>
              </c:numCache>
            </c:numRef>
          </c:yVal>
          <c:bubbleSize>
            <c:numRef>
              <c:f>Sheet1!$C$2:$C$6</c:f>
              <c:numCache>
                <c:formatCode>General</c:formatCode>
                <c:ptCount val="5"/>
                <c:pt idx="0">
                  <c:v>10100.4072</c:v>
                </c:pt>
                <c:pt idx="1">
                  <c:v>19555.973999999998</c:v>
                </c:pt>
                <c:pt idx="2">
                  <c:v>1009.3964999999999</c:v>
                </c:pt>
                <c:pt idx="3">
                  <c:v>130073.0886</c:v>
                </c:pt>
                <c:pt idx="4">
                  <c:v>6279.9983999999986</c:v>
                </c:pt>
              </c:numCache>
            </c:numRef>
          </c:bubbleSize>
          <c:bubble3D val="0"/>
          <c:extLst>
            <c:ext xmlns:c15="http://schemas.microsoft.com/office/drawing/2012/chart" uri="{02D57815-91ED-43cb-92C2-25804820EDAC}">
              <c15:datalabelsRange>
                <c15:f>Sheet1!$E$2:$E$21</c15:f>
                <c15:dlblRangeCache>
                  <c:ptCount val="20"/>
                  <c:pt idx="0">
                    <c:v>1/2 CHAMP NICOLAS BLC/BLC BS 1CT X 375ML</c:v>
                  </c:pt>
                  <c:pt idx="1">
                    <c:v>MG CHAMPAGNE NICOLAS BLC/BL BS 1CT X 1500ML</c:v>
                  </c:pt>
                  <c:pt idx="2">
                    <c:v>CHAMPAGNE NICOLAS BLC/BL BS ET 1CT X 750ML</c:v>
                  </c:pt>
                  <c:pt idx="3">
                    <c:v>CHAMPAGNE NICOLAS BLC/BLC BS 1CT X 750ML</c:v>
                  </c:pt>
                  <c:pt idx="4">
                    <c:v>CHAMPAGNE NICOLAS BLC/BLC 2002 1CT X 750ML</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8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BC880FC1-1833-478E-ACBE-D8923C9A49D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ABD2D9D6-D695-4029-8AFE-91FCA66E4742}"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D10519DD-5DFC-447F-87FF-3FCEE24889EE}"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C361D788-70AA-4F60-AB34-97EE27BE9DC7}"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45CA25BE-4DBD-477A-AE62-BC6D334E6EEC}"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19C5D624-2EB6-41A2-8C66-61893C8E1898}"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D4179162-2270-49A9-86E3-FEE26F3C5C30}"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0140F87A-ABB9-48E2-83DC-C31DD4737592}"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515E4899-58B5-44AA-B9F9-0E853AF4BAB7}"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68B28FC9-C274-4423-80E5-B77800AC277F}"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6</c:f>
              <c:numCache>
                <c:formatCode>General</c:formatCode>
                <c:ptCount val="5"/>
                <c:pt idx="0">
                  <c:v>0.28000000000000003</c:v>
                </c:pt>
                <c:pt idx="1">
                  <c:v>0.16</c:v>
                </c:pt>
                <c:pt idx="2">
                  <c:v>0.04</c:v>
                </c:pt>
                <c:pt idx="3">
                  <c:v>0.56999999999999995</c:v>
                </c:pt>
                <c:pt idx="4">
                  <c:v>0.08</c:v>
                </c:pt>
              </c:numCache>
            </c:numRef>
          </c:xVal>
          <c:yVal>
            <c:numRef>
              <c:f>Sheet1!$B$2:$B$6</c:f>
              <c:numCache>
                <c:formatCode>General</c:formatCode>
                <c:ptCount val="5"/>
                <c:pt idx="0">
                  <c:v>423.53571428571422</c:v>
                </c:pt>
                <c:pt idx="1">
                  <c:v>793.125</c:v>
                </c:pt>
                <c:pt idx="2">
                  <c:v>409</c:v>
                </c:pt>
                <c:pt idx="3">
                  <c:v>1670.5438596491231</c:v>
                </c:pt>
                <c:pt idx="4">
                  <c:v>627.125</c:v>
                </c:pt>
              </c:numCache>
            </c:numRef>
          </c:yVal>
          <c:bubbleSize>
            <c:numRef>
              <c:f>Sheet1!$C$2:$C$6</c:f>
              <c:numCache>
                <c:formatCode>General</c:formatCode>
                <c:ptCount val="5"/>
                <c:pt idx="0">
                  <c:v>4902.7524000000003</c:v>
                </c:pt>
                <c:pt idx="1">
                  <c:v>9578.7224000000006</c:v>
                </c:pt>
                <c:pt idx="2">
                  <c:v>1067.0762999999999</c:v>
                </c:pt>
                <c:pt idx="3">
                  <c:v>72774.786599999992</c:v>
                </c:pt>
                <c:pt idx="4">
                  <c:v>3846.6660000000002</c:v>
                </c:pt>
              </c:numCache>
            </c:numRef>
          </c:bubbleSize>
          <c:bubble3D val="0"/>
          <c:extLst>
            <c:ext xmlns:c15="http://schemas.microsoft.com/office/drawing/2012/chart" uri="{02D57815-91ED-43cb-92C2-25804820EDAC}">
              <c15:datalabelsRange>
                <c15:f>Sheet1!$E$2:$E$21</c15:f>
                <c15:dlblRangeCache>
                  <c:ptCount val="20"/>
                  <c:pt idx="0">
                    <c:v>1/2 CHAMP NICOLAS BLC/BLC BS 1CT X 375ML</c:v>
                  </c:pt>
                  <c:pt idx="1">
                    <c:v>MG CHAMPAGNE NICOLAS BLC/BL BS 1CT X 1500ML</c:v>
                  </c:pt>
                  <c:pt idx="2">
                    <c:v>CHAMPAGNE NICOLAS BLC/BL BS ET 1CT X 750ML</c:v>
                  </c:pt>
                  <c:pt idx="3">
                    <c:v>CHAMPAGNE NICOLAS BLC/BLC BS 1CT X 750ML</c:v>
                  </c:pt>
                  <c:pt idx="4">
                    <c:v>CHAMPAGNE NICOLAS BLC/BLC 2002 1CT X 750ML</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8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3760C3BD-A7BC-4408-BA24-E72CB8E62359}"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AC99E8C8-5D31-4D0E-B4D1-91D677D193C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1B7F69D6-1499-4837-B9A1-5ED6BFFA6672}"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C57BA1A7-AD1D-489E-B6AC-415B196C3D3D}"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7CF3A516-B192-4138-8983-12EE292648B6}"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B9870DD6-8D30-4D6A-B2DC-5E4F177F0E6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60470300-6484-4C80-BC7E-B81FC08004C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55C4A9E7-BA36-48A6-9F5B-3D4AFDEDB897}"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78B5115D-24A6-4E3D-93C8-A65DC9F38B0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26BDF75E-5DD6-43AF-A73F-9FA2FFE6129F}"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5</c:f>
              <c:numCache>
                <c:formatCode>General</c:formatCode>
                <c:ptCount val="4"/>
                <c:pt idx="0">
                  <c:v>0.33</c:v>
                </c:pt>
                <c:pt idx="1">
                  <c:v>0.2</c:v>
                </c:pt>
                <c:pt idx="2">
                  <c:v>0.51</c:v>
                </c:pt>
                <c:pt idx="3">
                  <c:v>0.13</c:v>
                </c:pt>
              </c:numCache>
            </c:numRef>
          </c:xVal>
          <c:yVal>
            <c:numRef>
              <c:f>Sheet1!$B$2:$B$5</c:f>
              <c:numCache>
                <c:formatCode>General</c:formatCode>
                <c:ptCount val="4"/>
                <c:pt idx="0">
                  <c:v>217.27272727272731</c:v>
                </c:pt>
                <c:pt idx="1">
                  <c:v>248.9</c:v>
                </c:pt>
                <c:pt idx="2">
                  <c:v>631.52941176470586</c:v>
                </c:pt>
                <c:pt idx="3">
                  <c:v>263.92307692307691</c:v>
                </c:pt>
              </c:numCache>
            </c:numRef>
          </c:yVal>
          <c:bubbleSize>
            <c:numRef>
              <c:f>Sheet1!$C$2:$C$5</c:f>
              <c:numCache>
                <c:formatCode>General</c:formatCode>
                <c:ptCount val="4"/>
                <c:pt idx="0">
                  <c:v>2985.8868000000002</c:v>
                </c:pt>
                <c:pt idx="1">
                  <c:v>3637.1163999999999</c:v>
                </c:pt>
                <c:pt idx="2">
                  <c:v>24585.891299999999</c:v>
                </c:pt>
                <c:pt idx="3">
                  <c:v>2521.6662000000001</c:v>
                </c:pt>
              </c:numCache>
            </c:numRef>
          </c:bubbleSize>
          <c:bubble3D val="0"/>
          <c:extLst>
            <c:ext xmlns:c15="http://schemas.microsoft.com/office/drawing/2012/chart" uri="{02D57815-91ED-43cb-92C2-25804820EDAC}">
              <c15:datalabelsRange>
                <c15:f>Sheet1!$E$2:$E$21</c15:f>
                <c15:dlblRangeCache>
                  <c:ptCount val="20"/>
                  <c:pt idx="0">
                    <c:v>1/2 CHAMP NICOLAS BLC/BLC BS 1CT X 375ML</c:v>
                  </c:pt>
                  <c:pt idx="1">
                    <c:v>MG CHAMPAGNE NICOLAS BLC/BL BS 1CT X 1500ML</c:v>
                  </c:pt>
                  <c:pt idx="2">
                    <c:v>CHAMPAGNE NICOLAS BLC/BLC BS 1CT X 750ML</c:v>
                  </c:pt>
                  <c:pt idx="3">
                    <c:v>CHAMPAGNE NICOLAS BLC/BLC 2002 1CT X 750ML</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8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11CB0FAC-089F-454A-A247-0EB72620F6F9}"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BC21D03D-4E80-4379-A488-80DB1B61BF1B}"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E6259F9E-2E95-4759-ABA1-73799E3F27CE}"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727ECAB3-7E32-4E0A-89E3-3F898B48B7D8}"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417039E8-E63A-450F-88BC-4E9B429BEB32}"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9C56213F-EA44-41DC-A06D-16C86E4B4BC2}"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209FD8F2-21DF-46A9-BABC-78676BF675DE}"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C4C77CE5-6C0A-4A23-8B50-DAA5273E6502}"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9FAFF16E-8C41-40A5-AB59-F41857431DB6}"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AFEB4597-C318-45CB-B3FD-64440C02B88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5</c:f>
              <c:numCache>
                <c:formatCode>General</c:formatCode>
                <c:ptCount val="4"/>
                <c:pt idx="0">
                  <c:v>0.39</c:v>
                </c:pt>
                <c:pt idx="1">
                  <c:v>0.19</c:v>
                </c:pt>
                <c:pt idx="2">
                  <c:v>0.59</c:v>
                </c:pt>
                <c:pt idx="3">
                  <c:v>0.28000000000000003</c:v>
                </c:pt>
              </c:numCache>
            </c:numRef>
          </c:xVal>
          <c:yVal>
            <c:numRef>
              <c:f>Sheet1!$B$2:$B$5</c:f>
              <c:numCache>
                <c:formatCode>General</c:formatCode>
                <c:ptCount val="4"/>
                <c:pt idx="0">
                  <c:v>132.2051282051282</c:v>
                </c:pt>
                <c:pt idx="1">
                  <c:v>150.4736842105263</c:v>
                </c:pt>
                <c:pt idx="2">
                  <c:v>394.05084745762713</c:v>
                </c:pt>
                <c:pt idx="3">
                  <c:v>51.499999999999993</c:v>
                </c:pt>
              </c:numCache>
            </c:numRef>
          </c:yVal>
          <c:bubbleSize>
            <c:numRef>
              <c:f>Sheet1!$C$2:$C$5</c:f>
              <c:numCache>
                <c:formatCode>General</c:formatCode>
                <c:ptCount val="4"/>
                <c:pt idx="0">
                  <c:v>1787.8458000000001</c:v>
                </c:pt>
                <c:pt idx="1">
                  <c:v>2024.117</c:v>
                </c:pt>
                <c:pt idx="2">
                  <c:v>17628.3279</c:v>
                </c:pt>
                <c:pt idx="3">
                  <c:v>1093.3332</c:v>
                </c:pt>
              </c:numCache>
            </c:numRef>
          </c:bubbleSize>
          <c:bubble3D val="0"/>
          <c:extLst>
            <c:ext xmlns:c15="http://schemas.microsoft.com/office/drawing/2012/chart" uri="{02D57815-91ED-43cb-92C2-25804820EDAC}">
              <c15:datalabelsRange>
                <c15:f>Sheet1!$E$2:$E$21</c15:f>
                <c15:dlblRangeCache>
                  <c:ptCount val="20"/>
                  <c:pt idx="0">
                    <c:v>1/2 CHAMP NICOLAS BLC/BLC BS 1CT X 375ML</c:v>
                  </c:pt>
                  <c:pt idx="1">
                    <c:v>MG CHAMPAGNE NICOLAS BLC/BL BS 1CT X 1500ML</c:v>
                  </c:pt>
                  <c:pt idx="2">
                    <c:v>CHAMPAGNE NICOLAS BLC/BLC BS 1CT X 750ML</c:v>
                  </c:pt>
                  <c:pt idx="3">
                    <c:v>CHAMPAGNE NICOLAS BLC/BLC 2002 1CT X 750ML</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8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C88652BC-8B7E-4676-8CF2-B010DA9406E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ADD8A433-F973-47CD-8798-D1F08C37D087}"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8B6AA287-6279-4116-AE09-11E09666B35E}"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F95A1D1A-7BE2-4E42-88AD-61B1EDC828A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3838E7DB-769C-4386-8163-82E611A6CDE7}"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3C5DDFFA-5159-4775-BA49-C061E87B7327}"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9D244E10-7DC4-4700-8A5B-5AAF757A0488}"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342A31F8-3620-4BA3-842B-C82F65F3C7FD}"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8964F951-711D-41FD-AE9F-40C49057BFE0}"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9759D18C-B925-4FDC-B081-80049DFEF228}"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4</c:f>
              <c:numCache>
                <c:formatCode>General</c:formatCode>
                <c:ptCount val="3"/>
                <c:pt idx="0">
                  <c:v>0.53</c:v>
                </c:pt>
                <c:pt idx="1">
                  <c:v>0.34</c:v>
                </c:pt>
                <c:pt idx="2">
                  <c:v>0.65</c:v>
                </c:pt>
              </c:numCache>
            </c:numRef>
          </c:xVal>
          <c:yVal>
            <c:numRef>
              <c:f>Sheet1!$B$2:$B$4</c:f>
              <c:numCache>
                <c:formatCode>General</c:formatCode>
                <c:ptCount val="3"/>
                <c:pt idx="0">
                  <c:v>50.150943396226417</c:v>
                </c:pt>
                <c:pt idx="1">
                  <c:v>103.61764705882349</c:v>
                </c:pt>
                <c:pt idx="2">
                  <c:v>276.32307692307688</c:v>
                </c:pt>
              </c:numCache>
            </c:numRef>
          </c:yVal>
          <c:bubbleSize>
            <c:numRef>
              <c:f>Sheet1!$C$2:$C$4</c:f>
              <c:numCache>
                <c:formatCode>General</c:formatCode>
                <c:ptCount val="3"/>
                <c:pt idx="0">
                  <c:v>1105.884</c:v>
                </c:pt>
                <c:pt idx="1">
                  <c:v>2565.979600000001</c:v>
                </c:pt>
                <c:pt idx="2">
                  <c:v>13564.0926</c:v>
                </c:pt>
              </c:numCache>
            </c:numRef>
          </c:bubbleSize>
          <c:bubble3D val="0"/>
          <c:extLst>
            <c:ext xmlns:c15="http://schemas.microsoft.com/office/drawing/2012/chart" uri="{02D57815-91ED-43cb-92C2-25804820EDAC}">
              <c15:datalabelsRange>
                <c15:f>Sheet1!$E$2:$E$21</c15:f>
                <c15:dlblRangeCache>
                  <c:ptCount val="20"/>
                  <c:pt idx="0">
                    <c:v>1/2 CHAMP NICOLAS BLC/BLC BS 1CT X 375ML</c:v>
                  </c:pt>
                  <c:pt idx="1">
                    <c:v>MG CHAMPAGNE NICOLAS BLC/BL BS 1CT X 1500ML</c:v>
                  </c:pt>
                  <c:pt idx="2">
                    <c:v>CHAMPAGNE NICOLAS BLC/BLC BS 1CT X 750ML</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8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F60883BE-7BA8-432F-80F7-BAC99CDC874F}"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A0E1A78B-0EC6-4846-8DC4-6B6492EEDFBB}"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1B697999-871C-4A23-9EF0-6D2DF82E24C9}"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F89349A7-F854-4C46-B999-4EC7EB82EFDA}"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2AC79F08-47FA-4330-A420-3E2577D41B83}"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EEE9B1E9-B62B-4EA1-A03B-613963C5EDE6}"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BC496984-306A-44BF-A2B7-A5E260B0DDBF}"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CD52EC0D-E0A2-4D0B-AB09-E864A578B7E9}"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FDCFEC60-B019-4A70-B288-1C7B0BEF3868}"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128E4BFD-E9CF-4F61-B933-3A088B13927E}"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6</c:f>
              <c:numCache>
                <c:formatCode>General</c:formatCode>
                <c:ptCount val="5"/>
                <c:pt idx="0">
                  <c:v>0.24</c:v>
                </c:pt>
                <c:pt idx="1">
                  <c:v>0.14000000000000001</c:v>
                </c:pt>
                <c:pt idx="2">
                  <c:v>0.02</c:v>
                </c:pt>
                <c:pt idx="3">
                  <c:v>0.55000000000000004</c:v>
                </c:pt>
                <c:pt idx="4">
                  <c:v>0.04</c:v>
                </c:pt>
              </c:numCache>
            </c:numRef>
          </c:xVal>
          <c:yVal>
            <c:numRef>
              <c:f>Sheet1!$B$2:$B$6</c:f>
              <c:numCache>
                <c:formatCode>General</c:formatCode>
                <c:ptCount val="5"/>
                <c:pt idx="0">
                  <c:v>1603.583333333333</c:v>
                </c:pt>
                <c:pt idx="1">
                  <c:v>2556.3571428571431</c:v>
                </c:pt>
                <c:pt idx="2">
                  <c:v>2045</c:v>
                </c:pt>
                <c:pt idx="3">
                  <c:v>4890.9272727272719</c:v>
                </c:pt>
                <c:pt idx="4">
                  <c:v>2986</c:v>
                </c:pt>
              </c:numCache>
            </c:numRef>
          </c:yVal>
          <c:bubbleSize>
            <c:numRef>
              <c:f>Sheet1!$C$2:$C$6</c:f>
              <c:numCache>
                <c:formatCode>General</c:formatCode>
                <c:ptCount val="5"/>
                <c:pt idx="0">
                  <c:v>15261.199199999999</c:v>
                </c:pt>
                <c:pt idx="1">
                  <c:v>27646.147799999999</c:v>
                </c:pt>
                <c:pt idx="2">
                  <c:v>2162.9924999999998</c:v>
                </c:pt>
                <c:pt idx="3">
                  <c:v>205922.62530000001</c:v>
                </c:pt>
                <c:pt idx="4">
                  <c:v>9431.6645999999982</c:v>
                </c:pt>
              </c:numCache>
            </c:numRef>
          </c:bubbleSize>
          <c:bubble3D val="0"/>
          <c:extLst>
            <c:ext xmlns:c15="http://schemas.microsoft.com/office/drawing/2012/chart" uri="{02D57815-91ED-43cb-92C2-25804820EDAC}">
              <c15:datalabelsRange>
                <c15:f>Sheet1!$E$2:$E$21</c15:f>
                <c15:dlblRangeCache>
                  <c:ptCount val="20"/>
                  <c:pt idx="0">
                    <c:v>1/2 CHAMP NICOLAS BLC/BLC BS 1CT X 375ML</c:v>
                  </c:pt>
                  <c:pt idx="1">
                    <c:v>MG CHAMPAGNE NICOLAS BLC/BL BS 1CT X 1500ML</c:v>
                  </c:pt>
                  <c:pt idx="2">
                    <c:v>CHAMPAGNE NICOLAS BLC/BL BS ET 1CT X 750ML</c:v>
                  </c:pt>
                  <c:pt idx="3">
                    <c:v>CHAMPAGNE NICOLAS BLC/BLC BS 1CT X 750ML</c:v>
                  </c:pt>
                  <c:pt idx="4">
                    <c:v>CHAMPAGNE NICOLAS BLC/BLC 2002 1CT X 750ML</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8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0FCCEFE9-9A8D-4616-A7CA-56520214DAB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CA81F07E-9963-4CA4-B866-1853D3D905DF}"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03DFD64A-CA85-4AEB-80C7-0433BC04120D}"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6648148D-F8A6-4B57-895F-7A595AA88C8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EAC252AD-BBE5-40BF-8EE9-A16458CB3C34}"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F0130BC3-4CA2-46A8-9B8A-6E4E9F606CF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0F804784-EC87-4127-9FB3-352665AC98F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908A456F-D8BA-49FA-A696-76F0D75FB16D}"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E440395F-3A8E-40E8-A49A-0A5FE50DA40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73D5AEA5-C584-4ADD-A2B4-46BC2D87F48C}"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5</c:f>
              <c:numCache>
                <c:formatCode>General</c:formatCode>
                <c:ptCount val="4"/>
                <c:pt idx="0">
                  <c:v>0.37</c:v>
                </c:pt>
                <c:pt idx="1">
                  <c:v>0.2</c:v>
                </c:pt>
                <c:pt idx="2">
                  <c:v>0.73</c:v>
                </c:pt>
                <c:pt idx="3">
                  <c:v>0.17</c:v>
                </c:pt>
              </c:numCache>
            </c:numRef>
          </c:xVal>
          <c:yVal>
            <c:numRef>
              <c:f>Sheet1!$B$2:$B$5</c:f>
              <c:numCache>
                <c:formatCode>General</c:formatCode>
                <c:ptCount val="4"/>
                <c:pt idx="0">
                  <c:v>214.32432432432429</c:v>
                </c:pt>
                <c:pt idx="1">
                  <c:v>330.95</c:v>
                </c:pt>
                <c:pt idx="2">
                  <c:v>578.94520547945206</c:v>
                </c:pt>
                <c:pt idx="3">
                  <c:v>217.29411764705881</c:v>
                </c:pt>
              </c:numCache>
            </c:numRef>
          </c:yVal>
          <c:bubbleSize>
            <c:numRef>
              <c:f>Sheet1!$C$2:$C$5</c:f>
              <c:numCache>
                <c:formatCode>General</c:formatCode>
                <c:ptCount val="4"/>
                <c:pt idx="0">
                  <c:v>3354.5148000000008</c:v>
                </c:pt>
                <c:pt idx="1">
                  <c:v>4883.0576000000001</c:v>
                </c:pt>
                <c:pt idx="2">
                  <c:v>32173.861499999999</c:v>
                </c:pt>
                <c:pt idx="3">
                  <c:v>2753.3327999999992</c:v>
                </c:pt>
              </c:numCache>
            </c:numRef>
          </c:bubbleSize>
          <c:bubble3D val="0"/>
          <c:extLst>
            <c:ext xmlns:c15="http://schemas.microsoft.com/office/drawing/2012/chart" uri="{02D57815-91ED-43cb-92C2-25804820EDAC}">
              <c15:datalabelsRange>
                <c15:f>Sheet1!$E$2:$E$21</c15:f>
                <c15:dlblRangeCache>
                  <c:ptCount val="20"/>
                  <c:pt idx="0">
                    <c:v>1/2 CHAMP NICOLAS BLC/BLC BS 1CT X 375ML</c:v>
                  </c:pt>
                  <c:pt idx="1">
                    <c:v>MG CHAMPAGNE NICOLAS BLC/BL BS 1CT X 1500ML</c:v>
                  </c:pt>
                  <c:pt idx="2">
                    <c:v>CHAMPAGNE NICOLAS BLC/BLC BS 1CT X 750ML</c:v>
                  </c:pt>
                  <c:pt idx="3">
                    <c:v>CHAMPAGNE NICOLAS BLC/BLC 2002 1CT X 750ML</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8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1CD5102C-46E3-460B-A9E4-31A5DF1B396D}"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E5B6FC34-E76D-42FC-A8EE-A8B82DEC76D8}"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22E30D19-D015-4AC0-8217-2CC980366829}"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2FBCE324-1BB0-432C-8EA5-19B090751A8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4502E64C-82CD-4763-8367-5C485727A9A9}"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0C712F34-F114-4029-B891-473DC4224D96}"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56206EBC-A709-4D0A-BA34-1C5D0FDD8D2C}"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121EF42D-7097-48FB-ABF9-D55534E125A6}"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2E6156D0-F4C1-43ED-A2A0-9CF380FA180F}"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7F1D5E4C-404D-456C-A91A-E651BD870690}"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5</c:f>
              <c:numCache>
                <c:formatCode>General</c:formatCode>
                <c:ptCount val="4"/>
                <c:pt idx="0">
                  <c:v>0.33</c:v>
                </c:pt>
                <c:pt idx="1">
                  <c:v>0.27</c:v>
                </c:pt>
                <c:pt idx="2">
                  <c:v>0.63</c:v>
                </c:pt>
                <c:pt idx="3">
                  <c:v>0.19</c:v>
                </c:pt>
              </c:numCache>
            </c:numRef>
          </c:xVal>
          <c:yVal>
            <c:numRef>
              <c:f>Sheet1!$B$2:$B$5</c:f>
              <c:numCache>
                <c:formatCode>General</c:formatCode>
                <c:ptCount val="4"/>
                <c:pt idx="0">
                  <c:v>93.030303030303031</c:v>
                </c:pt>
                <c:pt idx="1">
                  <c:v>181.44444444444451</c:v>
                </c:pt>
                <c:pt idx="2">
                  <c:v>265.66666666666669</c:v>
                </c:pt>
                <c:pt idx="3">
                  <c:v>106.21052631578949</c:v>
                </c:pt>
              </c:numCache>
            </c:numRef>
          </c:yVal>
          <c:bubbleSize>
            <c:numRef>
              <c:f>Sheet1!$C$2:$C$5</c:f>
              <c:numCache>
                <c:formatCode>General</c:formatCode>
                <c:ptCount val="4"/>
                <c:pt idx="0">
                  <c:v>1161.1782000000001</c:v>
                </c:pt>
                <c:pt idx="1">
                  <c:v>3578.0381000000002</c:v>
                </c:pt>
                <c:pt idx="2">
                  <c:v>12599.8182</c:v>
                </c:pt>
                <c:pt idx="3">
                  <c:v>1324.9998000000001</c:v>
                </c:pt>
              </c:numCache>
            </c:numRef>
          </c:bubbleSize>
          <c:bubble3D val="0"/>
          <c:extLst>
            <c:ext xmlns:c15="http://schemas.microsoft.com/office/drawing/2012/chart" uri="{02D57815-91ED-43cb-92C2-25804820EDAC}">
              <c15:datalabelsRange>
                <c15:f>Sheet1!$E$2:$E$21</c15:f>
                <c15:dlblRangeCache>
                  <c:ptCount val="20"/>
                  <c:pt idx="0">
                    <c:v>1/2 CHAMP NICOLAS BLC/BLC BS 1CT X 375ML</c:v>
                  </c:pt>
                  <c:pt idx="1">
                    <c:v>MG CHAMPAGNE NICOLAS BLC/BL BS 1CT X 1500ML</c:v>
                  </c:pt>
                  <c:pt idx="2">
                    <c:v>CHAMPAGNE NICOLAS BLC/BLC BS 1CT X 750ML</c:v>
                  </c:pt>
                  <c:pt idx="3">
                    <c:v>CHAMPAGNE NICOLAS BLC/BLC 2002 1CT X 750ML</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8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84E2FEDA-4FD1-492D-B01C-7EA1F789556D}"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6B9CD51C-89C5-4944-87BC-048DBE1FA65B}"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12E41D7A-00A4-459D-819A-6CCBFDCE4F3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911A9BD4-BD8B-4F33-810C-48C6D908C13F}"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57465748-2340-48D8-B311-51C91CF0C3C7}"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6AE8D3FF-90F0-4DFC-99A0-E5B5AB576CE7}"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D6CCE5EE-E894-4314-BCAD-F1630941AFCA}"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2BC62273-60CC-4692-884A-77B218452F0D}"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7C0F5603-F74B-4B79-B214-946445B1B8C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669C72A4-3CCA-4FF3-BE5C-DA0CE40BA587}"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3</c:f>
              <c:numCache>
                <c:formatCode>General</c:formatCode>
                <c:ptCount val="2"/>
                <c:pt idx="0">
                  <c:v>0.16</c:v>
                </c:pt>
                <c:pt idx="1">
                  <c:v>0.56000000000000005</c:v>
                </c:pt>
              </c:numCache>
            </c:numRef>
          </c:xVal>
          <c:yVal>
            <c:numRef>
              <c:f>Sheet1!$B$2:$B$3</c:f>
              <c:numCache>
                <c:formatCode>General</c:formatCode>
                <c:ptCount val="2"/>
                <c:pt idx="0">
                  <c:v>91.3125</c:v>
                </c:pt>
                <c:pt idx="1">
                  <c:v>157.69642857142861</c:v>
                </c:pt>
              </c:numCache>
            </c:numRef>
          </c:yVal>
          <c:bubbleSize>
            <c:numRef>
              <c:f>Sheet1!$C$2:$C$3</c:f>
              <c:numCache>
                <c:formatCode>General</c:formatCode>
                <c:ptCount val="2"/>
                <c:pt idx="0">
                  <c:v>1083.7252000000001</c:v>
                </c:pt>
                <c:pt idx="1">
                  <c:v>6645.877199999999</c:v>
                </c:pt>
              </c:numCache>
            </c:numRef>
          </c:bubbleSize>
          <c:bubble3D val="0"/>
          <c:extLst>
            <c:ext xmlns:c15="http://schemas.microsoft.com/office/drawing/2012/chart" uri="{02D57815-91ED-43cb-92C2-25804820EDAC}">
              <c15:datalabelsRange>
                <c15:f>Sheet1!$E$2:$E$21</c15:f>
                <c15:dlblRangeCache>
                  <c:ptCount val="20"/>
                  <c:pt idx="0">
                    <c:v>MG CHAMPAGNE NICOLAS BLC/BL BS 1CT X 1500ML</c:v>
                  </c:pt>
                  <c:pt idx="1">
                    <c:v>CHAMPAGNE NICOLAS BLC/BLC BS 1CT X 750ML</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8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B3A81FC7-DEF9-4EDD-8C2A-3279EFD31850}"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03E973DD-8DA0-468E-B9C7-F4B30C6B4CD8}"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FF912D16-EB2D-4652-99F9-0DFC552DF866}"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C156E6D4-D7C6-4717-AA1E-E345ACD0B6EB}"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BF391FFE-118F-496E-A3AC-4041A5C045ED}"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34295EA4-52BD-4E1F-9859-2F4D561CAB5F}"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26BB937A-772D-4946-819C-22F350A35F40}"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2DA0EE4B-C386-4F70-A29B-D67F9BF5AA78}"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0E424B48-B031-450E-91E0-4BFC904955B6}"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2783A4F9-922D-4BB2-AF21-9BD149DE070B}"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2</c:f>
              <c:numCache>
                <c:formatCode>General</c:formatCode>
                <c:ptCount val="1"/>
                <c:pt idx="0">
                  <c:v>0.43</c:v>
                </c:pt>
              </c:numCache>
            </c:numRef>
          </c:xVal>
          <c:yVal>
            <c:numRef>
              <c:f>Sheet1!$B$2:$B$2</c:f>
              <c:numCache>
                <c:formatCode>General</c:formatCode>
                <c:ptCount val="1"/>
                <c:pt idx="0">
                  <c:v>192.4651162790698</c:v>
                </c:pt>
              </c:numCache>
            </c:numRef>
          </c:yVal>
          <c:bubbleSize>
            <c:numRef>
              <c:f>Sheet1!$C$2:$C$2</c:f>
              <c:numCache>
                <c:formatCode>General</c:formatCode>
                <c:ptCount val="1"/>
                <c:pt idx="0">
                  <c:v>6214.7007000000003</c:v>
                </c:pt>
              </c:numCache>
            </c:numRef>
          </c:bubbleSize>
          <c:bubble3D val="0"/>
          <c:extLst>
            <c:ext xmlns:c15="http://schemas.microsoft.com/office/drawing/2012/chart" uri="{02D57815-91ED-43cb-92C2-25804820EDAC}">
              <c15:datalabelsRange>
                <c15:f>Sheet1!$E$2:$E$21</c15:f>
                <c15:dlblRangeCache>
                  <c:ptCount val="20"/>
                  <c:pt idx="0">
                    <c:v>CHAMPAGNE NICOLAS BLC/BLC BS 1CT X 750ML</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Nicolas</c:v>
                </c:pt>
                <c:pt idx="2">
                  <c:v>Deutz</c:v>
                </c:pt>
                <c:pt idx="3">
                  <c:v>Laurent Perrier</c:v>
                </c:pt>
                <c:pt idx="4">
                  <c:v>Heidsieck &amp; Co Monopole</c:v>
                </c:pt>
                <c:pt idx="5">
                  <c:v>Ayala</c:v>
                </c:pt>
                <c:pt idx="6">
                  <c:v>Canard Duchêne</c:v>
                </c:pt>
                <c:pt idx="7">
                  <c:v>Taittinger</c:v>
                </c:pt>
                <c:pt idx="8">
                  <c:v>De Bligny</c:v>
                </c:pt>
                <c:pt idx="9">
                  <c:v>Others</c:v>
                </c:pt>
              </c:strCache>
            </c:strRef>
          </c:cat>
          <c:val>
            <c:numRef>
              <c:f>Sheet1!$B$2:$B$11</c:f>
              <c:numCache>
                <c:formatCode>General</c:formatCode>
                <c:ptCount val="10"/>
                <c:pt idx="0">
                  <c:v>0.2115199905824062</c:v>
                </c:pt>
                <c:pt idx="1">
                  <c:v>0.11077809294202341</c:v>
                </c:pt>
                <c:pt idx="2">
                  <c:v>0.10173682162405356</c:v>
                </c:pt>
                <c:pt idx="3">
                  <c:v>6.2488332263766024E-2</c:v>
                </c:pt>
                <c:pt idx="4">
                  <c:v>4.9863299527380722E-2</c:v>
                </c:pt>
                <c:pt idx="5">
                  <c:v>4.1966318280831597E-2</c:v>
                </c:pt>
                <c:pt idx="6">
                  <c:v>4.1222109135900027E-2</c:v>
                </c:pt>
                <c:pt idx="7">
                  <c:v>3.9075221838904335E-2</c:v>
                </c:pt>
                <c:pt idx="8">
                  <c:v>3.7789238921637852E-2</c:v>
                </c:pt>
                <c:pt idx="9">
                  <c:v>0.30356057488309629</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Nicolas</c:v>
                </c:pt>
                <c:pt idx="2">
                  <c:v>Deutz</c:v>
                </c:pt>
                <c:pt idx="3">
                  <c:v>Laurent Perrier</c:v>
                </c:pt>
                <c:pt idx="4">
                  <c:v>Heidsieck &amp; Co Monopole</c:v>
                </c:pt>
                <c:pt idx="5">
                  <c:v>Ayala</c:v>
                </c:pt>
                <c:pt idx="6">
                  <c:v>Canard Duchêne</c:v>
                </c:pt>
                <c:pt idx="7">
                  <c:v>Taittinger</c:v>
                </c:pt>
                <c:pt idx="8">
                  <c:v>De Bligny</c:v>
                </c:pt>
                <c:pt idx="9">
                  <c:v>Others</c:v>
                </c:pt>
              </c:strCache>
            </c:strRef>
          </c:cat>
          <c:val>
            <c:numRef>
              <c:f>Sheet1!$C$2:$C$11</c:f>
              <c:numCache>
                <c:formatCode>General</c:formatCode>
                <c:ptCount val="10"/>
                <c:pt idx="0">
                  <c:v>8.189720523576087E-2</c:v>
                </c:pt>
                <c:pt idx="1">
                  <c:v>7.5630464446353671E-2</c:v>
                </c:pt>
                <c:pt idx="2">
                  <c:v>6.5320665083135401E-2</c:v>
                </c:pt>
                <c:pt idx="3">
                  <c:v>5.4101177540809633E-2</c:v>
                </c:pt>
                <c:pt idx="4">
                  <c:v>2.4182544094607576E-2</c:v>
                </c:pt>
                <c:pt idx="5">
                  <c:v>2.4258351442866533E-2</c:v>
                </c:pt>
                <c:pt idx="6">
                  <c:v>6.7973922272198936E-2</c:v>
                </c:pt>
                <c:pt idx="7">
                  <c:v>3.6943447718198824E-2</c:v>
                </c:pt>
                <c:pt idx="8">
                  <c:v>2.3828776469399106E-2</c:v>
                </c:pt>
                <c:pt idx="9">
                  <c:v>0.54586344569666967</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Nicolas</c:v>
                </c:pt>
                <c:pt idx="2">
                  <c:v>Deutz</c:v>
                </c:pt>
                <c:pt idx="3">
                  <c:v>Laurent Perrier</c:v>
                </c:pt>
                <c:pt idx="4">
                  <c:v>Heidsieck &amp; Co Monopole</c:v>
                </c:pt>
                <c:pt idx="5">
                  <c:v>Ayala</c:v>
                </c:pt>
                <c:pt idx="6">
                  <c:v>Canard Duchêne</c:v>
                </c:pt>
                <c:pt idx="7">
                  <c:v>Taittinger</c:v>
                </c:pt>
                <c:pt idx="8">
                  <c:v>De Bligny</c:v>
                </c:pt>
                <c:pt idx="9">
                  <c:v>Others</c:v>
                </c:pt>
              </c:strCache>
            </c:strRef>
          </c:cat>
          <c:val>
            <c:numRef>
              <c:f>Sheet1!$D$2:$D$11</c:f>
              <c:numCache>
                <c:formatCode>General</c:formatCode>
                <c:ptCount val="10"/>
                <c:pt idx="0">
                  <c:v>38.718423261206837</c:v>
                </c:pt>
                <c:pt idx="1">
                  <c:v>68.272040470976037</c:v>
                </c:pt>
                <c:pt idx="2">
                  <c:v>64.205529561866797</c:v>
                </c:pt>
                <c:pt idx="3">
                  <c:v>86.57804678231156</c:v>
                </c:pt>
                <c:pt idx="4">
                  <c:v>48.497681308330911</c:v>
                </c:pt>
                <c:pt idx="5">
                  <c:v>57.804335563900779</c:v>
                </c:pt>
                <c:pt idx="6">
                  <c:v>164.89675976574657</c:v>
                </c:pt>
                <c:pt idx="7">
                  <c:v>94.544435014357205</c:v>
                </c:pt>
                <c:pt idx="8">
                  <c:v>63.057042558628815</c:v>
                </c:pt>
                <c:pt idx="9">
                  <c:v>179.82027010816086</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471C42C9-0E53-4AD7-8856-15A4E867ED7D}"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ECC98E77-C1A5-46FD-BD92-4DBB5F81E696}"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CFBA903D-C94F-4BCC-9F37-87E2693E7A8D}"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F8500ACC-A8B6-4D71-9D2F-7457EFD97970}"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CB217FF9-72CF-4871-99AD-961B492BD926}"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7F62A519-0CBA-404D-B7DC-6A3B00269606}"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E731EC5A-A934-4BAD-A425-5A9E7CE04F32}"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FD56EBAC-97F9-4AEF-BE73-50158158F758}"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57FFF9A9-A154-49C1-8A55-F29C51A46EEF}"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54A088C1-4ABC-4E8E-80C7-6F1115E9D55D}"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5</c:f>
              <c:numCache>
                <c:formatCode>General</c:formatCode>
                <c:ptCount val="4"/>
                <c:pt idx="0">
                  <c:v>0.35</c:v>
                </c:pt>
                <c:pt idx="1">
                  <c:v>0.23</c:v>
                </c:pt>
                <c:pt idx="2">
                  <c:v>0.7</c:v>
                </c:pt>
                <c:pt idx="3">
                  <c:v>7.0000000000000007E-2</c:v>
                </c:pt>
              </c:numCache>
            </c:numRef>
          </c:xVal>
          <c:yVal>
            <c:numRef>
              <c:f>Sheet1!$B$2:$B$5</c:f>
              <c:numCache>
                <c:formatCode>General</c:formatCode>
                <c:ptCount val="4"/>
                <c:pt idx="0">
                  <c:v>443.71428571428572</c:v>
                </c:pt>
                <c:pt idx="1">
                  <c:v>697.86956521739125</c:v>
                </c:pt>
                <c:pt idx="2">
                  <c:v>1545.1</c:v>
                </c:pt>
                <c:pt idx="3">
                  <c:v>905.142857142857</c:v>
                </c:pt>
              </c:numCache>
            </c:numRef>
          </c:yVal>
          <c:bubbleSize>
            <c:numRef>
              <c:f>Sheet1!$C$2:$C$5</c:f>
              <c:numCache>
                <c:formatCode>General</c:formatCode>
                <c:ptCount val="4"/>
                <c:pt idx="0">
                  <c:v>6561.5784000000003</c:v>
                </c:pt>
                <c:pt idx="1">
                  <c:v>12262.8586</c:v>
                </c:pt>
                <c:pt idx="2">
                  <c:v>82824.232499999998</c:v>
                </c:pt>
                <c:pt idx="3">
                  <c:v>4909.1655000000001</c:v>
                </c:pt>
              </c:numCache>
            </c:numRef>
          </c:bubbleSize>
          <c:bubble3D val="0"/>
          <c:extLst>
            <c:ext xmlns:c15="http://schemas.microsoft.com/office/drawing/2012/chart" uri="{02D57815-91ED-43cb-92C2-25804820EDAC}">
              <c15:datalabelsRange>
                <c15:f>Sheet1!$E$2:$E$21</c15:f>
                <c15:dlblRangeCache>
                  <c:ptCount val="20"/>
                  <c:pt idx="0">
                    <c:v>1/2 CHAMP NICOLAS BLC/BLC BS 1CT X 375ML</c:v>
                  </c:pt>
                  <c:pt idx="1">
                    <c:v>MG CHAMPAGNE NICOLAS BLC/BL BS 1CT X 1500ML</c:v>
                  </c:pt>
                  <c:pt idx="2">
                    <c:v>CHAMPAGNE NICOLAS BLC/BLC BS 1CT X 750ML</c:v>
                  </c:pt>
                  <c:pt idx="3">
                    <c:v>CHAMPAGNE NICOLAS BLC/BLC 2002 1CT X 750ML</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8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25731113-41B2-4FBC-B562-1E86AEBE2042}"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8197EFF8-083F-4159-9DDD-26C03832CE4F}"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94C0C9F9-84DC-40DE-8C6C-6767850C6E7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7D812DBC-4804-4278-A5E0-B9685DC71CBB}"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5294E825-3EC0-473D-8520-7B0325F8D21B}"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37809E61-F0F7-4ADC-98C4-C378443F8B6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1698BFC1-D44E-459C-B2E5-234EFCC59638}"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D17B64A9-FFD3-4F0E-9BAF-93BD4F6346BA}"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CEB75239-7473-44CF-928C-F960424BF42B}"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7F982E47-34EA-41DD-BD4C-5E449131DE48}"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5</c:f>
              <c:numCache>
                <c:formatCode>General</c:formatCode>
                <c:ptCount val="4"/>
                <c:pt idx="0">
                  <c:v>0.3</c:v>
                </c:pt>
                <c:pt idx="1">
                  <c:v>0.19</c:v>
                </c:pt>
                <c:pt idx="2">
                  <c:v>0.69</c:v>
                </c:pt>
                <c:pt idx="3">
                  <c:v>0.05</c:v>
                </c:pt>
              </c:numCache>
            </c:numRef>
          </c:xVal>
          <c:yVal>
            <c:numRef>
              <c:f>Sheet1!$B$2:$B$5</c:f>
              <c:numCache>
                <c:formatCode>General</c:formatCode>
                <c:ptCount val="4"/>
                <c:pt idx="0">
                  <c:v>226.33333333333329</c:v>
                </c:pt>
                <c:pt idx="1">
                  <c:v>456.84210526315792</c:v>
                </c:pt>
                <c:pt idx="2">
                  <c:v>791.89855072463763</c:v>
                </c:pt>
                <c:pt idx="3">
                  <c:v>578.6</c:v>
                </c:pt>
              </c:numCache>
            </c:numRef>
          </c:yVal>
          <c:bubbleSize>
            <c:numRef>
              <c:f>Sheet1!$C$2:$C$5</c:f>
              <c:numCache>
                <c:formatCode>General</c:formatCode>
                <c:ptCount val="4"/>
                <c:pt idx="0">
                  <c:v>2746.2786000000001</c:v>
                </c:pt>
                <c:pt idx="1">
                  <c:v>6504.7816999999995</c:v>
                </c:pt>
                <c:pt idx="2">
                  <c:v>41743.224000000002</c:v>
                </c:pt>
                <c:pt idx="3">
                  <c:v>2174.9994000000002</c:v>
                </c:pt>
              </c:numCache>
            </c:numRef>
          </c:bubbleSize>
          <c:bubble3D val="0"/>
          <c:extLst>
            <c:ext xmlns:c15="http://schemas.microsoft.com/office/drawing/2012/chart" uri="{02D57815-91ED-43cb-92C2-25804820EDAC}">
              <c15:datalabelsRange>
                <c15:f>Sheet1!$E$2:$E$21</c15:f>
                <c15:dlblRangeCache>
                  <c:ptCount val="20"/>
                  <c:pt idx="0">
                    <c:v>1/2 CHAMP NICOLAS BLC/BLC BS 1CT X 375ML</c:v>
                  </c:pt>
                  <c:pt idx="1">
                    <c:v>MG CHAMPAGNE NICOLAS BLC/BL BS 1CT X 1500ML</c:v>
                  </c:pt>
                  <c:pt idx="2">
                    <c:v>CHAMPAGNE NICOLAS BLC/BLC BS 1CT X 750ML</c:v>
                  </c:pt>
                  <c:pt idx="3">
                    <c:v>CHAMPAGNE NICOLAS BLC/BLC 2002 1CT X 750ML</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8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5041A158-5C39-47E7-8594-D98FC5F7F20A}"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93678080-1FEC-4E35-84E6-BA74B5B0FDD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9F50CBBE-9343-4C01-8366-A0C2CE3511B6}"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6BD36663-C1DA-4AAE-829A-F77DB51F494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CCA1FC24-6D31-41EA-B5ED-7A9FD2317C47}"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C96B7B5A-F701-4854-90E8-89B6235E357F}"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AFC5B32D-BF7A-482E-9545-9613130057A9}"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68E98432-9E7C-442E-B31B-683AA9ABCBE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EA9257EC-6B5E-4AF6-B011-9B8E80FAC9E8}"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A490C656-7B09-4C61-B34C-58ABE708637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5</c:f>
              <c:numCache>
                <c:formatCode>General</c:formatCode>
                <c:ptCount val="4"/>
                <c:pt idx="0">
                  <c:v>0.25</c:v>
                </c:pt>
                <c:pt idx="1">
                  <c:v>0.13</c:v>
                </c:pt>
                <c:pt idx="2">
                  <c:v>0.51</c:v>
                </c:pt>
                <c:pt idx="3">
                  <c:v>0.06</c:v>
                </c:pt>
              </c:numCache>
            </c:numRef>
          </c:xVal>
          <c:yVal>
            <c:numRef>
              <c:f>Sheet1!$B$2:$B$5</c:f>
              <c:numCache>
                <c:formatCode>General</c:formatCode>
                <c:ptCount val="4"/>
                <c:pt idx="0">
                  <c:v>624.6</c:v>
                </c:pt>
                <c:pt idx="1">
                  <c:v>946.84615384615381</c:v>
                </c:pt>
                <c:pt idx="2">
                  <c:v>1649.4313725490199</c:v>
                </c:pt>
                <c:pt idx="3">
                  <c:v>940.83333333333337</c:v>
                </c:pt>
              </c:numCache>
            </c:numRef>
          </c:yVal>
          <c:bubbleSize>
            <c:numRef>
              <c:f>Sheet1!$C$2:$C$5</c:f>
              <c:numCache>
                <c:formatCode>General</c:formatCode>
                <c:ptCount val="4"/>
                <c:pt idx="0">
                  <c:v>6119.2248</c:v>
                </c:pt>
                <c:pt idx="1">
                  <c:v>9354.9976000000006</c:v>
                </c:pt>
                <c:pt idx="2">
                  <c:v>64308.811500000003</c:v>
                </c:pt>
                <c:pt idx="3">
                  <c:v>4239.1659</c:v>
                </c:pt>
              </c:numCache>
            </c:numRef>
          </c:bubbleSize>
          <c:bubble3D val="0"/>
          <c:extLst>
            <c:ext xmlns:c15="http://schemas.microsoft.com/office/drawing/2012/chart" uri="{02D57815-91ED-43cb-92C2-25804820EDAC}">
              <c15:datalabelsRange>
                <c15:f>Sheet1!$E$2:$E$21</c15:f>
                <c15:dlblRangeCache>
                  <c:ptCount val="20"/>
                  <c:pt idx="0">
                    <c:v>1/2 CHAMP NICOLAS BLC/BLC BS 1CT X 375ML</c:v>
                  </c:pt>
                  <c:pt idx="1">
                    <c:v>MG CHAMPAGNE NICOLAS BLC/BL BS 1CT X 1500ML</c:v>
                  </c:pt>
                  <c:pt idx="2">
                    <c:v>CHAMPAGNE NICOLAS BLC/BLC BS 1CT X 750ML</c:v>
                  </c:pt>
                  <c:pt idx="3">
                    <c:v>CHAMPAGNE NICOLAS BLC/BLC 2002 1CT X 750ML</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8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AD271EBB-035B-48B8-A9F7-0AE9518CD88C}"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D4016D0C-7ACE-4959-A3C6-CFEEE8D71922}"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F67314DE-50B4-47A7-B96E-CCE9C809108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724C8E71-EFED-4DDC-8435-F902A278328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8CD10592-EED0-4EC3-AFB6-C57EDF5949E2}"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E9EBDB32-043F-4AF7-80FB-9BCAAE1D5976}"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C207570F-175E-48DB-A7E8-92FD7E0C6E10}"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63B98CA3-96C8-47BD-8880-8CAF9D33C7F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C5890902-7250-4F2F-865C-C1EF196DFCCB}"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AD5AD9BA-B398-4654-A75F-641F435695E6}"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5</c:f>
              <c:numCache>
                <c:formatCode>General</c:formatCode>
                <c:ptCount val="4"/>
                <c:pt idx="0">
                  <c:v>0.15</c:v>
                </c:pt>
                <c:pt idx="1">
                  <c:v>0.08</c:v>
                </c:pt>
                <c:pt idx="2">
                  <c:v>0.51</c:v>
                </c:pt>
                <c:pt idx="3">
                  <c:v>0.03</c:v>
                </c:pt>
              </c:numCache>
            </c:numRef>
          </c:xVal>
          <c:yVal>
            <c:numRef>
              <c:f>Sheet1!$B$2:$B$5</c:f>
              <c:numCache>
                <c:formatCode>General</c:formatCode>
                <c:ptCount val="4"/>
                <c:pt idx="0">
                  <c:v>653.5333333333333</c:v>
                </c:pt>
                <c:pt idx="1">
                  <c:v>1009.75</c:v>
                </c:pt>
                <c:pt idx="2">
                  <c:v>1265.294117647059</c:v>
                </c:pt>
                <c:pt idx="3">
                  <c:v>1255.666666666667</c:v>
                </c:pt>
              </c:numCache>
            </c:numRef>
          </c:yVal>
          <c:bubbleSize>
            <c:numRef>
              <c:f>Sheet1!$C$2:$C$5</c:f>
              <c:numCache>
                <c:formatCode>General</c:formatCode>
                <c:ptCount val="4"/>
                <c:pt idx="0">
                  <c:v>3723.1428000000001</c:v>
                </c:pt>
                <c:pt idx="1">
                  <c:v>6103.8220000000001</c:v>
                </c:pt>
                <c:pt idx="2">
                  <c:v>49115.3364</c:v>
                </c:pt>
                <c:pt idx="3">
                  <c:v>2772.4994999999999</c:v>
                </c:pt>
              </c:numCache>
            </c:numRef>
          </c:bubbleSize>
          <c:bubble3D val="0"/>
          <c:extLst>
            <c:ext xmlns:c15="http://schemas.microsoft.com/office/drawing/2012/chart" uri="{02D57815-91ED-43cb-92C2-25804820EDAC}">
              <c15:datalabelsRange>
                <c15:f>Sheet1!$E$2:$E$21</c15:f>
                <c15:dlblRangeCache>
                  <c:ptCount val="20"/>
                  <c:pt idx="0">
                    <c:v>1/2 CHAMP NICOLAS BLC/BLC BS 1CT X 375ML</c:v>
                  </c:pt>
                  <c:pt idx="1">
                    <c:v>MG CHAMPAGNE NICOLAS BLC/BL BS 1CT X 1500ML</c:v>
                  </c:pt>
                  <c:pt idx="2">
                    <c:v>CHAMPAGNE NICOLAS BLC/BLC BS 1CT X 750ML</c:v>
                  </c:pt>
                  <c:pt idx="3">
                    <c:v>CHAMPAGNE NICOLAS BLC/BLC 2002 1CT X 750ML</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8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D73CC9A0-D364-4F72-A43E-3C5BF0869550}"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433A9A5E-CB98-46E7-AD2B-F529AD41FF29}"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7692C739-3215-4C19-8D1D-298A2A8E0D8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B2ED66D2-5506-41F8-A1B8-AEA7743A120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63B5F06C-FC55-435C-8045-73246505AB42}"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28E20D15-FCA6-4C36-BEDB-C18D742E8B7E}"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FABA32A9-181F-483F-A321-6F1269D8D2AA}"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74B65A24-DD92-4BEB-9ADD-78A617ABC1A0}"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C328F55A-49A8-47A9-B439-1D631E3817E6}"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3C2B4DAB-C4C8-44A5-B1EA-2A86F7839197}"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6</c:f>
              <c:numCache>
                <c:formatCode>General</c:formatCode>
                <c:ptCount val="5"/>
                <c:pt idx="0">
                  <c:v>0.17</c:v>
                </c:pt>
                <c:pt idx="1">
                  <c:v>0.1</c:v>
                </c:pt>
                <c:pt idx="2">
                  <c:v>0.04</c:v>
                </c:pt>
                <c:pt idx="3">
                  <c:v>0.34</c:v>
                </c:pt>
                <c:pt idx="4">
                  <c:v>0.06</c:v>
                </c:pt>
              </c:numCache>
            </c:numRef>
          </c:xVal>
          <c:yVal>
            <c:numRef>
              <c:f>Sheet1!$B$2:$B$6</c:f>
              <c:numCache>
                <c:formatCode>General</c:formatCode>
                <c:ptCount val="5"/>
                <c:pt idx="0">
                  <c:v>642</c:v>
                </c:pt>
                <c:pt idx="1">
                  <c:v>1263.2</c:v>
                </c:pt>
                <c:pt idx="2">
                  <c:v>818.25</c:v>
                </c:pt>
                <c:pt idx="3">
                  <c:v>2260.5294117647059</c:v>
                </c:pt>
                <c:pt idx="4">
                  <c:v>790.33333333333337</c:v>
                </c:pt>
              </c:numCache>
            </c:numRef>
          </c:yVal>
          <c:bubbleSize>
            <c:numRef>
              <c:f>Sheet1!$C$2:$C$6</c:f>
              <c:numCache>
                <c:formatCode>General</c:formatCode>
                <c:ptCount val="5"/>
                <c:pt idx="0">
                  <c:v>4700.0069999999996</c:v>
                </c:pt>
                <c:pt idx="1">
                  <c:v>9669.2716999999993</c:v>
                </c:pt>
                <c:pt idx="2">
                  <c:v>1874.5934999999999</c:v>
                </c:pt>
                <c:pt idx="3">
                  <c:v>58638.855600000003</c:v>
                </c:pt>
                <c:pt idx="4">
                  <c:v>3557.499299999999</c:v>
                </c:pt>
              </c:numCache>
            </c:numRef>
          </c:bubbleSize>
          <c:bubble3D val="0"/>
          <c:extLst>
            <c:ext xmlns:c15="http://schemas.microsoft.com/office/drawing/2012/chart" uri="{02D57815-91ED-43cb-92C2-25804820EDAC}">
              <c15:datalabelsRange>
                <c15:f>Sheet1!$E$2:$E$21</c15:f>
                <c15:dlblRangeCache>
                  <c:ptCount val="20"/>
                  <c:pt idx="0">
                    <c:v>1/2 CHAMP NICOLAS BLC/BLC BS 1CT X 375ML</c:v>
                  </c:pt>
                  <c:pt idx="1">
                    <c:v>MG CHAMPAGNE NICOLAS BLC/BL BS 1CT X 1500ML</c:v>
                  </c:pt>
                  <c:pt idx="2">
                    <c:v>CHAMPAGNE NICOLAS BLC/BL BS ET 1CT X 750ML</c:v>
                  </c:pt>
                  <c:pt idx="3">
                    <c:v>CHAMPAGNE NICOLAS BLC/BLC BS 1CT X 750ML</c:v>
                  </c:pt>
                  <c:pt idx="4">
                    <c:v>CHAMPAGNE NICOLAS BLC/BLC 2002 1CT X 750ML</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8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5659ADBF-940F-4ACA-AC75-C0A9BBEBF548}"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DCDC2C2C-4267-4F2F-9657-0C8590FBACA8}"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642EF0C2-5D2F-4856-ACC3-D0269756D28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DEF100DD-50D8-4ED9-99A2-35A3C85A5B10}"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D4142398-F6A5-48BB-A969-6FC40A0C039D}"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8B88BA79-8CA7-4AA4-BFE0-1C3264785466}"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746A659C-6D9C-4070-A5EF-A4EAB496810A}"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3427E9E3-7AB4-4633-93D7-960D8F1E616F}"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9D81C3E8-B33F-468F-AAEB-46B08F8997FE}"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C8CF03E1-AC39-42D6-B8BC-06D6861D8E9A}"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8</c:f>
              <c:numCache>
                <c:formatCode>General</c:formatCode>
                <c:ptCount val="7"/>
                <c:pt idx="0">
                  <c:v>0.254</c:v>
                </c:pt>
                <c:pt idx="1">
                  <c:v>0.76700000000000002</c:v>
                </c:pt>
                <c:pt idx="2">
                  <c:v>0.23599999999999999</c:v>
                </c:pt>
                <c:pt idx="3">
                  <c:v>0.2</c:v>
                </c:pt>
                <c:pt idx="4">
                  <c:v>0.38800000000000001</c:v>
                </c:pt>
                <c:pt idx="5">
                  <c:v>0.998</c:v>
                </c:pt>
                <c:pt idx="6">
                  <c:v>0.13600000000000001</c:v>
                </c:pt>
              </c:numCache>
            </c:numRef>
          </c:xVal>
          <c:yVal>
            <c:numRef>
              <c:f>Sheet1!$B$2:$B$8</c:f>
              <c:numCache>
                <c:formatCode>General</c:formatCode>
                <c:ptCount val="7"/>
                <c:pt idx="0">
                  <c:v>3678.7795275590552</c:v>
                </c:pt>
                <c:pt idx="1">
                  <c:v>3148.787483702738</c:v>
                </c:pt>
                <c:pt idx="2">
                  <c:v>1560.550847457627</c:v>
                </c:pt>
                <c:pt idx="3">
                  <c:v>3041.15</c:v>
                </c:pt>
                <c:pt idx="4">
                  <c:v>2524.7422680412369</c:v>
                </c:pt>
                <c:pt idx="5">
                  <c:v>41115.460921843689</c:v>
                </c:pt>
                <c:pt idx="6">
                  <c:v>1050</c:v>
                </c:pt>
              </c:numCache>
            </c:numRef>
          </c:yVal>
          <c:bubbleSize>
            <c:numRef>
              <c:f>Sheet1!$C$2:$C$8</c:f>
              <c:numCache>
                <c:formatCode>General</c:formatCode>
                <c:ptCount val="7"/>
                <c:pt idx="0">
                  <c:v>76755.032399999996</c:v>
                </c:pt>
                <c:pt idx="1">
                  <c:v>206088.80379999999</c:v>
                </c:pt>
                <c:pt idx="2">
                  <c:v>16768.147499999999</c:v>
                </c:pt>
                <c:pt idx="3">
                  <c:v>27280</c:v>
                </c:pt>
                <c:pt idx="4">
                  <c:v>78663.179999999993</c:v>
                </c:pt>
                <c:pt idx="5">
                  <c:v>3279757.6026000022</c:v>
                </c:pt>
                <c:pt idx="6">
                  <c:v>8672.2607999999982</c:v>
                </c:pt>
              </c:numCache>
            </c:numRef>
          </c:bubbleSize>
          <c:bubble3D val="0"/>
          <c:extLst>
            <c:ext xmlns:c15="http://schemas.microsoft.com/office/drawing/2012/chart" uri="{02D57815-91ED-43cb-92C2-25804820EDAC}">
              <c15:datalabelsRange>
                <c15:f>Sheet1!$E$2:$E$21</c15:f>
                <c15:dlblRangeCache>
                  <c:ptCount val="20"/>
                  <c:pt idx="0">
                    <c:v>MG CHAMPAGNE E.NICOLAS BRUT 1CT X 1500ML</c:v>
                  </c:pt>
                  <c:pt idx="1">
                    <c:v>CHAMPAGNE NICOLAS 1ERE CUVEE 1CT X 750ML</c:v>
                  </c:pt>
                  <c:pt idx="2">
                    <c:v>MG CHAMPAGNE NICOLAS 1ERE CUVE 1CT X 1500ML</c:v>
                  </c:pt>
                  <c:pt idx="3">
                    <c:v>CHAMPAGNE NICOLAS BIO NAT 2017 1CT X 750ML</c:v>
                  </c:pt>
                  <c:pt idx="4">
                    <c:v>1/2 CHAMPAGNE NICOLAS 1ERE CUV 1CT X 375ML</c:v>
                  </c:pt>
                  <c:pt idx="5">
                    <c:v>CHAMPAGNE E.NICOLAS BRUT 1CT X 750ML</c:v>
                  </c:pt>
                  <c:pt idx="6">
                    <c:v>CHAMPAGNE NICOLAS 1ERE CUV ETU 1CT X 750ML</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8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DA045BA5-C11D-45F1-8DFB-997C569FC067}"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44715F27-2D1F-4F95-B057-AA831C2B98C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DD1573FF-2A44-4985-A30A-DB32C75088CA}"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50B5A9E7-8A9E-41A5-BE0F-C0A16255AEAD}"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77399DE2-7D02-495E-8052-B665FD72E051}"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43326740-BCED-425E-BDD2-840F47E2BC2A}"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A8CD1415-4148-4009-B03D-BC96295B8E60}"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16C4731B-FCB1-4F81-87A2-55A9A427D3F2}"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7436F35D-0800-4370-8C16-08C2FAD624C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56A342A1-7DC6-4C23-9E32-A9DF95019A7C}"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8</c:f>
              <c:numCache>
                <c:formatCode>General</c:formatCode>
                <c:ptCount val="7"/>
                <c:pt idx="0">
                  <c:v>0.18</c:v>
                </c:pt>
                <c:pt idx="1">
                  <c:v>0.83</c:v>
                </c:pt>
                <c:pt idx="2">
                  <c:v>0.27</c:v>
                </c:pt>
                <c:pt idx="3">
                  <c:v>0.19</c:v>
                </c:pt>
                <c:pt idx="4">
                  <c:v>0.37</c:v>
                </c:pt>
                <c:pt idx="5">
                  <c:v>1</c:v>
                </c:pt>
                <c:pt idx="6">
                  <c:v>0.14000000000000001</c:v>
                </c:pt>
              </c:numCache>
            </c:numRef>
          </c:xVal>
          <c:yVal>
            <c:numRef>
              <c:f>Sheet1!$B$2:$B$8</c:f>
              <c:numCache>
                <c:formatCode>General</c:formatCode>
                <c:ptCount val="7"/>
                <c:pt idx="0">
                  <c:v>2173.166666666667</c:v>
                </c:pt>
                <c:pt idx="1">
                  <c:v>1336</c:v>
                </c:pt>
                <c:pt idx="2">
                  <c:v>539.48148148148152</c:v>
                </c:pt>
                <c:pt idx="3">
                  <c:v>1529.526315789474</c:v>
                </c:pt>
                <c:pt idx="4">
                  <c:v>1241.6756756756761</c:v>
                </c:pt>
                <c:pt idx="5">
                  <c:v>18113.009999999998</c:v>
                </c:pt>
                <c:pt idx="6">
                  <c:v>455.49999999999989</c:v>
                </c:pt>
              </c:numCache>
            </c:numRef>
          </c:yVal>
          <c:bubbleSize>
            <c:numRef>
              <c:f>Sheet1!$C$2:$C$8</c:f>
              <c:numCache>
                <c:formatCode>General</c:formatCode>
                <c:ptCount val="7"/>
                <c:pt idx="0">
                  <c:v>32460.013800000001</c:v>
                </c:pt>
                <c:pt idx="1">
                  <c:v>94936.974799999996</c:v>
                </c:pt>
                <c:pt idx="2">
                  <c:v>6741.8325000000004</c:v>
                </c:pt>
                <c:pt idx="3">
                  <c:v>13523.75</c:v>
                </c:pt>
                <c:pt idx="4">
                  <c:v>37160.055</c:v>
                </c:pt>
                <c:pt idx="5">
                  <c:v>1444977.4757999999</c:v>
                </c:pt>
                <c:pt idx="6">
                  <c:v>4181.2686000000003</c:v>
                </c:pt>
              </c:numCache>
            </c:numRef>
          </c:bubbleSize>
          <c:bubble3D val="0"/>
          <c:extLst>
            <c:ext xmlns:c15="http://schemas.microsoft.com/office/drawing/2012/chart" uri="{02D57815-91ED-43cb-92C2-25804820EDAC}">
              <c15:datalabelsRange>
                <c15:f>Sheet1!$E$2:$E$21</c15:f>
                <c15:dlblRangeCache>
                  <c:ptCount val="20"/>
                  <c:pt idx="0">
                    <c:v>MG CHAMPAGNE E.NICOLAS BRUT 1CT X 1500ML</c:v>
                  </c:pt>
                  <c:pt idx="1">
                    <c:v>CHAMPAGNE NICOLAS 1ERE CUVEE 1CT X 750ML</c:v>
                  </c:pt>
                  <c:pt idx="2">
                    <c:v>MG CHAMPAGNE NICOLAS 1ERE CUVE 1CT X 1500ML</c:v>
                  </c:pt>
                  <c:pt idx="3">
                    <c:v>CHAMPAGNE NICOLAS BIO NAT 2017 1CT X 750ML</c:v>
                  </c:pt>
                  <c:pt idx="4">
                    <c:v>1/2 CHAMPAGNE NICOLAS 1ERE CUV 1CT X 375ML</c:v>
                  </c:pt>
                  <c:pt idx="5">
                    <c:v>CHAMPAGNE E.NICOLAS BRUT 1CT X 750ML</c:v>
                  </c:pt>
                  <c:pt idx="6">
                    <c:v>CHAMPAGNE NICOLAS 1ERE CUV ETU 1CT X 750ML</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8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B06D5BA9-BD17-4D00-9283-B68B12DC0109}"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BB35317B-B503-451D-B78C-0E87568932DF}"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C0AF4337-CAB0-459A-B99E-A387985E10BA}"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281D2E8A-1531-4921-B660-0E89FADBD7EC}"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D881892B-530E-42CF-A7ED-10C3DB8729CF}"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001B296E-C29C-4D92-945F-366334DFEA12}"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53E894EC-0358-4DD6-B8A6-41BFF006A407}"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CC4BA152-0EE2-425A-A8A2-7B08F76993F0}"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61DB784A-F03C-4D26-8F8D-A335D756677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E345F028-6D2A-4226-81CB-8DE71D97380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8</c:f>
              <c:numCache>
                <c:formatCode>General</c:formatCode>
                <c:ptCount val="7"/>
                <c:pt idx="0">
                  <c:v>0.24</c:v>
                </c:pt>
                <c:pt idx="1">
                  <c:v>0.74</c:v>
                </c:pt>
                <c:pt idx="2">
                  <c:v>0.11</c:v>
                </c:pt>
                <c:pt idx="3">
                  <c:v>0.14000000000000001</c:v>
                </c:pt>
                <c:pt idx="4">
                  <c:v>0.26</c:v>
                </c:pt>
                <c:pt idx="5">
                  <c:v>0.99</c:v>
                </c:pt>
                <c:pt idx="6">
                  <c:v>0.11</c:v>
                </c:pt>
              </c:numCache>
            </c:numRef>
          </c:xVal>
          <c:yVal>
            <c:numRef>
              <c:f>Sheet1!$B$2:$B$8</c:f>
              <c:numCache>
                <c:formatCode>General</c:formatCode>
                <c:ptCount val="7"/>
                <c:pt idx="0">
                  <c:v>784.08333333333337</c:v>
                </c:pt>
                <c:pt idx="1">
                  <c:v>775.16216216216219</c:v>
                </c:pt>
                <c:pt idx="2">
                  <c:v>840.27272727272725</c:v>
                </c:pt>
                <c:pt idx="3">
                  <c:v>759.57142857142844</c:v>
                </c:pt>
                <c:pt idx="4">
                  <c:v>680.5</c:v>
                </c:pt>
                <c:pt idx="5">
                  <c:v>8910.3333333333339</c:v>
                </c:pt>
                <c:pt idx="6">
                  <c:v>339.72727272727269</c:v>
                </c:pt>
              </c:numCache>
            </c:numRef>
          </c:yVal>
          <c:bubbleSize>
            <c:numRef>
              <c:f>Sheet1!$C$2:$C$8</c:f>
              <c:numCache>
                <c:formatCode>General</c:formatCode>
                <c:ptCount val="7"/>
                <c:pt idx="0">
                  <c:v>15687.0903</c:v>
                </c:pt>
                <c:pt idx="1">
                  <c:v>50401.209000000003</c:v>
                </c:pt>
                <c:pt idx="2">
                  <c:v>3745.462500000001</c:v>
                </c:pt>
                <c:pt idx="3">
                  <c:v>4340</c:v>
                </c:pt>
                <c:pt idx="4">
                  <c:v>14275.365</c:v>
                </c:pt>
                <c:pt idx="5">
                  <c:v>707509.91910000006</c:v>
                </c:pt>
                <c:pt idx="6">
                  <c:v>1987.3931</c:v>
                </c:pt>
              </c:numCache>
            </c:numRef>
          </c:bubbleSize>
          <c:bubble3D val="0"/>
          <c:extLst>
            <c:ext xmlns:c15="http://schemas.microsoft.com/office/drawing/2012/chart" uri="{02D57815-91ED-43cb-92C2-25804820EDAC}">
              <c15:datalabelsRange>
                <c15:f>Sheet1!$E$2:$E$21</c15:f>
                <c15:dlblRangeCache>
                  <c:ptCount val="20"/>
                  <c:pt idx="0">
                    <c:v>MG CHAMPAGNE E.NICOLAS BRUT 1CT X 1500ML</c:v>
                  </c:pt>
                  <c:pt idx="1">
                    <c:v>CHAMPAGNE NICOLAS 1ERE CUVEE 1CT X 750ML</c:v>
                  </c:pt>
                  <c:pt idx="2">
                    <c:v>MG CHAMPAGNE NICOLAS 1ERE CUVE 1CT X 1500ML</c:v>
                  </c:pt>
                  <c:pt idx="3">
                    <c:v>CHAMPAGNE NICOLAS BIO NAT 2017 1CT X 750ML</c:v>
                  </c:pt>
                  <c:pt idx="4">
                    <c:v>1/2 CHAMPAGNE NICOLAS 1ERE CUV 1CT X 375ML</c:v>
                  </c:pt>
                  <c:pt idx="5">
                    <c:v>CHAMPAGNE E.NICOLAS BRUT 1CT X 750ML</c:v>
                  </c:pt>
                  <c:pt idx="6">
                    <c:v>CHAMPAGNE NICOLAS 1ERE CUV ETU 1CT X 750ML</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8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FDA633E5-BACB-4627-A56B-745E4FC0A510}"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7195CA5F-ABC1-4B6E-9C5C-22F3099D548E}"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83542627-0C70-4B17-AD15-76D726247396}"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EA7453D5-183D-4184-9B58-FE416F815B3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2FD5D9FD-FF60-4563-81CE-7FB1A51632DA}"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71B1403A-AA41-47D1-B913-6DB8A8B943A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49278631-6298-4334-9E3E-A908023FA238}"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D04A1899-C556-4D99-8F84-6C708DE50B7D}"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0AE2F5D1-6269-4580-B18C-53DBF81C738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19A550C0-EDD0-4465-BD9D-1A83A78A2A1A}"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7</c:f>
              <c:numCache>
                <c:formatCode>General</c:formatCode>
                <c:ptCount val="6"/>
                <c:pt idx="0">
                  <c:v>0.28000000000000003</c:v>
                </c:pt>
                <c:pt idx="1">
                  <c:v>0.77</c:v>
                </c:pt>
                <c:pt idx="2">
                  <c:v>0.19</c:v>
                </c:pt>
                <c:pt idx="3">
                  <c:v>0.3</c:v>
                </c:pt>
                <c:pt idx="4">
                  <c:v>0.49</c:v>
                </c:pt>
                <c:pt idx="5">
                  <c:v>1</c:v>
                </c:pt>
              </c:numCache>
            </c:numRef>
          </c:xVal>
          <c:yVal>
            <c:numRef>
              <c:f>Sheet1!$B$2:$B$7</c:f>
              <c:numCache>
                <c:formatCode>General</c:formatCode>
                <c:ptCount val="6"/>
                <c:pt idx="0">
                  <c:v>337.32142857142861</c:v>
                </c:pt>
                <c:pt idx="1">
                  <c:v>280.97402597402589</c:v>
                </c:pt>
                <c:pt idx="2">
                  <c:v>243.15789473684211</c:v>
                </c:pt>
                <c:pt idx="3">
                  <c:v>315.39999999999998</c:v>
                </c:pt>
                <c:pt idx="4">
                  <c:v>281.55102040816331</c:v>
                </c:pt>
                <c:pt idx="5">
                  <c:v>4501.0200000000004</c:v>
                </c:pt>
              </c:numCache>
            </c:numRef>
          </c:yVal>
          <c:bubbleSize>
            <c:numRef>
              <c:f>Sheet1!$C$2:$C$7</c:f>
              <c:numCache>
                <c:formatCode>General</c:formatCode>
                <c:ptCount val="6"/>
                <c:pt idx="0">
                  <c:v>7693.3367999999991</c:v>
                </c:pt>
                <c:pt idx="1">
                  <c:v>17890.1122</c:v>
                </c:pt>
                <c:pt idx="2">
                  <c:v>2189.6550000000002</c:v>
                </c:pt>
                <c:pt idx="3">
                  <c:v>4262.5</c:v>
                </c:pt>
                <c:pt idx="4">
                  <c:v>11122.71</c:v>
                </c:pt>
                <c:pt idx="5">
                  <c:v>358993.02679999999</c:v>
                </c:pt>
              </c:numCache>
            </c:numRef>
          </c:bubbleSize>
          <c:bubble3D val="0"/>
          <c:extLst>
            <c:ext xmlns:c15="http://schemas.microsoft.com/office/drawing/2012/chart" uri="{02D57815-91ED-43cb-92C2-25804820EDAC}">
              <c15:datalabelsRange>
                <c15:f>Sheet1!$E$2:$E$21</c15:f>
                <c15:dlblRangeCache>
                  <c:ptCount val="20"/>
                  <c:pt idx="0">
                    <c:v>MG CHAMPAGNE E.NICOLAS BRUT 1CT X 1500ML</c:v>
                  </c:pt>
                  <c:pt idx="1">
                    <c:v>CHAMPAGNE NICOLAS 1ERE CUVEE 1CT X 750ML</c:v>
                  </c:pt>
                  <c:pt idx="2">
                    <c:v>MG CHAMPAGNE NICOLAS 1ERE CUVE 1CT X 1500ML</c:v>
                  </c:pt>
                  <c:pt idx="3">
                    <c:v>CHAMPAGNE NICOLAS BIO NAT 2017 1CT X 750ML</c:v>
                  </c:pt>
                  <c:pt idx="4">
                    <c:v>1/2 CHAMPAGNE NICOLAS 1ERE CUV 1CT X 375ML</c:v>
                  </c:pt>
                  <c:pt idx="5">
                    <c:v>CHAMPAGNE E.NICOLAS BRUT 1CT X 750ML</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8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DD98BF54-740F-4A64-AADD-AE1F4E86044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54BC2A69-9A16-491A-BA15-E08699C6467D}"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CE3FBD75-4ACF-4295-8CCC-74745D3C904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4E14A053-21B2-4057-8627-116D72430D46}"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8C9242DF-2AAE-4B57-861B-D5E703674EDA}"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BE470CF6-FBDB-4060-8EF0-A970CBDD586A}"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821E7F5C-B376-412C-9CD4-5B936D2F8F6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EFD03521-3316-47DF-A840-2D520E19439B}"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3F6B86EF-6786-4E9E-91F8-0BE226AA107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731CEEFB-9CB6-4A7B-8191-CC2CCD5E1BE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6</c:f>
              <c:numCache>
                <c:formatCode>General</c:formatCode>
                <c:ptCount val="5"/>
                <c:pt idx="0">
                  <c:v>0.28000000000000003</c:v>
                </c:pt>
                <c:pt idx="1">
                  <c:v>0.6</c:v>
                </c:pt>
                <c:pt idx="2">
                  <c:v>0.15</c:v>
                </c:pt>
                <c:pt idx="3">
                  <c:v>0.43</c:v>
                </c:pt>
                <c:pt idx="4">
                  <c:v>1</c:v>
                </c:pt>
              </c:numCache>
            </c:numRef>
          </c:xVal>
          <c:yVal>
            <c:numRef>
              <c:f>Sheet1!$B$2:$B$6</c:f>
              <c:numCache>
                <c:formatCode>General</c:formatCode>
                <c:ptCount val="5"/>
                <c:pt idx="0">
                  <c:v>194</c:v>
                </c:pt>
                <c:pt idx="1">
                  <c:v>169.55</c:v>
                </c:pt>
                <c:pt idx="2">
                  <c:v>280.66666666666669</c:v>
                </c:pt>
                <c:pt idx="3">
                  <c:v>136.18604651162789</c:v>
                </c:pt>
                <c:pt idx="4">
                  <c:v>2484.3200000000002</c:v>
                </c:pt>
              </c:numCache>
            </c:numRef>
          </c:yVal>
          <c:bubbleSize>
            <c:numRef>
              <c:f>Sheet1!$C$2:$C$6</c:f>
              <c:numCache>
                <c:formatCode>General</c:formatCode>
                <c:ptCount val="5"/>
                <c:pt idx="0">
                  <c:v>4340.8356000000003</c:v>
                </c:pt>
                <c:pt idx="1">
                  <c:v>8259.4321</c:v>
                </c:pt>
                <c:pt idx="2">
                  <c:v>2053.75</c:v>
                </c:pt>
                <c:pt idx="3">
                  <c:v>4704.8100000000004</c:v>
                </c:pt>
                <c:pt idx="4">
                  <c:v>198113.8518</c:v>
                </c:pt>
              </c:numCache>
            </c:numRef>
          </c:bubbleSize>
          <c:bubble3D val="0"/>
          <c:extLst>
            <c:ext xmlns:c15="http://schemas.microsoft.com/office/drawing/2012/chart" uri="{02D57815-91ED-43cb-92C2-25804820EDAC}">
              <c15:datalabelsRange>
                <c15:f>Sheet1!$E$2:$E$21</c15:f>
                <c15:dlblRangeCache>
                  <c:ptCount val="20"/>
                  <c:pt idx="0">
                    <c:v>MG CHAMPAGNE E.NICOLAS BRUT 1CT X 1500ML</c:v>
                  </c:pt>
                  <c:pt idx="1">
                    <c:v>CHAMPAGNE NICOLAS 1ERE CUVEE 1CT X 750ML</c:v>
                  </c:pt>
                  <c:pt idx="2">
                    <c:v>CHAMPAGNE NICOLAS BIO NAT 2017 1CT X 750ML</c:v>
                  </c:pt>
                  <c:pt idx="3">
                    <c:v>1/2 CHAMPAGNE NICOLAS 1ERE CUV 1CT X 375ML</c:v>
                  </c:pt>
                  <c:pt idx="4">
                    <c:v>CHAMPAGNE E.NICOLAS BRUT 1CT X 750ML</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Nicolas</c:v>
                </c:pt>
                <c:pt idx="2">
                  <c:v>Deutz</c:v>
                </c:pt>
                <c:pt idx="3">
                  <c:v>Laurent Perrier</c:v>
                </c:pt>
                <c:pt idx="4">
                  <c:v>Heidsieck &amp; Co Monopole</c:v>
                </c:pt>
                <c:pt idx="5">
                  <c:v>Ayala</c:v>
                </c:pt>
                <c:pt idx="6">
                  <c:v>Canard Duchêne</c:v>
                </c:pt>
                <c:pt idx="7">
                  <c:v>Taittinger</c:v>
                </c:pt>
                <c:pt idx="8">
                  <c:v>De Bligny</c:v>
                </c:pt>
                <c:pt idx="9">
                  <c:v>Others</c:v>
                </c:pt>
              </c:strCache>
            </c:strRef>
          </c:cat>
          <c:val>
            <c:numRef>
              <c:f>Sheet1!$B$2:$B$11</c:f>
              <c:numCache>
                <c:formatCode>General</c:formatCode>
                <c:ptCount val="10"/>
                <c:pt idx="0">
                  <c:v>0.19750824212481599</c:v>
                </c:pt>
                <c:pt idx="1">
                  <c:v>0.10954622229600854</c:v>
                </c:pt>
                <c:pt idx="2">
                  <c:v>0.10391541262165646</c:v>
                </c:pt>
                <c:pt idx="3">
                  <c:v>6.3595371439518683E-2</c:v>
                </c:pt>
                <c:pt idx="4">
                  <c:v>5.483133501496569E-2</c:v>
                </c:pt>
                <c:pt idx="5">
                  <c:v>4.6169902515090018E-2</c:v>
                </c:pt>
                <c:pt idx="6">
                  <c:v>4.1092632228877782E-2</c:v>
                </c:pt>
                <c:pt idx="7">
                  <c:v>3.8666557904021723E-2</c:v>
                </c:pt>
                <c:pt idx="8">
                  <c:v>3.7893434403079969E-2</c:v>
                </c:pt>
                <c:pt idx="9">
                  <c:v>0.30678088945196513</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Nicolas</c:v>
                </c:pt>
                <c:pt idx="2">
                  <c:v>Deutz</c:v>
                </c:pt>
                <c:pt idx="3">
                  <c:v>Laurent Perrier</c:v>
                </c:pt>
                <c:pt idx="4">
                  <c:v>Heidsieck &amp; Co Monopole</c:v>
                </c:pt>
                <c:pt idx="5">
                  <c:v>Ayala</c:v>
                </c:pt>
                <c:pt idx="6">
                  <c:v>Canard Duchêne</c:v>
                </c:pt>
                <c:pt idx="7">
                  <c:v>Taittinger</c:v>
                </c:pt>
                <c:pt idx="8">
                  <c:v>De Bligny</c:v>
                </c:pt>
                <c:pt idx="9">
                  <c:v>Others</c:v>
                </c:pt>
              </c:strCache>
            </c:strRef>
          </c:cat>
          <c:val>
            <c:numRef>
              <c:f>Sheet1!$C$2:$C$11</c:f>
              <c:numCache>
                <c:formatCode>General</c:formatCode>
                <c:ptCount val="10"/>
                <c:pt idx="0">
                  <c:v>7.7068685776095144E-2</c:v>
                </c:pt>
                <c:pt idx="1">
                  <c:v>8.0854515954569994E-2</c:v>
                </c:pt>
                <c:pt idx="2">
                  <c:v>6.9497025419145458E-2</c:v>
                </c:pt>
                <c:pt idx="3">
                  <c:v>5.3272038939967521E-2</c:v>
                </c:pt>
                <c:pt idx="4">
                  <c:v>2.6230394808004313E-2</c:v>
                </c:pt>
                <c:pt idx="5">
                  <c:v>2.6500811249323946E-2</c:v>
                </c:pt>
                <c:pt idx="6">
                  <c:v>6.6792861005949125E-2</c:v>
                </c:pt>
                <c:pt idx="7">
                  <c:v>3.6776636019469969E-2</c:v>
                </c:pt>
                <c:pt idx="8">
                  <c:v>2.4878312601406154E-2</c:v>
                </c:pt>
                <c:pt idx="9">
                  <c:v>0.53812871822606778</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Nicolas</c:v>
                </c:pt>
                <c:pt idx="2">
                  <c:v>Deutz</c:v>
                </c:pt>
                <c:pt idx="3">
                  <c:v>Laurent Perrier</c:v>
                </c:pt>
                <c:pt idx="4">
                  <c:v>Heidsieck &amp; Co Monopole</c:v>
                </c:pt>
                <c:pt idx="5">
                  <c:v>Ayala</c:v>
                </c:pt>
                <c:pt idx="6">
                  <c:v>Canard Duchêne</c:v>
                </c:pt>
                <c:pt idx="7">
                  <c:v>Taittinger</c:v>
                </c:pt>
                <c:pt idx="8">
                  <c:v>De Bligny</c:v>
                </c:pt>
                <c:pt idx="9">
                  <c:v>Others</c:v>
                </c:pt>
              </c:strCache>
            </c:strRef>
          </c:cat>
          <c:val>
            <c:numRef>
              <c:f>Sheet1!$D$2:$D$11</c:f>
              <c:numCache>
                <c:formatCode>General</c:formatCode>
                <c:ptCount val="10"/>
                <c:pt idx="0">
                  <c:v>39.020490966342223</c:v>
                </c:pt>
                <c:pt idx="1">
                  <c:v>73.808584412970703</c:v>
                </c:pt>
                <c:pt idx="2">
                  <c:v>66.878457839719871</c:v>
                </c:pt>
                <c:pt idx="3">
                  <c:v>83.767163763845616</c:v>
                </c:pt>
                <c:pt idx="4">
                  <c:v>47.838329671974932</c:v>
                </c:pt>
                <c:pt idx="5">
                  <c:v>57.398456149355113</c:v>
                </c:pt>
                <c:pt idx="6">
                  <c:v>162.5421818537352</c:v>
                </c:pt>
                <c:pt idx="7">
                  <c:v>95.112257239853292</c:v>
                </c:pt>
                <c:pt idx="8">
                  <c:v>65.65335919877468</c:v>
                </c:pt>
                <c:pt idx="9">
                  <c:v>175.41142122228786</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73E495CB-2DA1-470D-9387-95A8D147753C}"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658E9634-7ACF-4484-BB18-9962107F2F70}"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101C7340-2D15-4C7C-BF7D-9A04BC03315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28EA8BF2-0238-42FF-AB9F-4688FFE9578E}"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79FE81F1-D0B4-484E-A901-CC8F28810389}"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6A1BF933-FC92-4777-97B3-2E28197BC25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2520482A-FCB3-42F0-BC7B-A1836DE5EBEB}"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310D7D7B-B0E0-442E-8435-5D627044B089}"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1A39FB2B-A0EF-45D9-81E8-E25C051E91F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950533AD-37EB-45AD-8387-4FBB6419B3D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5</c:f>
              <c:numCache>
                <c:formatCode>General</c:formatCode>
                <c:ptCount val="4"/>
                <c:pt idx="0">
                  <c:v>0.35</c:v>
                </c:pt>
                <c:pt idx="1">
                  <c:v>0.76</c:v>
                </c:pt>
                <c:pt idx="2">
                  <c:v>0.61</c:v>
                </c:pt>
                <c:pt idx="3">
                  <c:v>1</c:v>
                </c:pt>
              </c:numCache>
            </c:numRef>
          </c:xVal>
          <c:yVal>
            <c:numRef>
              <c:f>Sheet1!$B$2:$B$5</c:f>
              <c:numCache>
                <c:formatCode>General</c:formatCode>
                <c:ptCount val="4"/>
                <c:pt idx="0">
                  <c:v>117.4</c:v>
                </c:pt>
                <c:pt idx="1">
                  <c:v>134.71052631578951</c:v>
                </c:pt>
                <c:pt idx="2">
                  <c:v>38.918032786885249</c:v>
                </c:pt>
                <c:pt idx="3">
                  <c:v>1744.57</c:v>
                </c:pt>
              </c:numCache>
            </c:numRef>
          </c:yVal>
          <c:bubbleSize>
            <c:numRef>
              <c:f>Sheet1!$C$2:$C$5</c:f>
              <c:numCache>
                <c:formatCode>General</c:formatCode>
                <c:ptCount val="4"/>
                <c:pt idx="0">
                  <c:v>3277.9178999999999</c:v>
                </c:pt>
                <c:pt idx="1">
                  <c:v>8494.0993000000017</c:v>
                </c:pt>
                <c:pt idx="2">
                  <c:v>1817.7974999999999</c:v>
                </c:pt>
                <c:pt idx="3">
                  <c:v>139572.4345</c:v>
                </c:pt>
              </c:numCache>
            </c:numRef>
          </c:bubbleSize>
          <c:bubble3D val="0"/>
          <c:extLst>
            <c:ext xmlns:c15="http://schemas.microsoft.com/office/drawing/2012/chart" uri="{02D57815-91ED-43cb-92C2-25804820EDAC}">
              <c15:datalabelsRange>
                <c15:f>Sheet1!$E$2:$E$21</c15:f>
                <c15:dlblRangeCache>
                  <c:ptCount val="20"/>
                  <c:pt idx="0">
                    <c:v>MG CHAMPAGNE E.NICOLAS BRUT 1CT X 1500ML</c:v>
                  </c:pt>
                  <c:pt idx="1">
                    <c:v>CHAMPAGNE NICOLAS 1ERE CUVEE 1CT X 750ML</c:v>
                  </c:pt>
                  <c:pt idx="2">
                    <c:v>1/2 CHAMPAGNE NICOLAS 1ERE CUV 1CT X 375ML</c:v>
                  </c:pt>
                  <c:pt idx="3">
                    <c:v>CHAMPAGNE E.NICOLAS BRUT 1CT X 750ML</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8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B06DD085-2BDB-44DE-A5DD-70D933D49B2D}"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8F77B2E2-01DD-4AAB-A904-249F3442DC0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13FB9E14-9C2A-40A4-8BCD-AF7486D116E7}"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86F908C8-2434-4D99-A130-AD1F19A91277}"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052D1043-8BA6-469D-BE55-408307B36D50}"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E75F8847-AD86-4985-8EC8-A9C8BBAB2809}"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479978D2-D659-4F04-A487-8850EC33D578}"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7A3335DE-621C-494E-BE27-09F2186F69BF}"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902271CD-2D9C-4FDB-BE3E-7CDC56FEF78A}"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B199C4FC-0062-4340-92D5-5ED47E32C9B6}"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8</c:f>
              <c:numCache>
                <c:formatCode>General</c:formatCode>
                <c:ptCount val="7"/>
                <c:pt idx="0">
                  <c:v>0.16</c:v>
                </c:pt>
                <c:pt idx="1">
                  <c:v>0.78</c:v>
                </c:pt>
                <c:pt idx="2">
                  <c:v>0.18</c:v>
                </c:pt>
                <c:pt idx="3">
                  <c:v>0.15</c:v>
                </c:pt>
                <c:pt idx="4">
                  <c:v>0.32</c:v>
                </c:pt>
                <c:pt idx="5">
                  <c:v>0.99</c:v>
                </c:pt>
                <c:pt idx="6">
                  <c:v>0.11</c:v>
                </c:pt>
              </c:numCache>
            </c:numRef>
          </c:xVal>
          <c:yVal>
            <c:numRef>
              <c:f>Sheet1!$B$2:$B$8</c:f>
              <c:numCache>
                <c:formatCode>General</c:formatCode>
                <c:ptCount val="7"/>
                <c:pt idx="0">
                  <c:v>3170.375</c:v>
                </c:pt>
                <c:pt idx="1">
                  <c:v>2029.1923076923081</c:v>
                </c:pt>
                <c:pt idx="2">
                  <c:v>1121.3888888888889</c:v>
                </c:pt>
                <c:pt idx="3">
                  <c:v>2824.0666666666671</c:v>
                </c:pt>
                <c:pt idx="4">
                  <c:v>2088.78125</c:v>
                </c:pt>
                <c:pt idx="5">
                  <c:v>27681.21212121212</c:v>
                </c:pt>
                <c:pt idx="6">
                  <c:v>879.18181818181813</c:v>
                </c:pt>
              </c:numCache>
            </c:numRef>
          </c:yVal>
          <c:bubbleSize>
            <c:numRef>
              <c:f>Sheet1!$C$2:$C$8</c:f>
              <c:numCache>
                <c:formatCode>General</c:formatCode>
                <c:ptCount val="7"/>
                <c:pt idx="0">
                  <c:v>42099.603300000002</c:v>
                </c:pt>
                <c:pt idx="1">
                  <c:v>136720.74660000001</c:v>
                </c:pt>
                <c:pt idx="2">
                  <c:v>8470.5074999999997</c:v>
                </c:pt>
                <c:pt idx="3">
                  <c:v>18755</c:v>
                </c:pt>
                <c:pt idx="4">
                  <c:v>54240.614999999998</c:v>
                </c:pt>
                <c:pt idx="5">
                  <c:v>2186773.7568999999</c:v>
                </c:pt>
                <c:pt idx="6">
                  <c:v>6039.6102000000001</c:v>
                </c:pt>
              </c:numCache>
            </c:numRef>
          </c:bubbleSize>
          <c:bubble3D val="0"/>
          <c:extLst>
            <c:ext xmlns:c15="http://schemas.microsoft.com/office/drawing/2012/chart" uri="{02D57815-91ED-43cb-92C2-25804820EDAC}">
              <c15:datalabelsRange>
                <c15:f>Sheet1!$E$2:$E$21</c15:f>
                <c15:dlblRangeCache>
                  <c:ptCount val="20"/>
                  <c:pt idx="0">
                    <c:v>MG CHAMPAGNE E.NICOLAS BRUT 1CT X 1500ML</c:v>
                  </c:pt>
                  <c:pt idx="1">
                    <c:v>CHAMPAGNE NICOLAS 1ERE CUVEE 1CT X 750ML</c:v>
                  </c:pt>
                  <c:pt idx="2">
                    <c:v>MG CHAMPAGNE NICOLAS 1ERE CUVE 1CT X 1500ML</c:v>
                  </c:pt>
                  <c:pt idx="3">
                    <c:v>CHAMPAGNE NICOLAS BIO NAT 2017 1CT X 750ML</c:v>
                  </c:pt>
                  <c:pt idx="4">
                    <c:v>1/2 CHAMPAGNE NICOLAS 1ERE CUV 1CT X 375ML</c:v>
                  </c:pt>
                  <c:pt idx="5">
                    <c:v>CHAMPAGNE E.NICOLAS BRUT 1CT X 750ML</c:v>
                  </c:pt>
                  <c:pt idx="6">
                    <c:v>CHAMPAGNE NICOLAS 1ERE CUV ETU 1CT X 750ML</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8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440CF3AE-E392-4646-92E1-200CA7A1DC9E}"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91E1FA17-5EE0-40BC-B552-A8DC674A6BF9}"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7F1116F8-C69D-4784-8161-0A68046A284F}"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C5BA7DB8-56EE-4CEB-AACB-81405F4D057F}"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446CFB2D-C759-4BC0-95DF-D684D3AF5D09}"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C09C142B-F61A-41B5-80A0-6F469550A14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CE4D4A1C-AE42-4634-A4EE-C7007705EF62}"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3E6B777C-7830-4C00-ABEE-2A6BE4F5AA5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99F852A2-152B-4529-9F5E-1AB30BE60BE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C0918B4E-C6BE-4C1F-B598-92A996EA1AA6}"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7</c:f>
              <c:numCache>
                <c:formatCode>General</c:formatCode>
                <c:ptCount val="6"/>
                <c:pt idx="0">
                  <c:v>0.39</c:v>
                </c:pt>
                <c:pt idx="1">
                  <c:v>0.78</c:v>
                </c:pt>
                <c:pt idx="2">
                  <c:v>0.26</c:v>
                </c:pt>
                <c:pt idx="3">
                  <c:v>0.19</c:v>
                </c:pt>
                <c:pt idx="4">
                  <c:v>0.44</c:v>
                </c:pt>
                <c:pt idx="5">
                  <c:v>1</c:v>
                </c:pt>
              </c:numCache>
            </c:numRef>
          </c:xVal>
          <c:yVal>
            <c:numRef>
              <c:f>Sheet1!$B$2:$B$7</c:f>
              <c:numCache>
                <c:formatCode>General</c:formatCode>
                <c:ptCount val="6"/>
                <c:pt idx="0">
                  <c:v>383.10256410256409</c:v>
                </c:pt>
                <c:pt idx="1">
                  <c:v>284.11538461538458</c:v>
                </c:pt>
                <c:pt idx="2">
                  <c:v>189.34615384615381</c:v>
                </c:pt>
                <c:pt idx="3">
                  <c:v>262.10526315789468</c:v>
                </c:pt>
                <c:pt idx="4">
                  <c:v>210.5454545454545</c:v>
                </c:pt>
                <c:pt idx="5">
                  <c:v>4592.25</c:v>
                </c:pt>
              </c:numCache>
            </c:numRef>
          </c:yVal>
          <c:bubbleSize>
            <c:numRef>
              <c:f>Sheet1!$C$2:$C$7</c:f>
              <c:numCache>
                <c:formatCode>General</c:formatCode>
                <c:ptCount val="6"/>
                <c:pt idx="0">
                  <c:v>12278.337600000001</c:v>
                </c:pt>
                <c:pt idx="1">
                  <c:v>18105.7834</c:v>
                </c:pt>
                <c:pt idx="2">
                  <c:v>2650.6350000000002</c:v>
                </c:pt>
                <c:pt idx="3">
                  <c:v>2518.75</c:v>
                </c:pt>
                <c:pt idx="4">
                  <c:v>7387.3650000000007</c:v>
                </c:pt>
                <c:pt idx="5">
                  <c:v>368051.65149999998</c:v>
                </c:pt>
              </c:numCache>
            </c:numRef>
          </c:bubbleSize>
          <c:bubble3D val="0"/>
          <c:extLst>
            <c:ext xmlns:c15="http://schemas.microsoft.com/office/drawing/2012/chart" uri="{02D57815-91ED-43cb-92C2-25804820EDAC}">
              <c15:datalabelsRange>
                <c15:f>Sheet1!$E$2:$E$21</c15:f>
                <c15:dlblRangeCache>
                  <c:ptCount val="20"/>
                  <c:pt idx="0">
                    <c:v>MG CHAMPAGNE E.NICOLAS BRUT 1CT X 1500ML</c:v>
                  </c:pt>
                  <c:pt idx="1">
                    <c:v>CHAMPAGNE NICOLAS 1ERE CUVEE 1CT X 750ML</c:v>
                  </c:pt>
                  <c:pt idx="2">
                    <c:v>MG CHAMPAGNE NICOLAS 1ERE CUVE 1CT X 1500ML</c:v>
                  </c:pt>
                  <c:pt idx="3">
                    <c:v>CHAMPAGNE NICOLAS BIO NAT 2017 1CT X 750ML</c:v>
                  </c:pt>
                  <c:pt idx="4">
                    <c:v>1/2 CHAMPAGNE NICOLAS 1ERE CUV 1CT X 375ML</c:v>
                  </c:pt>
                  <c:pt idx="5">
                    <c:v>CHAMPAGNE E.NICOLAS BRUT 1CT X 750ML</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8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788C5E89-F425-447F-8394-14626D346F0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76D993FA-3F51-4394-9F32-9D326449BC69}"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95B468E5-6813-4987-B378-1836A65F8C9C}"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14817876-82F5-40F9-837B-19C25F3920FF}"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306D94D4-A9AB-423C-9A6D-1089E981CDB0}"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E36077A7-3F3C-4755-B476-1CF74F19A3F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948ED37A-3BBB-4BB7-B07B-6AC6CF31FE9B}"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A1F9F32B-5D33-46C1-AFF9-61F23121A84D}"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0074D560-3531-4348-95C2-6EFAD43B88F9}"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68B65506-D042-42B8-A361-FE33CAB3AE16}"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7</c:f>
              <c:numCache>
                <c:formatCode>General</c:formatCode>
                <c:ptCount val="6"/>
                <c:pt idx="0">
                  <c:v>0.4</c:v>
                </c:pt>
                <c:pt idx="1">
                  <c:v>0.72</c:v>
                </c:pt>
                <c:pt idx="2">
                  <c:v>0.14000000000000001</c:v>
                </c:pt>
                <c:pt idx="3">
                  <c:v>0.26</c:v>
                </c:pt>
                <c:pt idx="4">
                  <c:v>0.56000000000000005</c:v>
                </c:pt>
                <c:pt idx="5">
                  <c:v>1</c:v>
                </c:pt>
              </c:numCache>
            </c:numRef>
          </c:xVal>
          <c:yVal>
            <c:numRef>
              <c:f>Sheet1!$B$2:$B$7</c:f>
              <c:numCache>
                <c:formatCode>General</c:formatCode>
                <c:ptCount val="6"/>
                <c:pt idx="0">
                  <c:v>239.52500000000001</c:v>
                </c:pt>
                <c:pt idx="1">
                  <c:v>221.125</c:v>
                </c:pt>
                <c:pt idx="2">
                  <c:v>216.78571428571419</c:v>
                </c:pt>
                <c:pt idx="3">
                  <c:v>133.11538461538461</c:v>
                </c:pt>
                <c:pt idx="4">
                  <c:v>105.625</c:v>
                </c:pt>
                <c:pt idx="5">
                  <c:v>1794.81</c:v>
                </c:pt>
              </c:numCache>
            </c:numRef>
          </c:yVal>
          <c:bubbleSize>
            <c:numRef>
              <c:f>Sheet1!$C$2:$C$7</c:f>
              <c:numCache>
                <c:formatCode>General</c:formatCode>
                <c:ptCount val="6"/>
                <c:pt idx="0">
                  <c:v>7842.5033999999996</c:v>
                </c:pt>
                <c:pt idx="1">
                  <c:v>12879.6119</c:v>
                </c:pt>
                <c:pt idx="2">
                  <c:v>1382.94</c:v>
                </c:pt>
                <c:pt idx="3">
                  <c:v>1860</c:v>
                </c:pt>
                <c:pt idx="4">
                  <c:v>4658.1450000000004</c:v>
                </c:pt>
                <c:pt idx="5">
                  <c:v>142884.38889999999</c:v>
                </c:pt>
              </c:numCache>
            </c:numRef>
          </c:bubbleSize>
          <c:bubble3D val="0"/>
          <c:extLst>
            <c:ext xmlns:c15="http://schemas.microsoft.com/office/drawing/2012/chart" uri="{02D57815-91ED-43cb-92C2-25804820EDAC}">
              <c15:datalabelsRange>
                <c15:f>Sheet1!$E$2:$E$21</c15:f>
                <c15:dlblRangeCache>
                  <c:ptCount val="20"/>
                  <c:pt idx="0">
                    <c:v>MG CHAMPAGNE E.NICOLAS BRUT 1CT X 1500ML</c:v>
                  </c:pt>
                  <c:pt idx="1">
                    <c:v>CHAMPAGNE NICOLAS 1ERE CUVEE 1CT X 750ML</c:v>
                  </c:pt>
                  <c:pt idx="2">
                    <c:v>MG CHAMPAGNE NICOLAS 1ERE CUVE 1CT X 1500ML</c:v>
                  </c:pt>
                  <c:pt idx="3">
                    <c:v>CHAMPAGNE NICOLAS BIO NAT 2017 1CT X 750ML</c:v>
                  </c:pt>
                  <c:pt idx="4">
                    <c:v>1/2 CHAMPAGNE NICOLAS 1ERE CUV 1CT X 375ML</c:v>
                  </c:pt>
                  <c:pt idx="5">
                    <c:v>CHAMPAGNE E.NICOLAS BRUT 1CT X 750ML</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8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2D0BD390-BE9A-4F00-B959-2B306D82806A}"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DD3D3885-7B27-4D7C-874C-F73BC5178B0A}"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2A8B4948-AFEC-4111-9014-E655B5FB3A59}"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63FFF414-D270-40A1-AEC6-BCD446FBC1B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92673C27-1330-44C5-822D-35FCB1996C85}"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7F13CC00-184B-41A1-893D-3B3ECB09FD72}"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255B834A-03AD-44AD-AF07-5FA57D230918}"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DE3AD7A1-CB33-4292-B181-8C5D01B3288F}"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98038E87-0C34-4F08-8434-3A4FEA7C351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596B36CB-5994-4A1A-ABF9-B9790DBD7CB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5</c:f>
              <c:numCache>
                <c:formatCode>General</c:formatCode>
                <c:ptCount val="4"/>
                <c:pt idx="0">
                  <c:v>0.36</c:v>
                </c:pt>
                <c:pt idx="1">
                  <c:v>0.83</c:v>
                </c:pt>
                <c:pt idx="2">
                  <c:v>0.51</c:v>
                </c:pt>
                <c:pt idx="3">
                  <c:v>1</c:v>
                </c:pt>
              </c:numCache>
            </c:numRef>
          </c:xVal>
          <c:yVal>
            <c:numRef>
              <c:f>Sheet1!$B$2:$B$5</c:f>
              <c:numCache>
                <c:formatCode>General</c:formatCode>
                <c:ptCount val="4"/>
                <c:pt idx="0">
                  <c:v>92.722222222222229</c:v>
                </c:pt>
                <c:pt idx="1">
                  <c:v>128.18072289156629</c:v>
                </c:pt>
                <c:pt idx="2">
                  <c:v>73.235294117647058</c:v>
                </c:pt>
                <c:pt idx="3">
                  <c:v>1647.1</c:v>
                </c:pt>
              </c:numCache>
            </c:numRef>
          </c:yVal>
          <c:bubbleSize>
            <c:numRef>
              <c:f>Sheet1!$C$2:$C$5</c:f>
              <c:numCache>
                <c:formatCode>General</c:formatCode>
                <c:ptCount val="4"/>
                <c:pt idx="0">
                  <c:v>2633.3339999999998</c:v>
                </c:pt>
                <c:pt idx="1">
                  <c:v>9012.6797999999999</c:v>
                </c:pt>
                <c:pt idx="2">
                  <c:v>2878.755000000001</c:v>
                </c:pt>
                <c:pt idx="3">
                  <c:v>132610.51420000001</c:v>
                </c:pt>
              </c:numCache>
            </c:numRef>
          </c:bubbleSize>
          <c:bubble3D val="0"/>
          <c:extLst>
            <c:ext xmlns:c15="http://schemas.microsoft.com/office/drawing/2012/chart" uri="{02D57815-91ED-43cb-92C2-25804820EDAC}">
              <c15:datalabelsRange>
                <c15:f>Sheet1!$E$2:$E$21</c15:f>
                <c15:dlblRangeCache>
                  <c:ptCount val="20"/>
                  <c:pt idx="0">
                    <c:v>MG CHAMPAGNE E.NICOLAS BRUT 1CT X 1500ML</c:v>
                  </c:pt>
                  <c:pt idx="1">
                    <c:v>CHAMPAGNE NICOLAS 1ERE CUVEE 1CT X 750ML</c:v>
                  </c:pt>
                  <c:pt idx="2">
                    <c:v>1/2 CHAMPAGNE NICOLAS 1ERE CUV 1CT X 375ML</c:v>
                  </c:pt>
                  <c:pt idx="3">
                    <c:v>CHAMPAGNE E.NICOLAS BRUT 1CT X 750ML</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8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A5E25AC9-A7ED-485A-809E-0004EFC680DB}"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84F9272F-8770-4C87-87BB-3FEA424D2028}"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5F338003-56C7-4A6E-A136-E57FE1A4BA0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BD52D5E9-C8FA-43C9-868B-9DC2E2867A30}"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1B065744-85C1-4587-BB1E-7B270FE712AA}"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AD98A990-0667-4E05-8511-0F41B90D9D7D}"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31F69C9E-A8CB-4263-89EF-C4014782B5E0}"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2427E2BF-D4FA-4574-A445-D7183B8D01D9}"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2BD24F0D-2256-46D8-BA14-DEEBE11FCBC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8D5FD46E-AF8C-461A-8BF8-3D16683D59A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6</c:f>
              <c:numCache>
                <c:formatCode>General</c:formatCode>
                <c:ptCount val="5"/>
                <c:pt idx="0">
                  <c:v>0.32</c:v>
                </c:pt>
                <c:pt idx="1">
                  <c:v>0.56999999999999995</c:v>
                </c:pt>
                <c:pt idx="2">
                  <c:v>0.27</c:v>
                </c:pt>
                <c:pt idx="3">
                  <c:v>0.5</c:v>
                </c:pt>
                <c:pt idx="4">
                  <c:v>1</c:v>
                </c:pt>
              </c:numCache>
            </c:numRef>
          </c:xVal>
          <c:yVal>
            <c:numRef>
              <c:f>Sheet1!$B$2:$B$6</c:f>
              <c:numCache>
                <c:formatCode>General</c:formatCode>
                <c:ptCount val="5"/>
                <c:pt idx="0">
                  <c:v>69.28125</c:v>
                </c:pt>
                <c:pt idx="1">
                  <c:v>54.000000000000007</c:v>
                </c:pt>
                <c:pt idx="2">
                  <c:v>88.074074074074076</c:v>
                </c:pt>
                <c:pt idx="3">
                  <c:v>35.32</c:v>
                </c:pt>
                <c:pt idx="4">
                  <c:v>1057.96</c:v>
                </c:pt>
              </c:numCache>
            </c:numRef>
          </c:yVal>
          <c:bubbleSize>
            <c:numRef>
              <c:f>Sheet1!$C$2:$C$6</c:f>
              <c:numCache>
                <c:formatCode>General</c:formatCode>
                <c:ptCount val="5"/>
                <c:pt idx="0">
                  <c:v>1847.0841</c:v>
                </c:pt>
                <c:pt idx="1">
                  <c:v>2427.2689</c:v>
                </c:pt>
                <c:pt idx="2">
                  <c:v>1278.75</c:v>
                </c:pt>
                <c:pt idx="3">
                  <c:v>1380.615</c:v>
                </c:pt>
                <c:pt idx="4">
                  <c:v>86540.523000000016</c:v>
                </c:pt>
              </c:numCache>
            </c:numRef>
          </c:bubbleSize>
          <c:bubble3D val="0"/>
          <c:extLst>
            <c:ext xmlns:c15="http://schemas.microsoft.com/office/drawing/2012/chart" uri="{02D57815-91ED-43cb-92C2-25804820EDAC}">
              <c15:datalabelsRange>
                <c15:f>Sheet1!$E$2:$E$21</c15:f>
                <c15:dlblRangeCache>
                  <c:ptCount val="20"/>
                  <c:pt idx="0">
                    <c:v>MG CHAMPAGNE E.NICOLAS BRUT 1CT X 1500ML</c:v>
                  </c:pt>
                  <c:pt idx="1">
                    <c:v>CHAMPAGNE NICOLAS 1ERE CUVEE 1CT X 750ML</c:v>
                  </c:pt>
                  <c:pt idx="2">
                    <c:v>CHAMPAGNE NICOLAS BIO NAT 2017 1CT X 750ML</c:v>
                  </c:pt>
                  <c:pt idx="3">
                    <c:v>1/2 CHAMPAGNE NICOLAS 1ERE CUV 1CT X 375ML</c:v>
                  </c:pt>
                  <c:pt idx="4">
                    <c:v>CHAMPAGNE E.NICOLAS BRUT 1CT X 750ML</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8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A786A878-4E03-4643-8FB9-27B239F3094E}"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1C1FD1D7-9CB2-43B8-9C57-70FCA6CF5C02}"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DF2A96D6-102F-49FC-B1AD-244291002FC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C60F61D5-1C62-4EE4-BAB0-F8064B248A2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42B8E43B-9DD8-4130-BCBD-B00EBD52B940}"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58A1A023-9E90-4E1E-9C7F-41B7F90863F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6A2E1837-3CD8-4828-B489-6A41648723F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9C27BC1B-EC95-4813-9F21-C4F7979F915C}"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C5D41B00-990C-4667-8D79-16F6C1970CF6}"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33938DFB-F4A2-429C-9B60-CC5B4026D342}"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7</c:f>
              <c:numCache>
                <c:formatCode>General</c:formatCode>
                <c:ptCount val="6"/>
                <c:pt idx="0">
                  <c:v>0.34</c:v>
                </c:pt>
                <c:pt idx="1">
                  <c:v>0.9</c:v>
                </c:pt>
                <c:pt idx="2">
                  <c:v>0.24</c:v>
                </c:pt>
                <c:pt idx="3">
                  <c:v>0.28000000000000003</c:v>
                </c:pt>
                <c:pt idx="4">
                  <c:v>0.43</c:v>
                </c:pt>
                <c:pt idx="5">
                  <c:v>1</c:v>
                </c:pt>
              </c:numCache>
            </c:numRef>
          </c:xVal>
          <c:yVal>
            <c:numRef>
              <c:f>Sheet1!$B$2:$B$7</c:f>
              <c:numCache>
                <c:formatCode>General</c:formatCode>
                <c:ptCount val="6"/>
                <c:pt idx="0">
                  <c:v>784.41176470588232</c:v>
                </c:pt>
                <c:pt idx="1">
                  <c:v>757.83333333333337</c:v>
                </c:pt>
                <c:pt idx="2">
                  <c:v>369.25</c:v>
                </c:pt>
                <c:pt idx="3">
                  <c:v>502.89285714285711</c:v>
                </c:pt>
                <c:pt idx="4">
                  <c:v>511.97674418604652</c:v>
                </c:pt>
                <c:pt idx="5">
                  <c:v>10463.09</c:v>
                </c:pt>
              </c:numCache>
            </c:numRef>
          </c:yVal>
          <c:bubbleSize>
            <c:numRef>
              <c:f>Sheet1!$C$2:$C$7</c:f>
              <c:numCache>
                <c:formatCode>General</c:formatCode>
                <c:ptCount val="6"/>
                <c:pt idx="0">
                  <c:v>22168.7595</c:v>
                </c:pt>
                <c:pt idx="1">
                  <c:v>58409.179300000011</c:v>
                </c:pt>
                <c:pt idx="2">
                  <c:v>3975.9524999999999</c:v>
                </c:pt>
                <c:pt idx="3">
                  <c:v>7285</c:v>
                </c:pt>
                <c:pt idx="4">
                  <c:v>17814.044999999998</c:v>
                </c:pt>
                <c:pt idx="5">
                  <c:v>838278.9384000001</c:v>
                </c:pt>
              </c:numCache>
            </c:numRef>
          </c:bubbleSize>
          <c:bubble3D val="0"/>
          <c:extLst>
            <c:ext xmlns:c15="http://schemas.microsoft.com/office/drawing/2012/chart" uri="{02D57815-91ED-43cb-92C2-25804820EDAC}">
              <c15:datalabelsRange>
                <c15:f>Sheet1!$E$2:$E$21</c15:f>
                <c15:dlblRangeCache>
                  <c:ptCount val="20"/>
                  <c:pt idx="0">
                    <c:v>MG CHAMPAGNE E.NICOLAS BRUT 1CT X 1500ML</c:v>
                  </c:pt>
                  <c:pt idx="1">
                    <c:v>CHAMPAGNE NICOLAS 1ERE CUVEE 1CT X 750ML</c:v>
                  </c:pt>
                  <c:pt idx="2">
                    <c:v>MG CHAMPAGNE NICOLAS 1ERE CUVE 1CT X 1500ML</c:v>
                  </c:pt>
                  <c:pt idx="3">
                    <c:v>CHAMPAGNE NICOLAS BIO NAT 2017 1CT X 750ML</c:v>
                  </c:pt>
                  <c:pt idx="4">
                    <c:v>1/2 CHAMPAGNE NICOLAS 1ERE CUV 1CT X 375ML</c:v>
                  </c:pt>
                  <c:pt idx="5">
                    <c:v>CHAMPAGNE E.NICOLAS BRUT 1CT X 750ML</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8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0579B2B5-5BAA-4F73-A129-22A3EF13205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0EB852BE-8376-4791-AB12-F84658BB79D7}"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1D2D9914-E871-40DF-ACA0-37C91071D5D0}"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A7EEB4D9-4C5F-49CE-BC14-E5FD65691A5E}"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053D35BE-3253-4676-BF97-422C6695E51A}"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65FDC8C8-55CA-4BDC-B0EF-5292EE08E06F}"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8D248601-21EE-4EE1-B63F-A10565C58789}"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2D1FC9C1-3102-42E4-BA9A-56C913ADF788}"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5CDFA9A2-1C51-4F10-AAE5-3DBD667478DB}"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D1AB7214-4CB7-4F42-8DCB-C9C6A9B6E0F8}"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7</c:f>
              <c:numCache>
                <c:formatCode>General</c:formatCode>
                <c:ptCount val="6"/>
                <c:pt idx="0">
                  <c:v>0.21</c:v>
                </c:pt>
                <c:pt idx="1">
                  <c:v>0.91</c:v>
                </c:pt>
                <c:pt idx="2">
                  <c:v>0.12</c:v>
                </c:pt>
                <c:pt idx="3">
                  <c:v>0.21</c:v>
                </c:pt>
                <c:pt idx="4">
                  <c:v>0.45</c:v>
                </c:pt>
                <c:pt idx="5">
                  <c:v>1</c:v>
                </c:pt>
              </c:numCache>
            </c:numRef>
          </c:xVal>
          <c:yVal>
            <c:numRef>
              <c:f>Sheet1!$B$2:$B$7</c:f>
              <c:numCache>
                <c:formatCode>General</c:formatCode>
                <c:ptCount val="6"/>
                <c:pt idx="0">
                  <c:v>461.28571428571428</c:v>
                </c:pt>
                <c:pt idx="1">
                  <c:v>361.03296703296701</c:v>
                </c:pt>
                <c:pt idx="2">
                  <c:v>409.58333333333331</c:v>
                </c:pt>
                <c:pt idx="3">
                  <c:v>378.90476190476193</c:v>
                </c:pt>
                <c:pt idx="4">
                  <c:v>364.95555555555558</c:v>
                </c:pt>
                <c:pt idx="5">
                  <c:v>6289.38</c:v>
                </c:pt>
              </c:numCache>
            </c:numRef>
          </c:yVal>
          <c:bubbleSize>
            <c:numRef>
              <c:f>Sheet1!$C$2:$C$7</c:f>
              <c:numCache>
                <c:formatCode>General</c:formatCode>
                <c:ptCount val="6"/>
                <c:pt idx="0">
                  <c:v>7881.6701999999996</c:v>
                </c:pt>
                <c:pt idx="1">
                  <c:v>28222.456399999999</c:v>
                </c:pt>
                <c:pt idx="2">
                  <c:v>2016.7874999999999</c:v>
                </c:pt>
                <c:pt idx="3">
                  <c:v>3681.25</c:v>
                </c:pt>
                <c:pt idx="4">
                  <c:v>13245.51</c:v>
                </c:pt>
                <c:pt idx="5">
                  <c:v>503437.10680000001</c:v>
                </c:pt>
              </c:numCache>
            </c:numRef>
          </c:bubbleSize>
          <c:bubble3D val="0"/>
          <c:extLst>
            <c:ext xmlns:c15="http://schemas.microsoft.com/office/drawing/2012/chart" uri="{02D57815-91ED-43cb-92C2-25804820EDAC}">
              <c15:datalabelsRange>
                <c15:f>Sheet1!$E$2:$E$21</c15:f>
                <c15:dlblRangeCache>
                  <c:ptCount val="20"/>
                  <c:pt idx="0">
                    <c:v>MG CHAMPAGNE E.NICOLAS BRUT 1CT X 1500ML</c:v>
                  </c:pt>
                  <c:pt idx="1">
                    <c:v>CHAMPAGNE NICOLAS 1ERE CUVEE 1CT X 750ML</c:v>
                  </c:pt>
                  <c:pt idx="2">
                    <c:v>MG CHAMPAGNE NICOLAS 1ERE CUVE 1CT X 1500ML</c:v>
                  </c:pt>
                  <c:pt idx="3">
                    <c:v>CHAMPAGNE NICOLAS BIO NAT 2017 1CT X 750ML</c:v>
                  </c:pt>
                  <c:pt idx="4">
                    <c:v>1/2 CHAMPAGNE NICOLAS 1ERE CUV 1CT X 375ML</c:v>
                  </c:pt>
                  <c:pt idx="5">
                    <c:v>CHAMPAGNE E.NICOLAS BRUT 1CT X 750ML</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8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0BE5BA79-B05D-4D22-AD9E-58D59410DDE2}"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FBBBD3BA-453D-4144-B772-33B9FABACA5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161940CE-7DD2-427E-83E5-8B57758C8F90}"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FB133C7E-F10A-4286-85FD-492EB25C7998}"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BA7FF2C2-C924-4C3D-9591-E76DDE825F17}"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ECA230DA-25F3-48F3-88BB-F408BDC2F040}"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F1DB870C-20E8-469A-8C97-49CAD69A27DE}"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685ACD22-7994-47B2-AD17-A41FA257E1C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DC5B04FA-D10A-4C90-A15E-1A011CA6840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4C51599C-2A44-4316-AA69-7FF63208C5F6}"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8</c:f>
              <c:numCache>
                <c:formatCode>General</c:formatCode>
                <c:ptCount val="7"/>
                <c:pt idx="0">
                  <c:v>0.17</c:v>
                </c:pt>
                <c:pt idx="1">
                  <c:v>0.77</c:v>
                </c:pt>
                <c:pt idx="2">
                  <c:v>0.06</c:v>
                </c:pt>
                <c:pt idx="3">
                  <c:v>0.18</c:v>
                </c:pt>
                <c:pt idx="4">
                  <c:v>0.36</c:v>
                </c:pt>
                <c:pt idx="5">
                  <c:v>1</c:v>
                </c:pt>
                <c:pt idx="6">
                  <c:v>0.16</c:v>
                </c:pt>
              </c:numCache>
            </c:numRef>
          </c:xVal>
          <c:yVal>
            <c:numRef>
              <c:f>Sheet1!$B$2:$B$8</c:f>
              <c:numCache>
                <c:formatCode>General</c:formatCode>
                <c:ptCount val="7"/>
                <c:pt idx="0">
                  <c:v>1297.4705882352939</c:v>
                </c:pt>
                <c:pt idx="1">
                  <c:v>779.16883116883116</c:v>
                </c:pt>
                <c:pt idx="2">
                  <c:v>1504.166666666667</c:v>
                </c:pt>
                <c:pt idx="3">
                  <c:v>741.27777777777783</c:v>
                </c:pt>
                <c:pt idx="4">
                  <c:v>636.66666666666663</c:v>
                </c:pt>
                <c:pt idx="5">
                  <c:v>9504.58</c:v>
                </c:pt>
                <c:pt idx="6">
                  <c:v>175.6875</c:v>
                </c:pt>
              </c:numCache>
            </c:numRef>
          </c:yVal>
          <c:bubbleSize>
            <c:numRef>
              <c:f>Sheet1!$C$2:$C$8</c:f>
              <c:numCache>
                <c:formatCode>General</c:formatCode>
                <c:ptCount val="7"/>
                <c:pt idx="0">
                  <c:v>18277.5072</c:v>
                </c:pt>
                <c:pt idx="1">
                  <c:v>51340.187000000013</c:v>
                </c:pt>
                <c:pt idx="2">
                  <c:v>3399.7275</c:v>
                </c:pt>
                <c:pt idx="3">
                  <c:v>5192.5</c:v>
                </c:pt>
                <c:pt idx="4">
                  <c:v>18532.477500000001</c:v>
                </c:pt>
                <c:pt idx="5">
                  <c:v>760337.93420000002</c:v>
                </c:pt>
                <c:pt idx="6">
                  <c:v>1522.8077000000001</c:v>
                </c:pt>
              </c:numCache>
            </c:numRef>
          </c:bubbleSize>
          <c:bubble3D val="0"/>
          <c:extLst>
            <c:ext xmlns:c15="http://schemas.microsoft.com/office/drawing/2012/chart" uri="{02D57815-91ED-43cb-92C2-25804820EDAC}">
              <c15:datalabelsRange>
                <c15:f>Sheet1!$E$2:$E$21</c15:f>
                <c15:dlblRangeCache>
                  <c:ptCount val="20"/>
                  <c:pt idx="0">
                    <c:v>MG CHAMPAGNE E.NICOLAS BRUT 1CT X 1500ML</c:v>
                  </c:pt>
                  <c:pt idx="1">
                    <c:v>CHAMPAGNE NICOLAS 1ERE CUVEE 1CT X 750ML</c:v>
                  </c:pt>
                  <c:pt idx="2">
                    <c:v>MG CHAMPAGNE NICOLAS 1ERE CUVE 1CT X 1500ML</c:v>
                  </c:pt>
                  <c:pt idx="3">
                    <c:v>CHAMPAGNE NICOLAS BIO NAT 2017 1CT X 750ML</c:v>
                  </c:pt>
                  <c:pt idx="4">
                    <c:v>1/2 CHAMPAGNE NICOLAS 1ERE CUV 1CT X 375ML</c:v>
                  </c:pt>
                  <c:pt idx="5">
                    <c:v>CHAMPAGNE E.NICOLAS BRUT 1CT X 750ML</c:v>
                  </c:pt>
                  <c:pt idx="6">
                    <c:v>CHAMPAGNE NICOLAS 1ERE CUV ETU 1CT X 750ML</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8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850F6791-6555-4723-99F0-C7E91591EA9A}"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1324FE63-069B-49E9-9D5B-6E9E796ECE42}"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BF15CBE1-271D-4D23-A730-2EA4A977846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E523138C-2373-472E-B614-5AED2A2B07EA}"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CDC1EB23-5EAB-4699-AFEB-668FB8C39007}"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E6405997-436C-48D9-BEDF-E4C2AFACCC0C}"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97041FF5-AECC-4234-BB46-D20B50AFEF3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B2CFAC8B-9C87-4019-8BE3-222AA8BC7E1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8C633EBC-07DF-43F2-9148-9B9C07D9F6E2}"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792F58A1-730A-413C-B978-33A61FE7E1A6}"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8</c:f>
              <c:numCache>
                <c:formatCode>General</c:formatCode>
                <c:ptCount val="7"/>
                <c:pt idx="0">
                  <c:v>0.15</c:v>
                </c:pt>
                <c:pt idx="1">
                  <c:v>0.62</c:v>
                </c:pt>
                <c:pt idx="2">
                  <c:v>0.06</c:v>
                </c:pt>
                <c:pt idx="3">
                  <c:v>0.18</c:v>
                </c:pt>
                <c:pt idx="4">
                  <c:v>0.25</c:v>
                </c:pt>
                <c:pt idx="5">
                  <c:v>0.99</c:v>
                </c:pt>
                <c:pt idx="6">
                  <c:v>0.15</c:v>
                </c:pt>
              </c:numCache>
            </c:numRef>
          </c:xVal>
          <c:yVal>
            <c:numRef>
              <c:f>Sheet1!$B$2:$B$8</c:f>
              <c:numCache>
                <c:formatCode>General</c:formatCode>
                <c:ptCount val="7"/>
                <c:pt idx="0">
                  <c:v>1152.0666666666671</c:v>
                </c:pt>
                <c:pt idx="1">
                  <c:v>714.12903225806451</c:v>
                </c:pt>
                <c:pt idx="2">
                  <c:v>1150.333333333333</c:v>
                </c:pt>
                <c:pt idx="3">
                  <c:v>745.88888888888891</c:v>
                </c:pt>
                <c:pt idx="4">
                  <c:v>760.28</c:v>
                </c:pt>
                <c:pt idx="5">
                  <c:v>7373.9494949494947</c:v>
                </c:pt>
                <c:pt idx="6">
                  <c:v>254.6</c:v>
                </c:pt>
              </c:numCache>
            </c:numRef>
          </c:yVal>
          <c:bubbleSize>
            <c:numRef>
              <c:f>Sheet1!$C$2:$C$8</c:f>
              <c:numCache>
                <c:formatCode>General</c:formatCode>
                <c:ptCount val="7"/>
                <c:pt idx="0">
                  <c:v>14181.673199999999</c:v>
                </c:pt>
                <c:pt idx="1">
                  <c:v>37732.482300000003</c:v>
                </c:pt>
                <c:pt idx="2">
                  <c:v>3399.7275</c:v>
                </c:pt>
                <c:pt idx="3">
                  <c:v>6277.5</c:v>
                </c:pt>
                <c:pt idx="4">
                  <c:v>15325.342500000001</c:v>
                </c:pt>
                <c:pt idx="5">
                  <c:v>581642.16099999996</c:v>
                </c:pt>
                <c:pt idx="6">
                  <c:v>2787.5124000000001</c:v>
                </c:pt>
              </c:numCache>
            </c:numRef>
          </c:bubbleSize>
          <c:bubble3D val="0"/>
          <c:extLst>
            <c:ext xmlns:c15="http://schemas.microsoft.com/office/drawing/2012/chart" uri="{02D57815-91ED-43cb-92C2-25804820EDAC}">
              <c15:datalabelsRange>
                <c15:f>Sheet1!$E$2:$E$21</c15:f>
                <c15:dlblRangeCache>
                  <c:ptCount val="20"/>
                  <c:pt idx="0">
                    <c:v>MG CHAMPAGNE E.NICOLAS BRUT 1CT X 1500ML</c:v>
                  </c:pt>
                  <c:pt idx="1">
                    <c:v>CHAMPAGNE NICOLAS 1ERE CUVEE 1CT X 750ML</c:v>
                  </c:pt>
                  <c:pt idx="2">
                    <c:v>MG CHAMPAGNE NICOLAS 1ERE CUVE 1CT X 1500ML</c:v>
                  </c:pt>
                  <c:pt idx="3">
                    <c:v>CHAMPAGNE NICOLAS BIO NAT 2017 1CT X 750ML</c:v>
                  </c:pt>
                  <c:pt idx="4">
                    <c:v>1/2 CHAMPAGNE NICOLAS 1ERE CUV 1CT X 375ML</c:v>
                  </c:pt>
                  <c:pt idx="5">
                    <c:v>CHAMPAGNE E.NICOLAS BRUT 1CT X 750ML</c:v>
                  </c:pt>
                  <c:pt idx="6">
                    <c:v>CHAMPAGNE NICOLAS 1ERE CUV ETU 1CT X 750ML</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Nicolas</c:v>
                </c:pt>
                <c:pt idx="2">
                  <c:v>Deutz</c:v>
                </c:pt>
                <c:pt idx="3">
                  <c:v>Canard Duchêne</c:v>
                </c:pt>
                <c:pt idx="4">
                  <c:v>Laurent Perrier</c:v>
                </c:pt>
                <c:pt idx="5">
                  <c:v>De Bligny</c:v>
                </c:pt>
                <c:pt idx="6">
                  <c:v>Heidsieck &amp; Co Monopole</c:v>
                </c:pt>
                <c:pt idx="7">
                  <c:v>Ayala</c:v>
                </c:pt>
                <c:pt idx="8">
                  <c:v>Taittinger</c:v>
                </c:pt>
                <c:pt idx="9">
                  <c:v>Others</c:v>
                </c:pt>
              </c:strCache>
            </c:strRef>
          </c:cat>
          <c:val>
            <c:numRef>
              <c:f>Sheet1!$B$2:$B$11</c:f>
              <c:numCache>
                <c:formatCode>General</c:formatCode>
                <c:ptCount val="10"/>
                <c:pt idx="0">
                  <c:v>0.22010282275545925</c:v>
                </c:pt>
                <c:pt idx="1">
                  <c:v>0.12437741750848076</c:v>
                </c:pt>
                <c:pt idx="2">
                  <c:v>8.9603113419393407E-2</c:v>
                </c:pt>
                <c:pt idx="3">
                  <c:v>5.0627151133925227E-2</c:v>
                </c:pt>
                <c:pt idx="4">
                  <c:v>5.0102674717761156E-2</c:v>
                </c:pt>
                <c:pt idx="5">
                  <c:v>4.6661980050240762E-2</c:v>
                </c:pt>
                <c:pt idx="6">
                  <c:v>4.5913829868359651E-2</c:v>
                </c:pt>
                <c:pt idx="7">
                  <c:v>4.0223459795262623E-2</c:v>
                </c:pt>
                <c:pt idx="8">
                  <c:v>3.7257854177393697E-2</c:v>
                </c:pt>
                <c:pt idx="9">
                  <c:v>0.29512969657372345</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Nicolas</c:v>
                </c:pt>
                <c:pt idx="2">
                  <c:v>Deutz</c:v>
                </c:pt>
                <c:pt idx="3">
                  <c:v>Canard Duchêne</c:v>
                </c:pt>
                <c:pt idx="4">
                  <c:v>Laurent Perrier</c:v>
                </c:pt>
                <c:pt idx="5">
                  <c:v>De Bligny</c:v>
                </c:pt>
                <c:pt idx="6">
                  <c:v>Heidsieck &amp; Co Monopole</c:v>
                </c:pt>
                <c:pt idx="7">
                  <c:v>Ayala</c:v>
                </c:pt>
                <c:pt idx="8">
                  <c:v>Taittinger</c:v>
                </c:pt>
                <c:pt idx="9">
                  <c:v>Others</c:v>
                </c:pt>
              </c:strCache>
            </c:strRef>
          </c:cat>
          <c:val>
            <c:numRef>
              <c:f>Sheet1!$C$2:$C$11</c:f>
              <c:numCache>
                <c:formatCode>General</c:formatCode>
                <c:ptCount val="10"/>
                <c:pt idx="0">
                  <c:v>8.4411764705882325E-2</c:v>
                </c:pt>
                <c:pt idx="1">
                  <c:v>7.6470588235294096E-2</c:v>
                </c:pt>
                <c:pt idx="2">
                  <c:v>6.911764705882352E-2</c:v>
                </c:pt>
                <c:pt idx="3">
                  <c:v>7.5294117647058803E-2</c:v>
                </c:pt>
                <c:pt idx="4">
                  <c:v>5.1176470588235282E-2</c:v>
                </c:pt>
                <c:pt idx="5">
                  <c:v>2.705882352941176E-2</c:v>
                </c:pt>
                <c:pt idx="6">
                  <c:v>2.6176470588235291E-2</c:v>
                </c:pt>
                <c:pt idx="7">
                  <c:v>2.6470588235294114E-2</c:v>
                </c:pt>
                <c:pt idx="8">
                  <c:v>4.0588235294117633E-2</c:v>
                </c:pt>
                <c:pt idx="9">
                  <c:v>0.52323529411764691</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Nicolas</c:v>
                </c:pt>
                <c:pt idx="2">
                  <c:v>Deutz</c:v>
                </c:pt>
                <c:pt idx="3">
                  <c:v>Canard Duchêne</c:v>
                </c:pt>
                <c:pt idx="4">
                  <c:v>Laurent Perrier</c:v>
                </c:pt>
                <c:pt idx="5">
                  <c:v>De Bligny</c:v>
                </c:pt>
                <c:pt idx="6">
                  <c:v>Heidsieck &amp; Co Monopole</c:v>
                </c:pt>
                <c:pt idx="7">
                  <c:v>Ayala</c:v>
                </c:pt>
                <c:pt idx="8">
                  <c:v>Taittinger</c:v>
                </c:pt>
                <c:pt idx="9">
                  <c:v>Others</c:v>
                </c:pt>
              </c:strCache>
            </c:strRef>
          </c:cat>
          <c:val>
            <c:numRef>
              <c:f>Sheet1!$D$2:$D$11</c:f>
              <c:numCache>
                <c:formatCode>General</c:formatCode>
                <c:ptCount val="10"/>
                <c:pt idx="0">
                  <c:v>38.351059586212713</c:v>
                </c:pt>
                <c:pt idx="1">
                  <c:v>61.482694983661233</c:v>
                </c:pt>
                <c:pt idx="2">
                  <c:v>77.13755071803557</c:v>
                </c:pt>
                <c:pt idx="3">
                  <c:v>148.7228018181024</c:v>
                </c:pt>
                <c:pt idx="4">
                  <c:v>102.14319071092122</c:v>
                </c:pt>
                <c:pt idx="5">
                  <c:v>57.989016969013399</c:v>
                </c:pt>
                <c:pt idx="6">
                  <c:v>57.012169673682877</c:v>
                </c:pt>
                <c:pt idx="7">
                  <c:v>65.808829896854675</c:v>
                </c:pt>
                <c:pt idx="8">
                  <c:v>108.93873571158225</c:v>
                </c:pt>
                <c:pt idx="9">
                  <c:v>177.28995089009712</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A5FC9B0B-1970-4EC1-89D8-57FDD8C44CA7}"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7C9AB998-77FF-4429-8E5A-7481717622B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83CE39D4-B43F-497C-B60C-C7253E53970A}"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CA01F99F-74C7-4BC7-98BF-FD0E9CDCF4B7}"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2627CD96-E878-49BE-96CF-4B5A248F26EB}"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D6810415-58F1-48AC-ACDE-E62CE69721CB}"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6EA35126-9ED6-49B3-B83B-BA1B58DB306F}"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9A65CD9B-9F2F-41D9-B0E0-D418CA6F41B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C06502DB-18B0-477B-97A0-6670225A98E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784B77CF-83D7-40BA-8EBA-5B9B094DE706}"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8</c:f>
              <c:numCache>
                <c:formatCode>General</c:formatCode>
                <c:ptCount val="7"/>
                <c:pt idx="0">
                  <c:v>0.15</c:v>
                </c:pt>
                <c:pt idx="1">
                  <c:v>0.55000000000000004</c:v>
                </c:pt>
                <c:pt idx="2">
                  <c:v>0.06</c:v>
                </c:pt>
                <c:pt idx="3">
                  <c:v>0.1</c:v>
                </c:pt>
                <c:pt idx="4">
                  <c:v>0.22</c:v>
                </c:pt>
                <c:pt idx="5">
                  <c:v>0.97</c:v>
                </c:pt>
                <c:pt idx="6">
                  <c:v>0.13</c:v>
                </c:pt>
              </c:numCache>
            </c:numRef>
          </c:xVal>
          <c:yVal>
            <c:numRef>
              <c:f>Sheet1!$B$2:$B$8</c:f>
              <c:numCache>
                <c:formatCode>General</c:formatCode>
                <c:ptCount val="7"/>
                <c:pt idx="0">
                  <c:v>1184</c:v>
                </c:pt>
                <c:pt idx="1">
                  <c:v>658.12727272727261</c:v>
                </c:pt>
                <c:pt idx="2">
                  <c:v>1187.833333333333</c:v>
                </c:pt>
                <c:pt idx="3">
                  <c:v>1202.5999999999999</c:v>
                </c:pt>
                <c:pt idx="4">
                  <c:v>800.18181818181813</c:v>
                </c:pt>
                <c:pt idx="5">
                  <c:v>7707.4123711340208</c:v>
                </c:pt>
                <c:pt idx="6">
                  <c:v>383.23076923076923</c:v>
                </c:pt>
              </c:numCache>
            </c:numRef>
          </c:yVal>
          <c:bubbleSize>
            <c:numRef>
              <c:f>Sheet1!$C$2:$C$8</c:f>
              <c:numCache>
                <c:formatCode>General</c:formatCode>
                <c:ptCount val="7"/>
                <c:pt idx="0">
                  <c:v>14623.3392</c:v>
                </c:pt>
                <c:pt idx="1">
                  <c:v>30828.814399999999</c:v>
                </c:pt>
                <c:pt idx="2">
                  <c:v>3803.085</c:v>
                </c:pt>
                <c:pt idx="3">
                  <c:v>4960</c:v>
                </c:pt>
                <c:pt idx="4">
                  <c:v>14161.9575</c:v>
                </c:pt>
                <c:pt idx="5">
                  <c:v>596350.77399999998</c:v>
                </c:pt>
                <c:pt idx="6">
                  <c:v>3097.2359999999999</c:v>
                </c:pt>
              </c:numCache>
            </c:numRef>
          </c:bubbleSize>
          <c:bubble3D val="0"/>
          <c:extLst>
            <c:ext xmlns:c15="http://schemas.microsoft.com/office/drawing/2012/chart" uri="{02D57815-91ED-43cb-92C2-25804820EDAC}">
              <c15:datalabelsRange>
                <c15:f>Sheet1!$E$2:$E$21</c15:f>
                <c15:dlblRangeCache>
                  <c:ptCount val="20"/>
                  <c:pt idx="0">
                    <c:v>MG CHAMPAGNE E.NICOLAS BRUT 1CT X 1500ML</c:v>
                  </c:pt>
                  <c:pt idx="1">
                    <c:v>CHAMPAGNE NICOLAS 1ERE CUVEE 1CT X 750ML</c:v>
                  </c:pt>
                  <c:pt idx="2">
                    <c:v>MG CHAMPAGNE NICOLAS 1ERE CUVE 1CT X 1500ML</c:v>
                  </c:pt>
                  <c:pt idx="3">
                    <c:v>CHAMPAGNE NICOLAS BIO NAT 2017 1CT X 750ML</c:v>
                  </c:pt>
                  <c:pt idx="4">
                    <c:v>1/2 CHAMPAGNE NICOLAS 1ERE CUV 1CT X 375ML</c:v>
                  </c:pt>
                  <c:pt idx="5">
                    <c:v>CHAMPAGNE E.NICOLAS BRUT 1CT X 750ML</c:v>
                  </c:pt>
                  <c:pt idx="6">
                    <c:v>CHAMPAGNE NICOLAS 1ERE CUV ETU 1CT X 750ML</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8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F730290D-D7A1-47F1-8D3D-D712B3993730}"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EB24B1AD-963A-441E-A9B4-9F3189275842}"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95F4C502-546B-42C3-82B7-DF0A06633939}"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C00E13E9-AA84-485B-AD86-6AC855EA941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547BCABB-2223-4044-9B92-14394DA20645}"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5A8AA03A-9482-4862-8E5D-BDE754E6CD09}"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5E61F512-70F0-4BD3-B681-7C1423192122}"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1F481AC3-6722-4DAD-AF38-CAA4C2689E38}"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A2D56EA6-DD97-42C4-B576-D7FEFA6AF98F}"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2ECCAF2E-E201-489F-880B-68E21684595F}"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4</c:f>
              <c:numCache>
                <c:formatCode>General</c:formatCode>
                <c:ptCount val="3"/>
                <c:pt idx="0">
                  <c:v>5.7000000000000002E-2</c:v>
                </c:pt>
                <c:pt idx="1">
                  <c:v>0.34699999999999998</c:v>
                </c:pt>
                <c:pt idx="2">
                  <c:v>0.189</c:v>
                </c:pt>
              </c:numCache>
            </c:numRef>
          </c:xVal>
          <c:yVal>
            <c:numRef>
              <c:f>Sheet1!$B$2:$B$4</c:f>
              <c:numCache>
                <c:formatCode>General</c:formatCode>
                <c:ptCount val="3"/>
                <c:pt idx="0">
                  <c:v>1330.526315789474</c:v>
                </c:pt>
                <c:pt idx="1">
                  <c:v>1162.651296829971</c:v>
                </c:pt>
                <c:pt idx="2">
                  <c:v>1170.6878306878309</c:v>
                </c:pt>
              </c:numCache>
            </c:numRef>
          </c:yVal>
          <c:bubbleSize>
            <c:numRef>
              <c:f>Sheet1!$C$2:$C$4</c:f>
              <c:numCache>
                <c:formatCode>General</c:formatCode>
                <c:ptCount val="3"/>
                <c:pt idx="0">
                  <c:v>4321.6875</c:v>
                </c:pt>
                <c:pt idx="1">
                  <c:v>32614.510799999989</c:v>
                </c:pt>
                <c:pt idx="2">
                  <c:v>16674.775099999999</c:v>
                </c:pt>
              </c:numCache>
            </c:numRef>
          </c:bubbleSize>
          <c:bubble3D val="0"/>
          <c:extLst>
            <c:ext xmlns:c15="http://schemas.microsoft.com/office/drawing/2012/chart" uri="{02D57815-91ED-43cb-92C2-25804820EDAC}">
              <c15:datalabelsRange>
                <c15:f>Sheet1!$E$2:$E$21</c15:f>
                <c15:dlblRangeCache>
                  <c:ptCount val="20"/>
                  <c:pt idx="0">
                    <c:v>MG CHAMPAGNE NICOLAS 1E CRU BS 1CT X 1500ML</c:v>
                  </c:pt>
                  <c:pt idx="1">
                    <c:v>CHAMPAGNE NICOLAS 1ER CRU BS 1CT X 750ML</c:v>
                  </c:pt>
                  <c:pt idx="2">
                    <c:v>CHAMPAGNE NICOLAS 1ER CRU ETUI 1CT X 750ML</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8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EA171EFB-DA95-4B41-9C16-76DBDFBFB900}"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44321FC5-EB40-4AF6-9519-6C676BDCC2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E17CF461-3198-40BC-A10F-2A448052E12F}"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098029D5-2546-47CC-9F49-5D5358A7EBF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A0183815-DEC9-46C9-8714-2C038E2453A8}"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DE894D17-AAE4-4488-BA2C-A436DB35154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C6A234CF-5B44-45DC-94E4-ECD9B5710FD2}"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D12AF7E9-4E4D-4697-B62C-88CCDEB17EDC}"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2D9D9543-4BA5-49C7-8E54-EB662C815C79}"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0663BA32-F61E-4489-9A87-E9C1CEC5569B}"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4</c:f>
              <c:numCache>
                <c:formatCode>General</c:formatCode>
                <c:ptCount val="3"/>
                <c:pt idx="0">
                  <c:v>0.04</c:v>
                </c:pt>
                <c:pt idx="1">
                  <c:v>0.32</c:v>
                </c:pt>
                <c:pt idx="2">
                  <c:v>0.18</c:v>
                </c:pt>
              </c:numCache>
            </c:numRef>
          </c:xVal>
          <c:yVal>
            <c:numRef>
              <c:f>Sheet1!$B$2:$B$4</c:f>
              <c:numCache>
                <c:formatCode>General</c:formatCode>
                <c:ptCount val="3"/>
                <c:pt idx="0">
                  <c:v>1024.5</c:v>
                </c:pt>
                <c:pt idx="1">
                  <c:v>495.65625</c:v>
                </c:pt>
                <c:pt idx="2">
                  <c:v>496.88888888888891</c:v>
                </c:pt>
              </c:numCache>
            </c:numRef>
          </c:yVal>
          <c:bubbleSize>
            <c:numRef>
              <c:f>Sheet1!$C$2:$C$4</c:f>
              <c:numCache>
                <c:formatCode>General</c:formatCode>
                <c:ptCount val="3"/>
                <c:pt idx="0">
                  <c:v>2477.7674999999999</c:v>
                </c:pt>
                <c:pt idx="1">
                  <c:v>13135.884899999999</c:v>
                </c:pt>
                <c:pt idx="2">
                  <c:v>6954.8029000000006</c:v>
                </c:pt>
              </c:numCache>
            </c:numRef>
          </c:bubbleSize>
          <c:bubble3D val="0"/>
          <c:extLst>
            <c:ext xmlns:c15="http://schemas.microsoft.com/office/drawing/2012/chart" uri="{02D57815-91ED-43cb-92C2-25804820EDAC}">
              <c15:datalabelsRange>
                <c15:f>Sheet1!$E$2:$E$21</c15:f>
                <c15:dlblRangeCache>
                  <c:ptCount val="20"/>
                  <c:pt idx="0">
                    <c:v>MG CHAMPAGNE NICOLAS 1E CRU BS 1CT X 1500ML</c:v>
                  </c:pt>
                  <c:pt idx="1">
                    <c:v>CHAMPAGNE NICOLAS 1ER CRU BS 1CT X 750ML</c:v>
                  </c:pt>
                  <c:pt idx="2">
                    <c:v>CHAMPAGNE NICOLAS 1ER CRU ETUI 1CT X 750ML</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8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E3D25F79-2F42-4708-961D-F086725B245C}"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51876D8D-B686-4C11-B7EE-EC613350191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90A796F4-9E53-411B-942E-77CCC8C3633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E04EEC91-00F3-4B63-99EB-5FECE6847F0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3D79B2CA-ECA0-4178-A79B-C79612DF71F2}"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F6F70D22-697D-4AC6-AF1E-BB38359A1AF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2AB047A1-616E-4454-B411-498AAEA747CA}"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CE519C3B-F7E2-4F4F-BB4F-841AC22C2988}"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3A5A4484-8FCF-419B-974A-E00780C9DDC2}"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1A7C69C9-B77D-4606-ABC3-D27C4F9CE20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4</c:f>
              <c:numCache>
                <c:formatCode>General</c:formatCode>
                <c:ptCount val="3"/>
                <c:pt idx="0">
                  <c:v>0.09</c:v>
                </c:pt>
                <c:pt idx="1">
                  <c:v>0.46</c:v>
                </c:pt>
                <c:pt idx="2">
                  <c:v>0.11</c:v>
                </c:pt>
              </c:numCache>
            </c:numRef>
          </c:xVal>
          <c:yVal>
            <c:numRef>
              <c:f>Sheet1!$B$2:$B$4</c:f>
              <c:numCache>
                <c:formatCode>General</c:formatCode>
                <c:ptCount val="3"/>
                <c:pt idx="0">
                  <c:v>210.33333333333329</c:v>
                </c:pt>
                <c:pt idx="1">
                  <c:v>264.47826086956519</c:v>
                </c:pt>
                <c:pt idx="2">
                  <c:v>339.18181818181819</c:v>
                </c:pt>
              </c:numCache>
            </c:numRef>
          </c:yVal>
          <c:bubbleSize>
            <c:numRef>
              <c:f>Sheet1!$C$2:$C$4</c:f>
              <c:numCache>
                <c:formatCode>General</c:formatCode>
                <c:ptCount val="3"/>
                <c:pt idx="0">
                  <c:v>1152.45</c:v>
                </c:pt>
                <c:pt idx="1">
                  <c:v>10311.304099999999</c:v>
                </c:pt>
                <c:pt idx="2">
                  <c:v>2800.0599000000002</c:v>
                </c:pt>
              </c:numCache>
            </c:numRef>
          </c:bubbleSize>
          <c:bubble3D val="0"/>
          <c:extLst>
            <c:ext xmlns:c15="http://schemas.microsoft.com/office/drawing/2012/chart" uri="{02D57815-91ED-43cb-92C2-25804820EDAC}">
              <c15:datalabelsRange>
                <c15:f>Sheet1!$E$2:$E$21</c15:f>
                <c15:dlblRangeCache>
                  <c:ptCount val="20"/>
                  <c:pt idx="0">
                    <c:v>MG CHAMPAGNE NICOLAS 1E CRU BS 1CT X 1500ML</c:v>
                  </c:pt>
                  <c:pt idx="1">
                    <c:v>CHAMPAGNE NICOLAS 1ER CRU BS 1CT X 750ML</c:v>
                  </c:pt>
                  <c:pt idx="2">
                    <c:v>CHAMPAGNE NICOLAS 1ER CRU ETUI 1CT X 750ML</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8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F02FE686-ADE9-4811-8D80-9B3452FE8B0C}"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F77CD71A-8C14-4B07-9E4F-49F3EA604A8D}"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4B84A9E3-061B-41D2-903C-2219B602F10D}"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872088C5-2A84-4B0B-9232-72D546282F40}"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5D589803-5897-478E-8ABF-9D8F85680D71}"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90489C22-DE8D-464B-A9DD-FAB78D30153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E4277348-D880-4A93-8953-C6FE7802E907}"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75F7B49A-EBD7-4E91-B827-39D260B06C10}"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80B2F499-07DE-481D-BCB0-C25DBD5C02FD}"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238096E2-6C94-44CD-A073-AEFB5EC70A6E}"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3</c:f>
              <c:numCache>
                <c:formatCode>General</c:formatCode>
                <c:ptCount val="2"/>
                <c:pt idx="0">
                  <c:v>0.39</c:v>
                </c:pt>
                <c:pt idx="1">
                  <c:v>0.16</c:v>
                </c:pt>
              </c:numCache>
            </c:numRef>
          </c:xVal>
          <c:yVal>
            <c:numRef>
              <c:f>Sheet1!$B$2:$B$3</c:f>
              <c:numCache>
                <c:formatCode>General</c:formatCode>
                <c:ptCount val="2"/>
                <c:pt idx="0">
                  <c:v>102.3333333333333</c:v>
                </c:pt>
                <c:pt idx="1">
                  <c:v>182.625</c:v>
                </c:pt>
              </c:numCache>
            </c:numRef>
          </c:yVal>
          <c:bubbleSize>
            <c:numRef>
              <c:f>Sheet1!$C$2:$C$3</c:f>
              <c:numCache>
                <c:formatCode>General</c:formatCode>
                <c:ptCount val="2"/>
                <c:pt idx="0">
                  <c:v>2999.828</c:v>
                </c:pt>
                <c:pt idx="1">
                  <c:v>2153.1293999999998</c:v>
                </c:pt>
              </c:numCache>
            </c:numRef>
          </c:bubbleSize>
          <c:bubble3D val="0"/>
          <c:extLst>
            <c:ext xmlns:c15="http://schemas.microsoft.com/office/drawing/2012/chart" uri="{02D57815-91ED-43cb-92C2-25804820EDAC}">
              <c15:datalabelsRange>
                <c15:f>Sheet1!$E$2:$E$21</c15:f>
                <c15:dlblRangeCache>
                  <c:ptCount val="20"/>
                  <c:pt idx="0">
                    <c:v>CHAMPAGNE NICOLAS 1ER CRU BS 1CT X 750ML</c:v>
                  </c:pt>
                  <c:pt idx="1">
                    <c:v>CHAMPAGNE NICOLAS 1ER CRU ETUI 1CT X 750ML</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8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277BCCB0-43E1-4449-9949-9C93716D2F3E}"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52D39C36-0163-476E-BC1E-B20B6A8F275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25FF7D37-02B1-4CCE-8770-86FD29ED2E0B}"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1C3781B8-FDF7-4F94-9CAB-AF5022273ECC}"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CDE57C68-2D9C-4228-84AD-2BE25CC74820}"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11D2F160-FE99-4F6B-BABC-330888B42B12}"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A0CA74CE-A36F-4B5D-9F26-A9FE6B4C0E3F}"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1E76CCF8-A295-48F8-8F69-50916FF0E672}"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0786EA00-E1E7-42C4-BE8F-2AF9C17BEC88}"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74179882-3B32-4BD4-ADD6-31EE86E01A30}"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3</c:f>
              <c:numCache>
                <c:formatCode>General</c:formatCode>
                <c:ptCount val="2"/>
                <c:pt idx="0">
                  <c:v>0.2</c:v>
                </c:pt>
                <c:pt idx="1">
                  <c:v>0.4</c:v>
                </c:pt>
              </c:numCache>
            </c:numRef>
          </c:xVal>
          <c:yVal>
            <c:numRef>
              <c:f>Sheet1!$B$2:$B$3</c:f>
              <c:numCache>
                <c:formatCode>General</c:formatCode>
                <c:ptCount val="2"/>
                <c:pt idx="0">
                  <c:v>95.55</c:v>
                </c:pt>
                <c:pt idx="1">
                  <c:v>61.825000000000003</c:v>
                </c:pt>
              </c:numCache>
            </c:numRef>
          </c:yVal>
          <c:bubbleSize>
            <c:numRef>
              <c:f>Sheet1!$C$2:$C$3</c:f>
              <c:numCache>
                <c:formatCode>General</c:formatCode>
                <c:ptCount val="2"/>
                <c:pt idx="0">
                  <c:v>1478.8743999999999</c:v>
                </c:pt>
                <c:pt idx="1">
                  <c:v>1875.0716</c:v>
                </c:pt>
              </c:numCache>
            </c:numRef>
          </c:bubbleSize>
          <c:bubble3D val="0"/>
          <c:extLst>
            <c:ext xmlns:c15="http://schemas.microsoft.com/office/drawing/2012/chart" uri="{02D57815-91ED-43cb-92C2-25804820EDAC}">
              <c15:datalabelsRange>
                <c15:f>Sheet1!$E$2:$E$21</c15:f>
                <c15:dlblRangeCache>
                  <c:ptCount val="20"/>
                  <c:pt idx="0">
                    <c:v>CHAMPAGNE NICOLAS 1ER CRU BS 1CT X 750ML</c:v>
                  </c:pt>
                  <c:pt idx="1">
                    <c:v>CHAMPAGNE NICOLAS 1ER CRU ETUI 1CT X 750ML</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8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219D01ED-53E8-469B-8EDA-42A70D77617E}"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718A64AA-2791-43CC-BCC8-A0186BBD695C}"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CD17A55E-0A4B-4BC9-A5DF-D88986AD95FF}"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77EB5F12-4B2A-436D-A8D9-05339A6FEF2D}"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117544D6-1DBC-4C45-9FF1-36EAF42ACDBB}"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529DE818-9CE5-4AF0-BE56-523C15AF1F26}"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871E504C-D335-4D1C-8CEB-81161BC80EF2}"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57056617-5B53-4EF0-81ED-04176C4E4C4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15298128-0226-4CD4-AF94-A6C2D3EAD27D}"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8CDECFF4-4486-49DC-9DA7-98F911D51C88}"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4</c:f>
              <c:numCache>
                <c:formatCode>General</c:formatCode>
                <c:ptCount val="3"/>
                <c:pt idx="0">
                  <c:v>0.04</c:v>
                </c:pt>
                <c:pt idx="1">
                  <c:v>0.32</c:v>
                </c:pt>
                <c:pt idx="2">
                  <c:v>0.18</c:v>
                </c:pt>
              </c:numCache>
            </c:numRef>
          </c:xVal>
          <c:yVal>
            <c:numRef>
              <c:f>Sheet1!$B$2:$B$4</c:f>
              <c:numCache>
                <c:formatCode>General</c:formatCode>
                <c:ptCount val="3"/>
                <c:pt idx="0">
                  <c:v>1233.5</c:v>
                </c:pt>
                <c:pt idx="1">
                  <c:v>770.59375</c:v>
                </c:pt>
                <c:pt idx="2">
                  <c:v>891.5</c:v>
                </c:pt>
              </c:numCache>
            </c:numRef>
          </c:yVal>
          <c:bubbleSize>
            <c:numRef>
              <c:f>Sheet1!$C$2:$C$4</c:f>
              <c:numCache>
                <c:formatCode>General</c:formatCode>
                <c:ptCount val="3"/>
                <c:pt idx="0">
                  <c:v>2881.125</c:v>
                </c:pt>
                <c:pt idx="1">
                  <c:v>20279.3665</c:v>
                </c:pt>
                <c:pt idx="2">
                  <c:v>12648.247100000001</c:v>
                </c:pt>
              </c:numCache>
            </c:numRef>
          </c:bubbleSize>
          <c:bubble3D val="0"/>
          <c:extLst>
            <c:ext xmlns:c15="http://schemas.microsoft.com/office/drawing/2012/chart" uri="{02D57815-91ED-43cb-92C2-25804820EDAC}">
              <c15:datalabelsRange>
                <c15:f>Sheet1!$E$2:$E$21</c15:f>
                <c15:dlblRangeCache>
                  <c:ptCount val="20"/>
                  <c:pt idx="0">
                    <c:v>MG CHAMPAGNE NICOLAS 1E CRU BS 1CT X 1500ML</c:v>
                  </c:pt>
                  <c:pt idx="1">
                    <c:v>CHAMPAGNE NICOLAS 1ER CRU BS 1CT X 750ML</c:v>
                  </c:pt>
                  <c:pt idx="2">
                    <c:v>CHAMPAGNE NICOLAS 1ER CRU ETUI 1CT X 750ML</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8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6F1D141B-BE83-462E-8B0B-1B85FE689CA7}"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4722F845-28A0-4DBB-8B7A-6A7C321374C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7DFF6EC8-9968-4561-81AE-E726EA9D3298}"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372321CD-A941-4A7A-B5E0-51A98C3C427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522A9C17-F9FD-4CF9-BFAA-D8A1B79173E6}"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8CB04F8C-06C8-4432-9618-9499F185898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C3A231E7-3D7A-438B-837B-29843E995BA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25DA741C-2A9F-46A6-AB75-0A1D70BB4B37}"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2F997162-4CF4-431A-A2AB-CB6A7A7B3262}"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3119A766-CB5D-4F8E-B2B5-830B5BD6CF0B}"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3</c:f>
              <c:numCache>
                <c:formatCode>General</c:formatCode>
                <c:ptCount val="2"/>
                <c:pt idx="0">
                  <c:v>0.25</c:v>
                </c:pt>
                <c:pt idx="1">
                  <c:v>0.16</c:v>
                </c:pt>
              </c:numCache>
            </c:numRef>
          </c:xVal>
          <c:yVal>
            <c:numRef>
              <c:f>Sheet1!$B$2:$B$3</c:f>
              <c:numCache>
                <c:formatCode>General</c:formatCode>
                <c:ptCount val="2"/>
                <c:pt idx="0">
                  <c:v>174.64</c:v>
                </c:pt>
                <c:pt idx="1">
                  <c:v>138.5625</c:v>
                </c:pt>
              </c:numCache>
            </c:numRef>
          </c:yVal>
          <c:bubbleSize>
            <c:numRef>
              <c:f>Sheet1!$C$2:$C$3</c:f>
              <c:numCache>
                <c:formatCode>General</c:formatCode>
                <c:ptCount val="2"/>
                <c:pt idx="0">
                  <c:v>3490.2640999999999</c:v>
                </c:pt>
                <c:pt idx="1">
                  <c:v>1556.1465000000001</c:v>
                </c:pt>
              </c:numCache>
            </c:numRef>
          </c:bubbleSize>
          <c:bubble3D val="0"/>
          <c:extLst>
            <c:ext xmlns:c15="http://schemas.microsoft.com/office/drawing/2012/chart" uri="{02D57815-91ED-43cb-92C2-25804820EDAC}">
              <c15:datalabelsRange>
                <c15:f>Sheet1!$E$2:$E$21</c15:f>
                <c15:dlblRangeCache>
                  <c:ptCount val="20"/>
                  <c:pt idx="0">
                    <c:v>CHAMPAGNE NICOLAS 1ER CRU BS 1CT X 750ML</c:v>
                  </c:pt>
                  <c:pt idx="1">
                    <c:v>CHAMPAGNE NICOLAS 1ER CRU ETUI 1CT X 750ML</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8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B509506A-74A0-488A-8E99-C916873D8A5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BF17E88C-5AAF-4FFB-AF27-3DAB3CF1245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1ED4F148-794D-43A6-A72B-710A1DF032FC}"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19D2A3E7-63B6-4F1D-A134-67F8A2F9A70B}"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39BE80F1-A5ED-432C-B62D-8C30B371457C}"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B68BA603-A561-4166-BD94-36F5E640659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1649EB93-1643-4882-B44C-A2D74D38D210}"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BD36E078-3F03-425C-A33C-2B2D60EBAE72}"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18CA15EC-C025-4663-8568-F179F71F9A1F}"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CA87A33B-93A9-4A6C-B5DD-E6A1A6E46C02}"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2</c:f>
              <c:numCache>
                <c:formatCode>General</c:formatCode>
                <c:ptCount val="1"/>
                <c:pt idx="0">
                  <c:v>0.33</c:v>
                </c:pt>
              </c:numCache>
            </c:numRef>
          </c:xVal>
          <c:yVal>
            <c:numRef>
              <c:f>Sheet1!$B$2:$B$2</c:f>
              <c:numCache>
                <c:formatCode>General</c:formatCode>
                <c:ptCount val="1"/>
                <c:pt idx="0">
                  <c:v>82.030303030303031</c:v>
                </c:pt>
              </c:numCache>
            </c:numRef>
          </c:yVal>
          <c:bubbleSize>
            <c:numRef>
              <c:f>Sheet1!$C$2:$C$2</c:f>
              <c:numCache>
                <c:formatCode>General</c:formatCode>
                <c:ptCount val="1"/>
                <c:pt idx="0">
                  <c:v>1986.3320000000001</c:v>
                </c:pt>
              </c:numCache>
            </c:numRef>
          </c:bubbleSize>
          <c:bubble3D val="0"/>
          <c:extLst>
            <c:ext xmlns:c15="http://schemas.microsoft.com/office/drawing/2012/chart" uri="{02D57815-91ED-43cb-92C2-25804820EDAC}">
              <c15:datalabelsRange>
                <c15:f>Sheet1!$E$2:$E$21</c15:f>
                <c15:dlblRangeCache>
                  <c:ptCount val="20"/>
                  <c:pt idx="0">
                    <c:v>CHAMPAGNE NICOLAS 1ER CRU BS 1CT X 750ML</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8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BE5F80BB-5EC1-43F6-B8AE-D4B7FF6448FD}"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D3234E7F-F3F5-426E-84CE-8696D4027C8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BB1C09E3-D139-4F8D-855F-245FDF18670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506EFDBD-FD0D-46EE-807B-4AF3AC59E948}"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ACE236FC-C70A-4785-8209-0EBC85DFA1A9}"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4DD49CF8-C047-430A-A12E-4ED4023B2830}"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580F1C52-DC77-42F1-9B3F-852A7B26F1F8}"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A215C792-E201-4666-BFC5-390BE9E8EA8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6EF3D1DB-979A-45DD-A28E-0E2B7313917C}"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A4AED70C-3D98-4F87-9D66-6F5FDACBF78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2</c:f>
              <c:numCache>
                <c:formatCode>General</c:formatCode>
                <c:ptCount val="1"/>
                <c:pt idx="0">
                  <c:v>0.38</c:v>
                </c:pt>
              </c:numCache>
            </c:numRef>
          </c:xVal>
          <c:yVal>
            <c:numRef>
              <c:f>Sheet1!$B$2:$B$2</c:f>
              <c:numCache>
                <c:formatCode>General</c:formatCode>
                <c:ptCount val="1"/>
                <c:pt idx="0">
                  <c:v>45.39473684210526</c:v>
                </c:pt>
              </c:numCache>
            </c:numRef>
          </c:yVal>
          <c:bubbleSize>
            <c:numRef>
              <c:f>Sheet1!$C$2:$C$2</c:f>
              <c:numCache>
                <c:formatCode>General</c:formatCode>
                <c:ptCount val="1"/>
                <c:pt idx="0">
                  <c:v>1345.7064</c:v>
                </c:pt>
              </c:numCache>
            </c:numRef>
          </c:bubbleSize>
          <c:bubble3D val="0"/>
          <c:extLst>
            <c:ext xmlns:c15="http://schemas.microsoft.com/office/drawing/2012/chart" uri="{02D57815-91ED-43cb-92C2-25804820EDAC}">
              <c15:datalabelsRange>
                <c15:f>Sheet1!$E$2:$E$21</c15:f>
                <c15:dlblRangeCache>
                  <c:ptCount val="20"/>
                  <c:pt idx="0">
                    <c:v>CHAMPAGNE NICOLAS 1ER CRU BS 1CT X 750ML</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Nicolas</c:v>
                </c:pt>
                <c:pt idx="2">
                  <c:v>Deutz</c:v>
                </c:pt>
                <c:pt idx="3">
                  <c:v>Laurent Perrier</c:v>
                </c:pt>
                <c:pt idx="4">
                  <c:v>Taittinger</c:v>
                </c:pt>
                <c:pt idx="5">
                  <c:v>Bollinger</c:v>
                </c:pt>
                <c:pt idx="6">
                  <c:v>Ayala</c:v>
                </c:pt>
                <c:pt idx="7">
                  <c:v>Heidsieck &amp; Co Monopole</c:v>
                </c:pt>
                <c:pt idx="8">
                  <c:v>Veuve Clicquot</c:v>
                </c:pt>
                <c:pt idx="9">
                  <c:v>Others</c:v>
                </c:pt>
              </c:strCache>
            </c:strRef>
          </c:cat>
          <c:val>
            <c:numRef>
              <c:f>Sheet1!$B$2:$B$11</c:f>
              <c:numCache>
                <c:formatCode>General</c:formatCode>
                <c:ptCount val="10"/>
                <c:pt idx="0">
                  <c:v>0.20253335751940771</c:v>
                </c:pt>
                <c:pt idx="1">
                  <c:v>0.10243832551031547</c:v>
                </c:pt>
                <c:pt idx="2">
                  <c:v>9.8862585641177114E-2</c:v>
                </c:pt>
                <c:pt idx="3">
                  <c:v>7.8097810732195946E-2</c:v>
                </c:pt>
                <c:pt idx="4">
                  <c:v>4.2878779609212971E-2</c:v>
                </c:pt>
                <c:pt idx="5">
                  <c:v>4.1159534985263618E-2</c:v>
                </c:pt>
                <c:pt idx="6">
                  <c:v>3.9874516010967205E-2</c:v>
                </c:pt>
                <c:pt idx="7">
                  <c:v>3.9097765784624081E-2</c:v>
                </c:pt>
                <c:pt idx="8">
                  <c:v>3.5822412143549705E-2</c:v>
                </c:pt>
                <c:pt idx="9">
                  <c:v>0.31923491206328614</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Nicolas</c:v>
                </c:pt>
                <c:pt idx="2">
                  <c:v>Deutz</c:v>
                </c:pt>
                <c:pt idx="3">
                  <c:v>Laurent Perrier</c:v>
                </c:pt>
                <c:pt idx="4">
                  <c:v>Taittinger</c:v>
                </c:pt>
                <c:pt idx="5">
                  <c:v>Bollinger</c:v>
                </c:pt>
                <c:pt idx="6">
                  <c:v>Ayala</c:v>
                </c:pt>
                <c:pt idx="7">
                  <c:v>Heidsieck &amp; Co Monopole</c:v>
                </c:pt>
                <c:pt idx="8">
                  <c:v>Veuve Clicquot</c:v>
                </c:pt>
                <c:pt idx="9">
                  <c:v>Others</c:v>
                </c:pt>
              </c:strCache>
            </c:strRef>
          </c:cat>
          <c:val>
            <c:numRef>
              <c:f>Sheet1!$C$2:$C$11</c:f>
              <c:numCache>
                <c:formatCode>General</c:formatCode>
                <c:ptCount val="10"/>
                <c:pt idx="0">
                  <c:v>7.5222198135703439E-2</c:v>
                </c:pt>
                <c:pt idx="1">
                  <c:v>6.9585952742250157E-2</c:v>
                </c:pt>
                <c:pt idx="2">
                  <c:v>6.0481248645133309E-2</c:v>
                </c:pt>
                <c:pt idx="3">
                  <c:v>5.4194667244743103E-2</c:v>
                </c:pt>
                <c:pt idx="4">
                  <c:v>3.9020160416215033E-2</c:v>
                </c:pt>
                <c:pt idx="5">
                  <c:v>3.1866464339908952E-2</c:v>
                </c:pt>
                <c:pt idx="6">
                  <c:v>2.1244309559939296E-2</c:v>
                </c:pt>
                <c:pt idx="7">
                  <c:v>2.1894645566876213E-2</c:v>
                </c:pt>
                <c:pt idx="8">
                  <c:v>5.6145675265553863E-2</c:v>
                </c:pt>
                <c:pt idx="9">
                  <c:v>0.5703446780836765</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Nicolas</c:v>
                </c:pt>
                <c:pt idx="2">
                  <c:v>Deutz</c:v>
                </c:pt>
                <c:pt idx="3">
                  <c:v>Laurent Perrier</c:v>
                </c:pt>
                <c:pt idx="4">
                  <c:v>Taittinger</c:v>
                </c:pt>
                <c:pt idx="5">
                  <c:v>Bollinger</c:v>
                </c:pt>
                <c:pt idx="6">
                  <c:v>Ayala</c:v>
                </c:pt>
                <c:pt idx="7">
                  <c:v>Heidsieck &amp; Co Monopole</c:v>
                </c:pt>
                <c:pt idx="8">
                  <c:v>Veuve Clicquot</c:v>
                </c:pt>
                <c:pt idx="9">
                  <c:v>Others</c:v>
                </c:pt>
              </c:strCache>
            </c:strRef>
          </c:cat>
          <c:val>
            <c:numRef>
              <c:f>Sheet1!$D$2:$D$11</c:f>
              <c:numCache>
                <c:formatCode>General</c:formatCode>
                <c:ptCount val="10"/>
                <c:pt idx="0">
                  <c:v>37.140646388827719</c:v>
                </c:pt>
                <c:pt idx="1">
                  <c:v>67.929607786533865</c:v>
                </c:pt>
                <c:pt idx="2">
                  <c:v>61.177085601069237</c:v>
                </c:pt>
                <c:pt idx="3">
                  <c:v>69.393324520428919</c:v>
                </c:pt>
                <c:pt idx="4">
                  <c:v>91.00109837974756</c:v>
                </c:pt>
                <c:pt idx="5">
                  <c:v>77.421827898002562</c:v>
                </c:pt>
                <c:pt idx="6">
                  <c:v>53.277912023048003</c:v>
                </c:pt>
                <c:pt idx="7">
                  <c:v>55.999735860831947</c:v>
                </c:pt>
                <c:pt idx="8">
                  <c:v>156.73337418084401</c:v>
                </c:pt>
                <c:pt idx="9">
                  <c:v>178.65986974839694</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39153A00-65EF-44AA-A868-6228B02CCC16}"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1C02BAB9-CF90-40D1-86EC-FE07C4D329DA}"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A8C32EF3-8F6D-4A4E-B1BD-7281329796F2}"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2698BA8F-7F68-43F3-A684-1DFC4F97FED9}"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ACB90732-27A1-4B23-8D30-91CF410E62DE}"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A767622B-F09F-4947-AE00-1D6FA044774D}"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E7ED50FD-C246-4267-8F4D-7934C9C59C1E}"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104F51B1-3F0F-424B-BED4-80F0EBB1D0FE}"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FF0B6F88-A570-44C3-892D-B9B7BC20A48A}"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55B438BD-D87E-449B-90C5-A8528FB6F06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3</c:f>
              <c:numCache>
                <c:formatCode>General</c:formatCode>
                <c:ptCount val="2"/>
                <c:pt idx="0">
                  <c:v>0.31</c:v>
                </c:pt>
                <c:pt idx="1">
                  <c:v>0.21</c:v>
                </c:pt>
              </c:numCache>
            </c:numRef>
          </c:xVal>
          <c:yVal>
            <c:numRef>
              <c:f>Sheet1!$B$2:$B$3</c:f>
              <c:numCache>
                <c:formatCode>General</c:formatCode>
                <c:ptCount val="2"/>
                <c:pt idx="0">
                  <c:v>148.58064516129031</c:v>
                </c:pt>
                <c:pt idx="1">
                  <c:v>207.47619047619051</c:v>
                </c:pt>
              </c:numCache>
            </c:numRef>
          </c:yVal>
          <c:bubbleSize>
            <c:numRef>
              <c:f>Sheet1!$C$2:$C$3</c:f>
              <c:numCache>
                <c:formatCode>General</c:formatCode>
                <c:ptCount val="2"/>
                <c:pt idx="0">
                  <c:v>3676.8560000000002</c:v>
                </c:pt>
                <c:pt idx="1">
                  <c:v>3322.1214</c:v>
                </c:pt>
              </c:numCache>
            </c:numRef>
          </c:bubbleSize>
          <c:bubble3D val="0"/>
          <c:extLst>
            <c:ext xmlns:c15="http://schemas.microsoft.com/office/drawing/2012/chart" uri="{02D57815-91ED-43cb-92C2-25804820EDAC}">
              <c15:datalabelsRange>
                <c15:f>Sheet1!$E$2:$E$21</c15:f>
                <c15:dlblRangeCache>
                  <c:ptCount val="20"/>
                  <c:pt idx="0">
                    <c:v>CHAMPAGNE NICOLAS 1ER CRU BS 1CT X 750ML</c:v>
                  </c:pt>
                  <c:pt idx="1">
                    <c:v>CHAMPAGNE NICOLAS 1ER CRU ETUI 1CT X 750ML</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8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5404F3B8-9033-41EC-B943-93FC2621FD68}"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17C875BC-8863-496E-BD47-9AF35806969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6F9A0C27-5EA2-4EF1-B90C-21CD5BF6039C}"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804D5D14-F50B-4279-93ED-D05FD78D0416}"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481F96C2-7E3E-481A-917C-49EC7A6510FE}"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35558A9A-0993-45E0-B1F0-3C1FC81C0859}"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2012F381-6507-470E-958E-BBF757F7B5A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13B8DE22-50AA-4015-95E5-F8F6435C36CA}"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EA545141-3CFA-478A-BD53-78CD869C29E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5E11A5B6-8971-4936-9198-E1C70D8AF65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3</c:f>
              <c:numCache>
                <c:formatCode>General</c:formatCode>
                <c:ptCount val="2"/>
                <c:pt idx="0">
                  <c:v>0.44</c:v>
                </c:pt>
                <c:pt idx="1">
                  <c:v>0.23</c:v>
                </c:pt>
              </c:numCache>
            </c:numRef>
          </c:xVal>
          <c:yVal>
            <c:numRef>
              <c:f>Sheet1!$B$2:$B$3</c:f>
              <c:numCache>
                <c:formatCode>General</c:formatCode>
                <c:ptCount val="2"/>
                <c:pt idx="0">
                  <c:v>103.7045454545455</c:v>
                </c:pt>
                <c:pt idx="1">
                  <c:v>210.52173913043481</c:v>
                </c:pt>
              </c:numCache>
            </c:numRef>
          </c:yVal>
          <c:bubbleSize>
            <c:numRef>
              <c:f>Sheet1!$C$2:$C$3</c:f>
              <c:numCache>
                <c:formatCode>General</c:formatCode>
                <c:ptCount val="2"/>
                <c:pt idx="0">
                  <c:v>3620.4369999999999</c:v>
                </c:pt>
                <c:pt idx="1">
                  <c:v>3759.2235000000001</c:v>
                </c:pt>
              </c:numCache>
            </c:numRef>
          </c:bubbleSize>
          <c:bubble3D val="0"/>
          <c:extLst>
            <c:ext xmlns:c15="http://schemas.microsoft.com/office/drawing/2012/chart" uri="{02D57815-91ED-43cb-92C2-25804820EDAC}">
              <c15:datalabelsRange>
                <c15:f>Sheet1!$E$2:$E$21</c15:f>
                <c15:dlblRangeCache>
                  <c:ptCount val="20"/>
                  <c:pt idx="0">
                    <c:v>CHAMPAGNE NICOLAS 1ER CRU BS 1CT X 750ML</c:v>
                  </c:pt>
                  <c:pt idx="1">
                    <c:v>CHAMPAGNE NICOLAS 1ER CRU ETUI 1CT X 750ML</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8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9AF065C7-F788-49E4-BFA8-21FA085E0E8E}"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B6B9A9CB-B3BB-4BFD-AC19-97BACB88B902}"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8C66E236-F493-442E-BB66-985D8F1D6332}"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D07CD35E-7ED4-4BD2-ABD2-3DC953831F5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5B4FAFD9-0C03-473C-9C1B-2ED32C6FDE6B}"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3E627D39-A850-4714-B693-AEDB35CFD029}"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9316C412-FDC5-4A54-A6E0-B9912613A4B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AD77AB99-778C-4A8E-BBD2-80DC5662E1F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0BCFFF07-6595-459B-94E5-337D6C467847}"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8AD08944-AD0A-414C-A752-48E4E2B1ED5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3</c:f>
              <c:numCache>
                <c:formatCode>General</c:formatCode>
                <c:ptCount val="2"/>
                <c:pt idx="0">
                  <c:v>0.28000000000000003</c:v>
                </c:pt>
                <c:pt idx="1">
                  <c:v>0.19</c:v>
                </c:pt>
              </c:numCache>
            </c:numRef>
          </c:xVal>
          <c:yVal>
            <c:numRef>
              <c:f>Sheet1!$B$2:$B$3</c:f>
              <c:numCache>
                <c:formatCode>General</c:formatCode>
                <c:ptCount val="2"/>
                <c:pt idx="0">
                  <c:v>267.60714285714278</c:v>
                </c:pt>
                <c:pt idx="1">
                  <c:v>311.63157894736838</c:v>
                </c:pt>
              </c:numCache>
            </c:numRef>
          </c:yVal>
          <c:bubbleSize>
            <c:numRef>
              <c:f>Sheet1!$C$2:$C$3</c:f>
              <c:numCache>
                <c:formatCode>General</c:formatCode>
                <c:ptCount val="2"/>
                <c:pt idx="0">
                  <c:v>5877.6760000000004</c:v>
                </c:pt>
                <c:pt idx="1">
                  <c:v>4479.5236000000004</c:v>
                </c:pt>
              </c:numCache>
            </c:numRef>
          </c:bubbleSize>
          <c:bubble3D val="0"/>
          <c:extLst>
            <c:ext xmlns:c15="http://schemas.microsoft.com/office/drawing/2012/chart" uri="{02D57815-91ED-43cb-92C2-25804820EDAC}">
              <c15:datalabelsRange>
                <c15:f>Sheet1!$E$2:$E$21</c15:f>
                <c15:dlblRangeCache>
                  <c:ptCount val="20"/>
                  <c:pt idx="0">
                    <c:v>CHAMPAGNE NICOLAS 1ER CRU BS 1CT X 750ML</c:v>
                  </c:pt>
                  <c:pt idx="1">
                    <c:v>CHAMPAGNE NICOLAS 1ER CRU ETUI 1CT X 750ML</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8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5C4FEFC4-6BD4-4606-9994-C504E0F964E0}"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742E5F1A-3037-4241-A72A-98E4C09D504A}"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EC0BE66F-341D-47A1-936B-972468F878DB}"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7DDF18E8-A4B3-4436-B297-C445C25D43DC}"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7E0F9190-1073-4D06-AD1D-F7FEFAC0DD65}"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5AB002F4-96CA-45E4-BC45-2A30BFB5D522}"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A3BEF349-7D75-431D-9A46-10E2019E0E0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B006500B-5494-454A-AA36-2E03C7545FE0}"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D1D1239E-E270-4CF1-8DF8-6D7D17342802}"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218B648B-A0BB-4D8C-80FD-D69AF20AFABE}"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4</c:f>
              <c:numCache>
                <c:formatCode>General</c:formatCode>
                <c:ptCount val="3"/>
                <c:pt idx="0">
                  <c:v>0.03</c:v>
                </c:pt>
                <c:pt idx="1">
                  <c:v>0.28000000000000003</c:v>
                </c:pt>
                <c:pt idx="2">
                  <c:v>0.1</c:v>
                </c:pt>
              </c:numCache>
            </c:numRef>
          </c:xVal>
          <c:yVal>
            <c:numRef>
              <c:f>Sheet1!$B$2:$B$4</c:f>
              <c:numCache>
                <c:formatCode>General</c:formatCode>
                <c:ptCount val="3"/>
                <c:pt idx="0">
                  <c:v>556.33333333333337</c:v>
                </c:pt>
                <c:pt idx="1">
                  <c:v>297.49999999999989</c:v>
                </c:pt>
                <c:pt idx="2">
                  <c:v>535</c:v>
                </c:pt>
              </c:numCache>
            </c:numRef>
          </c:yVal>
          <c:bubbleSize>
            <c:numRef>
              <c:f>Sheet1!$C$2:$C$4</c:f>
              <c:numCache>
                <c:formatCode>General</c:formatCode>
                <c:ptCount val="3"/>
                <c:pt idx="0">
                  <c:v>1037.2049999999999</c:v>
                </c:pt>
                <c:pt idx="1">
                  <c:v>6714.1922000000004</c:v>
                </c:pt>
                <c:pt idx="2">
                  <c:v>4143.8684999999996</c:v>
                </c:pt>
              </c:numCache>
            </c:numRef>
          </c:bubbleSize>
          <c:bubble3D val="0"/>
          <c:extLst>
            <c:ext xmlns:c15="http://schemas.microsoft.com/office/drawing/2012/chart" uri="{02D57815-91ED-43cb-92C2-25804820EDAC}">
              <c15:datalabelsRange>
                <c15:f>Sheet1!$E$2:$E$21</c15:f>
                <c15:dlblRangeCache>
                  <c:ptCount val="20"/>
                  <c:pt idx="0">
                    <c:v>MG CHAMPAGNE NICOLAS 1E CRU BS 1CT X 1500ML</c:v>
                  </c:pt>
                  <c:pt idx="1">
                    <c:v>CHAMPAGNE NICOLAS 1ER CRU BS 1CT X 750ML</c:v>
                  </c:pt>
                  <c:pt idx="2">
                    <c:v>CHAMPAGNE NICOLAS 1ER CRU ETUI 1CT X 750ML</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8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3C0F37AA-C51C-43FD-9333-C93AA11CC8F0}"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F3D61CD2-EF29-4962-832C-B6C3CB738F4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2FD9075E-7F69-4042-92F4-8922784F771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B49A537B-880C-4AEA-8175-6BA410AC50EF}"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2B6AFA97-C6C4-48E2-8FFF-BE8D5B6050BE}"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4EE06D12-15E8-4E14-A7F9-C42FBAA0FD0D}"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B0712602-36D9-4A31-A90E-2D722B4F897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C8901208-08BB-4E43-8B09-73F1CDA8E5BF}"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B465248A-8E24-4D27-9F21-D2242B419F7D}"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CD25A994-20AE-4398-B7BF-58783CF282FA}"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4</c:f>
              <c:numCache>
                <c:formatCode>General</c:formatCode>
                <c:ptCount val="3"/>
                <c:pt idx="0">
                  <c:v>0.04</c:v>
                </c:pt>
                <c:pt idx="1">
                  <c:v>0.43</c:v>
                </c:pt>
                <c:pt idx="2">
                  <c:v>0.02</c:v>
                </c:pt>
              </c:numCache>
            </c:numRef>
          </c:xVal>
          <c:yVal>
            <c:numRef>
              <c:f>Sheet1!$B$2:$B$4</c:f>
              <c:numCache>
                <c:formatCode>General</c:formatCode>
                <c:ptCount val="3"/>
                <c:pt idx="0">
                  <c:v>663.75</c:v>
                </c:pt>
                <c:pt idx="1">
                  <c:v>357.30232558139528</c:v>
                </c:pt>
                <c:pt idx="2">
                  <c:v>832.5</c:v>
                </c:pt>
              </c:numCache>
            </c:numRef>
          </c:yVal>
          <c:bubbleSize>
            <c:numRef>
              <c:f>Sheet1!$C$2:$C$4</c:f>
              <c:numCache>
                <c:formatCode>General</c:formatCode>
                <c:ptCount val="3"/>
                <c:pt idx="0">
                  <c:v>1382.94</c:v>
                </c:pt>
                <c:pt idx="1">
                  <c:v>12986.957899999999</c:v>
                </c:pt>
                <c:pt idx="2">
                  <c:v>1205.6768</c:v>
                </c:pt>
              </c:numCache>
            </c:numRef>
          </c:bubbleSize>
          <c:bubble3D val="0"/>
          <c:extLst>
            <c:ext xmlns:c15="http://schemas.microsoft.com/office/drawing/2012/chart" uri="{02D57815-91ED-43cb-92C2-25804820EDAC}">
              <c15:datalabelsRange>
                <c15:f>Sheet1!$E$2:$E$21</c15:f>
                <c15:dlblRangeCache>
                  <c:ptCount val="20"/>
                  <c:pt idx="0">
                    <c:v>MG CHAMPAGNE NICOLAS 1E CRU BS 1CT X 1500ML</c:v>
                  </c:pt>
                  <c:pt idx="1">
                    <c:v>CHAMPAGNE NICOLAS 1ER CRU BS 1CT X 750ML</c:v>
                  </c:pt>
                  <c:pt idx="2">
                    <c:v>CHAMPAGNE NICOLAS 1ER CRU ETUI 1CT X 750ML</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8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852EE6FB-A7CE-49BD-A1BD-E090CD6FEFF7}"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C3C24FC9-6129-447B-ADA4-1971A65AB546}"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4A13F89D-0951-4FB5-AEA8-882083EA00F8}"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4DCDC8CD-6E8E-4E7D-B0FE-CEB6643AEAF8}"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172EADBB-3082-45EF-8E53-5F64A3BE88E4}"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8DE5F6DB-54E9-4DA0-88AF-0006E7FC895D}"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4CDDA337-F553-41F1-99CF-7A8702C7BD9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59D776F8-BDD4-426B-A721-C11AABD1FA3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C736E7C4-9845-410A-94A2-9BDBFA5F162E}"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0F206983-6D2B-46A8-B016-05C6F83D4DC9}"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6</c:f>
              <c:numCache>
                <c:formatCode>General</c:formatCode>
                <c:ptCount val="5"/>
                <c:pt idx="0">
                  <c:v>0.29699999999999999</c:v>
                </c:pt>
                <c:pt idx="1">
                  <c:v>0.628</c:v>
                </c:pt>
                <c:pt idx="2">
                  <c:v>8.1000000000000003E-2</c:v>
                </c:pt>
                <c:pt idx="3">
                  <c:v>0.105</c:v>
                </c:pt>
                <c:pt idx="4">
                  <c:v>0.34899999999999998</c:v>
                </c:pt>
              </c:numCache>
            </c:numRef>
          </c:xVal>
          <c:yVal>
            <c:numRef>
              <c:f>Sheet1!$B$2:$B$6</c:f>
              <c:numCache>
                <c:formatCode>General</c:formatCode>
                <c:ptCount val="5"/>
                <c:pt idx="0">
                  <c:v>1655.420875420876</c:v>
                </c:pt>
                <c:pt idx="1">
                  <c:v>4430.9394904458604</c:v>
                </c:pt>
                <c:pt idx="2">
                  <c:v>1171.481481481482</c:v>
                </c:pt>
                <c:pt idx="3">
                  <c:v>1485.238095238095</c:v>
                </c:pt>
                <c:pt idx="4">
                  <c:v>1793.0085959885389</c:v>
                </c:pt>
              </c:numCache>
            </c:numRef>
          </c:yVal>
          <c:bubbleSize>
            <c:numRef>
              <c:f>Sheet1!$C$2:$C$6</c:f>
              <c:numCache>
                <c:formatCode>General</c:formatCode>
                <c:ptCount val="5"/>
                <c:pt idx="0">
                  <c:v>37518.247200000013</c:v>
                </c:pt>
                <c:pt idx="1">
                  <c:v>231541.29620000001</c:v>
                </c:pt>
                <c:pt idx="2">
                  <c:v>6818.3055999999997</c:v>
                </c:pt>
                <c:pt idx="3">
                  <c:v>11174.366999999989</c:v>
                </c:pt>
                <c:pt idx="4">
                  <c:v>48968.972999999998</c:v>
                </c:pt>
              </c:numCache>
            </c:numRef>
          </c:bubbleSize>
          <c:bubble3D val="0"/>
          <c:extLst>
            <c:ext xmlns:c15="http://schemas.microsoft.com/office/drawing/2012/chart" uri="{02D57815-91ED-43cb-92C2-25804820EDAC}">
              <c15:datalabelsRange>
                <c15:f>Sheet1!$E$2:$E$21</c15:f>
                <c15:dlblRangeCache>
                  <c:ptCount val="20"/>
                  <c:pt idx="0">
                    <c:v>1/2 CHAMP NICOLAS ROSE 1E C BS 1CT X 375ML</c:v>
                  </c:pt>
                  <c:pt idx="1">
                    <c:v>CHAMPAGNE E.NICOLAS ROSE 1CT X 750ML</c:v>
                  </c:pt>
                  <c:pt idx="2">
                    <c:v>CHAMPAGNE NICOLAS ROSE 1E C BS 1CT X 750ML</c:v>
                  </c:pt>
                  <c:pt idx="3">
                    <c:v>CHAMPAGNE NICOLAS ROSE 1ERE ET 1CT X 750ML</c:v>
                  </c:pt>
                  <c:pt idx="4">
                    <c:v>CHAMPAGNE NICOLAS ROSE 1ERE CU 1CT X 750ML</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8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FABB95DF-240C-4B62-A927-D002DC8E757F}"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B74DB302-17CF-4AE3-A8F6-10B2CCDF871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916FFED6-4A28-495D-B969-69FB4FE49682}"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9C2EE043-5AE8-46D9-BEAB-9017BC7AA472}"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C6D512BB-1CA8-4428-9AEE-9F2D40371628}"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F778239C-B19D-4704-9855-27A133B0524E}"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181F328F-D714-44E2-9723-308207B1DBB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EC2BE1F4-5661-4F5F-AAAA-D166047D182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62E5A5E3-2414-45FF-8CEF-106921EE0D3B}"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A5D9DA03-93B7-466D-AF49-1F8D0B385F50}"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6</c:f>
              <c:numCache>
                <c:formatCode>General</c:formatCode>
                <c:ptCount val="5"/>
                <c:pt idx="0">
                  <c:v>0.25</c:v>
                </c:pt>
                <c:pt idx="1">
                  <c:v>0.6</c:v>
                </c:pt>
                <c:pt idx="2">
                  <c:v>0.04</c:v>
                </c:pt>
                <c:pt idx="3">
                  <c:v>0.08</c:v>
                </c:pt>
                <c:pt idx="4">
                  <c:v>0.32</c:v>
                </c:pt>
              </c:numCache>
            </c:numRef>
          </c:xVal>
          <c:yVal>
            <c:numRef>
              <c:f>Sheet1!$B$2:$B$6</c:f>
              <c:numCache>
                <c:formatCode>General</c:formatCode>
                <c:ptCount val="5"/>
                <c:pt idx="0">
                  <c:v>925.52</c:v>
                </c:pt>
                <c:pt idx="1">
                  <c:v>1972.583333333333</c:v>
                </c:pt>
                <c:pt idx="2">
                  <c:v>960.75</c:v>
                </c:pt>
                <c:pt idx="3">
                  <c:v>804.125</c:v>
                </c:pt>
                <c:pt idx="4">
                  <c:v>893.375</c:v>
                </c:pt>
              </c:numCache>
            </c:numRef>
          </c:yVal>
          <c:bubbleSize>
            <c:numRef>
              <c:f>Sheet1!$C$2:$C$6</c:f>
              <c:numCache>
                <c:formatCode>General</c:formatCode>
                <c:ptCount val="5"/>
                <c:pt idx="0">
                  <c:v>17931.8982</c:v>
                </c:pt>
                <c:pt idx="1">
                  <c:v>98562.342300000004</c:v>
                </c:pt>
                <c:pt idx="2">
                  <c:v>2827.04</c:v>
                </c:pt>
                <c:pt idx="3">
                  <c:v>4778.6550000000007</c:v>
                </c:pt>
                <c:pt idx="4">
                  <c:v>22715.9624</c:v>
                </c:pt>
              </c:numCache>
            </c:numRef>
          </c:bubbleSize>
          <c:bubble3D val="0"/>
          <c:extLst>
            <c:ext xmlns:c15="http://schemas.microsoft.com/office/drawing/2012/chart" uri="{02D57815-91ED-43cb-92C2-25804820EDAC}">
              <c15:datalabelsRange>
                <c15:f>Sheet1!$E$2:$E$21</c15:f>
                <c15:dlblRangeCache>
                  <c:ptCount val="20"/>
                  <c:pt idx="0">
                    <c:v>1/2 CHAMP NICOLAS ROSE 1E C BS 1CT X 375ML</c:v>
                  </c:pt>
                  <c:pt idx="1">
                    <c:v>CHAMPAGNE E.NICOLAS ROSE 1CT X 750ML</c:v>
                  </c:pt>
                  <c:pt idx="2">
                    <c:v>CHAMPAGNE NICOLAS ROSE 1E C BS 1CT X 750ML</c:v>
                  </c:pt>
                  <c:pt idx="3">
                    <c:v>CHAMPAGNE NICOLAS ROSE 1ERE ET 1CT X 750ML</c:v>
                  </c:pt>
                  <c:pt idx="4">
                    <c:v>CHAMPAGNE NICOLAS ROSE 1ERE CU 1CT X 750ML</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8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6A94E6EA-4EB7-49B8-9F4A-FFAC9D2EF3E2}"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B9698AF1-50BE-4C41-BDB3-D8CF99EEE33B}"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3EE46E47-ADD2-4664-9570-E1F3DDC2F6CA}"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2CCEA1DB-F518-4A73-82CB-FD2A99C7C17D}"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145E1D26-BC06-47D3-AFFB-230B6DCEAB08}"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48C23A53-E91F-4636-AC12-4FD0A59DAB1C}"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5D6A996A-CEB9-4793-9566-F46839A6C94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34DD5C88-6AD2-4463-95C5-58C206CC766D}"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1C0FE6DE-25C4-4074-A000-1BF4B243B339}"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13369744-B344-4EDD-A604-9832D766975D}"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6</c:f>
              <c:numCache>
                <c:formatCode>General</c:formatCode>
                <c:ptCount val="5"/>
                <c:pt idx="0">
                  <c:v>0.25</c:v>
                </c:pt>
                <c:pt idx="1">
                  <c:v>0.61</c:v>
                </c:pt>
                <c:pt idx="2">
                  <c:v>0.08</c:v>
                </c:pt>
                <c:pt idx="3">
                  <c:v>0.09</c:v>
                </c:pt>
                <c:pt idx="4">
                  <c:v>0.28000000000000003</c:v>
                </c:pt>
              </c:numCache>
            </c:numRef>
          </c:xVal>
          <c:yVal>
            <c:numRef>
              <c:f>Sheet1!$B$2:$B$6</c:f>
              <c:numCache>
                <c:formatCode>General</c:formatCode>
                <c:ptCount val="5"/>
                <c:pt idx="0">
                  <c:v>408.96</c:v>
                </c:pt>
                <c:pt idx="1">
                  <c:v>1087.5081967213109</c:v>
                </c:pt>
                <c:pt idx="2">
                  <c:v>344.125</c:v>
                </c:pt>
                <c:pt idx="3">
                  <c:v>421.66666666666669</c:v>
                </c:pt>
                <c:pt idx="4">
                  <c:v>450.67857142857139</c:v>
                </c:pt>
              </c:numCache>
            </c:numRef>
          </c:yVal>
          <c:bubbleSize>
            <c:numRef>
              <c:f>Sheet1!$C$2:$C$6</c:f>
              <c:numCache>
                <c:formatCode>General</c:formatCode>
                <c:ptCount val="5"/>
                <c:pt idx="0">
                  <c:v>7855.2091999999993</c:v>
                </c:pt>
                <c:pt idx="1">
                  <c:v>55666.577599999997</c:v>
                </c:pt>
                <c:pt idx="2">
                  <c:v>1940.376</c:v>
                </c:pt>
                <c:pt idx="3">
                  <c:v>2723.3622</c:v>
                </c:pt>
                <c:pt idx="4">
                  <c:v>10077.9148</c:v>
                </c:pt>
              </c:numCache>
            </c:numRef>
          </c:bubbleSize>
          <c:bubble3D val="0"/>
          <c:extLst>
            <c:ext xmlns:c15="http://schemas.microsoft.com/office/drawing/2012/chart" uri="{02D57815-91ED-43cb-92C2-25804820EDAC}">
              <c15:datalabelsRange>
                <c15:f>Sheet1!$E$2:$E$21</c15:f>
                <c15:dlblRangeCache>
                  <c:ptCount val="20"/>
                  <c:pt idx="0">
                    <c:v>1/2 CHAMP NICOLAS ROSE 1E C BS 1CT X 375ML</c:v>
                  </c:pt>
                  <c:pt idx="1">
                    <c:v>CHAMPAGNE E.NICOLAS ROSE 1CT X 750ML</c:v>
                  </c:pt>
                  <c:pt idx="2">
                    <c:v>CHAMPAGNE NICOLAS ROSE 1E C BS 1CT X 750ML</c:v>
                  </c:pt>
                  <c:pt idx="3">
                    <c:v>CHAMPAGNE NICOLAS ROSE 1ERE ET 1CT X 750ML</c:v>
                  </c:pt>
                  <c:pt idx="4">
                    <c:v>CHAMPAGNE NICOLAS ROSE 1ERE CU 1CT X 750ML</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8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802927E3-0299-4C0B-8257-A7265FB9225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235F6712-09D1-4AAF-B128-A65987A3A42B}"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483A0803-CB19-41D5-AA70-F7FE83ABAD2D}"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15DBFD80-DAAE-4CCD-9262-C19A29678F3E}"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809B10B3-91AF-4B38-AB08-A7CE33C26C7E}"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4EC2C7ED-1AF9-4AFD-B073-0B4A52EF5B3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5BB5171E-09C2-4A10-A2D1-C74DC816D54F}"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1B9E12B8-ABD6-48F3-B8B0-A7403B84B9C2}"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9D18ECB2-7ABC-401C-BF32-51C392CC95E0}"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3E835F54-10B9-4CA2-AFF0-DF78B52A144D}"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4</c:f>
              <c:numCache>
                <c:formatCode>General</c:formatCode>
                <c:ptCount val="3"/>
                <c:pt idx="0">
                  <c:v>0.35</c:v>
                </c:pt>
                <c:pt idx="1">
                  <c:v>0.56000000000000005</c:v>
                </c:pt>
                <c:pt idx="2">
                  <c:v>0.42</c:v>
                </c:pt>
              </c:numCache>
            </c:numRef>
          </c:xVal>
          <c:yVal>
            <c:numRef>
              <c:f>Sheet1!$B$2:$B$4</c:f>
              <c:numCache>
                <c:formatCode>General</c:formatCode>
                <c:ptCount val="3"/>
                <c:pt idx="0">
                  <c:v>204.14285714285711</c:v>
                </c:pt>
                <c:pt idx="1">
                  <c:v>468.76785714285711</c:v>
                </c:pt>
                <c:pt idx="2">
                  <c:v>175.04761904761901</c:v>
                </c:pt>
              </c:numCache>
            </c:numRef>
          </c:yVal>
          <c:bubbleSize>
            <c:numRef>
              <c:f>Sheet1!$C$2:$C$4</c:f>
              <c:numCache>
                <c:formatCode>General</c:formatCode>
                <c:ptCount val="3"/>
                <c:pt idx="0">
                  <c:v>5452.527</c:v>
                </c:pt>
                <c:pt idx="1">
                  <c:v>21791.631799999999</c:v>
                </c:pt>
                <c:pt idx="2">
                  <c:v>5571.3715999999986</c:v>
                </c:pt>
              </c:numCache>
            </c:numRef>
          </c:bubbleSize>
          <c:bubble3D val="0"/>
          <c:extLst>
            <c:ext xmlns:c15="http://schemas.microsoft.com/office/drawing/2012/chart" uri="{02D57815-91ED-43cb-92C2-25804820EDAC}">
              <c15:datalabelsRange>
                <c15:f>Sheet1!$E$2:$E$21</c15:f>
                <c15:dlblRangeCache>
                  <c:ptCount val="20"/>
                  <c:pt idx="0">
                    <c:v>1/2 CHAMP NICOLAS ROSE 1E C BS 1CT X 375ML</c:v>
                  </c:pt>
                  <c:pt idx="1">
                    <c:v>CHAMPAGNE E.NICOLAS ROSE 1CT X 750ML</c:v>
                  </c:pt>
                  <c:pt idx="2">
                    <c:v>CHAMPAGNE NICOLAS ROSE 1ERE CU 1CT X 750ML</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8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B33F3F80-AFFD-45A0-9C25-8BB13E334A5F}"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943B732A-5E4C-4D45-B9A5-31C323EC085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D6FBA9FC-DFAC-406A-AAB1-9FFFA0824AF9}"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8BFB163D-9C4E-421A-A99F-561BE3B5A3EA}"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7833552D-BD87-42DD-9917-4042C23A1B7E}"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D58DA170-5F82-4ED1-8AE6-493989A84E78}"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5BD87F97-5C15-4ED9-AEEB-BFD6D2949F1E}"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D380BC60-9819-42EC-AFA4-9B390C32535E}"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27CE8FC6-D411-4933-B79A-5FE695C521CD}"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E2A56654-6D5C-4D39-B00C-B2B97FB0D086}"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4</c:f>
              <c:numCache>
                <c:formatCode>General</c:formatCode>
                <c:ptCount val="3"/>
                <c:pt idx="0">
                  <c:v>0.44</c:v>
                </c:pt>
                <c:pt idx="1">
                  <c:v>0.64</c:v>
                </c:pt>
                <c:pt idx="2">
                  <c:v>0.38</c:v>
                </c:pt>
              </c:numCache>
            </c:numRef>
          </c:xVal>
          <c:yVal>
            <c:numRef>
              <c:f>Sheet1!$B$2:$B$4</c:f>
              <c:numCache>
                <c:formatCode>General</c:formatCode>
                <c:ptCount val="3"/>
                <c:pt idx="0">
                  <c:v>67.909090909090907</c:v>
                </c:pt>
                <c:pt idx="1">
                  <c:v>283.578125</c:v>
                </c:pt>
                <c:pt idx="2">
                  <c:v>100.0263157894737</c:v>
                </c:pt>
              </c:numCache>
            </c:numRef>
          </c:yVal>
          <c:bubbleSize>
            <c:numRef>
              <c:f>Sheet1!$C$2:$C$4</c:f>
              <c:numCache>
                <c:formatCode>General</c:formatCode>
                <c:ptCount val="3"/>
                <c:pt idx="0">
                  <c:v>2227.174</c:v>
                </c:pt>
                <c:pt idx="1">
                  <c:v>15041.642599999999</c:v>
                </c:pt>
                <c:pt idx="2">
                  <c:v>2900.6026000000002</c:v>
                </c:pt>
              </c:numCache>
            </c:numRef>
          </c:bubbleSize>
          <c:bubble3D val="0"/>
          <c:extLst>
            <c:ext xmlns:c15="http://schemas.microsoft.com/office/drawing/2012/chart" uri="{02D57815-91ED-43cb-92C2-25804820EDAC}">
              <c15:datalabelsRange>
                <c15:f>Sheet1!$E$2:$E$21</c15:f>
                <c15:dlblRangeCache>
                  <c:ptCount val="20"/>
                  <c:pt idx="0">
                    <c:v>1/2 CHAMP NICOLAS ROSE 1E C BS 1CT X 375ML</c:v>
                  </c:pt>
                  <c:pt idx="1">
                    <c:v>CHAMPAGNE E.NICOLAS ROSE 1CT X 750ML</c:v>
                  </c:pt>
                  <c:pt idx="2">
                    <c:v>CHAMPAGNE NICOLAS ROSE 1ERE CU 1CT X 750ML</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Deutz</c:v>
                </c:pt>
                <c:pt idx="2">
                  <c:v>Laurent Perrier</c:v>
                </c:pt>
                <c:pt idx="3">
                  <c:v>Nicolas</c:v>
                </c:pt>
                <c:pt idx="4">
                  <c:v>Veuve Clicquot</c:v>
                </c:pt>
                <c:pt idx="5">
                  <c:v>Ayala</c:v>
                </c:pt>
                <c:pt idx="6">
                  <c:v>Heidsieck &amp; Co Monopole</c:v>
                </c:pt>
                <c:pt idx="7">
                  <c:v>Taittinger</c:v>
                </c:pt>
                <c:pt idx="8">
                  <c:v>Bollinger</c:v>
                </c:pt>
                <c:pt idx="9">
                  <c:v>Others</c:v>
                </c:pt>
              </c:strCache>
            </c:strRef>
          </c:cat>
          <c:val>
            <c:numRef>
              <c:f>Sheet1!$B$2:$B$11</c:f>
              <c:numCache>
                <c:formatCode>General</c:formatCode>
                <c:ptCount val="10"/>
                <c:pt idx="0">
                  <c:v>0.21877633181133349</c:v>
                </c:pt>
                <c:pt idx="1">
                  <c:v>0.11495171931261311</c:v>
                </c:pt>
                <c:pt idx="2">
                  <c:v>8.864365560319426E-2</c:v>
                </c:pt>
                <c:pt idx="3">
                  <c:v>8.4796079382543327E-2</c:v>
                </c:pt>
                <c:pt idx="4">
                  <c:v>4.8507250480101641E-2</c:v>
                </c:pt>
                <c:pt idx="5">
                  <c:v>4.1826867062798555E-2</c:v>
                </c:pt>
                <c:pt idx="6">
                  <c:v>4.1138262817491902E-2</c:v>
                </c:pt>
                <c:pt idx="7">
                  <c:v>4.0946744761765984E-2</c:v>
                </c:pt>
                <c:pt idx="8">
                  <c:v>3.9046012597153915E-2</c:v>
                </c:pt>
                <c:pt idx="9">
                  <c:v>0.28136707617100382</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Deutz</c:v>
                </c:pt>
                <c:pt idx="2">
                  <c:v>Laurent Perrier</c:v>
                </c:pt>
                <c:pt idx="3">
                  <c:v>Nicolas</c:v>
                </c:pt>
                <c:pt idx="4">
                  <c:v>Veuve Clicquot</c:v>
                </c:pt>
                <c:pt idx="5">
                  <c:v>Ayala</c:v>
                </c:pt>
                <c:pt idx="6">
                  <c:v>Heidsieck &amp; Co Monopole</c:v>
                </c:pt>
                <c:pt idx="7">
                  <c:v>Taittinger</c:v>
                </c:pt>
                <c:pt idx="8">
                  <c:v>Bollinger</c:v>
                </c:pt>
                <c:pt idx="9">
                  <c:v>Others</c:v>
                </c:pt>
              </c:strCache>
            </c:strRef>
          </c:cat>
          <c:val>
            <c:numRef>
              <c:f>Sheet1!$C$2:$C$11</c:f>
              <c:numCache>
                <c:formatCode>General</c:formatCode>
                <c:ptCount val="10"/>
                <c:pt idx="0">
                  <c:v>9.1739310917393055E-2</c:v>
                </c:pt>
                <c:pt idx="1">
                  <c:v>6.1851390618513878E-2</c:v>
                </c:pt>
                <c:pt idx="2">
                  <c:v>5.9568285595682821E-2</c:v>
                </c:pt>
                <c:pt idx="3">
                  <c:v>5.7907845579078424E-2</c:v>
                </c:pt>
                <c:pt idx="4">
                  <c:v>5.5002075550020728E-2</c:v>
                </c:pt>
                <c:pt idx="5">
                  <c:v>2.075550020755499E-2</c:v>
                </c:pt>
                <c:pt idx="6">
                  <c:v>2.075550020755499E-2</c:v>
                </c:pt>
                <c:pt idx="7">
                  <c:v>3.8190120381901178E-2</c:v>
                </c:pt>
                <c:pt idx="8">
                  <c:v>2.8642590286425886E-2</c:v>
                </c:pt>
                <c:pt idx="9">
                  <c:v>0.56558738065587355</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Deutz</c:v>
                </c:pt>
                <c:pt idx="2">
                  <c:v>Laurent Perrier</c:v>
                </c:pt>
                <c:pt idx="3">
                  <c:v>Nicolas</c:v>
                </c:pt>
                <c:pt idx="4">
                  <c:v>Veuve Clicquot</c:v>
                </c:pt>
                <c:pt idx="5">
                  <c:v>Ayala</c:v>
                </c:pt>
                <c:pt idx="6">
                  <c:v>Heidsieck &amp; Co Monopole</c:v>
                </c:pt>
                <c:pt idx="7">
                  <c:v>Taittinger</c:v>
                </c:pt>
                <c:pt idx="8">
                  <c:v>Bollinger</c:v>
                </c:pt>
                <c:pt idx="9">
                  <c:v>Others</c:v>
                </c:pt>
              </c:strCache>
            </c:strRef>
          </c:cat>
          <c:val>
            <c:numRef>
              <c:f>Sheet1!$D$2:$D$11</c:f>
              <c:numCache>
                <c:formatCode>General</c:formatCode>
                <c:ptCount val="10"/>
                <c:pt idx="0">
                  <c:v>41.932923071635756</c:v>
                </c:pt>
                <c:pt idx="1">
                  <c:v>53.806407584307628</c:v>
                </c:pt>
                <c:pt idx="2">
                  <c:v>67.19971687803033</c:v>
                </c:pt>
                <c:pt idx="3">
                  <c:v>68.290711080917859</c:v>
                </c:pt>
                <c:pt idx="4">
                  <c:v>113.38939025740771</c:v>
                </c:pt>
                <c:pt idx="5">
                  <c:v>49.62241177756114</c:v>
                </c:pt>
                <c:pt idx="6">
                  <c:v>50.453030308148541</c:v>
                </c:pt>
                <c:pt idx="7">
                  <c:v>93.267781368450059</c:v>
                </c:pt>
                <c:pt idx="8">
                  <c:v>73.355993048349475</c:v>
                </c:pt>
                <c:pt idx="9">
                  <c:v>201.01405905505868</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166DF6F0-3E07-4BDB-B1BC-F0C1264759F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8A06D4DE-A328-465A-B292-A1D1EA2A0A4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23EA28DD-36B4-4965-B3CE-916BB8546D70}"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1EC28658-8765-4842-9412-239B89AE384F}"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2A749A8B-3AE7-444F-9514-A49B5B18359D}"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16D87437-C528-43D4-B988-53A1550A485A}"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9766F55B-5DD9-433F-8740-2E1B73DF0A7B}"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3B4F8248-C1E5-454F-81C3-A7FF4F6DCD0C}"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BF9EC925-799D-457E-9AE8-709392BA12D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4D41A05B-600B-431C-B2F4-9CDEBDBCF1A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4</c:f>
              <c:numCache>
                <c:formatCode>General</c:formatCode>
                <c:ptCount val="3"/>
                <c:pt idx="0">
                  <c:v>0.43</c:v>
                </c:pt>
                <c:pt idx="1">
                  <c:v>0.82</c:v>
                </c:pt>
                <c:pt idx="2">
                  <c:v>0.39</c:v>
                </c:pt>
              </c:numCache>
            </c:numRef>
          </c:xVal>
          <c:yVal>
            <c:numRef>
              <c:f>Sheet1!$B$2:$B$4</c:f>
              <c:numCache>
                <c:formatCode>General</c:formatCode>
                <c:ptCount val="3"/>
                <c:pt idx="0">
                  <c:v>48.139534883720927</c:v>
                </c:pt>
                <c:pt idx="1">
                  <c:v>163.08536585365849</c:v>
                </c:pt>
                <c:pt idx="2">
                  <c:v>61.307692307692307</c:v>
                </c:pt>
              </c:numCache>
            </c:numRef>
          </c:yVal>
          <c:bubbleSize>
            <c:numRef>
              <c:f>Sheet1!$C$2:$C$4</c:f>
              <c:numCache>
                <c:formatCode>General</c:formatCode>
                <c:ptCount val="3"/>
                <c:pt idx="0">
                  <c:v>1486.9084</c:v>
                </c:pt>
                <c:pt idx="1">
                  <c:v>11041.648999999999</c:v>
                </c:pt>
                <c:pt idx="2">
                  <c:v>1884.8882000000001</c:v>
                </c:pt>
              </c:numCache>
            </c:numRef>
          </c:bubbleSize>
          <c:bubble3D val="0"/>
          <c:extLst>
            <c:ext xmlns:c15="http://schemas.microsoft.com/office/drawing/2012/chart" uri="{02D57815-91ED-43cb-92C2-25804820EDAC}">
              <c15:datalabelsRange>
                <c15:f>Sheet1!$E$2:$E$21</c15:f>
                <c15:dlblRangeCache>
                  <c:ptCount val="20"/>
                  <c:pt idx="0">
                    <c:v>1/2 CHAMP NICOLAS ROSE 1E C BS 1CT X 375ML</c:v>
                  </c:pt>
                  <c:pt idx="1">
                    <c:v>CHAMPAGNE E.NICOLAS ROSE 1CT X 750ML</c:v>
                  </c:pt>
                  <c:pt idx="2">
                    <c:v>CHAMPAGNE NICOLAS ROSE 1ERE CU 1CT X 750ML</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8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476CE950-1820-4462-8E74-B0ED8B03777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D588D0F5-511F-4494-A902-96E0FBC77B9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E63E1F35-C9FE-49FE-BA4E-148D302C7DD6}"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D9823928-8A52-4B2B-9324-4F947D430DDB}"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6188F194-4AB4-43B4-9E36-6D3B3AAD7F67}"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363B3F03-2FEB-417E-A3DC-C96D7BDCA2C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AB464B7D-B963-4B41-998C-2EDD1B01DCF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2CEE597C-6357-4190-B2A8-92DF62B69E4E}"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ED9C25F4-D5A8-4E66-900E-41B5AB560B3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76928B7D-59BF-456E-9702-2739E1DD112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6</c:f>
              <c:numCache>
                <c:formatCode>General</c:formatCode>
                <c:ptCount val="5"/>
                <c:pt idx="0">
                  <c:v>0.27</c:v>
                </c:pt>
                <c:pt idx="1">
                  <c:v>0.59</c:v>
                </c:pt>
                <c:pt idx="2">
                  <c:v>0.05</c:v>
                </c:pt>
                <c:pt idx="3">
                  <c:v>0.09</c:v>
                </c:pt>
                <c:pt idx="4">
                  <c:v>0.33</c:v>
                </c:pt>
              </c:numCache>
            </c:numRef>
          </c:xVal>
          <c:yVal>
            <c:numRef>
              <c:f>Sheet1!$B$2:$B$6</c:f>
              <c:numCache>
                <c:formatCode>General</c:formatCode>
                <c:ptCount val="5"/>
                <c:pt idx="0">
                  <c:v>1250.962962962963</c:v>
                </c:pt>
                <c:pt idx="1">
                  <c:v>2988.0338983050851</c:v>
                </c:pt>
                <c:pt idx="2">
                  <c:v>1025</c:v>
                </c:pt>
                <c:pt idx="3">
                  <c:v>1141.2222222222219</c:v>
                </c:pt>
                <c:pt idx="4">
                  <c:v>1302.878787878788</c:v>
                </c:pt>
              </c:numCache>
            </c:numRef>
          </c:yVal>
          <c:bubbleSize>
            <c:numRef>
              <c:f>Sheet1!$C$2:$C$6</c:f>
              <c:numCache>
                <c:formatCode>General</c:formatCode>
                <c:ptCount val="5"/>
                <c:pt idx="0">
                  <c:v>26195.250400000001</c:v>
                </c:pt>
                <c:pt idx="1">
                  <c:v>146791.43179999999</c:v>
                </c:pt>
                <c:pt idx="2">
                  <c:v>3837.8892000000001</c:v>
                </c:pt>
                <c:pt idx="3">
                  <c:v>7789.3092000000006</c:v>
                </c:pt>
                <c:pt idx="4">
                  <c:v>34143.103000000003</c:v>
                </c:pt>
              </c:numCache>
            </c:numRef>
          </c:bubbleSize>
          <c:bubble3D val="0"/>
          <c:extLst>
            <c:ext xmlns:c15="http://schemas.microsoft.com/office/drawing/2012/chart" uri="{02D57815-91ED-43cb-92C2-25804820EDAC}">
              <c15:datalabelsRange>
                <c15:f>Sheet1!$E$2:$E$21</c15:f>
                <c15:dlblRangeCache>
                  <c:ptCount val="20"/>
                  <c:pt idx="0">
                    <c:v>1/2 CHAMP NICOLAS ROSE 1E C BS 1CT X 375ML</c:v>
                  </c:pt>
                  <c:pt idx="1">
                    <c:v>CHAMPAGNE E.NICOLAS ROSE 1CT X 750ML</c:v>
                  </c:pt>
                  <c:pt idx="2">
                    <c:v>CHAMPAGNE NICOLAS ROSE 1E C BS 1CT X 750ML</c:v>
                  </c:pt>
                  <c:pt idx="3">
                    <c:v>CHAMPAGNE NICOLAS ROSE 1ERE ET 1CT X 750ML</c:v>
                  </c:pt>
                  <c:pt idx="4">
                    <c:v>CHAMPAGNE NICOLAS ROSE 1ERE CU 1CT X 750ML</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8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556FCE4D-6C32-4E5D-B540-EF4034F2144E}"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B4E2A3E7-7FEE-4DCC-9566-2CBD4EE5500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9F80E273-E727-4801-8549-24A5130985F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A4E9616F-8263-49ED-81F3-1324AFE47FAC}"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E385504A-9054-48D3-B644-F960E3CAE940}"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1AB5DCF3-9CEC-4E33-B51D-A475BBDCCDF9}"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2D0DB2EE-FF7E-4C92-A770-32E81A963C9A}"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D1573CB3-7409-40B1-822B-5F2388252878}"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EE146DAE-09F8-4D25-A218-B1D8CA8D5F5B}"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C7BF04CE-D315-460F-88BC-98642B1C1A6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4</c:f>
              <c:numCache>
                <c:formatCode>General</c:formatCode>
                <c:ptCount val="3"/>
                <c:pt idx="0">
                  <c:v>0.41</c:v>
                </c:pt>
                <c:pt idx="1">
                  <c:v>0.86</c:v>
                </c:pt>
                <c:pt idx="2">
                  <c:v>0.43</c:v>
                </c:pt>
              </c:numCache>
            </c:numRef>
          </c:xVal>
          <c:yVal>
            <c:numRef>
              <c:f>Sheet1!$B$2:$B$4</c:f>
              <c:numCache>
                <c:formatCode>General</c:formatCode>
                <c:ptCount val="3"/>
                <c:pt idx="0">
                  <c:v>105.609756097561</c:v>
                </c:pt>
                <c:pt idx="1">
                  <c:v>355.97674418604652</c:v>
                </c:pt>
                <c:pt idx="2">
                  <c:v>173.7441860465116</c:v>
                </c:pt>
              </c:numCache>
            </c:numRef>
          </c:yVal>
          <c:bubbleSize>
            <c:numRef>
              <c:f>Sheet1!$C$2:$C$4</c:f>
              <c:numCache>
                <c:formatCode>General</c:formatCode>
                <c:ptCount val="3"/>
                <c:pt idx="0">
                  <c:v>3249.0277999999998</c:v>
                </c:pt>
                <c:pt idx="1">
                  <c:v>25437.459299999999</c:v>
                </c:pt>
                <c:pt idx="2">
                  <c:v>5633.6952000000001</c:v>
                </c:pt>
              </c:numCache>
            </c:numRef>
          </c:bubbleSize>
          <c:bubble3D val="0"/>
          <c:extLst>
            <c:ext xmlns:c15="http://schemas.microsoft.com/office/drawing/2012/chart" uri="{02D57815-91ED-43cb-92C2-25804820EDAC}">
              <c15:datalabelsRange>
                <c15:f>Sheet1!$E$2:$E$21</c15:f>
                <c15:dlblRangeCache>
                  <c:ptCount val="20"/>
                  <c:pt idx="0">
                    <c:v>1/2 CHAMP NICOLAS ROSE 1E C BS 1CT X 375ML</c:v>
                  </c:pt>
                  <c:pt idx="1">
                    <c:v>CHAMPAGNE E.NICOLAS ROSE 1CT X 750ML</c:v>
                  </c:pt>
                  <c:pt idx="2">
                    <c:v>CHAMPAGNE NICOLAS ROSE 1ERE CU 1CT X 750ML</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8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CA4D9967-0049-45DF-B47F-DB1AAC161F1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B70C7786-33D2-41A5-ADE2-D535C55533D6}"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8A93B649-6415-4561-8B2E-2AD9A1FD67A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C5D25BAE-CAF0-44DC-9EB4-44420E9AD97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8F4EB15A-095E-4809-9DEE-547A7E8AFDEF}"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22E7D4FB-3F7A-4FF6-BC10-8F22F58C80EF}"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22FF13A3-1115-4C76-8C97-C93BCFF8A9AE}"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58294FD8-6AAE-4D39-B898-E308E4D9A48C}"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53258F41-9F96-4E9E-94A7-37E39DB2B0A9}"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E4285737-C44D-46A9-A10E-CAE7C3B0183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4</c:f>
              <c:numCache>
                <c:formatCode>General</c:formatCode>
                <c:ptCount val="3"/>
                <c:pt idx="0">
                  <c:v>0.47</c:v>
                </c:pt>
                <c:pt idx="1">
                  <c:v>0.72</c:v>
                </c:pt>
                <c:pt idx="2">
                  <c:v>0.5</c:v>
                </c:pt>
              </c:numCache>
            </c:numRef>
          </c:xVal>
          <c:yVal>
            <c:numRef>
              <c:f>Sheet1!$B$2:$B$4</c:f>
              <c:numCache>
                <c:formatCode>General</c:formatCode>
                <c:ptCount val="3"/>
                <c:pt idx="0">
                  <c:v>66.042553191489361</c:v>
                </c:pt>
                <c:pt idx="1">
                  <c:v>238.43055555555549</c:v>
                </c:pt>
                <c:pt idx="2">
                  <c:v>85.72</c:v>
                </c:pt>
              </c:numCache>
            </c:numRef>
          </c:yVal>
          <c:bubbleSize>
            <c:numRef>
              <c:f>Sheet1!$C$2:$C$4</c:f>
              <c:numCache>
                <c:formatCode>General</c:formatCode>
                <c:ptCount val="3"/>
                <c:pt idx="0">
                  <c:v>2279.9875999999999</c:v>
                </c:pt>
                <c:pt idx="1">
                  <c:v>14208.310600000001</c:v>
                </c:pt>
                <c:pt idx="2">
                  <c:v>3518.0493999999999</c:v>
                </c:pt>
              </c:numCache>
            </c:numRef>
          </c:bubbleSize>
          <c:bubble3D val="0"/>
          <c:extLst>
            <c:ext xmlns:c15="http://schemas.microsoft.com/office/drawing/2012/chart" uri="{02D57815-91ED-43cb-92C2-25804820EDAC}">
              <c15:datalabelsRange>
                <c15:f>Sheet1!$E$2:$E$21</c15:f>
                <c15:dlblRangeCache>
                  <c:ptCount val="20"/>
                  <c:pt idx="0">
                    <c:v>1/2 CHAMP NICOLAS ROSE 1E C BS 1CT X 375ML</c:v>
                  </c:pt>
                  <c:pt idx="1">
                    <c:v>CHAMPAGNE E.NICOLAS ROSE 1CT X 750ML</c:v>
                  </c:pt>
                  <c:pt idx="2">
                    <c:v>CHAMPAGNE NICOLAS ROSE 1ERE CU 1CT X 750ML</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8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D0CED5D3-93E6-41FB-8074-64142DF3F726}"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A5CCF1C7-CD3D-41E8-AE71-DFB7FC2CFF56}"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DA597211-14E3-4555-BD4E-BF67CCB33C72}"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B5DDB8AD-85CA-4EED-B180-B04014C5E789}"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CAE7D316-9F63-4B67-B82A-51011E567A0C}"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A3ABE6A5-638E-4106-B29F-C4889A3AF9BF}"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E886D6AD-B26C-4D72-BE47-F62B5EE3C36D}"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D90FA6DA-E384-4B64-A301-99B16D740BBB}"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2900D8AF-ECFF-4C85-94BF-0A7D166D1CE0}"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F57DF6AC-4E1B-4AAD-8327-CFC0E6C1638E}"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3</c:f>
              <c:numCache>
                <c:formatCode>General</c:formatCode>
                <c:ptCount val="2"/>
                <c:pt idx="0">
                  <c:v>0.68</c:v>
                </c:pt>
                <c:pt idx="1">
                  <c:v>0.47</c:v>
                </c:pt>
              </c:numCache>
            </c:numRef>
          </c:xVal>
          <c:yVal>
            <c:numRef>
              <c:f>Sheet1!$B$2:$B$3</c:f>
              <c:numCache>
                <c:formatCode>General</c:formatCode>
                <c:ptCount val="2"/>
                <c:pt idx="0">
                  <c:v>165.33823529411771</c:v>
                </c:pt>
                <c:pt idx="1">
                  <c:v>40</c:v>
                </c:pt>
              </c:numCache>
            </c:numRef>
          </c:yVal>
          <c:bubbleSize>
            <c:numRef>
              <c:f>Sheet1!$C$2:$C$3</c:f>
              <c:numCache>
                <c:formatCode>General</c:formatCode>
                <c:ptCount val="2"/>
                <c:pt idx="0">
                  <c:v>9312.4851000000017</c:v>
                </c:pt>
                <c:pt idx="1">
                  <c:v>1472.9490000000001</c:v>
                </c:pt>
              </c:numCache>
            </c:numRef>
          </c:bubbleSize>
          <c:bubble3D val="0"/>
          <c:extLst>
            <c:ext xmlns:c15="http://schemas.microsoft.com/office/drawing/2012/chart" uri="{02D57815-91ED-43cb-92C2-25804820EDAC}">
              <c15:datalabelsRange>
                <c15:f>Sheet1!$E$2:$E$21</c15:f>
                <c15:dlblRangeCache>
                  <c:ptCount val="20"/>
                  <c:pt idx="0">
                    <c:v>CHAMPAGNE E.NICOLAS ROSE 1CT X 750ML</c:v>
                  </c:pt>
                  <c:pt idx="1">
                    <c:v>CHAMPAGNE NICOLAS ROSE 1ERE CU 1CT X 750ML</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8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AD73A864-916E-4491-855B-1314A10B7127}"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54AFC125-DF84-4039-B64F-CD610671CBF0}"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8F72AF11-FDFD-4DD3-B9E6-610B37D5BB16}"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8F1E4330-49BF-405E-A8A0-ED235995AFC7}"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836FB3B2-5E64-45E4-9095-9FA191377C43}"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038E34E6-1B26-4366-944F-518082C408C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4A7290B3-7654-49AA-8A15-A71E1B29FE9A}"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DB02B654-E7E2-42D5-8E3C-6954B8EB84D2}"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018503C1-2C2E-49F9-896F-8B4CD46DD30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5F7CB2A6-AA32-4761-B895-6AC17502E1B7}"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4</c:f>
              <c:numCache>
                <c:formatCode>General</c:formatCode>
                <c:ptCount val="3"/>
                <c:pt idx="0">
                  <c:v>0.34</c:v>
                </c:pt>
                <c:pt idx="1">
                  <c:v>0.74</c:v>
                </c:pt>
                <c:pt idx="2">
                  <c:v>0.25</c:v>
                </c:pt>
              </c:numCache>
            </c:numRef>
          </c:xVal>
          <c:yVal>
            <c:numRef>
              <c:f>Sheet1!$B$2:$B$4</c:f>
              <c:numCache>
                <c:formatCode>General</c:formatCode>
                <c:ptCount val="3"/>
                <c:pt idx="0">
                  <c:v>56.647058823529413</c:v>
                </c:pt>
                <c:pt idx="1">
                  <c:v>197.51351351351349</c:v>
                </c:pt>
                <c:pt idx="2">
                  <c:v>56.44</c:v>
                </c:pt>
              </c:numCache>
            </c:numRef>
          </c:yVal>
          <c:bubbleSize>
            <c:numRef>
              <c:f>Sheet1!$C$2:$C$4</c:f>
              <c:numCache>
                <c:formatCode>General</c:formatCode>
                <c:ptCount val="3"/>
                <c:pt idx="0">
                  <c:v>1454.5848000000001</c:v>
                </c:pt>
                <c:pt idx="1">
                  <c:v>12520.8133</c:v>
                </c:pt>
                <c:pt idx="2">
                  <c:v>1005.984</c:v>
                </c:pt>
              </c:numCache>
            </c:numRef>
          </c:bubbleSize>
          <c:bubble3D val="0"/>
          <c:extLst>
            <c:ext xmlns:c15="http://schemas.microsoft.com/office/drawing/2012/chart" uri="{02D57815-91ED-43cb-92C2-25804820EDAC}">
              <c15:datalabelsRange>
                <c15:f>Sheet1!$E$2:$E$21</c15:f>
                <c15:dlblRangeCache>
                  <c:ptCount val="20"/>
                  <c:pt idx="0">
                    <c:v>1/2 CHAMP NICOLAS ROSE 1E C BS 1CT X 375ML</c:v>
                  </c:pt>
                  <c:pt idx="1">
                    <c:v>CHAMPAGNE E.NICOLAS ROSE 1CT X 750ML</c:v>
                  </c:pt>
                  <c:pt idx="2">
                    <c:v>CHAMPAGNE NICOLAS ROSE 1ERE CU 1CT X 750ML</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8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2DF4D3CA-36DF-474B-BA74-EAF14D7BC0D2}"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1118543E-3BE6-4586-A7C2-4FE48F723A1F}"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71148EC0-CEA9-46EA-AEF2-917486752B0B}"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D0EE2876-FB07-4C7F-A0A2-AA765D12CBCC}"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C0A91816-2C97-4F35-B18C-A3118EF76F85}"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849A2988-EBF8-414C-A7D2-A1E261D86EC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2D5CE13E-AD38-4803-AB84-FA2C1CD867CE}"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CCCD72CA-737F-45A6-8D67-217B5EA6592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A73F5B36-C9C7-4898-9218-B7679BE477D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3BDEC706-DABC-46F7-9480-57BF7CB2EAED}"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5</c:f>
              <c:numCache>
                <c:formatCode>General</c:formatCode>
                <c:ptCount val="4"/>
                <c:pt idx="0">
                  <c:v>0.42</c:v>
                </c:pt>
                <c:pt idx="1">
                  <c:v>0.73</c:v>
                </c:pt>
                <c:pt idx="2">
                  <c:v>0.14000000000000001</c:v>
                </c:pt>
                <c:pt idx="3">
                  <c:v>0.42</c:v>
                </c:pt>
              </c:numCache>
            </c:numRef>
          </c:xVal>
          <c:yVal>
            <c:numRef>
              <c:f>Sheet1!$B$2:$B$5</c:f>
              <c:numCache>
                <c:formatCode>General</c:formatCode>
                <c:ptCount val="4"/>
                <c:pt idx="0">
                  <c:v>325.47619047619048</c:v>
                </c:pt>
                <c:pt idx="1">
                  <c:v>1000.931506849315</c:v>
                </c:pt>
                <c:pt idx="2">
                  <c:v>377.28571428571422</c:v>
                </c:pt>
                <c:pt idx="3">
                  <c:v>364.28571428571428</c:v>
                </c:pt>
              </c:numCache>
            </c:numRef>
          </c:yVal>
          <c:bubbleSize>
            <c:numRef>
              <c:f>Sheet1!$C$2:$C$5</c:f>
              <c:numCache>
                <c:formatCode>General</c:formatCode>
                <c:ptCount val="4"/>
                <c:pt idx="0">
                  <c:v>10563.1468</c:v>
                </c:pt>
                <c:pt idx="1">
                  <c:v>61124.902199999997</c:v>
                </c:pt>
                <c:pt idx="2">
                  <c:v>3926.0473999999999</c:v>
                </c:pt>
                <c:pt idx="3">
                  <c:v>12331.8794</c:v>
                </c:pt>
              </c:numCache>
            </c:numRef>
          </c:bubbleSize>
          <c:bubble3D val="0"/>
          <c:extLst>
            <c:ext xmlns:c15="http://schemas.microsoft.com/office/drawing/2012/chart" uri="{02D57815-91ED-43cb-92C2-25804820EDAC}">
              <c15:datalabelsRange>
                <c15:f>Sheet1!$E$2:$E$21</c15:f>
                <c15:dlblRangeCache>
                  <c:ptCount val="20"/>
                  <c:pt idx="0">
                    <c:v>1/2 CHAMP NICOLAS ROSE 1E C BS 1CT X 375ML</c:v>
                  </c:pt>
                  <c:pt idx="1">
                    <c:v>CHAMPAGNE E.NICOLAS ROSE 1CT X 750ML</c:v>
                  </c:pt>
                  <c:pt idx="2">
                    <c:v>CHAMPAGNE NICOLAS ROSE 1ERE ET 1CT X 750ML</c:v>
                  </c:pt>
                  <c:pt idx="3">
                    <c:v>CHAMPAGNE NICOLAS ROSE 1ERE CU 1CT X 750ML</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8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C9BB64E4-A9B9-4613-AB8D-3077EF70AA1E}"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EB2FC7AD-F666-4583-8C0F-ABBFF10CA648}"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99EA2964-5B81-4959-8036-4DCA4003895F}"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F1C2E16D-BBF4-4556-AD4C-68BE0EDC0B7C}"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8C8997D7-6921-4114-B78A-C1FD11FC093D}"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BD170A95-18ED-4DE9-9AAA-756419DA119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6DEE1B11-FD98-452E-8666-283AF7EF6A92}"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E312742A-34D3-4D5D-85E2-E370FA46609E}"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0136141B-4EB5-49BD-82D3-38D0BAB55179}"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CE8D3032-3D11-499A-980F-60522E37FF76}"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5</c:f>
              <c:numCache>
                <c:formatCode>General</c:formatCode>
                <c:ptCount val="4"/>
                <c:pt idx="0">
                  <c:v>0.32</c:v>
                </c:pt>
                <c:pt idx="1">
                  <c:v>0.75</c:v>
                </c:pt>
                <c:pt idx="2">
                  <c:v>0.16</c:v>
                </c:pt>
                <c:pt idx="3">
                  <c:v>0.32</c:v>
                </c:pt>
              </c:numCache>
            </c:numRef>
          </c:xVal>
          <c:yVal>
            <c:numRef>
              <c:f>Sheet1!$B$2:$B$5</c:f>
              <c:numCache>
                <c:formatCode>General</c:formatCode>
                <c:ptCount val="4"/>
                <c:pt idx="0">
                  <c:v>210.625</c:v>
                </c:pt>
                <c:pt idx="1">
                  <c:v>516.91999999999996</c:v>
                </c:pt>
                <c:pt idx="2">
                  <c:v>176.1875</c:v>
                </c:pt>
                <c:pt idx="3">
                  <c:v>272.1875</c:v>
                </c:pt>
              </c:numCache>
            </c:numRef>
          </c:yVal>
          <c:bubbleSize>
            <c:numRef>
              <c:f>Sheet1!$C$2:$C$5</c:f>
              <c:numCache>
                <c:formatCode>General</c:formatCode>
                <c:ptCount val="4"/>
                <c:pt idx="0">
                  <c:v>5129.5136000000002</c:v>
                </c:pt>
                <c:pt idx="1">
                  <c:v>32208.281800000001</c:v>
                </c:pt>
                <c:pt idx="2">
                  <c:v>1987.6420000000001</c:v>
                </c:pt>
                <c:pt idx="3">
                  <c:v>6747.2982000000002</c:v>
                </c:pt>
              </c:numCache>
            </c:numRef>
          </c:bubbleSize>
          <c:bubble3D val="0"/>
          <c:extLst>
            <c:ext xmlns:c15="http://schemas.microsoft.com/office/drawing/2012/chart" uri="{02D57815-91ED-43cb-92C2-25804820EDAC}">
              <c15:datalabelsRange>
                <c15:f>Sheet1!$E$2:$E$21</c15:f>
                <c15:dlblRangeCache>
                  <c:ptCount val="20"/>
                  <c:pt idx="0">
                    <c:v>1/2 CHAMP NICOLAS ROSE 1E C BS 1CT X 375ML</c:v>
                  </c:pt>
                  <c:pt idx="1">
                    <c:v>CHAMPAGNE E.NICOLAS ROSE 1CT X 750ML</c:v>
                  </c:pt>
                  <c:pt idx="2">
                    <c:v>CHAMPAGNE NICOLAS ROSE 1ERE ET 1CT X 750ML</c:v>
                  </c:pt>
                  <c:pt idx="3">
                    <c:v>CHAMPAGNE NICOLAS ROSE 1ERE CU 1CT X 750ML</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8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AE271BA0-950C-4E6F-985E-C009FEDF2B57}"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B76BC17A-D22F-4D4E-A920-764D3BF2EBC6}"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84759894-0B78-4633-AD98-8889D3977E68}"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32FEF711-383C-4644-A0E2-91DB0273BAFF}"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56F8073D-FF68-419F-8DB0-5F5E47B7B964}"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EE6F7C8C-8242-4C56-830E-53B136BCE869}"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43828928-84C8-48FC-B749-6CE1391434D7}"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F36CB8FE-D013-49DA-8312-30734847DC96}"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A30DD177-0A3B-4577-A358-A54EF6E2CF59}"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6647008E-CABD-44BD-A53C-79050E17AEA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6</c:f>
              <c:numCache>
                <c:formatCode>General</c:formatCode>
                <c:ptCount val="5"/>
                <c:pt idx="0">
                  <c:v>0.23</c:v>
                </c:pt>
                <c:pt idx="1">
                  <c:v>0.56000000000000005</c:v>
                </c:pt>
                <c:pt idx="2">
                  <c:v>0.06</c:v>
                </c:pt>
                <c:pt idx="3">
                  <c:v>0.09</c:v>
                </c:pt>
                <c:pt idx="4">
                  <c:v>0.32</c:v>
                </c:pt>
              </c:numCache>
            </c:numRef>
          </c:xVal>
          <c:yVal>
            <c:numRef>
              <c:f>Sheet1!$B$2:$B$6</c:f>
              <c:numCache>
                <c:formatCode>General</c:formatCode>
                <c:ptCount val="5"/>
                <c:pt idx="0">
                  <c:v>500.30434782608688</c:v>
                </c:pt>
                <c:pt idx="1">
                  <c:v>1071.7678571428571</c:v>
                </c:pt>
                <c:pt idx="2">
                  <c:v>391.66666666666669</c:v>
                </c:pt>
                <c:pt idx="3">
                  <c:v>392.11111111111109</c:v>
                </c:pt>
                <c:pt idx="4">
                  <c:v>517.75</c:v>
                </c:pt>
              </c:numCache>
            </c:numRef>
          </c:yVal>
          <c:bubbleSize>
            <c:numRef>
              <c:f>Sheet1!$C$2:$C$6</c:f>
              <c:numCache>
                <c:formatCode>General</c:formatCode>
                <c:ptCount val="5"/>
                <c:pt idx="0">
                  <c:v>8881.8364000000001</c:v>
                </c:pt>
                <c:pt idx="1">
                  <c:v>49937.420100000003</c:v>
                </c:pt>
                <c:pt idx="2">
                  <c:v>1679.3806</c:v>
                </c:pt>
                <c:pt idx="3">
                  <c:v>2479.395</c:v>
                </c:pt>
                <c:pt idx="4">
                  <c:v>12964.845799999999</c:v>
                </c:pt>
              </c:numCache>
            </c:numRef>
          </c:bubbleSize>
          <c:bubble3D val="0"/>
          <c:extLst>
            <c:ext xmlns:c15="http://schemas.microsoft.com/office/drawing/2012/chart" uri="{02D57815-91ED-43cb-92C2-25804820EDAC}">
              <c15:datalabelsRange>
                <c15:f>Sheet1!$E$2:$E$21</c15:f>
                <c15:dlblRangeCache>
                  <c:ptCount val="20"/>
                  <c:pt idx="0">
                    <c:v>1/2 CHAMP NICOLAS ROSE 1E C BS 1CT X 375ML</c:v>
                  </c:pt>
                  <c:pt idx="1">
                    <c:v>CHAMPAGNE E.NICOLAS ROSE 1CT X 750ML</c:v>
                  </c:pt>
                  <c:pt idx="2">
                    <c:v>CHAMPAGNE NICOLAS ROSE 1E C BS 1CT X 750ML</c:v>
                  </c:pt>
                  <c:pt idx="3">
                    <c:v>CHAMPAGNE NICOLAS ROSE 1ERE ET 1CT X 750ML</c:v>
                  </c:pt>
                  <c:pt idx="4">
                    <c:v>CHAMPAGNE NICOLAS ROSE 1ERE CU 1CT X 750ML</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8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57D0B686-BB04-4273-8EC3-5118FBF3D45C}"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2D523A30-04C9-4672-8E8F-E5FEE17CF35C}"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5F9474FD-A6B6-4BAF-AA41-B517664811CF}"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4989656D-2C73-4147-B655-7EE3D79C49FD}"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C5450E9D-1287-4454-BA0F-1F7DA074C19F}"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61697F97-1480-46C9-BCF3-7F72D82574BE}"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5DBC3F65-1279-44F0-8812-709FFFC4E508}"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3D3788AE-DB75-4C9D-9454-2ECCEC77B9E0}"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CCA5402A-6A4A-4E18-BAFD-F3EF7838EE9C}"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E5C6937C-5376-4D88-A016-26847CC78F1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6</c:f>
              <c:numCache>
                <c:formatCode>General</c:formatCode>
                <c:ptCount val="5"/>
                <c:pt idx="0">
                  <c:v>0.18</c:v>
                </c:pt>
                <c:pt idx="1">
                  <c:v>0.53</c:v>
                </c:pt>
                <c:pt idx="2">
                  <c:v>7.0000000000000007E-2</c:v>
                </c:pt>
                <c:pt idx="3">
                  <c:v>0.05</c:v>
                </c:pt>
                <c:pt idx="4">
                  <c:v>0.28000000000000003</c:v>
                </c:pt>
              </c:numCache>
            </c:numRef>
          </c:xVal>
          <c:yVal>
            <c:numRef>
              <c:f>Sheet1!$B$2:$B$6</c:f>
              <c:numCache>
                <c:formatCode>General</c:formatCode>
                <c:ptCount val="5"/>
                <c:pt idx="0">
                  <c:v>442.88888888888891</c:v>
                </c:pt>
                <c:pt idx="1">
                  <c:v>999.24528301886789</c:v>
                </c:pt>
                <c:pt idx="2">
                  <c:v>249</c:v>
                </c:pt>
                <c:pt idx="3">
                  <c:v>628</c:v>
                </c:pt>
                <c:pt idx="4">
                  <c:v>494.53571428571422</c:v>
                </c:pt>
              </c:numCache>
            </c:numRef>
          </c:yVal>
          <c:bubbleSize>
            <c:numRef>
              <c:f>Sheet1!$C$2:$C$6</c:f>
              <c:numCache>
                <c:formatCode>General</c:formatCode>
                <c:ptCount val="5"/>
                <c:pt idx="0">
                  <c:v>6094.4557999999997</c:v>
                </c:pt>
                <c:pt idx="1">
                  <c:v>44041.5962</c:v>
                </c:pt>
                <c:pt idx="2">
                  <c:v>1336.6007999999999</c:v>
                </c:pt>
                <c:pt idx="3">
                  <c:v>2340.6142</c:v>
                </c:pt>
                <c:pt idx="4">
                  <c:v>10944.071400000001</c:v>
                </c:pt>
              </c:numCache>
            </c:numRef>
          </c:bubbleSize>
          <c:bubble3D val="0"/>
          <c:extLst>
            <c:ext xmlns:c15="http://schemas.microsoft.com/office/drawing/2012/chart" uri="{02D57815-91ED-43cb-92C2-25804820EDAC}">
              <c15:datalabelsRange>
                <c15:f>Sheet1!$E$2:$E$21</c15:f>
                <c15:dlblRangeCache>
                  <c:ptCount val="20"/>
                  <c:pt idx="0">
                    <c:v>1/2 CHAMP NICOLAS ROSE 1E C BS 1CT X 375ML</c:v>
                  </c:pt>
                  <c:pt idx="1">
                    <c:v>CHAMPAGNE E.NICOLAS ROSE 1CT X 750ML</c:v>
                  </c:pt>
                  <c:pt idx="2">
                    <c:v>CHAMPAGNE NICOLAS ROSE 1E C BS 1CT X 750ML</c:v>
                  </c:pt>
                  <c:pt idx="3">
                    <c:v>CHAMPAGNE NICOLAS ROSE 1ERE ET 1CT X 750ML</c:v>
                  </c:pt>
                  <c:pt idx="4">
                    <c:v>CHAMPAGNE NICOLAS ROSE 1ERE CU 1CT X 750ML</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Nicolas</c:v>
                </c:pt>
                <c:pt idx="2">
                  <c:v>Deutz</c:v>
                </c:pt>
                <c:pt idx="3">
                  <c:v>Laurent Perrier</c:v>
                </c:pt>
                <c:pt idx="4">
                  <c:v>Taittinger</c:v>
                </c:pt>
                <c:pt idx="5">
                  <c:v>Canard Duchêne</c:v>
                </c:pt>
                <c:pt idx="6">
                  <c:v>Heidsieck &amp; Co Monopole</c:v>
                </c:pt>
                <c:pt idx="7">
                  <c:v>De Bligny</c:v>
                </c:pt>
                <c:pt idx="8">
                  <c:v>Roederer</c:v>
                </c:pt>
                <c:pt idx="9">
                  <c:v>Others</c:v>
                </c:pt>
              </c:strCache>
            </c:strRef>
          </c:cat>
          <c:val>
            <c:numRef>
              <c:f>Sheet1!$B$2:$B$11</c:f>
              <c:numCache>
                <c:formatCode>General</c:formatCode>
                <c:ptCount val="10"/>
                <c:pt idx="0">
                  <c:v>0.28332187098139439</c:v>
                </c:pt>
                <c:pt idx="1">
                  <c:v>9.925803314179675E-2</c:v>
                </c:pt>
                <c:pt idx="2">
                  <c:v>9.6066548109322344E-2</c:v>
                </c:pt>
                <c:pt idx="3">
                  <c:v>4.8399272378037865E-2</c:v>
                </c:pt>
                <c:pt idx="4">
                  <c:v>4.7148417788485018E-2</c:v>
                </c:pt>
                <c:pt idx="5">
                  <c:v>4.6297897709699998E-2</c:v>
                </c:pt>
                <c:pt idx="6">
                  <c:v>4.2439018931193333E-2</c:v>
                </c:pt>
                <c:pt idx="7">
                  <c:v>3.7912746406654402E-2</c:v>
                </c:pt>
                <c:pt idx="8">
                  <c:v>3.5931929907378771E-2</c:v>
                </c:pt>
                <c:pt idx="9">
                  <c:v>0.26322426464603715</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Nicolas</c:v>
                </c:pt>
                <c:pt idx="2">
                  <c:v>Deutz</c:v>
                </c:pt>
                <c:pt idx="3">
                  <c:v>Laurent Perrier</c:v>
                </c:pt>
                <c:pt idx="4">
                  <c:v>Taittinger</c:v>
                </c:pt>
                <c:pt idx="5">
                  <c:v>Canard Duchêne</c:v>
                </c:pt>
                <c:pt idx="6">
                  <c:v>Heidsieck &amp; Co Monopole</c:v>
                </c:pt>
                <c:pt idx="7">
                  <c:v>De Bligny</c:v>
                </c:pt>
                <c:pt idx="8">
                  <c:v>Roederer</c:v>
                </c:pt>
                <c:pt idx="9">
                  <c:v>Others</c:v>
                </c:pt>
              </c:strCache>
            </c:strRef>
          </c:cat>
          <c:val>
            <c:numRef>
              <c:f>Sheet1!$C$2:$C$11</c:f>
              <c:numCache>
                <c:formatCode>General</c:formatCode>
                <c:ptCount val="10"/>
                <c:pt idx="0">
                  <c:v>0.10390455531453359</c:v>
                </c:pt>
                <c:pt idx="1">
                  <c:v>7.4403470715835099E-2</c:v>
                </c:pt>
                <c:pt idx="2">
                  <c:v>5.5531453362255949E-2</c:v>
                </c:pt>
                <c:pt idx="3">
                  <c:v>5.6182212581344891E-2</c:v>
                </c:pt>
                <c:pt idx="4">
                  <c:v>3.4707158351409965E-2</c:v>
                </c:pt>
                <c:pt idx="5">
                  <c:v>8.0260303687635537E-2</c:v>
                </c:pt>
                <c:pt idx="6">
                  <c:v>2.0390455531453355E-2</c:v>
                </c:pt>
                <c:pt idx="7">
                  <c:v>2.082429501084598E-2</c:v>
                </c:pt>
                <c:pt idx="8">
                  <c:v>7.5488069414316683E-2</c:v>
                </c:pt>
                <c:pt idx="9">
                  <c:v>0.4783080260303687</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Nicolas</c:v>
                </c:pt>
                <c:pt idx="2">
                  <c:v>Deutz</c:v>
                </c:pt>
                <c:pt idx="3">
                  <c:v>Laurent Perrier</c:v>
                </c:pt>
                <c:pt idx="4">
                  <c:v>Taittinger</c:v>
                </c:pt>
                <c:pt idx="5">
                  <c:v>Canard Duchêne</c:v>
                </c:pt>
                <c:pt idx="6">
                  <c:v>Heidsieck &amp; Co Monopole</c:v>
                </c:pt>
                <c:pt idx="7">
                  <c:v>De Bligny</c:v>
                </c:pt>
                <c:pt idx="8">
                  <c:v>Roederer</c:v>
                </c:pt>
                <c:pt idx="9">
                  <c:v>Others</c:v>
                </c:pt>
              </c:strCache>
            </c:strRef>
          </c:cat>
          <c:val>
            <c:numRef>
              <c:f>Sheet1!$D$2:$D$11</c:f>
              <c:numCache>
                <c:formatCode>General</c:formatCode>
                <c:ptCount val="10"/>
                <c:pt idx="0">
                  <c:v>36.673679640269263</c:v>
                </c:pt>
                <c:pt idx="1">
                  <c:v>74.959646449516853</c:v>
                </c:pt>
                <c:pt idx="2">
                  <c:v>57.805192811822451</c:v>
                </c:pt>
                <c:pt idx="3">
                  <c:v>116.08069671485121</c:v>
                </c:pt>
                <c:pt idx="4">
                  <c:v>73.612562158737887</c:v>
                </c:pt>
                <c:pt idx="5">
                  <c:v>173.35625948048173</c:v>
                </c:pt>
                <c:pt idx="6">
                  <c:v>48.046481857916035</c:v>
                </c:pt>
                <c:pt idx="7">
                  <c:v>54.926896583759287</c:v>
                </c:pt>
                <c:pt idx="8">
                  <c:v>210.08632046455955</c:v>
                </c:pt>
                <c:pt idx="9">
                  <c:v>181.71122129396352</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A1AF83C0-C298-4FCB-91C6-B1E14D6DF586}"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6248C976-9357-4756-B9D0-DAA94297545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650EEDC7-36E2-463D-A170-78DFAB911A60}"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00D25167-A99B-46A2-B827-818CDA7C334E}"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29B00772-DE93-4C2C-BFAA-A4C38181D5E0}"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E4019E25-F8C7-4876-94F6-AD278E5D3569}"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7D734EA3-FF9E-48E8-B29B-A98E03C1BF9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B7FB6DA4-45EE-4B6D-B580-4AF295C17CF6}"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0A2D42B7-1F00-4305-A065-FC80FBCDF85B}"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B42728EB-BD54-4B6A-B3F7-6B6E9C494AD2}"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5</c:f>
              <c:numCache>
                <c:formatCode>General</c:formatCode>
                <c:ptCount val="4"/>
                <c:pt idx="0">
                  <c:v>0.2</c:v>
                </c:pt>
                <c:pt idx="1">
                  <c:v>0.45</c:v>
                </c:pt>
                <c:pt idx="2">
                  <c:v>0.04</c:v>
                </c:pt>
                <c:pt idx="3">
                  <c:v>0.17</c:v>
                </c:pt>
              </c:numCache>
            </c:numRef>
          </c:xVal>
          <c:yVal>
            <c:numRef>
              <c:f>Sheet1!$B$2:$B$5</c:f>
              <c:numCache>
                <c:formatCode>General</c:formatCode>
                <c:ptCount val="4"/>
                <c:pt idx="0">
                  <c:v>464.65</c:v>
                </c:pt>
                <c:pt idx="1">
                  <c:v>1188.088888888889</c:v>
                </c:pt>
                <c:pt idx="2">
                  <c:v>839.75</c:v>
                </c:pt>
                <c:pt idx="3">
                  <c:v>480.29411764705878</c:v>
                </c:pt>
              </c:numCache>
            </c:numRef>
          </c:yVal>
          <c:bubbleSize>
            <c:numRef>
              <c:f>Sheet1!$C$2:$C$5</c:f>
              <c:numCache>
                <c:formatCode>General</c:formatCode>
                <c:ptCount val="4"/>
                <c:pt idx="0">
                  <c:v>7100.8307999999997</c:v>
                </c:pt>
                <c:pt idx="1">
                  <c:v>44541.595400000013</c:v>
                </c:pt>
                <c:pt idx="2">
                  <c:v>2426.8018000000002</c:v>
                </c:pt>
                <c:pt idx="3">
                  <c:v>6433.7096000000001</c:v>
                </c:pt>
              </c:numCache>
            </c:numRef>
          </c:bubbleSize>
          <c:bubble3D val="0"/>
          <c:extLst>
            <c:ext xmlns:c15="http://schemas.microsoft.com/office/drawing/2012/chart" uri="{02D57815-91ED-43cb-92C2-25804820EDAC}">
              <c15:datalabelsRange>
                <c15:f>Sheet1!$E$2:$E$21</c15:f>
                <c15:dlblRangeCache>
                  <c:ptCount val="20"/>
                  <c:pt idx="0">
                    <c:v>1/2 CHAMP NICOLAS ROSE 1E C BS 1CT X 375ML</c:v>
                  </c:pt>
                  <c:pt idx="1">
                    <c:v>CHAMPAGNE E.NICOLAS ROSE 1CT X 750ML</c:v>
                  </c:pt>
                  <c:pt idx="2">
                    <c:v>CHAMPAGNE NICOLAS ROSE 1E C BS 1CT X 750ML</c:v>
                  </c:pt>
                  <c:pt idx="3">
                    <c:v>CHAMPAGNE NICOLAS ROSE 1ERE CU 1CT X 750ML</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Nicolas</c:v>
                </c:pt>
                <c:pt idx="2">
                  <c:v>Deutz</c:v>
                </c:pt>
                <c:pt idx="3">
                  <c:v>Laurent Perrier</c:v>
                </c:pt>
                <c:pt idx="4">
                  <c:v>Heidsieck &amp; Co Monopole</c:v>
                </c:pt>
                <c:pt idx="5">
                  <c:v>Ayala</c:v>
                </c:pt>
                <c:pt idx="6">
                  <c:v>Taittinger</c:v>
                </c:pt>
                <c:pt idx="7">
                  <c:v>Canard Duchêne</c:v>
                </c:pt>
                <c:pt idx="8">
                  <c:v>De Bligny</c:v>
                </c:pt>
                <c:pt idx="9">
                  <c:v>Others</c:v>
                </c:pt>
              </c:strCache>
            </c:strRef>
          </c:cat>
          <c:val>
            <c:numRef>
              <c:f>Sheet1!$B$2:$B$11</c:f>
              <c:numCache>
                <c:formatCode>General</c:formatCode>
                <c:ptCount val="10"/>
                <c:pt idx="0">
                  <c:v>0.21031986079268597</c:v>
                </c:pt>
                <c:pt idx="1">
                  <c:v>0.10637980942892324</c:v>
                </c:pt>
                <c:pt idx="2">
                  <c:v>0.10239448207379333</c:v>
                </c:pt>
                <c:pt idx="3">
                  <c:v>6.7305278796233103E-2</c:v>
                </c:pt>
                <c:pt idx="4">
                  <c:v>4.7923737954988242E-2</c:v>
                </c:pt>
                <c:pt idx="5">
                  <c:v>4.2379788213336225E-2</c:v>
                </c:pt>
                <c:pt idx="6">
                  <c:v>3.9355809365000952E-2</c:v>
                </c:pt>
                <c:pt idx="7">
                  <c:v>3.930476796898226E-2</c:v>
                </c:pt>
                <c:pt idx="8">
                  <c:v>3.6319948410305045E-2</c:v>
                </c:pt>
                <c:pt idx="9">
                  <c:v>0.30831651699575163</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Nicolas</c:v>
                </c:pt>
                <c:pt idx="2">
                  <c:v>Deutz</c:v>
                </c:pt>
                <c:pt idx="3">
                  <c:v>Laurent Perrier</c:v>
                </c:pt>
                <c:pt idx="4">
                  <c:v>Heidsieck &amp; Co Monopole</c:v>
                </c:pt>
                <c:pt idx="5">
                  <c:v>Ayala</c:v>
                </c:pt>
                <c:pt idx="6">
                  <c:v>Taittinger</c:v>
                </c:pt>
                <c:pt idx="7">
                  <c:v>Canard Duchêne</c:v>
                </c:pt>
                <c:pt idx="8">
                  <c:v>De Bligny</c:v>
                </c:pt>
                <c:pt idx="9">
                  <c:v>Others</c:v>
                </c:pt>
              </c:strCache>
            </c:strRef>
          </c:cat>
          <c:val>
            <c:numRef>
              <c:f>Sheet1!$C$2:$C$11</c:f>
              <c:numCache>
                <c:formatCode>General</c:formatCode>
                <c:ptCount val="10"/>
                <c:pt idx="0">
                  <c:v>8.1408140814081403E-2</c:v>
                </c:pt>
                <c:pt idx="1">
                  <c:v>7.4257425742574254E-2</c:v>
                </c:pt>
                <c:pt idx="2">
                  <c:v>6.7931793179317926E-2</c:v>
                </c:pt>
                <c:pt idx="3">
                  <c:v>5.5005500550055007E-2</c:v>
                </c:pt>
                <c:pt idx="4">
                  <c:v>2.6677667766776679E-2</c:v>
                </c:pt>
                <c:pt idx="5">
                  <c:v>2.6402640264026403E-2</c:v>
                </c:pt>
                <c:pt idx="6">
                  <c:v>3.9603960396039604E-2</c:v>
                </c:pt>
                <c:pt idx="7">
                  <c:v>6.9856985698569865E-2</c:v>
                </c:pt>
                <c:pt idx="8">
                  <c:v>2.5577557755775578E-2</c:v>
                </c:pt>
                <c:pt idx="9">
                  <c:v>0.53327832783278328</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Nicolas</c:v>
                </c:pt>
                <c:pt idx="2">
                  <c:v>Deutz</c:v>
                </c:pt>
                <c:pt idx="3">
                  <c:v>Laurent Perrier</c:v>
                </c:pt>
                <c:pt idx="4">
                  <c:v>Heidsieck &amp; Co Monopole</c:v>
                </c:pt>
                <c:pt idx="5">
                  <c:v>Ayala</c:v>
                </c:pt>
                <c:pt idx="6">
                  <c:v>Taittinger</c:v>
                </c:pt>
                <c:pt idx="7">
                  <c:v>Canard Duchêne</c:v>
                </c:pt>
                <c:pt idx="8">
                  <c:v>De Bligny</c:v>
                </c:pt>
                <c:pt idx="9">
                  <c:v>Others</c:v>
                </c:pt>
              </c:strCache>
            </c:strRef>
          </c:cat>
          <c:val>
            <c:numRef>
              <c:f>Sheet1!$D$2:$D$11</c:f>
              <c:numCache>
                <c:formatCode>General</c:formatCode>
                <c:ptCount val="10"/>
                <c:pt idx="0">
                  <c:v>38.706825169652461</c:v>
                </c:pt>
                <c:pt idx="1">
                  <c:v>69.804059756460376</c:v>
                </c:pt>
                <c:pt idx="2">
                  <c:v>66.343216747130043</c:v>
                </c:pt>
                <c:pt idx="3">
                  <c:v>81.725388459624824</c:v>
                </c:pt>
                <c:pt idx="4">
                  <c:v>55.666917701272254</c:v>
                </c:pt>
                <c:pt idx="5">
                  <c:v>62.300075996410776</c:v>
                </c:pt>
                <c:pt idx="6">
                  <c:v>100.6305321502531</c:v>
                </c:pt>
                <c:pt idx="7">
                  <c:v>177.73158145520205</c:v>
                </c:pt>
                <c:pt idx="8">
                  <c:v>70.42289120795796</c:v>
                </c:pt>
                <c:pt idx="9">
                  <c:v>172.964566747532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Nicolas</c:v>
                </c:pt>
                <c:pt idx="2">
                  <c:v>Deutz</c:v>
                </c:pt>
                <c:pt idx="3">
                  <c:v>Laurent Perrier</c:v>
                </c:pt>
                <c:pt idx="4">
                  <c:v>Heidsieck &amp; Co Monopole</c:v>
                </c:pt>
                <c:pt idx="5">
                  <c:v>Taittinger</c:v>
                </c:pt>
                <c:pt idx="6">
                  <c:v>Roederer</c:v>
                </c:pt>
                <c:pt idx="7">
                  <c:v>Canard Duchêne</c:v>
                </c:pt>
                <c:pt idx="8">
                  <c:v>De Bligny</c:v>
                </c:pt>
                <c:pt idx="9">
                  <c:v>Others</c:v>
                </c:pt>
              </c:strCache>
            </c:strRef>
          </c:cat>
          <c:val>
            <c:numRef>
              <c:f>Sheet1!$B$2:$B$11</c:f>
              <c:numCache>
                <c:formatCode>General</c:formatCode>
                <c:ptCount val="10"/>
                <c:pt idx="0">
                  <c:v>0.24685588270010292</c:v>
                </c:pt>
                <c:pt idx="1">
                  <c:v>0.12624538521072912</c:v>
                </c:pt>
                <c:pt idx="2">
                  <c:v>0.10188276804023062</c:v>
                </c:pt>
                <c:pt idx="3">
                  <c:v>6.3328337414867569E-2</c:v>
                </c:pt>
                <c:pt idx="4">
                  <c:v>5.3210075153830382E-2</c:v>
                </c:pt>
                <c:pt idx="5">
                  <c:v>3.9843284725563761E-2</c:v>
                </c:pt>
                <c:pt idx="6">
                  <c:v>3.7315918570031768E-2</c:v>
                </c:pt>
                <c:pt idx="7">
                  <c:v>3.4491387722455018E-2</c:v>
                </c:pt>
                <c:pt idx="8">
                  <c:v>3.4416607791726651E-2</c:v>
                </c:pt>
                <c:pt idx="9">
                  <c:v>0.2624103526704622</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Nicolas</c:v>
                </c:pt>
                <c:pt idx="2">
                  <c:v>Deutz</c:v>
                </c:pt>
                <c:pt idx="3">
                  <c:v>Laurent Perrier</c:v>
                </c:pt>
                <c:pt idx="4">
                  <c:v>Heidsieck &amp; Co Monopole</c:v>
                </c:pt>
                <c:pt idx="5">
                  <c:v>Taittinger</c:v>
                </c:pt>
                <c:pt idx="6">
                  <c:v>Roederer</c:v>
                </c:pt>
                <c:pt idx="7">
                  <c:v>Canard Duchêne</c:v>
                </c:pt>
                <c:pt idx="8">
                  <c:v>De Bligny</c:v>
                </c:pt>
                <c:pt idx="9">
                  <c:v>Others</c:v>
                </c:pt>
              </c:strCache>
            </c:strRef>
          </c:cat>
          <c:val>
            <c:numRef>
              <c:f>Sheet1!$C$2:$C$11</c:f>
              <c:numCache>
                <c:formatCode>General</c:formatCode>
                <c:ptCount val="10"/>
                <c:pt idx="0">
                  <c:v>9.0949820788530408E-2</c:v>
                </c:pt>
                <c:pt idx="1">
                  <c:v>7.213261648745517E-2</c:v>
                </c:pt>
                <c:pt idx="2">
                  <c:v>6.115591397849459E-2</c:v>
                </c:pt>
                <c:pt idx="3">
                  <c:v>6.0707885304659467E-2</c:v>
                </c:pt>
                <c:pt idx="4">
                  <c:v>2.2177419354838697E-2</c:v>
                </c:pt>
                <c:pt idx="5">
                  <c:v>3.6290322580645143E-2</c:v>
                </c:pt>
                <c:pt idx="6">
                  <c:v>6.899641577060929E-2</c:v>
                </c:pt>
                <c:pt idx="7">
                  <c:v>6.586021505376341E-2</c:v>
                </c:pt>
                <c:pt idx="8">
                  <c:v>2.0833333333333325E-2</c:v>
                </c:pt>
                <c:pt idx="9">
                  <c:v>0.50089605734766995</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Nicolas</c:v>
                </c:pt>
                <c:pt idx="2">
                  <c:v>Deutz</c:v>
                </c:pt>
                <c:pt idx="3">
                  <c:v>Laurent Perrier</c:v>
                </c:pt>
                <c:pt idx="4">
                  <c:v>Heidsieck &amp; Co Monopole</c:v>
                </c:pt>
                <c:pt idx="5">
                  <c:v>Taittinger</c:v>
                </c:pt>
                <c:pt idx="6">
                  <c:v>Roederer</c:v>
                </c:pt>
                <c:pt idx="7">
                  <c:v>Canard Duchêne</c:v>
                </c:pt>
                <c:pt idx="8">
                  <c:v>De Bligny</c:v>
                </c:pt>
                <c:pt idx="9">
                  <c:v>Others</c:v>
                </c:pt>
              </c:strCache>
            </c:strRef>
          </c:cat>
          <c:val>
            <c:numRef>
              <c:f>Sheet1!$D$2:$D$11</c:f>
              <c:numCache>
                <c:formatCode>General</c:formatCode>
                <c:ptCount val="10"/>
                <c:pt idx="0">
                  <c:v>36.843286776771834</c:v>
                </c:pt>
                <c:pt idx="1">
                  <c:v>57.13683424312994</c:v>
                </c:pt>
                <c:pt idx="2">
                  <c:v>60.025768002637946</c:v>
                </c:pt>
                <c:pt idx="3">
                  <c:v>95.862117628256414</c:v>
                </c:pt>
                <c:pt idx="4">
                  <c:v>41.678985212337615</c:v>
                </c:pt>
                <c:pt idx="5">
                  <c:v>91.082657543445436</c:v>
                </c:pt>
                <c:pt idx="6">
                  <c:v>184.8980767849032</c:v>
                </c:pt>
                <c:pt idx="7">
                  <c:v>190.94684036411286</c:v>
                </c:pt>
                <c:pt idx="8">
                  <c:v>60.532791201872648</c:v>
                </c:pt>
                <c:pt idx="9">
                  <c:v>190.88273471310055</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Deutz</c:v>
                </c:pt>
                <c:pt idx="2">
                  <c:v>Nicolas</c:v>
                </c:pt>
                <c:pt idx="3">
                  <c:v>Heidsieck &amp; Co Monopole</c:v>
                </c:pt>
                <c:pt idx="4">
                  <c:v>Laurent Perrier</c:v>
                </c:pt>
                <c:pt idx="5">
                  <c:v>Taittinger</c:v>
                </c:pt>
                <c:pt idx="6">
                  <c:v>Canard Duchêne</c:v>
                </c:pt>
                <c:pt idx="7">
                  <c:v>Ayala</c:v>
                </c:pt>
                <c:pt idx="8">
                  <c:v>Bollinger</c:v>
                </c:pt>
                <c:pt idx="9">
                  <c:v>Others</c:v>
                </c:pt>
              </c:strCache>
            </c:strRef>
          </c:cat>
          <c:val>
            <c:numRef>
              <c:f>Sheet1!$B$2:$B$11</c:f>
              <c:numCache>
                <c:formatCode>General</c:formatCode>
                <c:ptCount val="10"/>
                <c:pt idx="0">
                  <c:v>0.21027618740099965</c:v>
                </c:pt>
                <c:pt idx="1">
                  <c:v>0.1171986253050681</c:v>
                </c:pt>
                <c:pt idx="2">
                  <c:v>9.2334861195337958E-2</c:v>
                </c:pt>
                <c:pt idx="3">
                  <c:v>5.3274718503662936E-2</c:v>
                </c:pt>
                <c:pt idx="4">
                  <c:v>5.1466844858457289E-2</c:v>
                </c:pt>
                <c:pt idx="5">
                  <c:v>5.0240859383232396E-2</c:v>
                </c:pt>
                <c:pt idx="6">
                  <c:v>4.9920503496195721E-2</c:v>
                </c:pt>
                <c:pt idx="7">
                  <c:v>4.4705515918979158E-2</c:v>
                </c:pt>
                <c:pt idx="8">
                  <c:v>3.7326750732226917E-2</c:v>
                </c:pt>
                <c:pt idx="9">
                  <c:v>0.29325513320583985</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Deutz</c:v>
                </c:pt>
                <c:pt idx="2">
                  <c:v>Nicolas</c:v>
                </c:pt>
                <c:pt idx="3">
                  <c:v>Heidsieck &amp; Co Monopole</c:v>
                </c:pt>
                <c:pt idx="4">
                  <c:v>Laurent Perrier</c:v>
                </c:pt>
                <c:pt idx="5">
                  <c:v>Taittinger</c:v>
                </c:pt>
                <c:pt idx="6">
                  <c:v>Canard Duchêne</c:v>
                </c:pt>
                <c:pt idx="7">
                  <c:v>Ayala</c:v>
                </c:pt>
                <c:pt idx="8">
                  <c:v>Bollinger</c:v>
                </c:pt>
                <c:pt idx="9">
                  <c:v>Others</c:v>
                </c:pt>
              </c:strCache>
            </c:strRef>
          </c:cat>
          <c:val>
            <c:numRef>
              <c:f>Sheet1!$C$2:$C$11</c:f>
              <c:numCache>
                <c:formatCode>General</c:formatCode>
                <c:ptCount val="10"/>
                <c:pt idx="0">
                  <c:v>7.9926923955240939E-2</c:v>
                </c:pt>
                <c:pt idx="1">
                  <c:v>6.6225165562913912E-2</c:v>
                </c:pt>
                <c:pt idx="2">
                  <c:v>7.2619319479333186E-2</c:v>
                </c:pt>
                <c:pt idx="3">
                  <c:v>2.1694450787851111E-2</c:v>
                </c:pt>
                <c:pt idx="4">
                  <c:v>5.914592372687829E-2</c:v>
                </c:pt>
                <c:pt idx="5">
                  <c:v>3.5852934459922367E-2</c:v>
                </c:pt>
                <c:pt idx="6">
                  <c:v>7.0792418360356255E-2</c:v>
                </c:pt>
                <c:pt idx="7">
                  <c:v>2.1694450787851111E-2</c:v>
                </c:pt>
                <c:pt idx="8">
                  <c:v>3.0828956382735792E-2</c:v>
                </c:pt>
                <c:pt idx="9">
                  <c:v>0.54121945649691716</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Deutz</c:v>
                </c:pt>
                <c:pt idx="2">
                  <c:v>Nicolas</c:v>
                </c:pt>
                <c:pt idx="3">
                  <c:v>Heidsieck &amp; Co Monopole</c:v>
                </c:pt>
                <c:pt idx="4">
                  <c:v>Laurent Perrier</c:v>
                </c:pt>
                <c:pt idx="5">
                  <c:v>Taittinger</c:v>
                </c:pt>
                <c:pt idx="6">
                  <c:v>Canard Duchêne</c:v>
                </c:pt>
                <c:pt idx="7">
                  <c:v>Ayala</c:v>
                </c:pt>
                <c:pt idx="8">
                  <c:v>Bollinger</c:v>
                </c:pt>
                <c:pt idx="9">
                  <c:v>Others</c:v>
                </c:pt>
              </c:strCache>
            </c:strRef>
          </c:cat>
          <c:val>
            <c:numRef>
              <c:f>Sheet1!$D$2:$D$11</c:f>
              <c:numCache>
                <c:formatCode>General</c:formatCode>
                <c:ptCount val="10"/>
                <c:pt idx="0">
                  <c:v>38.010449467974787</c:v>
                </c:pt>
                <c:pt idx="1">
                  <c:v>56.506776756578638</c:v>
                </c:pt>
                <c:pt idx="2">
                  <c:v>78.647781064731575</c:v>
                </c:pt>
                <c:pt idx="3">
                  <c:v>40.721849682527171</c:v>
                </c:pt>
                <c:pt idx="4">
                  <c:v>114.92043837064385</c:v>
                </c:pt>
                <c:pt idx="5">
                  <c:v>71.36210427142511</c:v>
                </c:pt>
                <c:pt idx="6">
                  <c:v>141.81030519003301</c:v>
                </c:pt>
                <c:pt idx="7">
                  <c:v>48.527458730525488</c:v>
                </c:pt>
                <c:pt idx="8">
                  <c:v>82.592124355787817</c:v>
                </c:pt>
                <c:pt idx="9">
                  <c:v>184.55583388442435</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Deutz</c:v>
                </c:pt>
                <c:pt idx="2">
                  <c:v>Nicolas</c:v>
                </c:pt>
                <c:pt idx="3">
                  <c:v>Malard</c:v>
                </c:pt>
                <c:pt idx="4">
                  <c:v>Laurent Perrier</c:v>
                </c:pt>
                <c:pt idx="5">
                  <c:v>Heidsieck &amp; Co Monopole</c:v>
                </c:pt>
                <c:pt idx="6">
                  <c:v>Taittinger</c:v>
                </c:pt>
                <c:pt idx="7">
                  <c:v>Nicolas Feuillatte</c:v>
                </c:pt>
                <c:pt idx="8">
                  <c:v>Canard Duchêne</c:v>
                </c:pt>
                <c:pt idx="9">
                  <c:v>Others</c:v>
                </c:pt>
              </c:strCache>
            </c:strRef>
          </c:cat>
          <c:val>
            <c:numRef>
              <c:f>Sheet1!$B$2:$B$11</c:f>
              <c:numCache>
                <c:formatCode>General</c:formatCode>
                <c:ptCount val="10"/>
                <c:pt idx="0">
                  <c:v>0.22937739659942372</c:v>
                </c:pt>
                <c:pt idx="1">
                  <c:v>8.4797938190093333E-2</c:v>
                </c:pt>
                <c:pt idx="2">
                  <c:v>7.2931825273621964E-2</c:v>
                </c:pt>
                <c:pt idx="3">
                  <c:v>4.6588391352201053E-2</c:v>
                </c:pt>
                <c:pt idx="4">
                  <c:v>4.2004676673686465E-2</c:v>
                </c:pt>
                <c:pt idx="5">
                  <c:v>3.2871976384234045E-2</c:v>
                </c:pt>
                <c:pt idx="6">
                  <c:v>3.2107675776736483E-2</c:v>
                </c:pt>
                <c:pt idx="7">
                  <c:v>3.1556188628449895E-2</c:v>
                </c:pt>
                <c:pt idx="8">
                  <c:v>3.1348075343798187E-2</c:v>
                </c:pt>
                <c:pt idx="9">
                  <c:v>0.39641585577775496</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Deutz</c:v>
                </c:pt>
                <c:pt idx="2">
                  <c:v>Nicolas</c:v>
                </c:pt>
                <c:pt idx="3">
                  <c:v>Malard</c:v>
                </c:pt>
                <c:pt idx="4">
                  <c:v>Laurent Perrier</c:v>
                </c:pt>
                <c:pt idx="5">
                  <c:v>Heidsieck &amp; Co Monopole</c:v>
                </c:pt>
                <c:pt idx="6">
                  <c:v>Taittinger</c:v>
                </c:pt>
                <c:pt idx="7">
                  <c:v>Nicolas Feuillatte</c:v>
                </c:pt>
                <c:pt idx="8">
                  <c:v>Canard Duchêne</c:v>
                </c:pt>
                <c:pt idx="9">
                  <c:v>Others</c:v>
                </c:pt>
              </c:strCache>
            </c:strRef>
          </c:cat>
          <c:val>
            <c:numRef>
              <c:f>Sheet1!$C$2:$C$11</c:f>
              <c:numCache>
                <c:formatCode>General</c:formatCode>
                <c:ptCount val="10"/>
                <c:pt idx="0">
                  <c:v>9.7079474916047612E-2</c:v>
                </c:pt>
                <c:pt idx="1">
                  <c:v>4.7827414266815915E-2</c:v>
                </c:pt>
                <c:pt idx="2">
                  <c:v>7.662562328279228E-2</c:v>
                </c:pt>
                <c:pt idx="3">
                  <c:v>3.9991859163529042E-2</c:v>
                </c:pt>
                <c:pt idx="4">
                  <c:v>4.1721786913605369E-2</c:v>
                </c:pt>
                <c:pt idx="5">
                  <c:v>9.6672433092500221E-3</c:v>
                </c:pt>
                <c:pt idx="6">
                  <c:v>1.8011600691971094E-2</c:v>
                </c:pt>
                <c:pt idx="7">
                  <c:v>3.0731657677826395E-2</c:v>
                </c:pt>
                <c:pt idx="8">
                  <c:v>3.45985550015264E-2</c:v>
                </c:pt>
                <c:pt idx="9">
                  <c:v>0.60374478477663551</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Deutz</c:v>
                </c:pt>
                <c:pt idx="2">
                  <c:v>Nicolas</c:v>
                </c:pt>
                <c:pt idx="3">
                  <c:v>Malard</c:v>
                </c:pt>
                <c:pt idx="4">
                  <c:v>Laurent Perrier</c:v>
                </c:pt>
                <c:pt idx="5">
                  <c:v>Heidsieck &amp; Co Monopole</c:v>
                </c:pt>
                <c:pt idx="6">
                  <c:v>Taittinger</c:v>
                </c:pt>
                <c:pt idx="7">
                  <c:v>Nicolas Feuillatte</c:v>
                </c:pt>
                <c:pt idx="8">
                  <c:v>Canard Duchêne</c:v>
                </c:pt>
                <c:pt idx="9">
                  <c:v>Others</c:v>
                </c:pt>
              </c:strCache>
            </c:strRef>
          </c:cat>
          <c:val>
            <c:numRef>
              <c:f>Sheet1!$D$2:$D$11</c:f>
              <c:numCache>
                <c:formatCode>General</c:formatCode>
                <c:ptCount val="10"/>
                <c:pt idx="0">
                  <c:v>42.323034595071128</c:v>
                </c:pt>
                <c:pt idx="1">
                  <c:v>56.401624010716148</c:v>
                </c:pt>
                <c:pt idx="2">
                  <c:v>105.06472722342011</c:v>
                </c:pt>
                <c:pt idx="3">
                  <c:v>85.840824297187595</c:v>
                </c:pt>
                <c:pt idx="4">
                  <c:v>99.32652794287948</c:v>
                </c:pt>
                <c:pt idx="5">
                  <c:v>29.408768113762079</c:v>
                </c:pt>
                <c:pt idx="6">
                  <c:v>56.097491507066181</c:v>
                </c:pt>
                <c:pt idx="7">
                  <c:v>97.387102224759374</c:v>
                </c:pt>
                <c:pt idx="8">
                  <c:v>110.36899274382814</c:v>
                </c:pt>
                <c:pt idx="9">
                  <c:v>152.30086687428482</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Nicolas</c:v>
                </c:pt>
                <c:pt idx="2">
                  <c:v>Deutz</c:v>
                </c:pt>
                <c:pt idx="3">
                  <c:v>Heidsieck &amp; Co Monopole</c:v>
                </c:pt>
                <c:pt idx="4">
                  <c:v>Ayala</c:v>
                </c:pt>
                <c:pt idx="5">
                  <c:v>De Bligny</c:v>
                </c:pt>
                <c:pt idx="6">
                  <c:v>Canard Duchêne</c:v>
                </c:pt>
                <c:pt idx="7">
                  <c:v>Laurent Perrier</c:v>
                </c:pt>
                <c:pt idx="8">
                  <c:v>Roederer</c:v>
                </c:pt>
                <c:pt idx="9">
                  <c:v>Others</c:v>
                </c:pt>
              </c:strCache>
            </c:strRef>
          </c:cat>
          <c:val>
            <c:numRef>
              <c:f>Sheet1!$B$2:$B$11</c:f>
              <c:numCache>
                <c:formatCode>General</c:formatCode>
                <c:ptCount val="10"/>
                <c:pt idx="0">
                  <c:v>0.18122042264620969</c:v>
                </c:pt>
                <c:pt idx="1">
                  <c:v>0.14280398119351231</c:v>
                </c:pt>
                <c:pt idx="2">
                  <c:v>0.11082987663528408</c:v>
                </c:pt>
                <c:pt idx="3">
                  <c:v>6.9999192689612216E-2</c:v>
                </c:pt>
                <c:pt idx="4">
                  <c:v>5.0912068521430244E-2</c:v>
                </c:pt>
                <c:pt idx="5">
                  <c:v>5.0060163845565366E-2</c:v>
                </c:pt>
                <c:pt idx="6">
                  <c:v>4.2050107064734762E-2</c:v>
                </c:pt>
                <c:pt idx="7">
                  <c:v>3.9192228292000322E-2</c:v>
                </c:pt>
                <c:pt idx="8">
                  <c:v>3.4920403040100259E-2</c:v>
                </c:pt>
                <c:pt idx="9">
                  <c:v>0.27801155607155076</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Nicolas</c:v>
                </c:pt>
                <c:pt idx="2">
                  <c:v>Deutz</c:v>
                </c:pt>
                <c:pt idx="3">
                  <c:v>Heidsieck &amp; Co Monopole</c:v>
                </c:pt>
                <c:pt idx="4">
                  <c:v>Ayala</c:v>
                </c:pt>
                <c:pt idx="5">
                  <c:v>De Bligny</c:v>
                </c:pt>
                <c:pt idx="6">
                  <c:v>Canard Duchêne</c:v>
                </c:pt>
                <c:pt idx="7">
                  <c:v>Laurent Perrier</c:v>
                </c:pt>
                <c:pt idx="8">
                  <c:v>Roederer</c:v>
                </c:pt>
                <c:pt idx="9">
                  <c:v>Others</c:v>
                </c:pt>
              </c:strCache>
            </c:strRef>
          </c:cat>
          <c:val>
            <c:numRef>
              <c:f>Sheet1!$C$2:$C$11</c:f>
              <c:numCache>
                <c:formatCode>General</c:formatCode>
                <c:ptCount val="10"/>
                <c:pt idx="0">
                  <c:v>7.6708507670850787E-2</c:v>
                </c:pt>
                <c:pt idx="1">
                  <c:v>8.0427708042770829E-2</c:v>
                </c:pt>
                <c:pt idx="2">
                  <c:v>5.9507205950720614E-2</c:v>
                </c:pt>
                <c:pt idx="3">
                  <c:v>2.2780102278010233E-2</c:v>
                </c:pt>
                <c:pt idx="4">
                  <c:v>2.5104602510460258E-2</c:v>
                </c:pt>
                <c:pt idx="5">
                  <c:v>2.3012552301255235E-2</c:v>
                </c:pt>
                <c:pt idx="6">
                  <c:v>6.508600650860065E-2</c:v>
                </c:pt>
                <c:pt idx="7">
                  <c:v>5.2533705253370533E-2</c:v>
                </c:pt>
                <c:pt idx="8">
                  <c:v>8.1125058112505852E-2</c:v>
                </c:pt>
                <c:pt idx="9">
                  <c:v>0.51371455137145527</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Nicolas</c:v>
                </c:pt>
                <c:pt idx="2">
                  <c:v>Deutz</c:v>
                </c:pt>
                <c:pt idx="3">
                  <c:v>Heidsieck &amp; Co Monopole</c:v>
                </c:pt>
                <c:pt idx="4">
                  <c:v>Ayala</c:v>
                </c:pt>
                <c:pt idx="5">
                  <c:v>De Bligny</c:v>
                </c:pt>
                <c:pt idx="6">
                  <c:v>Canard Duchêne</c:v>
                </c:pt>
                <c:pt idx="7">
                  <c:v>Laurent Perrier</c:v>
                </c:pt>
                <c:pt idx="8">
                  <c:v>Roederer</c:v>
                </c:pt>
                <c:pt idx="9">
                  <c:v>Others</c:v>
                </c:pt>
              </c:strCache>
            </c:strRef>
          </c:cat>
          <c:val>
            <c:numRef>
              <c:f>Sheet1!$D$2:$D$11</c:f>
              <c:numCache>
                <c:formatCode>General</c:formatCode>
                <c:ptCount val="10"/>
                <c:pt idx="0">
                  <c:v>42.328842715815831</c:v>
                </c:pt>
                <c:pt idx="1">
                  <c:v>56.320354216024285</c:v>
                </c:pt>
                <c:pt idx="2">
                  <c:v>53.692386707733419</c:v>
                </c:pt>
                <c:pt idx="3">
                  <c:v>32.543378577265749</c:v>
                </c:pt>
                <c:pt idx="4">
                  <c:v>49.309728006618045</c:v>
                </c:pt>
                <c:pt idx="5">
                  <c:v>45.969790215326725</c:v>
                </c:pt>
                <c:pt idx="6">
                  <c:v>154.78202328570262</c:v>
                </c:pt>
                <c:pt idx="7">
                  <c:v>134.0411289247705</c:v>
                </c:pt>
                <c:pt idx="8">
                  <c:v>232.31420902945263</c:v>
                </c:pt>
                <c:pt idx="9">
                  <c:v>184.78172585000118</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Nicolas</c:v>
                </c:pt>
                <c:pt idx="2">
                  <c:v>Deutz</c:v>
                </c:pt>
                <c:pt idx="3">
                  <c:v>Laurent Perrier</c:v>
                </c:pt>
                <c:pt idx="4">
                  <c:v>Canard Duchêne</c:v>
                </c:pt>
                <c:pt idx="5">
                  <c:v>Bollinger</c:v>
                </c:pt>
                <c:pt idx="6">
                  <c:v>Ayala</c:v>
                </c:pt>
                <c:pt idx="7">
                  <c:v>Taittinger</c:v>
                </c:pt>
                <c:pt idx="8">
                  <c:v>De Bligny</c:v>
                </c:pt>
                <c:pt idx="9">
                  <c:v>Others</c:v>
                </c:pt>
              </c:strCache>
            </c:strRef>
          </c:cat>
          <c:val>
            <c:numRef>
              <c:f>Sheet1!$B$2:$B$11</c:f>
              <c:numCache>
                <c:formatCode>General</c:formatCode>
                <c:ptCount val="10"/>
                <c:pt idx="0">
                  <c:v>0.17758169589492231</c:v>
                </c:pt>
                <c:pt idx="1">
                  <c:v>0.11185724641507803</c:v>
                </c:pt>
                <c:pt idx="2">
                  <c:v>7.4495326519541244E-2</c:v>
                </c:pt>
                <c:pt idx="3">
                  <c:v>4.7288805250044405E-2</c:v>
                </c:pt>
                <c:pt idx="4">
                  <c:v>4.5712255704430563E-2</c:v>
                </c:pt>
                <c:pt idx="5">
                  <c:v>4.0230817607043584E-2</c:v>
                </c:pt>
                <c:pt idx="6">
                  <c:v>3.9543357512853872E-2</c:v>
                </c:pt>
                <c:pt idx="7">
                  <c:v>3.2855983831245827E-2</c:v>
                </c:pt>
                <c:pt idx="8">
                  <c:v>3.1881441937946162E-2</c:v>
                </c:pt>
                <c:pt idx="9">
                  <c:v>0.39855306932689399</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Nicolas</c:v>
                </c:pt>
                <c:pt idx="2">
                  <c:v>Deutz</c:v>
                </c:pt>
                <c:pt idx="3">
                  <c:v>Laurent Perrier</c:v>
                </c:pt>
                <c:pt idx="4">
                  <c:v>Canard Duchêne</c:v>
                </c:pt>
                <c:pt idx="5">
                  <c:v>Bollinger</c:v>
                </c:pt>
                <c:pt idx="6">
                  <c:v>Ayala</c:v>
                </c:pt>
                <c:pt idx="7">
                  <c:v>Taittinger</c:v>
                </c:pt>
                <c:pt idx="8">
                  <c:v>De Bligny</c:v>
                </c:pt>
                <c:pt idx="9">
                  <c:v>Others</c:v>
                </c:pt>
              </c:strCache>
            </c:strRef>
          </c:cat>
          <c:val>
            <c:numRef>
              <c:f>Sheet1!$C$2:$C$11</c:f>
              <c:numCache>
                <c:formatCode>General</c:formatCode>
                <c:ptCount val="10"/>
                <c:pt idx="0">
                  <c:v>7.8249622763526663E-2</c:v>
                </c:pt>
                <c:pt idx="1">
                  <c:v>6.7687001508945924E-2</c:v>
                </c:pt>
                <c:pt idx="2">
                  <c:v>4.6777322698857531E-2</c:v>
                </c:pt>
                <c:pt idx="3">
                  <c:v>5.5399870661780586E-2</c:v>
                </c:pt>
                <c:pt idx="4">
                  <c:v>7.60939857727959E-2</c:v>
                </c:pt>
                <c:pt idx="5">
                  <c:v>3.4274628152619113E-2</c:v>
                </c:pt>
                <c:pt idx="6">
                  <c:v>1.9400732916576856E-2</c:v>
                </c:pt>
                <c:pt idx="7">
                  <c:v>3.1687863763742205E-2</c:v>
                </c:pt>
                <c:pt idx="8">
                  <c:v>1.8538478120284554E-2</c:v>
                </c:pt>
                <c:pt idx="9">
                  <c:v>0.57189049364087108</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Nicolas</c:v>
                </c:pt>
                <c:pt idx="2">
                  <c:v>Deutz</c:v>
                </c:pt>
                <c:pt idx="3">
                  <c:v>Laurent Perrier</c:v>
                </c:pt>
                <c:pt idx="4">
                  <c:v>Canard Duchêne</c:v>
                </c:pt>
                <c:pt idx="5">
                  <c:v>Bollinger</c:v>
                </c:pt>
                <c:pt idx="6">
                  <c:v>Ayala</c:v>
                </c:pt>
                <c:pt idx="7">
                  <c:v>Taittinger</c:v>
                </c:pt>
                <c:pt idx="8">
                  <c:v>De Bligny</c:v>
                </c:pt>
                <c:pt idx="9">
                  <c:v>Others</c:v>
                </c:pt>
              </c:strCache>
            </c:strRef>
          </c:cat>
          <c:val>
            <c:numRef>
              <c:f>Sheet1!$D$2:$D$11</c:f>
              <c:numCache>
                <c:formatCode>General</c:formatCode>
                <c:ptCount val="10"/>
                <c:pt idx="0">
                  <c:v>44.064013675051342</c:v>
                </c:pt>
                <c:pt idx="1">
                  <c:v>60.511950435266492</c:v>
                </c:pt>
                <c:pt idx="2">
                  <c:v>62.79229165682915</c:v>
                </c:pt>
                <c:pt idx="3">
                  <c:v>117.1521893370917</c:v>
                </c:pt>
                <c:pt idx="4">
                  <c:v>166.46298591084548</c:v>
                </c:pt>
                <c:pt idx="5">
                  <c:v>85.194957973258624</c:v>
                </c:pt>
                <c:pt idx="6">
                  <c:v>49.061926292602998</c:v>
                </c:pt>
                <c:pt idx="7">
                  <c:v>96.444726557258804</c:v>
                </c:pt>
                <c:pt idx="8">
                  <c:v>58.148179609842401</c:v>
                </c:pt>
                <c:pt idx="9">
                  <c:v>143.49167969192214</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Nicolas</c:v>
                </c:pt>
                <c:pt idx="2">
                  <c:v>Deutz</c:v>
                </c:pt>
                <c:pt idx="3">
                  <c:v>Laurent Perrier</c:v>
                </c:pt>
                <c:pt idx="4">
                  <c:v>Heidsieck &amp; Co Monopole</c:v>
                </c:pt>
                <c:pt idx="5">
                  <c:v>Taittinger</c:v>
                </c:pt>
                <c:pt idx="6">
                  <c:v>Ayala</c:v>
                </c:pt>
                <c:pt idx="7">
                  <c:v>Bollinger</c:v>
                </c:pt>
                <c:pt idx="8">
                  <c:v>Roederer</c:v>
                </c:pt>
                <c:pt idx="9">
                  <c:v>Others</c:v>
                </c:pt>
              </c:strCache>
            </c:strRef>
          </c:cat>
          <c:val>
            <c:numRef>
              <c:f>Sheet1!$B$2:$B$11</c:f>
              <c:numCache>
                <c:formatCode>General</c:formatCode>
                <c:ptCount val="10"/>
                <c:pt idx="0">
                  <c:v>0.21644149365766396</c:v>
                </c:pt>
                <c:pt idx="1">
                  <c:v>0.10024286636001194</c:v>
                </c:pt>
                <c:pt idx="2">
                  <c:v>9.9116002247142815E-2</c:v>
                </c:pt>
                <c:pt idx="3">
                  <c:v>7.2250251469600679E-2</c:v>
                </c:pt>
                <c:pt idx="4">
                  <c:v>4.614384854784221E-2</c:v>
                </c:pt>
                <c:pt idx="5">
                  <c:v>4.1393914106393467E-2</c:v>
                </c:pt>
                <c:pt idx="6">
                  <c:v>3.925669689255E-2</c:v>
                </c:pt>
                <c:pt idx="7">
                  <c:v>3.6675977979081037E-2</c:v>
                </c:pt>
                <c:pt idx="8">
                  <c:v>3.6293095776948614E-2</c:v>
                </c:pt>
                <c:pt idx="9">
                  <c:v>0.31218585296276524</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Nicolas</c:v>
                </c:pt>
                <c:pt idx="2">
                  <c:v>Deutz</c:v>
                </c:pt>
                <c:pt idx="3">
                  <c:v>Laurent Perrier</c:v>
                </c:pt>
                <c:pt idx="4">
                  <c:v>Heidsieck &amp; Co Monopole</c:v>
                </c:pt>
                <c:pt idx="5">
                  <c:v>Taittinger</c:v>
                </c:pt>
                <c:pt idx="6">
                  <c:v>Ayala</c:v>
                </c:pt>
                <c:pt idx="7">
                  <c:v>Bollinger</c:v>
                </c:pt>
                <c:pt idx="8">
                  <c:v>Roederer</c:v>
                </c:pt>
                <c:pt idx="9">
                  <c:v>Others</c:v>
                </c:pt>
              </c:strCache>
            </c:strRef>
          </c:cat>
          <c:val>
            <c:numRef>
              <c:f>Sheet1!$C$2:$C$11</c:f>
              <c:numCache>
                <c:formatCode>General</c:formatCode>
                <c:ptCount val="10"/>
                <c:pt idx="0">
                  <c:v>8.002481389578156E-2</c:v>
                </c:pt>
                <c:pt idx="1">
                  <c:v>6.7824648469809679E-2</c:v>
                </c:pt>
                <c:pt idx="2">
                  <c:v>6.2861869313482144E-2</c:v>
                </c:pt>
                <c:pt idx="3">
                  <c:v>5.5831265508684794E-2</c:v>
                </c:pt>
                <c:pt idx="4">
                  <c:v>2.1505376344085999E-2</c:v>
                </c:pt>
                <c:pt idx="5">
                  <c:v>3.8047973531844456E-2</c:v>
                </c:pt>
                <c:pt idx="6">
                  <c:v>2.1091811414392037E-2</c:v>
                </c:pt>
                <c:pt idx="7">
                  <c:v>3.1430934656741072E-2</c:v>
                </c:pt>
                <c:pt idx="8">
                  <c:v>7.5475599669147964E-2</c:v>
                </c:pt>
                <c:pt idx="9">
                  <c:v>0.54590570719602904</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Nicolas</c:v>
                </c:pt>
                <c:pt idx="2">
                  <c:v>Deutz</c:v>
                </c:pt>
                <c:pt idx="3">
                  <c:v>Laurent Perrier</c:v>
                </c:pt>
                <c:pt idx="4">
                  <c:v>Heidsieck &amp; Co Monopole</c:v>
                </c:pt>
                <c:pt idx="5">
                  <c:v>Taittinger</c:v>
                </c:pt>
                <c:pt idx="6">
                  <c:v>Ayala</c:v>
                </c:pt>
                <c:pt idx="7">
                  <c:v>Bollinger</c:v>
                </c:pt>
                <c:pt idx="8">
                  <c:v>Roederer</c:v>
                </c:pt>
                <c:pt idx="9">
                  <c:v>Others</c:v>
                </c:pt>
              </c:strCache>
            </c:strRef>
          </c:cat>
          <c:val>
            <c:numRef>
              <c:f>Sheet1!$D$2:$D$11</c:f>
              <c:numCache>
                <c:formatCode>General</c:formatCode>
                <c:ptCount val="10"/>
                <c:pt idx="0">
                  <c:v>36.972954004075255</c:v>
                </c:pt>
                <c:pt idx="1">
                  <c:v>67.66032430300271</c:v>
                </c:pt>
                <c:pt idx="2">
                  <c:v>63.422522991532624</c:v>
                </c:pt>
                <c:pt idx="3">
                  <c:v>77.274839011703406</c:v>
                </c:pt>
                <c:pt idx="4">
                  <c:v>46.60507742822773</c:v>
                </c:pt>
                <c:pt idx="5">
                  <c:v>91.916829691560338</c:v>
                </c:pt>
                <c:pt idx="6">
                  <c:v>53.727932006410775</c:v>
                </c:pt>
                <c:pt idx="7">
                  <c:v>85.69896806751386</c:v>
                </c:pt>
                <c:pt idx="8">
                  <c:v>207.96131620462623</c:v>
                </c:pt>
                <c:pt idx="9">
                  <c:v>174.86561354884324</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Nicolas</c:v>
                </c:pt>
                <c:pt idx="2">
                  <c:v>Deutz</c:v>
                </c:pt>
                <c:pt idx="3">
                  <c:v>Laurent Perrier</c:v>
                </c:pt>
                <c:pt idx="4">
                  <c:v>Heidsieck &amp; Co Monopole</c:v>
                </c:pt>
                <c:pt idx="5">
                  <c:v>Canard Duchêne</c:v>
                </c:pt>
                <c:pt idx="6">
                  <c:v>Ayala</c:v>
                </c:pt>
                <c:pt idx="7">
                  <c:v>Taittinger</c:v>
                </c:pt>
                <c:pt idx="8">
                  <c:v>De Bligny</c:v>
                </c:pt>
                <c:pt idx="9">
                  <c:v>Others</c:v>
                </c:pt>
              </c:strCache>
            </c:strRef>
          </c:cat>
          <c:val>
            <c:numRef>
              <c:f>Sheet1!$B$2:$B$11</c:f>
              <c:numCache>
                <c:formatCode>General</c:formatCode>
                <c:ptCount val="10"/>
                <c:pt idx="0">
                  <c:v>0.21116749634533524</c:v>
                </c:pt>
                <c:pt idx="1">
                  <c:v>0.11308530985761298</c:v>
                </c:pt>
                <c:pt idx="2">
                  <c:v>0.10606448953832084</c:v>
                </c:pt>
                <c:pt idx="3">
                  <c:v>6.8412748501104445E-2</c:v>
                </c:pt>
                <c:pt idx="4">
                  <c:v>4.9022578422344011E-2</c:v>
                </c:pt>
                <c:pt idx="5">
                  <c:v>4.0964284104301238E-2</c:v>
                </c:pt>
                <c:pt idx="6">
                  <c:v>4.0552450074381283E-2</c:v>
                </c:pt>
                <c:pt idx="7">
                  <c:v>3.5862082289526725E-2</c:v>
                </c:pt>
                <c:pt idx="8">
                  <c:v>3.3398645037061844E-2</c:v>
                </c:pt>
                <c:pt idx="9">
                  <c:v>0.30146991583001137</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Nicolas</c:v>
                </c:pt>
                <c:pt idx="2">
                  <c:v>Deutz</c:v>
                </c:pt>
                <c:pt idx="3">
                  <c:v>Laurent Perrier</c:v>
                </c:pt>
                <c:pt idx="4">
                  <c:v>Heidsieck &amp; Co Monopole</c:v>
                </c:pt>
                <c:pt idx="5">
                  <c:v>Canard Duchêne</c:v>
                </c:pt>
                <c:pt idx="6">
                  <c:v>Ayala</c:v>
                </c:pt>
                <c:pt idx="7">
                  <c:v>Taittinger</c:v>
                </c:pt>
                <c:pt idx="8">
                  <c:v>De Bligny</c:v>
                </c:pt>
                <c:pt idx="9">
                  <c:v>Others</c:v>
                </c:pt>
              </c:strCache>
            </c:strRef>
          </c:cat>
          <c:val>
            <c:numRef>
              <c:f>Sheet1!$C$2:$C$11</c:f>
              <c:numCache>
                <c:formatCode>General</c:formatCode>
                <c:ptCount val="10"/>
                <c:pt idx="0">
                  <c:v>8.4613447494333902E-2</c:v>
                </c:pt>
                <c:pt idx="1">
                  <c:v>7.6555023923444959E-2</c:v>
                </c:pt>
                <c:pt idx="2">
                  <c:v>6.6230168723243499E-2</c:v>
                </c:pt>
                <c:pt idx="3">
                  <c:v>5.2631578947368397E-2</c:v>
                </c:pt>
                <c:pt idx="4">
                  <c:v>2.4930747922437668E-2</c:v>
                </c:pt>
                <c:pt idx="5">
                  <c:v>7.1266683455049093E-2</c:v>
                </c:pt>
                <c:pt idx="6">
                  <c:v>2.5182573659027947E-2</c:v>
                </c:pt>
                <c:pt idx="7">
                  <c:v>3.7773860488541929E-2</c:v>
                </c:pt>
                <c:pt idx="8">
                  <c:v>2.3671619239486269E-2</c:v>
                </c:pt>
                <c:pt idx="9">
                  <c:v>0.53714429614706616</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Nicolas</c:v>
                </c:pt>
                <c:pt idx="2">
                  <c:v>Deutz</c:v>
                </c:pt>
                <c:pt idx="3">
                  <c:v>Laurent Perrier</c:v>
                </c:pt>
                <c:pt idx="4">
                  <c:v>Heidsieck &amp; Co Monopole</c:v>
                </c:pt>
                <c:pt idx="5">
                  <c:v>Canard Duchêne</c:v>
                </c:pt>
                <c:pt idx="6">
                  <c:v>Ayala</c:v>
                </c:pt>
                <c:pt idx="7">
                  <c:v>Taittinger</c:v>
                </c:pt>
                <c:pt idx="8">
                  <c:v>De Bligny</c:v>
                </c:pt>
                <c:pt idx="9">
                  <c:v>Others</c:v>
                </c:pt>
              </c:strCache>
            </c:strRef>
          </c:cat>
          <c:val>
            <c:numRef>
              <c:f>Sheet1!$D$2:$D$11</c:f>
              <c:numCache>
                <c:formatCode>General</c:formatCode>
                <c:ptCount val="10"/>
                <c:pt idx="0">
                  <c:v>40.069352035106917</c:v>
                </c:pt>
                <c:pt idx="1">
                  <c:v>67.696700853396678</c:v>
                </c:pt>
                <c:pt idx="2">
                  <c:v>62.443301251466167</c:v>
                </c:pt>
                <c:pt idx="3">
                  <c:v>76.932414060982694</c:v>
                </c:pt>
                <c:pt idx="4">
                  <c:v>50.855643919118044</c:v>
                </c:pt>
                <c:pt idx="5">
                  <c:v>173.97273018025504</c:v>
                </c:pt>
                <c:pt idx="6">
                  <c:v>62.098772362306306</c:v>
                </c:pt>
                <c:pt idx="7">
                  <c:v>105.33091799740117</c:v>
                </c:pt>
                <c:pt idx="8">
                  <c:v>70.87598677496743</c:v>
                </c:pt>
                <c:pt idx="9">
                  <c:v>178.17509076094464</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Nicolas</c:v>
                </c:pt>
                <c:pt idx="2">
                  <c:v>Deutz</c:v>
                </c:pt>
                <c:pt idx="3">
                  <c:v>Laurent Perrier</c:v>
                </c:pt>
                <c:pt idx="4">
                  <c:v>Heidsieck &amp; Co Monopole</c:v>
                </c:pt>
                <c:pt idx="5">
                  <c:v>Ayala</c:v>
                </c:pt>
                <c:pt idx="6">
                  <c:v>Canard Duchêne</c:v>
                </c:pt>
                <c:pt idx="7">
                  <c:v>De Bligny</c:v>
                </c:pt>
                <c:pt idx="8">
                  <c:v>Taittinger</c:v>
                </c:pt>
                <c:pt idx="9">
                  <c:v>Others</c:v>
                </c:pt>
              </c:strCache>
            </c:strRef>
          </c:cat>
          <c:val>
            <c:numRef>
              <c:f>Sheet1!$B$2:$B$11</c:f>
              <c:numCache>
                <c:formatCode>General</c:formatCode>
                <c:ptCount val="10"/>
                <c:pt idx="0">
                  <c:v>0.2126809597450528</c:v>
                </c:pt>
                <c:pt idx="1">
                  <c:v>0.11455376875292102</c:v>
                </c:pt>
                <c:pt idx="2">
                  <c:v>9.9411297487109376E-2</c:v>
                </c:pt>
                <c:pt idx="3">
                  <c:v>5.8356672292185212E-2</c:v>
                </c:pt>
                <c:pt idx="4">
                  <c:v>4.9673636182758649E-2</c:v>
                </c:pt>
                <c:pt idx="5">
                  <c:v>4.5711392772178581E-2</c:v>
                </c:pt>
                <c:pt idx="6">
                  <c:v>4.3964906177226412E-2</c:v>
                </c:pt>
                <c:pt idx="7">
                  <c:v>4.2643805034176592E-2</c:v>
                </c:pt>
                <c:pt idx="8">
                  <c:v>3.7387702957780412E-2</c:v>
                </c:pt>
                <c:pt idx="9">
                  <c:v>0.29561585859861095</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Nicolas</c:v>
                </c:pt>
                <c:pt idx="2">
                  <c:v>Deutz</c:v>
                </c:pt>
                <c:pt idx="3">
                  <c:v>Laurent Perrier</c:v>
                </c:pt>
                <c:pt idx="4">
                  <c:v>Heidsieck &amp; Co Monopole</c:v>
                </c:pt>
                <c:pt idx="5">
                  <c:v>Ayala</c:v>
                </c:pt>
                <c:pt idx="6">
                  <c:v>Canard Duchêne</c:v>
                </c:pt>
                <c:pt idx="7">
                  <c:v>De Bligny</c:v>
                </c:pt>
                <c:pt idx="8">
                  <c:v>Taittinger</c:v>
                </c:pt>
                <c:pt idx="9">
                  <c:v>Others</c:v>
                </c:pt>
              </c:strCache>
            </c:strRef>
          </c:cat>
          <c:val>
            <c:numRef>
              <c:f>Sheet1!$C$2:$C$11</c:f>
              <c:numCache>
                <c:formatCode>General</c:formatCode>
                <c:ptCount val="10"/>
                <c:pt idx="0">
                  <c:v>8.0771380659586306E-2</c:v>
                </c:pt>
                <c:pt idx="1">
                  <c:v>7.6299608719955239E-2</c:v>
                </c:pt>
                <c:pt idx="2">
                  <c:v>6.8474007825600855E-2</c:v>
                </c:pt>
                <c:pt idx="3">
                  <c:v>5.2543320290665142E-2</c:v>
                </c:pt>
                <c:pt idx="4">
                  <c:v>2.6271660145332571E-2</c:v>
                </c:pt>
                <c:pt idx="5">
                  <c:v>2.7110117384013397E-2</c:v>
                </c:pt>
                <c:pt idx="6">
                  <c:v>7.2107322526551096E-2</c:v>
                </c:pt>
                <c:pt idx="7">
                  <c:v>2.7389603130240341E-2</c:v>
                </c:pt>
                <c:pt idx="8">
                  <c:v>3.9128004471771921E-2</c:v>
                </c:pt>
                <c:pt idx="9">
                  <c:v>0.5299049748462825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Nicolas</c:v>
                </c:pt>
                <c:pt idx="2">
                  <c:v>Deutz</c:v>
                </c:pt>
                <c:pt idx="3">
                  <c:v>Laurent Perrier</c:v>
                </c:pt>
                <c:pt idx="4">
                  <c:v>Heidsieck &amp; Co Monopole</c:v>
                </c:pt>
                <c:pt idx="5">
                  <c:v>Ayala</c:v>
                </c:pt>
                <c:pt idx="6">
                  <c:v>Canard Duchêne</c:v>
                </c:pt>
                <c:pt idx="7">
                  <c:v>De Bligny</c:v>
                </c:pt>
                <c:pt idx="8">
                  <c:v>Taittinger</c:v>
                </c:pt>
                <c:pt idx="9">
                  <c:v>Others</c:v>
                </c:pt>
              </c:strCache>
            </c:strRef>
          </c:cat>
          <c:val>
            <c:numRef>
              <c:f>Sheet1!$D$2:$D$11</c:f>
              <c:numCache>
                <c:formatCode>General</c:formatCode>
                <c:ptCount val="10"/>
                <c:pt idx="0">
                  <c:v>37.977720599159156</c:v>
                </c:pt>
                <c:pt idx="1">
                  <c:v>66.605934968865583</c:v>
                </c:pt>
                <c:pt idx="2">
                  <c:v>68.879503191757308</c:v>
                </c:pt>
                <c:pt idx="3">
                  <c:v>90.038239376616133</c:v>
                </c:pt>
                <c:pt idx="4">
                  <c:v>52.888538396251469</c:v>
                </c:pt>
                <c:pt idx="5">
                  <c:v>59.307134917388659</c:v>
                </c:pt>
                <c:pt idx="6">
                  <c:v>164.01109156444033</c:v>
                </c:pt>
                <c:pt idx="7">
                  <c:v>64.22879737933593</c:v>
                </c:pt>
                <c:pt idx="8">
                  <c:v>104.65474307409769</c:v>
                </c:pt>
                <c:pt idx="9">
                  <c:v>179.25458307897847</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Nicolas</c:v>
                </c:pt>
                <c:pt idx="2">
                  <c:v>Deutz</c:v>
                </c:pt>
                <c:pt idx="3">
                  <c:v>Laurent Perrier</c:v>
                </c:pt>
                <c:pt idx="4">
                  <c:v>Heidsieck &amp; Co Monopole</c:v>
                </c:pt>
                <c:pt idx="5">
                  <c:v>De Bligny</c:v>
                </c:pt>
                <c:pt idx="6">
                  <c:v>Canard Duchêne</c:v>
                </c:pt>
                <c:pt idx="7">
                  <c:v>Ayala</c:v>
                </c:pt>
                <c:pt idx="8">
                  <c:v>Taittinger</c:v>
                </c:pt>
                <c:pt idx="9">
                  <c:v>Others</c:v>
                </c:pt>
              </c:strCache>
            </c:strRef>
          </c:cat>
          <c:val>
            <c:numRef>
              <c:f>Sheet1!$B$2:$B$11</c:f>
              <c:numCache>
                <c:formatCode>General</c:formatCode>
                <c:ptCount val="10"/>
                <c:pt idx="0">
                  <c:v>0.20575890502598887</c:v>
                </c:pt>
                <c:pt idx="1">
                  <c:v>0.1105503829705079</c:v>
                </c:pt>
                <c:pt idx="2">
                  <c:v>0.10583646180087175</c:v>
                </c:pt>
                <c:pt idx="3">
                  <c:v>5.6022951614609698E-2</c:v>
                </c:pt>
                <c:pt idx="4">
                  <c:v>5.3664733066053558E-2</c:v>
                </c:pt>
                <c:pt idx="5">
                  <c:v>4.421279078990456E-2</c:v>
                </c:pt>
                <c:pt idx="6">
                  <c:v>4.1963154374529174E-2</c:v>
                </c:pt>
                <c:pt idx="7">
                  <c:v>4.0519276837696329E-2</c:v>
                </c:pt>
                <c:pt idx="8">
                  <c:v>3.8617765334677277E-2</c:v>
                </c:pt>
                <c:pt idx="9">
                  <c:v>0.3028535781851609</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Nicolas</c:v>
                </c:pt>
                <c:pt idx="2">
                  <c:v>Deutz</c:v>
                </c:pt>
                <c:pt idx="3">
                  <c:v>Laurent Perrier</c:v>
                </c:pt>
                <c:pt idx="4">
                  <c:v>Heidsieck &amp; Co Monopole</c:v>
                </c:pt>
                <c:pt idx="5">
                  <c:v>De Bligny</c:v>
                </c:pt>
                <c:pt idx="6">
                  <c:v>Canard Duchêne</c:v>
                </c:pt>
                <c:pt idx="7">
                  <c:v>Ayala</c:v>
                </c:pt>
                <c:pt idx="8">
                  <c:v>Taittinger</c:v>
                </c:pt>
                <c:pt idx="9">
                  <c:v>Others</c:v>
                </c:pt>
              </c:strCache>
            </c:strRef>
          </c:cat>
          <c:val>
            <c:numRef>
              <c:f>Sheet1!$C$2:$C$11</c:f>
              <c:numCache>
                <c:formatCode>General</c:formatCode>
                <c:ptCount val="10"/>
                <c:pt idx="0">
                  <c:v>8.3177570093457942E-2</c:v>
                </c:pt>
                <c:pt idx="1">
                  <c:v>7.5077881619937684E-2</c:v>
                </c:pt>
                <c:pt idx="2">
                  <c:v>7.0093457943925228E-2</c:v>
                </c:pt>
                <c:pt idx="3">
                  <c:v>5.5451713395638619E-2</c:v>
                </c:pt>
                <c:pt idx="4">
                  <c:v>2.866043613707165E-2</c:v>
                </c:pt>
                <c:pt idx="5">
                  <c:v>2.897196261682243E-2</c:v>
                </c:pt>
                <c:pt idx="6">
                  <c:v>7.1028037383177561E-2</c:v>
                </c:pt>
                <c:pt idx="7">
                  <c:v>2.7725856697819313E-2</c:v>
                </c:pt>
                <c:pt idx="8">
                  <c:v>3.987538940809969E-2</c:v>
                </c:pt>
                <c:pt idx="9">
                  <c:v>0.5199376947040498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Nicolas</c:v>
                </c:pt>
                <c:pt idx="2">
                  <c:v>Deutz</c:v>
                </c:pt>
                <c:pt idx="3">
                  <c:v>Laurent Perrier</c:v>
                </c:pt>
                <c:pt idx="4">
                  <c:v>Heidsieck &amp; Co Monopole</c:v>
                </c:pt>
                <c:pt idx="5">
                  <c:v>De Bligny</c:v>
                </c:pt>
                <c:pt idx="6">
                  <c:v>Canard Duchêne</c:v>
                </c:pt>
                <c:pt idx="7">
                  <c:v>Ayala</c:v>
                </c:pt>
                <c:pt idx="8">
                  <c:v>Taittinger</c:v>
                </c:pt>
                <c:pt idx="9">
                  <c:v>Others</c:v>
                </c:pt>
              </c:strCache>
            </c:strRef>
          </c:cat>
          <c:val>
            <c:numRef>
              <c:f>Sheet1!$D$2:$D$11</c:f>
              <c:numCache>
                <c:formatCode>General</c:formatCode>
                <c:ptCount val="10"/>
                <c:pt idx="0">
                  <c:v>40.424772907375264</c:v>
                </c:pt>
                <c:pt idx="1">
                  <c:v>67.912819117023417</c:v>
                </c:pt>
                <c:pt idx="2">
                  <c:v>66.228081278646727</c:v>
                </c:pt>
                <c:pt idx="3">
                  <c:v>98.980349655796942</c:v>
                </c:pt>
                <c:pt idx="4">
                  <c:v>53.406463611390329</c:v>
                </c:pt>
                <c:pt idx="5">
                  <c:v>65.528463820559864</c:v>
                </c:pt>
                <c:pt idx="6">
                  <c:v>169.26286510598979</c:v>
                </c:pt>
                <c:pt idx="7">
                  <c:v>68.426336454319681</c:v>
                </c:pt>
                <c:pt idx="8">
                  <c:v>103.25659463338526</c:v>
                </c:pt>
                <c:pt idx="9">
                  <c:v>171.67956139721301</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Nicolas</c:v>
                </c:pt>
                <c:pt idx="2">
                  <c:v>Deutz</c:v>
                </c:pt>
                <c:pt idx="3">
                  <c:v>Laurent Perrier</c:v>
                </c:pt>
                <c:pt idx="4">
                  <c:v>Heidsieck &amp; Co Monopole</c:v>
                </c:pt>
                <c:pt idx="5">
                  <c:v>Canard Duchêne</c:v>
                </c:pt>
                <c:pt idx="6">
                  <c:v>Ayala</c:v>
                </c:pt>
                <c:pt idx="7">
                  <c:v>De Bligny</c:v>
                </c:pt>
                <c:pt idx="8">
                  <c:v>Taittinger</c:v>
                </c:pt>
                <c:pt idx="9">
                  <c:v>Others</c:v>
                </c:pt>
              </c:strCache>
            </c:strRef>
          </c:cat>
          <c:val>
            <c:numRef>
              <c:f>Sheet1!$B$2:$B$11</c:f>
              <c:numCache>
                <c:formatCode>General</c:formatCode>
                <c:ptCount val="10"/>
                <c:pt idx="0">
                  <c:v>0.20810099114692499</c:v>
                </c:pt>
                <c:pt idx="1">
                  <c:v>0.12182972793721734</c:v>
                </c:pt>
                <c:pt idx="2">
                  <c:v>0.10102869912254958</c:v>
                </c:pt>
                <c:pt idx="3">
                  <c:v>5.3153835754776065E-2</c:v>
                </c:pt>
                <c:pt idx="4">
                  <c:v>5.3088552703642676E-2</c:v>
                </c:pt>
                <c:pt idx="5">
                  <c:v>4.6260118872925672E-2</c:v>
                </c:pt>
                <c:pt idx="6">
                  <c:v>4.4343945776937635E-2</c:v>
                </c:pt>
                <c:pt idx="7">
                  <c:v>4.3733000409030089E-2</c:v>
                </c:pt>
                <c:pt idx="8">
                  <c:v>4.0789630278394662E-2</c:v>
                </c:pt>
                <c:pt idx="9">
                  <c:v>0.28767149799760133</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Nicolas</c:v>
                </c:pt>
                <c:pt idx="2">
                  <c:v>Deutz</c:v>
                </c:pt>
                <c:pt idx="3">
                  <c:v>Laurent Perrier</c:v>
                </c:pt>
                <c:pt idx="4">
                  <c:v>Heidsieck &amp; Co Monopole</c:v>
                </c:pt>
                <c:pt idx="5">
                  <c:v>Canard Duchêne</c:v>
                </c:pt>
                <c:pt idx="6">
                  <c:v>Ayala</c:v>
                </c:pt>
                <c:pt idx="7">
                  <c:v>De Bligny</c:v>
                </c:pt>
                <c:pt idx="8">
                  <c:v>Taittinger</c:v>
                </c:pt>
                <c:pt idx="9">
                  <c:v>Others</c:v>
                </c:pt>
              </c:strCache>
            </c:strRef>
          </c:cat>
          <c:val>
            <c:numRef>
              <c:f>Sheet1!$C$2:$C$11</c:f>
              <c:numCache>
                <c:formatCode>General</c:formatCode>
                <c:ptCount val="10"/>
                <c:pt idx="0">
                  <c:v>8.4427767354596561E-2</c:v>
                </c:pt>
                <c:pt idx="1">
                  <c:v>8.217636022514066E-2</c:v>
                </c:pt>
                <c:pt idx="2">
                  <c:v>7.5046904315196963E-2</c:v>
                </c:pt>
                <c:pt idx="3">
                  <c:v>5.4784240150093783E-2</c:v>
                </c:pt>
                <c:pt idx="4">
                  <c:v>3.1894934333958708E-2</c:v>
                </c:pt>
                <c:pt idx="5">
                  <c:v>7.5422138836772956E-2</c:v>
                </c:pt>
                <c:pt idx="6">
                  <c:v>3.2270168855534694E-2</c:v>
                </c:pt>
                <c:pt idx="7">
                  <c:v>3.3771106941838637E-2</c:v>
                </c:pt>
                <c:pt idx="8">
                  <c:v>4.3527204502814235E-2</c:v>
                </c:pt>
                <c:pt idx="9">
                  <c:v>0.48667917448405229</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Nicolas</c:v>
                </c:pt>
                <c:pt idx="2">
                  <c:v>Deutz</c:v>
                </c:pt>
                <c:pt idx="3">
                  <c:v>Laurent Perrier</c:v>
                </c:pt>
                <c:pt idx="4">
                  <c:v>Heidsieck &amp; Co Monopole</c:v>
                </c:pt>
                <c:pt idx="5">
                  <c:v>Canard Duchêne</c:v>
                </c:pt>
                <c:pt idx="6">
                  <c:v>Ayala</c:v>
                </c:pt>
                <c:pt idx="7">
                  <c:v>De Bligny</c:v>
                </c:pt>
                <c:pt idx="8">
                  <c:v>Taittinger</c:v>
                </c:pt>
                <c:pt idx="9">
                  <c:v>Others</c:v>
                </c:pt>
              </c:strCache>
            </c:strRef>
          </c:cat>
          <c:val>
            <c:numRef>
              <c:f>Sheet1!$D$2:$D$11</c:f>
              <c:numCache>
                <c:formatCode>General</c:formatCode>
                <c:ptCount val="10"/>
                <c:pt idx="0">
                  <c:v>40.57057435876807</c:v>
                </c:pt>
                <c:pt idx="1">
                  <c:v>67.451812965952527</c:v>
                </c:pt>
                <c:pt idx="2">
                  <c:v>74.282758233047971</c:v>
                </c:pt>
                <c:pt idx="3">
                  <c:v>103.06733158983963</c:v>
                </c:pt>
                <c:pt idx="4">
                  <c:v>60.078741479366485</c:v>
                </c:pt>
                <c:pt idx="5">
                  <c:v>163.03922401054339</c:v>
                </c:pt>
                <c:pt idx="6">
                  <c:v>72.772434410466332</c:v>
                </c:pt>
                <c:pt idx="7">
                  <c:v>77.221106775160806</c:v>
                </c:pt>
                <c:pt idx="8">
                  <c:v>106.71144652632363</c:v>
                </c:pt>
                <c:pt idx="9">
                  <c:v>169.17879521318108</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Malard</c:v>
                </c:pt>
                <c:pt idx="1">
                  <c:v>Vesselle</c:v>
                </c:pt>
                <c:pt idx="2">
                  <c:v>Louis Martin</c:v>
                </c:pt>
                <c:pt idx="3">
                  <c:v>Nicolas</c:v>
                </c:pt>
                <c:pt idx="4">
                  <c:v>Others</c:v>
                </c:pt>
              </c:strCache>
            </c:strRef>
          </c:cat>
          <c:val>
            <c:numRef>
              <c:f>Sheet1!$B$2:$B$6</c:f>
              <c:numCache>
                <c:formatCode>General</c:formatCode>
                <c:ptCount val="5"/>
                <c:pt idx="0">
                  <c:v>0.69481000237096824</c:v>
                </c:pt>
                <c:pt idx="1">
                  <c:v>0.1835174439231391</c:v>
                </c:pt>
                <c:pt idx="2">
                  <c:v>9.6576979455646458E-2</c:v>
                </c:pt>
                <c:pt idx="3">
                  <c:v>2.4247563700302687E-2</c:v>
                </c:pt>
                <c:pt idx="4">
                  <c:v>8.4801054994349478E-4</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Malard</c:v>
                </c:pt>
                <c:pt idx="1">
                  <c:v>Vesselle</c:v>
                </c:pt>
                <c:pt idx="2">
                  <c:v>Louis Martin</c:v>
                </c:pt>
                <c:pt idx="3">
                  <c:v>Nicolas</c:v>
                </c:pt>
                <c:pt idx="4">
                  <c:v>Others</c:v>
                </c:pt>
              </c:strCache>
            </c:strRef>
          </c:cat>
          <c:val>
            <c:numRef>
              <c:f>Sheet1!$C$2:$C$6</c:f>
              <c:numCache>
                <c:formatCode>General</c:formatCode>
                <c:ptCount val="5"/>
                <c:pt idx="0">
                  <c:v>0.31727574750830562</c:v>
                </c:pt>
                <c:pt idx="1">
                  <c:v>0.24186046511627904</c:v>
                </c:pt>
                <c:pt idx="2">
                  <c:v>0.22956810631229235</c:v>
                </c:pt>
                <c:pt idx="3">
                  <c:v>0.19700996677740862</c:v>
                </c:pt>
                <c:pt idx="4">
                  <c:v>1.4285714285714284E-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Malard</c:v>
                </c:pt>
                <c:pt idx="1">
                  <c:v>Vesselle</c:v>
                </c:pt>
                <c:pt idx="2">
                  <c:v>Louis Martin</c:v>
                </c:pt>
                <c:pt idx="3">
                  <c:v>Nicolas</c:v>
                </c:pt>
                <c:pt idx="4">
                  <c:v>Others</c:v>
                </c:pt>
              </c:strCache>
            </c:strRef>
          </c:cat>
          <c:val>
            <c:numRef>
              <c:f>Sheet1!$D$2:$D$6</c:f>
              <c:numCache>
                <c:formatCode>General</c:formatCode>
                <c:ptCount val="5"/>
                <c:pt idx="0">
                  <c:v>45.663670129335287</c:v>
                </c:pt>
                <c:pt idx="1">
                  <c:v>131.79153978276594</c:v>
                </c:pt>
                <c:pt idx="2">
                  <c:v>237.70479011276478</c:v>
                </c:pt>
                <c:pt idx="3">
                  <c:v>812.49386211510114</c:v>
                </c:pt>
                <c:pt idx="4">
                  <c:v>1684.615160349854</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Malard</c:v>
                </c:pt>
                <c:pt idx="1">
                  <c:v>Vesselle</c:v>
                </c:pt>
                <c:pt idx="2">
                  <c:v>Louis Martin</c:v>
                </c:pt>
                <c:pt idx="3">
                  <c:v>Nicolas</c:v>
                </c:pt>
                <c:pt idx="4">
                  <c:v>Others</c:v>
                </c:pt>
              </c:strCache>
            </c:strRef>
          </c:cat>
          <c:val>
            <c:numRef>
              <c:f>Sheet1!$B$2:$B$6</c:f>
              <c:numCache>
                <c:formatCode>General</c:formatCode>
                <c:ptCount val="5"/>
                <c:pt idx="0">
                  <c:v>0.70291227272854795</c:v>
                </c:pt>
                <c:pt idx="1">
                  <c:v>0.17767921516480248</c:v>
                </c:pt>
                <c:pt idx="2">
                  <c:v>9.8240460981268429E-2</c:v>
                </c:pt>
                <c:pt idx="3">
                  <c:v>2.0271028483098943E-2</c:v>
                </c:pt>
                <c:pt idx="4">
                  <c:v>8.9702264228223882E-4</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Malard</c:v>
                </c:pt>
                <c:pt idx="1">
                  <c:v>Vesselle</c:v>
                </c:pt>
                <c:pt idx="2">
                  <c:v>Louis Martin</c:v>
                </c:pt>
                <c:pt idx="3">
                  <c:v>Nicolas</c:v>
                </c:pt>
                <c:pt idx="4">
                  <c:v>Others</c:v>
                </c:pt>
              </c:strCache>
            </c:strRef>
          </c:cat>
          <c:val>
            <c:numRef>
              <c:f>Sheet1!$C$2:$C$6</c:f>
              <c:numCache>
                <c:formatCode>General</c:formatCode>
                <c:ptCount val="5"/>
                <c:pt idx="0">
                  <c:v>0.32225913621262459</c:v>
                </c:pt>
                <c:pt idx="1">
                  <c:v>0.2425249169435216</c:v>
                </c:pt>
                <c:pt idx="2">
                  <c:v>0.24584717607973425</c:v>
                </c:pt>
                <c:pt idx="3">
                  <c:v>0.17940199335548176</c:v>
                </c:pt>
                <c:pt idx="4">
                  <c:v>9.9667774086378749E-3</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Malard</c:v>
                </c:pt>
                <c:pt idx="1">
                  <c:v>Vesselle</c:v>
                </c:pt>
                <c:pt idx="2">
                  <c:v>Louis Martin</c:v>
                </c:pt>
                <c:pt idx="3">
                  <c:v>Nicolas</c:v>
                </c:pt>
                <c:pt idx="4">
                  <c:v>Others</c:v>
                </c:pt>
              </c:strCache>
            </c:strRef>
          </c:cat>
          <c:val>
            <c:numRef>
              <c:f>Sheet1!$D$2:$D$6</c:f>
              <c:numCache>
                <c:formatCode>General</c:formatCode>
                <c:ptCount val="5"/>
                <c:pt idx="0">
                  <c:v>45.846281067434887</c:v>
                </c:pt>
                <c:pt idx="1">
                  <c:v>136.49594113671253</c:v>
                </c:pt>
                <c:pt idx="2">
                  <c:v>250.25043004084648</c:v>
                </c:pt>
                <c:pt idx="3">
                  <c:v>885.01672968916671</c:v>
                </c:pt>
                <c:pt idx="4">
                  <c:v>1111.095410399008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Malard</c:v>
                </c:pt>
                <c:pt idx="1">
                  <c:v>Vesselle</c:v>
                </c:pt>
                <c:pt idx="2">
                  <c:v>Louis Martin</c:v>
                </c:pt>
                <c:pt idx="3">
                  <c:v>Nicolas</c:v>
                </c:pt>
                <c:pt idx="4">
                  <c:v>Others</c:v>
                </c:pt>
              </c:strCache>
            </c:strRef>
          </c:cat>
          <c:val>
            <c:numRef>
              <c:f>Sheet1!$B$2:$B$6</c:f>
              <c:numCache>
                <c:formatCode>General</c:formatCode>
                <c:ptCount val="5"/>
                <c:pt idx="0">
                  <c:v>0.69494324045407641</c:v>
                </c:pt>
                <c:pt idx="1">
                  <c:v>0.19582495971611175</c:v>
                </c:pt>
                <c:pt idx="2">
                  <c:v>7.6787427805840705E-2</c:v>
                </c:pt>
                <c:pt idx="3">
                  <c:v>3.2209005485850851E-2</c:v>
                </c:pt>
                <c:pt idx="4">
                  <c:v>2.3536653812032663E-4</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Malard</c:v>
                </c:pt>
                <c:pt idx="1">
                  <c:v>Vesselle</c:v>
                </c:pt>
                <c:pt idx="2">
                  <c:v>Louis Martin</c:v>
                </c:pt>
                <c:pt idx="3">
                  <c:v>Nicolas</c:v>
                </c:pt>
                <c:pt idx="4">
                  <c:v>Others</c:v>
                </c:pt>
              </c:strCache>
            </c:strRef>
          </c:cat>
          <c:val>
            <c:numRef>
              <c:f>Sheet1!$C$2:$C$6</c:f>
              <c:numCache>
                <c:formatCode>General</c:formatCode>
                <c:ptCount val="5"/>
                <c:pt idx="0">
                  <c:v>0.32500000000000001</c:v>
                </c:pt>
                <c:pt idx="1">
                  <c:v>0.23928571428571432</c:v>
                </c:pt>
                <c:pt idx="2">
                  <c:v>0.19285714285714289</c:v>
                </c:pt>
                <c:pt idx="3">
                  <c:v>0.23571428571428574</c:v>
                </c:pt>
                <c:pt idx="4">
                  <c:v>7.1428571428571435E-3</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Malard</c:v>
                </c:pt>
                <c:pt idx="1">
                  <c:v>Vesselle</c:v>
                </c:pt>
                <c:pt idx="2">
                  <c:v>Louis Martin</c:v>
                </c:pt>
                <c:pt idx="3">
                  <c:v>Nicolas</c:v>
                </c:pt>
                <c:pt idx="4">
                  <c:v>Others</c:v>
                </c:pt>
              </c:strCache>
            </c:strRef>
          </c:cat>
          <c:val>
            <c:numRef>
              <c:f>Sheet1!$D$2:$D$6</c:f>
              <c:numCache>
                <c:formatCode>General</c:formatCode>
                <c:ptCount val="5"/>
                <c:pt idx="0">
                  <c:v>46.766409266409262</c:v>
                </c:pt>
                <c:pt idx="1">
                  <c:v>122.19367471470839</c:v>
                </c:pt>
                <c:pt idx="2">
                  <c:v>251.15718597162532</c:v>
                </c:pt>
                <c:pt idx="3">
                  <c:v>731.82727053721999</c:v>
                </c:pt>
                <c:pt idx="4">
                  <c:v>3034.7802197802198</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CH"/>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5679D80-3FD9-4F8D-8F9D-355EB3FC5F56}" type="datetimeFigureOut">
              <a:rPr lang="en-CH" smtClean="0"/>
              <a:t>27/08/2025</a:t>
            </a:fld>
            <a:endParaRPr lang="en-CH"/>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CH"/>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H"/>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CH"/>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B1B08CE-CB08-45D5-B113-19ECBBE6DAC5}" type="slidenum">
              <a:rPr lang="en-CH" smtClean="0"/>
              <a:t>‹#›</a:t>
            </a:fld>
            <a:endParaRPr lang="en-CH"/>
          </a:p>
        </p:txBody>
      </p:sp>
    </p:spTree>
    <p:extLst>
      <p:ext uri="{BB962C8B-B14F-4D97-AF65-F5344CB8AC3E}">
        <p14:creationId xmlns:p14="http://schemas.microsoft.com/office/powerpoint/2010/main" val="338129770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91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922.xml"/><Relationship Id="rId1" Type="http://schemas.openxmlformats.org/officeDocument/2006/relationships/notesMaster" Target="../notesMasters/notesMaster1.xml"/></Relationships>
</file>

<file path=ppt/notesSlides/_rels/notesSlide100.xml.rels><?xml version="1.0" encoding="UTF-8" standalone="yes"?>
<Relationships xmlns="http://schemas.openxmlformats.org/package/2006/relationships"><Relationship Id="rId2" Type="http://schemas.openxmlformats.org/officeDocument/2006/relationships/slide" Target="../slides/slide1106.xml"/><Relationship Id="rId1" Type="http://schemas.openxmlformats.org/officeDocument/2006/relationships/notesMaster" Target="../notesMasters/notesMaster1.xml"/></Relationships>
</file>

<file path=ppt/notesSlides/_rels/notesSlide101.xml.rels><?xml version="1.0" encoding="UTF-8" standalone="yes"?>
<Relationships xmlns="http://schemas.openxmlformats.org/package/2006/relationships"><Relationship Id="rId2" Type="http://schemas.openxmlformats.org/officeDocument/2006/relationships/slide" Target="../slides/slide1107.xml"/><Relationship Id="rId1" Type="http://schemas.openxmlformats.org/officeDocument/2006/relationships/notesMaster" Target="../notesMasters/notesMaster1.xml"/></Relationships>
</file>

<file path=ppt/notesSlides/_rels/notesSlide102.xml.rels><?xml version="1.0" encoding="UTF-8" standalone="yes"?>
<Relationships xmlns="http://schemas.openxmlformats.org/package/2006/relationships"><Relationship Id="rId2" Type="http://schemas.openxmlformats.org/officeDocument/2006/relationships/slide" Target="../slides/slide1108.xml"/><Relationship Id="rId1" Type="http://schemas.openxmlformats.org/officeDocument/2006/relationships/notesMaster" Target="../notesMasters/notesMaster1.xml"/></Relationships>
</file>

<file path=ppt/notesSlides/_rels/notesSlide103.xml.rels><?xml version="1.0" encoding="UTF-8" standalone="yes"?>
<Relationships xmlns="http://schemas.openxmlformats.org/package/2006/relationships"><Relationship Id="rId2" Type="http://schemas.openxmlformats.org/officeDocument/2006/relationships/slide" Target="../slides/slide1109.xml"/><Relationship Id="rId1" Type="http://schemas.openxmlformats.org/officeDocument/2006/relationships/notesMaster" Target="../notesMasters/notesMaster1.xml"/></Relationships>
</file>

<file path=ppt/notesSlides/_rels/notesSlide104.xml.rels><?xml version="1.0" encoding="UTF-8" standalone="yes"?>
<Relationships xmlns="http://schemas.openxmlformats.org/package/2006/relationships"><Relationship Id="rId2" Type="http://schemas.openxmlformats.org/officeDocument/2006/relationships/slide" Target="../slides/slide1110.xml"/><Relationship Id="rId1" Type="http://schemas.openxmlformats.org/officeDocument/2006/relationships/notesMaster" Target="../notesMasters/notesMaster1.xml"/></Relationships>
</file>

<file path=ppt/notesSlides/_rels/notesSlide105.xml.rels><?xml version="1.0" encoding="UTF-8" standalone="yes"?>
<Relationships xmlns="http://schemas.openxmlformats.org/package/2006/relationships"><Relationship Id="rId2" Type="http://schemas.openxmlformats.org/officeDocument/2006/relationships/slide" Target="../slides/slide1111.xml"/><Relationship Id="rId1" Type="http://schemas.openxmlformats.org/officeDocument/2006/relationships/notesMaster" Target="../notesMasters/notesMaster1.xml"/></Relationships>
</file>

<file path=ppt/notesSlides/_rels/notesSlide106.xml.rels><?xml version="1.0" encoding="UTF-8" standalone="yes"?>
<Relationships xmlns="http://schemas.openxmlformats.org/package/2006/relationships"><Relationship Id="rId2" Type="http://schemas.openxmlformats.org/officeDocument/2006/relationships/slide" Target="../slides/slide1112.xml"/><Relationship Id="rId1" Type="http://schemas.openxmlformats.org/officeDocument/2006/relationships/notesMaster" Target="../notesMasters/notesMaster1.xml"/></Relationships>
</file>

<file path=ppt/notesSlides/_rels/notesSlide107.xml.rels><?xml version="1.0" encoding="UTF-8" standalone="yes"?>
<Relationships xmlns="http://schemas.openxmlformats.org/package/2006/relationships"><Relationship Id="rId2" Type="http://schemas.openxmlformats.org/officeDocument/2006/relationships/slide" Target="../slides/slide1113.xml"/><Relationship Id="rId1" Type="http://schemas.openxmlformats.org/officeDocument/2006/relationships/notesMaster" Target="../notesMasters/notesMaster1.xml"/></Relationships>
</file>

<file path=ppt/notesSlides/_rels/notesSlide108.xml.rels><?xml version="1.0" encoding="UTF-8" standalone="yes"?>
<Relationships xmlns="http://schemas.openxmlformats.org/package/2006/relationships"><Relationship Id="rId2" Type="http://schemas.openxmlformats.org/officeDocument/2006/relationships/slide" Target="../slides/slide1114.xml"/><Relationship Id="rId1" Type="http://schemas.openxmlformats.org/officeDocument/2006/relationships/notesMaster" Target="../notesMasters/notesMaster1.xml"/></Relationships>
</file>

<file path=ppt/notesSlides/_rels/notesSlide109.xml.rels><?xml version="1.0" encoding="UTF-8" standalone="yes"?>
<Relationships xmlns="http://schemas.openxmlformats.org/package/2006/relationships"><Relationship Id="rId2" Type="http://schemas.openxmlformats.org/officeDocument/2006/relationships/slide" Target="../slides/slide11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923.xml"/><Relationship Id="rId1" Type="http://schemas.openxmlformats.org/officeDocument/2006/relationships/notesMaster" Target="../notesMasters/notesMaster1.xml"/></Relationships>
</file>

<file path=ppt/notesSlides/_rels/notesSlide110.xml.rels><?xml version="1.0" encoding="UTF-8" standalone="yes"?>
<Relationships xmlns="http://schemas.openxmlformats.org/package/2006/relationships"><Relationship Id="rId2" Type="http://schemas.openxmlformats.org/officeDocument/2006/relationships/slide" Target="../slides/slide1116.xml"/><Relationship Id="rId1" Type="http://schemas.openxmlformats.org/officeDocument/2006/relationships/notesMaster" Target="../notesMasters/notesMaster1.xml"/></Relationships>
</file>

<file path=ppt/notesSlides/_rels/notesSlide111.xml.rels><?xml version="1.0" encoding="UTF-8" standalone="yes"?>
<Relationships xmlns="http://schemas.openxmlformats.org/package/2006/relationships"><Relationship Id="rId2" Type="http://schemas.openxmlformats.org/officeDocument/2006/relationships/slide" Target="../slides/slide1117.xml"/><Relationship Id="rId1" Type="http://schemas.openxmlformats.org/officeDocument/2006/relationships/notesMaster" Target="../notesMasters/notesMaster1.xml"/></Relationships>
</file>

<file path=ppt/notesSlides/_rels/notesSlide112.xml.rels><?xml version="1.0" encoding="UTF-8" standalone="yes"?>
<Relationships xmlns="http://schemas.openxmlformats.org/package/2006/relationships"><Relationship Id="rId2" Type="http://schemas.openxmlformats.org/officeDocument/2006/relationships/slide" Target="../slides/slide1118.xml"/><Relationship Id="rId1" Type="http://schemas.openxmlformats.org/officeDocument/2006/relationships/notesMaster" Target="../notesMasters/notesMaster1.xml"/></Relationships>
</file>

<file path=ppt/notesSlides/_rels/notesSlide113.xml.rels><?xml version="1.0" encoding="UTF-8" standalone="yes"?>
<Relationships xmlns="http://schemas.openxmlformats.org/package/2006/relationships"><Relationship Id="rId2" Type="http://schemas.openxmlformats.org/officeDocument/2006/relationships/slide" Target="../slides/slide1119.xml"/><Relationship Id="rId1" Type="http://schemas.openxmlformats.org/officeDocument/2006/relationships/notesMaster" Target="../notesMasters/notesMaster1.xml"/></Relationships>
</file>

<file path=ppt/notesSlides/_rels/notesSlide114.xml.rels><?xml version="1.0" encoding="UTF-8" standalone="yes"?>
<Relationships xmlns="http://schemas.openxmlformats.org/package/2006/relationships"><Relationship Id="rId2" Type="http://schemas.openxmlformats.org/officeDocument/2006/relationships/slide" Target="../slides/slide1120.xml"/><Relationship Id="rId1" Type="http://schemas.openxmlformats.org/officeDocument/2006/relationships/notesMaster" Target="../notesMasters/notesMaster1.xml"/></Relationships>
</file>

<file path=ppt/notesSlides/_rels/notesSlide115.xml.rels><?xml version="1.0" encoding="UTF-8" standalone="yes"?>
<Relationships xmlns="http://schemas.openxmlformats.org/package/2006/relationships"><Relationship Id="rId2" Type="http://schemas.openxmlformats.org/officeDocument/2006/relationships/slide" Target="../slides/slide1121.xml"/><Relationship Id="rId1" Type="http://schemas.openxmlformats.org/officeDocument/2006/relationships/notesMaster" Target="../notesMasters/notesMaster1.xml"/></Relationships>
</file>

<file path=ppt/notesSlides/_rels/notesSlide116.xml.rels><?xml version="1.0" encoding="UTF-8" standalone="yes"?>
<Relationships xmlns="http://schemas.openxmlformats.org/package/2006/relationships"><Relationship Id="rId2" Type="http://schemas.openxmlformats.org/officeDocument/2006/relationships/slide" Target="../slides/slide1122.xml"/><Relationship Id="rId1" Type="http://schemas.openxmlformats.org/officeDocument/2006/relationships/notesMaster" Target="../notesMasters/notesMaster1.xml"/></Relationships>
</file>

<file path=ppt/notesSlides/_rels/notesSlide117.xml.rels><?xml version="1.0" encoding="UTF-8" standalone="yes"?>
<Relationships xmlns="http://schemas.openxmlformats.org/package/2006/relationships"><Relationship Id="rId2" Type="http://schemas.openxmlformats.org/officeDocument/2006/relationships/slide" Target="../slides/slide1123.xml"/><Relationship Id="rId1" Type="http://schemas.openxmlformats.org/officeDocument/2006/relationships/notesMaster" Target="../notesMasters/notesMaster1.xml"/></Relationships>
</file>

<file path=ppt/notesSlides/_rels/notesSlide118.xml.rels><?xml version="1.0" encoding="UTF-8" standalone="yes"?>
<Relationships xmlns="http://schemas.openxmlformats.org/package/2006/relationships"><Relationship Id="rId2" Type="http://schemas.openxmlformats.org/officeDocument/2006/relationships/slide" Target="../slides/slide1124.xml"/><Relationship Id="rId1" Type="http://schemas.openxmlformats.org/officeDocument/2006/relationships/notesMaster" Target="../notesMasters/notesMaster1.xml"/></Relationships>
</file>

<file path=ppt/notesSlides/_rels/notesSlide119.xml.rels><?xml version="1.0" encoding="UTF-8" standalone="yes"?>
<Relationships xmlns="http://schemas.openxmlformats.org/package/2006/relationships"><Relationship Id="rId2" Type="http://schemas.openxmlformats.org/officeDocument/2006/relationships/slide" Target="../slides/slide112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924.xml"/><Relationship Id="rId1" Type="http://schemas.openxmlformats.org/officeDocument/2006/relationships/notesMaster" Target="../notesMasters/notesMaster1.xml"/></Relationships>
</file>

<file path=ppt/notesSlides/_rels/notesSlide120.xml.rels><?xml version="1.0" encoding="UTF-8" standalone="yes"?>
<Relationships xmlns="http://schemas.openxmlformats.org/package/2006/relationships"><Relationship Id="rId2" Type="http://schemas.openxmlformats.org/officeDocument/2006/relationships/slide" Target="../slides/slide1126.xml"/><Relationship Id="rId1" Type="http://schemas.openxmlformats.org/officeDocument/2006/relationships/notesMaster" Target="../notesMasters/notesMaster1.xml"/></Relationships>
</file>

<file path=ppt/notesSlides/_rels/notesSlide121.xml.rels><?xml version="1.0" encoding="UTF-8" standalone="yes"?>
<Relationships xmlns="http://schemas.openxmlformats.org/package/2006/relationships"><Relationship Id="rId2" Type="http://schemas.openxmlformats.org/officeDocument/2006/relationships/slide" Target="../slides/slide1127.xml"/><Relationship Id="rId1" Type="http://schemas.openxmlformats.org/officeDocument/2006/relationships/notesMaster" Target="../notesMasters/notesMaster1.xml"/></Relationships>
</file>

<file path=ppt/notesSlides/_rels/notesSlide122.xml.rels><?xml version="1.0" encoding="UTF-8" standalone="yes"?>
<Relationships xmlns="http://schemas.openxmlformats.org/package/2006/relationships"><Relationship Id="rId2" Type="http://schemas.openxmlformats.org/officeDocument/2006/relationships/slide" Target="../slides/slide1128.xml"/><Relationship Id="rId1" Type="http://schemas.openxmlformats.org/officeDocument/2006/relationships/notesMaster" Target="../notesMasters/notesMaster1.xml"/></Relationships>
</file>

<file path=ppt/notesSlides/_rels/notesSlide123.xml.rels><?xml version="1.0" encoding="UTF-8" standalone="yes"?>
<Relationships xmlns="http://schemas.openxmlformats.org/package/2006/relationships"><Relationship Id="rId2" Type="http://schemas.openxmlformats.org/officeDocument/2006/relationships/slide" Target="../slides/slide1129.xml"/><Relationship Id="rId1" Type="http://schemas.openxmlformats.org/officeDocument/2006/relationships/notesMaster" Target="../notesMasters/notesMaster1.xml"/></Relationships>
</file>

<file path=ppt/notesSlides/_rels/notesSlide124.xml.rels><?xml version="1.0" encoding="UTF-8" standalone="yes"?>
<Relationships xmlns="http://schemas.openxmlformats.org/package/2006/relationships"><Relationship Id="rId2" Type="http://schemas.openxmlformats.org/officeDocument/2006/relationships/slide" Target="../slides/slide1130.xml"/><Relationship Id="rId1" Type="http://schemas.openxmlformats.org/officeDocument/2006/relationships/notesMaster" Target="../notesMasters/notesMaster1.xml"/></Relationships>
</file>

<file path=ppt/notesSlides/_rels/notesSlide125.xml.rels><?xml version="1.0" encoding="UTF-8" standalone="yes"?>
<Relationships xmlns="http://schemas.openxmlformats.org/package/2006/relationships"><Relationship Id="rId2" Type="http://schemas.openxmlformats.org/officeDocument/2006/relationships/slide" Target="../slides/slide1131.xml"/><Relationship Id="rId1" Type="http://schemas.openxmlformats.org/officeDocument/2006/relationships/notesMaster" Target="../notesMasters/notesMaster1.xml"/></Relationships>
</file>

<file path=ppt/notesSlides/_rels/notesSlide126.xml.rels><?xml version="1.0" encoding="UTF-8" standalone="yes"?>
<Relationships xmlns="http://schemas.openxmlformats.org/package/2006/relationships"><Relationship Id="rId2" Type="http://schemas.openxmlformats.org/officeDocument/2006/relationships/slide" Target="../slides/slide1132.xml"/><Relationship Id="rId1" Type="http://schemas.openxmlformats.org/officeDocument/2006/relationships/notesMaster" Target="../notesMasters/notesMaster1.xml"/></Relationships>
</file>

<file path=ppt/notesSlides/_rels/notesSlide127.xml.rels><?xml version="1.0" encoding="UTF-8" standalone="yes"?>
<Relationships xmlns="http://schemas.openxmlformats.org/package/2006/relationships"><Relationship Id="rId2" Type="http://schemas.openxmlformats.org/officeDocument/2006/relationships/slide" Target="../slides/slide1133.xml"/><Relationship Id="rId1" Type="http://schemas.openxmlformats.org/officeDocument/2006/relationships/notesMaster" Target="../notesMasters/notesMaster1.xml"/></Relationships>
</file>

<file path=ppt/notesSlides/_rels/notesSlide128.xml.rels><?xml version="1.0" encoding="UTF-8" standalone="yes"?>
<Relationships xmlns="http://schemas.openxmlformats.org/package/2006/relationships"><Relationship Id="rId2" Type="http://schemas.openxmlformats.org/officeDocument/2006/relationships/slide" Target="../slides/slide1134.xml"/><Relationship Id="rId1" Type="http://schemas.openxmlformats.org/officeDocument/2006/relationships/notesMaster" Target="../notesMasters/notesMaster1.xml"/></Relationships>
</file>

<file path=ppt/notesSlides/_rels/notesSlide129.xml.rels><?xml version="1.0" encoding="UTF-8" standalone="yes"?>
<Relationships xmlns="http://schemas.openxmlformats.org/package/2006/relationships"><Relationship Id="rId2" Type="http://schemas.openxmlformats.org/officeDocument/2006/relationships/slide" Target="../slides/slide113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925.xml"/><Relationship Id="rId1" Type="http://schemas.openxmlformats.org/officeDocument/2006/relationships/notesMaster" Target="../notesMasters/notesMaster1.xml"/></Relationships>
</file>

<file path=ppt/notesSlides/_rels/notesSlide130.xml.rels><?xml version="1.0" encoding="UTF-8" standalone="yes"?>
<Relationships xmlns="http://schemas.openxmlformats.org/package/2006/relationships"><Relationship Id="rId2" Type="http://schemas.openxmlformats.org/officeDocument/2006/relationships/slide" Target="../slides/slide1136.xml"/><Relationship Id="rId1" Type="http://schemas.openxmlformats.org/officeDocument/2006/relationships/notesMaster" Target="../notesMasters/notesMaster1.xml"/></Relationships>
</file>

<file path=ppt/notesSlides/_rels/notesSlide131.xml.rels><?xml version="1.0" encoding="UTF-8" standalone="yes"?>
<Relationships xmlns="http://schemas.openxmlformats.org/package/2006/relationships"><Relationship Id="rId2" Type="http://schemas.openxmlformats.org/officeDocument/2006/relationships/slide" Target="../slides/slide1137.xml"/><Relationship Id="rId1" Type="http://schemas.openxmlformats.org/officeDocument/2006/relationships/notesMaster" Target="../notesMasters/notesMaster1.xml"/></Relationships>
</file>

<file path=ppt/notesSlides/_rels/notesSlide132.xml.rels><?xml version="1.0" encoding="UTF-8" standalone="yes"?>
<Relationships xmlns="http://schemas.openxmlformats.org/package/2006/relationships"><Relationship Id="rId2" Type="http://schemas.openxmlformats.org/officeDocument/2006/relationships/slide" Target="../slides/slide1138.xml"/><Relationship Id="rId1" Type="http://schemas.openxmlformats.org/officeDocument/2006/relationships/notesMaster" Target="../notesMasters/notesMaster1.xml"/></Relationships>
</file>

<file path=ppt/notesSlides/_rels/notesSlide133.xml.rels><?xml version="1.0" encoding="UTF-8" standalone="yes"?>
<Relationships xmlns="http://schemas.openxmlformats.org/package/2006/relationships"><Relationship Id="rId2" Type="http://schemas.openxmlformats.org/officeDocument/2006/relationships/slide" Target="../slides/slide1139.xml"/><Relationship Id="rId1" Type="http://schemas.openxmlformats.org/officeDocument/2006/relationships/notesMaster" Target="../notesMasters/notesMaster1.xml"/></Relationships>
</file>

<file path=ppt/notesSlides/_rels/notesSlide134.xml.rels><?xml version="1.0" encoding="UTF-8" standalone="yes"?>
<Relationships xmlns="http://schemas.openxmlformats.org/package/2006/relationships"><Relationship Id="rId2" Type="http://schemas.openxmlformats.org/officeDocument/2006/relationships/slide" Target="../slides/slide1140.xml"/><Relationship Id="rId1" Type="http://schemas.openxmlformats.org/officeDocument/2006/relationships/notesMaster" Target="../notesMasters/notesMaster1.xml"/></Relationships>
</file>

<file path=ppt/notesSlides/_rels/notesSlide135.xml.rels><?xml version="1.0" encoding="UTF-8" standalone="yes"?>
<Relationships xmlns="http://schemas.openxmlformats.org/package/2006/relationships"><Relationship Id="rId2" Type="http://schemas.openxmlformats.org/officeDocument/2006/relationships/slide" Target="../slides/slide1141.xml"/><Relationship Id="rId1" Type="http://schemas.openxmlformats.org/officeDocument/2006/relationships/notesMaster" Target="../notesMasters/notesMaster1.xml"/></Relationships>
</file>

<file path=ppt/notesSlides/_rels/notesSlide136.xml.rels><?xml version="1.0" encoding="UTF-8" standalone="yes"?>
<Relationships xmlns="http://schemas.openxmlformats.org/package/2006/relationships"><Relationship Id="rId2" Type="http://schemas.openxmlformats.org/officeDocument/2006/relationships/slide" Target="../slides/slide1142.xml"/><Relationship Id="rId1" Type="http://schemas.openxmlformats.org/officeDocument/2006/relationships/notesMaster" Target="../notesMasters/notesMaster1.xml"/></Relationships>
</file>

<file path=ppt/notesSlides/_rels/notesSlide137.xml.rels><?xml version="1.0" encoding="UTF-8" standalone="yes"?>
<Relationships xmlns="http://schemas.openxmlformats.org/package/2006/relationships"><Relationship Id="rId2" Type="http://schemas.openxmlformats.org/officeDocument/2006/relationships/slide" Target="../slides/slide1143.xml"/><Relationship Id="rId1" Type="http://schemas.openxmlformats.org/officeDocument/2006/relationships/notesMaster" Target="../notesMasters/notesMaster1.xml"/></Relationships>
</file>

<file path=ppt/notesSlides/_rels/notesSlide138.xml.rels><?xml version="1.0" encoding="UTF-8" standalone="yes"?>
<Relationships xmlns="http://schemas.openxmlformats.org/package/2006/relationships"><Relationship Id="rId2" Type="http://schemas.openxmlformats.org/officeDocument/2006/relationships/slide" Target="../slides/slide1144.xml"/><Relationship Id="rId1" Type="http://schemas.openxmlformats.org/officeDocument/2006/relationships/notesMaster" Target="../notesMasters/notesMaster1.xml"/></Relationships>
</file>

<file path=ppt/notesSlides/_rels/notesSlide139.xml.rels><?xml version="1.0" encoding="UTF-8" standalone="yes"?>
<Relationships xmlns="http://schemas.openxmlformats.org/package/2006/relationships"><Relationship Id="rId2" Type="http://schemas.openxmlformats.org/officeDocument/2006/relationships/slide" Target="../slides/slide114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926.xml"/><Relationship Id="rId1" Type="http://schemas.openxmlformats.org/officeDocument/2006/relationships/notesMaster" Target="../notesMasters/notesMaster1.xml"/></Relationships>
</file>

<file path=ppt/notesSlides/_rels/notesSlide140.xml.rels><?xml version="1.0" encoding="UTF-8" standalone="yes"?>
<Relationships xmlns="http://schemas.openxmlformats.org/package/2006/relationships"><Relationship Id="rId2" Type="http://schemas.openxmlformats.org/officeDocument/2006/relationships/slide" Target="../slides/slide1146.xml"/><Relationship Id="rId1" Type="http://schemas.openxmlformats.org/officeDocument/2006/relationships/notesMaster" Target="../notesMasters/notesMaster1.xml"/></Relationships>
</file>

<file path=ppt/notesSlides/_rels/notesSlide141.xml.rels><?xml version="1.0" encoding="UTF-8" standalone="yes"?>
<Relationships xmlns="http://schemas.openxmlformats.org/package/2006/relationships"><Relationship Id="rId2" Type="http://schemas.openxmlformats.org/officeDocument/2006/relationships/slide" Target="../slides/slide1147.xml"/><Relationship Id="rId1" Type="http://schemas.openxmlformats.org/officeDocument/2006/relationships/notesMaster" Target="../notesMasters/notesMaster1.xml"/></Relationships>
</file>

<file path=ppt/notesSlides/_rels/notesSlide142.xml.rels><?xml version="1.0" encoding="UTF-8" standalone="yes"?>
<Relationships xmlns="http://schemas.openxmlformats.org/package/2006/relationships"><Relationship Id="rId2" Type="http://schemas.openxmlformats.org/officeDocument/2006/relationships/slide" Target="../slides/slide1148.xml"/><Relationship Id="rId1" Type="http://schemas.openxmlformats.org/officeDocument/2006/relationships/notesMaster" Target="../notesMasters/notesMaster1.xml"/></Relationships>
</file>

<file path=ppt/notesSlides/_rels/notesSlide143.xml.rels><?xml version="1.0" encoding="UTF-8" standalone="yes"?>
<Relationships xmlns="http://schemas.openxmlformats.org/package/2006/relationships"><Relationship Id="rId2" Type="http://schemas.openxmlformats.org/officeDocument/2006/relationships/slide" Target="../slides/slide1149.xml"/><Relationship Id="rId1" Type="http://schemas.openxmlformats.org/officeDocument/2006/relationships/notesMaster" Target="../notesMasters/notesMaster1.xml"/></Relationships>
</file>

<file path=ppt/notesSlides/_rels/notesSlide144.xml.rels><?xml version="1.0" encoding="UTF-8" standalone="yes"?>
<Relationships xmlns="http://schemas.openxmlformats.org/package/2006/relationships"><Relationship Id="rId2" Type="http://schemas.openxmlformats.org/officeDocument/2006/relationships/slide" Target="../slides/slide1150.xml"/><Relationship Id="rId1" Type="http://schemas.openxmlformats.org/officeDocument/2006/relationships/notesMaster" Target="../notesMasters/notesMaster1.xml"/></Relationships>
</file>

<file path=ppt/notesSlides/_rels/notesSlide145.xml.rels><?xml version="1.0" encoding="UTF-8" standalone="yes"?>
<Relationships xmlns="http://schemas.openxmlformats.org/package/2006/relationships"><Relationship Id="rId2" Type="http://schemas.openxmlformats.org/officeDocument/2006/relationships/slide" Target="../slides/slide1151.xml"/><Relationship Id="rId1" Type="http://schemas.openxmlformats.org/officeDocument/2006/relationships/notesMaster" Target="../notesMasters/notesMaster1.xml"/></Relationships>
</file>

<file path=ppt/notesSlides/_rels/notesSlide146.xml.rels><?xml version="1.0" encoding="UTF-8" standalone="yes"?>
<Relationships xmlns="http://schemas.openxmlformats.org/package/2006/relationships"><Relationship Id="rId2" Type="http://schemas.openxmlformats.org/officeDocument/2006/relationships/slide" Target="../slides/slide1152.xml"/><Relationship Id="rId1" Type="http://schemas.openxmlformats.org/officeDocument/2006/relationships/notesMaster" Target="../notesMasters/notesMaster1.xml"/></Relationships>
</file>

<file path=ppt/notesSlides/_rels/notesSlide147.xml.rels><?xml version="1.0" encoding="UTF-8" standalone="yes"?>
<Relationships xmlns="http://schemas.openxmlformats.org/package/2006/relationships"><Relationship Id="rId2" Type="http://schemas.openxmlformats.org/officeDocument/2006/relationships/slide" Target="../slides/slide1153.xml"/><Relationship Id="rId1" Type="http://schemas.openxmlformats.org/officeDocument/2006/relationships/notesMaster" Target="../notesMasters/notesMaster1.xml"/></Relationships>
</file>

<file path=ppt/notesSlides/_rels/notesSlide148.xml.rels><?xml version="1.0" encoding="UTF-8" standalone="yes"?>
<Relationships xmlns="http://schemas.openxmlformats.org/package/2006/relationships"><Relationship Id="rId2" Type="http://schemas.openxmlformats.org/officeDocument/2006/relationships/slide" Target="../slides/slide1154.xml"/><Relationship Id="rId1" Type="http://schemas.openxmlformats.org/officeDocument/2006/relationships/notesMaster" Target="../notesMasters/notesMaster1.xml"/></Relationships>
</file>

<file path=ppt/notesSlides/_rels/notesSlide149.xml.rels><?xml version="1.0" encoding="UTF-8" standalone="yes"?>
<Relationships xmlns="http://schemas.openxmlformats.org/package/2006/relationships"><Relationship Id="rId2" Type="http://schemas.openxmlformats.org/officeDocument/2006/relationships/slide" Target="../slides/slide115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927.xml"/><Relationship Id="rId1" Type="http://schemas.openxmlformats.org/officeDocument/2006/relationships/notesMaster" Target="../notesMasters/notesMaster1.xml"/></Relationships>
</file>

<file path=ppt/notesSlides/_rels/notesSlide150.xml.rels><?xml version="1.0" encoding="UTF-8" standalone="yes"?>
<Relationships xmlns="http://schemas.openxmlformats.org/package/2006/relationships"><Relationship Id="rId2" Type="http://schemas.openxmlformats.org/officeDocument/2006/relationships/slide" Target="../slides/slide1156.xml"/><Relationship Id="rId1" Type="http://schemas.openxmlformats.org/officeDocument/2006/relationships/notesMaster" Target="../notesMasters/notesMaster1.xml"/></Relationships>
</file>

<file path=ppt/notesSlides/_rels/notesSlide151.xml.rels><?xml version="1.0" encoding="UTF-8" standalone="yes"?>
<Relationships xmlns="http://schemas.openxmlformats.org/package/2006/relationships"><Relationship Id="rId2" Type="http://schemas.openxmlformats.org/officeDocument/2006/relationships/slide" Target="../slides/slide1157.xml"/><Relationship Id="rId1" Type="http://schemas.openxmlformats.org/officeDocument/2006/relationships/notesMaster" Target="../notesMasters/notesMaster1.xml"/></Relationships>
</file>

<file path=ppt/notesSlides/_rels/notesSlide152.xml.rels><?xml version="1.0" encoding="UTF-8" standalone="yes"?>
<Relationships xmlns="http://schemas.openxmlformats.org/package/2006/relationships"><Relationship Id="rId2" Type="http://schemas.openxmlformats.org/officeDocument/2006/relationships/slide" Target="../slides/slide1158.xml"/><Relationship Id="rId1" Type="http://schemas.openxmlformats.org/officeDocument/2006/relationships/notesMaster" Target="../notesMasters/notesMaster1.xml"/></Relationships>
</file>

<file path=ppt/notesSlides/_rels/notesSlide153.xml.rels><?xml version="1.0" encoding="UTF-8" standalone="yes"?>
<Relationships xmlns="http://schemas.openxmlformats.org/package/2006/relationships"><Relationship Id="rId2" Type="http://schemas.openxmlformats.org/officeDocument/2006/relationships/slide" Target="../slides/slide1159.xml"/><Relationship Id="rId1" Type="http://schemas.openxmlformats.org/officeDocument/2006/relationships/notesMaster" Target="../notesMasters/notesMaster1.xml"/></Relationships>
</file>

<file path=ppt/notesSlides/_rels/notesSlide154.xml.rels><?xml version="1.0" encoding="UTF-8" standalone="yes"?>
<Relationships xmlns="http://schemas.openxmlformats.org/package/2006/relationships"><Relationship Id="rId2" Type="http://schemas.openxmlformats.org/officeDocument/2006/relationships/slide" Target="../slides/slide1160.xml"/><Relationship Id="rId1" Type="http://schemas.openxmlformats.org/officeDocument/2006/relationships/notesMaster" Target="../notesMasters/notesMaster1.xml"/></Relationships>
</file>

<file path=ppt/notesSlides/_rels/notesSlide155.xml.rels><?xml version="1.0" encoding="UTF-8" standalone="yes"?>
<Relationships xmlns="http://schemas.openxmlformats.org/package/2006/relationships"><Relationship Id="rId2" Type="http://schemas.openxmlformats.org/officeDocument/2006/relationships/slide" Target="../slides/slide1161.xml"/><Relationship Id="rId1" Type="http://schemas.openxmlformats.org/officeDocument/2006/relationships/notesMaster" Target="../notesMasters/notesMaster1.xml"/></Relationships>
</file>

<file path=ppt/notesSlides/_rels/notesSlide156.xml.rels><?xml version="1.0" encoding="UTF-8" standalone="yes"?>
<Relationships xmlns="http://schemas.openxmlformats.org/package/2006/relationships"><Relationship Id="rId2" Type="http://schemas.openxmlformats.org/officeDocument/2006/relationships/slide" Target="../slides/slide1162.xml"/><Relationship Id="rId1" Type="http://schemas.openxmlformats.org/officeDocument/2006/relationships/notesMaster" Target="../notesMasters/notesMaster1.xml"/></Relationships>
</file>

<file path=ppt/notesSlides/_rels/notesSlide157.xml.rels><?xml version="1.0" encoding="UTF-8" standalone="yes"?>
<Relationships xmlns="http://schemas.openxmlformats.org/package/2006/relationships"><Relationship Id="rId2" Type="http://schemas.openxmlformats.org/officeDocument/2006/relationships/slide" Target="../slides/slide1163.xml"/><Relationship Id="rId1" Type="http://schemas.openxmlformats.org/officeDocument/2006/relationships/notesMaster" Target="../notesMasters/notesMaster1.xml"/></Relationships>
</file>

<file path=ppt/notesSlides/_rels/notesSlide158.xml.rels><?xml version="1.0" encoding="UTF-8" standalone="yes"?>
<Relationships xmlns="http://schemas.openxmlformats.org/package/2006/relationships"><Relationship Id="rId2" Type="http://schemas.openxmlformats.org/officeDocument/2006/relationships/slide" Target="../slides/slide1164.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92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92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93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93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91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93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93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93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93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93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937.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938.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939.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940.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94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915.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942.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943.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944.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945.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946.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947.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948.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949.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950.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95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16.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952.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953.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954.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955.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956.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957.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958.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959.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960.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96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17.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962.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963.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964.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965.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966.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967.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968.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969.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970.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97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18.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972.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973.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974.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975.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976.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977.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978.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979.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980.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98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19.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982.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983.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984.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985.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986.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987.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988.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989.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990.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99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20.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992.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993.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994.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995.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996.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997.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2" Type="http://schemas.openxmlformats.org/officeDocument/2006/relationships/slide" Target="../slides/slide998.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2" Type="http://schemas.openxmlformats.org/officeDocument/2006/relationships/slide" Target="../slides/slide999.xml"/><Relationship Id="rId1" Type="http://schemas.openxmlformats.org/officeDocument/2006/relationships/notesMaster" Target="../notesMasters/notesMaster1.xml"/></Relationships>
</file>

<file path=ppt/notesSlides/_rels/notesSlide88.xml.rels><?xml version="1.0" encoding="UTF-8" standalone="yes"?>
<Relationships xmlns="http://schemas.openxmlformats.org/package/2006/relationships"><Relationship Id="rId2" Type="http://schemas.openxmlformats.org/officeDocument/2006/relationships/slide" Target="../slides/slide1000.xml"/><Relationship Id="rId1" Type="http://schemas.openxmlformats.org/officeDocument/2006/relationships/notesMaster" Target="../notesMasters/notesMaster1.xml"/></Relationships>
</file>

<file path=ppt/notesSlides/_rels/notesSlide89.xml.rels><?xml version="1.0" encoding="UTF-8" standalone="yes"?>
<Relationships xmlns="http://schemas.openxmlformats.org/package/2006/relationships"><Relationship Id="rId2" Type="http://schemas.openxmlformats.org/officeDocument/2006/relationships/slide" Target="../slides/slide100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21.xml"/><Relationship Id="rId1" Type="http://schemas.openxmlformats.org/officeDocument/2006/relationships/notesMaster" Target="../notesMasters/notesMaster1.xml"/></Relationships>
</file>

<file path=ppt/notesSlides/_rels/notesSlide90.xml.rels><?xml version="1.0" encoding="UTF-8" standalone="yes"?>
<Relationships xmlns="http://schemas.openxmlformats.org/package/2006/relationships"><Relationship Id="rId2" Type="http://schemas.openxmlformats.org/officeDocument/2006/relationships/slide" Target="../slides/slide1002.xml"/><Relationship Id="rId1" Type="http://schemas.openxmlformats.org/officeDocument/2006/relationships/notesMaster" Target="../notesMasters/notesMaster1.xml"/></Relationships>
</file>

<file path=ppt/notesSlides/_rels/notesSlide91.xml.rels><?xml version="1.0" encoding="UTF-8" standalone="yes"?>
<Relationships xmlns="http://schemas.openxmlformats.org/package/2006/relationships"><Relationship Id="rId2" Type="http://schemas.openxmlformats.org/officeDocument/2006/relationships/slide" Target="../slides/slide1003.xml"/><Relationship Id="rId1" Type="http://schemas.openxmlformats.org/officeDocument/2006/relationships/notesMaster" Target="../notesMasters/notesMaster1.xml"/></Relationships>
</file>

<file path=ppt/notesSlides/_rels/notesSlide92.xml.rels><?xml version="1.0" encoding="UTF-8" standalone="yes"?>
<Relationships xmlns="http://schemas.openxmlformats.org/package/2006/relationships"><Relationship Id="rId2" Type="http://schemas.openxmlformats.org/officeDocument/2006/relationships/slide" Target="../slides/slide1004.xml"/><Relationship Id="rId1" Type="http://schemas.openxmlformats.org/officeDocument/2006/relationships/notesMaster" Target="../notesMasters/notesMaster1.xml"/></Relationships>
</file>

<file path=ppt/notesSlides/_rels/notesSlide93.xml.rels><?xml version="1.0" encoding="UTF-8" standalone="yes"?>
<Relationships xmlns="http://schemas.openxmlformats.org/package/2006/relationships"><Relationship Id="rId2" Type="http://schemas.openxmlformats.org/officeDocument/2006/relationships/slide" Target="../slides/slide1005.xml"/><Relationship Id="rId1" Type="http://schemas.openxmlformats.org/officeDocument/2006/relationships/notesMaster" Target="../notesMasters/notesMaster1.xml"/></Relationships>
</file>

<file path=ppt/notesSlides/_rels/notesSlide94.xml.rels><?xml version="1.0" encoding="UTF-8" standalone="yes"?>
<Relationships xmlns="http://schemas.openxmlformats.org/package/2006/relationships"><Relationship Id="rId2" Type="http://schemas.openxmlformats.org/officeDocument/2006/relationships/slide" Target="../slides/slide1006.xml"/><Relationship Id="rId1" Type="http://schemas.openxmlformats.org/officeDocument/2006/relationships/notesMaster" Target="../notesMasters/notesMaster1.xml"/></Relationships>
</file>

<file path=ppt/notesSlides/_rels/notesSlide95.xml.rels><?xml version="1.0" encoding="UTF-8" standalone="yes"?>
<Relationships xmlns="http://schemas.openxmlformats.org/package/2006/relationships"><Relationship Id="rId2" Type="http://schemas.openxmlformats.org/officeDocument/2006/relationships/slide" Target="../slides/slide1101.xml"/><Relationship Id="rId1" Type="http://schemas.openxmlformats.org/officeDocument/2006/relationships/notesMaster" Target="../notesMasters/notesMaster1.xml"/></Relationships>
</file>

<file path=ppt/notesSlides/_rels/notesSlide96.xml.rels><?xml version="1.0" encoding="UTF-8" standalone="yes"?>
<Relationships xmlns="http://schemas.openxmlformats.org/package/2006/relationships"><Relationship Id="rId2" Type="http://schemas.openxmlformats.org/officeDocument/2006/relationships/slide" Target="../slides/slide1102.xml"/><Relationship Id="rId1" Type="http://schemas.openxmlformats.org/officeDocument/2006/relationships/notesMaster" Target="../notesMasters/notesMaster1.xml"/></Relationships>
</file>

<file path=ppt/notesSlides/_rels/notesSlide97.xml.rels><?xml version="1.0" encoding="UTF-8" standalone="yes"?>
<Relationships xmlns="http://schemas.openxmlformats.org/package/2006/relationships"><Relationship Id="rId2" Type="http://schemas.openxmlformats.org/officeDocument/2006/relationships/slide" Target="../slides/slide1103.xml"/><Relationship Id="rId1" Type="http://schemas.openxmlformats.org/officeDocument/2006/relationships/notesMaster" Target="../notesMasters/notesMaster1.xml"/></Relationships>
</file>

<file path=ppt/notesSlides/_rels/notesSlide98.xml.rels><?xml version="1.0" encoding="UTF-8" standalone="yes"?>
<Relationships xmlns="http://schemas.openxmlformats.org/package/2006/relationships"><Relationship Id="rId2" Type="http://schemas.openxmlformats.org/officeDocument/2006/relationships/slide" Target="../slides/slide1104.xml"/><Relationship Id="rId1" Type="http://schemas.openxmlformats.org/officeDocument/2006/relationships/notesMaster" Target="../notesMasters/notesMaster1.xml"/></Relationships>
</file>

<file path=ppt/notesSlides/_rels/notesSlide99.xml.rels><?xml version="1.0" encoding="UTF-8" standalone="yes"?>
<Relationships xmlns="http://schemas.openxmlformats.org/package/2006/relationships"><Relationship Id="rId2" Type="http://schemas.openxmlformats.org/officeDocument/2006/relationships/slide" Target="../slides/slide110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1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2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1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106</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1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107</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1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108</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1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109</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1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110</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1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111</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1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112</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1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113</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1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114</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1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115</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2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1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116</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1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117</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1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118</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1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119</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1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120</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1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121</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1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122</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1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123</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1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124</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1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125</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2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1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126</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1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127</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1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128</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1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129</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1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130</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1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131</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1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132</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1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133</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1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134</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1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135</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2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1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136</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1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137</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1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138</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1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139</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1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140</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1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141</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1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142</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1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143</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1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144</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1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145</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2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1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146</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1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147</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1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148</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1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149</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1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150</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1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151</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1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152</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1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153</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1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154</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1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155</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2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1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156</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1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157</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1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158</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1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159</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1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160</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1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161</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1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162</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1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163</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1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164</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2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2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3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3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1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3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3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3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3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3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3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3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3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4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4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1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4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4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4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4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4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4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4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4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5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5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1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5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5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5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5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5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5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5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5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6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6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1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6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6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6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6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6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6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6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6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7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7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1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7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7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7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7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7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7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7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7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8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8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1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8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8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8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8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8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8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8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8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9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9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2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9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9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9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9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9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9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9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9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0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0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2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0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0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0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0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0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101</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102</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103</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104</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105</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5" Type="http://schemas.openxmlformats.org/officeDocument/2006/relationships/image" Target="../media/image3.jpeg"/><Relationship Id="rId4" Type="http://schemas.openxmlformats.org/officeDocument/2006/relationships/image" Target="../media/image2.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2.xml"/><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23.xml"/><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24.xml"/><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8" Type="http://schemas.openxmlformats.org/officeDocument/2006/relationships/oleObject" Target="../embeddings/oleObject26.bin"/><Relationship Id="rId3" Type="http://schemas.openxmlformats.org/officeDocument/2006/relationships/tags" Target="../tags/tag27.xml"/><Relationship Id="rId7" Type="http://schemas.openxmlformats.org/officeDocument/2006/relationships/image" Target="../media/image27.png"/><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26.emf"/><Relationship Id="rId5" Type="http://schemas.openxmlformats.org/officeDocument/2006/relationships/oleObject" Target="../embeddings/oleObject25.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9.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334819500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DBBFC13E-3F64-4E36-814E-4A390258C12B}" type="datetime1">
              <a:rPr lang="en-US" smtClean="0"/>
              <a:t>8/27/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937536793"/>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D50F348D-8052-4CFF-A59A-38700A83BEA1}" type="datetime1">
              <a:rPr lang="en-US" smtClean="0"/>
              <a:t>8/27/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766921897"/>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80ACA9F3-09D5-4DB9-A036-5BB8C1DA1B12}" type="datetime1">
              <a:rPr lang="en-US" smtClean="0"/>
              <a:t>8/27/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97682050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A1577D70-F57E-432D-B3D5-0759FA0A3343}" type="datetime1">
              <a:rPr lang="en-US" smtClean="0"/>
              <a:t>8/27/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13872105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84E78701-F38D-4E5C-ABBC-833AA43BD5FA}" type="datetime1">
              <a:rPr lang="en-US" smtClean="0"/>
              <a:t>8/27/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60254800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fld id="{14C6B110-5A78-424A-9D1E-371817D87CD3}" type="datetime1">
              <a:rPr lang="en-US" smtClean="0"/>
              <a:t>8/27/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54013366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352CCA97-18F7-420E-AA09-369E2E7F8144}" type="datetime1">
              <a:rPr lang="en-US" smtClean="0"/>
              <a:t>8/27/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58406272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A197316-5A91-47EC-86A0-A3A842E46FD3}" type="datetime1">
              <a:rPr lang="en-US" smtClean="0"/>
              <a:t>8/27/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1943778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1E1AB04-F9EF-4B2B-85D6-244B8E45D3EA}" type="datetime1">
              <a:rPr lang="en-US" smtClean="0"/>
              <a:t>8/27/2025</a:t>
            </a:fld>
            <a:endParaRPr lang="en-US"/>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324700258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fld id="{7996436F-1613-4BD9-8DA2-0B828AB65D9D}" type="datetime1">
              <a:rPr lang="en-US" smtClean="0"/>
              <a:t>8/27/2025</a:t>
            </a:fld>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127354767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F9F4D88D-6F95-4734-9E93-59E96F4C5B2D}" type="datetime1">
              <a:rPr lang="en-US" smtClean="0"/>
              <a:t>8/27/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200210190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fld id="{4B539E5B-D660-4908-A930-5D7ED25D7968}" type="datetime1">
              <a:rPr lang="en-US" smtClean="0"/>
              <a:t>8/27/2025</a:t>
            </a:fld>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22605537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fld id="{E87FDB52-BBB2-437C-B730-0F4FD1CC342B}" type="datetime1">
              <a:rPr lang="en-US" smtClean="0"/>
              <a:t>8/27/2025</a:t>
            </a:fld>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40333730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fld id="{32E4E91C-ACCB-4FB2-9CE2-8479C989DF49}" type="datetime1">
              <a:rPr lang="en-US" smtClean="0"/>
              <a:t>8/27/2025</a:t>
            </a:fld>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396318068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59482696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3FC227B7-6CE2-494E-9FF0-D5486E326F93}" type="datetime1">
              <a:rPr lang="en-US" smtClean="0"/>
              <a:t>8/27/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411723028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fld id="{9BA698F9-E0CC-4675-A2A3-920539354D2A}" type="datetime1">
              <a:rPr lang="en-US" smtClean="0"/>
              <a:t>8/27/2025</a:t>
            </a:fld>
            <a:endParaRPr lang="en-US"/>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423769522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FFB77DA4-E66A-483D-9837-A2011CF448D8}" type="datetime1">
              <a:rPr lang="en-US" smtClean="0"/>
              <a:t>8/27/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371457121"/>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D2DFC3E4-C284-436E-93E6-279BCC9ECA79}" type="datetime1">
              <a:rPr lang="en-US" smtClean="0"/>
              <a:t>8/27/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248522655"/>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88775FBB-4E36-4540-99EF-CA50C933F081}" type="datetime1">
              <a:rPr lang="en-US" smtClean="0"/>
              <a:t>8/27/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156286301"/>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fld id="{98C7047C-F6FF-45B2-9077-DC747EBFC0B4}" type="datetime1">
              <a:rPr lang="en-US" smtClean="0"/>
              <a:t>8/27/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728603763"/>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fld id="{67EBB61B-CA5F-4D3B-A745-33BC47F4D24F}" type="datetime1">
              <a:rPr lang="en-US" smtClean="0"/>
              <a:t>8/27/2025</a:t>
            </a:fld>
            <a:endParaRPr lang="en-US"/>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333341570"/>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EBC32BF-A67C-4A09-93F2-0403FF7C946C}" type="datetime1">
              <a:rPr lang="en-US" smtClean="0"/>
              <a:t>8/27/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347767643"/>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fld id="{AE4C06A1-875F-4586-BE13-F337DE5DF152}" type="datetime1">
              <a:rPr lang="en-US" smtClean="0"/>
              <a:t>8/27/2025</a:t>
            </a:fld>
            <a:endParaRPr lang="en-US"/>
          </a:p>
        </p:txBody>
      </p:sp>
    </p:spTree>
    <p:extLst>
      <p:ext uri="{BB962C8B-B14F-4D97-AF65-F5344CB8AC3E}">
        <p14:creationId xmlns:p14="http://schemas.microsoft.com/office/powerpoint/2010/main" val="2397515005"/>
      </p:ext>
    </p:extLst>
  </p:cSld>
  <p:clrMap bg1="lt1" tx1="dk1" bg2="lt2" tx2="dk2" accent1="accent1" accent2="accent2" accent3="accent3" accent4="accent4" accent5="accent5" accent6="accent6" hlink="hlink" folHlink="folHlink"/>
  <p:sldLayoutIdLst>
    <p:sldLayoutId id="2147483844" r:id="rId1"/>
    <p:sldLayoutId id="2147483848" r:id="rId2"/>
    <p:sldLayoutId id="2147483849" r:id="rId3"/>
    <p:sldLayoutId id="2147483850" r:id="rId4"/>
    <p:sldLayoutId id="2147483851" r:id="rId5"/>
    <p:sldLayoutId id="2147483852" r:id="rId6"/>
    <p:sldLayoutId id="2147483853" r:id="rId7"/>
    <p:sldLayoutId id="2147483854" r:id="rId8"/>
    <p:sldLayoutId id="2147483855" r:id="rId9"/>
    <p:sldLayoutId id="2147483856" r:id="rId10"/>
    <p:sldLayoutId id="2147483857" r:id="rId11"/>
    <p:sldLayoutId id="2147483858" r:id="rId12"/>
    <p:sldLayoutId id="2147483859" r:id="rId13"/>
    <p:sldLayoutId id="2147483860" r:id="rId14"/>
    <p:sldLayoutId id="2147483861" r:id="rId15"/>
    <p:sldLayoutId id="2147483862" r:id="rId16"/>
    <p:sldLayoutId id="2147483863" r:id="rId17"/>
    <p:sldLayoutId id="2147483864" r:id="rId18"/>
    <p:sldLayoutId id="2147483865" r:id="rId19"/>
    <p:sldLayoutId id="2147483866" r:id="rId20"/>
    <p:sldLayoutId id="2147483867" r:id="rId21"/>
    <p:sldLayoutId id="2147483868" r:id="rId22"/>
    <p:sldLayoutId id="2147483903" r:id="rId23"/>
    <p:sldLayoutId id="2147483904"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8.xml"/><Relationship Id="rId5" Type="http://schemas.openxmlformats.org/officeDocument/2006/relationships/chart" Target="../charts/chart1.xml"/><Relationship Id="rId4" Type="http://schemas.openxmlformats.org/officeDocument/2006/relationships/image" Target="../media/image28.emf"/></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7.xml"/><Relationship Id="rId5" Type="http://schemas.openxmlformats.org/officeDocument/2006/relationships/chart" Target="../charts/chart10.xml"/><Relationship Id="rId4" Type="http://schemas.openxmlformats.org/officeDocument/2006/relationships/image" Target="../media/image28.emf"/></Relationships>
</file>

<file path=ppt/slides/_rels/slide10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27.xml"/><Relationship Id="rId5" Type="http://schemas.openxmlformats.org/officeDocument/2006/relationships/chart" Target="../charts/chart100.xml"/><Relationship Id="rId4" Type="http://schemas.openxmlformats.org/officeDocument/2006/relationships/image" Target="../media/image28.emf"/></Relationships>
</file>

<file path=ppt/slides/_rels/slide1000.xml.rels><?xml version="1.0" encoding="UTF-8" standalone="yes"?>
<Relationships xmlns="http://schemas.openxmlformats.org/package/2006/relationships"><Relationship Id="rId3" Type="http://schemas.openxmlformats.org/officeDocument/2006/relationships/notesSlide" Target="../notesSlides/notesSlide88.xml"/><Relationship Id="rId2" Type="http://schemas.openxmlformats.org/officeDocument/2006/relationships/slideLayout" Target="../slideLayouts/slideLayout7.xml"/><Relationship Id="rId1" Type="http://schemas.openxmlformats.org/officeDocument/2006/relationships/tags" Target="../tags/tag1027.xml"/><Relationship Id="rId6" Type="http://schemas.openxmlformats.org/officeDocument/2006/relationships/chart" Target="../charts/chart760.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001.xml.rels><?xml version="1.0" encoding="UTF-8" standalone="yes"?>
<Relationships xmlns="http://schemas.openxmlformats.org/package/2006/relationships"><Relationship Id="rId3" Type="http://schemas.openxmlformats.org/officeDocument/2006/relationships/notesSlide" Target="../notesSlides/notesSlide89.xml"/><Relationship Id="rId2" Type="http://schemas.openxmlformats.org/officeDocument/2006/relationships/slideLayout" Target="../slideLayouts/slideLayout7.xml"/><Relationship Id="rId1" Type="http://schemas.openxmlformats.org/officeDocument/2006/relationships/tags" Target="../tags/tag1028.xml"/><Relationship Id="rId6" Type="http://schemas.openxmlformats.org/officeDocument/2006/relationships/chart" Target="../charts/chart76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002.xml.rels><?xml version="1.0" encoding="UTF-8" standalone="yes"?>
<Relationships xmlns="http://schemas.openxmlformats.org/package/2006/relationships"><Relationship Id="rId3" Type="http://schemas.openxmlformats.org/officeDocument/2006/relationships/notesSlide" Target="../notesSlides/notesSlide90.xml"/><Relationship Id="rId2" Type="http://schemas.openxmlformats.org/officeDocument/2006/relationships/slideLayout" Target="../slideLayouts/slideLayout7.xml"/><Relationship Id="rId1" Type="http://schemas.openxmlformats.org/officeDocument/2006/relationships/tags" Target="../tags/tag1029.xml"/><Relationship Id="rId6" Type="http://schemas.openxmlformats.org/officeDocument/2006/relationships/chart" Target="../charts/chart762.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003.xml.rels><?xml version="1.0" encoding="UTF-8" standalone="yes"?>
<Relationships xmlns="http://schemas.openxmlformats.org/package/2006/relationships"><Relationship Id="rId3" Type="http://schemas.openxmlformats.org/officeDocument/2006/relationships/notesSlide" Target="../notesSlides/notesSlide91.xml"/><Relationship Id="rId2" Type="http://schemas.openxmlformats.org/officeDocument/2006/relationships/slideLayout" Target="../slideLayouts/slideLayout7.xml"/><Relationship Id="rId1" Type="http://schemas.openxmlformats.org/officeDocument/2006/relationships/tags" Target="../tags/tag1030.xml"/><Relationship Id="rId6" Type="http://schemas.openxmlformats.org/officeDocument/2006/relationships/chart" Target="../charts/chart76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004.xml.rels><?xml version="1.0" encoding="UTF-8" standalone="yes"?>
<Relationships xmlns="http://schemas.openxmlformats.org/package/2006/relationships"><Relationship Id="rId3" Type="http://schemas.openxmlformats.org/officeDocument/2006/relationships/notesSlide" Target="../notesSlides/notesSlide92.xml"/><Relationship Id="rId2" Type="http://schemas.openxmlformats.org/officeDocument/2006/relationships/slideLayout" Target="../slideLayouts/slideLayout7.xml"/><Relationship Id="rId1" Type="http://schemas.openxmlformats.org/officeDocument/2006/relationships/tags" Target="../tags/tag1031.xml"/><Relationship Id="rId6" Type="http://schemas.openxmlformats.org/officeDocument/2006/relationships/chart" Target="../charts/chart764.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005.xml.rels><?xml version="1.0" encoding="UTF-8" standalone="yes"?>
<Relationships xmlns="http://schemas.openxmlformats.org/package/2006/relationships"><Relationship Id="rId3" Type="http://schemas.openxmlformats.org/officeDocument/2006/relationships/notesSlide" Target="../notesSlides/notesSlide93.xml"/><Relationship Id="rId2" Type="http://schemas.openxmlformats.org/officeDocument/2006/relationships/slideLayout" Target="../slideLayouts/slideLayout7.xml"/><Relationship Id="rId1" Type="http://schemas.openxmlformats.org/officeDocument/2006/relationships/tags" Target="../tags/tag1032.xml"/><Relationship Id="rId6" Type="http://schemas.openxmlformats.org/officeDocument/2006/relationships/chart" Target="../charts/chart76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006.xml.rels><?xml version="1.0" encoding="UTF-8" standalone="yes"?>
<Relationships xmlns="http://schemas.openxmlformats.org/package/2006/relationships"><Relationship Id="rId3" Type="http://schemas.openxmlformats.org/officeDocument/2006/relationships/notesSlide" Target="../notesSlides/notesSlide94.xml"/><Relationship Id="rId2" Type="http://schemas.openxmlformats.org/officeDocument/2006/relationships/slideLayout" Target="../slideLayouts/slideLayout7.xml"/><Relationship Id="rId1" Type="http://schemas.openxmlformats.org/officeDocument/2006/relationships/tags" Target="../tags/tag1033.xml"/><Relationship Id="rId6" Type="http://schemas.openxmlformats.org/officeDocument/2006/relationships/chart" Target="../charts/chart766.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00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34.xml"/><Relationship Id="rId5" Type="http://schemas.openxmlformats.org/officeDocument/2006/relationships/chart" Target="../charts/chart767.xml"/><Relationship Id="rId4" Type="http://schemas.openxmlformats.org/officeDocument/2006/relationships/image" Target="../media/image28.emf"/></Relationships>
</file>

<file path=ppt/slides/_rels/slide100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35.xml"/><Relationship Id="rId5" Type="http://schemas.openxmlformats.org/officeDocument/2006/relationships/chart" Target="../charts/chart768.xml"/><Relationship Id="rId4" Type="http://schemas.openxmlformats.org/officeDocument/2006/relationships/image" Target="../media/image28.emf"/></Relationships>
</file>

<file path=ppt/slides/_rels/slide100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36.xml"/><Relationship Id="rId5" Type="http://schemas.openxmlformats.org/officeDocument/2006/relationships/chart" Target="../charts/chart769.xml"/><Relationship Id="rId4" Type="http://schemas.openxmlformats.org/officeDocument/2006/relationships/image" Target="../media/image28.emf"/></Relationships>
</file>

<file path=ppt/slides/_rels/slide10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28.xml"/><Relationship Id="rId5" Type="http://schemas.openxmlformats.org/officeDocument/2006/relationships/chart" Target="../charts/chart101.xml"/><Relationship Id="rId4" Type="http://schemas.openxmlformats.org/officeDocument/2006/relationships/image" Target="../media/image28.emf"/></Relationships>
</file>

<file path=ppt/slides/_rels/slide101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37.xml"/><Relationship Id="rId5" Type="http://schemas.openxmlformats.org/officeDocument/2006/relationships/chart" Target="../charts/chart770.xml"/><Relationship Id="rId4" Type="http://schemas.openxmlformats.org/officeDocument/2006/relationships/image" Target="../media/image28.emf"/></Relationships>
</file>

<file path=ppt/slides/_rels/slide101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38.xml"/><Relationship Id="rId5" Type="http://schemas.openxmlformats.org/officeDocument/2006/relationships/chart" Target="../charts/chart771.xml"/><Relationship Id="rId4" Type="http://schemas.openxmlformats.org/officeDocument/2006/relationships/image" Target="../media/image28.emf"/></Relationships>
</file>

<file path=ppt/slides/_rels/slide101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39.xml"/><Relationship Id="rId5" Type="http://schemas.openxmlformats.org/officeDocument/2006/relationships/chart" Target="../charts/chart772.xml"/><Relationship Id="rId4" Type="http://schemas.openxmlformats.org/officeDocument/2006/relationships/image" Target="../media/image28.emf"/></Relationships>
</file>

<file path=ppt/slides/_rels/slide101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40.xml"/><Relationship Id="rId5" Type="http://schemas.openxmlformats.org/officeDocument/2006/relationships/chart" Target="../charts/chart773.xml"/><Relationship Id="rId4" Type="http://schemas.openxmlformats.org/officeDocument/2006/relationships/image" Target="../media/image28.emf"/></Relationships>
</file>

<file path=ppt/slides/_rels/slide101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41.xml"/><Relationship Id="rId5" Type="http://schemas.openxmlformats.org/officeDocument/2006/relationships/chart" Target="../charts/chart774.xml"/><Relationship Id="rId4" Type="http://schemas.openxmlformats.org/officeDocument/2006/relationships/image" Target="../media/image28.emf"/></Relationships>
</file>

<file path=ppt/slides/_rels/slide101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42.xml"/><Relationship Id="rId5" Type="http://schemas.openxmlformats.org/officeDocument/2006/relationships/chart" Target="../charts/chart775.xml"/><Relationship Id="rId4" Type="http://schemas.openxmlformats.org/officeDocument/2006/relationships/image" Target="../media/image28.emf"/></Relationships>
</file>

<file path=ppt/slides/_rels/slide101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43.xml"/><Relationship Id="rId5" Type="http://schemas.openxmlformats.org/officeDocument/2006/relationships/chart" Target="../charts/chart776.xml"/><Relationship Id="rId4" Type="http://schemas.openxmlformats.org/officeDocument/2006/relationships/image" Target="../media/image28.emf"/></Relationships>
</file>

<file path=ppt/slides/_rels/slide101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44.xml"/><Relationship Id="rId5" Type="http://schemas.openxmlformats.org/officeDocument/2006/relationships/chart" Target="../charts/chart777.xml"/><Relationship Id="rId4" Type="http://schemas.openxmlformats.org/officeDocument/2006/relationships/image" Target="../media/image28.emf"/></Relationships>
</file>

<file path=ppt/slides/_rels/slide101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45.xml"/><Relationship Id="rId5" Type="http://schemas.openxmlformats.org/officeDocument/2006/relationships/chart" Target="../charts/chart778.xml"/><Relationship Id="rId4" Type="http://schemas.openxmlformats.org/officeDocument/2006/relationships/image" Target="../media/image28.emf"/></Relationships>
</file>

<file path=ppt/slides/_rels/slide101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46.xml"/><Relationship Id="rId5" Type="http://schemas.openxmlformats.org/officeDocument/2006/relationships/chart" Target="../charts/chart779.xml"/><Relationship Id="rId4" Type="http://schemas.openxmlformats.org/officeDocument/2006/relationships/image" Target="../media/image28.emf"/></Relationships>
</file>

<file path=ppt/slides/_rels/slide10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29.xml"/><Relationship Id="rId5" Type="http://schemas.openxmlformats.org/officeDocument/2006/relationships/chart" Target="../charts/chart102.xml"/><Relationship Id="rId4" Type="http://schemas.openxmlformats.org/officeDocument/2006/relationships/image" Target="../media/image28.emf"/></Relationships>
</file>

<file path=ppt/slides/_rels/slide102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47.xml"/><Relationship Id="rId5" Type="http://schemas.openxmlformats.org/officeDocument/2006/relationships/chart" Target="../charts/chart780.xml"/><Relationship Id="rId4" Type="http://schemas.openxmlformats.org/officeDocument/2006/relationships/image" Target="../media/image28.emf"/></Relationships>
</file>

<file path=ppt/slides/_rels/slide102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48.xml"/><Relationship Id="rId5" Type="http://schemas.openxmlformats.org/officeDocument/2006/relationships/chart" Target="../charts/chart781.xml"/><Relationship Id="rId4" Type="http://schemas.openxmlformats.org/officeDocument/2006/relationships/image" Target="../media/image28.emf"/></Relationships>
</file>

<file path=ppt/slides/_rels/slide102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49.xml"/><Relationship Id="rId5" Type="http://schemas.openxmlformats.org/officeDocument/2006/relationships/chart" Target="../charts/chart782.xml"/><Relationship Id="rId4" Type="http://schemas.openxmlformats.org/officeDocument/2006/relationships/image" Target="../media/image28.emf"/></Relationships>
</file>

<file path=ppt/slides/_rels/slide102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50.xml"/><Relationship Id="rId5" Type="http://schemas.openxmlformats.org/officeDocument/2006/relationships/chart" Target="../charts/chart783.xml"/><Relationship Id="rId4" Type="http://schemas.openxmlformats.org/officeDocument/2006/relationships/image" Target="../media/image28.emf"/></Relationships>
</file>

<file path=ppt/slides/_rels/slide102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51.xml"/><Relationship Id="rId5" Type="http://schemas.openxmlformats.org/officeDocument/2006/relationships/chart" Target="../charts/chart784.xml"/><Relationship Id="rId4" Type="http://schemas.openxmlformats.org/officeDocument/2006/relationships/image" Target="../media/image28.emf"/></Relationships>
</file>

<file path=ppt/slides/_rels/slide102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52.xml"/><Relationship Id="rId5" Type="http://schemas.openxmlformats.org/officeDocument/2006/relationships/chart" Target="../charts/chart785.xml"/><Relationship Id="rId4" Type="http://schemas.openxmlformats.org/officeDocument/2006/relationships/image" Target="../media/image28.emf"/></Relationships>
</file>

<file path=ppt/slides/_rels/slide102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53.xml"/><Relationship Id="rId5" Type="http://schemas.openxmlformats.org/officeDocument/2006/relationships/chart" Target="../charts/chart786.xml"/><Relationship Id="rId4" Type="http://schemas.openxmlformats.org/officeDocument/2006/relationships/image" Target="../media/image28.emf"/></Relationships>
</file>

<file path=ppt/slides/_rels/slide102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54.xml"/><Relationship Id="rId5" Type="http://schemas.openxmlformats.org/officeDocument/2006/relationships/chart" Target="../charts/chart787.xml"/><Relationship Id="rId4" Type="http://schemas.openxmlformats.org/officeDocument/2006/relationships/image" Target="../media/image28.emf"/></Relationships>
</file>

<file path=ppt/slides/_rels/slide102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55.xml"/><Relationship Id="rId5" Type="http://schemas.openxmlformats.org/officeDocument/2006/relationships/chart" Target="../charts/chart788.xml"/><Relationship Id="rId4" Type="http://schemas.openxmlformats.org/officeDocument/2006/relationships/image" Target="../media/image28.emf"/></Relationships>
</file>

<file path=ppt/slides/_rels/slide102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56.xml"/><Relationship Id="rId5" Type="http://schemas.openxmlformats.org/officeDocument/2006/relationships/chart" Target="../charts/chart789.xml"/><Relationship Id="rId4" Type="http://schemas.openxmlformats.org/officeDocument/2006/relationships/image" Target="../media/image28.emf"/></Relationships>
</file>

<file path=ppt/slides/_rels/slide10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30.xml"/><Relationship Id="rId5" Type="http://schemas.openxmlformats.org/officeDocument/2006/relationships/chart" Target="../charts/chart103.xml"/><Relationship Id="rId4" Type="http://schemas.openxmlformats.org/officeDocument/2006/relationships/image" Target="../media/image28.emf"/></Relationships>
</file>

<file path=ppt/slides/_rels/slide103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57.xml"/><Relationship Id="rId5" Type="http://schemas.openxmlformats.org/officeDocument/2006/relationships/chart" Target="../charts/chart790.xml"/><Relationship Id="rId4" Type="http://schemas.openxmlformats.org/officeDocument/2006/relationships/image" Target="../media/image28.emf"/></Relationships>
</file>

<file path=ppt/slides/_rels/slide103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58.xml"/><Relationship Id="rId5" Type="http://schemas.openxmlformats.org/officeDocument/2006/relationships/chart" Target="../charts/chart791.xml"/><Relationship Id="rId4" Type="http://schemas.openxmlformats.org/officeDocument/2006/relationships/image" Target="../media/image28.emf"/></Relationships>
</file>

<file path=ppt/slides/_rels/slide103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59.xml"/><Relationship Id="rId5" Type="http://schemas.openxmlformats.org/officeDocument/2006/relationships/chart" Target="../charts/chart792.xml"/><Relationship Id="rId4" Type="http://schemas.openxmlformats.org/officeDocument/2006/relationships/image" Target="../media/image28.emf"/></Relationships>
</file>

<file path=ppt/slides/_rels/slide103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60.xml"/><Relationship Id="rId5" Type="http://schemas.openxmlformats.org/officeDocument/2006/relationships/chart" Target="../charts/chart793.xml"/><Relationship Id="rId4" Type="http://schemas.openxmlformats.org/officeDocument/2006/relationships/image" Target="../media/image28.emf"/></Relationships>
</file>

<file path=ppt/slides/_rels/slide103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61.xml"/><Relationship Id="rId5" Type="http://schemas.openxmlformats.org/officeDocument/2006/relationships/chart" Target="../charts/chart794.xml"/><Relationship Id="rId4" Type="http://schemas.openxmlformats.org/officeDocument/2006/relationships/image" Target="../media/image28.emf"/></Relationships>
</file>

<file path=ppt/slides/_rels/slide103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62.xml"/><Relationship Id="rId5" Type="http://schemas.openxmlformats.org/officeDocument/2006/relationships/chart" Target="../charts/chart795.xml"/><Relationship Id="rId4" Type="http://schemas.openxmlformats.org/officeDocument/2006/relationships/image" Target="../media/image28.emf"/></Relationships>
</file>

<file path=ppt/slides/_rels/slide103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63.xml"/><Relationship Id="rId5" Type="http://schemas.openxmlformats.org/officeDocument/2006/relationships/chart" Target="../charts/chart796.xml"/><Relationship Id="rId4" Type="http://schemas.openxmlformats.org/officeDocument/2006/relationships/image" Target="../media/image28.emf"/></Relationships>
</file>

<file path=ppt/slides/_rels/slide103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64.xml"/><Relationship Id="rId5" Type="http://schemas.openxmlformats.org/officeDocument/2006/relationships/chart" Target="../charts/chart797.xml"/><Relationship Id="rId4" Type="http://schemas.openxmlformats.org/officeDocument/2006/relationships/image" Target="../media/image28.emf"/></Relationships>
</file>

<file path=ppt/slides/_rels/slide103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65.xml"/><Relationship Id="rId5" Type="http://schemas.openxmlformats.org/officeDocument/2006/relationships/chart" Target="../charts/chart798.xml"/><Relationship Id="rId4" Type="http://schemas.openxmlformats.org/officeDocument/2006/relationships/image" Target="../media/image28.emf"/></Relationships>
</file>

<file path=ppt/slides/_rels/slide103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66.xml"/><Relationship Id="rId5" Type="http://schemas.openxmlformats.org/officeDocument/2006/relationships/chart" Target="../charts/chart799.xml"/><Relationship Id="rId4" Type="http://schemas.openxmlformats.org/officeDocument/2006/relationships/image" Target="../media/image28.emf"/></Relationships>
</file>

<file path=ppt/slides/_rels/slide10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31.xml"/><Relationship Id="rId5" Type="http://schemas.openxmlformats.org/officeDocument/2006/relationships/chart" Target="../charts/chart104.xml"/><Relationship Id="rId4" Type="http://schemas.openxmlformats.org/officeDocument/2006/relationships/image" Target="../media/image28.emf"/></Relationships>
</file>

<file path=ppt/slides/_rels/slide104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67.xml"/><Relationship Id="rId5" Type="http://schemas.openxmlformats.org/officeDocument/2006/relationships/chart" Target="../charts/chart800.xml"/><Relationship Id="rId4" Type="http://schemas.openxmlformats.org/officeDocument/2006/relationships/image" Target="../media/image28.emf"/></Relationships>
</file>

<file path=ppt/slides/_rels/slide104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68.xml"/><Relationship Id="rId5" Type="http://schemas.openxmlformats.org/officeDocument/2006/relationships/chart" Target="../charts/chart801.xml"/><Relationship Id="rId4" Type="http://schemas.openxmlformats.org/officeDocument/2006/relationships/image" Target="../media/image28.emf"/></Relationships>
</file>

<file path=ppt/slides/_rels/slide104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69.xml"/><Relationship Id="rId5" Type="http://schemas.openxmlformats.org/officeDocument/2006/relationships/chart" Target="../charts/chart802.xml"/><Relationship Id="rId4" Type="http://schemas.openxmlformats.org/officeDocument/2006/relationships/image" Target="../media/image28.emf"/></Relationships>
</file>

<file path=ppt/slides/_rels/slide104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70.xml"/><Relationship Id="rId5" Type="http://schemas.openxmlformats.org/officeDocument/2006/relationships/chart" Target="../charts/chart803.xml"/><Relationship Id="rId4" Type="http://schemas.openxmlformats.org/officeDocument/2006/relationships/image" Target="../media/image28.emf"/></Relationships>
</file>

<file path=ppt/slides/_rels/slide104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71.xml"/><Relationship Id="rId5" Type="http://schemas.openxmlformats.org/officeDocument/2006/relationships/chart" Target="../charts/chart804.xml"/><Relationship Id="rId4" Type="http://schemas.openxmlformats.org/officeDocument/2006/relationships/image" Target="../media/image28.emf"/></Relationships>
</file>

<file path=ppt/slides/_rels/slide104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72.xml"/><Relationship Id="rId5" Type="http://schemas.openxmlformats.org/officeDocument/2006/relationships/chart" Target="../charts/chart805.xml"/><Relationship Id="rId4" Type="http://schemas.openxmlformats.org/officeDocument/2006/relationships/image" Target="../media/image28.emf"/></Relationships>
</file>

<file path=ppt/slides/_rels/slide104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73.xml"/><Relationship Id="rId5" Type="http://schemas.openxmlformats.org/officeDocument/2006/relationships/chart" Target="../charts/chart806.xml"/><Relationship Id="rId4" Type="http://schemas.openxmlformats.org/officeDocument/2006/relationships/image" Target="../media/image28.emf"/></Relationships>
</file>

<file path=ppt/slides/_rels/slide104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74.xml"/><Relationship Id="rId5" Type="http://schemas.openxmlformats.org/officeDocument/2006/relationships/chart" Target="../charts/chart807.xml"/><Relationship Id="rId4" Type="http://schemas.openxmlformats.org/officeDocument/2006/relationships/image" Target="../media/image28.emf"/></Relationships>
</file>

<file path=ppt/slides/_rels/slide104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75.xml"/><Relationship Id="rId5" Type="http://schemas.openxmlformats.org/officeDocument/2006/relationships/chart" Target="../charts/chart808.xml"/><Relationship Id="rId4" Type="http://schemas.openxmlformats.org/officeDocument/2006/relationships/image" Target="../media/image28.emf"/></Relationships>
</file>

<file path=ppt/slides/_rels/slide104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76.xml"/><Relationship Id="rId5" Type="http://schemas.openxmlformats.org/officeDocument/2006/relationships/chart" Target="../charts/chart809.xml"/><Relationship Id="rId4" Type="http://schemas.openxmlformats.org/officeDocument/2006/relationships/image" Target="../media/image28.emf"/></Relationships>
</file>

<file path=ppt/slides/_rels/slide10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32.xml"/><Relationship Id="rId5" Type="http://schemas.openxmlformats.org/officeDocument/2006/relationships/chart" Target="../charts/chart105.xml"/><Relationship Id="rId4" Type="http://schemas.openxmlformats.org/officeDocument/2006/relationships/image" Target="../media/image28.emf"/></Relationships>
</file>

<file path=ppt/slides/_rels/slide105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77.xml"/><Relationship Id="rId5" Type="http://schemas.openxmlformats.org/officeDocument/2006/relationships/chart" Target="../charts/chart810.xml"/><Relationship Id="rId4" Type="http://schemas.openxmlformats.org/officeDocument/2006/relationships/image" Target="../media/image28.emf"/></Relationships>
</file>

<file path=ppt/slides/_rels/slide105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78.xml"/><Relationship Id="rId5" Type="http://schemas.openxmlformats.org/officeDocument/2006/relationships/chart" Target="../charts/chart811.xml"/><Relationship Id="rId4" Type="http://schemas.openxmlformats.org/officeDocument/2006/relationships/image" Target="../media/image28.emf"/></Relationships>
</file>

<file path=ppt/slides/_rels/slide105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79.xml"/><Relationship Id="rId5" Type="http://schemas.openxmlformats.org/officeDocument/2006/relationships/chart" Target="../charts/chart812.xml"/><Relationship Id="rId4" Type="http://schemas.openxmlformats.org/officeDocument/2006/relationships/image" Target="../media/image28.emf"/></Relationships>
</file>

<file path=ppt/slides/_rels/slide105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80.xml"/><Relationship Id="rId5" Type="http://schemas.openxmlformats.org/officeDocument/2006/relationships/chart" Target="../charts/chart813.xml"/><Relationship Id="rId4" Type="http://schemas.openxmlformats.org/officeDocument/2006/relationships/image" Target="../media/image28.emf"/></Relationships>
</file>

<file path=ppt/slides/_rels/slide105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81.xml"/><Relationship Id="rId5" Type="http://schemas.openxmlformats.org/officeDocument/2006/relationships/chart" Target="../charts/chart814.xml"/><Relationship Id="rId4" Type="http://schemas.openxmlformats.org/officeDocument/2006/relationships/image" Target="../media/image28.emf"/></Relationships>
</file>

<file path=ppt/slides/_rels/slide105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82.xml"/><Relationship Id="rId5" Type="http://schemas.openxmlformats.org/officeDocument/2006/relationships/chart" Target="../charts/chart815.xml"/><Relationship Id="rId4" Type="http://schemas.openxmlformats.org/officeDocument/2006/relationships/image" Target="../media/image28.emf"/></Relationships>
</file>

<file path=ppt/slides/_rels/slide105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83.xml"/><Relationship Id="rId5" Type="http://schemas.openxmlformats.org/officeDocument/2006/relationships/chart" Target="../charts/chart816.xml"/><Relationship Id="rId4" Type="http://schemas.openxmlformats.org/officeDocument/2006/relationships/image" Target="../media/image28.emf"/></Relationships>
</file>

<file path=ppt/slides/_rels/slide105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84.xml"/><Relationship Id="rId5" Type="http://schemas.openxmlformats.org/officeDocument/2006/relationships/chart" Target="../charts/chart817.xml"/><Relationship Id="rId4" Type="http://schemas.openxmlformats.org/officeDocument/2006/relationships/image" Target="../media/image28.emf"/></Relationships>
</file>

<file path=ppt/slides/_rels/slide105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85.xml"/><Relationship Id="rId5" Type="http://schemas.openxmlformats.org/officeDocument/2006/relationships/chart" Target="../charts/chart818.xml"/><Relationship Id="rId4" Type="http://schemas.openxmlformats.org/officeDocument/2006/relationships/image" Target="../media/image28.emf"/></Relationships>
</file>

<file path=ppt/slides/_rels/slide105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86.xml"/><Relationship Id="rId5" Type="http://schemas.openxmlformats.org/officeDocument/2006/relationships/chart" Target="../charts/chart819.xml"/><Relationship Id="rId4" Type="http://schemas.openxmlformats.org/officeDocument/2006/relationships/image" Target="../media/image28.emf"/></Relationships>
</file>

<file path=ppt/slides/_rels/slide10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33.xml"/><Relationship Id="rId5" Type="http://schemas.openxmlformats.org/officeDocument/2006/relationships/chart" Target="../charts/chart106.xml"/><Relationship Id="rId4" Type="http://schemas.openxmlformats.org/officeDocument/2006/relationships/image" Target="../media/image28.emf"/></Relationships>
</file>

<file path=ppt/slides/_rels/slide106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87.xml"/><Relationship Id="rId5" Type="http://schemas.openxmlformats.org/officeDocument/2006/relationships/chart" Target="../charts/chart820.xml"/><Relationship Id="rId4" Type="http://schemas.openxmlformats.org/officeDocument/2006/relationships/image" Target="../media/image28.emf"/></Relationships>
</file>

<file path=ppt/slides/_rels/slide106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88.xml"/><Relationship Id="rId5" Type="http://schemas.openxmlformats.org/officeDocument/2006/relationships/chart" Target="../charts/chart821.xml"/><Relationship Id="rId4" Type="http://schemas.openxmlformats.org/officeDocument/2006/relationships/image" Target="../media/image28.emf"/></Relationships>
</file>

<file path=ppt/slides/_rels/slide106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89.xml"/><Relationship Id="rId5" Type="http://schemas.openxmlformats.org/officeDocument/2006/relationships/chart" Target="../charts/chart822.xml"/><Relationship Id="rId4" Type="http://schemas.openxmlformats.org/officeDocument/2006/relationships/image" Target="../media/image28.emf"/></Relationships>
</file>

<file path=ppt/slides/_rels/slide106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90.xml"/><Relationship Id="rId5" Type="http://schemas.openxmlformats.org/officeDocument/2006/relationships/chart" Target="../charts/chart823.xml"/><Relationship Id="rId4" Type="http://schemas.openxmlformats.org/officeDocument/2006/relationships/image" Target="../media/image28.emf"/></Relationships>
</file>

<file path=ppt/slides/_rels/slide106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91.xml"/><Relationship Id="rId5" Type="http://schemas.openxmlformats.org/officeDocument/2006/relationships/chart" Target="../charts/chart824.xml"/><Relationship Id="rId4" Type="http://schemas.openxmlformats.org/officeDocument/2006/relationships/image" Target="../media/image28.emf"/></Relationships>
</file>

<file path=ppt/slides/_rels/slide106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92.xml"/><Relationship Id="rId5" Type="http://schemas.openxmlformats.org/officeDocument/2006/relationships/chart" Target="../charts/chart825.xml"/><Relationship Id="rId4" Type="http://schemas.openxmlformats.org/officeDocument/2006/relationships/image" Target="../media/image28.emf"/></Relationships>
</file>

<file path=ppt/slides/_rels/slide106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93.xml"/><Relationship Id="rId5" Type="http://schemas.openxmlformats.org/officeDocument/2006/relationships/chart" Target="../charts/chart826.xml"/><Relationship Id="rId4" Type="http://schemas.openxmlformats.org/officeDocument/2006/relationships/image" Target="../media/image28.emf"/></Relationships>
</file>

<file path=ppt/slides/_rels/slide106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94.xml"/><Relationship Id="rId5" Type="http://schemas.openxmlformats.org/officeDocument/2006/relationships/chart" Target="../charts/chart827.xml"/><Relationship Id="rId4" Type="http://schemas.openxmlformats.org/officeDocument/2006/relationships/image" Target="../media/image28.emf"/></Relationships>
</file>

<file path=ppt/slides/_rels/slide106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95.xml"/><Relationship Id="rId5" Type="http://schemas.openxmlformats.org/officeDocument/2006/relationships/chart" Target="../charts/chart828.xml"/><Relationship Id="rId4" Type="http://schemas.openxmlformats.org/officeDocument/2006/relationships/image" Target="../media/image28.emf"/></Relationships>
</file>

<file path=ppt/slides/_rels/slide106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96.xml"/><Relationship Id="rId5" Type="http://schemas.openxmlformats.org/officeDocument/2006/relationships/chart" Target="../charts/chart829.xml"/><Relationship Id="rId4" Type="http://schemas.openxmlformats.org/officeDocument/2006/relationships/image" Target="../media/image28.emf"/></Relationships>
</file>

<file path=ppt/slides/_rels/slide10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34.xml"/><Relationship Id="rId5" Type="http://schemas.openxmlformats.org/officeDocument/2006/relationships/chart" Target="../charts/chart107.xml"/><Relationship Id="rId4" Type="http://schemas.openxmlformats.org/officeDocument/2006/relationships/image" Target="../media/image28.emf"/></Relationships>
</file>

<file path=ppt/slides/_rels/slide107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97.xml"/><Relationship Id="rId5" Type="http://schemas.openxmlformats.org/officeDocument/2006/relationships/chart" Target="../charts/chart830.xml"/><Relationship Id="rId4" Type="http://schemas.openxmlformats.org/officeDocument/2006/relationships/image" Target="../media/image28.emf"/></Relationships>
</file>

<file path=ppt/slides/_rels/slide107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98.xml"/><Relationship Id="rId5" Type="http://schemas.openxmlformats.org/officeDocument/2006/relationships/chart" Target="../charts/chart831.xml"/><Relationship Id="rId4" Type="http://schemas.openxmlformats.org/officeDocument/2006/relationships/image" Target="../media/image28.emf"/></Relationships>
</file>

<file path=ppt/slides/_rels/slide107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99.xml"/><Relationship Id="rId5" Type="http://schemas.openxmlformats.org/officeDocument/2006/relationships/chart" Target="../charts/chart832.xml"/><Relationship Id="rId4" Type="http://schemas.openxmlformats.org/officeDocument/2006/relationships/image" Target="../media/image28.emf"/></Relationships>
</file>

<file path=ppt/slides/_rels/slide107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00.xml"/><Relationship Id="rId5" Type="http://schemas.openxmlformats.org/officeDocument/2006/relationships/chart" Target="../charts/chart833.xml"/><Relationship Id="rId4" Type="http://schemas.openxmlformats.org/officeDocument/2006/relationships/image" Target="../media/image28.emf"/></Relationships>
</file>

<file path=ppt/slides/_rels/slide107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01.xml"/><Relationship Id="rId5" Type="http://schemas.openxmlformats.org/officeDocument/2006/relationships/chart" Target="../charts/chart834.xml"/><Relationship Id="rId4" Type="http://schemas.openxmlformats.org/officeDocument/2006/relationships/image" Target="../media/image28.emf"/></Relationships>
</file>

<file path=ppt/slides/_rels/slide107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02.xml"/><Relationship Id="rId5" Type="http://schemas.openxmlformats.org/officeDocument/2006/relationships/chart" Target="../charts/chart835.xml"/><Relationship Id="rId4" Type="http://schemas.openxmlformats.org/officeDocument/2006/relationships/image" Target="../media/image28.emf"/></Relationships>
</file>

<file path=ppt/slides/_rels/slide107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03.xml"/><Relationship Id="rId5" Type="http://schemas.openxmlformats.org/officeDocument/2006/relationships/chart" Target="../charts/chart836.xml"/><Relationship Id="rId4" Type="http://schemas.openxmlformats.org/officeDocument/2006/relationships/image" Target="../media/image28.emf"/></Relationships>
</file>

<file path=ppt/slides/_rels/slide107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04.xml"/><Relationship Id="rId5" Type="http://schemas.openxmlformats.org/officeDocument/2006/relationships/chart" Target="../charts/chart837.xml"/><Relationship Id="rId4" Type="http://schemas.openxmlformats.org/officeDocument/2006/relationships/image" Target="../media/image28.emf"/></Relationships>
</file>

<file path=ppt/slides/_rels/slide107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05.xml"/><Relationship Id="rId5" Type="http://schemas.openxmlformats.org/officeDocument/2006/relationships/chart" Target="../charts/chart838.xml"/><Relationship Id="rId4" Type="http://schemas.openxmlformats.org/officeDocument/2006/relationships/image" Target="../media/image28.emf"/></Relationships>
</file>

<file path=ppt/slides/_rels/slide107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06.xml"/><Relationship Id="rId5" Type="http://schemas.openxmlformats.org/officeDocument/2006/relationships/chart" Target="../charts/chart839.xml"/><Relationship Id="rId4" Type="http://schemas.openxmlformats.org/officeDocument/2006/relationships/image" Target="../media/image28.emf"/></Relationships>
</file>

<file path=ppt/slides/_rels/slide10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35.xml"/><Relationship Id="rId5" Type="http://schemas.openxmlformats.org/officeDocument/2006/relationships/chart" Target="../charts/chart108.xml"/><Relationship Id="rId4" Type="http://schemas.openxmlformats.org/officeDocument/2006/relationships/image" Target="../media/image28.emf"/></Relationships>
</file>

<file path=ppt/slides/_rels/slide108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07.xml"/><Relationship Id="rId5" Type="http://schemas.openxmlformats.org/officeDocument/2006/relationships/chart" Target="../charts/chart840.xml"/><Relationship Id="rId4" Type="http://schemas.openxmlformats.org/officeDocument/2006/relationships/image" Target="../media/image28.emf"/></Relationships>
</file>

<file path=ppt/slides/_rels/slide108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08.xml"/><Relationship Id="rId5" Type="http://schemas.openxmlformats.org/officeDocument/2006/relationships/chart" Target="../charts/chart841.xml"/><Relationship Id="rId4" Type="http://schemas.openxmlformats.org/officeDocument/2006/relationships/image" Target="../media/image28.emf"/></Relationships>
</file>

<file path=ppt/slides/_rels/slide108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09.xml"/><Relationship Id="rId5" Type="http://schemas.openxmlformats.org/officeDocument/2006/relationships/chart" Target="../charts/chart842.xml"/><Relationship Id="rId4" Type="http://schemas.openxmlformats.org/officeDocument/2006/relationships/image" Target="../media/image28.emf"/></Relationships>
</file>

<file path=ppt/slides/_rels/slide108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10.xml"/><Relationship Id="rId5" Type="http://schemas.openxmlformats.org/officeDocument/2006/relationships/chart" Target="../charts/chart843.xml"/><Relationship Id="rId4" Type="http://schemas.openxmlformats.org/officeDocument/2006/relationships/image" Target="../media/image28.emf"/></Relationships>
</file>

<file path=ppt/slides/_rels/slide108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11.xml"/><Relationship Id="rId5" Type="http://schemas.openxmlformats.org/officeDocument/2006/relationships/chart" Target="../charts/chart844.xml"/><Relationship Id="rId4" Type="http://schemas.openxmlformats.org/officeDocument/2006/relationships/image" Target="../media/image28.emf"/></Relationships>
</file>

<file path=ppt/slides/_rels/slide108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12.xml"/><Relationship Id="rId5" Type="http://schemas.openxmlformats.org/officeDocument/2006/relationships/chart" Target="../charts/chart845.xml"/><Relationship Id="rId4" Type="http://schemas.openxmlformats.org/officeDocument/2006/relationships/image" Target="../media/image28.emf"/></Relationships>
</file>

<file path=ppt/slides/_rels/slide108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13.xml"/><Relationship Id="rId5" Type="http://schemas.openxmlformats.org/officeDocument/2006/relationships/chart" Target="../charts/chart846.xml"/><Relationship Id="rId4" Type="http://schemas.openxmlformats.org/officeDocument/2006/relationships/image" Target="../media/image28.emf"/></Relationships>
</file>

<file path=ppt/slides/_rels/slide108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14.xml"/><Relationship Id="rId5" Type="http://schemas.openxmlformats.org/officeDocument/2006/relationships/chart" Target="../charts/chart847.xml"/><Relationship Id="rId4" Type="http://schemas.openxmlformats.org/officeDocument/2006/relationships/image" Target="../media/image28.emf"/></Relationships>
</file>

<file path=ppt/slides/_rels/slide108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15.xml"/><Relationship Id="rId5" Type="http://schemas.openxmlformats.org/officeDocument/2006/relationships/chart" Target="../charts/chart848.xml"/><Relationship Id="rId4" Type="http://schemas.openxmlformats.org/officeDocument/2006/relationships/image" Target="../media/image28.emf"/></Relationships>
</file>

<file path=ppt/slides/_rels/slide108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16.xml"/><Relationship Id="rId5" Type="http://schemas.openxmlformats.org/officeDocument/2006/relationships/chart" Target="../charts/chart849.xml"/><Relationship Id="rId4" Type="http://schemas.openxmlformats.org/officeDocument/2006/relationships/image" Target="../media/image28.emf"/></Relationships>
</file>

<file path=ppt/slides/_rels/slide10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36.xml"/><Relationship Id="rId5" Type="http://schemas.openxmlformats.org/officeDocument/2006/relationships/chart" Target="../charts/chart109.xml"/><Relationship Id="rId4" Type="http://schemas.openxmlformats.org/officeDocument/2006/relationships/image" Target="../media/image28.emf"/></Relationships>
</file>

<file path=ppt/slides/_rels/slide109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17.xml"/><Relationship Id="rId5" Type="http://schemas.openxmlformats.org/officeDocument/2006/relationships/chart" Target="../charts/chart850.xml"/><Relationship Id="rId4" Type="http://schemas.openxmlformats.org/officeDocument/2006/relationships/image" Target="../media/image28.emf"/></Relationships>
</file>

<file path=ppt/slides/_rels/slide109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18.xml"/><Relationship Id="rId5" Type="http://schemas.openxmlformats.org/officeDocument/2006/relationships/chart" Target="../charts/chart851.xml"/><Relationship Id="rId4" Type="http://schemas.openxmlformats.org/officeDocument/2006/relationships/image" Target="../media/image28.emf"/></Relationships>
</file>

<file path=ppt/slides/_rels/slide109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19.xml"/><Relationship Id="rId5" Type="http://schemas.openxmlformats.org/officeDocument/2006/relationships/chart" Target="../charts/chart852.xml"/><Relationship Id="rId4" Type="http://schemas.openxmlformats.org/officeDocument/2006/relationships/image" Target="../media/image28.emf"/></Relationships>
</file>

<file path=ppt/slides/_rels/slide109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20.xml"/><Relationship Id="rId5" Type="http://schemas.openxmlformats.org/officeDocument/2006/relationships/chart" Target="../charts/chart853.xml"/><Relationship Id="rId4" Type="http://schemas.openxmlformats.org/officeDocument/2006/relationships/image" Target="../media/image28.emf"/></Relationships>
</file>

<file path=ppt/slides/_rels/slide109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21.xml"/><Relationship Id="rId5" Type="http://schemas.openxmlformats.org/officeDocument/2006/relationships/chart" Target="../charts/chart854.xml"/><Relationship Id="rId4" Type="http://schemas.openxmlformats.org/officeDocument/2006/relationships/image" Target="../media/image28.emf"/></Relationships>
</file>

<file path=ppt/slides/_rels/slide109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22.xml"/><Relationship Id="rId5" Type="http://schemas.openxmlformats.org/officeDocument/2006/relationships/chart" Target="../charts/chart855.xml"/><Relationship Id="rId4" Type="http://schemas.openxmlformats.org/officeDocument/2006/relationships/image" Target="../media/image28.emf"/></Relationships>
</file>

<file path=ppt/slides/_rels/slide109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23.xml"/><Relationship Id="rId5" Type="http://schemas.openxmlformats.org/officeDocument/2006/relationships/chart" Target="../charts/chart856.xml"/><Relationship Id="rId4" Type="http://schemas.openxmlformats.org/officeDocument/2006/relationships/image" Target="../media/image28.emf"/></Relationships>
</file>

<file path=ppt/slides/_rels/slide109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24.xml"/><Relationship Id="rId5" Type="http://schemas.openxmlformats.org/officeDocument/2006/relationships/chart" Target="../charts/chart857.xml"/><Relationship Id="rId4" Type="http://schemas.openxmlformats.org/officeDocument/2006/relationships/image" Target="../media/image28.emf"/></Relationships>
</file>

<file path=ppt/slides/_rels/slide109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25.xml"/><Relationship Id="rId5" Type="http://schemas.openxmlformats.org/officeDocument/2006/relationships/chart" Target="../charts/chart858.xml"/><Relationship Id="rId4" Type="http://schemas.openxmlformats.org/officeDocument/2006/relationships/image" Target="../media/image28.emf"/></Relationships>
</file>

<file path=ppt/slides/_rels/slide109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26.xml"/><Relationship Id="rId5" Type="http://schemas.openxmlformats.org/officeDocument/2006/relationships/chart" Target="../charts/chart859.xml"/><Relationship Id="rId4" Type="http://schemas.openxmlformats.org/officeDocument/2006/relationships/image" Target="../media/image28.emf"/></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8.xml"/><Relationship Id="rId5" Type="http://schemas.openxmlformats.org/officeDocument/2006/relationships/chart" Target="../charts/chart11.xml"/><Relationship Id="rId4" Type="http://schemas.openxmlformats.org/officeDocument/2006/relationships/image" Target="../media/image28.emf"/></Relationships>
</file>

<file path=ppt/slides/_rels/slide11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37.xml"/><Relationship Id="rId5" Type="http://schemas.openxmlformats.org/officeDocument/2006/relationships/chart" Target="../charts/chart110.xml"/><Relationship Id="rId4" Type="http://schemas.openxmlformats.org/officeDocument/2006/relationships/image" Target="../media/image28.emf"/></Relationships>
</file>

<file path=ppt/slides/_rels/slide110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27.xml"/><Relationship Id="rId5" Type="http://schemas.openxmlformats.org/officeDocument/2006/relationships/chart" Target="../charts/chart860.xml"/><Relationship Id="rId4" Type="http://schemas.openxmlformats.org/officeDocument/2006/relationships/image" Target="../media/image28.emf"/></Relationships>
</file>

<file path=ppt/slides/_rels/slide1101.xml.rels><?xml version="1.0" encoding="UTF-8" standalone="yes"?>
<Relationships xmlns="http://schemas.openxmlformats.org/package/2006/relationships"><Relationship Id="rId3" Type="http://schemas.openxmlformats.org/officeDocument/2006/relationships/notesSlide" Target="../notesSlides/notesSlide95.xml"/><Relationship Id="rId2" Type="http://schemas.openxmlformats.org/officeDocument/2006/relationships/slideLayout" Target="../slideLayouts/slideLayout7.xml"/><Relationship Id="rId1" Type="http://schemas.openxmlformats.org/officeDocument/2006/relationships/tags" Target="../tags/tag1128.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102.xml.rels><?xml version="1.0" encoding="UTF-8" standalone="yes"?>
<Relationships xmlns="http://schemas.openxmlformats.org/package/2006/relationships"><Relationship Id="rId3" Type="http://schemas.openxmlformats.org/officeDocument/2006/relationships/notesSlide" Target="../notesSlides/notesSlide96.xml"/><Relationship Id="rId2" Type="http://schemas.openxmlformats.org/officeDocument/2006/relationships/slideLayout" Target="../slideLayouts/slideLayout7.xml"/><Relationship Id="rId1" Type="http://schemas.openxmlformats.org/officeDocument/2006/relationships/tags" Target="../tags/tag1129.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103.xml.rels><?xml version="1.0" encoding="UTF-8" standalone="yes"?>
<Relationships xmlns="http://schemas.openxmlformats.org/package/2006/relationships"><Relationship Id="rId3" Type="http://schemas.openxmlformats.org/officeDocument/2006/relationships/notesSlide" Target="../notesSlides/notesSlide97.xml"/><Relationship Id="rId2" Type="http://schemas.openxmlformats.org/officeDocument/2006/relationships/slideLayout" Target="../slideLayouts/slideLayout7.xml"/><Relationship Id="rId1" Type="http://schemas.openxmlformats.org/officeDocument/2006/relationships/tags" Target="../tags/tag1130.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104.xml.rels><?xml version="1.0" encoding="UTF-8" standalone="yes"?>
<Relationships xmlns="http://schemas.openxmlformats.org/package/2006/relationships"><Relationship Id="rId3" Type="http://schemas.openxmlformats.org/officeDocument/2006/relationships/notesSlide" Target="../notesSlides/notesSlide98.xml"/><Relationship Id="rId2" Type="http://schemas.openxmlformats.org/officeDocument/2006/relationships/slideLayout" Target="../slideLayouts/slideLayout7.xml"/><Relationship Id="rId1" Type="http://schemas.openxmlformats.org/officeDocument/2006/relationships/tags" Target="../tags/tag1131.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105.xml.rels><?xml version="1.0" encoding="UTF-8" standalone="yes"?>
<Relationships xmlns="http://schemas.openxmlformats.org/package/2006/relationships"><Relationship Id="rId3" Type="http://schemas.openxmlformats.org/officeDocument/2006/relationships/notesSlide" Target="../notesSlides/notesSlide99.xml"/><Relationship Id="rId2" Type="http://schemas.openxmlformats.org/officeDocument/2006/relationships/slideLayout" Target="../slideLayouts/slideLayout7.xml"/><Relationship Id="rId1" Type="http://schemas.openxmlformats.org/officeDocument/2006/relationships/tags" Target="../tags/tag1132.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106.xml.rels><?xml version="1.0" encoding="UTF-8" standalone="yes"?>
<Relationships xmlns="http://schemas.openxmlformats.org/package/2006/relationships"><Relationship Id="rId3" Type="http://schemas.openxmlformats.org/officeDocument/2006/relationships/notesSlide" Target="../notesSlides/notesSlide100.xml"/><Relationship Id="rId2" Type="http://schemas.openxmlformats.org/officeDocument/2006/relationships/slideLayout" Target="../slideLayouts/slideLayout7.xml"/><Relationship Id="rId1" Type="http://schemas.openxmlformats.org/officeDocument/2006/relationships/tags" Target="../tags/tag1133.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107.xml.rels><?xml version="1.0" encoding="UTF-8" standalone="yes"?>
<Relationships xmlns="http://schemas.openxmlformats.org/package/2006/relationships"><Relationship Id="rId3" Type="http://schemas.openxmlformats.org/officeDocument/2006/relationships/notesSlide" Target="../notesSlides/notesSlide101.xml"/><Relationship Id="rId2" Type="http://schemas.openxmlformats.org/officeDocument/2006/relationships/slideLayout" Target="../slideLayouts/slideLayout7.xml"/><Relationship Id="rId1" Type="http://schemas.openxmlformats.org/officeDocument/2006/relationships/tags" Target="../tags/tag1134.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108.xml.rels><?xml version="1.0" encoding="UTF-8" standalone="yes"?>
<Relationships xmlns="http://schemas.openxmlformats.org/package/2006/relationships"><Relationship Id="rId3" Type="http://schemas.openxmlformats.org/officeDocument/2006/relationships/notesSlide" Target="../notesSlides/notesSlide102.xml"/><Relationship Id="rId2" Type="http://schemas.openxmlformats.org/officeDocument/2006/relationships/slideLayout" Target="../slideLayouts/slideLayout7.xml"/><Relationship Id="rId1" Type="http://schemas.openxmlformats.org/officeDocument/2006/relationships/tags" Target="../tags/tag1135.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109.xml.rels><?xml version="1.0" encoding="UTF-8" standalone="yes"?>
<Relationships xmlns="http://schemas.openxmlformats.org/package/2006/relationships"><Relationship Id="rId3" Type="http://schemas.openxmlformats.org/officeDocument/2006/relationships/notesSlide" Target="../notesSlides/notesSlide103.xml"/><Relationship Id="rId2" Type="http://schemas.openxmlformats.org/officeDocument/2006/relationships/slideLayout" Target="../slideLayouts/slideLayout7.xml"/><Relationship Id="rId1" Type="http://schemas.openxmlformats.org/officeDocument/2006/relationships/tags" Target="../tags/tag1136.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1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38.xml"/><Relationship Id="rId5" Type="http://schemas.openxmlformats.org/officeDocument/2006/relationships/chart" Target="../charts/chart111.xml"/><Relationship Id="rId4" Type="http://schemas.openxmlformats.org/officeDocument/2006/relationships/image" Target="../media/image28.emf"/></Relationships>
</file>

<file path=ppt/slides/_rels/slide1110.xml.rels><?xml version="1.0" encoding="UTF-8" standalone="yes"?>
<Relationships xmlns="http://schemas.openxmlformats.org/package/2006/relationships"><Relationship Id="rId3" Type="http://schemas.openxmlformats.org/officeDocument/2006/relationships/notesSlide" Target="../notesSlides/notesSlide104.xml"/><Relationship Id="rId2" Type="http://schemas.openxmlformats.org/officeDocument/2006/relationships/slideLayout" Target="../slideLayouts/slideLayout7.xml"/><Relationship Id="rId1" Type="http://schemas.openxmlformats.org/officeDocument/2006/relationships/tags" Target="../tags/tag1137.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111.xml.rels><?xml version="1.0" encoding="UTF-8" standalone="yes"?>
<Relationships xmlns="http://schemas.openxmlformats.org/package/2006/relationships"><Relationship Id="rId3" Type="http://schemas.openxmlformats.org/officeDocument/2006/relationships/notesSlide" Target="../notesSlides/notesSlide105.xml"/><Relationship Id="rId2" Type="http://schemas.openxmlformats.org/officeDocument/2006/relationships/slideLayout" Target="../slideLayouts/slideLayout7.xml"/><Relationship Id="rId1" Type="http://schemas.openxmlformats.org/officeDocument/2006/relationships/tags" Target="../tags/tag1138.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112.xml.rels><?xml version="1.0" encoding="UTF-8" standalone="yes"?>
<Relationships xmlns="http://schemas.openxmlformats.org/package/2006/relationships"><Relationship Id="rId3" Type="http://schemas.openxmlformats.org/officeDocument/2006/relationships/notesSlide" Target="../notesSlides/notesSlide106.xml"/><Relationship Id="rId2" Type="http://schemas.openxmlformats.org/officeDocument/2006/relationships/slideLayout" Target="../slideLayouts/slideLayout7.xml"/><Relationship Id="rId1" Type="http://schemas.openxmlformats.org/officeDocument/2006/relationships/tags" Target="../tags/tag1139.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113.xml.rels><?xml version="1.0" encoding="UTF-8" standalone="yes"?>
<Relationships xmlns="http://schemas.openxmlformats.org/package/2006/relationships"><Relationship Id="rId3" Type="http://schemas.openxmlformats.org/officeDocument/2006/relationships/notesSlide" Target="../notesSlides/notesSlide107.xml"/><Relationship Id="rId2" Type="http://schemas.openxmlformats.org/officeDocument/2006/relationships/slideLayout" Target="../slideLayouts/slideLayout7.xml"/><Relationship Id="rId1" Type="http://schemas.openxmlformats.org/officeDocument/2006/relationships/tags" Target="../tags/tag1140.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114.xml.rels><?xml version="1.0" encoding="UTF-8" standalone="yes"?>
<Relationships xmlns="http://schemas.openxmlformats.org/package/2006/relationships"><Relationship Id="rId3" Type="http://schemas.openxmlformats.org/officeDocument/2006/relationships/notesSlide" Target="../notesSlides/notesSlide108.xml"/><Relationship Id="rId2" Type="http://schemas.openxmlformats.org/officeDocument/2006/relationships/slideLayout" Target="../slideLayouts/slideLayout7.xml"/><Relationship Id="rId1" Type="http://schemas.openxmlformats.org/officeDocument/2006/relationships/tags" Target="../tags/tag1141.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115.xml.rels><?xml version="1.0" encoding="UTF-8" standalone="yes"?>
<Relationships xmlns="http://schemas.openxmlformats.org/package/2006/relationships"><Relationship Id="rId3" Type="http://schemas.openxmlformats.org/officeDocument/2006/relationships/notesSlide" Target="../notesSlides/notesSlide109.xml"/><Relationship Id="rId2" Type="http://schemas.openxmlformats.org/officeDocument/2006/relationships/slideLayout" Target="../slideLayouts/slideLayout7.xml"/><Relationship Id="rId1" Type="http://schemas.openxmlformats.org/officeDocument/2006/relationships/tags" Target="../tags/tag1142.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116.xml.rels><?xml version="1.0" encoding="UTF-8" standalone="yes"?>
<Relationships xmlns="http://schemas.openxmlformats.org/package/2006/relationships"><Relationship Id="rId3" Type="http://schemas.openxmlformats.org/officeDocument/2006/relationships/notesSlide" Target="../notesSlides/notesSlide110.xml"/><Relationship Id="rId2" Type="http://schemas.openxmlformats.org/officeDocument/2006/relationships/slideLayout" Target="../slideLayouts/slideLayout7.xml"/><Relationship Id="rId1" Type="http://schemas.openxmlformats.org/officeDocument/2006/relationships/tags" Target="../tags/tag1143.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117.xml.rels><?xml version="1.0" encoding="UTF-8" standalone="yes"?>
<Relationships xmlns="http://schemas.openxmlformats.org/package/2006/relationships"><Relationship Id="rId3" Type="http://schemas.openxmlformats.org/officeDocument/2006/relationships/notesSlide" Target="../notesSlides/notesSlide111.xml"/><Relationship Id="rId2" Type="http://schemas.openxmlformats.org/officeDocument/2006/relationships/slideLayout" Target="../slideLayouts/slideLayout7.xml"/><Relationship Id="rId1" Type="http://schemas.openxmlformats.org/officeDocument/2006/relationships/tags" Target="../tags/tag1144.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118.xml.rels><?xml version="1.0" encoding="UTF-8" standalone="yes"?>
<Relationships xmlns="http://schemas.openxmlformats.org/package/2006/relationships"><Relationship Id="rId3" Type="http://schemas.openxmlformats.org/officeDocument/2006/relationships/notesSlide" Target="../notesSlides/notesSlide112.xml"/><Relationship Id="rId2" Type="http://schemas.openxmlformats.org/officeDocument/2006/relationships/slideLayout" Target="../slideLayouts/slideLayout7.xml"/><Relationship Id="rId1" Type="http://schemas.openxmlformats.org/officeDocument/2006/relationships/tags" Target="../tags/tag1145.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119.xml.rels><?xml version="1.0" encoding="UTF-8" standalone="yes"?>
<Relationships xmlns="http://schemas.openxmlformats.org/package/2006/relationships"><Relationship Id="rId3" Type="http://schemas.openxmlformats.org/officeDocument/2006/relationships/notesSlide" Target="../notesSlides/notesSlide113.xml"/><Relationship Id="rId2" Type="http://schemas.openxmlformats.org/officeDocument/2006/relationships/slideLayout" Target="../slideLayouts/slideLayout7.xml"/><Relationship Id="rId1" Type="http://schemas.openxmlformats.org/officeDocument/2006/relationships/tags" Target="../tags/tag1146.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1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39.xml"/><Relationship Id="rId5" Type="http://schemas.openxmlformats.org/officeDocument/2006/relationships/chart" Target="../charts/chart112.xml"/><Relationship Id="rId4" Type="http://schemas.openxmlformats.org/officeDocument/2006/relationships/image" Target="../media/image28.emf"/></Relationships>
</file>

<file path=ppt/slides/_rels/slide1120.xml.rels><?xml version="1.0" encoding="UTF-8" standalone="yes"?>
<Relationships xmlns="http://schemas.openxmlformats.org/package/2006/relationships"><Relationship Id="rId3" Type="http://schemas.openxmlformats.org/officeDocument/2006/relationships/notesSlide" Target="../notesSlides/notesSlide114.xml"/><Relationship Id="rId2" Type="http://schemas.openxmlformats.org/officeDocument/2006/relationships/slideLayout" Target="../slideLayouts/slideLayout7.xml"/><Relationship Id="rId1" Type="http://schemas.openxmlformats.org/officeDocument/2006/relationships/tags" Target="../tags/tag1147.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121.xml.rels><?xml version="1.0" encoding="UTF-8" standalone="yes"?>
<Relationships xmlns="http://schemas.openxmlformats.org/package/2006/relationships"><Relationship Id="rId3" Type="http://schemas.openxmlformats.org/officeDocument/2006/relationships/notesSlide" Target="../notesSlides/notesSlide115.xml"/><Relationship Id="rId2" Type="http://schemas.openxmlformats.org/officeDocument/2006/relationships/slideLayout" Target="../slideLayouts/slideLayout7.xml"/><Relationship Id="rId1" Type="http://schemas.openxmlformats.org/officeDocument/2006/relationships/tags" Target="../tags/tag1148.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122.xml.rels><?xml version="1.0" encoding="UTF-8" standalone="yes"?>
<Relationships xmlns="http://schemas.openxmlformats.org/package/2006/relationships"><Relationship Id="rId3" Type="http://schemas.openxmlformats.org/officeDocument/2006/relationships/notesSlide" Target="../notesSlides/notesSlide116.xml"/><Relationship Id="rId2" Type="http://schemas.openxmlformats.org/officeDocument/2006/relationships/slideLayout" Target="../slideLayouts/slideLayout7.xml"/><Relationship Id="rId1" Type="http://schemas.openxmlformats.org/officeDocument/2006/relationships/tags" Target="../tags/tag1149.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123.xml.rels><?xml version="1.0" encoding="UTF-8" standalone="yes"?>
<Relationships xmlns="http://schemas.openxmlformats.org/package/2006/relationships"><Relationship Id="rId3" Type="http://schemas.openxmlformats.org/officeDocument/2006/relationships/notesSlide" Target="../notesSlides/notesSlide117.xml"/><Relationship Id="rId2" Type="http://schemas.openxmlformats.org/officeDocument/2006/relationships/slideLayout" Target="../slideLayouts/slideLayout7.xml"/><Relationship Id="rId1" Type="http://schemas.openxmlformats.org/officeDocument/2006/relationships/tags" Target="../tags/tag1150.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124.xml.rels><?xml version="1.0" encoding="UTF-8" standalone="yes"?>
<Relationships xmlns="http://schemas.openxmlformats.org/package/2006/relationships"><Relationship Id="rId3" Type="http://schemas.openxmlformats.org/officeDocument/2006/relationships/notesSlide" Target="../notesSlides/notesSlide118.xml"/><Relationship Id="rId2" Type="http://schemas.openxmlformats.org/officeDocument/2006/relationships/slideLayout" Target="../slideLayouts/slideLayout7.xml"/><Relationship Id="rId1" Type="http://schemas.openxmlformats.org/officeDocument/2006/relationships/tags" Target="../tags/tag1151.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125.xml.rels><?xml version="1.0" encoding="UTF-8" standalone="yes"?>
<Relationships xmlns="http://schemas.openxmlformats.org/package/2006/relationships"><Relationship Id="rId3" Type="http://schemas.openxmlformats.org/officeDocument/2006/relationships/notesSlide" Target="../notesSlides/notesSlide119.xml"/><Relationship Id="rId2" Type="http://schemas.openxmlformats.org/officeDocument/2006/relationships/slideLayout" Target="../slideLayouts/slideLayout7.xml"/><Relationship Id="rId1" Type="http://schemas.openxmlformats.org/officeDocument/2006/relationships/tags" Target="../tags/tag1152.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126.xml.rels><?xml version="1.0" encoding="UTF-8" standalone="yes"?>
<Relationships xmlns="http://schemas.openxmlformats.org/package/2006/relationships"><Relationship Id="rId3" Type="http://schemas.openxmlformats.org/officeDocument/2006/relationships/notesSlide" Target="../notesSlides/notesSlide120.xml"/><Relationship Id="rId2" Type="http://schemas.openxmlformats.org/officeDocument/2006/relationships/slideLayout" Target="../slideLayouts/slideLayout7.xml"/><Relationship Id="rId1" Type="http://schemas.openxmlformats.org/officeDocument/2006/relationships/tags" Target="../tags/tag1153.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127.xml.rels><?xml version="1.0" encoding="UTF-8" standalone="yes"?>
<Relationships xmlns="http://schemas.openxmlformats.org/package/2006/relationships"><Relationship Id="rId3" Type="http://schemas.openxmlformats.org/officeDocument/2006/relationships/notesSlide" Target="../notesSlides/notesSlide121.xml"/><Relationship Id="rId2" Type="http://schemas.openxmlformats.org/officeDocument/2006/relationships/slideLayout" Target="../slideLayouts/slideLayout7.xml"/><Relationship Id="rId1" Type="http://schemas.openxmlformats.org/officeDocument/2006/relationships/tags" Target="../tags/tag1154.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128.xml.rels><?xml version="1.0" encoding="UTF-8" standalone="yes"?>
<Relationships xmlns="http://schemas.openxmlformats.org/package/2006/relationships"><Relationship Id="rId3" Type="http://schemas.openxmlformats.org/officeDocument/2006/relationships/notesSlide" Target="../notesSlides/notesSlide122.xml"/><Relationship Id="rId2" Type="http://schemas.openxmlformats.org/officeDocument/2006/relationships/slideLayout" Target="../slideLayouts/slideLayout7.xml"/><Relationship Id="rId1" Type="http://schemas.openxmlformats.org/officeDocument/2006/relationships/tags" Target="../tags/tag1155.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129.xml.rels><?xml version="1.0" encoding="UTF-8" standalone="yes"?>
<Relationships xmlns="http://schemas.openxmlformats.org/package/2006/relationships"><Relationship Id="rId3" Type="http://schemas.openxmlformats.org/officeDocument/2006/relationships/notesSlide" Target="../notesSlides/notesSlide123.xml"/><Relationship Id="rId2" Type="http://schemas.openxmlformats.org/officeDocument/2006/relationships/slideLayout" Target="../slideLayouts/slideLayout7.xml"/><Relationship Id="rId1" Type="http://schemas.openxmlformats.org/officeDocument/2006/relationships/tags" Target="../tags/tag1156.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1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40.xml"/><Relationship Id="rId5" Type="http://schemas.openxmlformats.org/officeDocument/2006/relationships/chart" Target="../charts/chart113.xml"/><Relationship Id="rId4" Type="http://schemas.openxmlformats.org/officeDocument/2006/relationships/image" Target="../media/image28.emf"/></Relationships>
</file>

<file path=ppt/slides/_rels/slide1130.xml.rels><?xml version="1.0" encoding="UTF-8" standalone="yes"?>
<Relationships xmlns="http://schemas.openxmlformats.org/package/2006/relationships"><Relationship Id="rId3" Type="http://schemas.openxmlformats.org/officeDocument/2006/relationships/notesSlide" Target="../notesSlides/notesSlide124.xml"/><Relationship Id="rId2" Type="http://schemas.openxmlformats.org/officeDocument/2006/relationships/slideLayout" Target="../slideLayouts/slideLayout7.xml"/><Relationship Id="rId1" Type="http://schemas.openxmlformats.org/officeDocument/2006/relationships/tags" Target="../tags/tag1157.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131.xml.rels><?xml version="1.0" encoding="UTF-8" standalone="yes"?>
<Relationships xmlns="http://schemas.openxmlformats.org/package/2006/relationships"><Relationship Id="rId3" Type="http://schemas.openxmlformats.org/officeDocument/2006/relationships/notesSlide" Target="../notesSlides/notesSlide125.xml"/><Relationship Id="rId2" Type="http://schemas.openxmlformats.org/officeDocument/2006/relationships/slideLayout" Target="../slideLayouts/slideLayout7.xml"/><Relationship Id="rId1" Type="http://schemas.openxmlformats.org/officeDocument/2006/relationships/tags" Target="../tags/tag1158.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132.xml.rels><?xml version="1.0" encoding="UTF-8" standalone="yes"?>
<Relationships xmlns="http://schemas.openxmlformats.org/package/2006/relationships"><Relationship Id="rId3" Type="http://schemas.openxmlformats.org/officeDocument/2006/relationships/notesSlide" Target="../notesSlides/notesSlide126.xml"/><Relationship Id="rId2" Type="http://schemas.openxmlformats.org/officeDocument/2006/relationships/slideLayout" Target="../slideLayouts/slideLayout7.xml"/><Relationship Id="rId1" Type="http://schemas.openxmlformats.org/officeDocument/2006/relationships/tags" Target="../tags/tag1159.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133.xml.rels><?xml version="1.0" encoding="UTF-8" standalone="yes"?>
<Relationships xmlns="http://schemas.openxmlformats.org/package/2006/relationships"><Relationship Id="rId3" Type="http://schemas.openxmlformats.org/officeDocument/2006/relationships/notesSlide" Target="../notesSlides/notesSlide127.xml"/><Relationship Id="rId2" Type="http://schemas.openxmlformats.org/officeDocument/2006/relationships/slideLayout" Target="../slideLayouts/slideLayout7.xml"/><Relationship Id="rId1" Type="http://schemas.openxmlformats.org/officeDocument/2006/relationships/tags" Target="../tags/tag1160.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134.xml.rels><?xml version="1.0" encoding="UTF-8" standalone="yes"?>
<Relationships xmlns="http://schemas.openxmlformats.org/package/2006/relationships"><Relationship Id="rId3" Type="http://schemas.openxmlformats.org/officeDocument/2006/relationships/notesSlide" Target="../notesSlides/notesSlide128.xml"/><Relationship Id="rId2" Type="http://schemas.openxmlformats.org/officeDocument/2006/relationships/slideLayout" Target="../slideLayouts/slideLayout7.xml"/><Relationship Id="rId1" Type="http://schemas.openxmlformats.org/officeDocument/2006/relationships/tags" Target="../tags/tag1161.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135.xml.rels><?xml version="1.0" encoding="UTF-8" standalone="yes"?>
<Relationships xmlns="http://schemas.openxmlformats.org/package/2006/relationships"><Relationship Id="rId3" Type="http://schemas.openxmlformats.org/officeDocument/2006/relationships/notesSlide" Target="../notesSlides/notesSlide129.xml"/><Relationship Id="rId2" Type="http://schemas.openxmlformats.org/officeDocument/2006/relationships/slideLayout" Target="../slideLayouts/slideLayout7.xml"/><Relationship Id="rId1" Type="http://schemas.openxmlformats.org/officeDocument/2006/relationships/tags" Target="../tags/tag1162.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136.xml.rels><?xml version="1.0" encoding="UTF-8" standalone="yes"?>
<Relationships xmlns="http://schemas.openxmlformats.org/package/2006/relationships"><Relationship Id="rId3" Type="http://schemas.openxmlformats.org/officeDocument/2006/relationships/notesSlide" Target="../notesSlides/notesSlide130.xml"/><Relationship Id="rId2" Type="http://schemas.openxmlformats.org/officeDocument/2006/relationships/slideLayout" Target="../slideLayouts/slideLayout7.xml"/><Relationship Id="rId1" Type="http://schemas.openxmlformats.org/officeDocument/2006/relationships/tags" Target="../tags/tag1163.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137.xml.rels><?xml version="1.0" encoding="UTF-8" standalone="yes"?>
<Relationships xmlns="http://schemas.openxmlformats.org/package/2006/relationships"><Relationship Id="rId3" Type="http://schemas.openxmlformats.org/officeDocument/2006/relationships/notesSlide" Target="../notesSlides/notesSlide131.xml"/><Relationship Id="rId2" Type="http://schemas.openxmlformats.org/officeDocument/2006/relationships/slideLayout" Target="../slideLayouts/slideLayout7.xml"/><Relationship Id="rId1" Type="http://schemas.openxmlformats.org/officeDocument/2006/relationships/tags" Target="../tags/tag1164.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138.xml.rels><?xml version="1.0" encoding="UTF-8" standalone="yes"?>
<Relationships xmlns="http://schemas.openxmlformats.org/package/2006/relationships"><Relationship Id="rId3" Type="http://schemas.openxmlformats.org/officeDocument/2006/relationships/notesSlide" Target="../notesSlides/notesSlide132.xml"/><Relationship Id="rId2" Type="http://schemas.openxmlformats.org/officeDocument/2006/relationships/slideLayout" Target="../slideLayouts/slideLayout7.xml"/><Relationship Id="rId1" Type="http://schemas.openxmlformats.org/officeDocument/2006/relationships/tags" Target="../tags/tag1165.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139.xml.rels><?xml version="1.0" encoding="UTF-8" standalone="yes"?>
<Relationships xmlns="http://schemas.openxmlformats.org/package/2006/relationships"><Relationship Id="rId3" Type="http://schemas.openxmlformats.org/officeDocument/2006/relationships/notesSlide" Target="../notesSlides/notesSlide133.xml"/><Relationship Id="rId2" Type="http://schemas.openxmlformats.org/officeDocument/2006/relationships/slideLayout" Target="../slideLayouts/slideLayout7.xml"/><Relationship Id="rId1" Type="http://schemas.openxmlformats.org/officeDocument/2006/relationships/tags" Target="../tags/tag1166.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1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41.xml"/><Relationship Id="rId5" Type="http://schemas.openxmlformats.org/officeDocument/2006/relationships/chart" Target="../charts/chart114.xml"/><Relationship Id="rId4" Type="http://schemas.openxmlformats.org/officeDocument/2006/relationships/image" Target="../media/image28.emf"/></Relationships>
</file>

<file path=ppt/slides/_rels/slide1140.xml.rels><?xml version="1.0" encoding="UTF-8" standalone="yes"?>
<Relationships xmlns="http://schemas.openxmlformats.org/package/2006/relationships"><Relationship Id="rId3" Type="http://schemas.openxmlformats.org/officeDocument/2006/relationships/notesSlide" Target="../notesSlides/notesSlide134.xml"/><Relationship Id="rId2" Type="http://schemas.openxmlformats.org/officeDocument/2006/relationships/slideLayout" Target="../slideLayouts/slideLayout7.xml"/><Relationship Id="rId1" Type="http://schemas.openxmlformats.org/officeDocument/2006/relationships/tags" Target="../tags/tag1167.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141.xml.rels><?xml version="1.0" encoding="UTF-8" standalone="yes"?>
<Relationships xmlns="http://schemas.openxmlformats.org/package/2006/relationships"><Relationship Id="rId3" Type="http://schemas.openxmlformats.org/officeDocument/2006/relationships/notesSlide" Target="../notesSlides/notesSlide135.xml"/><Relationship Id="rId2" Type="http://schemas.openxmlformats.org/officeDocument/2006/relationships/slideLayout" Target="../slideLayouts/slideLayout7.xml"/><Relationship Id="rId1" Type="http://schemas.openxmlformats.org/officeDocument/2006/relationships/tags" Target="../tags/tag1168.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142.xml.rels><?xml version="1.0" encoding="UTF-8" standalone="yes"?>
<Relationships xmlns="http://schemas.openxmlformats.org/package/2006/relationships"><Relationship Id="rId3" Type="http://schemas.openxmlformats.org/officeDocument/2006/relationships/notesSlide" Target="../notesSlides/notesSlide136.xml"/><Relationship Id="rId2" Type="http://schemas.openxmlformats.org/officeDocument/2006/relationships/slideLayout" Target="../slideLayouts/slideLayout7.xml"/><Relationship Id="rId1" Type="http://schemas.openxmlformats.org/officeDocument/2006/relationships/tags" Target="../tags/tag1169.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143.xml.rels><?xml version="1.0" encoding="UTF-8" standalone="yes"?>
<Relationships xmlns="http://schemas.openxmlformats.org/package/2006/relationships"><Relationship Id="rId3" Type="http://schemas.openxmlformats.org/officeDocument/2006/relationships/notesSlide" Target="../notesSlides/notesSlide137.xml"/><Relationship Id="rId2" Type="http://schemas.openxmlformats.org/officeDocument/2006/relationships/slideLayout" Target="../slideLayouts/slideLayout7.xml"/><Relationship Id="rId1" Type="http://schemas.openxmlformats.org/officeDocument/2006/relationships/tags" Target="../tags/tag1170.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144.xml.rels><?xml version="1.0" encoding="UTF-8" standalone="yes"?>
<Relationships xmlns="http://schemas.openxmlformats.org/package/2006/relationships"><Relationship Id="rId3" Type="http://schemas.openxmlformats.org/officeDocument/2006/relationships/notesSlide" Target="../notesSlides/notesSlide138.xml"/><Relationship Id="rId2" Type="http://schemas.openxmlformats.org/officeDocument/2006/relationships/slideLayout" Target="../slideLayouts/slideLayout7.xml"/><Relationship Id="rId1" Type="http://schemas.openxmlformats.org/officeDocument/2006/relationships/tags" Target="../tags/tag1171.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145.xml.rels><?xml version="1.0" encoding="UTF-8" standalone="yes"?>
<Relationships xmlns="http://schemas.openxmlformats.org/package/2006/relationships"><Relationship Id="rId3" Type="http://schemas.openxmlformats.org/officeDocument/2006/relationships/notesSlide" Target="../notesSlides/notesSlide139.xml"/><Relationship Id="rId2" Type="http://schemas.openxmlformats.org/officeDocument/2006/relationships/slideLayout" Target="../slideLayouts/slideLayout7.xml"/><Relationship Id="rId1" Type="http://schemas.openxmlformats.org/officeDocument/2006/relationships/tags" Target="../tags/tag1172.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146.xml.rels><?xml version="1.0" encoding="UTF-8" standalone="yes"?>
<Relationships xmlns="http://schemas.openxmlformats.org/package/2006/relationships"><Relationship Id="rId3" Type="http://schemas.openxmlformats.org/officeDocument/2006/relationships/notesSlide" Target="../notesSlides/notesSlide140.xml"/><Relationship Id="rId2" Type="http://schemas.openxmlformats.org/officeDocument/2006/relationships/slideLayout" Target="../slideLayouts/slideLayout7.xml"/><Relationship Id="rId1" Type="http://schemas.openxmlformats.org/officeDocument/2006/relationships/tags" Target="../tags/tag1173.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147.xml.rels><?xml version="1.0" encoding="UTF-8" standalone="yes"?>
<Relationships xmlns="http://schemas.openxmlformats.org/package/2006/relationships"><Relationship Id="rId3" Type="http://schemas.openxmlformats.org/officeDocument/2006/relationships/notesSlide" Target="../notesSlides/notesSlide141.xml"/><Relationship Id="rId2" Type="http://schemas.openxmlformats.org/officeDocument/2006/relationships/slideLayout" Target="../slideLayouts/slideLayout7.xml"/><Relationship Id="rId1" Type="http://schemas.openxmlformats.org/officeDocument/2006/relationships/tags" Target="../tags/tag1174.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148.xml.rels><?xml version="1.0" encoding="UTF-8" standalone="yes"?>
<Relationships xmlns="http://schemas.openxmlformats.org/package/2006/relationships"><Relationship Id="rId3" Type="http://schemas.openxmlformats.org/officeDocument/2006/relationships/notesSlide" Target="../notesSlides/notesSlide142.xml"/><Relationship Id="rId2" Type="http://schemas.openxmlformats.org/officeDocument/2006/relationships/slideLayout" Target="../slideLayouts/slideLayout7.xml"/><Relationship Id="rId1" Type="http://schemas.openxmlformats.org/officeDocument/2006/relationships/tags" Target="../tags/tag1175.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149.xml.rels><?xml version="1.0" encoding="UTF-8" standalone="yes"?>
<Relationships xmlns="http://schemas.openxmlformats.org/package/2006/relationships"><Relationship Id="rId3" Type="http://schemas.openxmlformats.org/officeDocument/2006/relationships/notesSlide" Target="../notesSlides/notesSlide143.xml"/><Relationship Id="rId2" Type="http://schemas.openxmlformats.org/officeDocument/2006/relationships/slideLayout" Target="../slideLayouts/slideLayout7.xml"/><Relationship Id="rId1" Type="http://schemas.openxmlformats.org/officeDocument/2006/relationships/tags" Target="../tags/tag1176.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1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42.xml"/><Relationship Id="rId5" Type="http://schemas.openxmlformats.org/officeDocument/2006/relationships/chart" Target="../charts/chart115.xml"/><Relationship Id="rId4" Type="http://schemas.openxmlformats.org/officeDocument/2006/relationships/image" Target="../media/image28.emf"/></Relationships>
</file>

<file path=ppt/slides/_rels/slide1150.xml.rels><?xml version="1.0" encoding="UTF-8" standalone="yes"?>
<Relationships xmlns="http://schemas.openxmlformats.org/package/2006/relationships"><Relationship Id="rId3" Type="http://schemas.openxmlformats.org/officeDocument/2006/relationships/notesSlide" Target="../notesSlides/notesSlide144.xml"/><Relationship Id="rId2" Type="http://schemas.openxmlformats.org/officeDocument/2006/relationships/slideLayout" Target="../slideLayouts/slideLayout7.xml"/><Relationship Id="rId1" Type="http://schemas.openxmlformats.org/officeDocument/2006/relationships/tags" Target="../tags/tag1177.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151.xml.rels><?xml version="1.0" encoding="UTF-8" standalone="yes"?>
<Relationships xmlns="http://schemas.openxmlformats.org/package/2006/relationships"><Relationship Id="rId3" Type="http://schemas.openxmlformats.org/officeDocument/2006/relationships/notesSlide" Target="../notesSlides/notesSlide145.xml"/><Relationship Id="rId2" Type="http://schemas.openxmlformats.org/officeDocument/2006/relationships/slideLayout" Target="../slideLayouts/slideLayout7.xml"/><Relationship Id="rId1" Type="http://schemas.openxmlformats.org/officeDocument/2006/relationships/tags" Target="../tags/tag1178.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152.xml.rels><?xml version="1.0" encoding="UTF-8" standalone="yes"?>
<Relationships xmlns="http://schemas.openxmlformats.org/package/2006/relationships"><Relationship Id="rId3" Type="http://schemas.openxmlformats.org/officeDocument/2006/relationships/notesSlide" Target="../notesSlides/notesSlide146.xml"/><Relationship Id="rId2" Type="http://schemas.openxmlformats.org/officeDocument/2006/relationships/slideLayout" Target="../slideLayouts/slideLayout7.xml"/><Relationship Id="rId1" Type="http://schemas.openxmlformats.org/officeDocument/2006/relationships/tags" Target="../tags/tag1179.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153.xml.rels><?xml version="1.0" encoding="UTF-8" standalone="yes"?>
<Relationships xmlns="http://schemas.openxmlformats.org/package/2006/relationships"><Relationship Id="rId3" Type="http://schemas.openxmlformats.org/officeDocument/2006/relationships/notesSlide" Target="../notesSlides/notesSlide147.xml"/><Relationship Id="rId2" Type="http://schemas.openxmlformats.org/officeDocument/2006/relationships/slideLayout" Target="../slideLayouts/slideLayout7.xml"/><Relationship Id="rId1" Type="http://schemas.openxmlformats.org/officeDocument/2006/relationships/tags" Target="../tags/tag1180.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154.xml.rels><?xml version="1.0" encoding="UTF-8" standalone="yes"?>
<Relationships xmlns="http://schemas.openxmlformats.org/package/2006/relationships"><Relationship Id="rId3" Type="http://schemas.openxmlformats.org/officeDocument/2006/relationships/notesSlide" Target="../notesSlides/notesSlide148.xml"/><Relationship Id="rId2" Type="http://schemas.openxmlformats.org/officeDocument/2006/relationships/slideLayout" Target="../slideLayouts/slideLayout7.xml"/><Relationship Id="rId1" Type="http://schemas.openxmlformats.org/officeDocument/2006/relationships/tags" Target="../tags/tag1181.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155.xml.rels><?xml version="1.0" encoding="UTF-8" standalone="yes"?>
<Relationships xmlns="http://schemas.openxmlformats.org/package/2006/relationships"><Relationship Id="rId3" Type="http://schemas.openxmlformats.org/officeDocument/2006/relationships/notesSlide" Target="../notesSlides/notesSlide149.xml"/><Relationship Id="rId2" Type="http://schemas.openxmlformats.org/officeDocument/2006/relationships/slideLayout" Target="../slideLayouts/slideLayout7.xml"/><Relationship Id="rId1" Type="http://schemas.openxmlformats.org/officeDocument/2006/relationships/tags" Target="../tags/tag1182.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156.xml.rels><?xml version="1.0" encoding="UTF-8" standalone="yes"?>
<Relationships xmlns="http://schemas.openxmlformats.org/package/2006/relationships"><Relationship Id="rId3" Type="http://schemas.openxmlformats.org/officeDocument/2006/relationships/notesSlide" Target="../notesSlides/notesSlide150.xml"/><Relationship Id="rId2" Type="http://schemas.openxmlformats.org/officeDocument/2006/relationships/slideLayout" Target="../slideLayouts/slideLayout7.xml"/><Relationship Id="rId1" Type="http://schemas.openxmlformats.org/officeDocument/2006/relationships/tags" Target="../tags/tag1183.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157.xml.rels><?xml version="1.0" encoding="UTF-8" standalone="yes"?>
<Relationships xmlns="http://schemas.openxmlformats.org/package/2006/relationships"><Relationship Id="rId3" Type="http://schemas.openxmlformats.org/officeDocument/2006/relationships/notesSlide" Target="../notesSlides/notesSlide151.xml"/><Relationship Id="rId2" Type="http://schemas.openxmlformats.org/officeDocument/2006/relationships/slideLayout" Target="../slideLayouts/slideLayout7.xml"/><Relationship Id="rId1" Type="http://schemas.openxmlformats.org/officeDocument/2006/relationships/tags" Target="../tags/tag1184.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158.xml.rels><?xml version="1.0" encoding="UTF-8" standalone="yes"?>
<Relationships xmlns="http://schemas.openxmlformats.org/package/2006/relationships"><Relationship Id="rId3" Type="http://schemas.openxmlformats.org/officeDocument/2006/relationships/notesSlide" Target="../notesSlides/notesSlide152.xml"/><Relationship Id="rId2" Type="http://schemas.openxmlformats.org/officeDocument/2006/relationships/slideLayout" Target="../slideLayouts/slideLayout7.xml"/><Relationship Id="rId1" Type="http://schemas.openxmlformats.org/officeDocument/2006/relationships/tags" Target="../tags/tag1185.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159.xml.rels><?xml version="1.0" encoding="UTF-8" standalone="yes"?>
<Relationships xmlns="http://schemas.openxmlformats.org/package/2006/relationships"><Relationship Id="rId3" Type="http://schemas.openxmlformats.org/officeDocument/2006/relationships/notesSlide" Target="../notesSlides/notesSlide153.xml"/><Relationship Id="rId2" Type="http://schemas.openxmlformats.org/officeDocument/2006/relationships/slideLayout" Target="../slideLayouts/slideLayout7.xml"/><Relationship Id="rId1" Type="http://schemas.openxmlformats.org/officeDocument/2006/relationships/tags" Target="../tags/tag1186.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1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43.xml"/><Relationship Id="rId5" Type="http://schemas.openxmlformats.org/officeDocument/2006/relationships/chart" Target="../charts/chart116.xml"/><Relationship Id="rId4" Type="http://schemas.openxmlformats.org/officeDocument/2006/relationships/image" Target="../media/image28.emf"/></Relationships>
</file>

<file path=ppt/slides/_rels/slide1160.xml.rels><?xml version="1.0" encoding="UTF-8" standalone="yes"?>
<Relationships xmlns="http://schemas.openxmlformats.org/package/2006/relationships"><Relationship Id="rId3" Type="http://schemas.openxmlformats.org/officeDocument/2006/relationships/notesSlide" Target="../notesSlides/notesSlide154.xml"/><Relationship Id="rId2" Type="http://schemas.openxmlformats.org/officeDocument/2006/relationships/slideLayout" Target="../slideLayouts/slideLayout7.xml"/><Relationship Id="rId1" Type="http://schemas.openxmlformats.org/officeDocument/2006/relationships/tags" Target="../tags/tag1187.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161.xml.rels><?xml version="1.0" encoding="UTF-8" standalone="yes"?>
<Relationships xmlns="http://schemas.openxmlformats.org/package/2006/relationships"><Relationship Id="rId3" Type="http://schemas.openxmlformats.org/officeDocument/2006/relationships/notesSlide" Target="../notesSlides/notesSlide155.xml"/><Relationship Id="rId2" Type="http://schemas.openxmlformats.org/officeDocument/2006/relationships/slideLayout" Target="../slideLayouts/slideLayout7.xml"/><Relationship Id="rId1" Type="http://schemas.openxmlformats.org/officeDocument/2006/relationships/tags" Target="../tags/tag1188.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162.xml.rels><?xml version="1.0" encoding="UTF-8" standalone="yes"?>
<Relationships xmlns="http://schemas.openxmlformats.org/package/2006/relationships"><Relationship Id="rId3" Type="http://schemas.openxmlformats.org/officeDocument/2006/relationships/notesSlide" Target="../notesSlides/notesSlide156.xml"/><Relationship Id="rId2" Type="http://schemas.openxmlformats.org/officeDocument/2006/relationships/slideLayout" Target="../slideLayouts/slideLayout7.xml"/><Relationship Id="rId1" Type="http://schemas.openxmlformats.org/officeDocument/2006/relationships/tags" Target="../tags/tag1189.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163.xml.rels><?xml version="1.0" encoding="UTF-8" standalone="yes"?>
<Relationships xmlns="http://schemas.openxmlformats.org/package/2006/relationships"><Relationship Id="rId3" Type="http://schemas.openxmlformats.org/officeDocument/2006/relationships/notesSlide" Target="../notesSlides/notesSlide157.xml"/><Relationship Id="rId2" Type="http://schemas.openxmlformats.org/officeDocument/2006/relationships/slideLayout" Target="../slideLayouts/slideLayout7.xml"/><Relationship Id="rId1" Type="http://schemas.openxmlformats.org/officeDocument/2006/relationships/tags" Target="../tags/tag1190.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164.xml.rels><?xml version="1.0" encoding="UTF-8" standalone="yes"?>
<Relationships xmlns="http://schemas.openxmlformats.org/package/2006/relationships"><Relationship Id="rId3" Type="http://schemas.openxmlformats.org/officeDocument/2006/relationships/notesSlide" Target="../notesSlides/notesSlide158.xml"/><Relationship Id="rId2" Type="http://schemas.openxmlformats.org/officeDocument/2006/relationships/slideLayout" Target="../slideLayouts/slideLayout7.xml"/><Relationship Id="rId1" Type="http://schemas.openxmlformats.org/officeDocument/2006/relationships/tags" Target="../tags/tag1191.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1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44.xml"/><Relationship Id="rId5" Type="http://schemas.openxmlformats.org/officeDocument/2006/relationships/chart" Target="../charts/chart117.xml"/><Relationship Id="rId4" Type="http://schemas.openxmlformats.org/officeDocument/2006/relationships/image" Target="../media/image28.emf"/></Relationships>
</file>

<file path=ppt/slides/_rels/slide11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45.xml"/><Relationship Id="rId5" Type="http://schemas.openxmlformats.org/officeDocument/2006/relationships/chart" Target="../charts/chart118.xml"/><Relationship Id="rId4" Type="http://schemas.openxmlformats.org/officeDocument/2006/relationships/image" Target="../media/image28.emf"/></Relationships>
</file>

<file path=ppt/slides/_rels/slide11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46.xml"/><Relationship Id="rId5" Type="http://schemas.openxmlformats.org/officeDocument/2006/relationships/chart" Target="../charts/chart119.xml"/><Relationship Id="rId4" Type="http://schemas.openxmlformats.org/officeDocument/2006/relationships/image" Target="../media/image28.emf"/></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9.xml"/><Relationship Id="rId5" Type="http://schemas.openxmlformats.org/officeDocument/2006/relationships/chart" Target="../charts/chart12.xml"/><Relationship Id="rId4" Type="http://schemas.openxmlformats.org/officeDocument/2006/relationships/image" Target="../media/image28.emf"/></Relationships>
</file>

<file path=ppt/slides/_rels/slide12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47.xml"/><Relationship Id="rId5" Type="http://schemas.openxmlformats.org/officeDocument/2006/relationships/chart" Target="../charts/chart120.xml"/><Relationship Id="rId4" Type="http://schemas.openxmlformats.org/officeDocument/2006/relationships/image" Target="../media/image28.emf"/></Relationships>
</file>

<file path=ppt/slides/_rels/slide12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48.xml"/><Relationship Id="rId5" Type="http://schemas.openxmlformats.org/officeDocument/2006/relationships/chart" Target="../charts/chart121.xml"/><Relationship Id="rId4" Type="http://schemas.openxmlformats.org/officeDocument/2006/relationships/image" Target="../media/image28.emf"/></Relationships>
</file>

<file path=ppt/slides/_rels/slide12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49.xml"/><Relationship Id="rId5" Type="http://schemas.openxmlformats.org/officeDocument/2006/relationships/chart" Target="../charts/chart122.xml"/><Relationship Id="rId4" Type="http://schemas.openxmlformats.org/officeDocument/2006/relationships/image" Target="../media/image28.emf"/></Relationships>
</file>

<file path=ppt/slides/_rels/slide12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50.xml"/><Relationship Id="rId5" Type="http://schemas.openxmlformats.org/officeDocument/2006/relationships/chart" Target="../charts/chart123.xml"/><Relationship Id="rId4" Type="http://schemas.openxmlformats.org/officeDocument/2006/relationships/image" Target="../media/image28.emf"/></Relationships>
</file>

<file path=ppt/slides/_rels/slide12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51.xml"/><Relationship Id="rId5" Type="http://schemas.openxmlformats.org/officeDocument/2006/relationships/chart" Target="../charts/chart124.xml"/><Relationship Id="rId4" Type="http://schemas.openxmlformats.org/officeDocument/2006/relationships/image" Target="../media/image28.emf"/></Relationships>
</file>

<file path=ppt/slides/_rels/slide12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52.xml"/><Relationship Id="rId5" Type="http://schemas.openxmlformats.org/officeDocument/2006/relationships/chart" Target="../charts/chart125.xml"/><Relationship Id="rId4" Type="http://schemas.openxmlformats.org/officeDocument/2006/relationships/image" Target="../media/image28.emf"/></Relationships>
</file>

<file path=ppt/slides/_rels/slide12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53.xml"/><Relationship Id="rId5" Type="http://schemas.openxmlformats.org/officeDocument/2006/relationships/chart" Target="../charts/chart126.xml"/><Relationship Id="rId4" Type="http://schemas.openxmlformats.org/officeDocument/2006/relationships/image" Target="../media/image28.emf"/></Relationships>
</file>

<file path=ppt/slides/_rels/slide12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54.xml"/><Relationship Id="rId5" Type="http://schemas.openxmlformats.org/officeDocument/2006/relationships/chart" Target="../charts/chart127.xml"/><Relationship Id="rId4" Type="http://schemas.openxmlformats.org/officeDocument/2006/relationships/image" Target="../media/image28.emf"/></Relationships>
</file>

<file path=ppt/slides/_rels/slide12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55.xml"/><Relationship Id="rId5" Type="http://schemas.openxmlformats.org/officeDocument/2006/relationships/chart" Target="../charts/chart128.xml"/><Relationship Id="rId4" Type="http://schemas.openxmlformats.org/officeDocument/2006/relationships/image" Target="../media/image28.emf"/></Relationships>
</file>

<file path=ppt/slides/_rels/slide12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56.xml"/><Relationship Id="rId5" Type="http://schemas.openxmlformats.org/officeDocument/2006/relationships/chart" Target="../charts/chart129.xml"/><Relationship Id="rId4" Type="http://schemas.openxmlformats.org/officeDocument/2006/relationships/image" Target="../media/image28.emf"/></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0.xml"/><Relationship Id="rId5" Type="http://schemas.openxmlformats.org/officeDocument/2006/relationships/chart" Target="../charts/chart13.xml"/><Relationship Id="rId4" Type="http://schemas.openxmlformats.org/officeDocument/2006/relationships/image" Target="../media/image28.emf"/></Relationships>
</file>

<file path=ppt/slides/_rels/slide13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57.xml"/><Relationship Id="rId5" Type="http://schemas.openxmlformats.org/officeDocument/2006/relationships/chart" Target="../charts/chart130.xml"/><Relationship Id="rId4" Type="http://schemas.openxmlformats.org/officeDocument/2006/relationships/image" Target="../media/image28.emf"/></Relationships>
</file>

<file path=ppt/slides/_rels/slide13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58.xml"/><Relationship Id="rId5" Type="http://schemas.openxmlformats.org/officeDocument/2006/relationships/chart" Target="../charts/chart131.xml"/><Relationship Id="rId4" Type="http://schemas.openxmlformats.org/officeDocument/2006/relationships/image" Target="../media/image28.emf"/></Relationships>
</file>

<file path=ppt/slides/_rels/slide13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59.xml"/><Relationship Id="rId5" Type="http://schemas.openxmlformats.org/officeDocument/2006/relationships/chart" Target="../charts/chart132.xml"/><Relationship Id="rId4" Type="http://schemas.openxmlformats.org/officeDocument/2006/relationships/image" Target="../media/image28.emf"/></Relationships>
</file>

<file path=ppt/slides/_rels/slide13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60.xml"/><Relationship Id="rId5" Type="http://schemas.openxmlformats.org/officeDocument/2006/relationships/chart" Target="../charts/chart133.xml"/><Relationship Id="rId4" Type="http://schemas.openxmlformats.org/officeDocument/2006/relationships/image" Target="../media/image28.emf"/></Relationships>
</file>

<file path=ppt/slides/_rels/slide13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61.xml"/><Relationship Id="rId5" Type="http://schemas.openxmlformats.org/officeDocument/2006/relationships/chart" Target="../charts/chart134.xml"/><Relationship Id="rId4" Type="http://schemas.openxmlformats.org/officeDocument/2006/relationships/image" Target="../media/image28.emf"/></Relationships>
</file>

<file path=ppt/slides/_rels/slide13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62.xml"/><Relationship Id="rId5" Type="http://schemas.openxmlformats.org/officeDocument/2006/relationships/chart" Target="../charts/chart135.xml"/><Relationship Id="rId4" Type="http://schemas.openxmlformats.org/officeDocument/2006/relationships/image" Target="../media/image28.emf"/></Relationships>
</file>

<file path=ppt/slides/_rels/slide13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63.xml"/><Relationship Id="rId5" Type="http://schemas.openxmlformats.org/officeDocument/2006/relationships/chart" Target="../charts/chart136.xml"/><Relationship Id="rId4" Type="http://schemas.openxmlformats.org/officeDocument/2006/relationships/image" Target="../media/image28.emf"/></Relationships>
</file>

<file path=ppt/slides/_rels/slide13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64.xml"/><Relationship Id="rId5" Type="http://schemas.openxmlformats.org/officeDocument/2006/relationships/chart" Target="../charts/chart137.xml"/><Relationship Id="rId4" Type="http://schemas.openxmlformats.org/officeDocument/2006/relationships/image" Target="../media/image28.emf"/></Relationships>
</file>

<file path=ppt/slides/_rels/slide13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65.xml"/><Relationship Id="rId5" Type="http://schemas.openxmlformats.org/officeDocument/2006/relationships/chart" Target="../charts/chart138.xml"/><Relationship Id="rId4" Type="http://schemas.openxmlformats.org/officeDocument/2006/relationships/image" Target="../media/image28.emf"/></Relationships>
</file>

<file path=ppt/slides/_rels/slide13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66.xml"/><Relationship Id="rId5" Type="http://schemas.openxmlformats.org/officeDocument/2006/relationships/chart" Target="../charts/chart139.xml"/><Relationship Id="rId4" Type="http://schemas.openxmlformats.org/officeDocument/2006/relationships/image" Target="../media/image28.emf"/></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1.xml"/><Relationship Id="rId5" Type="http://schemas.openxmlformats.org/officeDocument/2006/relationships/chart" Target="../charts/chart14.xml"/><Relationship Id="rId4" Type="http://schemas.openxmlformats.org/officeDocument/2006/relationships/image" Target="../media/image28.emf"/></Relationships>
</file>

<file path=ppt/slides/_rels/slide14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67.xml"/><Relationship Id="rId5" Type="http://schemas.openxmlformats.org/officeDocument/2006/relationships/chart" Target="../charts/chart140.xml"/><Relationship Id="rId4" Type="http://schemas.openxmlformats.org/officeDocument/2006/relationships/image" Target="../media/image28.emf"/></Relationships>
</file>

<file path=ppt/slides/_rels/slide14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68.xml"/><Relationship Id="rId5" Type="http://schemas.openxmlformats.org/officeDocument/2006/relationships/chart" Target="../charts/chart141.xml"/><Relationship Id="rId4" Type="http://schemas.openxmlformats.org/officeDocument/2006/relationships/image" Target="../media/image28.emf"/></Relationships>
</file>

<file path=ppt/slides/_rels/slide14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69.xml"/><Relationship Id="rId5" Type="http://schemas.openxmlformats.org/officeDocument/2006/relationships/chart" Target="../charts/chart142.xml"/><Relationship Id="rId4" Type="http://schemas.openxmlformats.org/officeDocument/2006/relationships/image" Target="../media/image28.emf"/></Relationships>
</file>

<file path=ppt/slides/_rels/slide14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70.xml"/><Relationship Id="rId5" Type="http://schemas.openxmlformats.org/officeDocument/2006/relationships/chart" Target="../charts/chart143.xml"/><Relationship Id="rId4" Type="http://schemas.openxmlformats.org/officeDocument/2006/relationships/image" Target="../media/image28.emf"/></Relationships>
</file>

<file path=ppt/slides/_rels/slide14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71.xml"/><Relationship Id="rId5" Type="http://schemas.openxmlformats.org/officeDocument/2006/relationships/chart" Target="../charts/chart144.xml"/><Relationship Id="rId4" Type="http://schemas.openxmlformats.org/officeDocument/2006/relationships/image" Target="../media/image28.emf"/></Relationships>
</file>

<file path=ppt/slides/_rels/slide14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72.xml"/><Relationship Id="rId5" Type="http://schemas.openxmlformats.org/officeDocument/2006/relationships/chart" Target="../charts/chart145.xml"/><Relationship Id="rId4" Type="http://schemas.openxmlformats.org/officeDocument/2006/relationships/image" Target="../media/image28.emf"/></Relationships>
</file>

<file path=ppt/slides/_rels/slide14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73.xml"/><Relationship Id="rId5" Type="http://schemas.openxmlformats.org/officeDocument/2006/relationships/chart" Target="../charts/chart146.xml"/><Relationship Id="rId4" Type="http://schemas.openxmlformats.org/officeDocument/2006/relationships/image" Target="../media/image28.emf"/></Relationships>
</file>

<file path=ppt/slides/_rels/slide14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74.xml"/><Relationship Id="rId5" Type="http://schemas.openxmlformats.org/officeDocument/2006/relationships/chart" Target="../charts/chart147.xml"/><Relationship Id="rId4" Type="http://schemas.openxmlformats.org/officeDocument/2006/relationships/image" Target="../media/image28.emf"/></Relationships>
</file>

<file path=ppt/slides/_rels/slide14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75.xml"/><Relationship Id="rId5" Type="http://schemas.openxmlformats.org/officeDocument/2006/relationships/chart" Target="../charts/chart148.xml"/><Relationship Id="rId4" Type="http://schemas.openxmlformats.org/officeDocument/2006/relationships/image" Target="../media/image28.emf"/></Relationships>
</file>

<file path=ppt/slides/_rels/slide14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76.xml"/><Relationship Id="rId5" Type="http://schemas.openxmlformats.org/officeDocument/2006/relationships/chart" Target="../charts/chart149.xml"/><Relationship Id="rId4" Type="http://schemas.openxmlformats.org/officeDocument/2006/relationships/image" Target="../media/image28.emf"/></Relationships>
</file>

<file path=ppt/slides/_rels/slide1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2.xml"/><Relationship Id="rId5" Type="http://schemas.openxmlformats.org/officeDocument/2006/relationships/chart" Target="../charts/chart15.xml"/><Relationship Id="rId4" Type="http://schemas.openxmlformats.org/officeDocument/2006/relationships/image" Target="../media/image28.emf"/></Relationships>
</file>

<file path=ppt/slides/_rels/slide15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77.xml"/><Relationship Id="rId5" Type="http://schemas.openxmlformats.org/officeDocument/2006/relationships/chart" Target="../charts/chart150.xml"/><Relationship Id="rId4" Type="http://schemas.openxmlformats.org/officeDocument/2006/relationships/image" Target="../media/image28.emf"/></Relationships>
</file>

<file path=ppt/slides/_rels/slide15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78.xml"/><Relationship Id="rId5" Type="http://schemas.openxmlformats.org/officeDocument/2006/relationships/chart" Target="../charts/chart151.xml"/><Relationship Id="rId4" Type="http://schemas.openxmlformats.org/officeDocument/2006/relationships/image" Target="../media/image28.emf"/></Relationships>
</file>

<file path=ppt/slides/_rels/slide15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79.xml"/><Relationship Id="rId5" Type="http://schemas.openxmlformats.org/officeDocument/2006/relationships/chart" Target="../charts/chart152.xml"/><Relationship Id="rId4" Type="http://schemas.openxmlformats.org/officeDocument/2006/relationships/image" Target="../media/image28.emf"/></Relationships>
</file>

<file path=ppt/slides/_rels/slide15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80.xml"/><Relationship Id="rId5" Type="http://schemas.openxmlformats.org/officeDocument/2006/relationships/chart" Target="../charts/chart153.xml"/><Relationship Id="rId4" Type="http://schemas.openxmlformats.org/officeDocument/2006/relationships/image" Target="../media/image28.emf"/></Relationships>
</file>

<file path=ppt/slides/_rels/slide15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81.xml"/><Relationship Id="rId5" Type="http://schemas.openxmlformats.org/officeDocument/2006/relationships/chart" Target="../charts/chart154.xml"/><Relationship Id="rId4" Type="http://schemas.openxmlformats.org/officeDocument/2006/relationships/image" Target="../media/image28.emf"/></Relationships>
</file>

<file path=ppt/slides/_rels/slide15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82.xml"/><Relationship Id="rId5" Type="http://schemas.openxmlformats.org/officeDocument/2006/relationships/chart" Target="../charts/chart155.xml"/><Relationship Id="rId4" Type="http://schemas.openxmlformats.org/officeDocument/2006/relationships/image" Target="../media/image28.emf"/></Relationships>
</file>

<file path=ppt/slides/_rels/slide15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83.xml"/><Relationship Id="rId5" Type="http://schemas.openxmlformats.org/officeDocument/2006/relationships/chart" Target="../charts/chart156.xml"/><Relationship Id="rId4" Type="http://schemas.openxmlformats.org/officeDocument/2006/relationships/image" Target="../media/image28.emf"/></Relationships>
</file>

<file path=ppt/slides/_rels/slide15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84.xml"/><Relationship Id="rId5" Type="http://schemas.openxmlformats.org/officeDocument/2006/relationships/chart" Target="../charts/chart157.xml"/><Relationship Id="rId4" Type="http://schemas.openxmlformats.org/officeDocument/2006/relationships/image" Target="../media/image28.emf"/></Relationships>
</file>

<file path=ppt/slides/_rels/slide15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85.xml"/><Relationship Id="rId5" Type="http://schemas.openxmlformats.org/officeDocument/2006/relationships/chart" Target="../charts/chart158.xml"/><Relationship Id="rId4" Type="http://schemas.openxmlformats.org/officeDocument/2006/relationships/image" Target="../media/image28.emf"/></Relationships>
</file>

<file path=ppt/slides/_rels/slide15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86.xml"/><Relationship Id="rId5" Type="http://schemas.openxmlformats.org/officeDocument/2006/relationships/chart" Target="../charts/chart159.xml"/><Relationship Id="rId4" Type="http://schemas.openxmlformats.org/officeDocument/2006/relationships/image" Target="../media/image28.emf"/></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3.xml"/><Relationship Id="rId5" Type="http://schemas.openxmlformats.org/officeDocument/2006/relationships/chart" Target="../charts/chart16.xml"/><Relationship Id="rId4" Type="http://schemas.openxmlformats.org/officeDocument/2006/relationships/image" Target="../media/image28.emf"/></Relationships>
</file>

<file path=ppt/slides/_rels/slide16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87.xml"/><Relationship Id="rId5" Type="http://schemas.openxmlformats.org/officeDocument/2006/relationships/chart" Target="../charts/chart160.xml"/><Relationship Id="rId4" Type="http://schemas.openxmlformats.org/officeDocument/2006/relationships/image" Target="../media/image28.emf"/></Relationships>
</file>

<file path=ppt/slides/_rels/slide16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88.xml"/><Relationship Id="rId5" Type="http://schemas.openxmlformats.org/officeDocument/2006/relationships/chart" Target="../charts/chart161.xml"/><Relationship Id="rId4" Type="http://schemas.openxmlformats.org/officeDocument/2006/relationships/image" Target="../media/image28.emf"/></Relationships>
</file>

<file path=ppt/slides/_rels/slide16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89.xml"/><Relationship Id="rId5" Type="http://schemas.openxmlformats.org/officeDocument/2006/relationships/chart" Target="../charts/chart162.xml"/><Relationship Id="rId4" Type="http://schemas.openxmlformats.org/officeDocument/2006/relationships/image" Target="../media/image28.emf"/></Relationships>
</file>

<file path=ppt/slides/_rels/slide16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90.xml"/><Relationship Id="rId5" Type="http://schemas.openxmlformats.org/officeDocument/2006/relationships/chart" Target="../charts/chart163.xml"/><Relationship Id="rId4" Type="http://schemas.openxmlformats.org/officeDocument/2006/relationships/image" Target="../media/image28.emf"/></Relationships>
</file>

<file path=ppt/slides/_rels/slide16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91.xml"/><Relationship Id="rId5" Type="http://schemas.openxmlformats.org/officeDocument/2006/relationships/chart" Target="../charts/chart164.xml"/><Relationship Id="rId4" Type="http://schemas.openxmlformats.org/officeDocument/2006/relationships/image" Target="../media/image28.emf"/></Relationships>
</file>

<file path=ppt/slides/_rels/slide16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92.xml"/><Relationship Id="rId5" Type="http://schemas.openxmlformats.org/officeDocument/2006/relationships/chart" Target="../charts/chart165.xml"/><Relationship Id="rId4" Type="http://schemas.openxmlformats.org/officeDocument/2006/relationships/image" Target="../media/image28.emf"/></Relationships>
</file>

<file path=ppt/slides/_rels/slide16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93.xml"/><Relationship Id="rId5" Type="http://schemas.openxmlformats.org/officeDocument/2006/relationships/chart" Target="../charts/chart166.xml"/><Relationship Id="rId4" Type="http://schemas.openxmlformats.org/officeDocument/2006/relationships/image" Target="../media/image28.emf"/></Relationships>
</file>

<file path=ppt/slides/_rels/slide16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94.xml"/><Relationship Id="rId5" Type="http://schemas.openxmlformats.org/officeDocument/2006/relationships/chart" Target="../charts/chart167.xml"/><Relationship Id="rId4" Type="http://schemas.openxmlformats.org/officeDocument/2006/relationships/image" Target="../media/image28.emf"/></Relationships>
</file>

<file path=ppt/slides/_rels/slide16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95.xml"/><Relationship Id="rId5" Type="http://schemas.openxmlformats.org/officeDocument/2006/relationships/chart" Target="../charts/chart168.xml"/><Relationship Id="rId4" Type="http://schemas.openxmlformats.org/officeDocument/2006/relationships/image" Target="../media/image28.emf"/></Relationships>
</file>

<file path=ppt/slides/_rels/slide16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96.xml"/><Relationship Id="rId5" Type="http://schemas.openxmlformats.org/officeDocument/2006/relationships/chart" Target="../charts/chart169.xml"/><Relationship Id="rId4" Type="http://schemas.openxmlformats.org/officeDocument/2006/relationships/image" Target="../media/image28.emf"/></Relationships>
</file>

<file path=ppt/slides/_rels/slide1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4.xml"/><Relationship Id="rId5" Type="http://schemas.openxmlformats.org/officeDocument/2006/relationships/chart" Target="../charts/chart17.xml"/><Relationship Id="rId4" Type="http://schemas.openxmlformats.org/officeDocument/2006/relationships/image" Target="../media/image28.emf"/></Relationships>
</file>

<file path=ppt/slides/_rels/slide17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97.xml"/><Relationship Id="rId5" Type="http://schemas.openxmlformats.org/officeDocument/2006/relationships/chart" Target="../charts/chart170.xml"/><Relationship Id="rId4" Type="http://schemas.openxmlformats.org/officeDocument/2006/relationships/image" Target="../media/image28.emf"/></Relationships>
</file>

<file path=ppt/slides/_rels/slide17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98.xml"/><Relationship Id="rId5" Type="http://schemas.openxmlformats.org/officeDocument/2006/relationships/chart" Target="../charts/chart171.xml"/><Relationship Id="rId4" Type="http://schemas.openxmlformats.org/officeDocument/2006/relationships/image" Target="../media/image28.emf"/></Relationships>
</file>

<file path=ppt/slides/_rels/slide17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99.xml"/><Relationship Id="rId5" Type="http://schemas.openxmlformats.org/officeDocument/2006/relationships/chart" Target="../charts/chart172.xml"/><Relationship Id="rId4" Type="http://schemas.openxmlformats.org/officeDocument/2006/relationships/image" Target="../media/image28.emf"/></Relationships>
</file>

<file path=ppt/slides/_rels/slide17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00.xml"/><Relationship Id="rId5" Type="http://schemas.openxmlformats.org/officeDocument/2006/relationships/chart" Target="../charts/chart173.xml"/><Relationship Id="rId4" Type="http://schemas.openxmlformats.org/officeDocument/2006/relationships/image" Target="../media/image28.emf"/></Relationships>
</file>

<file path=ppt/slides/_rels/slide17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01.xml"/><Relationship Id="rId5" Type="http://schemas.openxmlformats.org/officeDocument/2006/relationships/chart" Target="../charts/chart174.xml"/><Relationship Id="rId4" Type="http://schemas.openxmlformats.org/officeDocument/2006/relationships/image" Target="../media/image28.emf"/></Relationships>
</file>

<file path=ppt/slides/_rels/slide17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02.xml"/><Relationship Id="rId5" Type="http://schemas.openxmlformats.org/officeDocument/2006/relationships/chart" Target="../charts/chart175.xml"/><Relationship Id="rId4" Type="http://schemas.openxmlformats.org/officeDocument/2006/relationships/image" Target="../media/image28.emf"/></Relationships>
</file>

<file path=ppt/slides/_rels/slide17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03.xml"/><Relationship Id="rId5" Type="http://schemas.openxmlformats.org/officeDocument/2006/relationships/chart" Target="../charts/chart176.xml"/><Relationship Id="rId4" Type="http://schemas.openxmlformats.org/officeDocument/2006/relationships/image" Target="../media/image28.emf"/></Relationships>
</file>

<file path=ppt/slides/_rels/slide17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04.xml"/><Relationship Id="rId5" Type="http://schemas.openxmlformats.org/officeDocument/2006/relationships/chart" Target="../charts/chart177.xml"/><Relationship Id="rId4" Type="http://schemas.openxmlformats.org/officeDocument/2006/relationships/image" Target="../media/image28.emf"/></Relationships>
</file>

<file path=ppt/slides/_rels/slide17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05.xml"/><Relationship Id="rId5" Type="http://schemas.openxmlformats.org/officeDocument/2006/relationships/chart" Target="../charts/chart178.xml"/><Relationship Id="rId4" Type="http://schemas.openxmlformats.org/officeDocument/2006/relationships/image" Target="../media/image28.emf"/></Relationships>
</file>

<file path=ppt/slides/_rels/slide17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06.xml"/><Relationship Id="rId5" Type="http://schemas.openxmlformats.org/officeDocument/2006/relationships/chart" Target="../charts/chart179.xml"/><Relationship Id="rId4" Type="http://schemas.openxmlformats.org/officeDocument/2006/relationships/image" Target="../media/image28.emf"/></Relationships>
</file>

<file path=ppt/slides/_rels/slide1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5.xml"/><Relationship Id="rId5" Type="http://schemas.openxmlformats.org/officeDocument/2006/relationships/chart" Target="../charts/chart18.xml"/><Relationship Id="rId4" Type="http://schemas.openxmlformats.org/officeDocument/2006/relationships/image" Target="../media/image28.emf"/></Relationships>
</file>

<file path=ppt/slides/_rels/slide18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07.xml"/><Relationship Id="rId5" Type="http://schemas.openxmlformats.org/officeDocument/2006/relationships/chart" Target="../charts/chart180.xml"/><Relationship Id="rId4" Type="http://schemas.openxmlformats.org/officeDocument/2006/relationships/image" Target="../media/image28.emf"/></Relationships>
</file>

<file path=ppt/slides/_rels/slide18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08.xml"/><Relationship Id="rId5" Type="http://schemas.openxmlformats.org/officeDocument/2006/relationships/chart" Target="../charts/chart181.xml"/><Relationship Id="rId4" Type="http://schemas.openxmlformats.org/officeDocument/2006/relationships/image" Target="../media/image28.emf"/></Relationships>
</file>

<file path=ppt/slides/_rels/slide18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09.xml"/><Relationship Id="rId5" Type="http://schemas.openxmlformats.org/officeDocument/2006/relationships/chart" Target="../charts/chart182.xml"/><Relationship Id="rId4" Type="http://schemas.openxmlformats.org/officeDocument/2006/relationships/image" Target="../media/image28.emf"/></Relationships>
</file>

<file path=ppt/slides/_rels/slide18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10.xml"/><Relationship Id="rId5" Type="http://schemas.openxmlformats.org/officeDocument/2006/relationships/chart" Target="../charts/chart183.xml"/><Relationship Id="rId4" Type="http://schemas.openxmlformats.org/officeDocument/2006/relationships/image" Target="../media/image28.emf"/></Relationships>
</file>

<file path=ppt/slides/_rels/slide18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11.xml"/><Relationship Id="rId5" Type="http://schemas.openxmlformats.org/officeDocument/2006/relationships/chart" Target="../charts/chart184.xml"/><Relationship Id="rId4" Type="http://schemas.openxmlformats.org/officeDocument/2006/relationships/image" Target="../media/image28.emf"/></Relationships>
</file>

<file path=ppt/slides/_rels/slide18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12.xml"/><Relationship Id="rId5" Type="http://schemas.openxmlformats.org/officeDocument/2006/relationships/chart" Target="../charts/chart185.xml"/><Relationship Id="rId4" Type="http://schemas.openxmlformats.org/officeDocument/2006/relationships/image" Target="../media/image28.emf"/></Relationships>
</file>

<file path=ppt/slides/_rels/slide18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13.xml"/><Relationship Id="rId5" Type="http://schemas.openxmlformats.org/officeDocument/2006/relationships/chart" Target="../charts/chart186.xml"/><Relationship Id="rId4" Type="http://schemas.openxmlformats.org/officeDocument/2006/relationships/image" Target="../media/image28.emf"/></Relationships>
</file>

<file path=ppt/slides/_rels/slide18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14.xml"/><Relationship Id="rId5" Type="http://schemas.openxmlformats.org/officeDocument/2006/relationships/chart" Target="../charts/chart187.xml"/><Relationship Id="rId4" Type="http://schemas.openxmlformats.org/officeDocument/2006/relationships/image" Target="../media/image28.emf"/></Relationships>
</file>

<file path=ppt/slides/_rels/slide18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15.xml"/><Relationship Id="rId5" Type="http://schemas.openxmlformats.org/officeDocument/2006/relationships/chart" Target="../charts/chart188.xml"/><Relationship Id="rId4" Type="http://schemas.openxmlformats.org/officeDocument/2006/relationships/image" Target="../media/image28.emf"/></Relationships>
</file>

<file path=ppt/slides/_rels/slide18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16.xml"/><Relationship Id="rId5" Type="http://schemas.openxmlformats.org/officeDocument/2006/relationships/chart" Target="../charts/chart189.xml"/><Relationship Id="rId4" Type="http://schemas.openxmlformats.org/officeDocument/2006/relationships/image" Target="../media/image28.emf"/></Relationships>
</file>

<file path=ppt/slides/_rels/slide1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6.xml"/><Relationship Id="rId5" Type="http://schemas.openxmlformats.org/officeDocument/2006/relationships/chart" Target="../charts/chart19.xml"/><Relationship Id="rId4" Type="http://schemas.openxmlformats.org/officeDocument/2006/relationships/image" Target="../media/image28.emf"/></Relationships>
</file>

<file path=ppt/slides/_rels/slide19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17.xml"/><Relationship Id="rId5" Type="http://schemas.openxmlformats.org/officeDocument/2006/relationships/chart" Target="../charts/chart190.xml"/><Relationship Id="rId4" Type="http://schemas.openxmlformats.org/officeDocument/2006/relationships/image" Target="../media/image28.emf"/></Relationships>
</file>

<file path=ppt/slides/_rels/slide19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18.xml"/><Relationship Id="rId5" Type="http://schemas.openxmlformats.org/officeDocument/2006/relationships/chart" Target="../charts/chart191.xml"/><Relationship Id="rId4" Type="http://schemas.openxmlformats.org/officeDocument/2006/relationships/image" Target="../media/image28.emf"/></Relationships>
</file>

<file path=ppt/slides/_rels/slide19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19.xml"/><Relationship Id="rId5" Type="http://schemas.openxmlformats.org/officeDocument/2006/relationships/chart" Target="../charts/chart192.xml"/><Relationship Id="rId4" Type="http://schemas.openxmlformats.org/officeDocument/2006/relationships/image" Target="../media/image28.emf"/></Relationships>
</file>

<file path=ppt/slides/_rels/slide19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20.xml"/><Relationship Id="rId5" Type="http://schemas.openxmlformats.org/officeDocument/2006/relationships/chart" Target="../charts/chart193.xml"/><Relationship Id="rId4" Type="http://schemas.openxmlformats.org/officeDocument/2006/relationships/image" Target="../media/image28.emf"/></Relationships>
</file>

<file path=ppt/slides/_rels/slide19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21.xml"/><Relationship Id="rId5" Type="http://schemas.openxmlformats.org/officeDocument/2006/relationships/chart" Target="../charts/chart194.xml"/><Relationship Id="rId4" Type="http://schemas.openxmlformats.org/officeDocument/2006/relationships/image" Target="../media/image28.emf"/></Relationships>
</file>

<file path=ppt/slides/_rels/slide19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22.xml"/><Relationship Id="rId5" Type="http://schemas.openxmlformats.org/officeDocument/2006/relationships/chart" Target="../charts/chart195.xml"/><Relationship Id="rId4" Type="http://schemas.openxmlformats.org/officeDocument/2006/relationships/image" Target="../media/image28.emf"/></Relationships>
</file>

<file path=ppt/slides/_rels/slide19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23.xml"/><Relationship Id="rId5" Type="http://schemas.openxmlformats.org/officeDocument/2006/relationships/chart" Target="../charts/chart196.xml"/><Relationship Id="rId4" Type="http://schemas.openxmlformats.org/officeDocument/2006/relationships/image" Target="../media/image28.emf"/></Relationships>
</file>

<file path=ppt/slides/_rels/slide19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24.xml"/><Relationship Id="rId5" Type="http://schemas.openxmlformats.org/officeDocument/2006/relationships/chart" Target="../charts/chart197.xml"/><Relationship Id="rId4" Type="http://schemas.openxmlformats.org/officeDocument/2006/relationships/image" Target="../media/image28.emf"/></Relationships>
</file>

<file path=ppt/slides/_rels/slide19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25.xml"/><Relationship Id="rId5" Type="http://schemas.openxmlformats.org/officeDocument/2006/relationships/chart" Target="../charts/chart198.xml"/><Relationship Id="rId4" Type="http://schemas.openxmlformats.org/officeDocument/2006/relationships/image" Target="../media/image28.emf"/></Relationships>
</file>

<file path=ppt/slides/_rels/slide19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26.xml"/><Relationship Id="rId5" Type="http://schemas.openxmlformats.org/officeDocument/2006/relationships/chart" Target="../charts/chart199.xml"/><Relationship Id="rId4" Type="http://schemas.openxmlformats.org/officeDocument/2006/relationships/image" Target="../media/image28.emf"/></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9.xml"/><Relationship Id="rId5" Type="http://schemas.openxmlformats.org/officeDocument/2006/relationships/chart" Target="../charts/chart2.xml"/><Relationship Id="rId4" Type="http://schemas.openxmlformats.org/officeDocument/2006/relationships/image" Target="../media/image28.emf"/></Relationships>
</file>

<file path=ppt/slides/_rels/slide2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7.xml"/><Relationship Id="rId5" Type="http://schemas.openxmlformats.org/officeDocument/2006/relationships/chart" Target="../charts/chart20.xml"/><Relationship Id="rId4" Type="http://schemas.openxmlformats.org/officeDocument/2006/relationships/image" Target="../media/image28.emf"/></Relationships>
</file>

<file path=ppt/slides/_rels/slide20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27.xml"/><Relationship Id="rId5" Type="http://schemas.openxmlformats.org/officeDocument/2006/relationships/chart" Target="../charts/chart200.xml"/><Relationship Id="rId4" Type="http://schemas.openxmlformats.org/officeDocument/2006/relationships/image" Target="../media/image28.emf"/></Relationships>
</file>

<file path=ppt/slides/_rels/slide20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28.xml"/><Relationship Id="rId5" Type="http://schemas.openxmlformats.org/officeDocument/2006/relationships/chart" Target="../charts/chart201.xml"/><Relationship Id="rId4" Type="http://schemas.openxmlformats.org/officeDocument/2006/relationships/image" Target="../media/image28.emf"/></Relationships>
</file>

<file path=ppt/slides/_rels/slide20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29.xml"/><Relationship Id="rId5" Type="http://schemas.openxmlformats.org/officeDocument/2006/relationships/chart" Target="../charts/chart202.xml"/><Relationship Id="rId4" Type="http://schemas.openxmlformats.org/officeDocument/2006/relationships/image" Target="../media/image28.emf"/></Relationships>
</file>

<file path=ppt/slides/_rels/slide20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30.xml"/><Relationship Id="rId5" Type="http://schemas.openxmlformats.org/officeDocument/2006/relationships/chart" Target="../charts/chart203.xml"/><Relationship Id="rId4" Type="http://schemas.openxmlformats.org/officeDocument/2006/relationships/image" Target="../media/image28.emf"/></Relationships>
</file>

<file path=ppt/slides/_rels/slide20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31.xml"/><Relationship Id="rId5" Type="http://schemas.openxmlformats.org/officeDocument/2006/relationships/chart" Target="../charts/chart204.xml"/><Relationship Id="rId4" Type="http://schemas.openxmlformats.org/officeDocument/2006/relationships/image" Target="../media/image28.emf"/></Relationships>
</file>

<file path=ppt/slides/_rels/slide20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32.xml"/><Relationship Id="rId5" Type="http://schemas.openxmlformats.org/officeDocument/2006/relationships/chart" Target="../charts/chart205.xml"/><Relationship Id="rId4" Type="http://schemas.openxmlformats.org/officeDocument/2006/relationships/image" Target="../media/image28.emf"/></Relationships>
</file>

<file path=ppt/slides/_rels/slide20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33.xml"/><Relationship Id="rId5" Type="http://schemas.openxmlformats.org/officeDocument/2006/relationships/chart" Target="../charts/chart206.xml"/><Relationship Id="rId4" Type="http://schemas.openxmlformats.org/officeDocument/2006/relationships/image" Target="../media/image28.emf"/></Relationships>
</file>

<file path=ppt/slides/_rels/slide20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34.xml"/><Relationship Id="rId5" Type="http://schemas.openxmlformats.org/officeDocument/2006/relationships/chart" Target="../charts/chart207.xml"/><Relationship Id="rId4" Type="http://schemas.openxmlformats.org/officeDocument/2006/relationships/image" Target="../media/image28.emf"/></Relationships>
</file>

<file path=ppt/slides/_rels/slide20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35.xml"/><Relationship Id="rId5" Type="http://schemas.openxmlformats.org/officeDocument/2006/relationships/chart" Target="../charts/chart208.xml"/><Relationship Id="rId4" Type="http://schemas.openxmlformats.org/officeDocument/2006/relationships/image" Target="../media/image28.emf"/></Relationships>
</file>

<file path=ppt/slides/_rels/slide20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36.xml"/><Relationship Id="rId5" Type="http://schemas.openxmlformats.org/officeDocument/2006/relationships/chart" Target="../charts/chart209.xml"/><Relationship Id="rId4" Type="http://schemas.openxmlformats.org/officeDocument/2006/relationships/image" Target="../media/image28.emf"/></Relationships>
</file>

<file path=ppt/slides/_rels/slide2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8.xml"/><Relationship Id="rId5" Type="http://schemas.openxmlformats.org/officeDocument/2006/relationships/chart" Target="../charts/chart21.xml"/><Relationship Id="rId4" Type="http://schemas.openxmlformats.org/officeDocument/2006/relationships/image" Target="../media/image28.emf"/></Relationships>
</file>

<file path=ppt/slides/_rels/slide21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37.xml"/><Relationship Id="rId5" Type="http://schemas.openxmlformats.org/officeDocument/2006/relationships/chart" Target="../charts/chart210.xml"/><Relationship Id="rId4" Type="http://schemas.openxmlformats.org/officeDocument/2006/relationships/image" Target="../media/image28.emf"/></Relationships>
</file>

<file path=ppt/slides/_rels/slide21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38.xml"/><Relationship Id="rId5" Type="http://schemas.openxmlformats.org/officeDocument/2006/relationships/chart" Target="../charts/chart211.xml"/><Relationship Id="rId4" Type="http://schemas.openxmlformats.org/officeDocument/2006/relationships/image" Target="../media/image28.emf"/></Relationships>
</file>

<file path=ppt/slides/_rels/slide21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39.xml"/><Relationship Id="rId5" Type="http://schemas.openxmlformats.org/officeDocument/2006/relationships/chart" Target="../charts/chart212.xml"/><Relationship Id="rId4" Type="http://schemas.openxmlformats.org/officeDocument/2006/relationships/image" Target="../media/image28.emf"/></Relationships>
</file>

<file path=ppt/slides/_rels/slide21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40.xml"/><Relationship Id="rId5" Type="http://schemas.openxmlformats.org/officeDocument/2006/relationships/chart" Target="../charts/chart213.xml"/><Relationship Id="rId4" Type="http://schemas.openxmlformats.org/officeDocument/2006/relationships/image" Target="../media/image28.emf"/></Relationships>
</file>

<file path=ppt/slides/_rels/slide21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41.xml"/><Relationship Id="rId5" Type="http://schemas.openxmlformats.org/officeDocument/2006/relationships/chart" Target="../charts/chart214.xml"/><Relationship Id="rId4" Type="http://schemas.openxmlformats.org/officeDocument/2006/relationships/image" Target="../media/image28.emf"/></Relationships>
</file>

<file path=ppt/slides/_rels/slide21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42.xml"/><Relationship Id="rId5" Type="http://schemas.openxmlformats.org/officeDocument/2006/relationships/chart" Target="../charts/chart215.xml"/><Relationship Id="rId4" Type="http://schemas.openxmlformats.org/officeDocument/2006/relationships/image" Target="../media/image28.emf"/></Relationships>
</file>

<file path=ppt/slides/_rels/slide21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43.xml"/><Relationship Id="rId5" Type="http://schemas.openxmlformats.org/officeDocument/2006/relationships/chart" Target="../charts/chart216.xml"/><Relationship Id="rId4" Type="http://schemas.openxmlformats.org/officeDocument/2006/relationships/image" Target="../media/image28.emf"/></Relationships>
</file>

<file path=ppt/slides/_rels/slide21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44.xml"/><Relationship Id="rId5" Type="http://schemas.openxmlformats.org/officeDocument/2006/relationships/chart" Target="../charts/chart217.xml"/><Relationship Id="rId4" Type="http://schemas.openxmlformats.org/officeDocument/2006/relationships/image" Target="../media/image28.emf"/></Relationships>
</file>

<file path=ppt/slides/_rels/slide21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45.xml"/><Relationship Id="rId5" Type="http://schemas.openxmlformats.org/officeDocument/2006/relationships/chart" Target="../charts/chart218.xml"/><Relationship Id="rId4" Type="http://schemas.openxmlformats.org/officeDocument/2006/relationships/image" Target="../media/image28.emf"/></Relationships>
</file>

<file path=ppt/slides/_rels/slide21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46.xml"/><Relationship Id="rId5" Type="http://schemas.openxmlformats.org/officeDocument/2006/relationships/chart" Target="../charts/chart219.xml"/><Relationship Id="rId4" Type="http://schemas.openxmlformats.org/officeDocument/2006/relationships/image" Target="../media/image28.emf"/></Relationships>
</file>

<file path=ppt/slides/_rels/slide2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9.xml"/><Relationship Id="rId5" Type="http://schemas.openxmlformats.org/officeDocument/2006/relationships/chart" Target="../charts/chart22.xml"/><Relationship Id="rId4" Type="http://schemas.openxmlformats.org/officeDocument/2006/relationships/image" Target="../media/image28.emf"/></Relationships>
</file>

<file path=ppt/slides/_rels/slide22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47.xml"/><Relationship Id="rId5" Type="http://schemas.openxmlformats.org/officeDocument/2006/relationships/chart" Target="../charts/chart220.xml"/><Relationship Id="rId4" Type="http://schemas.openxmlformats.org/officeDocument/2006/relationships/image" Target="../media/image28.emf"/></Relationships>
</file>

<file path=ppt/slides/_rels/slide22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48.xml"/><Relationship Id="rId5" Type="http://schemas.openxmlformats.org/officeDocument/2006/relationships/chart" Target="../charts/chart221.xml"/><Relationship Id="rId4" Type="http://schemas.openxmlformats.org/officeDocument/2006/relationships/image" Target="../media/image28.emf"/></Relationships>
</file>

<file path=ppt/slides/_rels/slide22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49.xml"/><Relationship Id="rId5" Type="http://schemas.openxmlformats.org/officeDocument/2006/relationships/chart" Target="../charts/chart222.xml"/><Relationship Id="rId4" Type="http://schemas.openxmlformats.org/officeDocument/2006/relationships/image" Target="../media/image28.emf"/></Relationships>
</file>

<file path=ppt/slides/_rels/slide22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50.xml"/><Relationship Id="rId5" Type="http://schemas.openxmlformats.org/officeDocument/2006/relationships/chart" Target="../charts/chart223.xml"/><Relationship Id="rId4" Type="http://schemas.openxmlformats.org/officeDocument/2006/relationships/image" Target="../media/image28.emf"/></Relationships>
</file>

<file path=ppt/slides/_rels/slide22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51.xml"/><Relationship Id="rId5" Type="http://schemas.openxmlformats.org/officeDocument/2006/relationships/chart" Target="../charts/chart224.xml"/><Relationship Id="rId4" Type="http://schemas.openxmlformats.org/officeDocument/2006/relationships/image" Target="../media/image28.emf"/></Relationships>
</file>

<file path=ppt/slides/_rels/slide22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52.xml"/><Relationship Id="rId5" Type="http://schemas.openxmlformats.org/officeDocument/2006/relationships/chart" Target="../charts/chart225.xml"/><Relationship Id="rId4" Type="http://schemas.openxmlformats.org/officeDocument/2006/relationships/image" Target="../media/image28.emf"/></Relationships>
</file>

<file path=ppt/slides/_rels/slide22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53.xml"/><Relationship Id="rId5" Type="http://schemas.openxmlformats.org/officeDocument/2006/relationships/chart" Target="../charts/chart226.xml"/><Relationship Id="rId4" Type="http://schemas.openxmlformats.org/officeDocument/2006/relationships/image" Target="../media/image28.emf"/></Relationships>
</file>

<file path=ppt/slides/_rels/slide22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54.xml"/><Relationship Id="rId5" Type="http://schemas.openxmlformats.org/officeDocument/2006/relationships/chart" Target="../charts/chart227.xml"/><Relationship Id="rId4" Type="http://schemas.openxmlformats.org/officeDocument/2006/relationships/image" Target="../media/image28.emf"/></Relationships>
</file>

<file path=ppt/slides/_rels/slide22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55.xml"/><Relationship Id="rId5" Type="http://schemas.openxmlformats.org/officeDocument/2006/relationships/chart" Target="../charts/chart228.xml"/><Relationship Id="rId4" Type="http://schemas.openxmlformats.org/officeDocument/2006/relationships/image" Target="../media/image28.emf"/></Relationships>
</file>

<file path=ppt/slides/_rels/slide22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56.xml"/><Relationship Id="rId5" Type="http://schemas.openxmlformats.org/officeDocument/2006/relationships/chart" Target="../charts/chart229.xml"/><Relationship Id="rId4" Type="http://schemas.openxmlformats.org/officeDocument/2006/relationships/image" Target="../media/image28.emf"/></Relationships>
</file>

<file path=ppt/slides/_rels/slide2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0.xml"/><Relationship Id="rId5" Type="http://schemas.openxmlformats.org/officeDocument/2006/relationships/chart" Target="../charts/chart23.xml"/><Relationship Id="rId4" Type="http://schemas.openxmlformats.org/officeDocument/2006/relationships/image" Target="../media/image28.emf"/></Relationships>
</file>

<file path=ppt/slides/_rels/slide23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57.xml"/><Relationship Id="rId5" Type="http://schemas.openxmlformats.org/officeDocument/2006/relationships/chart" Target="../charts/chart230.xml"/><Relationship Id="rId4" Type="http://schemas.openxmlformats.org/officeDocument/2006/relationships/image" Target="../media/image28.emf"/></Relationships>
</file>

<file path=ppt/slides/_rels/slide23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58.xml"/><Relationship Id="rId5" Type="http://schemas.openxmlformats.org/officeDocument/2006/relationships/chart" Target="../charts/chart231.xml"/><Relationship Id="rId4" Type="http://schemas.openxmlformats.org/officeDocument/2006/relationships/image" Target="../media/image28.emf"/></Relationships>
</file>

<file path=ppt/slides/_rels/slide23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59.xml"/><Relationship Id="rId5" Type="http://schemas.openxmlformats.org/officeDocument/2006/relationships/chart" Target="../charts/chart232.xml"/><Relationship Id="rId4" Type="http://schemas.openxmlformats.org/officeDocument/2006/relationships/image" Target="../media/image28.emf"/></Relationships>
</file>

<file path=ppt/slides/_rels/slide23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60.xml"/><Relationship Id="rId5" Type="http://schemas.openxmlformats.org/officeDocument/2006/relationships/chart" Target="../charts/chart233.xml"/><Relationship Id="rId4" Type="http://schemas.openxmlformats.org/officeDocument/2006/relationships/image" Target="../media/image28.emf"/></Relationships>
</file>

<file path=ppt/slides/_rels/slide23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61.xml"/><Relationship Id="rId5" Type="http://schemas.openxmlformats.org/officeDocument/2006/relationships/chart" Target="../charts/chart234.xml"/><Relationship Id="rId4" Type="http://schemas.openxmlformats.org/officeDocument/2006/relationships/image" Target="../media/image28.emf"/></Relationships>
</file>

<file path=ppt/slides/_rels/slide23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62.xml"/><Relationship Id="rId5" Type="http://schemas.openxmlformats.org/officeDocument/2006/relationships/chart" Target="../charts/chart235.xml"/><Relationship Id="rId4" Type="http://schemas.openxmlformats.org/officeDocument/2006/relationships/image" Target="../media/image28.emf"/></Relationships>
</file>

<file path=ppt/slides/_rels/slide23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63.xml"/><Relationship Id="rId5" Type="http://schemas.openxmlformats.org/officeDocument/2006/relationships/chart" Target="../charts/chart236.xml"/><Relationship Id="rId4" Type="http://schemas.openxmlformats.org/officeDocument/2006/relationships/image" Target="../media/image28.emf"/></Relationships>
</file>

<file path=ppt/slides/_rels/slide23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64.xml"/><Relationship Id="rId5" Type="http://schemas.openxmlformats.org/officeDocument/2006/relationships/chart" Target="../charts/chart237.xml"/><Relationship Id="rId4" Type="http://schemas.openxmlformats.org/officeDocument/2006/relationships/image" Target="../media/image28.emf"/></Relationships>
</file>

<file path=ppt/slides/_rels/slide23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65.xml"/><Relationship Id="rId5" Type="http://schemas.openxmlformats.org/officeDocument/2006/relationships/chart" Target="../charts/chart238.xml"/><Relationship Id="rId4" Type="http://schemas.openxmlformats.org/officeDocument/2006/relationships/image" Target="../media/image28.emf"/></Relationships>
</file>

<file path=ppt/slides/_rels/slide23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66.xml"/><Relationship Id="rId5" Type="http://schemas.openxmlformats.org/officeDocument/2006/relationships/chart" Target="../charts/chart239.xml"/><Relationship Id="rId4" Type="http://schemas.openxmlformats.org/officeDocument/2006/relationships/image" Target="../media/image28.emf"/></Relationships>
</file>

<file path=ppt/slides/_rels/slide2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1.xml"/><Relationship Id="rId5" Type="http://schemas.openxmlformats.org/officeDocument/2006/relationships/chart" Target="../charts/chart24.xml"/><Relationship Id="rId4" Type="http://schemas.openxmlformats.org/officeDocument/2006/relationships/image" Target="../media/image28.emf"/></Relationships>
</file>

<file path=ppt/slides/_rels/slide24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67.xml"/><Relationship Id="rId5" Type="http://schemas.openxmlformats.org/officeDocument/2006/relationships/chart" Target="../charts/chart240.xml"/><Relationship Id="rId4" Type="http://schemas.openxmlformats.org/officeDocument/2006/relationships/image" Target="../media/image28.emf"/></Relationships>
</file>

<file path=ppt/slides/_rels/slide24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68.xml"/><Relationship Id="rId5" Type="http://schemas.openxmlformats.org/officeDocument/2006/relationships/chart" Target="../charts/chart241.xml"/><Relationship Id="rId4" Type="http://schemas.openxmlformats.org/officeDocument/2006/relationships/image" Target="../media/image28.emf"/></Relationships>
</file>

<file path=ppt/slides/_rels/slide24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69.xml"/><Relationship Id="rId5" Type="http://schemas.openxmlformats.org/officeDocument/2006/relationships/chart" Target="../charts/chart242.xml"/><Relationship Id="rId4" Type="http://schemas.openxmlformats.org/officeDocument/2006/relationships/image" Target="../media/image28.emf"/></Relationships>
</file>

<file path=ppt/slides/_rels/slide24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70.xml"/><Relationship Id="rId5" Type="http://schemas.openxmlformats.org/officeDocument/2006/relationships/chart" Target="../charts/chart243.xml"/><Relationship Id="rId4" Type="http://schemas.openxmlformats.org/officeDocument/2006/relationships/image" Target="../media/image28.emf"/></Relationships>
</file>

<file path=ppt/slides/_rels/slide24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71.xml"/><Relationship Id="rId5" Type="http://schemas.openxmlformats.org/officeDocument/2006/relationships/chart" Target="../charts/chart244.xml"/><Relationship Id="rId4" Type="http://schemas.openxmlformats.org/officeDocument/2006/relationships/image" Target="../media/image28.emf"/></Relationships>
</file>

<file path=ppt/slides/_rels/slide24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72.xml"/><Relationship Id="rId5" Type="http://schemas.openxmlformats.org/officeDocument/2006/relationships/chart" Target="../charts/chart245.xml"/><Relationship Id="rId4" Type="http://schemas.openxmlformats.org/officeDocument/2006/relationships/image" Target="../media/image28.emf"/></Relationships>
</file>

<file path=ppt/slides/_rels/slide24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73.xml"/><Relationship Id="rId5" Type="http://schemas.openxmlformats.org/officeDocument/2006/relationships/chart" Target="../charts/chart246.xml"/><Relationship Id="rId4" Type="http://schemas.openxmlformats.org/officeDocument/2006/relationships/image" Target="../media/image28.emf"/></Relationships>
</file>

<file path=ppt/slides/_rels/slide24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74.xml"/><Relationship Id="rId5" Type="http://schemas.openxmlformats.org/officeDocument/2006/relationships/chart" Target="../charts/chart247.xml"/><Relationship Id="rId4" Type="http://schemas.openxmlformats.org/officeDocument/2006/relationships/image" Target="../media/image28.emf"/></Relationships>
</file>

<file path=ppt/slides/_rels/slide24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75.xml"/><Relationship Id="rId5" Type="http://schemas.openxmlformats.org/officeDocument/2006/relationships/chart" Target="../charts/chart248.xml"/><Relationship Id="rId4" Type="http://schemas.openxmlformats.org/officeDocument/2006/relationships/image" Target="../media/image28.emf"/></Relationships>
</file>

<file path=ppt/slides/_rels/slide24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76.xml"/><Relationship Id="rId5" Type="http://schemas.openxmlformats.org/officeDocument/2006/relationships/chart" Target="../charts/chart249.xml"/><Relationship Id="rId4" Type="http://schemas.openxmlformats.org/officeDocument/2006/relationships/image" Target="../media/image28.emf"/></Relationships>
</file>

<file path=ppt/slides/_rels/slide2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2.xml"/><Relationship Id="rId5" Type="http://schemas.openxmlformats.org/officeDocument/2006/relationships/chart" Target="../charts/chart25.xml"/><Relationship Id="rId4" Type="http://schemas.openxmlformats.org/officeDocument/2006/relationships/image" Target="../media/image28.emf"/></Relationships>
</file>

<file path=ppt/slides/_rels/slide25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77.xml"/><Relationship Id="rId5" Type="http://schemas.openxmlformats.org/officeDocument/2006/relationships/chart" Target="../charts/chart250.xml"/><Relationship Id="rId4" Type="http://schemas.openxmlformats.org/officeDocument/2006/relationships/image" Target="../media/image28.emf"/></Relationships>
</file>

<file path=ppt/slides/_rels/slide25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78.xml"/><Relationship Id="rId5" Type="http://schemas.openxmlformats.org/officeDocument/2006/relationships/chart" Target="../charts/chart251.xml"/><Relationship Id="rId4" Type="http://schemas.openxmlformats.org/officeDocument/2006/relationships/image" Target="../media/image28.emf"/></Relationships>
</file>

<file path=ppt/slides/_rels/slide25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79.xml"/><Relationship Id="rId5" Type="http://schemas.openxmlformats.org/officeDocument/2006/relationships/chart" Target="../charts/chart252.xml"/><Relationship Id="rId4" Type="http://schemas.openxmlformats.org/officeDocument/2006/relationships/image" Target="../media/image28.emf"/></Relationships>
</file>

<file path=ppt/slides/_rels/slide25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80.xml"/><Relationship Id="rId5" Type="http://schemas.openxmlformats.org/officeDocument/2006/relationships/chart" Target="../charts/chart253.xml"/><Relationship Id="rId4" Type="http://schemas.openxmlformats.org/officeDocument/2006/relationships/image" Target="../media/image28.emf"/></Relationships>
</file>

<file path=ppt/slides/_rels/slide25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81.xml"/><Relationship Id="rId5" Type="http://schemas.openxmlformats.org/officeDocument/2006/relationships/chart" Target="../charts/chart254.xml"/><Relationship Id="rId4" Type="http://schemas.openxmlformats.org/officeDocument/2006/relationships/image" Target="../media/image28.emf"/></Relationships>
</file>

<file path=ppt/slides/_rels/slide25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82.xml"/><Relationship Id="rId5" Type="http://schemas.openxmlformats.org/officeDocument/2006/relationships/chart" Target="../charts/chart255.xml"/><Relationship Id="rId4" Type="http://schemas.openxmlformats.org/officeDocument/2006/relationships/image" Target="../media/image28.emf"/></Relationships>
</file>

<file path=ppt/slides/_rels/slide25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83.xml"/><Relationship Id="rId5" Type="http://schemas.openxmlformats.org/officeDocument/2006/relationships/chart" Target="../charts/chart256.xml"/><Relationship Id="rId4" Type="http://schemas.openxmlformats.org/officeDocument/2006/relationships/image" Target="../media/image28.emf"/></Relationships>
</file>

<file path=ppt/slides/_rels/slide25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84.xml"/><Relationship Id="rId5" Type="http://schemas.openxmlformats.org/officeDocument/2006/relationships/chart" Target="../charts/chart257.xml"/><Relationship Id="rId4" Type="http://schemas.openxmlformats.org/officeDocument/2006/relationships/image" Target="../media/image28.emf"/></Relationships>
</file>

<file path=ppt/slides/_rels/slide25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85.xml"/><Relationship Id="rId5" Type="http://schemas.openxmlformats.org/officeDocument/2006/relationships/chart" Target="../charts/chart258.xml"/><Relationship Id="rId4" Type="http://schemas.openxmlformats.org/officeDocument/2006/relationships/image" Target="../media/image28.emf"/></Relationships>
</file>

<file path=ppt/slides/_rels/slide25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86.xml"/><Relationship Id="rId5" Type="http://schemas.openxmlformats.org/officeDocument/2006/relationships/chart" Target="../charts/chart259.xml"/><Relationship Id="rId4" Type="http://schemas.openxmlformats.org/officeDocument/2006/relationships/image" Target="../media/image28.emf"/></Relationships>
</file>

<file path=ppt/slides/_rels/slide2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3.xml"/><Relationship Id="rId5" Type="http://schemas.openxmlformats.org/officeDocument/2006/relationships/chart" Target="../charts/chart26.xml"/><Relationship Id="rId4" Type="http://schemas.openxmlformats.org/officeDocument/2006/relationships/image" Target="../media/image28.emf"/></Relationships>
</file>

<file path=ppt/slides/_rels/slide26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87.xml"/><Relationship Id="rId5" Type="http://schemas.openxmlformats.org/officeDocument/2006/relationships/chart" Target="../charts/chart260.xml"/><Relationship Id="rId4" Type="http://schemas.openxmlformats.org/officeDocument/2006/relationships/image" Target="../media/image28.emf"/></Relationships>
</file>

<file path=ppt/slides/_rels/slide26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88.xml"/><Relationship Id="rId5" Type="http://schemas.openxmlformats.org/officeDocument/2006/relationships/chart" Target="../charts/chart261.xml"/><Relationship Id="rId4" Type="http://schemas.openxmlformats.org/officeDocument/2006/relationships/image" Target="../media/image28.emf"/></Relationships>
</file>

<file path=ppt/slides/_rels/slide26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89.xml"/><Relationship Id="rId5" Type="http://schemas.openxmlformats.org/officeDocument/2006/relationships/chart" Target="../charts/chart262.xml"/><Relationship Id="rId4" Type="http://schemas.openxmlformats.org/officeDocument/2006/relationships/image" Target="../media/image28.emf"/></Relationships>
</file>

<file path=ppt/slides/_rels/slide26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90.xml"/><Relationship Id="rId5" Type="http://schemas.openxmlformats.org/officeDocument/2006/relationships/chart" Target="../charts/chart263.xml"/><Relationship Id="rId4" Type="http://schemas.openxmlformats.org/officeDocument/2006/relationships/image" Target="../media/image28.emf"/></Relationships>
</file>

<file path=ppt/slides/_rels/slide26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91.xml"/><Relationship Id="rId5" Type="http://schemas.openxmlformats.org/officeDocument/2006/relationships/chart" Target="../charts/chart264.xml"/><Relationship Id="rId4" Type="http://schemas.openxmlformats.org/officeDocument/2006/relationships/image" Target="../media/image28.emf"/></Relationships>
</file>

<file path=ppt/slides/_rels/slide26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92.xml"/><Relationship Id="rId5" Type="http://schemas.openxmlformats.org/officeDocument/2006/relationships/chart" Target="../charts/chart265.xml"/><Relationship Id="rId4" Type="http://schemas.openxmlformats.org/officeDocument/2006/relationships/image" Target="../media/image28.emf"/></Relationships>
</file>

<file path=ppt/slides/_rels/slide26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93.xml"/><Relationship Id="rId5" Type="http://schemas.openxmlformats.org/officeDocument/2006/relationships/chart" Target="../charts/chart266.xml"/><Relationship Id="rId4" Type="http://schemas.openxmlformats.org/officeDocument/2006/relationships/image" Target="../media/image28.emf"/></Relationships>
</file>

<file path=ppt/slides/_rels/slide26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94.xml"/><Relationship Id="rId5" Type="http://schemas.openxmlformats.org/officeDocument/2006/relationships/chart" Target="../charts/chart267.xml"/><Relationship Id="rId4" Type="http://schemas.openxmlformats.org/officeDocument/2006/relationships/image" Target="../media/image28.emf"/></Relationships>
</file>

<file path=ppt/slides/_rels/slide26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95.xml"/><Relationship Id="rId5" Type="http://schemas.openxmlformats.org/officeDocument/2006/relationships/chart" Target="../charts/chart268.xml"/><Relationship Id="rId4" Type="http://schemas.openxmlformats.org/officeDocument/2006/relationships/image" Target="../media/image28.emf"/></Relationships>
</file>

<file path=ppt/slides/_rels/slide26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96.xml"/><Relationship Id="rId5" Type="http://schemas.openxmlformats.org/officeDocument/2006/relationships/chart" Target="../charts/chart269.xml"/><Relationship Id="rId4" Type="http://schemas.openxmlformats.org/officeDocument/2006/relationships/image" Target="../media/image28.emf"/></Relationships>
</file>

<file path=ppt/slides/_rels/slide2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4.xml"/><Relationship Id="rId5" Type="http://schemas.openxmlformats.org/officeDocument/2006/relationships/chart" Target="../charts/chart27.xml"/><Relationship Id="rId4" Type="http://schemas.openxmlformats.org/officeDocument/2006/relationships/image" Target="../media/image28.emf"/></Relationships>
</file>

<file path=ppt/slides/_rels/slide27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97.xml"/><Relationship Id="rId5" Type="http://schemas.openxmlformats.org/officeDocument/2006/relationships/chart" Target="../charts/chart270.xml"/><Relationship Id="rId4" Type="http://schemas.openxmlformats.org/officeDocument/2006/relationships/image" Target="../media/image28.emf"/></Relationships>
</file>

<file path=ppt/slides/_rels/slide27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98.xml"/><Relationship Id="rId5" Type="http://schemas.openxmlformats.org/officeDocument/2006/relationships/chart" Target="../charts/chart271.xml"/><Relationship Id="rId4" Type="http://schemas.openxmlformats.org/officeDocument/2006/relationships/image" Target="../media/image28.emf"/></Relationships>
</file>

<file path=ppt/slides/_rels/slide27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99.xml"/><Relationship Id="rId5" Type="http://schemas.openxmlformats.org/officeDocument/2006/relationships/chart" Target="../charts/chart272.xml"/><Relationship Id="rId4" Type="http://schemas.openxmlformats.org/officeDocument/2006/relationships/image" Target="../media/image28.emf"/></Relationships>
</file>

<file path=ppt/slides/_rels/slide27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00.xml"/><Relationship Id="rId5" Type="http://schemas.openxmlformats.org/officeDocument/2006/relationships/chart" Target="../charts/chart273.xml"/><Relationship Id="rId4" Type="http://schemas.openxmlformats.org/officeDocument/2006/relationships/image" Target="../media/image28.emf"/></Relationships>
</file>

<file path=ppt/slides/_rels/slide27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01.xml"/><Relationship Id="rId5" Type="http://schemas.openxmlformats.org/officeDocument/2006/relationships/chart" Target="../charts/chart274.xml"/><Relationship Id="rId4" Type="http://schemas.openxmlformats.org/officeDocument/2006/relationships/image" Target="../media/image28.emf"/></Relationships>
</file>

<file path=ppt/slides/_rels/slide27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02.xml"/><Relationship Id="rId5" Type="http://schemas.openxmlformats.org/officeDocument/2006/relationships/chart" Target="../charts/chart275.xml"/><Relationship Id="rId4" Type="http://schemas.openxmlformats.org/officeDocument/2006/relationships/image" Target="../media/image28.emf"/></Relationships>
</file>

<file path=ppt/slides/_rels/slide27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03.xml"/><Relationship Id="rId5" Type="http://schemas.openxmlformats.org/officeDocument/2006/relationships/chart" Target="../charts/chart276.xml"/><Relationship Id="rId4" Type="http://schemas.openxmlformats.org/officeDocument/2006/relationships/image" Target="../media/image28.emf"/></Relationships>
</file>

<file path=ppt/slides/_rels/slide27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04.xml"/><Relationship Id="rId5" Type="http://schemas.openxmlformats.org/officeDocument/2006/relationships/chart" Target="../charts/chart277.xml"/><Relationship Id="rId4" Type="http://schemas.openxmlformats.org/officeDocument/2006/relationships/image" Target="../media/image28.emf"/></Relationships>
</file>

<file path=ppt/slides/_rels/slide27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05.xml"/><Relationship Id="rId5" Type="http://schemas.openxmlformats.org/officeDocument/2006/relationships/chart" Target="../charts/chart278.xml"/><Relationship Id="rId4" Type="http://schemas.openxmlformats.org/officeDocument/2006/relationships/image" Target="../media/image28.emf"/></Relationships>
</file>

<file path=ppt/slides/_rels/slide27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06.xml"/><Relationship Id="rId5" Type="http://schemas.openxmlformats.org/officeDocument/2006/relationships/chart" Target="../charts/chart279.xml"/><Relationship Id="rId4" Type="http://schemas.openxmlformats.org/officeDocument/2006/relationships/image" Target="../media/image28.emf"/></Relationships>
</file>

<file path=ppt/slides/_rels/slide2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5.xml"/><Relationship Id="rId5" Type="http://schemas.openxmlformats.org/officeDocument/2006/relationships/chart" Target="../charts/chart28.xml"/><Relationship Id="rId4" Type="http://schemas.openxmlformats.org/officeDocument/2006/relationships/image" Target="../media/image28.emf"/></Relationships>
</file>

<file path=ppt/slides/_rels/slide28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07.xml"/><Relationship Id="rId5" Type="http://schemas.openxmlformats.org/officeDocument/2006/relationships/chart" Target="../charts/chart280.xml"/><Relationship Id="rId4" Type="http://schemas.openxmlformats.org/officeDocument/2006/relationships/image" Target="../media/image28.emf"/></Relationships>
</file>

<file path=ppt/slides/_rels/slide28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08.xml"/><Relationship Id="rId5" Type="http://schemas.openxmlformats.org/officeDocument/2006/relationships/chart" Target="../charts/chart281.xml"/><Relationship Id="rId4" Type="http://schemas.openxmlformats.org/officeDocument/2006/relationships/image" Target="../media/image28.emf"/></Relationships>
</file>

<file path=ppt/slides/_rels/slide28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09.xml"/><Relationship Id="rId5" Type="http://schemas.openxmlformats.org/officeDocument/2006/relationships/chart" Target="../charts/chart282.xml"/><Relationship Id="rId4" Type="http://schemas.openxmlformats.org/officeDocument/2006/relationships/image" Target="../media/image28.emf"/></Relationships>
</file>

<file path=ppt/slides/_rels/slide28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10.xml"/><Relationship Id="rId5" Type="http://schemas.openxmlformats.org/officeDocument/2006/relationships/chart" Target="../charts/chart283.xml"/><Relationship Id="rId4" Type="http://schemas.openxmlformats.org/officeDocument/2006/relationships/image" Target="../media/image28.emf"/></Relationships>
</file>

<file path=ppt/slides/_rels/slide28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11.xml"/><Relationship Id="rId5" Type="http://schemas.openxmlformats.org/officeDocument/2006/relationships/chart" Target="../charts/chart284.xml"/><Relationship Id="rId4" Type="http://schemas.openxmlformats.org/officeDocument/2006/relationships/image" Target="../media/image28.emf"/></Relationships>
</file>

<file path=ppt/slides/_rels/slide28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12.xml"/><Relationship Id="rId5" Type="http://schemas.openxmlformats.org/officeDocument/2006/relationships/chart" Target="../charts/chart285.xml"/><Relationship Id="rId4" Type="http://schemas.openxmlformats.org/officeDocument/2006/relationships/image" Target="../media/image28.emf"/></Relationships>
</file>

<file path=ppt/slides/_rels/slide28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13.xml"/><Relationship Id="rId5" Type="http://schemas.openxmlformats.org/officeDocument/2006/relationships/chart" Target="../charts/chart286.xml"/><Relationship Id="rId4" Type="http://schemas.openxmlformats.org/officeDocument/2006/relationships/image" Target="../media/image28.emf"/></Relationships>
</file>

<file path=ppt/slides/_rels/slide28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14.xml"/><Relationship Id="rId5" Type="http://schemas.openxmlformats.org/officeDocument/2006/relationships/chart" Target="../charts/chart287.xml"/><Relationship Id="rId4" Type="http://schemas.openxmlformats.org/officeDocument/2006/relationships/image" Target="../media/image28.emf"/></Relationships>
</file>

<file path=ppt/slides/_rels/slide28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15.xml"/><Relationship Id="rId5" Type="http://schemas.openxmlformats.org/officeDocument/2006/relationships/chart" Target="../charts/chart288.xml"/><Relationship Id="rId4" Type="http://schemas.openxmlformats.org/officeDocument/2006/relationships/image" Target="../media/image28.emf"/></Relationships>
</file>

<file path=ppt/slides/_rels/slide28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16.xml"/><Relationship Id="rId5" Type="http://schemas.openxmlformats.org/officeDocument/2006/relationships/chart" Target="../charts/chart289.xml"/><Relationship Id="rId4" Type="http://schemas.openxmlformats.org/officeDocument/2006/relationships/image" Target="../media/image28.emf"/></Relationships>
</file>

<file path=ppt/slides/_rels/slide2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6.xml"/><Relationship Id="rId5" Type="http://schemas.openxmlformats.org/officeDocument/2006/relationships/chart" Target="../charts/chart29.xml"/><Relationship Id="rId4" Type="http://schemas.openxmlformats.org/officeDocument/2006/relationships/image" Target="../media/image28.emf"/></Relationships>
</file>

<file path=ppt/slides/_rels/slide29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17.xml"/><Relationship Id="rId5" Type="http://schemas.openxmlformats.org/officeDocument/2006/relationships/chart" Target="../charts/chart290.xml"/><Relationship Id="rId4" Type="http://schemas.openxmlformats.org/officeDocument/2006/relationships/image" Target="../media/image28.emf"/></Relationships>
</file>

<file path=ppt/slides/_rels/slide29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18.xml"/><Relationship Id="rId5" Type="http://schemas.openxmlformats.org/officeDocument/2006/relationships/chart" Target="../charts/chart291.xml"/><Relationship Id="rId4" Type="http://schemas.openxmlformats.org/officeDocument/2006/relationships/image" Target="../media/image28.emf"/></Relationships>
</file>

<file path=ppt/slides/_rels/slide29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19.xml"/><Relationship Id="rId5" Type="http://schemas.openxmlformats.org/officeDocument/2006/relationships/chart" Target="../charts/chart292.xml"/><Relationship Id="rId4" Type="http://schemas.openxmlformats.org/officeDocument/2006/relationships/image" Target="../media/image28.emf"/></Relationships>
</file>

<file path=ppt/slides/_rels/slide29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20.xml"/><Relationship Id="rId5" Type="http://schemas.openxmlformats.org/officeDocument/2006/relationships/chart" Target="../charts/chart293.xml"/><Relationship Id="rId4" Type="http://schemas.openxmlformats.org/officeDocument/2006/relationships/image" Target="../media/image28.emf"/></Relationships>
</file>

<file path=ppt/slides/_rels/slide29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21.xml"/><Relationship Id="rId5" Type="http://schemas.openxmlformats.org/officeDocument/2006/relationships/chart" Target="../charts/chart294.xml"/><Relationship Id="rId4" Type="http://schemas.openxmlformats.org/officeDocument/2006/relationships/image" Target="../media/image28.emf"/></Relationships>
</file>

<file path=ppt/slides/_rels/slide29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22.xml"/><Relationship Id="rId5" Type="http://schemas.openxmlformats.org/officeDocument/2006/relationships/chart" Target="../charts/chart295.xml"/><Relationship Id="rId4" Type="http://schemas.openxmlformats.org/officeDocument/2006/relationships/image" Target="../media/image28.emf"/></Relationships>
</file>

<file path=ppt/slides/_rels/slide29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23.xml"/><Relationship Id="rId5" Type="http://schemas.openxmlformats.org/officeDocument/2006/relationships/chart" Target="../charts/chart296.xml"/><Relationship Id="rId4" Type="http://schemas.openxmlformats.org/officeDocument/2006/relationships/image" Target="../media/image28.emf"/></Relationships>
</file>

<file path=ppt/slides/_rels/slide29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24.xml"/><Relationship Id="rId5" Type="http://schemas.openxmlformats.org/officeDocument/2006/relationships/chart" Target="../charts/chart297.xml"/><Relationship Id="rId4" Type="http://schemas.openxmlformats.org/officeDocument/2006/relationships/image" Target="../media/image28.emf"/></Relationships>
</file>

<file path=ppt/slides/_rels/slide29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25.xml"/><Relationship Id="rId5" Type="http://schemas.openxmlformats.org/officeDocument/2006/relationships/chart" Target="../charts/chart298.xml"/><Relationship Id="rId4" Type="http://schemas.openxmlformats.org/officeDocument/2006/relationships/image" Target="../media/image28.emf"/></Relationships>
</file>

<file path=ppt/slides/_rels/slide29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26.xml"/><Relationship Id="rId5" Type="http://schemas.openxmlformats.org/officeDocument/2006/relationships/chart" Target="../charts/chart299.xml"/><Relationship Id="rId4" Type="http://schemas.openxmlformats.org/officeDocument/2006/relationships/image" Target="../media/image28.emf"/></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0.xml"/><Relationship Id="rId5" Type="http://schemas.openxmlformats.org/officeDocument/2006/relationships/chart" Target="../charts/chart3.xml"/><Relationship Id="rId4" Type="http://schemas.openxmlformats.org/officeDocument/2006/relationships/image" Target="../media/image28.emf"/></Relationships>
</file>

<file path=ppt/slides/_rels/slide3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7.xml"/><Relationship Id="rId5" Type="http://schemas.openxmlformats.org/officeDocument/2006/relationships/chart" Target="../charts/chart30.xml"/><Relationship Id="rId4" Type="http://schemas.openxmlformats.org/officeDocument/2006/relationships/image" Target="../media/image28.emf"/></Relationships>
</file>

<file path=ppt/slides/_rels/slide30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27.xml"/><Relationship Id="rId5" Type="http://schemas.openxmlformats.org/officeDocument/2006/relationships/chart" Target="../charts/chart300.xml"/><Relationship Id="rId4" Type="http://schemas.openxmlformats.org/officeDocument/2006/relationships/image" Target="../media/image28.emf"/></Relationships>
</file>

<file path=ppt/slides/_rels/slide30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28.xml"/><Relationship Id="rId5" Type="http://schemas.openxmlformats.org/officeDocument/2006/relationships/chart" Target="../charts/chart301.xml"/><Relationship Id="rId4" Type="http://schemas.openxmlformats.org/officeDocument/2006/relationships/image" Target="../media/image28.emf"/></Relationships>
</file>

<file path=ppt/slides/_rels/slide30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29.xml"/><Relationship Id="rId5" Type="http://schemas.openxmlformats.org/officeDocument/2006/relationships/chart" Target="../charts/chart302.xml"/><Relationship Id="rId4" Type="http://schemas.openxmlformats.org/officeDocument/2006/relationships/image" Target="../media/image28.emf"/></Relationships>
</file>

<file path=ppt/slides/_rels/slide30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30.xml"/><Relationship Id="rId5" Type="http://schemas.openxmlformats.org/officeDocument/2006/relationships/chart" Target="../charts/chart303.xml"/><Relationship Id="rId4" Type="http://schemas.openxmlformats.org/officeDocument/2006/relationships/image" Target="../media/image28.emf"/></Relationships>
</file>

<file path=ppt/slides/_rels/slide30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31.xml"/><Relationship Id="rId5" Type="http://schemas.openxmlformats.org/officeDocument/2006/relationships/chart" Target="../charts/chart304.xml"/><Relationship Id="rId4" Type="http://schemas.openxmlformats.org/officeDocument/2006/relationships/image" Target="../media/image28.emf"/></Relationships>
</file>

<file path=ppt/slides/_rels/slide30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32.xml"/><Relationship Id="rId5" Type="http://schemas.openxmlformats.org/officeDocument/2006/relationships/chart" Target="../charts/chart305.xml"/><Relationship Id="rId4" Type="http://schemas.openxmlformats.org/officeDocument/2006/relationships/image" Target="../media/image28.emf"/></Relationships>
</file>

<file path=ppt/slides/_rels/slide30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33.xml"/><Relationship Id="rId5" Type="http://schemas.openxmlformats.org/officeDocument/2006/relationships/chart" Target="../charts/chart306.xml"/><Relationship Id="rId4" Type="http://schemas.openxmlformats.org/officeDocument/2006/relationships/image" Target="../media/image28.emf"/></Relationships>
</file>

<file path=ppt/slides/_rels/slide30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34.xml"/><Relationship Id="rId5" Type="http://schemas.openxmlformats.org/officeDocument/2006/relationships/chart" Target="../charts/chart307.xml"/><Relationship Id="rId4" Type="http://schemas.openxmlformats.org/officeDocument/2006/relationships/image" Target="../media/image28.emf"/></Relationships>
</file>

<file path=ppt/slides/_rels/slide30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35.xml"/><Relationship Id="rId5" Type="http://schemas.openxmlformats.org/officeDocument/2006/relationships/chart" Target="../charts/chart308.xml"/><Relationship Id="rId4" Type="http://schemas.openxmlformats.org/officeDocument/2006/relationships/image" Target="../media/image28.emf"/></Relationships>
</file>

<file path=ppt/slides/_rels/slide30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36.xml"/><Relationship Id="rId5" Type="http://schemas.openxmlformats.org/officeDocument/2006/relationships/chart" Target="../charts/chart309.xml"/><Relationship Id="rId4" Type="http://schemas.openxmlformats.org/officeDocument/2006/relationships/image" Target="../media/image28.emf"/></Relationships>
</file>

<file path=ppt/slides/_rels/slide3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8.xml"/><Relationship Id="rId5" Type="http://schemas.openxmlformats.org/officeDocument/2006/relationships/chart" Target="../charts/chart31.xml"/><Relationship Id="rId4" Type="http://schemas.openxmlformats.org/officeDocument/2006/relationships/image" Target="../media/image28.emf"/></Relationships>
</file>

<file path=ppt/slides/_rels/slide31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37.xml"/><Relationship Id="rId5" Type="http://schemas.openxmlformats.org/officeDocument/2006/relationships/chart" Target="../charts/chart310.xml"/><Relationship Id="rId4" Type="http://schemas.openxmlformats.org/officeDocument/2006/relationships/image" Target="../media/image28.emf"/></Relationships>
</file>

<file path=ppt/slides/_rels/slide31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38.xml"/><Relationship Id="rId5" Type="http://schemas.openxmlformats.org/officeDocument/2006/relationships/chart" Target="../charts/chart311.xml"/><Relationship Id="rId4" Type="http://schemas.openxmlformats.org/officeDocument/2006/relationships/image" Target="../media/image28.emf"/></Relationships>
</file>

<file path=ppt/slides/_rels/slide31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39.xml"/><Relationship Id="rId5" Type="http://schemas.openxmlformats.org/officeDocument/2006/relationships/chart" Target="../charts/chart312.xml"/><Relationship Id="rId4" Type="http://schemas.openxmlformats.org/officeDocument/2006/relationships/image" Target="../media/image28.emf"/></Relationships>
</file>

<file path=ppt/slides/_rels/slide31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40.xml"/><Relationship Id="rId5" Type="http://schemas.openxmlformats.org/officeDocument/2006/relationships/chart" Target="../charts/chart313.xml"/><Relationship Id="rId4" Type="http://schemas.openxmlformats.org/officeDocument/2006/relationships/image" Target="../media/image28.emf"/></Relationships>
</file>

<file path=ppt/slides/_rels/slide31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41.xml"/><Relationship Id="rId5" Type="http://schemas.openxmlformats.org/officeDocument/2006/relationships/chart" Target="../charts/chart314.xml"/><Relationship Id="rId4" Type="http://schemas.openxmlformats.org/officeDocument/2006/relationships/image" Target="../media/image28.emf"/></Relationships>
</file>

<file path=ppt/slides/_rels/slide31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42.xml"/><Relationship Id="rId5" Type="http://schemas.openxmlformats.org/officeDocument/2006/relationships/chart" Target="../charts/chart315.xml"/><Relationship Id="rId4" Type="http://schemas.openxmlformats.org/officeDocument/2006/relationships/image" Target="../media/image28.emf"/></Relationships>
</file>

<file path=ppt/slides/_rels/slide31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43.xml"/><Relationship Id="rId5" Type="http://schemas.openxmlformats.org/officeDocument/2006/relationships/chart" Target="../charts/chart316.xml"/><Relationship Id="rId4" Type="http://schemas.openxmlformats.org/officeDocument/2006/relationships/image" Target="../media/image28.emf"/></Relationships>
</file>

<file path=ppt/slides/_rels/slide31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44.xml"/><Relationship Id="rId5" Type="http://schemas.openxmlformats.org/officeDocument/2006/relationships/chart" Target="../charts/chart317.xml"/><Relationship Id="rId4" Type="http://schemas.openxmlformats.org/officeDocument/2006/relationships/image" Target="../media/image28.emf"/></Relationships>
</file>

<file path=ppt/slides/_rels/slide31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45.xml"/><Relationship Id="rId5" Type="http://schemas.openxmlformats.org/officeDocument/2006/relationships/chart" Target="../charts/chart318.xml"/><Relationship Id="rId4" Type="http://schemas.openxmlformats.org/officeDocument/2006/relationships/image" Target="../media/image28.emf"/></Relationships>
</file>

<file path=ppt/slides/_rels/slide31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46.xml"/><Relationship Id="rId5" Type="http://schemas.openxmlformats.org/officeDocument/2006/relationships/chart" Target="../charts/chart319.xml"/><Relationship Id="rId4" Type="http://schemas.openxmlformats.org/officeDocument/2006/relationships/image" Target="../media/image28.emf"/></Relationships>
</file>

<file path=ppt/slides/_rels/slide3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9.xml"/><Relationship Id="rId5" Type="http://schemas.openxmlformats.org/officeDocument/2006/relationships/chart" Target="../charts/chart32.xml"/><Relationship Id="rId4" Type="http://schemas.openxmlformats.org/officeDocument/2006/relationships/image" Target="../media/image28.emf"/></Relationships>
</file>

<file path=ppt/slides/_rels/slide32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47.xml"/><Relationship Id="rId5" Type="http://schemas.openxmlformats.org/officeDocument/2006/relationships/chart" Target="../charts/chart320.xml"/><Relationship Id="rId4" Type="http://schemas.openxmlformats.org/officeDocument/2006/relationships/image" Target="../media/image28.emf"/></Relationships>
</file>

<file path=ppt/slides/_rels/slide32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48.xml"/><Relationship Id="rId5" Type="http://schemas.openxmlformats.org/officeDocument/2006/relationships/chart" Target="../charts/chart321.xml"/><Relationship Id="rId4" Type="http://schemas.openxmlformats.org/officeDocument/2006/relationships/image" Target="../media/image28.emf"/></Relationships>
</file>

<file path=ppt/slides/_rels/slide32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49.xml"/><Relationship Id="rId5" Type="http://schemas.openxmlformats.org/officeDocument/2006/relationships/chart" Target="../charts/chart322.xml"/><Relationship Id="rId4" Type="http://schemas.openxmlformats.org/officeDocument/2006/relationships/image" Target="../media/image28.emf"/></Relationships>
</file>

<file path=ppt/slides/_rels/slide32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50.xml"/><Relationship Id="rId5" Type="http://schemas.openxmlformats.org/officeDocument/2006/relationships/chart" Target="../charts/chart323.xml"/><Relationship Id="rId4" Type="http://schemas.openxmlformats.org/officeDocument/2006/relationships/image" Target="../media/image28.emf"/></Relationships>
</file>

<file path=ppt/slides/_rels/slide32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51.xml"/><Relationship Id="rId5" Type="http://schemas.openxmlformats.org/officeDocument/2006/relationships/chart" Target="../charts/chart324.xml"/><Relationship Id="rId4" Type="http://schemas.openxmlformats.org/officeDocument/2006/relationships/image" Target="../media/image28.emf"/></Relationships>
</file>

<file path=ppt/slides/_rels/slide32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52.xml"/><Relationship Id="rId5" Type="http://schemas.openxmlformats.org/officeDocument/2006/relationships/chart" Target="../charts/chart325.xml"/><Relationship Id="rId4" Type="http://schemas.openxmlformats.org/officeDocument/2006/relationships/image" Target="../media/image28.emf"/></Relationships>
</file>

<file path=ppt/slides/_rels/slide32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53.xml"/><Relationship Id="rId5" Type="http://schemas.openxmlformats.org/officeDocument/2006/relationships/chart" Target="../charts/chart326.xml"/><Relationship Id="rId4" Type="http://schemas.openxmlformats.org/officeDocument/2006/relationships/image" Target="../media/image28.emf"/></Relationships>
</file>

<file path=ppt/slides/_rels/slide32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54.xml"/><Relationship Id="rId5" Type="http://schemas.openxmlformats.org/officeDocument/2006/relationships/chart" Target="../charts/chart327.xml"/><Relationship Id="rId4" Type="http://schemas.openxmlformats.org/officeDocument/2006/relationships/image" Target="../media/image28.emf"/></Relationships>
</file>

<file path=ppt/slides/_rels/slide32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55.xml"/><Relationship Id="rId5" Type="http://schemas.openxmlformats.org/officeDocument/2006/relationships/chart" Target="../charts/chart328.xml"/><Relationship Id="rId4" Type="http://schemas.openxmlformats.org/officeDocument/2006/relationships/image" Target="../media/image28.emf"/></Relationships>
</file>

<file path=ppt/slides/_rels/slide32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56.xml"/><Relationship Id="rId5" Type="http://schemas.openxmlformats.org/officeDocument/2006/relationships/chart" Target="../charts/chart329.xml"/><Relationship Id="rId4" Type="http://schemas.openxmlformats.org/officeDocument/2006/relationships/image" Target="../media/image28.emf"/></Relationships>
</file>

<file path=ppt/slides/_rels/slide3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0.xml"/><Relationship Id="rId5" Type="http://schemas.openxmlformats.org/officeDocument/2006/relationships/chart" Target="../charts/chart33.xml"/><Relationship Id="rId4" Type="http://schemas.openxmlformats.org/officeDocument/2006/relationships/image" Target="../media/image28.emf"/></Relationships>
</file>

<file path=ppt/slides/_rels/slide33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57.xml"/><Relationship Id="rId5" Type="http://schemas.openxmlformats.org/officeDocument/2006/relationships/chart" Target="../charts/chart330.xml"/><Relationship Id="rId4" Type="http://schemas.openxmlformats.org/officeDocument/2006/relationships/image" Target="../media/image28.emf"/></Relationships>
</file>

<file path=ppt/slides/_rels/slide33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58.xml"/><Relationship Id="rId5" Type="http://schemas.openxmlformats.org/officeDocument/2006/relationships/chart" Target="../charts/chart331.xml"/><Relationship Id="rId4" Type="http://schemas.openxmlformats.org/officeDocument/2006/relationships/image" Target="../media/image28.emf"/></Relationships>
</file>

<file path=ppt/slides/_rels/slide33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59.xml"/><Relationship Id="rId5" Type="http://schemas.openxmlformats.org/officeDocument/2006/relationships/chart" Target="../charts/chart332.xml"/><Relationship Id="rId4" Type="http://schemas.openxmlformats.org/officeDocument/2006/relationships/image" Target="../media/image28.emf"/></Relationships>
</file>

<file path=ppt/slides/_rels/slide33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60.xml"/><Relationship Id="rId5" Type="http://schemas.openxmlformats.org/officeDocument/2006/relationships/chart" Target="../charts/chart333.xml"/><Relationship Id="rId4" Type="http://schemas.openxmlformats.org/officeDocument/2006/relationships/image" Target="../media/image28.emf"/></Relationships>
</file>

<file path=ppt/slides/_rels/slide33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61.xml"/><Relationship Id="rId5" Type="http://schemas.openxmlformats.org/officeDocument/2006/relationships/chart" Target="../charts/chart334.xml"/><Relationship Id="rId4" Type="http://schemas.openxmlformats.org/officeDocument/2006/relationships/image" Target="../media/image28.emf"/></Relationships>
</file>

<file path=ppt/slides/_rels/slide33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62.xml"/><Relationship Id="rId5" Type="http://schemas.openxmlformats.org/officeDocument/2006/relationships/chart" Target="../charts/chart335.xml"/><Relationship Id="rId4" Type="http://schemas.openxmlformats.org/officeDocument/2006/relationships/image" Target="../media/image28.emf"/></Relationships>
</file>

<file path=ppt/slides/_rels/slide33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63.xml"/><Relationship Id="rId5" Type="http://schemas.openxmlformats.org/officeDocument/2006/relationships/chart" Target="../charts/chart336.xml"/><Relationship Id="rId4" Type="http://schemas.openxmlformats.org/officeDocument/2006/relationships/image" Target="../media/image28.emf"/></Relationships>
</file>

<file path=ppt/slides/_rels/slide33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64.xml"/><Relationship Id="rId5" Type="http://schemas.openxmlformats.org/officeDocument/2006/relationships/chart" Target="../charts/chart337.xml"/><Relationship Id="rId4" Type="http://schemas.openxmlformats.org/officeDocument/2006/relationships/image" Target="../media/image28.emf"/></Relationships>
</file>

<file path=ppt/slides/_rels/slide33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65.xml"/><Relationship Id="rId5" Type="http://schemas.openxmlformats.org/officeDocument/2006/relationships/chart" Target="../charts/chart338.xml"/><Relationship Id="rId4" Type="http://schemas.openxmlformats.org/officeDocument/2006/relationships/image" Target="../media/image28.emf"/></Relationships>
</file>

<file path=ppt/slides/_rels/slide33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66.xml"/><Relationship Id="rId5" Type="http://schemas.openxmlformats.org/officeDocument/2006/relationships/chart" Target="../charts/chart339.xml"/><Relationship Id="rId4" Type="http://schemas.openxmlformats.org/officeDocument/2006/relationships/image" Target="../media/image28.emf"/></Relationships>
</file>

<file path=ppt/slides/_rels/slide3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1.xml"/><Relationship Id="rId5" Type="http://schemas.openxmlformats.org/officeDocument/2006/relationships/chart" Target="../charts/chart34.xml"/><Relationship Id="rId4" Type="http://schemas.openxmlformats.org/officeDocument/2006/relationships/image" Target="../media/image28.emf"/></Relationships>
</file>

<file path=ppt/slides/_rels/slide34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67.xml"/><Relationship Id="rId5" Type="http://schemas.openxmlformats.org/officeDocument/2006/relationships/chart" Target="../charts/chart340.xml"/><Relationship Id="rId4" Type="http://schemas.openxmlformats.org/officeDocument/2006/relationships/image" Target="../media/image28.emf"/></Relationships>
</file>

<file path=ppt/slides/_rels/slide34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68.xml"/><Relationship Id="rId5" Type="http://schemas.openxmlformats.org/officeDocument/2006/relationships/chart" Target="../charts/chart341.xml"/><Relationship Id="rId4" Type="http://schemas.openxmlformats.org/officeDocument/2006/relationships/image" Target="../media/image28.emf"/></Relationships>
</file>

<file path=ppt/slides/_rels/slide34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69.xml"/><Relationship Id="rId5" Type="http://schemas.openxmlformats.org/officeDocument/2006/relationships/chart" Target="../charts/chart342.xml"/><Relationship Id="rId4" Type="http://schemas.openxmlformats.org/officeDocument/2006/relationships/image" Target="../media/image28.emf"/></Relationships>
</file>

<file path=ppt/slides/_rels/slide34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70.xml"/><Relationship Id="rId5" Type="http://schemas.openxmlformats.org/officeDocument/2006/relationships/chart" Target="../charts/chart343.xml"/><Relationship Id="rId4" Type="http://schemas.openxmlformats.org/officeDocument/2006/relationships/image" Target="../media/image28.emf"/></Relationships>
</file>

<file path=ppt/slides/_rels/slide34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71.xml"/><Relationship Id="rId5" Type="http://schemas.openxmlformats.org/officeDocument/2006/relationships/chart" Target="../charts/chart344.xml"/><Relationship Id="rId4" Type="http://schemas.openxmlformats.org/officeDocument/2006/relationships/image" Target="../media/image28.emf"/></Relationships>
</file>

<file path=ppt/slides/_rels/slide34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72.xml"/><Relationship Id="rId5" Type="http://schemas.openxmlformats.org/officeDocument/2006/relationships/chart" Target="../charts/chart345.xml"/><Relationship Id="rId4" Type="http://schemas.openxmlformats.org/officeDocument/2006/relationships/image" Target="../media/image28.emf"/></Relationships>
</file>

<file path=ppt/slides/_rels/slide34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73.xml"/><Relationship Id="rId5" Type="http://schemas.openxmlformats.org/officeDocument/2006/relationships/chart" Target="../charts/chart346.xml"/><Relationship Id="rId4" Type="http://schemas.openxmlformats.org/officeDocument/2006/relationships/image" Target="../media/image28.emf"/></Relationships>
</file>

<file path=ppt/slides/_rels/slide34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74.xml"/><Relationship Id="rId5" Type="http://schemas.openxmlformats.org/officeDocument/2006/relationships/chart" Target="../charts/chart347.xml"/><Relationship Id="rId4" Type="http://schemas.openxmlformats.org/officeDocument/2006/relationships/image" Target="../media/image28.emf"/></Relationships>
</file>

<file path=ppt/slides/_rels/slide34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75.xml"/><Relationship Id="rId5" Type="http://schemas.openxmlformats.org/officeDocument/2006/relationships/chart" Target="../charts/chart348.xml"/><Relationship Id="rId4" Type="http://schemas.openxmlformats.org/officeDocument/2006/relationships/image" Target="../media/image28.emf"/></Relationships>
</file>

<file path=ppt/slides/_rels/slide34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76.xml"/><Relationship Id="rId5" Type="http://schemas.openxmlformats.org/officeDocument/2006/relationships/chart" Target="../charts/chart349.xml"/><Relationship Id="rId4" Type="http://schemas.openxmlformats.org/officeDocument/2006/relationships/image" Target="../media/image28.emf"/></Relationships>
</file>

<file path=ppt/slides/_rels/slide3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2.xml"/><Relationship Id="rId5" Type="http://schemas.openxmlformats.org/officeDocument/2006/relationships/chart" Target="../charts/chart35.xml"/><Relationship Id="rId4" Type="http://schemas.openxmlformats.org/officeDocument/2006/relationships/image" Target="../media/image28.emf"/></Relationships>
</file>

<file path=ppt/slides/_rels/slide35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77.xml"/><Relationship Id="rId5" Type="http://schemas.openxmlformats.org/officeDocument/2006/relationships/chart" Target="../charts/chart350.xml"/><Relationship Id="rId4" Type="http://schemas.openxmlformats.org/officeDocument/2006/relationships/image" Target="../media/image28.emf"/></Relationships>
</file>

<file path=ppt/slides/_rels/slide35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78.xml"/><Relationship Id="rId5" Type="http://schemas.openxmlformats.org/officeDocument/2006/relationships/chart" Target="../charts/chart351.xml"/><Relationship Id="rId4" Type="http://schemas.openxmlformats.org/officeDocument/2006/relationships/image" Target="../media/image28.emf"/></Relationships>
</file>

<file path=ppt/slides/_rels/slide35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79.xml"/><Relationship Id="rId5" Type="http://schemas.openxmlformats.org/officeDocument/2006/relationships/chart" Target="../charts/chart352.xml"/><Relationship Id="rId4" Type="http://schemas.openxmlformats.org/officeDocument/2006/relationships/image" Target="../media/image28.emf"/></Relationships>
</file>

<file path=ppt/slides/_rels/slide35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80.xml"/><Relationship Id="rId5" Type="http://schemas.openxmlformats.org/officeDocument/2006/relationships/chart" Target="../charts/chart353.xml"/><Relationship Id="rId4" Type="http://schemas.openxmlformats.org/officeDocument/2006/relationships/image" Target="../media/image28.emf"/></Relationships>
</file>

<file path=ppt/slides/_rels/slide35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81.xml"/><Relationship Id="rId5" Type="http://schemas.openxmlformats.org/officeDocument/2006/relationships/chart" Target="../charts/chart354.xml"/><Relationship Id="rId4" Type="http://schemas.openxmlformats.org/officeDocument/2006/relationships/image" Target="../media/image28.emf"/></Relationships>
</file>

<file path=ppt/slides/_rels/slide35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82.xml"/><Relationship Id="rId5" Type="http://schemas.openxmlformats.org/officeDocument/2006/relationships/chart" Target="../charts/chart355.xml"/><Relationship Id="rId4" Type="http://schemas.openxmlformats.org/officeDocument/2006/relationships/image" Target="../media/image28.emf"/></Relationships>
</file>

<file path=ppt/slides/_rels/slide35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83.xml"/><Relationship Id="rId5" Type="http://schemas.openxmlformats.org/officeDocument/2006/relationships/chart" Target="../charts/chart356.xml"/><Relationship Id="rId4" Type="http://schemas.openxmlformats.org/officeDocument/2006/relationships/image" Target="../media/image28.emf"/></Relationships>
</file>

<file path=ppt/slides/_rels/slide35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84.xml"/><Relationship Id="rId5" Type="http://schemas.openxmlformats.org/officeDocument/2006/relationships/chart" Target="../charts/chart357.xml"/><Relationship Id="rId4" Type="http://schemas.openxmlformats.org/officeDocument/2006/relationships/image" Target="../media/image28.emf"/></Relationships>
</file>

<file path=ppt/slides/_rels/slide35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85.xml"/><Relationship Id="rId5" Type="http://schemas.openxmlformats.org/officeDocument/2006/relationships/chart" Target="../charts/chart358.xml"/><Relationship Id="rId4" Type="http://schemas.openxmlformats.org/officeDocument/2006/relationships/image" Target="../media/image28.emf"/></Relationships>
</file>

<file path=ppt/slides/_rels/slide35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86.xml"/><Relationship Id="rId5" Type="http://schemas.openxmlformats.org/officeDocument/2006/relationships/chart" Target="../charts/chart359.xml"/><Relationship Id="rId4" Type="http://schemas.openxmlformats.org/officeDocument/2006/relationships/image" Target="../media/image28.emf"/></Relationships>
</file>

<file path=ppt/slides/_rels/slide3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3.xml"/><Relationship Id="rId5" Type="http://schemas.openxmlformats.org/officeDocument/2006/relationships/chart" Target="../charts/chart36.xml"/><Relationship Id="rId4" Type="http://schemas.openxmlformats.org/officeDocument/2006/relationships/image" Target="../media/image28.emf"/></Relationships>
</file>

<file path=ppt/slides/_rels/slide36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87.xml"/><Relationship Id="rId5" Type="http://schemas.openxmlformats.org/officeDocument/2006/relationships/chart" Target="../charts/chart360.xml"/><Relationship Id="rId4" Type="http://schemas.openxmlformats.org/officeDocument/2006/relationships/image" Target="../media/image28.emf"/></Relationships>
</file>

<file path=ppt/slides/_rels/slide36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88.xml"/><Relationship Id="rId5" Type="http://schemas.openxmlformats.org/officeDocument/2006/relationships/chart" Target="../charts/chart361.xml"/><Relationship Id="rId4" Type="http://schemas.openxmlformats.org/officeDocument/2006/relationships/image" Target="../media/image28.emf"/></Relationships>
</file>

<file path=ppt/slides/_rels/slide36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89.xml"/><Relationship Id="rId5" Type="http://schemas.openxmlformats.org/officeDocument/2006/relationships/chart" Target="../charts/chart362.xml"/><Relationship Id="rId4" Type="http://schemas.openxmlformats.org/officeDocument/2006/relationships/image" Target="../media/image28.emf"/></Relationships>
</file>

<file path=ppt/slides/_rels/slide36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90.xml"/><Relationship Id="rId5" Type="http://schemas.openxmlformats.org/officeDocument/2006/relationships/chart" Target="../charts/chart363.xml"/><Relationship Id="rId4" Type="http://schemas.openxmlformats.org/officeDocument/2006/relationships/image" Target="../media/image28.emf"/></Relationships>
</file>

<file path=ppt/slides/_rels/slide36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91.xml"/><Relationship Id="rId5" Type="http://schemas.openxmlformats.org/officeDocument/2006/relationships/chart" Target="../charts/chart364.xml"/><Relationship Id="rId4" Type="http://schemas.openxmlformats.org/officeDocument/2006/relationships/image" Target="../media/image28.emf"/></Relationships>
</file>

<file path=ppt/slides/_rels/slide36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92.xml"/><Relationship Id="rId5" Type="http://schemas.openxmlformats.org/officeDocument/2006/relationships/chart" Target="../charts/chart365.xml"/><Relationship Id="rId4" Type="http://schemas.openxmlformats.org/officeDocument/2006/relationships/image" Target="../media/image28.emf"/></Relationships>
</file>

<file path=ppt/slides/_rels/slide36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93.xml"/><Relationship Id="rId5" Type="http://schemas.openxmlformats.org/officeDocument/2006/relationships/chart" Target="../charts/chart366.xml"/><Relationship Id="rId4" Type="http://schemas.openxmlformats.org/officeDocument/2006/relationships/image" Target="../media/image28.emf"/></Relationships>
</file>

<file path=ppt/slides/_rels/slide36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94.xml"/><Relationship Id="rId5" Type="http://schemas.openxmlformats.org/officeDocument/2006/relationships/chart" Target="../charts/chart367.xml"/><Relationship Id="rId4" Type="http://schemas.openxmlformats.org/officeDocument/2006/relationships/image" Target="../media/image28.emf"/></Relationships>
</file>

<file path=ppt/slides/_rels/slide36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95.xml"/><Relationship Id="rId5" Type="http://schemas.openxmlformats.org/officeDocument/2006/relationships/chart" Target="../charts/chart368.xml"/><Relationship Id="rId4" Type="http://schemas.openxmlformats.org/officeDocument/2006/relationships/image" Target="../media/image28.emf"/></Relationships>
</file>

<file path=ppt/slides/_rels/slide36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96.xml"/><Relationship Id="rId5" Type="http://schemas.openxmlformats.org/officeDocument/2006/relationships/chart" Target="../charts/chart369.xml"/><Relationship Id="rId4" Type="http://schemas.openxmlformats.org/officeDocument/2006/relationships/image" Target="../media/image28.emf"/></Relationships>
</file>

<file path=ppt/slides/_rels/slide3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4.xml"/><Relationship Id="rId5" Type="http://schemas.openxmlformats.org/officeDocument/2006/relationships/chart" Target="../charts/chart37.xml"/><Relationship Id="rId4" Type="http://schemas.openxmlformats.org/officeDocument/2006/relationships/image" Target="../media/image28.emf"/></Relationships>
</file>

<file path=ppt/slides/_rels/slide37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97.xml"/><Relationship Id="rId5" Type="http://schemas.openxmlformats.org/officeDocument/2006/relationships/chart" Target="../charts/chart370.xml"/><Relationship Id="rId4" Type="http://schemas.openxmlformats.org/officeDocument/2006/relationships/image" Target="../media/image28.emf"/></Relationships>
</file>

<file path=ppt/slides/_rels/slide37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98.xml"/><Relationship Id="rId5" Type="http://schemas.openxmlformats.org/officeDocument/2006/relationships/chart" Target="../charts/chart371.xml"/><Relationship Id="rId4" Type="http://schemas.openxmlformats.org/officeDocument/2006/relationships/image" Target="../media/image28.emf"/></Relationships>
</file>

<file path=ppt/slides/_rels/slide37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99.xml"/><Relationship Id="rId5" Type="http://schemas.openxmlformats.org/officeDocument/2006/relationships/chart" Target="../charts/chart372.xml"/><Relationship Id="rId4" Type="http://schemas.openxmlformats.org/officeDocument/2006/relationships/image" Target="../media/image28.emf"/></Relationships>
</file>

<file path=ppt/slides/_rels/slide37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00.xml"/><Relationship Id="rId5" Type="http://schemas.openxmlformats.org/officeDocument/2006/relationships/chart" Target="../charts/chart373.xml"/><Relationship Id="rId4" Type="http://schemas.openxmlformats.org/officeDocument/2006/relationships/image" Target="../media/image28.emf"/></Relationships>
</file>

<file path=ppt/slides/_rels/slide37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01.xml"/><Relationship Id="rId5" Type="http://schemas.openxmlformats.org/officeDocument/2006/relationships/chart" Target="../charts/chart374.xml"/><Relationship Id="rId4" Type="http://schemas.openxmlformats.org/officeDocument/2006/relationships/image" Target="../media/image28.emf"/></Relationships>
</file>

<file path=ppt/slides/_rels/slide37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02.xml"/><Relationship Id="rId5" Type="http://schemas.openxmlformats.org/officeDocument/2006/relationships/chart" Target="../charts/chart375.xml"/><Relationship Id="rId4" Type="http://schemas.openxmlformats.org/officeDocument/2006/relationships/image" Target="../media/image28.emf"/></Relationships>
</file>

<file path=ppt/slides/_rels/slide37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03.xml"/><Relationship Id="rId5" Type="http://schemas.openxmlformats.org/officeDocument/2006/relationships/chart" Target="../charts/chart376.xml"/><Relationship Id="rId4" Type="http://schemas.openxmlformats.org/officeDocument/2006/relationships/image" Target="../media/image28.emf"/></Relationships>
</file>

<file path=ppt/slides/_rels/slide37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04.xml"/><Relationship Id="rId5" Type="http://schemas.openxmlformats.org/officeDocument/2006/relationships/chart" Target="../charts/chart377.xml"/><Relationship Id="rId4" Type="http://schemas.openxmlformats.org/officeDocument/2006/relationships/image" Target="../media/image28.emf"/></Relationships>
</file>

<file path=ppt/slides/_rels/slide37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05.xml"/><Relationship Id="rId5" Type="http://schemas.openxmlformats.org/officeDocument/2006/relationships/chart" Target="../charts/chart378.xml"/><Relationship Id="rId4" Type="http://schemas.openxmlformats.org/officeDocument/2006/relationships/image" Target="../media/image28.emf"/></Relationships>
</file>

<file path=ppt/slides/_rels/slide37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06.xml"/><Relationship Id="rId5" Type="http://schemas.openxmlformats.org/officeDocument/2006/relationships/chart" Target="../charts/chart379.xml"/><Relationship Id="rId4" Type="http://schemas.openxmlformats.org/officeDocument/2006/relationships/image" Target="../media/image28.emf"/></Relationships>
</file>

<file path=ppt/slides/_rels/slide3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5.xml"/><Relationship Id="rId5" Type="http://schemas.openxmlformats.org/officeDocument/2006/relationships/chart" Target="../charts/chart38.xml"/><Relationship Id="rId4" Type="http://schemas.openxmlformats.org/officeDocument/2006/relationships/image" Target="../media/image28.emf"/></Relationships>
</file>

<file path=ppt/slides/_rels/slide38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07.xml"/><Relationship Id="rId5" Type="http://schemas.openxmlformats.org/officeDocument/2006/relationships/chart" Target="../charts/chart380.xml"/><Relationship Id="rId4" Type="http://schemas.openxmlformats.org/officeDocument/2006/relationships/image" Target="../media/image28.emf"/></Relationships>
</file>

<file path=ppt/slides/_rels/slide38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08.xml"/><Relationship Id="rId5" Type="http://schemas.openxmlformats.org/officeDocument/2006/relationships/chart" Target="../charts/chart381.xml"/><Relationship Id="rId4" Type="http://schemas.openxmlformats.org/officeDocument/2006/relationships/image" Target="../media/image28.emf"/></Relationships>
</file>

<file path=ppt/slides/_rels/slide38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09.xml"/><Relationship Id="rId5" Type="http://schemas.openxmlformats.org/officeDocument/2006/relationships/chart" Target="../charts/chart382.xml"/><Relationship Id="rId4" Type="http://schemas.openxmlformats.org/officeDocument/2006/relationships/image" Target="../media/image28.emf"/></Relationships>
</file>

<file path=ppt/slides/_rels/slide38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10.xml"/><Relationship Id="rId5" Type="http://schemas.openxmlformats.org/officeDocument/2006/relationships/chart" Target="../charts/chart383.xml"/><Relationship Id="rId4" Type="http://schemas.openxmlformats.org/officeDocument/2006/relationships/image" Target="../media/image28.emf"/></Relationships>
</file>

<file path=ppt/slides/_rels/slide38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11.xml"/><Relationship Id="rId5" Type="http://schemas.openxmlformats.org/officeDocument/2006/relationships/chart" Target="../charts/chart384.xml"/><Relationship Id="rId4" Type="http://schemas.openxmlformats.org/officeDocument/2006/relationships/image" Target="../media/image28.emf"/></Relationships>
</file>

<file path=ppt/slides/_rels/slide38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12.xml"/><Relationship Id="rId5" Type="http://schemas.openxmlformats.org/officeDocument/2006/relationships/chart" Target="../charts/chart385.xml"/><Relationship Id="rId4" Type="http://schemas.openxmlformats.org/officeDocument/2006/relationships/image" Target="../media/image28.emf"/></Relationships>
</file>

<file path=ppt/slides/_rels/slide38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13.xml"/><Relationship Id="rId5" Type="http://schemas.openxmlformats.org/officeDocument/2006/relationships/chart" Target="../charts/chart386.xml"/><Relationship Id="rId4" Type="http://schemas.openxmlformats.org/officeDocument/2006/relationships/image" Target="../media/image28.emf"/></Relationships>
</file>

<file path=ppt/slides/_rels/slide38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14.xml"/><Relationship Id="rId5" Type="http://schemas.openxmlformats.org/officeDocument/2006/relationships/chart" Target="../charts/chart387.xml"/><Relationship Id="rId4" Type="http://schemas.openxmlformats.org/officeDocument/2006/relationships/image" Target="../media/image28.emf"/></Relationships>
</file>

<file path=ppt/slides/_rels/slide38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15.xml"/><Relationship Id="rId5" Type="http://schemas.openxmlformats.org/officeDocument/2006/relationships/chart" Target="../charts/chart388.xml"/><Relationship Id="rId4" Type="http://schemas.openxmlformats.org/officeDocument/2006/relationships/image" Target="../media/image28.emf"/></Relationships>
</file>

<file path=ppt/slides/_rels/slide38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16.xml"/><Relationship Id="rId5" Type="http://schemas.openxmlformats.org/officeDocument/2006/relationships/chart" Target="../charts/chart389.xml"/><Relationship Id="rId4" Type="http://schemas.openxmlformats.org/officeDocument/2006/relationships/image" Target="../media/image28.emf"/></Relationships>
</file>

<file path=ppt/slides/_rels/slide3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6.xml"/><Relationship Id="rId5" Type="http://schemas.openxmlformats.org/officeDocument/2006/relationships/chart" Target="../charts/chart39.xml"/><Relationship Id="rId4" Type="http://schemas.openxmlformats.org/officeDocument/2006/relationships/image" Target="../media/image28.emf"/></Relationships>
</file>

<file path=ppt/slides/_rels/slide39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17.xml"/><Relationship Id="rId5" Type="http://schemas.openxmlformats.org/officeDocument/2006/relationships/chart" Target="../charts/chart390.xml"/><Relationship Id="rId4" Type="http://schemas.openxmlformats.org/officeDocument/2006/relationships/image" Target="../media/image28.emf"/></Relationships>
</file>

<file path=ppt/slides/_rels/slide39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18.xml"/><Relationship Id="rId5" Type="http://schemas.openxmlformats.org/officeDocument/2006/relationships/chart" Target="../charts/chart391.xml"/><Relationship Id="rId4" Type="http://schemas.openxmlformats.org/officeDocument/2006/relationships/image" Target="../media/image28.emf"/></Relationships>
</file>

<file path=ppt/slides/_rels/slide39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19.xml"/><Relationship Id="rId5" Type="http://schemas.openxmlformats.org/officeDocument/2006/relationships/chart" Target="../charts/chart392.xml"/><Relationship Id="rId4" Type="http://schemas.openxmlformats.org/officeDocument/2006/relationships/image" Target="../media/image28.emf"/></Relationships>
</file>

<file path=ppt/slides/_rels/slide39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20.xml"/><Relationship Id="rId5" Type="http://schemas.openxmlformats.org/officeDocument/2006/relationships/chart" Target="../charts/chart393.xml"/><Relationship Id="rId4" Type="http://schemas.openxmlformats.org/officeDocument/2006/relationships/image" Target="../media/image28.emf"/></Relationships>
</file>

<file path=ppt/slides/_rels/slide39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21.xml"/><Relationship Id="rId5" Type="http://schemas.openxmlformats.org/officeDocument/2006/relationships/chart" Target="../charts/chart394.xml"/><Relationship Id="rId4" Type="http://schemas.openxmlformats.org/officeDocument/2006/relationships/image" Target="../media/image28.emf"/></Relationships>
</file>

<file path=ppt/slides/_rels/slide39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22.xml"/><Relationship Id="rId5" Type="http://schemas.openxmlformats.org/officeDocument/2006/relationships/chart" Target="../charts/chart395.xml"/><Relationship Id="rId4" Type="http://schemas.openxmlformats.org/officeDocument/2006/relationships/image" Target="../media/image28.emf"/></Relationships>
</file>

<file path=ppt/slides/_rels/slide39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23.xml"/><Relationship Id="rId5" Type="http://schemas.openxmlformats.org/officeDocument/2006/relationships/chart" Target="../charts/chart396.xml"/><Relationship Id="rId4" Type="http://schemas.openxmlformats.org/officeDocument/2006/relationships/image" Target="../media/image28.emf"/></Relationships>
</file>

<file path=ppt/slides/_rels/slide39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24.xml"/><Relationship Id="rId5" Type="http://schemas.openxmlformats.org/officeDocument/2006/relationships/chart" Target="../charts/chart397.xml"/><Relationship Id="rId4" Type="http://schemas.openxmlformats.org/officeDocument/2006/relationships/image" Target="../media/image28.emf"/></Relationships>
</file>

<file path=ppt/slides/_rels/slide39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25.xml"/><Relationship Id="rId5" Type="http://schemas.openxmlformats.org/officeDocument/2006/relationships/chart" Target="../charts/chart398.xml"/><Relationship Id="rId4" Type="http://schemas.openxmlformats.org/officeDocument/2006/relationships/image" Target="../media/image28.emf"/></Relationships>
</file>

<file path=ppt/slides/_rels/slide39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26.xml"/><Relationship Id="rId5" Type="http://schemas.openxmlformats.org/officeDocument/2006/relationships/chart" Target="../charts/chart399.xml"/><Relationship Id="rId4" Type="http://schemas.openxmlformats.org/officeDocument/2006/relationships/image" Target="../media/image28.emf"/></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1.xml"/><Relationship Id="rId5" Type="http://schemas.openxmlformats.org/officeDocument/2006/relationships/chart" Target="../charts/chart4.xml"/><Relationship Id="rId4" Type="http://schemas.openxmlformats.org/officeDocument/2006/relationships/image" Target="../media/image28.emf"/></Relationships>
</file>

<file path=ppt/slides/_rels/slide4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7.xml"/><Relationship Id="rId5" Type="http://schemas.openxmlformats.org/officeDocument/2006/relationships/chart" Target="../charts/chart40.xml"/><Relationship Id="rId4" Type="http://schemas.openxmlformats.org/officeDocument/2006/relationships/image" Target="../media/image28.emf"/></Relationships>
</file>

<file path=ppt/slides/_rels/slide40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27.xml"/><Relationship Id="rId5" Type="http://schemas.openxmlformats.org/officeDocument/2006/relationships/chart" Target="../charts/chart400.xml"/><Relationship Id="rId4" Type="http://schemas.openxmlformats.org/officeDocument/2006/relationships/image" Target="../media/image28.emf"/></Relationships>
</file>

<file path=ppt/slides/_rels/slide40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28.xml"/><Relationship Id="rId5" Type="http://schemas.openxmlformats.org/officeDocument/2006/relationships/chart" Target="../charts/chart401.xml"/><Relationship Id="rId4" Type="http://schemas.openxmlformats.org/officeDocument/2006/relationships/image" Target="../media/image28.emf"/></Relationships>
</file>

<file path=ppt/slides/_rels/slide40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29.xml"/><Relationship Id="rId5" Type="http://schemas.openxmlformats.org/officeDocument/2006/relationships/chart" Target="../charts/chart402.xml"/><Relationship Id="rId4" Type="http://schemas.openxmlformats.org/officeDocument/2006/relationships/image" Target="../media/image28.emf"/></Relationships>
</file>

<file path=ppt/slides/_rels/slide40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30.xml"/><Relationship Id="rId5" Type="http://schemas.openxmlformats.org/officeDocument/2006/relationships/chart" Target="../charts/chart403.xml"/><Relationship Id="rId4" Type="http://schemas.openxmlformats.org/officeDocument/2006/relationships/image" Target="../media/image28.emf"/></Relationships>
</file>

<file path=ppt/slides/_rels/slide40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31.xml"/><Relationship Id="rId5" Type="http://schemas.openxmlformats.org/officeDocument/2006/relationships/chart" Target="../charts/chart404.xml"/><Relationship Id="rId4" Type="http://schemas.openxmlformats.org/officeDocument/2006/relationships/image" Target="../media/image28.emf"/></Relationships>
</file>

<file path=ppt/slides/_rels/slide40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32.xml"/><Relationship Id="rId5" Type="http://schemas.openxmlformats.org/officeDocument/2006/relationships/chart" Target="../charts/chart405.xml"/><Relationship Id="rId4" Type="http://schemas.openxmlformats.org/officeDocument/2006/relationships/image" Target="../media/image28.emf"/></Relationships>
</file>

<file path=ppt/slides/_rels/slide40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33.xml"/><Relationship Id="rId5" Type="http://schemas.openxmlformats.org/officeDocument/2006/relationships/chart" Target="../charts/chart406.xml"/><Relationship Id="rId4" Type="http://schemas.openxmlformats.org/officeDocument/2006/relationships/image" Target="../media/image28.emf"/></Relationships>
</file>

<file path=ppt/slides/_rels/slide40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34.xml"/><Relationship Id="rId5" Type="http://schemas.openxmlformats.org/officeDocument/2006/relationships/chart" Target="../charts/chart407.xml"/><Relationship Id="rId4" Type="http://schemas.openxmlformats.org/officeDocument/2006/relationships/image" Target="../media/image28.emf"/></Relationships>
</file>

<file path=ppt/slides/_rels/slide40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35.xml"/><Relationship Id="rId5" Type="http://schemas.openxmlformats.org/officeDocument/2006/relationships/chart" Target="../charts/chart408.xml"/><Relationship Id="rId4" Type="http://schemas.openxmlformats.org/officeDocument/2006/relationships/image" Target="../media/image28.emf"/></Relationships>
</file>

<file path=ppt/slides/_rels/slide40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36.xml"/><Relationship Id="rId5" Type="http://schemas.openxmlformats.org/officeDocument/2006/relationships/chart" Target="../charts/chart409.xml"/><Relationship Id="rId4" Type="http://schemas.openxmlformats.org/officeDocument/2006/relationships/image" Target="../media/image28.emf"/></Relationships>
</file>

<file path=ppt/slides/_rels/slide4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8.xml"/><Relationship Id="rId5" Type="http://schemas.openxmlformats.org/officeDocument/2006/relationships/chart" Target="../charts/chart41.xml"/><Relationship Id="rId4" Type="http://schemas.openxmlformats.org/officeDocument/2006/relationships/image" Target="../media/image28.emf"/></Relationships>
</file>

<file path=ppt/slides/_rels/slide41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37.xml"/><Relationship Id="rId5" Type="http://schemas.openxmlformats.org/officeDocument/2006/relationships/chart" Target="../charts/chart410.xml"/><Relationship Id="rId4" Type="http://schemas.openxmlformats.org/officeDocument/2006/relationships/image" Target="../media/image28.emf"/></Relationships>
</file>

<file path=ppt/slides/_rels/slide41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38.xml"/><Relationship Id="rId5" Type="http://schemas.openxmlformats.org/officeDocument/2006/relationships/chart" Target="../charts/chart411.xml"/><Relationship Id="rId4" Type="http://schemas.openxmlformats.org/officeDocument/2006/relationships/image" Target="../media/image28.emf"/></Relationships>
</file>

<file path=ppt/slides/_rels/slide41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39.xml"/><Relationship Id="rId5" Type="http://schemas.openxmlformats.org/officeDocument/2006/relationships/chart" Target="../charts/chart412.xml"/><Relationship Id="rId4" Type="http://schemas.openxmlformats.org/officeDocument/2006/relationships/image" Target="../media/image28.emf"/></Relationships>
</file>

<file path=ppt/slides/_rels/slide41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40.xml"/><Relationship Id="rId5" Type="http://schemas.openxmlformats.org/officeDocument/2006/relationships/chart" Target="../charts/chart413.xml"/><Relationship Id="rId4" Type="http://schemas.openxmlformats.org/officeDocument/2006/relationships/image" Target="../media/image28.emf"/></Relationships>
</file>

<file path=ppt/slides/_rels/slide41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41.xml"/><Relationship Id="rId5" Type="http://schemas.openxmlformats.org/officeDocument/2006/relationships/chart" Target="../charts/chart414.xml"/><Relationship Id="rId4" Type="http://schemas.openxmlformats.org/officeDocument/2006/relationships/image" Target="../media/image28.emf"/></Relationships>
</file>

<file path=ppt/slides/_rels/slide41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42.xml"/><Relationship Id="rId5" Type="http://schemas.openxmlformats.org/officeDocument/2006/relationships/chart" Target="../charts/chart415.xml"/><Relationship Id="rId4" Type="http://schemas.openxmlformats.org/officeDocument/2006/relationships/image" Target="../media/image28.emf"/></Relationships>
</file>

<file path=ppt/slides/_rels/slide41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43.xml"/><Relationship Id="rId5" Type="http://schemas.openxmlformats.org/officeDocument/2006/relationships/chart" Target="../charts/chart416.xml"/><Relationship Id="rId4" Type="http://schemas.openxmlformats.org/officeDocument/2006/relationships/image" Target="../media/image28.emf"/></Relationships>
</file>

<file path=ppt/slides/_rels/slide41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44.xml"/><Relationship Id="rId5" Type="http://schemas.openxmlformats.org/officeDocument/2006/relationships/chart" Target="../charts/chart417.xml"/><Relationship Id="rId4" Type="http://schemas.openxmlformats.org/officeDocument/2006/relationships/image" Target="../media/image28.emf"/></Relationships>
</file>

<file path=ppt/slides/_rels/slide41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45.xml"/><Relationship Id="rId5" Type="http://schemas.openxmlformats.org/officeDocument/2006/relationships/chart" Target="../charts/chart418.xml"/><Relationship Id="rId4" Type="http://schemas.openxmlformats.org/officeDocument/2006/relationships/image" Target="../media/image28.emf"/></Relationships>
</file>

<file path=ppt/slides/_rels/slide41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46.xml"/><Relationship Id="rId5" Type="http://schemas.openxmlformats.org/officeDocument/2006/relationships/chart" Target="../charts/chart419.xml"/><Relationship Id="rId4" Type="http://schemas.openxmlformats.org/officeDocument/2006/relationships/image" Target="../media/image28.emf"/></Relationships>
</file>

<file path=ppt/slides/_rels/slide4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9.xml"/><Relationship Id="rId5" Type="http://schemas.openxmlformats.org/officeDocument/2006/relationships/chart" Target="../charts/chart42.xml"/><Relationship Id="rId4" Type="http://schemas.openxmlformats.org/officeDocument/2006/relationships/image" Target="../media/image28.emf"/></Relationships>
</file>

<file path=ppt/slides/_rels/slide42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47.xml"/><Relationship Id="rId5" Type="http://schemas.openxmlformats.org/officeDocument/2006/relationships/chart" Target="../charts/chart420.xml"/><Relationship Id="rId4" Type="http://schemas.openxmlformats.org/officeDocument/2006/relationships/image" Target="../media/image28.emf"/></Relationships>
</file>

<file path=ppt/slides/_rels/slide42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48.xml"/><Relationship Id="rId5" Type="http://schemas.openxmlformats.org/officeDocument/2006/relationships/chart" Target="../charts/chart421.xml"/><Relationship Id="rId4" Type="http://schemas.openxmlformats.org/officeDocument/2006/relationships/image" Target="../media/image28.emf"/></Relationships>
</file>

<file path=ppt/slides/_rels/slide42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49.xml"/><Relationship Id="rId5" Type="http://schemas.openxmlformats.org/officeDocument/2006/relationships/chart" Target="../charts/chart422.xml"/><Relationship Id="rId4" Type="http://schemas.openxmlformats.org/officeDocument/2006/relationships/image" Target="../media/image28.emf"/></Relationships>
</file>

<file path=ppt/slides/_rels/slide42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50.xml"/><Relationship Id="rId5" Type="http://schemas.openxmlformats.org/officeDocument/2006/relationships/chart" Target="../charts/chart423.xml"/><Relationship Id="rId4" Type="http://schemas.openxmlformats.org/officeDocument/2006/relationships/image" Target="../media/image28.emf"/></Relationships>
</file>

<file path=ppt/slides/_rels/slide42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51.xml"/><Relationship Id="rId5" Type="http://schemas.openxmlformats.org/officeDocument/2006/relationships/chart" Target="../charts/chart424.xml"/><Relationship Id="rId4" Type="http://schemas.openxmlformats.org/officeDocument/2006/relationships/image" Target="../media/image28.emf"/></Relationships>
</file>

<file path=ppt/slides/_rels/slide42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52.xml"/><Relationship Id="rId5" Type="http://schemas.openxmlformats.org/officeDocument/2006/relationships/chart" Target="../charts/chart425.xml"/><Relationship Id="rId4" Type="http://schemas.openxmlformats.org/officeDocument/2006/relationships/image" Target="../media/image28.emf"/></Relationships>
</file>

<file path=ppt/slides/_rels/slide42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53.xml"/><Relationship Id="rId5" Type="http://schemas.openxmlformats.org/officeDocument/2006/relationships/chart" Target="../charts/chart426.xml"/><Relationship Id="rId4" Type="http://schemas.openxmlformats.org/officeDocument/2006/relationships/image" Target="../media/image28.emf"/></Relationships>
</file>

<file path=ppt/slides/_rels/slide42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54.xml"/><Relationship Id="rId5" Type="http://schemas.openxmlformats.org/officeDocument/2006/relationships/chart" Target="../charts/chart427.xml"/><Relationship Id="rId4" Type="http://schemas.openxmlformats.org/officeDocument/2006/relationships/image" Target="../media/image28.emf"/></Relationships>
</file>

<file path=ppt/slides/_rels/slide42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55.xml"/><Relationship Id="rId5" Type="http://schemas.openxmlformats.org/officeDocument/2006/relationships/chart" Target="../charts/chart428.xml"/><Relationship Id="rId4" Type="http://schemas.openxmlformats.org/officeDocument/2006/relationships/image" Target="../media/image28.emf"/></Relationships>
</file>

<file path=ppt/slides/_rels/slide42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56.xml"/><Relationship Id="rId5" Type="http://schemas.openxmlformats.org/officeDocument/2006/relationships/chart" Target="../charts/chart429.xml"/><Relationship Id="rId4" Type="http://schemas.openxmlformats.org/officeDocument/2006/relationships/image" Target="../media/image28.emf"/></Relationships>
</file>

<file path=ppt/slides/_rels/slide4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0.xml"/><Relationship Id="rId5" Type="http://schemas.openxmlformats.org/officeDocument/2006/relationships/chart" Target="../charts/chart43.xml"/><Relationship Id="rId4" Type="http://schemas.openxmlformats.org/officeDocument/2006/relationships/image" Target="../media/image28.emf"/></Relationships>
</file>

<file path=ppt/slides/_rels/slide43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57.xml"/><Relationship Id="rId5" Type="http://schemas.openxmlformats.org/officeDocument/2006/relationships/chart" Target="../charts/chart430.xml"/><Relationship Id="rId4" Type="http://schemas.openxmlformats.org/officeDocument/2006/relationships/image" Target="../media/image28.emf"/></Relationships>
</file>

<file path=ppt/slides/_rels/slide43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58.xml"/><Relationship Id="rId5" Type="http://schemas.openxmlformats.org/officeDocument/2006/relationships/chart" Target="../charts/chart431.xml"/><Relationship Id="rId4" Type="http://schemas.openxmlformats.org/officeDocument/2006/relationships/image" Target="../media/image28.emf"/></Relationships>
</file>

<file path=ppt/slides/_rels/slide43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59.xml"/><Relationship Id="rId5" Type="http://schemas.openxmlformats.org/officeDocument/2006/relationships/chart" Target="../charts/chart432.xml"/><Relationship Id="rId4" Type="http://schemas.openxmlformats.org/officeDocument/2006/relationships/image" Target="../media/image28.emf"/></Relationships>
</file>

<file path=ppt/slides/_rels/slide43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60.xml"/><Relationship Id="rId5" Type="http://schemas.openxmlformats.org/officeDocument/2006/relationships/chart" Target="../charts/chart433.xml"/><Relationship Id="rId4" Type="http://schemas.openxmlformats.org/officeDocument/2006/relationships/image" Target="../media/image28.emf"/></Relationships>
</file>

<file path=ppt/slides/_rels/slide43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61.xml"/><Relationship Id="rId5" Type="http://schemas.openxmlformats.org/officeDocument/2006/relationships/chart" Target="../charts/chart434.xml"/><Relationship Id="rId4" Type="http://schemas.openxmlformats.org/officeDocument/2006/relationships/image" Target="../media/image28.emf"/></Relationships>
</file>

<file path=ppt/slides/_rels/slide43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62.xml"/><Relationship Id="rId5" Type="http://schemas.openxmlformats.org/officeDocument/2006/relationships/chart" Target="../charts/chart435.xml"/><Relationship Id="rId4" Type="http://schemas.openxmlformats.org/officeDocument/2006/relationships/image" Target="../media/image28.emf"/></Relationships>
</file>

<file path=ppt/slides/_rels/slide43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63.xml"/><Relationship Id="rId5" Type="http://schemas.openxmlformats.org/officeDocument/2006/relationships/chart" Target="../charts/chart436.xml"/><Relationship Id="rId4" Type="http://schemas.openxmlformats.org/officeDocument/2006/relationships/image" Target="../media/image28.emf"/></Relationships>
</file>

<file path=ppt/slides/_rels/slide43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64.xml"/><Relationship Id="rId5" Type="http://schemas.openxmlformats.org/officeDocument/2006/relationships/chart" Target="../charts/chart437.xml"/><Relationship Id="rId4" Type="http://schemas.openxmlformats.org/officeDocument/2006/relationships/image" Target="../media/image28.emf"/></Relationships>
</file>

<file path=ppt/slides/_rels/slide43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65.xml"/><Relationship Id="rId5" Type="http://schemas.openxmlformats.org/officeDocument/2006/relationships/chart" Target="../charts/chart438.xml"/><Relationship Id="rId4" Type="http://schemas.openxmlformats.org/officeDocument/2006/relationships/image" Target="../media/image28.emf"/></Relationships>
</file>

<file path=ppt/slides/_rels/slide43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66.xml"/><Relationship Id="rId5" Type="http://schemas.openxmlformats.org/officeDocument/2006/relationships/chart" Target="../charts/chart439.xml"/><Relationship Id="rId4" Type="http://schemas.openxmlformats.org/officeDocument/2006/relationships/image" Target="../media/image28.emf"/></Relationships>
</file>

<file path=ppt/slides/_rels/slide4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1.xml"/><Relationship Id="rId5" Type="http://schemas.openxmlformats.org/officeDocument/2006/relationships/chart" Target="../charts/chart44.xml"/><Relationship Id="rId4" Type="http://schemas.openxmlformats.org/officeDocument/2006/relationships/image" Target="../media/image28.emf"/></Relationships>
</file>

<file path=ppt/slides/_rels/slide44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67.xml"/><Relationship Id="rId5" Type="http://schemas.openxmlformats.org/officeDocument/2006/relationships/chart" Target="../charts/chart440.xml"/><Relationship Id="rId4" Type="http://schemas.openxmlformats.org/officeDocument/2006/relationships/image" Target="../media/image28.emf"/></Relationships>
</file>

<file path=ppt/slides/_rels/slide44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68.xml"/><Relationship Id="rId5" Type="http://schemas.openxmlformats.org/officeDocument/2006/relationships/chart" Target="../charts/chart441.xml"/><Relationship Id="rId4" Type="http://schemas.openxmlformats.org/officeDocument/2006/relationships/image" Target="../media/image28.emf"/></Relationships>
</file>

<file path=ppt/slides/_rels/slide44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69.xml"/><Relationship Id="rId5" Type="http://schemas.openxmlformats.org/officeDocument/2006/relationships/chart" Target="../charts/chart442.xml"/><Relationship Id="rId4" Type="http://schemas.openxmlformats.org/officeDocument/2006/relationships/image" Target="../media/image28.emf"/></Relationships>
</file>

<file path=ppt/slides/_rels/slide44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70.xml"/><Relationship Id="rId5" Type="http://schemas.openxmlformats.org/officeDocument/2006/relationships/chart" Target="../charts/chart443.xml"/><Relationship Id="rId4" Type="http://schemas.openxmlformats.org/officeDocument/2006/relationships/image" Target="../media/image28.emf"/></Relationships>
</file>

<file path=ppt/slides/_rels/slide44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71.xml"/><Relationship Id="rId5" Type="http://schemas.openxmlformats.org/officeDocument/2006/relationships/chart" Target="../charts/chart444.xml"/><Relationship Id="rId4" Type="http://schemas.openxmlformats.org/officeDocument/2006/relationships/image" Target="../media/image28.emf"/></Relationships>
</file>

<file path=ppt/slides/_rels/slide44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72.xml"/><Relationship Id="rId5" Type="http://schemas.openxmlformats.org/officeDocument/2006/relationships/chart" Target="../charts/chart445.xml"/><Relationship Id="rId4" Type="http://schemas.openxmlformats.org/officeDocument/2006/relationships/image" Target="../media/image28.emf"/></Relationships>
</file>

<file path=ppt/slides/_rels/slide44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73.xml"/><Relationship Id="rId5" Type="http://schemas.openxmlformats.org/officeDocument/2006/relationships/chart" Target="../charts/chart446.xml"/><Relationship Id="rId4" Type="http://schemas.openxmlformats.org/officeDocument/2006/relationships/image" Target="../media/image28.emf"/></Relationships>
</file>

<file path=ppt/slides/_rels/slide44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74.xml"/><Relationship Id="rId5" Type="http://schemas.openxmlformats.org/officeDocument/2006/relationships/chart" Target="../charts/chart447.xml"/><Relationship Id="rId4" Type="http://schemas.openxmlformats.org/officeDocument/2006/relationships/image" Target="../media/image28.emf"/></Relationships>
</file>

<file path=ppt/slides/_rels/slide44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75.xml"/><Relationship Id="rId5" Type="http://schemas.openxmlformats.org/officeDocument/2006/relationships/chart" Target="../charts/chart448.xml"/><Relationship Id="rId4" Type="http://schemas.openxmlformats.org/officeDocument/2006/relationships/image" Target="../media/image28.emf"/></Relationships>
</file>

<file path=ppt/slides/_rels/slide44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76.xml"/><Relationship Id="rId5" Type="http://schemas.openxmlformats.org/officeDocument/2006/relationships/chart" Target="../charts/chart449.xml"/><Relationship Id="rId4" Type="http://schemas.openxmlformats.org/officeDocument/2006/relationships/image" Target="../media/image28.emf"/></Relationships>
</file>

<file path=ppt/slides/_rels/slide4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2.xml"/><Relationship Id="rId5" Type="http://schemas.openxmlformats.org/officeDocument/2006/relationships/chart" Target="../charts/chart45.xml"/><Relationship Id="rId4" Type="http://schemas.openxmlformats.org/officeDocument/2006/relationships/image" Target="../media/image28.emf"/></Relationships>
</file>

<file path=ppt/slides/_rels/slide45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77.xml"/><Relationship Id="rId5" Type="http://schemas.openxmlformats.org/officeDocument/2006/relationships/chart" Target="../charts/chart450.xml"/><Relationship Id="rId4" Type="http://schemas.openxmlformats.org/officeDocument/2006/relationships/image" Target="../media/image28.emf"/></Relationships>
</file>

<file path=ppt/slides/_rels/slide45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78.xml"/><Relationship Id="rId5" Type="http://schemas.openxmlformats.org/officeDocument/2006/relationships/chart" Target="../charts/chart451.xml"/><Relationship Id="rId4" Type="http://schemas.openxmlformats.org/officeDocument/2006/relationships/image" Target="../media/image28.emf"/></Relationships>
</file>

<file path=ppt/slides/_rels/slide45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79.xml"/><Relationship Id="rId5" Type="http://schemas.openxmlformats.org/officeDocument/2006/relationships/chart" Target="../charts/chart452.xml"/><Relationship Id="rId4" Type="http://schemas.openxmlformats.org/officeDocument/2006/relationships/image" Target="../media/image28.emf"/></Relationships>
</file>

<file path=ppt/slides/_rels/slide45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80.xml"/><Relationship Id="rId5" Type="http://schemas.openxmlformats.org/officeDocument/2006/relationships/chart" Target="../charts/chart453.xml"/><Relationship Id="rId4" Type="http://schemas.openxmlformats.org/officeDocument/2006/relationships/image" Target="../media/image28.emf"/></Relationships>
</file>

<file path=ppt/slides/_rels/slide45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81.xml"/><Relationship Id="rId5" Type="http://schemas.openxmlformats.org/officeDocument/2006/relationships/chart" Target="../charts/chart454.xml"/><Relationship Id="rId4" Type="http://schemas.openxmlformats.org/officeDocument/2006/relationships/image" Target="../media/image28.emf"/></Relationships>
</file>

<file path=ppt/slides/_rels/slide45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82.xml"/><Relationship Id="rId5" Type="http://schemas.openxmlformats.org/officeDocument/2006/relationships/chart" Target="../charts/chart455.xml"/><Relationship Id="rId4" Type="http://schemas.openxmlformats.org/officeDocument/2006/relationships/image" Target="../media/image28.emf"/></Relationships>
</file>

<file path=ppt/slides/_rels/slide45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83.xml"/><Relationship Id="rId5" Type="http://schemas.openxmlformats.org/officeDocument/2006/relationships/chart" Target="../charts/chart456.xml"/><Relationship Id="rId4" Type="http://schemas.openxmlformats.org/officeDocument/2006/relationships/image" Target="../media/image28.emf"/></Relationships>
</file>

<file path=ppt/slides/_rels/slide45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84.xml"/><Relationship Id="rId5" Type="http://schemas.openxmlformats.org/officeDocument/2006/relationships/chart" Target="../charts/chart457.xml"/><Relationship Id="rId4" Type="http://schemas.openxmlformats.org/officeDocument/2006/relationships/image" Target="../media/image28.emf"/></Relationships>
</file>

<file path=ppt/slides/_rels/slide45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85.xml"/><Relationship Id="rId5" Type="http://schemas.openxmlformats.org/officeDocument/2006/relationships/chart" Target="../charts/chart458.xml"/><Relationship Id="rId4" Type="http://schemas.openxmlformats.org/officeDocument/2006/relationships/image" Target="../media/image28.emf"/></Relationships>
</file>

<file path=ppt/slides/_rels/slide45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86.xml"/><Relationship Id="rId5" Type="http://schemas.openxmlformats.org/officeDocument/2006/relationships/chart" Target="../charts/chart459.xml"/><Relationship Id="rId4" Type="http://schemas.openxmlformats.org/officeDocument/2006/relationships/image" Target="../media/image28.emf"/></Relationships>
</file>

<file path=ppt/slides/_rels/slide4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3.xml"/><Relationship Id="rId5" Type="http://schemas.openxmlformats.org/officeDocument/2006/relationships/chart" Target="../charts/chart46.xml"/><Relationship Id="rId4" Type="http://schemas.openxmlformats.org/officeDocument/2006/relationships/image" Target="../media/image28.emf"/></Relationships>
</file>

<file path=ppt/slides/_rels/slide46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87.xml"/><Relationship Id="rId5" Type="http://schemas.openxmlformats.org/officeDocument/2006/relationships/chart" Target="../charts/chart460.xml"/><Relationship Id="rId4" Type="http://schemas.openxmlformats.org/officeDocument/2006/relationships/image" Target="../media/image28.emf"/></Relationships>
</file>

<file path=ppt/slides/_rels/slide46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88.xml"/><Relationship Id="rId5" Type="http://schemas.openxmlformats.org/officeDocument/2006/relationships/chart" Target="../charts/chart461.xml"/><Relationship Id="rId4" Type="http://schemas.openxmlformats.org/officeDocument/2006/relationships/image" Target="../media/image28.emf"/></Relationships>
</file>

<file path=ppt/slides/_rels/slide46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89.xml"/><Relationship Id="rId5" Type="http://schemas.openxmlformats.org/officeDocument/2006/relationships/chart" Target="../charts/chart462.xml"/><Relationship Id="rId4" Type="http://schemas.openxmlformats.org/officeDocument/2006/relationships/image" Target="../media/image28.emf"/></Relationships>
</file>

<file path=ppt/slides/_rels/slide46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90.xml"/><Relationship Id="rId5" Type="http://schemas.openxmlformats.org/officeDocument/2006/relationships/chart" Target="../charts/chart463.xml"/><Relationship Id="rId4" Type="http://schemas.openxmlformats.org/officeDocument/2006/relationships/image" Target="../media/image28.emf"/></Relationships>
</file>

<file path=ppt/slides/_rels/slide46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91.xml"/><Relationship Id="rId5" Type="http://schemas.openxmlformats.org/officeDocument/2006/relationships/chart" Target="../charts/chart464.xml"/><Relationship Id="rId4" Type="http://schemas.openxmlformats.org/officeDocument/2006/relationships/image" Target="../media/image28.emf"/></Relationships>
</file>

<file path=ppt/slides/_rels/slide46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92.xml"/><Relationship Id="rId5" Type="http://schemas.openxmlformats.org/officeDocument/2006/relationships/chart" Target="../charts/chart465.xml"/><Relationship Id="rId4" Type="http://schemas.openxmlformats.org/officeDocument/2006/relationships/image" Target="../media/image28.emf"/></Relationships>
</file>

<file path=ppt/slides/_rels/slide46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93.xml"/><Relationship Id="rId5" Type="http://schemas.openxmlformats.org/officeDocument/2006/relationships/chart" Target="../charts/chart466.xml"/><Relationship Id="rId4" Type="http://schemas.openxmlformats.org/officeDocument/2006/relationships/image" Target="../media/image28.emf"/></Relationships>
</file>

<file path=ppt/slides/_rels/slide46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94.xml"/><Relationship Id="rId5" Type="http://schemas.openxmlformats.org/officeDocument/2006/relationships/chart" Target="../charts/chart467.xml"/><Relationship Id="rId4" Type="http://schemas.openxmlformats.org/officeDocument/2006/relationships/image" Target="../media/image28.emf"/></Relationships>
</file>

<file path=ppt/slides/_rels/slide46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95.xml"/><Relationship Id="rId5" Type="http://schemas.openxmlformats.org/officeDocument/2006/relationships/chart" Target="../charts/chart468.xml"/><Relationship Id="rId4" Type="http://schemas.openxmlformats.org/officeDocument/2006/relationships/image" Target="../media/image28.emf"/></Relationships>
</file>

<file path=ppt/slides/_rels/slide46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96.xml"/><Relationship Id="rId5" Type="http://schemas.openxmlformats.org/officeDocument/2006/relationships/chart" Target="../charts/chart469.xml"/><Relationship Id="rId4" Type="http://schemas.openxmlformats.org/officeDocument/2006/relationships/image" Target="../media/image28.emf"/></Relationships>
</file>

<file path=ppt/slides/_rels/slide4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4.xml"/><Relationship Id="rId5" Type="http://schemas.openxmlformats.org/officeDocument/2006/relationships/chart" Target="../charts/chart47.xml"/><Relationship Id="rId4" Type="http://schemas.openxmlformats.org/officeDocument/2006/relationships/image" Target="../media/image28.emf"/></Relationships>
</file>

<file path=ppt/slides/_rels/slide47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97.xml"/><Relationship Id="rId5" Type="http://schemas.openxmlformats.org/officeDocument/2006/relationships/chart" Target="../charts/chart470.xml"/><Relationship Id="rId4" Type="http://schemas.openxmlformats.org/officeDocument/2006/relationships/image" Target="../media/image28.emf"/></Relationships>
</file>

<file path=ppt/slides/_rels/slide47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98.xml"/><Relationship Id="rId5" Type="http://schemas.openxmlformats.org/officeDocument/2006/relationships/chart" Target="../charts/chart471.xml"/><Relationship Id="rId4" Type="http://schemas.openxmlformats.org/officeDocument/2006/relationships/image" Target="../media/image28.emf"/></Relationships>
</file>

<file path=ppt/slides/_rels/slide47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99.xml"/><Relationship Id="rId5" Type="http://schemas.openxmlformats.org/officeDocument/2006/relationships/chart" Target="../charts/chart472.xml"/><Relationship Id="rId4" Type="http://schemas.openxmlformats.org/officeDocument/2006/relationships/image" Target="../media/image28.emf"/></Relationships>
</file>

<file path=ppt/slides/_rels/slide47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00.xml"/><Relationship Id="rId5" Type="http://schemas.openxmlformats.org/officeDocument/2006/relationships/chart" Target="../charts/chart473.xml"/><Relationship Id="rId4" Type="http://schemas.openxmlformats.org/officeDocument/2006/relationships/image" Target="../media/image28.emf"/></Relationships>
</file>

<file path=ppt/slides/_rels/slide47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01.xml"/><Relationship Id="rId5" Type="http://schemas.openxmlformats.org/officeDocument/2006/relationships/chart" Target="../charts/chart474.xml"/><Relationship Id="rId4" Type="http://schemas.openxmlformats.org/officeDocument/2006/relationships/image" Target="../media/image28.emf"/></Relationships>
</file>

<file path=ppt/slides/_rels/slide47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02.xml"/><Relationship Id="rId5" Type="http://schemas.openxmlformats.org/officeDocument/2006/relationships/chart" Target="../charts/chart475.xml"/><Relationship Id="rId4" Type="http://schemas.openxmlformats.org/officeDocument/2006/relationships/image" Target="../media/image28.emf"/></Relationships>
</file>

<file path=ppt/slides/_rels/slide47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03.xml"/><Relationship Id="rId5" Type="http://schemas.openxmlformats.org/officeDocument/2006/relationships/chart" Target="../charts/chart476.xml"/><Relationship Id="rId4" Type="http://schemas.openxmlformats.org/officeDocument/2006/relationships/image" Target="../media/image28.emf"/></Relationships>
</file>

<file path=ppt/slides/_rels/slide47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04.xml"/><Relationship Id="rId5" Type="http://schemas.openxmlformats.org/officeDocument/2006/relationships/chart" Target="../charts/chart477.xml"/><Relationship Id="rId4" Type="http://schemas.openxmlformats.org/officeDocument/2006/relationships/image" Target="../media/image28.emf"/></Relationships>
</file>

<file path=ppt/slides/_rels/slide47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05.xml"/><Relationship Id="rId5" Type="http://schemas.openxmlformats.org/officeDocument/2006/relationships/chart" Target="../charts/chart478.xml"/><Relationship Id="rId4" Type="http://schemas.openxmlformats.org/officeDocument/2006/relationships/image" Target="../media/image28.emf"/></Relationships>
</file>

<file path=ppt/slides/_rels/slide47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06.xml"/><Relationship Id="rId5" Type="http://schemas.openxmlformats.org/officeDocument/2006/relationships/chart" Target="../charts/chart479.xml"/><Relationship Id="rId4" Type="http://schemas.openxmlformats.org/officeDocument/2006/relationships/image" Target="../media/image28.emf"/></Relationships>
</file>

<file path=ppt/slides/_rels/slide4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5.xml"/><Relationship Id="rId5" Type="http://schemas.openxmlformats.org/officeDocument/2006/relationships/chart" Target="../charts/chart48.xml"/><Relationship Id="rId4" Type="http://schemas.openxmlformats.org/officeDocument/2006/relationships/image" Target="../media/image28.emf"/></Relationships>
</file>

<file path=ppt/slides/_rels/slide48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07.xml"/><Relationship Id="rId5" Type="http://schemas.openxmlformats.org/officeDocument/2006/relationships/chart" Target="../charts/chart480.xml"/><Relationship Id="rId4" Type="http://schemas.openxmlformats.org/officeDocument/2006/relationships/image" Target="../media/image28.emf"/></Relationships>
</file>

<file path=ppt/slides/_rels/slide48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08.xml"/><Relationship Id="rId5" Type="http://schemas.openxmlformats.org/officeDocument/2006/relationships/chart" Target="../charts/chart481.xml"/><Relationship Id="rId4" Type="http://schemas.openxmlformats.org/officeDocument/2006/relationships/image" Target="../media/image28.emf"/></Relationships>
</file>

<file path=ppt/slides/_rels/slide48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09.xml"/><Relationship Id="rId5" Type="http://schemas.openxmlformats.org/officeDocument/2006/relationships/chart" Target="../charts/chart482.xml"/><Relationship Id="rId4" Type="http://schemas.openxmlformats.org/officeDocument/2006/relationships/image" Target="../media/image28.emf"/></Relationships>
</file>

<file path=ppt/slides/_rels/slide48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10.xml"/><Relationship Id="rId5" Type="http://schemas.openxmlformats.org/officeDocument/2006/relationships/chart" Target="../charts/chart483.xml"/><Relationship Id="rId4" Type="http://schemas.openxmlformats.org/officeDocument/2006/relationships/image" Target="../media/image28.emf"/></Relationships>
</file>

<file path=ppt/slides/_rels/slide48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11.xml"/><Relationship Id="rId5" Type="http://schemas.openxmlformats.org/officeDocument/2006/relationships/chart" Target="../charts/chart484.xml"/><Relationship Id="rId4" Type="http://schemas.openxmlformats.org/officeDocument/2006/relationships/image" Target="../media/image28.emf"/></Relationships>
</file>

<file path=ppt/slides/_rels/slide48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12.xml"/><Relationship Id="rId5" Type="http://schemas.openxmlformats.org/officeDocument/2006/relationships/chart" Target="../charts/chart485.xml"/><Relationship Id="rId4" Type="http://schemas.openxmlformats.org/officeDocument/2006/relationships/image" Target="../media/image28.emf"/></Relationships>
</file>

<file path=ppt/slides/_rels/slide48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13.xml"/><Relationship Id="rId5" Type="http://schemas.openxmlformats.org/officeDocument/2006/relationships/chart" Target="../charts/chart486.xml"/><Relationship Id="rId4" Type="http://schemas.openxmlformats.org/officeDocument/2006/relationships/image" Target="../media/image28.emf"/></Relationships>
</file>

<file path=ppt/slides/_rels/slide48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14.xml"/><Relationship Id="rId5" Type="http://schemas.openxmlformats.org/officeDocument/2006/relationships/chart" Target="../charts/chart487.xml"/><Relationship Id="rId4" Type="http://schemas.openxmlformats.org/officeDocument/2006/relationships/image" Target="../media/image28.emf"/></Relationships>
</file>

<file path=ppt/slides/_rels/slide48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15.xml"/><Relationship Id="rId5" Type="http://schemas.openxmlformats.org/officeDocument/2006/relationships/chart" Target="../charts/chart488.xml"/><Relationship Id="rId4" Type="http://schemas.openxmlformats.org/officeDocument/2006/relationships/image" Target="../media/image28.emf"/></Relationships>
</file>

<file path=ppt/slides/_rels/slide48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16.xml"/><Relationship Id="rId5" Type="http://schemas.openxmlformats.org/officeDocument/2006/relationships/chart" Target="../charts/chart489.xml"/><Relationship Id="rId4" Type="http://schemas.openxmlformats.org/officeDocument/2006/relationships/image" Target="../media/image28.emf"/></Relationships>
</file>

<file path=ppt/slides/_rels/slide4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6.xml"/><Relationship Id="rId5" Type="http://schemas.openxmlformats.org/officeDocument/2006/relationships/chart" Target="../charts/chart49.xml"/><Relationship Id="rId4" Type="http://schemas.openxmlformats.org/officeDocument/2006/relationships/image" Target="../media/image28.emf"/></Relationships>
</file>

<file path=ppt/slides/_rels/slide49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17.xml"/><Relationship Id="rId5" Type="http://schemas.openxmlformats.org/officeDocument/2006/relationships/chart" Target="../charts/chart490.xml"/><Relationship Id="rId4" Type="http://schemas.openxmlformats.org/officeDocument/2006/relationships/image" Target="../media/image28.emf"/></Relationships>
</file>

<file path=ppt/slides/_rels/slide49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18.xml"/><Relationship Id="rId5" Type="http://schemas.openxmlformats.org/officeDocument/2006/relationships/chart" Target="../charts/chart491.xml"/><Relationship Id="rId4" Type="http://schemas.openxmlformats.org/officeDocument/2006/relationships/image" Target="../media/image28.emf"/></Relationships>
</file>

<file path=ppt/slides/_rels/slide49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19.xml"/><Relationship Id="rId5" Type="http://schemas.openxmlformats.org/officeDocument/2006/relationships/chart" Target="../charts/chart492.xml"/><Relationship Id="rId4" Type="http://schemas.openxmlformats.org/officeDocument/2006/relationships/image" Target="../media/image28.emf"/></Relationships>
</file>

<file path=ppt/slides/_rels/slide49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20.xml"/><Relationship Id="rId5" Type="http://schemas.openxmlformats.org/officeDocument/2006/relationships/chart" Target="../charts/chart493.xml"/><Relationship Id="rId4" Type="http://schemas.openxmlformats.org/officeDocument/2006/relationships/image" Target="../media/image28.emf"/></Relationships>
</file>

<file path=ppt/slides/_rels/slide49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21.xml"/><Relationship Id="rId5" Type="http://schemas.openxmlformats.org/officeDocument/2006/relationships/chart" Target="../charts/chart494.xml"/><Relationship Id="rId4" Type="http://schemas.openxmlformats.org/officeDocument/2006/relationships/image" Target="../media/image28.emf"/></Relationships>
</file>

<file path=ppt/slides/_rels/slide49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22.xml"/><Relationship Id="rId5" Type="http://schemas.openxmlformats.org/officeDocument/2006/relationships/chart" Target="../charts/chart495.xml"/><Relationship Id="rId4" Type="http://schemas.openxmlformats.org/officeDocument/2006/relationships/image" Target="../media/image28.emf"/></Relationships>
</file>

<file path=ppt/slides/_rels/slide49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23.xml"/><Relationship Id="rId5" Type="http://schemas.openxmlformats.org/officeDocument/2006/relationships/chart" Target="../charts/chart496.xml"/><Relationship Id="rId4" Type="http://schemas.openxmlformats.org/officeDocument/2006/relationships/image" Target="../media/image28.emf"/></Relationships>
</file>

<file path=ppt/slides/_rels/slide49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24.xml"/><Relationship Id="rId5" Type="http://schemas.openxmlformats.org/officeDocument/2006/relationships/chart" Target="../charts/chart497.xml"/><Relationship Id="rId4" Type="http://schemas.openxmlformats.org/officeDocument/2006/relationships/image" Target="../media/image28.emf"/></Relationships>
</file>

<file path=ppt/slides/_rels/slide49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25.xml"/><Relationship Id="rId5" Type="http://schemas.openxmlformats.org/officeDocument/2006/relationships/chart" Target="../charts/chart498.xml"/><Relationship Id="rId4" Type="http://schemas.openxmlformats.org/officeDocument/2006/relationships/image" Target="../media/image28.emf"/></Relationships>
</file>

<file path=ppt/slides/_rels/slide49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26.xml"/><Relationship Id="rId5" Type="http://schemas.openxmlformats.org/officeDocument/2006/relationships/chart" Target="../charts/chart499.xml"/><Relationship Id="rId4" Type="http://schemas.openxmlformats.org/officeDocument/2006/relationships/image" Target="../media/image28.emf"/></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2.xml"/><Relationship Id="rId5" Type="http://schemas.openxmlformats.org/officeDocument/2006/relationships/chart" Target="../charts/chart5.xml"/><Relationship Id="rId4" Type="http://schemas.openxmlformats.org/officeDocument/2006/relationships/image" Target="../media/image28.emf"/></Relationships>
</file>

<file path=ppt/slides/_rels/slide5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7.xml"/><Relationship Id="rId5" Type="http://schemas.openxmlformats.org/officeDocument/2006/relationships/chart" Target="../charts/chart50.xml"/><Relationship Id="rId4" Type="http://schemas.openxmlformats.org/officeDocument/2006/relationships/image" Target="../media/image28.emf"/></Relationships>
</file>

<file path=ppt/slides/_rels/slide50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27.xml"/><Relationship Id="rId5" Type="http://schemas.openxmlformats.org/officeDocument/2006/relationships/chart" Target="../charts/chart500.xml"/><Relationship Id="rId4" Type="http://schemas.openxmlformats.org/officeDocument/2006/relationships/image" Target="../media/image28.emf"/></Relationships>
</file>

<file path=ppt/slides/_rels/slide50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28.xml"/><Relationship Id="rId5" Type="http://schemas.openxmlformats.org/officeDocument/2006/relationships/chart" Target="../charts/chart501.xml"/><Relationship Id="rId4" Type="http://schemas.openxmlformats.org/officeDocument/2006/relationships/image" Target="../media/image28.emf"/></Relationships>
</file>

<file path=ppt/slides/_rels/slide50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29.xml"/><Relationship Id="rId5" Type="http://schemas.openxmlformats.org/officeDocument/2006/relationships/chart" Target="../charts/chart502.xml"/><Relationship Id="rId4" Type="http://schemas.openxmlformats.org/officeDocument/2006/relationships/image" Target="../media/image28.emf"/></Relationships>
</file>

<file path=ppt/slides/_rels/slide50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30.xml"/><Relationship Id="rId5" Type="http://schemas.openxmlformats.org/officeDocument/2006/relationships/chart" Target="../charts/chart503.xml"/><Relationship Id="rId4" Type="http://schemas.openxmlformats.org/officeDocument/2006/relationships/image" Target="../media/image28.emf"/></Relationships>
</file>

<file path=ppt/slides/_rels/slide50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31.xml"/><Relationship Id="rId5" Type="http://schemas.openxmlformats.org/officeDocument/2006/relationships/chart" Target="../charts/chart504.xml"/><Relationship Id="rId4" Type="http://schemas.openxmlformats.org/officeDocument/2006/relationships/image" Target="../media/image28.emf"/></Relationships>
</file>

<file path=ppt/slides/_rels/slide50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32.xml"/><Relationship Id="rId5" Type="http://schemas.openxmlformats.org/officeDocument/2006/relationships/chart" Target="../charts/chart505.xml"/><Relationship Id="rId4" Type="http://schemas.openxmlformats.org/officeDocument/2006/relationships/image" Target="../media/image28.emf"/></Relationships>
</file>

<file path=ppt/slides/_rels/slide50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33.xml"/><Relationship Id="rId5" Type="http://schemas.openxmlformats.org/officeDocument/2006/relationships/chart" Target="../charts/chart506.xml"/><Relationship Id="rId4" Type="http://schemas.openxmlformats.org/officeDocument/2006/relationships/image" Target="../media/image28.emf"/></Relationships>
</file>

<file path=ppt/slides/_rels/slide50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34.xml"/><Relationship Id="rId5" Type="http://schemas.openxmlformats.org/officeDocument/2006/relationships/chart" Target="../charts/chart507.xml"/><Relationship Id="rId4" Type="http://schemas.openxmlformats.org/officeDocument/2006/relationships/image" Target="../media/image28.emf"/></Relationships>
</file>

<file path=ppt/slides/_rels/slide50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35.xml"/><Relationship Id="rId5" Type="http://schemas.openxmlformats.org/officeDocument/2006/relationships/chart" Target="../charts/chart508.xml"/><Relationship Id="rId4" Type="http://schemas.openxmlformats.org/officeDocument/2006/relationships/image" Target="../media/image28.emf"/></Relationships>
</file>

<file path=ppt/slides/_rels/slide50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36.xml"/><Relationship Id="rId5" Type="http://schemas.openxmlformats.org/officeDocument/2006/relationships/chart" Target="../charts/chart509.xml"/><Relationship Id="rId4" Type="http://schemas.openxmlformats.org/officeDocument/2006/relationships/image" Target="../media/image28.emf"/></Relationships>
</file>

<file path=ppt/slides/_rels/slide5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8.xml"/><Relationship Id="rId5" Type="http://schemas.openxmlformats.org/officeDocument/2006/relationships/chart" Target="../charts/chart51.xml"/><Relationship Id="rId4" Type="http://schemas.openxmlformats.org/officeDocument/2006/relationships/image" Target="../media/image28.emf"/></Relationships>
</file>

<file path=ppt/slides/_rels/slide51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37.xml"/><Relationship Id="rId5" Type="http://schemas.openxmlformats.org/officeDocument/2006/relationships/chart" Target="../charts/chart510.xml"/><Relationship Id="rId4" Type="http://schemas.openxmlformats.org/officeDocument/2006/relationships/image" Target="../media/image28.emf"/></Relationships>
</file>

<file path=ppt/slides/_rels/slide51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38.xml"/><Relationship Id="rId5" Type="http://schemas.openxmlformats.org/officeDocument/2006/relationships/chart" Target="../charts/chart511.xml"/><Relationship Id="rId4" Type="http://schemas.openxmlformats.org/officeDocument/2006/relationships/image" Target="../media/image28.emf"/></Relationships>
</file>

<file path=ppt/slides/_rels/slide51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39.xml"/><Relationship Id="rId5" Type="http://schemas.openxmlformats.org/officeDocument/2006/relationships/chart" Target="../charts/chart512.xml"/><Relationship Id="rId4" Type="http://schemas.openxmlformats.org/officeDocument/2006/relationships/image" Target="../media/image28.emf"/></Relationships>
</file>

<file path=ppt/slides/_rels/slide51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40.xml"/><Relationship Id="rId5" Type="http://schemas.openxmlformats.org/officeDocument/2006/relationships/chart" Target="../charts/chart513.xml"/><Relationship Id="rId4" Type="http://schemas.openxmlformats.org/officeDocument/2006/relationships/image" Target="../media/image28.emf"/></Relationships>
</file>

<file path=ppt/slides/_rels/slide51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41.xml"/><Relationship Id="rId5" Type="http://schemas.openxmlformats.org/officeDocument/2006/relationships/chart" Target="../charts/chart514.xml"/><Relationship Id="rId4" Type="http://schemas.openxmlformats.org/officeDocument/2006/relationships/image" Target="../media/image28.emf"/></Relationships>
</file>

<file path=ppt/slides/_rels/slide51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42.xml"/><Relationship Id="rId5" Type="http://schemas.openxmlformats.org/officeDocument/2006/relationships/chart" Target="../charts/chart515.xml"/><Relationship Id="rId4" Type="http://schemas.openxmlformats.org/officeDocument/2006/relationships/image" Target="../media/image28.emf"/></Relationships>
</file>

<file path=ppt/slides/_rels/slide51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43.xml"/><Relationship Id="rId5" Type="http://schemas.openxmlformats.org/officeDocument/2006/relationships/chart" Target="../charts/chart516.xml"/><Relationship Id="rId4" Type="http://schemas.openxmlformats.org/officeDocument/2006/relationships/image" Target="../media/image28.emf"/></Relationships>
</file>

<file path=ppt/slides/_rels/slide51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44.xml"/><Relationship Id="rId5" Type="http://schemas.openxmlformats.org/officeDocument/2006/relationships/chart" Target="../charts/chart517.xml"/><Relationship Id="rId4" Type="http://schemas.openxmlformats.org/officeDocument/2006/relationships/image" Target="../media/image28.emf"/></Relationships>
</file>

<file path=ppt/slides/_rels/slide51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45.xml"/><Relationship Id="rId5" Type="http://schemas.openxmlformats.org/officeDocument/2006/relationships/chart" Target="../charts/chart518.xml"/><Relationship Id="rId4" Type="http://schemas.openxmlformats.org/officeDocument/2006/relationships/image" Target="../media/image28.emf"/></Relationships>
</file>

<file path=ppt/slides/_rels/slide51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46.xml"/><Relationship Id="rId5" Type="http://schemas.openxmlformats.org/officeDocument/2006/relationships/chart" Target="../charts/chart519.xml"/><Relationship Id="rId4" Type="http://schemas.openxmlformats.org/officeDocument/2006/relationships/image" Target="../media/image28.emf"/></Relationships>
</file>

<file path=ppt/slides/_rels/slide5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9.xml"/><Relationship Id="rId5" Type="http://schemas.openxmlformats.org/officeDocument/2006/relationships/chart" Target="../charts/chart52.xml"/><Relationship Id="rId4" Type="http://schemas.openxmlformats.org/officeDocument/2006/relationships/image" Target="../media/image28.emf"/></Relationships>
</file>

<file path=ppt/slides/_rels/slide52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47.xml"/><Relationship Id="rId5" Type="http://schemas.openxmlformats.org/officeDocument/2006/relationships/chart" Target="../charts/chart520.xml"/><Relationship Id="rId4" Type="http://schemas.openxmlformats.org/officeDocument/2006/relationships/image" Target="../media/image28.emf"/></Relationships>
</file>

<file path=ppt/slides/_rels/slide52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48.xml"/><Relationship Id="rId5" Type="http://schemas.openxmlformats.org/officeDocument/2006/relationships/chart" Target="../charts/chart521.xml"/><Relationship Id="rId4" Type="http://schemas.openxmlformats.org/officeDocument/2006/relationships/image" Target="../media/image28.emf"/></Relationships>
</file>

<file path=ppt/slides/_rels/slide52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49.xml"/><Relationship Id="rId5" Type="http://schemas.openxmlformats.org/officeDocument/2006/relationships/chart" Target="../charts/chart522.xml"/><Relationship Id="rId4" Type="http://schemas.openxmlformats.org/officeDocument/2006/relationships/image" Target="../media/image28.emf"/></Relationships>
</file>

<file path=ppt/slides/_rels/slide52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50.xml"/><Relationship Id="rId5" Type="http://schemas.openxmlformats.org/officeDocument/2006/relationships/chart" Target="../charts/chart523.xml"/><Relationship Id="rId4" Type="http://schemas.openxmlformats.org/officeDocument/2006/relationships/image" Target="../media/image28.emf"/></Relationships>
</file>

<file path=ppt/slides/_rels/slide52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51.xml"/><Relationship Id="rId5" Type="http://schemas.openxmlformats.org/officeDocument/2006/relationships/chart" Target="../charts/chart524.xml"/><Relationship Id="rId4" Type="http://schemas.openxmlformats.org/officeDocument/2006/relationships/image" Target="../media/image28.emf"/></Relationships>
</file>

<file path=ppt/slides/_rels/slide52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52.xml"/><Relationship Id="rId5" Type="http://schemas.openxmlformats.org/officeDocument/2006/relationships/chart" Target="../charts/chart525.xml"/><Relationship Id="rId4" Type="http://schemas.openxmlformats.org/officeDocument/2006/relationships/image" Target="../media/image28.emf"/></Relationships>
</file>

<file path=ppt/slides/_rels/slide52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53.xml"/><Relationship Id="rId5" Type="http://schemas.openxmlformats.org/officeDocument/2006/relationships/chart" Target="../charts/chart526.xml"/><Relationship Id="rId4" Type="http://schemas.openxmlformats.org/officeDocument/2006/relationships/image" Target="../media/image28.emf"/></Relationships>
</file>

<file path=ppt/slides/_rels/slide52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54.xml"/><Relationship Id="rId5" Type="http://schemas.openxmlformats.org/officeDocument/2006/relationships/chart" Target="../charts/chart527.xml"/><Relationship Id="rId4" Type="http://schemas.openxmlformats.org/officeDocument/2006/relationships/image" Target="../media/image28.emf"/></Relationships>
</file>

<file path=ppt/slides/_rels/slide52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55.xml"/><Relationship Id="rId5" Type="http://schemas.openxmlformats.org/officeDocument/2006/relationships/chart" Target="../charts/chart528.xml"/><Relationship Id="rId4" Type="http://schemas.openxmlformats.org/officeDocument/2006/relationships/image" Target="../media/image28.emf"/></Relationships>
</file>

<file path=ppt/slides/_rels/slide52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56.xml"/><Relationship Id="rId5" Type="http://schemas.openxmlformats.org/officeDocument/2006/relationships/chart" Target="../charts/chart529.xml"/><Relationship Id="rId4" Type="http://schemas.openxmlformats.org/officeDocument/2006/relationships/image" Target="../media/image28.emf"/></Relationships>
</file>

<file path=ppt/slides/_rels/slide5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0.xml"/><Relationship Id="rId5" Type="http://schemas.openxmlformats.org/officeDocument/2006/relationships/chart" Target="../charts/chart53.xml"/><Relationship Id="rId4" Type="http://schemas.openxmlformats.org/officeDocument/2006/relationships/image" Target="../media/image28.emf"/></Relationships>
</file>

<file path=ppt/slides/_rels/slide53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57.xml"/><Relationship Id="rId5" Type="http://schemas.openxmlformats.org/officeDocument/2006/relationships/chart" Target="../charts/chart530.xml"/><Relationship Id="rId4" Type="http://schemas.openxmlformats.org/officeDocument/2006/relationships/image" Target="../media/image28.emf"/></Relationships>
</file>

<file path=ppt/slides/_rels/slide53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58.xml"/><Relationship Id="rId5" Type="http://schemas.openxmlformats.org/officeDocument/2006/relationships/chart" Target="../charts/chart531.xml"/><Relationship Id="rId4" Type="http://schemas.openxmlformats.org/officeDocument/2006/relationships/image" Target="../media/image28.emf"/></Relationships>
</file>

<file path=ppt/slides/_rels/slide53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59.xml"/><Relationship Id="rId5" Type="http://schemas.openxmlformats.org/officeDocument/2006/relationships/chart" Target="../charts/chart532.xml"/><Relationship Id="rId4" Type="http://schemas.openxmlformats.org/officeDocument/2006/relationships/image" Target="../media/image28.emf"/></Relationships>
</file>

<file path=ppt/slides/_rels/slide53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60.xml"/><Relationship Id="rId5" Type="http://schemas.openxmlformats.org/officeDocument/2006/relationships/chart" Target="../charts/chart533.xml"/><Relationship Id="rId4" Type="http://schemas.openxmlformats.org/officeDocument/2006/relationships/image" Target="../media/image28.emf"/></Relationships>
</file>

<file path=ppt/slides/_rels/slide53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61.xml"/><Relationship Id="rId5" Type="http://schemas.openxmlformats.org/officeDocument/2006/relationships/chart" Target="../charts/chart534.xml"/><Relationship Id="rId4" Type="http://schemas.openxmlformats.org/officeDocument/2006/relationships/image" Target="../media/image28.emf"/></Relationships>
</file>

<file path=ppt/slides/_rels/slide53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62.xml"/><Relationship Id="rId5" Type="http://schemas.openxmlformats.org/officeDocument/2006/relationships/chart" Target="../charts/chart535.xml"/><Relationship Id="rId4" Type="http://schemas.openxmlformats.org/officeDocument/2006/relationships/image" Target="../media/image28.emf"/></Relationships>
</file>

<file path=ppt/slides/_rels/slide53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63.xml"/><Relationship Id="rId5" Type="http://schemas.openxmlformats.org/officeDocument/2006/relationships/chart" Target="../charts/chart536.xml"/><Relationship Id="rId4" Type="http://schemas.openxmlformats.org/officeDocument/2006/relationships/image" Target="../media/image28.emf"/></Relationships>
</file>

<file path=ppt/slides/_rels/slide53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64.xml"/><Relationship Id="rId5" Type="http://schemas.openxmlformats.org/officeDocument/2006/relationships/chart" Target="../charts/chart537.xml"/><Relationship Id="rId4" Type="http://schemas.openxmlformats.org/officeDocument/2006/relationships/image" Target="../media/image28.emf"/></Relationships>
</file>

<file path=ppt/slides/_rels/slide53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65.xml"/><Relationship Id="rId5" Type="http://schemas.openxmlformats.org/officeDocument/2006/relationships/chart" Target="../charts/chart538.xml"/><Relationship Id="rId4" Type="http://schemas.openxmlformats.org/officeDocument/2006/relationships/image" Target="../media/image28.emf"/></Relationships>
</file>

<file path=ppt/slides/_rels/slide53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66.xml"/><Relationship Id="rId5" Type="http://schemas.openxmlformats.org/officeDocument/2006/relationships/chart" Target="../charts/chart539.xml"/><Relationship Id="rId4" Type="http://schemas.openxmlformats.org/officeDocument/2006/relationships/image" Target="../media/image28.emf"/></Relationships>
</file>

<file path=ppt/slides/_rels/slide5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1.xml"/><Relationship Id="rId5" Type="http://schemas.openxmlformats.org/officeDocument/2006/relationships/chart" Target="../charts/chart54.xml"/><Relationship Id="rId4" Type="http://schemas.openxmlformats.org/officeDocument/2006/relationships/image" Target="../media/image28.emf"/></Relationships>
</file>

<file path=ppt/slides/_rels/slide54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67.xml"/><Relationship Id="rId5" Type="http://schemas.openxmlformats.org/officeDocument/2006/relationships/chart" Target="../charts/chart540.xml"/><Relationship Id="rId4" Type="http://schemas.openxmlformats.org/officeDocument/2006/relationships/image" Target="../media/image28.emf"/></Relationships>
</file>

<file path=ppt/slides/_rels/slide54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68.xml"/><Relationship Id="rId5" Type="http://schemas.openxmlformats.org/officeDocument/2006/relationships/chart" Target="../charts/chart541.xml"/><Relationship Id="rId4" Type="http://schemas.openxmlformats.org/officeDocument/2006/relationships/image" Target="../media/image28.emf"/></Relationships>
</file>

<file path=ppt/slides/_rels/slide54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69.xml"/><Relationship Id="rId5" Type="http://schemas.openxmlformats.org/officeDocument/2006/relationships/chart" Target="../charts/chart542.xml"/><Relationship Id="rId4" Type="http://schemas.openxmlformats.org/officeDocument/2006/relationships/image" Target="../media/image28.emf"/></Relationships>
</file>

<file path=ppt/slides/_rels/slide54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70.xml"/><Relationship Id="rId5" Type="http://schemas.openxmlformats.org/officeDocument/2006/relationships/chart" Target="../charts/chart543.xml"/><Relationship Id="rId4" Type="http://schemas.openxmlformats.org/officeDocument/2006/relationships/image" Target="../media/image28.emf"/></Relationships>
</file>

<file path=ppt/slides/_rels/slide54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71.xml"/><Relationship Id="rId5" Type="http://schemas.openxmlformats.org/officeDocument/2006/relationships/chart" Target="../charts/chart544.xml"/><Relationship Id="rId4" Type="http://schemas.openxmlformats.org/officeDocument/2006/relationships/image" Target="../media/image28.emf"/></Relationships>
</file>

<file path=ppt/slides/_rels/slide54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72.xml"/><Relationship Id="rId5" Type="http://schemas.openxmlformats.org/officeDocument/2006/relationships/chart" Target="../charts/chart545.xml"/><Relationship Id="rId4" Type="http://schemas.openxmlformats.org/officeDocument/2006/relationships/image" Target="../media/image28.emf"/></Relationships>
</file>

<file path=ppt/slides/_rels/slide54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73.xml"/><Relationship Id="rId5" Type="http://schemas.openxmlformats.org/officeDocument/2006/relationships/chart" Target="../charts/chart546.xml"/><Relationship Id="rId4" Type="http://schemas.openxmlformats.org/officeDocument/2006/relationships/image" Target="../media/image28.emf"/></Relationships>
</file>

<file path=ppt/slides/_rels/slide54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74.xml"/><Relationship Id="rId5" Type="http://schemas.openxmlformats.org/officeDocument/2006/relationships/chart" Target="../charts/chart547.xml"/><Relationship Id="rId4" Type="http://schemas.openxmlformats.org/officeDocument/2006/relationships/image" Target="../media/image28.emf"/></Relationships>
</file>

<file path=ppt/slides/_rels/slide54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75.xml"/><Relationship Id="rId5" Type="http://schemas.openxmlformats.org/officeDocument/2006/relationships/chart" Target="../charts/chart548.xml"/><Relationship Id="rId4" Type="http://schemas.openxmlformats.org/officeDocument/2006/relationships/image" Target="../media/image28.emf"/></Relationships>
</file>

<file path=ppt/slides/_rels/slide54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76.xml"/><Relationship Id="rId5" Type="http://schemas.openxmlformats.org/officeDocument/2006/relationships/chart" Target="../charts/chart549.xml"/><Relationship Id="rId4" Type="http://schemas.openxmlformats.org/officeDocument/2006/relationships/image" Target="../media/image28.emf"/></Relationships>
</file>

<file path=ppt/slides/_rels/slide5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2.xml"/><Relationship Id="rId5" Type="http://schemas.openxmlformats.org/officeDocument/2006/relationships/chart" Target="../charts/chart55.xml"/><Relationship Id="rId4" Type="http://schemas.openxmlformats.org/officeDocument/2006/relationships/image" Target="../media/image28.emf"/></Relationships>
</file>

<file path=ppt/slides/_rels/slide55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77.xml"/><Relationship Id="rId5" Type="http://schemas.openxmlformats.org/officeDocument/2006/relationships/chart" Target="../charts/chart550.xml"/><Relationship Id="rId4" Type="http://schemas.openxmlformats.org/officeDocument/2006/relationships/image" Target="../media/image28.emf"/></Relationships>
</file>

<file path=ppt/slides/_rels/slide55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78.xml"/><Relationship Id="rId5" Type="http://schemas.openxmlformats.org/officeDocument/2006/relationships/chart" Target="../charts/chart551.xml"/><Relationship Id="rId4" Type="http://schemas.openxmlformats.org/officeDocument/2006/relationships/image" Target="../media/image28.emf"/></Relationships>
</file>

<file path=ppt/slides/_rels/slide55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79.xml"/><Relationship Id="rId5" Type="http://schemas.openxmlformats.org/officeDocument/2006/relationships/chart" Target="../charts/chart552.xml"/><Relationship Id="rId4" Type="http://schemas.openxmlformats.org/officeDocument/2006/relationships/image" Target="../media/image28.emf"/></Relationships>
</file>

<file path=ppt/slides/_rels/slide55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80.xml"/><Relationship Id="rId5" Type="http://schemas.openxmlformats.org/officeDocument/2006/relationships/chart" Target="../charts/chart553.xml"/><Relationship Id="rId4" Type="http://schemas.openxmlformats.org/officeDocument/2006/relationships/image" Target="../media/image28.emf"/></Relationships>
</file>

<file path=ppt/slides/_rels/slide55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81.xml"/><Relationship Id="rId5" Type="http://schemas.openxmlformats.org/officeDocument/2006/relationships/chart" Target="../charts/chart554.xml"/><Relationship Id="rId4" Type="http://schemas.openxmlformats.org/officeDocument/2006/relationships/image" Target="../media/image28.emf"/></Relationships>
</file>

<file path=ppt/slides/_rels/slide55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82.xml"/><Relationship Id="rId5" Type="http://schemas.openxmlformats.org/officeDocument/2006/relationships/chart" Target="../charts/chart555.xml"/><Relationship Id="rId4" Type="http://schemas.openxmlformats.org/officeDocument/2006/relationships/image" Target="../media/image28.emf"/></Relationships>
</file>

<file path=ppt/slides/_rels/slide55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83.xml"/><Relationship Id="rId5" Type="http://schemas.openxmlformats.org/officeDocument/2006/relationships/chart" Target="../charts/chart556.xml"/><Relationship Id="rId4" Type="http://schemas.openxmlformats.org/officeDocument/2006/relationships/image" Target="../media/image28.emf"/></Relationships>
</file>

<file path=ppt/slides/_rels/slide55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84.xml"/><Relationship Id="rId5" Type="http://schemas.openxmlformats.org/officeDocument/2006/relationships/chart" Target="../charts/chart557.xml"/><Relationship Id="rId4" Type="http://schemas.openxmlformats.org/officeDocument/2006/relationships/image" Target="../media/image28.emf"/></Relationships>
</file>

<file path=ppt/slides/_rels/slide55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85.xml"/><Relationship Id="rId5" Type="http://schemas.openxmlformats.org/officeDocument/2006/relationships/chart" Target="../charts/chart558.xml"/><Relationship Id="rId4" Type="http://schemas.openxmlformats.org/officeDocument/2006/relationships/image" Target="../media/image28.emf"/></Relationships>
</file>

<file path=ppt/slides/_rels/slide55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86.xml"/><Relationship Id="rId5" Type="http://schemas.openxmlformats.org/officeDocument/2006/relationships/chart" Target="../charts/chart559.xml"/><Relationship Id="rId4" Type="http://schemas.openxmlformats.org/officeDocument/2006/relationships/image" Target="../media/image28.emf"/></Relationships>
</file>

<file path=ppt/slides/_rels/slide5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3.xml"/><Relationship Id="rId5" Type="http://schemas.openxmlformats.org/officeDocument/2006/relationships/chart" Target="../charts/chart56.xml"/><Relationship Id="rId4" Type="http://schemas.openxmlformats.org/officeDocument/2006/relationships/image" Target="../media/image28.emf"/></Relationships>
</file>

<file path=ppt/slides/_rels/slide56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87.xml"/><Relationship Id="rId5" Type="http://schemas.openxmlformats.org/officeDocument/2006/relationships/chart" Target="../charts/chart560.xml"/><Relationship Id="rId4" Type="http://schemas.openxmlformats.org/officeDocument/2006/relationships/image" Target="../media/image28.emf"/></Relationships>
</file>

<file path=ppt/slides/_rels/slide56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88.xml"/><Relationship Id="rId5" Type="http://schemas.openxmlformats.org/officeDocument/2006/relationships/chart" Target="../charts/chart561.xml"/><Relationship Id="rId4" Type="http://schemas.openxmlformats.org/officeDocument/2006/relationships/image" Target="../media/image28.emf"/></Relationships>
</file>

<file path=ppt/slides/_rels/slide56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89.xml"/><Relationship Id="rId5" Type="http://schemas.openxmlformats.org/officeDocument/2006/relationships/chart" Target="../charts/chart562.xml"/><Relationship Id="rId4" Type="http://schemas.openxmlformats.org/officeDocument/2006/relationships/image" Target="../media/image28.emf"/></Relationships>
</file>

<file path=ppt/slides/_rels/slide56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90.xml"/><Relationship Id="rId5" Type="http://schemas.openxmlformats.org/officeDocument/2006/relationships/chart" Target="../charts/chart563.xml"/><Relationship Id="rId4" Type="http://schemas.openxmlformats.org/officeDocument/2006/relationships/image" Target="../media/image28.emf"/></Relationships>
</file>

<file path=ppt/slides/_rels/slide56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91.xml"/><Relationship Id="rId5" Type="http://schemas.openxmlformats.org/officeDocument/2006/relationships/chart" Target="../charts/chart564.xml"/><Relationship Id="rId4" Type="http://schemas.openxmlformats.org/officeDocument/2006/relationships/image" Target="../media/image28.emf"/></Relationships>
</file>

<file path=ppt/slides/_rels/slide56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92.xml"/><Relationship Id="rId5" Type="http://schemas.openxmlformats.org/officeDocument/2006/relationships/chart" Target="../charts/chart565.xml"/><Relationship Id="rId4" Type="http://schemas.openxmlformats.org/officeDocument/2006/relationships/image" Target="../media/image28.emf"/></Relationships>
</file>

<file path=ppt/slides/_rels/slide56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93.xml"/><Relationship Id="rId5" Type="http://schemas.openxmlformats.org/officeDocument/2006/relationships/chart" Target="../charts/chart566.xml"/><Relationship Id="rId4" Type="http://schemas.openxmlformats.org/officeDocument/2006/relationships/image" Target="../media/image28.emf"/></Relationships>
</file>

<file path=ppt/slides/_rels/slide56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94.xml"/><Relationship Id="rId5" Type="http://schemas.openxmlformats.org/officeDocument/2006/relationships/chart" Target="../charts/chart567.xml"/><Relationship Id="rId4" Type="http://schemas.openxmlformats.org/officeDocument/2006/relationships/image" Target="../media/image28.emf"/></Relationships>
</file>

<file path=ppt/slides/_rels/slide56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95.xml"/><Relationship Id="rId5" Type="http://schemas.openxmlformats.org/officeDocument/2006/relationships/chart" Target="../charts/chart568.xml"/><Relationship Id="rId4" Type="http://schemas.openxmlformats.org/officeDocument/2006/relationships/image" Target="../media/image28.emf"/></Relationships>
</file>

<file path=ppt/slides/_rels/slide56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96.xml"/><Relationship Id="rId5" Type="http://schemas.openxmlformats.org/officeDocument/2006/relationships/chart" Target="../charts/chart569.xml"/><Relationship Id="rId4" Type="http://schemas.openxmlformats.org/officeDocument/2006/relationships/image" Target="../media/image28.emf"/></Relationships>
</file>

<file path=ppt/slides/_rels/slide5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4.xml"/><Relationship Id="rId5" Type="http://schemas.openxmlformats.org/officeDocument/2006/relationships/chart" Target="../charts/chart57.xml"/><Relationship Id="rId4" Type="http://schemas.openxmlformats.org/officeDocument/2006/relationships/image" Target="../media/image28.emf"/></Relationships>
</file>

<file path=ppt/slides/_rels/slide57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97.xml"/><Relationship Id="rId5" Type="http://schemas.openxmlformats.org/officeDocument/2006/relationships/chart" Target="../charts/chart570.xml"/><Relationship Id="rId4" Type="http://schemas.openxmlformats.org/officeDocument/2006/relationships/image" Target="../media/image28.emf"/></Relationships>
</file>

<file path=ppt/slides/_rels/slide57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98.xml"/><Relationship Id="rId5" Type="http://schemas.openxmlformats.org/officeDocument/2006/relationships/chart" Target="../charts/chart571.xml"/><Relationship Id="rId4" Type="http://schemas.openxmlformats.org/officeDocument/2006/relationships/image" Target="../media/image28.emf"/></Relationships>
</file>

<file path=ppt/slides/_rels/slide57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99.xml"/><Relationship Id="rId5" Type="http://schemas.openxmlformats.org/officeDocument/2006/relationships/chart" Target="../charts/chart572.xml"/><Relationship Id="rId4" Type="http://schemas.openxmlformats.org/officeDocument/2006/relationships/image" Target="../media/image28.emf"/></Relationships>
</file>

<file path=ppt/slides/_rels/slide57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00.xml"/><Relationship Id="rId5" Type="http://schemas.openxmlformats.org/officeDocument/2006/relationships/chart" Target="../charts/chart573.xml"/><Relationship Id="rId4" Type="http://schemas.openxmlformats.org/officeDocument/2006/relationships/image" Target="../media/image28.emf"/></Relationships>
</file>

<file path=ppt/slides/_rels/slide57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01.xml"/><Relationship Id="rId5" Type="http://schemas.openxmlformats.org/officeDocument/2006/relationships/chart" Target="../charts/chart574.xml"/><Relationship Id="rId4" Type="http://schemas.openxmlformats.org/officeDocument/2006/relationships/image" Target="../media/image28.emf"/></Relationships>
</file>

<file path=ppt/slides/_rels/slide57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02.xml"/><Relationship Id="rId5" Type="http://schemas.openxmlformats.org/officeDocument/2006/relationships/chart" Target="../charts/chart575.xml"/><Relationship Id="rId4" Type="http://schemas.openxmlformats.org/officeDocument/2006/relationships/image" Target="../media/image28.emf"/></Relationships>
</file>

<file path=ppt/slides/_rels/slide57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03.xml"/><Relationship Id="rId5" Type="http://schemas.openxmlformats.org/officeDocument/2006/relationships/chart" Target="../charts/chart576.xml"/><Relationship Id="rId4" Type="http://schemas.openxmlformats.org/officeDocument/2006/relationships/image" Target="../media/image28.emf"/></Relationships>
</file>

<file path=ppt/slides/_rels/slide57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04.xml"/><Relationship Id="rId5" Type="http://schemas.openxmlformats.org/officeDocument/2006/relationships/chart" Target="../charts/chart577.xml"/><Relationship Id="rId4" Type="http://schemas.openxmlformats.org/officeDocument/2006/relationships/image" Target="../media/image28.emf"/></Relationships>
</file>

<file path=ppt/slides/_rels/slide57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05.xml"/><Relationship Id="rId5" Type="http://schemas.openxmlformats.org/officeDocument/2006/relationships/chart" Target="../charts/chart578.xml"/><Relationship Id="rId4" Type="http://schemas.openxmlformats.org/officeDocument/2006/relationships/image" Target="../media/image28.emf"/></Relationships>
</file>

<file path=ppt/slides/_rels/slide57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06.xml"/><Relationship Id="rId5" Type="http://schemas.openxmlformats.org/officeDocument/2006/relationships/chart" Target="../charts/chart579.xml"/><Relationship Id="rId4" Type="http://schemas.openxmlformats.org/officeDocument/2006/relationships/image" Target="../media/image28.emf"/></Relationships>
</file>

<file path=ppt/slides/_rels/slide5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5.xml"/><Relationship Id="rId5" Type="http://schemas.openxmlformats.org/officeDocument/2006/relationships/chart" Target="../charts/chart58.xml"/><Relationship Id="rId4" Type="http://schemas.openxmlformats.org/officeDocument/2006/relationships/image" Target="../media/image28.emf"/></Relationships>
</file>

<file path=ppt/slides/_rels/slide58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07.xml"/><Relationship Id="rId5" Type="http://schemas.openxmlformats.org/officeDocument/2006/relationships/chart" Target="../charts/chart580.xml"/><Relationship Id="rId4" Type="http://schemas.openxmlformats.org/officeDocument/2006/relationships/image" Target="../media/image28.emf"/></Relationships>
</file>

<file path=ppt/slides/_rels/slide58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08.xml"/><Relationship Id="rId5" Type="http://schemas.openxmlformats.org/officeDocument/2006/relationships/chart" Target="../charts/chart581.xml"/><Relationship Id="rId4" Type="http://schemas.openxmlformats.org/officeDocument/2006/relationships/image" Target="../media/image28.emf"/></Relationships>
</file>

<file path=ppt/slides/_rels/slide58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09.xml"/><Relationship Id="rId5" Type="http://schemas.openxmlformats.org/officeDocument/2006/relationships/chart" Target="../charts/chart582.xml"/><Relationship Id="rId4" Type="http://schemas.openxmlformats.org/officeDocument/2006/relationships/image" Target="../media/image28.emf"/></Relationships>
</file>

<file path=ppt/slides/_rels/slide58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10.xml"/><Relationship Id="rId5" Type="http://schemas.openxmlformats.org/officeDocument/2006/relationships/chart" Target="../charts/chart583.xml"/><Relationship Id="rId4" Type="http://schemas.openxmlformats.org/officeDocument/2006/relationships/image" Target="../media/image28.emf"/></Relationships>
</file>

<file path=ppt/slides/_rels/slide58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11.xml"/><Relationship Id="rId5" Type="http://schemas.openxmlformats.org/officeDocument/2006/relationships/chart" Target="../charts/chart584.xml"/><Relationship Id="rId4" Type="http://schemas.openxmlformats.org/officeDocument/2006/relationships/image" Target="../media/image28.emf"/></Relationships>
</file>

<file path=ppt/slides/_rels/slide58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12.xml"/><Relationship Id="rId5" Type="http://schemas.openxmlformats.org/officeDocument/2006/relationships/chart" Target="../charts/chart585.xml"/><Relationship Id="rId4" Type="http://schemas.openxmlformats.org/officeDocument/2006/relationships/image" Target="../media/image28.emf"/></Relationships>
</file>

<file path=ppt/slides/_rels/slide58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13.xml"/><Relationship Id="rId5" Type="http://schemas.openxmlformats.org/officeDocument/2006/relationships/chart" Target="../charts/chart586.xml"/><Relationship Id="rId4" Type="http://schemas.openxmlformats.org/officeDocument/2006/relationships/image" Target="../media/image28.emf"/></Relationships>
</file>

<file path=ppt/slides/_rels/slide58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14.xml"/><Relationship Id="rId5" Type="http://schemas.openxmlformats.org/officeDocument/2006/relationships/chart" Target="../charts/chart587.xml"/><Relationship Id="rId4" Type="http://schemas.openxmlformats.org/officeDocument/2006/relationships/image" Target="../media/image28.emf"/></Relationships>
</file>

<file path=ppt/slides/_rels/slide58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15.xml"/><Relationship Id="rId5" Type="http://schemas.openxmlformats.org/officeDocument/2006/relationships/chart" Target="../charts/chart588.xml"/><Relationship Id="rId4" Type="http://schemas.openxmlformats.org/officeDocument/2006/relationships/image" Target="../media/image28.emf"/></Relationships>
</file>

<file path=ppt/slides/_rels/slide58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16.xml"/><Relationship Id="rId5" Type="http://schemas.openxmlformats.org/officeDocument/2006/relationships/chart" Target="../charts/chart589.xml"/><Relationship Id="rId4" Type="http://schemas.openxmlformats.org/officeDocument/2006/relationships/image" Target="../media/image28.emf"/></Relationships>
</file>

<file path=ppt/slides/_rels/slide5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6.xml"/><Relationship Id="rId5" Type="http://schemas.openxmlformats.org/officeDocument/2006/relationships/chart" Target="../charts/chart59.xml"/><Relationship Id="rId4" Type="http://schemas.openxmlformats.org/officeDocument/2006/relationships/image" Target="../media/image28.emf"/></Relationships>
</file>

<file path=ppt/slides/_rels/slide59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17.xml"/><Relationship Id="rId5" Type="http://schemas.openxmlformats.org/officeDocument/2006/relationships/chart" Target="../charts/chart590.xml"/><Relationship Id="rId4" Type="http://schemas.openxmlformats.org/officeDocument/2006/relationships/image" Target="../media/image28.emf"/></Relationships>
</file>

<file path=ppt/slides/_rels/slide59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18.xml"/><Relationship Id="rId5" Type="http://schemas.openxmlformats.org/officeDocument/2006/relationships/chart" Target="../charts/chart591.xml"/><Relationship Id="rId4" Type="http://schemas.openxmlformats.org/officeDocument/2006/relationships/image" Target="../media/image28.emf"/></Relationships>
</file>

<file path=ppt/slides/_rels/slide59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19.xml"/><Relationship Id="rId5" Type="http://schemas.openxmlformats.org/officeDocument/2006/relationships/chart" Target="../charts/chart592.xml"/><Relationship Id="rId4" Type="http://schemas.openxmlformats.org/officeDocument/2006/relationships/image" Target="../media/image28.emf"/></Relationships>
</file>

<file path=ppt/slides/_rels/slide59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20.xml"/><Relationship Id="rId5" Type="http://schemas.openxmlformats.org/officeDocument/2006/relationships/chart" Target="../charts/chart593.xml"/><Relationship Id="rId4" Type="http://schemas.openxmlformats.org/officeDocument/2006/relationships/image" Target="../media/image28.emf"/></Relationships>
</file>

<file path=ppt/slides/_rels/slide59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21.xml"/><Relationship Id="rId5" Type="http://schemas.openxmlformats.org/officeDocument/2006/relationships/chart" Target="../charts/chart594.xml"/><Relationship Id="rId4" Type="http://schemas.openxmlformats.org/officeDocument/2006/relationships/image" Target="../media/image28.emf"/></Relationships>
</file>

<file path=ppt/slides/_rels/slide59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22.xml"/><Relationship Id="rId5" Type="http://schemas.openxmlformats.org/officeDocument/2006/relationships/chart" Target="../charts/chart595.xml"/><Relationship Id="rId4" Type="http://schemas.openxmlformats.org/officeDocument/2006/relationships/image" Target="../media/image28.emf"/></Relationships>
</file>

<file path=ppt/slides/_rels/slide59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23.xml"/><Relationship Id="rId5" Type="http://schemas.openxmlformats.org/officeDocument/2006/relationships/chart" Target="../charts/chart596.xml"/><Relationship Id="rId4" Type="http://schemas.openxmlformats.org/officeDocument/2006/relationships/image" Target="../media/image28.emf"/></Relationships>
</file>

<file path=ppt/slides/_rels/slide59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24.xml"/><Relationship Id="rId5" Type="http://schemas.openxmlformats.org/officeDocument/2006/relationships/chart" Target="../charts/chart597.xml"/><Relationship Id="rId4" Type="http://schemas.openxmlformats.org/officeDocument/2006/relationships/image" Target="../media/image28.emf"/></Relationships>
</file>

<file path=ppt/slides/_rels/slide59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25.xml"/><Relationship Id="rId5" Type="http://schemas.openxmlformats.org/officeDocument/2006/relationships/chart" Target="../charts/chart598.xml"/><Relationship Id="rId4" Type="http://schemas.openxmlformats.org/officeDocument/2006/relationships/image" Target="../media/image28.emf"/></Relationships>
</file>

<file path=ppt/slides/_rels/slide59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26.xml"/><Relationship Id="rId5" Type="http://schemas.openxmlformats.org/officeDocument/2006/relationships/chart" Target="../charts/chart599.xml"/><Relationship Id="rId4" Type="http://schemas.openxmlformats.org/officeDocument/2006/relationships/image" Target="../media/image28.emf"/></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3.xml"/><Relationship Id="rId5" Type="http://schemas.openxmlformats.org/officeDocument/2006/relationships/chart" Target="../charts/chart6.xml"/><Relationship Id="rId4" Type="http://schemas.openxmlformats.org/officeDocument/2006/relationships/image" Target="../media/image28.emf"/></Relationships>
</file>

<file path=ppt/slides/_rels/slide6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7.xml"/><Relationship Id="rId5" Type="http://schemas.openxmlformats.org/officeDocument/2006/relationships/chart" Target="../charts/chart60.xml"/><Relationship Id="rId4" Type="http://schemas.openxmlformats.org/officeDocument/2006/relationships/image" Target="../media/image28.emf"/></Relationships>
</file>

<file path=ppt/slides/_rels/slide60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27.xml"/><Relationship Id="rId5" Type="http://schemas.openxmlformats.org/officeDocument/2006/relationships/chart" Target="../charts/chart600.xml"/><Relationship Id="rId4" Type="http://schemas.openxmlformats.org/officeDocument/2006/relationships/image" Target="../media/image28.emf"/></Relationships>
</file>

<file path=ppt/slides/_rels/slide60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28.xml"/><Relationship Id="rId5" Type="http://schemas.openxmlformats.org/officeDocument/2006/relationships/chart" Target="../charts/chart601.xml"/><Relationship Id="rId4" Type="http://schemas.openxmlformats.org/officeDocument/2006/relationships/image" Target="../media/image28.emf"/></Relationships>
</file>

<file path=ppt/slides/_rels/slide60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29.xml"/><Relationship Id="rId5" Type="http://schemas.openxmlformats.org/officeDocument/2006/relationships/chart" Target="../charts/chart602.xml"/><Relationship Id="rId4" Type="http://schemas.openxmlformats.org/officeDocument/2006/relationships/image" Target="../media/image28.emf"/></Relationships>
</file>

<file path=ppt/slides/_rels/slide60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30.xml"/><Relationship Id="rId5" Type="http://schemas.openxmlformats.org/officeDocument/2006/relationships/chart" Target="../charts/chart603.xml"/><Relationship Id="rId4" Type="http://schemas.openxmlformats.org/officeDocument/2006/relationships/image" Target="../media/image28.emf"/></Relationships>
</file>

<file path=ppt/slides/_rels/slide60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31.xml"/><Relationship Id="rId5" Type="http://schemas.openxmlformats.org/officeDocument/2006/relationships/chart" Target="../charts/chart604.xml"/><Relationship Id="rId4" Type="http://schemas.openxmlformats.org/officeDocument/2006/relationships/image" Target="../media/image28.emf"/></Relationships>
</file>

<file path=ppt/slides/_rels/slide60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32.xml"/><Relationship Id="rId5" Type="http://schemas.openxmlformats.org/officeDocument/2006/relationships/chart" Target="../charts/chart605.xml"/><Relationship Id="rId4" Type="http://schemas.openxmlformats.org/officeDocument/2006/relationships/image" Target="../media/image28.emf"/></Relationships>
</file>

<file path=ppt/slides/_rels/slide60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33.xml"/><Relationship Id="rId5" Type="http://schemas.openxmlformats.org/officeDocument/2006/relationships/chart" Target="../charts/chart606.xml"/><Relationship Id="rId4" Type="http://schemas.openxmlformats.org/officeDocument/2006/relationships/image" Target="../media/image28.emf"/></Relationships>
</file>

<file path=ppt/slides/_rels/slide60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34.xml"/><Relationship Id="rId5" Type="http://schemas.openxmlformats.org/officeDocument/2006/relationships/chart" Target="../charts/chart607.xml"/><Relationship Id="rId4" Type="http://schemas.openxmlformats.org/officeDocument/2006/relationships/image" Target="../media/image28.emf"/></Relationships>
</file>

<file path=ppt/slides/_rels/slide60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35.xml"/><Relationship Id="rId5" Type="http://schemas.openxmlformats.org/officeDocument/2006/relationships/chart" Target="../charts/chart608.xml"/><Relationship Id="rId4" Type="http://schemas.openxmlformats.org/officeDocument/2006/relationships/image" Target="../media/image28.emf"/></Relationships>
</file>

<file path=ppt/slides/_rels/slide60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36.xml"/><Relationship Id="rId5" Type="http://schemas.openxmlformats.org/officeDocument/2006/relationships/chart" Target="../charts/chart609.xml"/><Relationship Id="rId4" Type="http://schemas.openxmlformats.org/officeDocument/2006/relationships/image" Target="../media/image28.emf"/></Relationships>
</file>

<file path=ppt/slides/_rels/slide6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8.xml"/><Relationship Id="rId5" Type="http://schemas.openxmlformats.org/officeDocument/2006/relationships/chart" Target="../charts/chart61.xml"/><Relationship Id="rId4" Type="http://schemas.openxmlformats.org/officeDocument/2006/relationships/image" Target="../media/image28.emf"/></Relationships>
</file>

<file path=ppt/slides/_rels/slide61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37.xml"/><Relationship Id="rId5" Type="http://schemas.openxmlformats.org/officeDocument/2006/relationships/chart" Target="../charts/chart610.xml"/><Relationship Id="rId4" Type="http://schemas.openxmlformats.org/officeDocument/2006/relationships/image" Target="../media/image28.emf"/></Relationships>
</file>

<file path=ppt/slides/_rels/slide61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38.xml"/><Relationship Id="rId5" Type="http://schemas.openxmlformats.org/officeDocument/2006/relationships/chart" Target="../charts/chart611.xml"/><Relationship Id="rId4" Type="http://schemas.openxmlformats.org/officeDocument/2006/relationships/image" Target="../media/image28.emf"/></Relationships>
</file>

<file path=ppt/slides/_rels/slide61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39.xml"/><Relationship Id="rId5" Type="http://schemas.openxmlformats.org/officeDocument/2006/relationships/chart" Target="../charts/chart612.xml"/><Relationship Id="rId4" Type="http://schemas.openxmlformats.org/officeDocument/2006/relationships/image" Target="../media/image28.emf"/></Relationships>
</file>

<file path=ppt/slides/_rels/slide61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40.xml"/><Relationship Id="rId5" Type="http://schemas.openxmlformats.org/officeDocument/2006/relationships/chart" Target="../charts/chart613.xml"/><Relationship Id="rId4" Type="http://schemas.openxmlformats.org/officeDocument/2006/relationships/image" Target="../media/image28.emf"/></Relationships>
</file>

<file path=ppt/slides/_rels/slide61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41.xml"/><Relationship Id="rId5" Type="http://schemas.openxmlformats.org/officeDocument/2006/relationships/chart" Target="../charts/chart614.xml"/><Relationship Id="rId4" Type="http://schemas.openxmlformats.org/officeDocument/2006/relationships/image" Target="../media/image28.emf"/></Relationships>
</file>

<file path=ppt/slides/_rels/slide61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42.xml"/><Relationship Id="rId5" Type="http://schemas.openxmlformats.org/officeDocument/2006/relationships/chart" Target="../charts/chart615.xml"/><Relationship Id="rId4" Type="http://schemas.openxmlformats.org/officeDocument/2006/relationships/image" Target="../media/image28.emf"/></Relationships>
</file>

<file path=ppt/slides/_rels/slide61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43.xml"/><Relationship Id="rId5" Type="http://schemas.openxmlformats.org/officeDocument/2006/relationships/chart" Target="../charts/chart616.xml"/><Relationship Id="rId4" Type="http://schemas.openxmlformats.org/officeDocument/2006/relationships/image" Target="../media/image28.emf"/></Relationships>
</file>

<file path=ppt/slides/_rels/slide61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44.xml"/><Relationship Id="rId5" Type="http://schemas.openxmlformats.org/officeDocument/2006/relationships/chart" Target="../charts/chart617.xml"/><Relationship Id="rId4" Type="http://schemas.openxmlformats.org/officeDocument/2006/relationships/image" Target="../media/image28.emf"/></Relationships>
</file>

<file path=ppt/slides/_rels/slide61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45.xml"/><Relationship Id="rId5" Type="http://schemas.openxmlformats.org/officeDocument/2006/relationships/chart" Target="../charts/chart618.xml"/><Relationship Id="rId4" Type="http://schemas.openxmlformats.org/officeDocument/2006/relationships/image" Target="../media/image28.emf"/></Relationships>
</file>

<file path=ppt/slides/_rels/slide61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46.xml"/><Relationship Id="rId5" Type="http://schemas.openxmlformats.org/officeDocument/2006/relationships/chart" Target="../charts/chart619.xml"/><Relationship Id="rId4" Type="http://schemas.openxmlformats.org/officeDocument/2006/relationships/image" Target="../media/image28.emf"/></Relationships>
</file>

<file path=ppt/slides/_rels/slide6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9.xml"/><Relationship Id="rId5" Type="http://schemas.openxmlformats.org/officeDocument/2006/relationships/chart" Target="../charts/chart62.xml"/><Relationship Id="rId4" Type="http://schemas.openxmlformats.org/officeDocument/2006/relationships/image" Target="../media/image28.emf"/></Relationships>
</file>

<file path=ppt/slides/_rels/slide62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47.xml"/><Relationship Id="rId5" Type="http://schemas.openxmlformats.org/officeDocument/2006/relationships/chart" Target="../charts/chart620.xml"/><Relationship Id="rId4" Type="http://schemas.openxmlformats.org/officeDocument/2006/relationships/image" Target="../media/image28.emf"/></Relationships>
</file>

<file path=ppt/slides/_rels/slide62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48.xml"/><Relationship Id="rId5" Type="http://schemas.openxmlformats.org/officeDocument/2006/relationships/chart" Target="../charts/chart621.xml"/><Relationship Id="rId4" Type="http://schemas.openxmlformats.org/officeDocument/2006/relationships/image" Target="../media/image28.emf"/></Relationships>
</file>

<file path=ppt/slides/_rels/slide62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49.xml"/><Relationship Id="rId5" Type="http://schemas.openxmlformats.org/officeDocument/2006/relationships/chart" Target="../charts/chart622.xml"/><Relationship Id="rId4" Type="http://schemas.openxmlformats.org/officeDocument/2006/relationships/image" Target="../media/image28.emf"/></Relationships>
</file>

<file path=ppt/slides/_rels/slide62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50.xml"/><Relationship Id="rId5" Type="http://schemas.openxmlformats.org/officeDocument/2006/relationships/chart" Target="../charts/chart623.xml"/><Relationship Id="rId4" Type="http://schemas.openxmlformats.org/officeDocument/2006/relationships/image" Target="../media/image28.emf"/></Relationships>
</file>

<file path=ppt/slides/_rels/slide62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51.xml"/><Relationship Id="rId5" Type="http://schemas.openxmlformats.org/officeDocument/2006/relationships/chart" Target="../charts/chart624.xml"/><Relationship Id="rId4" Type="http://schemas.openxmlformats.org/officeDocument/2006/relationships/image" Target="../media/image28.emf"/></Relationships>
</file>

<file path=ppt/slides/_rels/slide62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52.xml"/><Relationship Id="rId5" Type="http://schemas.openxmlformats.org/officeDocument/2006/relationships/chart" Target="../charts/chart625.xml"/><Relationship Id="rId4" Type="http://schemas.openxmlformats.org/officeDocument/2006/relationships/image" Target="../media/image28.emf"/></Relationships>
</file>

<file path=ppt/slides/_rels/slide62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53.xml"/><Relationship Id="rId5" Type="http://schemas.openxmlformats.org/officeDocument/2006/relationships/chart" Target="../charts/chart626.xml"/><Relationship Id="rId4" Type="http://schemas.openxmlformats.org/officeDocument/2006/relationships/image" Target="../media/image28.emf"/></Relationships>
</file>

<file path=ppt/slides/_rels/slide62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54.xml"/><Relationship Id="rId5" Type="http://schemas.openxmlformats.org/officeDocument/2006/relationships/chart" Target="../charts/chart627.xml"/><Relationship Id="rId4" Type="http://schemas.openxmlformats.org/officeDocument/2006/relationships/image" Target="../media/image28.emf"/></Relationships>
</file>

<file path=ppt/slides/_rels/slide62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55.xml"/><Relationship Id="rId5" Type="http://schemas.openxmlformats.org/officeDocument/2006/relationships/chart" Target="../charts/chart628.xml"/><Relationship Id="rId4" Type="http://schemas.openxmlformats.org/officeDocument/2006/relationships/image" Target="../media/image28.emf"/></Relationships>
</file>

<file path=ppt/slides/_rels/slide62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56.xml"/><Relationship Id="rId5" Type="http://schemas.openxmlformats.org/officeDocument/2006/relationships/chart" Target="../charts/chart629.xml"/><Relationship Id="rId4" Type="http://schemas.openxmlformats.org/officeDocument/2006/relationships/image" Target="../media/image28.emf"/></Relationships>
</file>

<file path=ppt/slides/_rels/slide6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0.xml"/><Relationship Id="rId5" Type="http://schemas.openxmlformats.org/officeDocument/2006/relationships/chart" Target="../charts/chart63.xml"/><Relationship Id="rId4" Type="http://schemas.openxmlformats.org/officeDocument/2006/relationships/image" Target="../media/image28.emf"/></Relationships>
</file>

<file path=ppt/slides/_rels/slide63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57.xml"/><Relationship Id="rId5" Type="http://schemas.openxmlformats.org/officeDocument/2006/relationships/chart" Target="../charts/chart630.xml"/><Relationship Id="rId4" Type="http://schemas.openxmlformats.org/officeDocument/2006/relationships/image" Target="../media/image28.emf"/></Relationships>
</file>

<file path=ppt/slides/_rels/slide63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58.xml"/><Relationship Id="rId5" Type="http://schemas.openxmlformats.org/officeDocument/2006/relationships/chart" Target="../charts/chart631.xml"/><Relationship Id="rId4" Type="http://schemas.openxmlformats.org/officeDocument/2006/relationships/image" Target="../media/image28.emf"/></Relationships>
</file>

<file path=ppt/slides/_rels/slide63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59.xml"/><Relationship Id="rId5" Type="http://schemas.openxmlformats.org/officeDocument/2006/relationships/chart" Target="../charts/chart632.xml"/><Relationship Id="rId4" Type="http://schemas.openxmlformats.org/officeDocument/2006/relationships/image" Target="../media/image28.emf"/></Relationships>
</file>

<file path=ppt/slides/_rels/slide63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60.xml"/><Relationship Id="rId5" Type="http://schemas.openxmlformats.org/officeDocument/2006/relationships/chart" Target="../charts/chart633.xml"/><Relationship Id="rId4" Type="http://schemas.openxmlformats.org/officeDocument/2006/relationships/image" Target="../media/image28.emf"/></Relationships>
</file>

<file path=ppt/slides/_rels/slide63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61.xml"/><Relationship Id="rId5" Type="http://schemas.openxmlformats.org/officeDocument/2006/relationships/chart" Target="../charts/chart634.xml"/><Relationship Id="rId4" Type="http://schemas.openxmlformats.org/officeDocument/2006/relationships/image" Target="../media/image28.emf"/></Relationships>
</file>

<file path=ppt/slides/_rels/slide63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62.xml"/><Relationship Id="rId5" Type="http://schemas.openxmlformats.org/officeDocument/2006/relationships/chart" Target="../charts/chart635.xml"/><Relationship Id="rId4" Type="http://schemas.openxmlformats.org/officeDocument/2006/relationships/image" Target="../media/image28.emf"/></Relationships>
</file>

<file path=ppt/slides/_rels/slide63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63.xml"/><Relationship Id="rId5" Type="http://schemas.openxmlformats.org/officeDocument/2006/relationships/chart" Target="../charts/chart636.xml"/><Relationship Id="rId4" Type="http://schemas.openxmlformats.org/officeDocument/2006/relationships/image" Target="../media/image28.emf"/></Relationships>
</file>

<file path=ppt/slides/_rels/slide63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64.xml"/><Relationship Id="rId5" Type="http://schemas.openxmlformats.org/officeDocument/2006/relationships/chart" Target="../charts/chart637.xml"/><Relationship Id="rId4" Type="http://schemas.openxmlformats.org/officeDocument/2006/relationships/image" Target="../media/image28.emf"/></Relationships>
</file>

<file path=ppt/slides/_rels/slide63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65.xml"/><Relationship Id="rId5" Type="http://schemas.openxmlformats.org/officeDocument/2006/relationships/chart" Target="../charts/chart638.xml"/><Relationship Id="rId4" Type="http://schemas.openxmlformats.org/officeDocument/2006/relationships/image" Target="../media/image28.emf"/></Relationships>
</file>

<file path=ppt/slides/_rels/slide63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66.xml"/><Relationship Id="rId5" Type="http://schemas.openxmlformats.org/officeDocument/2006/relationships/chart" Target="../charts/chart639.xml"/><Relationship Id="rId4" Type="http://schemas.openxmlformats.org/officeDocument/2006/relationships/image" Target="../media/image28.emf"/></Relationships>
</file>

<file path=ppt/slides/_rels/slide6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1.xml"/><Relationship Id="rId5" Type="http://schemas.openxmlformats.org/officeDocument/2006/relationships/chart" Target="../charts/chart64.xml"/><Relationship Id="rId4" Type="http://schemas.openxmlformats.org/officeDocument/2006/relationships/image" Target="../media/image28.emf"/></Relationships>
</file>

<file path=ppt/slides/_rels/slide64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67.xml"/><Relationship Id="rId5" Type="http://schemas.openxmlformats.org/officeDocument/2006/relationships/chart" Target="../charts/chart640.xml"/><Relationship Id="rId4" Type="http://schemas.openxmlformats.org/officeDocument/2006/relationships/image" Target="../media/image28.emf"/></Relationships>
</file>

<file path=ppt/slides/_rels/slide64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68.xml"/><Relationship Id="rId5" Type="http://schemas.openxmlformats.org/officeDocument/2006/relationships/chart" Target="../charts/chart641.xml"/><Relationship Id="rId4" Type="http://schemas.openxmlformats.org/officeDocument/2006/relationships/image" Target="../media/image28.emf"/></Relationships>
</file>

<file path=ppt/slides/_rels/slide64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69.xml"/><Relationship Id="rId5" Type="http://schemas.openxmlformats.org/officeDocument/2006/relationships/chart" Target="../charts/chart642.xml"/><Relationship Id="rId4" Type="http://schemas.openxmlformats.org/officeDocument/2006/relationships/image" Target="../media/image28.emf"/></Relationships>
</file>

<file path=ppt/slides/_rels/slide64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70.xml"/><Relationship Id="rId5" Type="http://schemas.openxmlformats.org/officeDocument/2006/relationships/chart" Target="../charts/chart643.xml"/><Relationship Id="rId4" Type="http://schemas.openxmlformats.org/officeDocument/2006/relationships/image" Target="../media/image28.emf"/></Relationships>
</file>

<file path=ppt/slides/_rels/slide64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71.xml"/><Relationship Id="rId5" Type="http://schemas.openxmlformats.org/officeDocument/2006/relationships/chart" Target="../charts/chart644.xml"/><Relationship Id="rId4" Type="http://schemas.openxmlformats.org/officeDocument/2006/relationships/image" Target="../media/image28.emf"/></Relationships>
</file>

<file path=ppt/slides/_rels/slide64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72.xml"/><Relationship Id="rId5" Type="http://schemas.openxmlformats.org/officeDocument/2006/relationships/chart" Target="../charts/chart645.xml"/><Relationship Id="rId4" Type="http://schemas.openxmlformats.org/officeDocument/2006/relationships/image" Target="../media/image28.emf"/></Relationships>
</file>

<file path=ppt/slides/_rels/slide64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73.xml"/><Relationship Id="rId5" Type="http://schemas.openxmlformats.org/officeDocument/2006/relationships/chart" Target="../charts/chart646.xml"/><Relationship Id="rId4" Type="http://schemas.openxmlformats.org/officeDocument/2006/relationships/image" Target="../media/image28.emf"/></Relationships>
</file>

<file path=ppt/slides/_rels/slide64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74.xml"/><Relationship Id="rId5" Type="http://schemas.openxmlformats.org/officeDocument/2006/relationships/chart" Target="../charts/chart647.xml"/><Relationship Id="rId4" Type="http://schemas.openxmlformats.org/officeDocument/2006/relationships/image" Target="../media/image28.emf"/></Relationships>
</file>

<file path=ppt/slides/_rels/slide64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75.xml"/><Relationship Id="rId5" Type="http://schemas.openxmlformats.org/officeDocument/2006/relationships/chart" Target="../charts/chart648.xml"/><Relationship Id="rId4" Type="http://schemas.openxmlformats.org/officeDocument/2006/relationships/image" Target="../media/image28.emf"/></Relationships>
</file>

<file path=ppt/slides/_rels/slide64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76.xml"/><Relationship Id="rId5" Type="http://schemas.openxmlformats.org/officeDocument/2006/relationships/chart" Target="../charts/chart649.xml"/><Relationship Id="rId4" Type="http://schemas.openxmlformats.org/officeDocument/2006/relationships/image" Target="../media/image28.emf"/></Relationships>
</file>

<file path=ppt/slides/_rels/slide6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2.xml"/><Relationship Id="rId5" Type="http://schemas.openxmlformats.org/officeDocument/2006/relationships/chart" Target="../charts/chart65.xml"/><Relationship Id="rId4" Type="http://schemas.openxmlformats.org/officeDocument/2006/relationships/image" Target="../media/image28.emf"/></Relationships>
</file>

<file path=ppt/slides/_rels/slide65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77.xml"/><Relationship Id="rId5" Type="http://schemas.openxmlformats.org/officeDocument/2006/relationships/chart" Target="../charts/chart650.xml"/><Relationship Id="rId4" Type="http://schemas.openxmlformats.org/officeDocument/2006/relationships/image" Target="../media/image28.emf"/></Relationships>
</file>

<file path=ppt/slides/_rels/slide65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78.xml"/><Relationship Id="rId5" Type="http://schemas.openxmlformats.org/officeDocument/2006/relationships/chart" Target="../charts/chart651.xml"/><Relationship Id="rId4" Type="http://schemas.openxmlformats.org/officeDocument/2006/relationships/image" Target="../media/image28.emf"/></Relationships>
</file>

<file path=ppt/slides/_rels/slide65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79.xml"/><Relationship Id="rId5" Type="http://schemas.openxmlformats.org/officeDocument/2006/relationships/chart" Target="../charts/chart652.xml"/><Relationship Id="rId4" Type="http://schemas.openxmlformats.org/officeDocument/2006/relationships/image" Target="../media/image28.emf"/></Relationships>
</file>

<file path=ppt/slides/_rels/slide65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80.xml"/><Relationship Id="rId5" Type="http://schemas.openxmlformats.org/officeDocument/2006/relationships/chart" Target="../charts/chart653.xml"/><Relationship Id="rId4" Type="http://schemas.openxmlformats.org/officeDocument/2006/relationships/image" Target="../media/image28.emf"/></Relationships>
</file>

<file path=ppt/slides/_rels/slide65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81.xml"/><Relationship Id="rId5" Type="http://schemas.openxmlformats.org/officeDocument/2006/relationships/chart" Target="../charts/chart654.xml"/><Relationship Id="rId4" Type="http://schemas.openxmlformats.org/officeDocument/2006/relationships/image" Target="../media/image28.emf"/></Relationships>
</file>

<file path=ppt/slides/_rels/slide65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82.xml"/><Relationship Id="rId5" Type="http://schemas.openxmlformats.org/officeDocument/2006/relationships/chart" Target="../charts/chart655.xml"/><Relationship Id="rId4" Type="http://schemas.openxmlformats.org/officeDocument/2006/relationships/image" Target="../media/image28.emf"/></Relationships>
</file>

<file path=ppt/slides/_rels/slide65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83.xml"/><Relationship Id="rId5" Type="http://schemas.openxmlformats.org/officeDocument/2006/relationships/chart" Target="../charts/chart656.xml"/><Relationship Id="rId4" Type="http://schemas.openxmlformats.org/officeDocument/2006/relationships/image" Target="../media/image28.emf"/></Relationships>
</file>

<file path=ppt/slides/_rels/slide65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84.xml"/><Relationship Id="rId5" Type="http://schemas.openxmlformats.org/officeDocument/2006/relationships/chart" Target="../charts/chart657.xml"/><Relationship Id="rId4" Type="http://schemas.openxmlformats.org/officeDocument/2006/relationships/image" Target="../media/image28.emf"/></Relationships>
</file>

<file path=ppt/slides/_rels/slide65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85.xml"/><Relationship Id="rId5" Type="http://schemas.openxmlformats.org/officeDocument/2006/relationships/chart" Target="../charts/chart658.xml"/><Relationship Id="rId4" Type="http://schemas.openxmlformats.org/officeDocument/2006/relationships/image" Target="../media/image28.emf"/></Relationships>
</file>

<file path=ppt/slides/_rels/slide65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86.xml"/><Relationship Id="rId5" Type="http://schemas.openxmlformats.org/officeDocument/2006/relationships/chart" Target="../charts/chart659.xml"/><Relationship Id="rId4" Type="http://schemas.openxmlformats.org/officeDocument/2006/relationships/image" Target="../media/image28.emf"/></Relationships>
</file>

<file path=ppt/slides/_rels/slide6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3.xml"/><Relationship Id="rId5" Type="http://schemas.openxmlformats.org/officeDocument/2006/relationships/chart" Target="../charts/chart66.xml"/><Relationship Id="rId4" Type="http://schemas.openxmlformats.org/officeDocument/2006/relationships/image" Target="../media/image28.emf"/></Relationships>
</file>

<file path=ppt/slides/_rels/slide66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87.xml"/><Relationship Id="rId5" Type="http://schemas.openxmlformats.org/officeDocument/2006/relationships/chart" Target="../charts/chart660.xml"/><Relationship Id="rId4" Type="http://schemas.openxmlformats.org/officeDocument/2006/relationships/image" Target="../media/image28.emf"/></Relationships>
</file>

<file path=ppt/slides/_rels/slide66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88.xml"/><Relationship Id="rId5" Type="http://schemas.openxmlformats.org/officeDocument/2006/relationships/chart" Target="../charts/chart661.xml"/><Relationship Id="rId4" Type="http://schemas.openxmlformats.org/officeDocument/2006/relationships/image" Target="../media/image28.emf"/></Relationships>
</file>

<file path=ppt/slides/_rels/slide66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89.xml"/><Relationship Id="rId5" Type="http://schemas.openxmlformats.org/officeDocument/2006/relationships/chart" Target="../charts/chart662.xml"/><Relationship Id="rId4" Type="http://schemas.openxmlformats.org/officeDocument/2006/relationships/image" Target="../media/image28.emf"/></Relationships>
</file>

<file path=ppt/slides/_rels/slide66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90.xml"/><Relationship Id="rId5" Type="http://schemas.openxmlformats.org/officeDocument/2006/relationships/chart" Target="../charts/chart663.xml"/><Relationship Id="rId4" Type="http://schemas.openxmlformats.org/officeDocument/2006/relationships/image" Target="../media/image28.emf"/></Relationships>
</file>

<file path=ppt/slides/_rels/slide66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91.xml"/><Relationship Id="rId5" Type="http://schemas.openxmlformats.org/officeDocument/2006/relationships/chart" Target="../charts/chart664.xml"/><Relationship Id="rId4" Type="http://schemas.openxmlformats.org/officeDocument/2006/relationships/image" Target="../media/image28.emf"/></Relationships>
</file>

<file path=ppt/slides/_rels/slide66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92.xml"/><Relationship Id="rId5" Type="http://schemas.openxmlformats.org/officeDocument/2006/relationships/chart" Target="../charts/chart665.xml"/><Relationship Id="rId4" Type="http://schemas.openxmlformats.org/officeDocument/2006/relationships/image" Target="../media/image28.emf"/></Relationships>
</file>

<file path=ppt/slides/_rels/slide66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93.xml"/><Relationship Id="rId5" Type="http://schemas.openxmlformats.org/officeDocument/2006/relationships/chart" Target="../charts/chart666.xml"/><Relationship Id="rId4" Type="http://schemas.openxmlformats.org/officeDocument/2006/relationships/image" Target="../media/image28.emf"/></Relationships>
</file>

<file path=ppt/slides/_rels/slide66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94.xml"/><Relationship Id="rId5" Type="http://schemas.openxmlformats.org/officeDocument/2006/relationships/chart" Target="../charts/chart667.xml"/><Relationship Id="rId4" Type="http://schemas.openxmlformats.org/officeDocument/2006/relationships/image" Target="../media/image28.emf"/></Relationships>
</file>

<file path=ppt/slides/_rels/slide66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95.xml"/><Relationship Id="rId5" Type="http://schemas.openxmlformats.org/officeDocument/2006/relationships/chart" Target="../charts/chart668.xml"/><Relationship Id="rId4" Type="http://schemas.openxmlformats.org/officeDocument/2006/relationships/image" Target="../media/image28.emf"/></Relationships>
</file>

<file path=ppt/slides/_rels/slide66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96.xml"/><Relationship Id="rId5" Type="http://schemas.openxmlformats.org/officeDocument/2006/relationships/chart" Target="../charts/chart669.xml"/><Relationship Id="rId4" Type="http://schemas.openxmlformats.org/officeDocument/2006/relationships/image" Target="../media/image28.emf"/></Relationships>
</file>

<file path=ppt/slides/_rels/slide6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4.xml"/><Relationship Id="rId5" Type="http://schemas.openxmlformats.org/officeDocument/2006/relationships/chart" Target="../charts/chart67.xml"/><Relationship Id="rId4" Type="http://schemas.openxmlformats.org/officeDocument/2006/relationships/image" Target="../media/image28.emf"/></Relationships>
</file>

<file path=ppt/slides/_rels/slide67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97.xml"/><Relationship Id="rId5" Type="http://schemas.openxmlformats.org/officeDocument/2006/relationships/chart" Target="../charts/chart670.xml"/><Relationship Id="rId4" Type="http://schemas.openxmlformats.org/officeDocument/2006/relationships/image" Target="../media/image28.emf"/></Relationships>
</file>

<file path=ppt/slides/_rels/slide67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98.xml"/><Relationship Id="rId5" Type="http://schemas.openxmlformats.org/officeDocument/2006/relationships/chart" Target="../charts/chart671.xml"/><Relationship Id="rId4" Type="http://schemas.openxmlformats.org/officeDocument/2006/relationships/image" Target="../media/image28.emf"/></Relationships>
</file>

<file path=ppt/slides/_rels/slide67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99.xml"/><Relationship Id="rId5" Type="http://schemas.openxmlformats.org/officeDocument/2006/relationships/chart" Target="../charts/chart672.xml"/><Relationship Id="rId4" Type="http://schemas.openxmlformats.org/officeDocument/2006/relationships/image" Target="../media/image28.emf"/></Relationships>
</file>

<file path=ppt/slides/_rels/slide67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00.xml"/><Relationship Id="rId4" Type="http://schemas.openxmlformats.org/officeDocument/2006/relationships/image" Target="../media/image28.emf"/></Relationships>
</file>

<file path=ppt/slides/_rels/slide67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01.xml"/><Relationship Id="rId4" Type="http://schemas.openxmlformats.org/officeDocument/2006/relationships/image" Target="../media/image28.emf"/></Relationships>
</file>

<file path=ppt/slides/_rels/slide67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02.xml"/><Relationship Id="rId4" Type="http://schemas.openxmlformats.org/officeDocument/2006/relationships/image" Target="../media/image28.emf"/></Relationships>
</file>

<file path=ppt/slides/_rels/slide67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03.xml"/><Relationship Id="rId4" Type="http://schemas.openxmlformats.org/officeDocument/2006/relationships/image" Target="../media/image28.emf"/></Relationships>
</file>

<file path=ppt/slides/_rels/slide67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04.xml"/><Relationship Id="rId4" Type="http://schemas.openxmlformats.org/officeDocument/2006/relationships/image" Target="../media/image28.emf"/></Relationships>
</file>

<file path=ppt/slides/_rels/slide67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05.xml"/><Relationship Id="rId4" Type="http://schemas.openxmlformats.org/officeDocument/2006/relationships/image" Target="../media/image28.emf"/></Relationships>
</file>

<file path=ppt/slides/_rels/slide67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06.xml"/><Relationship Id="rId4" Type="http://schemas.openxmlformats.org/officeDocument/2006/relationships/image" Target="../media/image28.emf"/></Relationships>
</file>

<file path=ppt/slides/_rels/slide6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5.xml"/><Relationship Id="rId5" Type="http://schemas.openxmlformats.org/officeDocument/2006/relationships/chart" Target="../charts/chart68.xml"/><Relationship Id="rId4" Type="http://schemas.openxmlformats.org/officeDocument/2006/relationships/image" Target="../media/image28.emf"/></Relationships>
</file>

<file path=ppt/slides/_rels/slide68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07.xml"/><Relationship Id="rId4" Type="http://schemas.openxmlformats.org/officeDocument/2006/relationships/image" Target="../media/image28.emf"/></Relationships>
</file>

<file path=ppt/slides/_rels/slide68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08.xml"/><Relationship Id="rId4" Type="http://schemas.openxmlformats.org/officeDocument/2006/relationships/image" Target="../media/image28.emf"/></Relationships>
</file>

<file path=ppt/slides/_rels/slide68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09.xml"/><Relationship Id="rId4" Type="http://schemas.openxmlformats.org/officeDocument/2006/relationships/image" Target="../media/image28.emf"/></Relationships>
</file>

<file path=ppt/slides/_rels/slide68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10.xml"/><Relationship Id="rId4" Type="http://schemas.openxmlformats.org/officeDocument/2006/relationships/image" Target="../media/image28.emf"/></Relationships>
</file>

<file path=ppt/slides/_rels/slide68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11.xml"/><Relationship Id="rId4" Type="http://schemas.openxmlformats.org/officeDocument/2006/relationships/image" Target="../media/image28.emf"/></Relationships>
</file>

<file path=ppt/slides/_rels/slide68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12.xml"/><Relationship Id="rId4" Type="http://schemas.openxmlformats.org/officeDocument/2006/relationships/image" Target="../media/image28.emf"/></Relationships>
</file>

<file path=ppt/slides/_rels/slide68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13.xml"/><Relationship Id="rId4" Type="http://schemas.openxmlformats.org/officeDocument/2006/relationships/image" Target="../media/image28.emf"/></Relationships>
</file>

<file path=ppt/slides/_rels/slide68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14.xml"/><Relationship Id="rId4" Type="http://schemas.openxmlformats.org/officeDocument/2006/relationships/image" Target="../media/image28.emf"/></Relationships>
</file>

<file path=ppt/slides/_rels/slide68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15.xml"/><Relationship Id="rId4" Type="http://schemas.openxmlformats.org/officeDocument/2006/relationships/image" Target="../media/image28.emf"/></Relationships>
</file>

<file path=ppt/slides/_rels/slide68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16.xml"/><Relationship Id="rId4" Type="http://schemas.openxmlformats.org/officeDocument/2006/relationships/image" Target="../media/image28.emf"/></Relationships>
</file>

<file path=ppt/slides/_rels/slide6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6.xml"/><Relationship Id="rId5" Type="http://schemas.openxmlformats.org/officeDocument/2006/relationships/chart" Target="../charts/chart69.xml"/><Relationship Id="rId4" Type="http://schemas.openxmlformats.org/officeDocument/2006/relationships/image" Target="../media/image28.emf"/></Relationships>
</file>

<file path=ppt/slides/_rels/slide69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17.xml"/><Relationship Id="rId4" Type="http://schemas.openxmlformats.org/officeDocument/2006/relationships/image" Target="../media/image28.emf"/></Relationships>
</file>

<file path=ppt/slides/_rels/slide69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18.xml"/><Relationship Id="rId4" Type="http://schemas.openxmlformats.org/officeDocument/2006/relationships/image" Target="../media/image28.emf"/></Relationships>
</file>

<file path=ppt/slides/_rels/slide69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19.xml"/><Relationship Id="rId4" Type="http://schemas.openxmlformats.org/officeDocument/2006/relationships/image" Target="../media/image28.emf"/></Relationships>
</file>

<file path=ppt/slides/_rels/slide69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20.xml"/><Relationship Id="rId4" Type="http://schemas.openxmlformats.org/officeDocument/2006/relationships/image" Target="../media/image28.emf"/></Relationships>
</file>

<file path=ppt/slides/_rels/slide69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21.xml"/><Relationship Id="rId4" Type="http://schemas.openxmlformats.org/officeDocument/2006/relationships/image" Target="../media/image28.emf"/></Relationships>
</file>

<file path=ppt/slides/_rels/slide69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22.xml"/><Relationship Id="rId4" Type="http://schemas.openxmlformats.org/officeDocument/2006/relationships/image" Target="../media/image28.emf"/></Relationships>
</file>

<file path=ppt/slides/_rels/slide69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23.xml"/><Relationship Id="rId4" Type="http://schemas.openxmlformats.org/officeDocument/2006/relationships/image" Target="../media/image28.emf"/></Relationships>
</file>

<file path=ppt/slides/_rels/slide69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24.xml"/><Relationship Id="rId4" Type="http://schemas.openxmlformats.org/officeDocument/2006/relationships/image" Target="../media/image28.emf"/></Relationships>
</file>

<file path=ppt/slides/_rels/slide69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25.xml"/><Relationship Id="rId4" Type="http://schemas.openxmlformats.org/officeDocument/2006/relationships/image" Target="../media/image28.emf"/></Relationships>
</file>

<file path=ppt/slides/_rels/slide69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26.xml"/><Relationship Id="rId4" Type="http://schemas.openxmlformats.org/officeDocument/2006/relationships/image" Target="../media/image28.emf"/></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4.xml"/><Relationship Id="rId5" Type="http://schemas.openxmlformats.org/officeDocument/2006/relationships/chart" Target="../charts/chart7.xml"/><Relationship Id="rId4" Type="http://schemas.openxmlformats.org/officeDocument/2006/relationships/image" Target="../media/image28.emf"/></Relationships>
</file>

<file path=ppt/slides/_rels/slide7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7.xml"/><Relationship Id="rId5" Type="http://schemas.openxmlformats.org/officeDocument/2006/relationships/chart" Target="../charts/chart70.xml"/><Relationship Id="rId4" Type="http://schemas.openxmlformats.org/officeDocument/2006/relationships/image" Target="../media/image28.emf"/></Relationships>
</file>

<file path=ppt/slides/_rels/slide70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27.xml"/><Relationship Id="rId4" Type="http://schemas.openxmlformats.org/officeDocument/2006/relationships/image" Target="../media/image28.emf"/></Relationships>
</file>

<file path=ppt/slides/_rels/slide70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28.xml"/><Relationship Id="rId4" Type="http://schemas.openxmlformats.org/officeDocument/2006/relationships/image" Target="../media/image28.emf"/></Relationships>
</file>

<file path=ppt/slides/_rels/slide70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29.xml"/><Relationship Id="rId4" Type="http://schemas.openxmlformats.org/officeDocument/2006/relationships/image" Target="../media/image28.emf"/></Relationships>
</file>

<file path=ppt/slides/_rels/slide70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30.xml"/><Relationship Id="rId4" Type="http://schemas.openxmlformats.org/officeDocument/2006/relationships/image" Target="../media/image28.emf"/></Relationships>
</file>

<file path=ppt/slides/_rels/slide70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31.xml"/><Relationship Id="rId4" Type="http://schemas.openxmlformats.org/officeDocument/2006/relationships/image" Target="../media/image28.emf"/></Relationships>
</file>

<file path=ppt/slides/_rels/slide70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32.xml"/><Relationship Id="rId4" Type="http://schemas.openxmlformats.org/officeDocument/2006/relationships/image" Target="../media/image28.emf"/></Relationships>
</file>

<file path=ppt/slides/_rels/slide70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33.xml"/><Relationship Id="rId4" Type="http://schemas.openxmlformats.org/officeDocument/2006/relationships/image" Target="../media/image28.emf"/></Relationships>
</file>

<file path=ppt/slides/_rels/slide70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34.xml"/><Relationship Id="rId4" Type="http://schemas.openxmlformats.org/officeDocument/2006/relationships/image" Target="../media/image28.emf"/></Relationships>
</file>

<file path=ppt/slides/_rels/slide70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35.xml"/><Relationship Id="rId4" Type="http://schemas.openxmlformats.org/officeDocument/2006/relationships/image" Target="../media/image28.emf"/></Relationships>
</file>

<file path=ppt/slides/_rels/slide70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36.xml"/><Relationship Id="rId4" Type="http://schemas.openxmlformats.org/officeDocument/2006/relationships/image" Target="../media/image28.emf"/></Relationships>
</file>

<file path=ppt/slides/_rels/slide7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8.xml"/><Relationship Id="rId5" Type="http://schemas.openxmlformats.org/officeDocument/2006/relationships/chart" Target="../charts/chart71.xml"/><Relationship Id="rId4" Type="http://schemas.openxmlformats.org/officeDocument/2006/relationships/image" Target="../media/image28.emf"/></Relationships>
</file>

<file path=ppt/slides/_rels/slide71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37.xml"/><Relationship Id="rId4" Type="http://schemas.openxmlformats.org/officeDocument/2006/relationships/image" Target="../media/image28.emf"/></Relationships>
</file>

<file path=ppt/slides/_rels/slide71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38.xml"/><Relationship Id="rId4" Type="http://schemas.openxmlformats.org/officeDocument/2006/relationships/image" Target="../media/image28.emf"/></Relationships>
</file>

<file path=ppt/slides/_rels/slide71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39.xml"/><Relationship Id="rId4" Type="http://schemas.openxmlformats.org/officeDocument/2006/relationships/image" Target="../media/image28.emf"/></Relationships>
</file>

<file path=ppt/slides/_rels/slide71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40.xml"/><Relationship Id="rId4" Type="http://schemas.openxmlformats.org/officeDocument/2006/relationships/image" Target="../media/image28.emf"/></Relationships>
</file>

<file path=ppt/slides/_rels/slide71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41.xml"/><Relationship Id="rId4" Type="http://schemas.openxmlformats.org/officeDocument/2006/relationships/image" Target="../media/image28.emf"/></Relationships>
</file>

<file path=ppt/slides/_rels/slide71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42.xml"/><Relationship Id="rId4" Type="http://schemas.openxmlformats.org/officeDocument/2006/relationships/image" Target="../media/image28.emf"/></Relationships>
</file>

<file path=ppt/slides/_rels/slide71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43.xml"/><Relationship Id="rId4" Type="http://schemas.openxmlformats.org/officeDocument/2006/relationships/image" Target="../media/image28.emf"/></Relationships>
</file>

<file path=ppt/slides/_rels/slide71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44.xml"/><Relationship Id="rId4" Type="http://schemas.openxmlformats.org/officeDocument/2006/relationships/image" Target="../media/image28.emf"/></Relationships>
</file>

<file path=ppt/slides/_rels/slide71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45.xml"/><Relationship Id="rId4" Type="http://schemas.openxmlformats.org/officeDocument/2006/relationships/image" Target="../media/image28.emf"/></Relationships>
</file>

<file path=ppt/slides/_rels/slide71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46.xml"/><Relationship Id="rId4" Type="http://schemas.openxmlformats.org/officeDocument/2006/relationships/image" Target="../media/image28.emf"/></Relationships>
</file>

<file path=ppt/slides/_rels/slide7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9.xml"/><Relationship Id="rId5" Type="http://schemas.openxmlformats.org/officeDocument/2006/relationships/chart" Target="../charts/chart72.xml"/><Relationship Id="rId4" Type="http://schemas.openxmlformats.org/officeDocument/2006/relationships/image" Target="../media/image28.emf"/></Relationships>
</file>

<file path=ppt/slides/_rels/slide72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47.xml"/><Relationship Id="rId4" Type="http://schemas.openxmlformats.org/officeDocument/2006/relationships/image" Target="../media/image28.emf"/></Relationships>
</file>

<file path=ppt/slides/_rels/slide72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48.xml"/><Relationship Id="rId4" Type="http://schemas.openxmlformats.org/officeDocument/2006/relationships/image" Target="../media/image28.emf"/></Relationships>
</file>

<file path=ppt/slides/_rels/slide72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49.xml"/><Relationship Id="rId4" Type="http://schemas.openxmlformats.org/officeDocument/2006/relationships/image" Target="../media/image28.emf"/></Relationships>
</file>

<file path=ppt/slides/_rels/slide72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50.xml"/><Relationship Id="rId4" Type="http://schemas.openxmlformats.org/officeDocument/2006/relationships/image" Target="../media/image28.emf"/></Relationships>
</file>

<file path=ppt/slides/_rels/slide72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51.xml"/><Relationship Id="rId4" Type="http://schemas.openxmlformats.org/officeDocument/2006/relationships/image" Target="../media/image28.emf"/></Relationships>
</file>

<file path=ppt/slides/_rels/slide72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52.xml"/><Relationship Id="rId4" Type="http://schemas.openxmlformats.org/officeDocument/2006/relationships/image" Target="../media/image28.emf"/></Relationships>
</file>

<file path=ppt/slides/_rels/slide72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53.xml"/><Relationship Id="rId4" Type="http://schemas.openxmlformats.org/officeDocument/2006/relationships/image" Target="../media/image28.emf"/></Relationships>
</file>

<file path=ppt/slides/_rels/slide72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54.xml"/><Relationship Id="rId4" Type="http://schemas.openxmlformats.org/officeDocument/2006/relationships/image" Target="../media/image28.emf"/></Relationships>
</file>

<file path=ppt/slides/_rels/slide72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55.xml"/><Relationship Id="rId4" Type="http://schemas.openxmlformats.org/officeDocument/2006/relationships/image" Target="../media/image28.emf"/></Relationships>
</file>

<file path=ppt/slides/_rels/slide72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56.xml"/><Relationship Id="rId4" Type="http://schemas.openxmlformats.org/officeDocument/2006/relationships/image" Target="../media/image28.emf"/></Relationships>
</file>

<file path=ppt/slides/_rels/slide7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0.xml"/><Relationship Id="rId5" Type="http://schemas.openxmlformats.org/officeDocument/2006/relationships/chart" Target="../charts/chart73.xml"/><Relationship Id="rId4" Type="http://schemas.openxmlformats.org/officeDocument/2006/relationships/image" Target="../media/image28.emf"/></Relationships>
</file>

<file path=ppt/slides/_rels/slide73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57.xml"/><Relationship Id="rId4" Type="http://schemas.openxmlformats.org/officeDocument/2006/relationships/image" Target="../media/image28.emf"/></Relationships>
</file>

<file path=ppt/slides/_rels/slide73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58.xml"/><Relationship Id="rId4" Type="http://schemas.openxmlformats.org/officeDocument/2006/relationships/image" Target="../media/image28.emf"/></Relationships>
</file>

<file path=ppt/slides/_rels/slide73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59.xml"/><Relationship Id="rId4" Type="http://schemas.openxmlformats.org/officeDocument/2006/relationships/image" Target="../media/image28.emf"/></Relationships>
</file>

<file path=ppt/slides/_rels/slide73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60.xml"/><Relationship Id="rId4" Type="http://schemas.openxmlformats.org/officeDocument/2006/relationships/image" Target="../media/image28.emf"/></Relationships>
</file>

<file path=ppt/slides/_rels/slide73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61.xml"/><Relationship Id="rId4" Type="http://schemas.openxmlformats.org/officeDocument/2006/relationships/image" Target="../media/image28.emf"/></Relationships>
</file>

<file path=ppt/slides/_rels/slide73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62.xml"/><Relationship Id="rId4" Type="http://schemas.openxmlformats.org/officeDocument/2006/relationships/image" Target="../media/image28.emf"/></Relationships>
</file>

<file path=ppt/slides/_rels/slide73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63.xml"/><Relationship Id="rId4" Type="http://schemas.openxmlformats.org/officeDocument/2006/relationships/image" Target="../media/image28.emf"/></Relationships>
</file>

<file path=ppt/slides/_rels/slide73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64.xml"/><Relationship Id="rId4" Type="http://schemas.openxmlformats.org/officeDocument/2006/relationships/image" Target="../media/image28.emf"/></Relationships>
</file>

<file path=ppt/slides/_rels/slide73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65.xml"/><Relationship Id="rId4" Type="http://schemas.openxmlformats.org/officeDocument/2006/relationships/image" Target="../media/image28.emf"/></Relationships>
</file>

<file path=ppt/slides/_rels/slide73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66.xml"/><Relationship Id="rId4" Type="http://schemas.openxmlformats.org/officeDocument/2006/relationships/image" Target="../media/image28.emf"/></Relationships>
</file>

<file path=ppt/slides/_rels/slide7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1.xml"/><Relationship Id="rId5" Type="http://schemas.openxmlformats.org/officeDocument/2006/relationships/chart" Target="../charts/chart74.xml"/><Relationship Id="rId4" Type="http://schemas.openxmlformats.org/officeDocument/2006/relationships/image" Target="../media/image28.emf"/></Relationships>
</file>

<file path=ppt/slides/_rels/slide74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67.xml"/><Relationship Id="rId4" Type="http://schemas.openxmlformats.org/officeDocument/2006/relationships/image" Target="../media/image28.emf"/></Relationships>
</file>

<file path=ppt/slides/_rels/slide74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68.xml"/><Relationship Id="rId4" Type="http://schemas.openxmlformats.org/officeDocument/2006/relationships/image" Target="../media/image28.emf"/></Relationships>
</file>

<file path=ppt/slides/_rels/slide74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69.xml"/><Relationship Id="rId4" Type="http://schemas.openxmlformats.org/officeDocument/2006/relationships/image" Target="../media/image28.emf"/></Relationships>
</file>

<file path=ppt/slides/_rels/slide74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70.xml"/><Relationship Id="rId4" Type="http://schemas.openxmlformats.org/officeDocument/2006/relationships/image" Target="../media/image28.emf"/></Relationships>
</file>

<file path=ppt/slides/_rels/slide74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71.xml"/><Relationship Id="rId4" Type="http://schemas.openxmlformats.org/officeDocument/2006/relationships/image" Target="../media/image28.emf"/></Relationships>
</file>

<file path=ppt/slides/_rels/slide74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72.xml"/><Relationship Id="rId4" Type="http://schemas.openxmlformats.org/officeDocument/2006/relationships/image" Target="../media/image28.emf"/></Relationships>
</file>

<file path=ppt/slides/_rels/slide74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73.xml"/><Relationship Id="rId4" Type="http://schemas.openxmlformats.org/officeDocument/2006/relationships/image" Target="../media/image28.emf"/></Relationships>
</file>

<file path=ppt/slides/_rels/slide74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74.xml"/><Relationship Id="rId4" Type="http://schemas.openxmlformats.org/officeDocument/2006/relationships/image" Target="../media/image28.emf"/></Relationships>
</file>

<file path=ppt/slides/_rels/slide74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75.xml"/><Relationship Id="rId4" Type="http://schemas.openxmlformats.org/officeDocument/2006/relationships/image" Target="../media/image28.emf"/></Relationships>
</file>

<file path=ppt/slides/_rels/slide74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76.xml"/><Relationship Id="rId4" Type="http://schemas.openxmlformats.org/officeDocument/2006/relationships/image" Target="../media/image28.emf"/></Relationships>
</file>

<file path=ppt/slides/_rels/slide7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2.xml"/><Relationship Id="rId5" Type="http://schemas.openxmlformats.org/officeDocument/2006/relationships/chart" Target="../charts/chart75.xml"/><Relationship Id="rId4" Type="http://schemas.openxmlformats.org/officeDocument/2006/relationships/image" Target="../media/image28.emf"/></Relationships>
</file>

<file path=ppt/slides/_rels/slide75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77.xml"/><Relationship Id="rId4" Type="http://schemas.openxmlformats.org/officeDocument/2006/relationships/image" Target="../media/image28.emf"/></Relationships>
</file>

<file path=ppt/slides/_rels/slide75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78.xml"/><Relationship Id="rId4" Type="http://schemas.openxmlformats.org/officeDocument/2006/relationships/image" Target="../media/image28.emf"/></Relationships>
</file>

<file path=ppt/slides/_rels/slide75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79.xml"/><Relationship Id="rId4" Type="http://schemas.openxmlformats.org/officeDocument/2006/relationships/image" Target="../media/image28.emf"/></Relationships>
</file>

<file path=ppt/slides/_rels/slide75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80.xml"/><Relationship Id="rId4" Type="http://schemas.openxmlformats.org/officeDocument/2006/relationships/image" Target="../media/image28.emf"/></Relationships>
</file>

<file path=ppt/slides/_rels/slide75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81.xml"/><Relationship Id="rId4" Type="http://schemas.openxmlformats.org/officeDocument/2006/relationships/image" Target="../media/image28.emf"/></Relationships>
</file>

<file path=ppt/slides/_rels/slide75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82.xml"/><Relationship Id="rId4" Type="http://schemas.openxmlformats.org/officeDocument/2006/relationships/image" Target="../media/image28.emf"/></Relationships>
</file>

<file path=ppt/slides/_rels/slide75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83.xml"/><Relationship Id="rId4" Type="http://schemas.openxmlformats.org/officeDocument/2006/relationships/image" Target="../media/image28.emf"/></Relationships>
</file>

<file path=ppt/slides/_rels/slide75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84.xml"/><Relationship Id="rId4" Type="http://schemas.openxmlformats.org/officeDocument/2006/relationships/image" Target="../media/image28.emf"/></Relationships>
</file>

<file path=ppt/slides/_rels/slide75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85.xml"/><Relationship Id="rId4" Type="http://schemas.openxmlformats.org/officeDocument/2006/relationships/image" Target="../media/image28.emf"/></Relationships>
</file>

<file path=ppt/slides/_rels/slide75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86.xml"/><Relationship Id="rId4" Type="http://schemas.openxmlformats.org/officeDocument/2006/relationships/image" Target="../media/image28.emf"/></Relationships>
</file>

<file path=ppt/slides/_rels/slide7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3.xml"/><Relationship Id="rId5" Type="http://schemas.openxmlformats.org/officeDocument/2006/relationships/chart" Target="../charts/chart76.xml"/><Relationship Id="rId4" Type="http://schemas.openxmlformats.org/officeDocument/2006/relationships/image" Target="../media/image28.emf"/></Relationships>
</file>

<file path=ppt/slides/_rels/slide76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87.xml"/><Relationship Id="rId4" Type="http://schemas.openxmlformats.org/officeDocument/2006/relationships/image" Target="../media/image28.emf"/></Relationships>
</file>

<file path=ppt/slides/_rels/slide76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88.xml"/><Relationship Id="rId4" Type="http://schemas.openxmlformats.org/officeDocument/2006/relationships/image" Target="../media/image28.emf"/></Relationships>
</file>

<file path=ppt/slides/_rels/slide76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89.xml"/><Relationship Id="rId4" Type="http://schemas.openxmlformats.org/officeDocument/2006/relationships/image" Target="../media/image28.emf"/></Relationships>
</file>

<file path=ppt/slides/_rels/slide76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90.xml"/><Relationship Id="rId4" Type="http://schemas.openxmlformats.org/officeDocument/2006/relationships/image" Target="../media/image28.emf"/></Relationships>
</file>

<file path=ppt/slides/_rels/slide76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91.xml"/><Relationship Id="rId4" Type="http://schemas.openxmlformats.org/officeDocument/2006/relationships/image" Target="../media/image28.emf"/></Relationships>
</file>

<file path=ppt/slides/_rels/slide76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92.xml"/><Relationship Id="rId4" Type="http://schemas.openxmlformats.org/officeDocument/2006/relationships/image" Target="../media/image28.emf"/></Relationships>
</file>

<file path=ppt/slides/_rels/slide76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93.xml"/><Relationship Id="rId4" Type="http://schemas.openxmlformats.org/officeDocument/2006/relationships/image" Target="../media/image28.emf"/></Relationships>
</file>

<file path=ppt/slides/_rels/slide76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94.xml"/><Relationship Id="rId4" Type="http://schemas.openxmlformats.org/officeDocument/2006/relationships/image" Target="../media/image28.emf"/></Relationships>
</file>

<file path=ppt/slides/_rels/slide76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95.xml"/><Relationship Id="rId4" Type="http://schemas.openxmlformats.org/officeDocument/2006/relationships/image" Target="../media/image28.emf"/></Relationships>
</file>

<file path=ppt/slides/_rels/slide76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96.xml"/><Relationship Id="rId4" Type="http://schemas.openxmlformats.org/officeDocument/2006/relationships/image" Target="../media/image28.emf"/></Relationships>
</file>

<file path=ppt/slides/_rels/slide7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4.xml"/><Relationship Id="rId5" Type="http://schemas.openxmlformats.org/officeDocument/2006/relationships/chart" Target="../charts/chart77.xml"/><Relationship Id="rId4" Type="http://schemas.openxmlformats.org/officeDocument/2006/relationships/image" Target="../media/image28.emf"/></Relationships>
</file>

<file path=ppt/slides/_rels/slide77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97.xml"/><Relationship Id="rId4" Type="http://schemas.openxmlformats.org/officeDocument/2006/relationships/image" Target="../media/image28.emf"/></Relationships>
</file>

<file path=ppt/slides/_rels/slide77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98.xml"/><Relationship Id="rId4" Type="http://schemas.openxmlformats.org/officeDocument/2006/relationships/image" Target="../media/image28.emf"/></Relationships>
</file>

<file path=ppt/slides/_rels/slide77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99.xml"/><Relationship Id="rId4" Type="http://schemas.openxmlformats.org/officeDocument/2006/relationships/image" Target="../media/image28.emf"/></Relationships>
</file>

<file path=ppt/slides/_rels/slide77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00.xml"/><Relationship Id="rId4" Type="http://schemas.openxmlformats.org/officeDocument/2006/relationships/image" Target="../media/image28.emf"/></Relationships>
</file>

<file path=ppt/slides/_rels/slide77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01.xml"/><Relationship Id="rId4" Type="http://schemas.openxmlformats.org/officeDocument/2006/relationships/image" Target="../media/image28.emf"/></Relationships>
</file>

<file path=ppt/slides/_rels/slide77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02.xml"/><Relationship Id="rId4" Type="http://schemas.openxmlformats.org/officeDocument/2006/relationships/image" Target="../media/image28.emf"/></Relationships>
</file>

<file path=ppt/slides/_rels/slide77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03.xml"/><Relationship Id="rId4" Type="http://schemas.openxmlformats.org/officeDocument/2006/relationships/image" Target="../media/image28.emf"/></Relationships>
</file>

<file path=ppt/slides/_rels/slide77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04.xml"/><Relationship Id="rId4" Type="http://schemas.openxmlformats.org/officeDocument/2006/relationships/image" Target="../media/image28.emf"/></Relationships>
</file>

<file path=ppt/slides/_rels/slide77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05.xml"/><Relationship Id="rId4" Type="http://schemas.openxmlformats.org/officeDocument/2006/relationships/image" Target="../media/image28.emf"/></Relationships>
</file>

<file path=ppt/slides/_rels/slide77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06.xml"/><Relationship Id="rId4" Type="http://schemas.openxmlformats.org/officeDocument/2006/relationships/image" Target="../media/image28.emf"/></Relationships>
</file>

<file path=ppt/slides/_rels/slide7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5.xml"/><Relationship Id="rId5" Type="http://schemas.openxmlformats.org/officeDocument/2006/relationships/chart" Target="../charts/chart78.xml"/><Relationship Id="rId4" Type="http://schemas.openxmlformats.org/officeDocument/2006/relationships/image" Target="../media/image28.emf"/></Relationships>
</file>

<file path=ppt/slides/_rels/slide78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07.xml"/><Relationship Id="rId4" Type="http://schemas.openxmlformats.org/officeDocument/2006/relationships/image" Target="../media/image28.emf"/></Relationships>
</file>

<file path=ppt/slides/_rels/slide78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08.xml"/><Relationship Id="rId4" Type="http://schemas.openxmlformats.org/officeDocument/2006/relationships/image" Target="../media/image28.emf"/></Relationships>
</file>

<file path=ppt/slides/_rels/slide78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09.xml"/><Relationship Id="rId4" Type="http://schemas.openxmlformats.org/officeDocument/2006/relationships/image" Target="../media/image28.emf"/></Relationships>
</file>

<file path=ppt/slides/_rels/slide78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10.xml"/><Relationship Id="rId4" Type="http://schemas.openxmlformats.org/officeDocument/2006/relationships/image" Target="../media/image28.emf"/></Relationships>
</file>

<file path=ppt/slides/_rels/slide78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11.xml"/><Relationship Id="rId4" Type="http://schemas.openxmlformats.org/officeDocument/2006/relationships/image" Target="../media/image28.emf"/></Relationships>
</file>

<file path=ppt/slides/_rels/slide78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12.xml"/><Relationship Id="rId4" Type="http://schemas.openxmlformats.org/officeDocument/2006/relationships/image" Target="../media/image28.emf"/></Relationships>
</file>

<file path=ppt/slides/_rels/slide78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13.xml"/><Relationship Id="rId4" Type="http://schemas.openxmlformats.org/officeDocument/2006/relationships/image" Target="../media/image28.emf"/></Relationships>
</file>

<file path=ppt/slides/_rels/slide78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14.xml"/><Relationship Id="rId4" Type="http://schemas.openxmlformats.org/officeDocument/2006/relationships/image" Target="../media/image28.emf"/></Relationships>
</file>

<file path=ppt/slides/_rels/slide78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15.xml"/><Relationship Id="rId4" Type="http://schemas.openxmlformats.org/officeDocument/2006/relationships/image" Target="../media/image28.emf"/></Relationships>
</file>

<file path=ppt/slides/_rels/slide78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16.xml"/><Relationship Id="rId4" Type="http://schemas.openxmlformats.org/officeDocument/2006/relationships/image" Target="../media/image28.emf"/></Relationships>
</file>

<file path=ppt/slides/_rels/slide7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6.xml"/><Relationship Id="rId5" Type="http://schemas.openxmlformats.org/officeDocument/2006/relationships/chart" Target="../charts/chart79.xml"/><Relationship Id="rId4" Type="http://schemas.openxmlformats.org/officeDocument/2006/relationships/image" Target="../media/image28.emf"/></Relationships>
</file>

<file path=ppt/slides/_rels/slide79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17.xml"/><Relationship Id="rId4" Type="http://schemas.openxmlformats.org/officeDocument/2006/relationships/image" Target="../media/image28.emf"/></Relationships>
</file>

<file path=ppt/slides/_rels/slide79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18.xml"/><Relationship Id="rId4" Type="http://schemas.openxmlformats.org/officeDocument/2006/relationships/image" Target="../media/image28.emf"/></Relationships>
</file>

<file path=ppt/slides/_rels/slide79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19.xml"/><Relationship Id="rId4" Type="http://schemas.openxmlformats.org/officeDocument/2006/relationships/image" Target="../media/image28.emf"/></Relationships>
</file>

<file path=ppt/slides/_rels/slide79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20.xml"/><Relationship Id="rId4" Type="http://schemas.openxmlformats.org/officeDocument/2006/relationships/image" Target="../media/image28.emf"/></Relationships>
</file>

<file path=ppt/slides/_rels/slide79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21.xml"/><Relationship Id="rId4" Type="http://schemas.openxmlformats.org/officeDocument/2006/relationships/image" Target="../media/image28.emf"/></Relationships>
</file>

<file path=ppt/slides/_rels/slide79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22.xml"/><Relationship Id="rId4" Type="http://schemas.openxmlformats.org/officeDocument/2006/relationships/image" Target="../media/image28.emf"/></Relationships>
</file>

<file path=ppt/slides/_rels/slide79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23.xml"/><Relationship Id="rId4" Type="http://schemas.openxmlformats.org/officeDocument/2006/relationships/image" Target="../media/image28.emf"/></Relationships>
</file>

<file path=ppt/slides/_rels/slide79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24.xml"/><Relationship Id="rId4" Type="http://schemas.openxmlformats.org/officeDocument/2006/relationships/image" Target="../media/image28.emf"/></Relationships>
</file>

<file path=ppt/slides/_rels/slide79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25.xml"/><Relationship Id="rId4" Type="http://schemas.openxmlformats.org/officeDocument/2006/relationships/image" Target="../media/image28.emf"/></Relationships>
</file>

<file path=ppt/slides/_rels/slide79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26.xml"/><Relationship Id="rId4" Type="http://schemas.openxmlformats.org/officeDocument/2006/relationships/image" Target="../media/image28.emf"/></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5.xml"/><Relationship Id="rId5" Type="http://schemas.openxmlformats.org/officeDocument/2006/relationships/chart" Target="../charts/chart8.xml"/><Relationship Id="rId4" Type="http://schemas.openxmlformats.org/officeDocument/2006/relationships/image" Target="../media/image28.emf"/></Relationships>
</file>

<file path=ppt/slides/_rels/slide8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7.xml"/><Relationship Id="rId5" Type="http://schemas.openxmlformats.org/officeDocument/2006/relationships/chart" Target="../charts/chart80.xml"/><Relationship Id="rId4" Type="http://schemas.openxmlformats.org/officeDocument/2006/relationships/image" Target="../media/image28.emf"/></Relationships>
</file>

<file path=ppt/slides/_rels/slide80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27.xml"/><Relationship Id="rId4" Type="http://schemas.openxmlformats.org/officeDocument/2006/relationships/image" Target="../media/image28.emf"/></Relationships>
</file>

<file path=ppt/slides/_rels/slide80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28.xml"/><Relationship Id="rId4" Type="http://schemas.openxmlformats.org/officeDocument/2006/relationships/image" Target="../media/image28.emf"/></Relationships>
</file>

<file path=ppt/slides/_rels/slide80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29.xml"/><Relationship Id="rId4" Type="http://schemas.openxmlformats.org/officeDocument/2006/relationships/image" Target="../media/image28.emf"/></Relationships>
</file>

<file path=ppt/slides/_rels/slide80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30.xml"/><Relationship Id="rId4" Type="http://schemas.openxmlformats.org/officeDocument/2006/relationships/image" Target="../media/image28.emf"/></Relationships>
</file>

<file path=ppt/slides/_rels/slide80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31.xml"/><Relationship Id="rId4" Type="http://schemas.openxmlformats.org/officeDocument/2006/relationships/image" Target="../media/image28.emf"/></Relationships>
</file>

<file path=ppt/slides/_rels/slide80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32.xml"/><Relationship Id="rId4" Type="http://schemas.openxmlformats.org/officeDocument/2006/relationships/image" Target="../media/image28.emf"/></Relationships>
</file>

<file path=ppt/slides/_rels/slide80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33.xml"/><Relationship Id="rId4" Type="http://schemas.openxmlformats.org/officeDocument/2006/relationships/image" Target="../media/image28.emf"/></Relationships>
</file>

<file path=ppt/slides/_rels/slide80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34.xml"/><Relationship Id="rId4" Type="http://schemas.openxmlformats.org/officeDocument/2006/relationships/image" Target="../media/image28.emf"/></Relationships>
</file>

<file path=ppt/slides/_rels/slide80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35.xml"/><Relationship Id="rId4" Type="http://schemas.openxmlformats.org/officeDocument/2006/relationships/image" Target="../media/image28.emf"/></Relationships>
</file>

<file path=ppt/slides/_rels/slide80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36.xml"/><Relationship Id="rId4" Type="http://schemas.openxmlformats.org/officeDocument/2006/relationships/image" Target="../media/image28.emf"/></Relationships>
</file>

<file path=ppt/slides/_rels/slide8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8.xml"/><Relationship Id="rId5" Type="http://schemas.openxmlformats.org/officeDocument/2006/relationships/chart" Target="../charts/chart81.xml"/><Relationship Id="rId4" Type="http://schemas.openxmlformats.org/officeDocument/2006/relationships/image" Target="../media/image28.emf"/></Relationships>
</file>

<file path=ppt/slides/_rels/slide81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37.xml"/><Relationship Id="rId4" Type="http://schemas.openxmlformats.org/officeDocument/2006/relationships/image" Target="../media/image28.emf"/></Relationships>
</file>

<file path=ppt/slides/_rels/slide81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38.xml"/><Relationship Id="rId4" Type="http://schemas.openxmlformats.org/officeDocument/2006/relationships/image" Target="../media/image28.emf"/></Relationships>
</file>

<file path=ppt/slides/_rels/slide81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39.xml"/><Relationship Id="rId4" Type="http://schemas.openxmlformats.org/officeDocument/2006/relationships/image" Target="../media/image28.emf"/></Relationships>
</file>

<file path=ppt/slides/_rels/slide81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40.xml"/><Relationship Id="rId4" Type="http://schemas.openxmlformats.org/officeDocument/2006/relationships/image" Target="../media/image28.emf"/></Relationships>
</file>

<file path=ppt/slides/_rels/slide81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41.xml"/><Relationship Id="rId4" Type="http://schemas.openxmlformats.org/officeDocument/2006/relationships/image" Target="../media/image28.emf"/></Relationships>
</file>

<file path=ppt/slides/_rels/slide81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42.xml"/><Relationship Id="rId4" Type="http://schemas.openxmlformats.org/officeDocument/2006/relationships/image" Target="../media/image28.emf"/></Relationships>
</file>

<file path=ppt/slides/_rels/slide81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43.xml"/><Relationship Id="rId4" Type="http://schemas.openxmlformats.org/officeDocument/2006/relationships/image" Target="../media/image28.emf"/></Relationships>
</file>

<file path=ppt/slides/_rels/slide81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44.xml"/><Relationship Id="rId4" Type="http://schemas.openxmlformats.org/officeDocument/2006/relationships/image" Target="../media/image28.emf"/></Relationships>
</file>

<file path=ppt/slides/_rels/slide81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45.xml"/><Relationship Id="rId4" Type="http://schemas.openxmlformats.org/officeDocument/2006/relationships/image" Target="../media/image28.emf"/></Relationships>
</file>

<file path=ppt/slides/_rels/slide81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46.xml"/><Relationship Id="rId4" Type="http://schemas.openxmlformats.org/officeDocument/2006/relationships/image" Target="../media/image28.emf"/></Relationships>
</file>

<file path=ppt/slides/_rels/slide8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9.xml"/><Relationship Id="rId5" Type="http://schemas.openxmlformats.org/officeDocument/2006/relationships/chart" Target="../charts/chart82.xml"/><Relationship Id="rId4" Type="http://schemas.openxmlformats.org/officeDocument/2006/relationships/image" Target="../media/image28.emf"/></Relationships>
</file>

<file path=ppt/slides/_rels/slide82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47.xml"/><Relationship Id="rId4" Type="http://schemas.openxmlformats.org/officeDocument/2006/relationships/image" Target="../media/image28.emf"/></Relationships>
</file>

<file path=ppt/slides/_rels/slide82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48.xml"/><Relationship Id="rId4" Type="http://schemas.openxmlformats.org/officeDocument/2006/relationships/image" Target="../media/image28.emf"/></Relationships>
</file>

<file path=ppt/slides/_rels/slide82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49.xml"/><Relationship Id="rId4" Type="http://schemas.openxmlformats.org/officeDocument/2006/relationships/image" Target="../media/image28.emf"/></Relationships>
</file>

<file path=ppt/slides/_rels/slide82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50.xml"/><Relationship Id="rId4" Type="http://schemas.openxmlformats.org/officeDocument/2006/relationships/image" Target="../media/image28.emf"/></Relationships>
</file>

<file path=ppt/slides/_rels/slide82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51.xml"/><Relationship Id="rId4" Type="http://schemas.openxmlformats.org/officeDocument/2006/relationships/image" Target="../media/image28.emf"/></Relationships>
</file>

<file path=ppt/slides/_rels/slide82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52.xml"/><Relationship Id="rId4" Type="http://schemas.openxmlformats.org/officeDocument/2006/relationships/image" Target="../media/image28.emf"/></Relationships>
</file>

<file path=ppt/slides/_rels/slide82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53.xml"/><Relationship Id="rId4" Type="http://schemas.openxmlformats.org/officeDocument/2006/relationships/image" Target="../media/image28.emf"/></Relationships>
</file>

<file path=ppt/slides/_rels/slide82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54.xml"/><Relationship Id="rId4" Type="http://schemas.openxmlformats.org/officeDocument/2006/relationships/image" Target="../media/image28.emf"/></Relationships>
</file>

<file path=ppt/slides/_rels/slide82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55.xml"/><Relationship Id="rId4" Type="http://schemas.openxmlformats.org/officeDocument/2006/relationships/image" Target="../media/image28.emf"/></Relationships>
</file>

<file path=ppt/slides/_rels/slide82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56.xml"/><Relationship Id="rId4" Type="http://schemas.openxmlformats.org/officeDocument/2006/relationships/image" Target="../media/image28.emf"/></Relationships>
</file>

<file path=ppt/slides/_rels/slide8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0.xml"/><Relationship Id="rId5" Type="http://schemas.openxmlformats.org/officeDocument/2006/relationships/chart" Target="../charts/chart83.xml"/><Relationship Id="rId4" Type="http://schemas.openxmlformats.org/officeDocument/2006/relationships/image" Target="../media/image28.emf"/></Relationships>
</file>

<file path=ppt/slides/_rels/slide83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57.xml"/><Relationship Id="rId4" Type="http://schemas.openxmlformats.org/officeDocument/2006/relationships/image" Target="../media/image28.emf"/></Relationships>
</file>

<file path=ppt/slides/_rels/slide83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58.xml"/><Relationship Id="rId4" Type="http://schemas.openxmlformats.org/officeDocument/2006/relationships/image" Target="../media/image28.emf"/></Relationships>
</file>

<file path=ppt/slides/_rels/slide83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59.xml"/><Relationship Id="rId4" Type="http://schemas.openxmlformats.org/officeDocument/2006/relationships/image" Target="../media/image28.emf"/></Relationships>
</file>

<file path=ppt/slides/_rels/slide83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60.xml"/><Relationship Id="rId4" Type="http://schemas.openxmlformats.org/officeDocument/2006/relationships/image" Target="../media/image28.emf"/></Relationships>
</file>

<file path=ppt/slides/_rels/slide83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61.xml"/><Relationship Id="rId4" Type="http://schemas.openxmlformats.org/officeDocument/2006/relationships/image" Target="../media/image28.emf"/></Relationships>
</file>

<file path=ppt/slides/_rels/slide83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62.xml"/><Relationship Id="rId4" Type="http://schemas.openxmlformats.org/officeDocument/2006/relationships/image" Target="../media/image28.emf"/></Relationships>
</file>

<file path=ppt/slides/_rels/slide83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63.xml"/><Relationship Id="rId4" Type="http://schemas.openxmlformats.org/officeDocument/2006/relationships/image" Target="../media/image28.emf"/></Relationships>
</file>

<file path=ppt/slides/_rels/slide83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64.xml"/><Relationship Id="rId4" Type="http://schemas.openxmlformats.org/officeDocument/2006/relationships/image" Target="../media/image28.emf"/></Relationships>
</file>

<file path=ppt/slides/_rels/slide83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65.xml"/><Relationship Id="rId4" Type="http://schemas.openxmlformats.org/officeDocument/2006/relationships/image" Target="../media/image28.emf"/></Relationships>
</file>

<file path=ppt/slides/_rels/slide83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66.xml"/><Relationship Id="rId4" Type="http://schemas.openxmlformats.org/officeDocument/2006/relationships/image" Target="../media/image28.emf"/></Relationships>
</file>

<file path=ppt/slides/_rels/slide8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1.xml"/><Relationship Id="rId5" Type="http://schemas.openxmlformats.org/officeDocument/2006/relationships/chart" Target="../charts/chart84.xml"/><Relationship Id="rId4" Type="http://schemas.openxmlformats.org/officeDocument/2006/relationships/image" Target="../media/image28.emf"/></Relationships>
</file>

<file path=ppt/slides/_rels/slide84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67.xml"/><Relationship Id="rId4" Type="http://schemas.openxmlformats.org/officeDocument/2006/relationships/image" Target="../media/image28.emf"/></Relationships>
</file>

<file path=ppt/slides/_rels/slide84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68.xml"/><Relationship Id="rId4" Type="http://schemas.openxmlformats.org/officeDocument/2006/relationships/image" Target="../media/image28.emf"/></Relationships>
</file>

<file path=ppt/slides/_rels/slide84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69.xml"/><Relationship Id="rId4" Type="http://schemas.openxmlformats.org/officeDocument/2006/relationships/image" Target="../media/image28.emf"/></Relationships>
</file>

<file path=ppt/slides/_rels/slide84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70.xml"/><Relationship Id="rId4" Type="http://schemas.openxmlformats.org/officeDocument/2006/relationships/image" Target="../media/image28.emf"/></Relationships>
</file>

<file path=ppt/slides/_rels/slide84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71.xml"/><Relationship Id="rId4" Type="http://schemas.openxmlformats.org/officeDocument/2006/relationships/image" Target="../media/image28.emf"/></Relationships>
</file>

<file path=ppt/slides/_rels/slide84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72.xml"/><Relationship Id="rId4" Type="http://schemas.openxmlformats.org/officeDocument/2006/relationships/image" Target="../media/image28.emf"/></Relationships>
</file>

<file path=ppt/slides/_rels/slide84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73.xml"/><Relationship Id="rId4" Type="http://schemas.openxmlformats.org/officeDocument/2006/relationships/image" Target="../media/image28.emf"/></Relationships>
</file>

<file path=ppt/slides/_rels/slide84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74.xml"/><Relationship Id="rId4" Type="http://schemas.openxmlformats.org/officeDocument/2006/relationships/image" Target="../media/image28.emf"/></Relationships>
</file>

<file path=ppt/slides/_rels/slide84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75.xml"/><Relationship Id="rId4" Type="http://schemas.openxmlformats.org/officeDocument/2006/relationships/image" Target="../media/image28.emf"/></Relationships>
</file>

<file path=ppt/slides/_rels/slide84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76.xml"/><Relationship Id="rId4" Type="http://schemas.openxmlformats.org/officeDocument/2006/relationships/image" Target="../media/image28.emf"/></Relationships>
</file>

<file path=ppt/slides/_rels/slide8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2.xml"/><Relationship Id="rId5" Type="http://schemas.openxmlformats.org/officeDocument/2006/relationships/chart" Target="../charts/chart85.xml"/><Relationship Id="rId4" Type="http://schemas.openxmlformats.org/officeDocument/2006/relationships/image" Target="../media/image28.emf"/></Relationships>
</file>

<file path=ppt/slides/_rels/slide85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77.xml"/><Relationship Id="rId4" Type="http://schemas.openxmlformats.org/officeDocument/2006/relationships/image" Target="../media/image28.emf"/></Relationships>
</file>

<file path=ppt/slides/_rels/slide85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78.xml"/><Relationship Id="rId4" Type="http://schemas.openxmlformats.org/officeDocument/2006/relationships/image" Target="../media/image28.emf"/></Relationships>
</file>

<file path=ppt/slides/_rels/slide85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79.xml"/><Relationship Id="rId4" Type="http://schemas.openxmlformats.org/officeDocument/2006/relationships/image" Target="../media/image28.emf"/></Relationships>
</file>

<file path=ppt/slides/_rels/slide85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80.xml"/><Relationship Id="rId4" Type="http://schemas.openxmlformats.org/officeDocument/2006/relationships/image" Target="../media/image28.emf"/></Relationships>
</file>

<file path=ppt/slides/_rels/slide85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81.xml"/><Relationship Id="rId4" Type="http://schemas.openxmlformats.org/officeDocument/2006/relationships/image" Target="../media/image28.emf"/></Relationships>
</file>

<file path=ppt/slides/_rels/slide85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82.xml"/><Relationship Id="rId4" Type="http://schemas.openxmlformats.org/officeDocument/2006/relationships/image" Target="../media/image28.emf"/></Relationships>
</file>

<file path=ppt/slides/_rels/slide85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83.xml"/><Relationship Id="rId4" Type="http://schemas.openxmlformats.org/officeDocument/2006/relationships/image" Target="../media/image28.emf"/></Relationships>
</file>

<file path=ppt/slides/_rels/slide85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84.xml"/><Relationship Id="rId4" Type="http://schemas.openxmlformats.org/officeDocument/2006/relationships/image" Target="../media/image28.emf"/></Relationships>
</file>

<file path=ppt/slides/_rels/slide85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85.xml"/><Relationship Id="rId4" Type="http://schemas.openxmlformats.org/officeDocument/2006/relationships/image" Target="../media/image28.emf"/></Relationships>
</file>

<file path=ppt/slides/_rels/slide85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86.xml"/><Relationship Id="rId4" Type="http://schemas.openxmlformats.org/officeDocument/2006/relationships/image" Target="../media/image28.emf"/></Relationships>
</file>

<file path=ppt/slides/_rels/slide8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3.xml"/><Relationship Id="rId5" Type="http://schemas.openxmlformats.org/officeDocument/2006/relationships/chart" Target="../charts/chart86.xml"/><Relationship Id="rId4" Type="http://schemas.openxmlformats.org/officeDocument/2006/relationships/image" Target="../media/image28.emf"/></Relationships>
</file>

<file path=ppt/slides/_rels/slide86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87.xml"/><Relationship Id="rId4" Type="http://schemas.openxmlformats.org/officeDocument/2006/relationships/image" Target="../media/image28.emf"/></Relationships>
</file>

<file path=ppt/slides/_rels/slide86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88.xml"/><Relationship Id="rId4" Type="http://schemas.openxmlformats.org/officeDocument/2006/relationships/image" Target="../media/image28.emf"/></Relationships>
</file>

<file path=ppt/slides/_rels/slide86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89.xml"/><Relationship Id="rId4" Type="http://schemas.openxmlformats.org/officeDocument/2006/relationships/image" Target="../media/image28.emf"/></Relationships>
</file>

<file path=ppt/slides/_rels/slide86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90.xml"/><Relationship Id="rId4" Type="http://schemas.openxmlformats.org/officeDocument/2006/relationships/image" Target="../media/image28.emf"/></Relationships>
</file>

<file path=ppt/slides/_rels/slide86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91.xml"/><Relationship Id="rId4" Type="http://schemas.openxmlformats.org/officeDocument/2006/relationships/image" Target="../media/image28.emf"/></Relationships>
</file>

<file path=ppt/slides/_rels/slide86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92.xml"/><Relationship Id="rId4" Type="http://schemas.openxmlformats.org/officeDocument/2006/relationships/image" Target="../media/image28.emf"/></Relationships>
</file>

<file path=ppt/slides/_rels/slide86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93.xml"/><Relationship Id="rId4" Type="http://schemas.openxmlformats.org/officeDocument/2006/relationships/image" Target="../media/image28.emf"/></Relationships>
</file>

<file path=ppt/slides/_rels/slide86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94.xml"/><Relationship Id="rId4" Type="http://schemas.openxmlformats.org/officeDocument/2006/relationships/image" Target="../media/image28.emf"/></Relationships>
</file>

<file path=ppt/slides/_rels/slide86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95.xml"/><Relationship Id="rId4" Type="http://schemas.openxmlformats.org/officeDocument/2006/relationships/image" Target="../media/image28.emf"/></Relationships>
</file>

<file path=ppt/slides/_rels/slide86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96.xml"/><Relationship Id="rId4" Type="http://schemas.openxmlformats.org/officeDocument/2006/relationships/image" Target="../media/image28.emf"/></Relationships>
</file>

<file path=ppt/slides/_rels/slide8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4.xml"/><Relationship Id="rId5" Type="http://schemas.openxmlformats.org/officeDocument/2006/relationships/chart" Target="../charts/chart87.xml"/><Relationship Id="rId4" Type="http://schemas.openxmlformats.org/officeDocument/2006/relationships/image" Target="../media/image28.emf"/></Relationships>
</file>

<file path=ppt/slides/_rels/slide87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97.xml"/><Relationship Id="rId4" Type="http://schemas.openxmlformats.org/officeDocument/2006/relationships/image" Target="../media/image28.emf"/></Relationships>
</file>

<file path=ppt/slides/_rels/slide87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98.xml"/><Relationship Id="rId4" Type="http://schemas.openxmlformats.org/officeDocument/2006/relationships/image" Target="../media/image28.emf"/></Relationships>
</file>

<file path=ppt/slides/_rels/slide87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99.xml"/><Relationship Id="rId4" Type="http://schemas.openxmlformats.org/officeDocument/2006/relationships/image" Target="../media/image28.emf"/></Relationships>
</file>

<file path=ppt/slides/_rels/slide87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00.xml"/><Relationship Id="rId4" Type="http://schemas.openxmlformats.org/officeDocument/2006/relationships/image" Target="../media/image28.emf"/></Relationships>
</file>

<file path=ppt/slides/_rels/slide87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01.xml"/><Relationship Id="rId4" Type="http://schemas.openxmlformats.org/officeDocument/2006/relationships/image" Target="../media/image28.emf"/></Relationships>
</file>

<file path=ppt/slides/_rels/slide87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02.xml"/><Relationship Id="rId4" Type="http://schemas.openxmlformats.org/officeDocument/2006/relationships/image" Target="../media/image28.emf"/></Relationships>
</file>

<file path=ppt/slides/_rels/slide87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03.xml"/><Relationship Id="rId4" Type="http://schemas.openxmlformats.org/officeDocument/2006/relationships/image" Target="../media/image28.emf"/></Relationships>
</file>

<file path=ppt/slides/_rels/slide87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04.xml"/><Relationship Id="rId4" Type="http://schemas.openxmlformats.org/officeDocument/2006/relationships/image" Target="../media/image28.emf"/></Relationships>
</file>

<file path=ppt/slides/_rels/slide87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05.xml"/><Relationship Id="rId4" Type="http://schemas.openxmlformats.org/officeDocument/2006/relationships/image" Target="../media/image28.emf"/></Relationships>
</file>

<file path=ppt/slides/_rels/slide87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06.xml"/><Relationship Id="rId4" Type="http://schemas.openxmlformats.org/officeDocument/2006/relationships/image" Target="../media/image28.emf"/></Relationships>
</file>

<file path=ppt/slides/_rels/slide8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5.xml"/><Relationship Id="rId5" Type="http://schemas.openxmlformats.org/officeDocument/2006/relationships/chart" Target="../charts/chart88.xml"/><Relationship Id="rId4" Type="http://schemas.openxmlformats.org/officeDocument/2006/relationships/image" Target="../media/image28.emf"/></Relationships>
</file>

<file path=ppt/slides/_rels/slide88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07.xml"/><Relationship Id="rId4" Type="http://schemas.openxmlformats.org/officeDocument/2006/relationships/image" Target="../media/image28.emf"/></Relationships>
</file>

<file path=ppt/slides/_rels/slide88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08.xml"/><Relationship Id="rId4" Type="http://schemas.openxmlformats.org/officeDocument/2006/relationships/image" Target="../media/image28.emf"/></Relationships>
</file>

<file path=ppt/slides/_rels/slide88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09.xml"/><Relationship Id="rId4" Type="http://schemas.openxmlformats.org/officeDocument/2006/relationships/image" Target="../media/image28.emf"/></Relationships>
</file>

<file path=ppt/slides/_rels/slide88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10.xml"/><Relationship Id="rId4" Type="http://schemas.openxmlformats.org/officeDocument/2006/relationships/image" Target="../media/image28.emf"/></Relationships>
</file>

<file path=ppt/slides/_rels/slide88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11.xml"/><Relationship Id="rId4" Type="http://schemas.openxmlformats.org/officeDocument/2006/relationships/image" Target="../media/image28.emf"/></Relationships>
</file>

<file path=ppt/slides/_rels/slide88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12.xml"/><Relationship Id="rId4" Type="http://schemas.openxmlformats.org/officeDocument/2006/relationships/image" Target="../media/image28.emf"/></Relationships>
</file>

<file path=ppt/slides/_rels/slide88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13.xml"/><Relationship Id="rId4" Type="http://schemas.openxmlformats.org/officeDocument/2006/relationships/image" Target="../media/image28.emf"/></Relationships>
</file>

<file path=ppt/slides/_rels/slide88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14.xml"/><Relationship Id="rId4" Type="http://schemas.openxmlformats.org/officeDocument/2006/relationships/image" Target="../media/image28.emf"/></Relationships>
</file>

<file path=ppt/slides/_rels/slide88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15.xml"/><Relationship Id="rId4" Type="http://schemas.openxmlformats.org/officeDocument/2006/relationships/image" Target="../media/image28.emf"/></Relationships>
</file>

<file path=ppt/slides/_rels/slide88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16.xml"/><Relationship Id="rId4" Type="http://schemas.openxmlformats.org/officeDocument/2006/relationships/image" Target="../media/image28.emf"/></Relationships>
</file>

<file path=ppt/slides/_rels/slide8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6.xml"/><Relationship Id="rId5" Type="http://schemas.openxmlformats.org/officeDocument/2006/relationships/chart" Target="../charts/chart89.xml"/><Relationship Id="rId4" Type="http://schemas.openxmlformats.org/officeDocument/2006/relationships/image" Target="../media/image28.emf"/></Relationships>
</file>

<file path=ppt/slides/_rels/slide89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17.xml"/><Relationship Id="rId4" Type="http://schemas.openxmlformats.org/officeDocument/2006/relationships/image" Target="../media/image28.emf"/></Relationships>
</file>

<file path=ppt/slides/_rels/slide89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18.xml"/><Relationship Id="rId4" Type="http://schemas.openxmlformats.org/officeDocument/2006/relationships/image" Target="../media/image28.emf"/></Relationships>
</file>

<file path=ppt/slides/_rels/slide89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19.xml"/><Relationship Id="rId4" Type="http://schemas.openxmlformats.org/officeDocument/2006/relationships/image" Target="../media/image28.emf"/></Relationships>
</file>

<file path=ppt/slides/_rels/slide89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20.xml"/><Relationship Id="rId4" Type="http://schemas.openxmlformats.org/officeDocument/2006/relationships/image" Target="../media/image28.emf"/></Relationships>
</file>

<file path=ppt/slides/_rels/slide89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21.xml"/><Relationship Id="rId4" Type="http://schemas.openxmlformats.org/officeDocument/2006/relationships/image" Target="../media/image28.emf"/></Relationships>
</file>

<file path=ppt/slides/_rels/slide89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22.xml"/><Relationship Id="rId4" Type="http://schemas.openxmlformats.org/officeDocument/2006/relationships/image" Target="../media/image28.emf"/></Relationships>
</file>

<file path=ppt/slides/_rels/slide89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23.xml"/><Relationship Id="rId4" Type="http://schemas.openxmlformats.org/officeDocument/2006/relationships/image" Target="../media/image28.emf"/></Relationships>
</file>

<file path=ppt/slides/_rels/slide89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24.xml"/><Relationship Id="rId4" Type="http://schemas.openxmlformats.org/officeDocument/2006/relationships/image" Target="../media/image28.emf"/></Relationships>
</file>

<file path=ppt/slides/_rels/slide89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25.xml"/><Relationship Id="rId4" Type="http://schemas.openxmlformats.org/officeDocument/2006/relationships/image" Target="../media/image28.emf"/></Relationships>
</file>

<file path=ppt/slides/_rels/slide89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26.xml"/><Relationship Id="rId4" Type="http://schemas.openxmlformats.org/officeDocument/2006/relationships/image" Target="../media/image28.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6.xml"/><Relationship Id="rId5" Type="http://schemas.openxmlformats.org/officeDocument/2006/relationships/chart" Target="../charts/chart9.xml"/><Relationship Id="rId4" Type="http://schemas.openxmlformats.org/officeDocument/2006/relationships/image" Target="../media/image28.emf"/></Relationships>
</file>

<file path=ppt/slides/_rels/slide9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7.xml"/><Relationship Id="rId5" Type="http://schemas.openxmlformats.org/officeDocument/2006/relationships/chart" Target="../charts/chart90.xml"/><Relationship Id="rId4" Type="http://schemas.openxmlformats.org/officeDocument/2006/relationships/image" Target="../media/image28.emf"/></Relationships>
</file>

<file path=ppt/slides/_rels/slide90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27.xml"/><Relationship Id="rId4" Type="http://schemas.openxmlformats.org/officeDocument/2006/relationships/image" Target="../media/image28.emf"/></Relationships>
</file>

<file path=ppt/slides/_rels/slide90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28.xml"/><Relationship Id="rId4" Type="http://schemas.openxmlformats.org/officeDocument/2006/relationships/image" Target="../media/image28.emf"/></Relationships>
</file>

<file path=ppt/slides/_rels/slide90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29.xml"/><Relationship Id="rId4" Type="http://schemas.openxmlformats.org/officeDocument/2006/relationships/image" Target="../media/image28.emf"/></Relationships>
</file>

<file path=ppt/slides/_rels/slide90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30.xml"/><Relationship Id="rId4" Type="http://schemas.openxmlformats.org/officeDocument/2006/relationships/image" Target="../media/image28.emf"/></Relationships>
</file>

<file path=ppt/slides/_rels/slide90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31.xml"/><Relationship Id="rId4" Type="http://schemas.openxmlformats.org/officeDocument/2006/relationships/image" Target="../media/image28.emf"/></Relationships>
</file>

<file path=ppt/slides/_rels/slide90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32.xml"/><Relationship Id="rId4" Type="http://schemas.openxmlformats.org/officeDocument/2006/relationships/image" Target="../media/image28.emf"/></Relationships>
</file>

<file path=ppt/slides/_rels/slide90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33.xml"/><Relationship Id="rId4" Type="http://schemas.openxmlformats.org/officeDocument/2006/relationships/image" Target="../media/image28.emf"/></Relationships>
</file>

<file path=ppt/slides/_rels/slide90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34.xml"/><Relationship Id="rId4" Type="http://schemas.openxmlformats.org/officeDocument/2006/relationships/image" Target="../media/image28.emf"/></Relationships>
</file>

<file path=ppt/slides/_rels/slide90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35.xml"/><Relationship Id="rId4" Type="http://schemas.openxmlformats.org/officeDocument/2006/relationships/image" Target="../media/image28.emf"/></Relationships>
</file>

<file path=ppt/slides/_rels/slide90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36.xml"/><Relationship Id="rId4" Type="http://schemas.openxmlformats.org/officeDocument/2006/relationships/image" Target="../media/image28.emf"/></Relationships>
</file>

<file path=ppt/slides/_rels/slide9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8.xml"/><Relationship Id="rId5" Type="http://schemas.openxmlformats.org/officeDocument/2006/relationships/chart" Target="../charts/chart91.xml"/><Relationship Id="rId4" Type="http://schemas.openxmlformats.org/officeDocument/2006/relationships/image" Target="../media/image28.emf"/></Relationships>
</file>

<file path=ppt/slides/_rels/slide91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37.xml"/><Relationship Id="rId4" Type="http://schemas.openxmlformats.org/officeDocument/2006/relationships/image" Target="../media/image28.emf"/></Relationships>
</file>

<file path=ppt/slides/_rels/slide91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38.xml"/><Relationship Id="rId4" Type="http://schemas.openxmlformats.org/officeDocument/2006/relationships/image" Target="../media/image28.emf"/></Relationships>
</file>

<file path=ppt/slides/_rels/slide91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39.xml"/><Relationship Id="rId4" Type="http://schemas.openxmlformats.org/officeDocument/2006/relationships/image" Target="../media/image28.emf"/></Relationships>
</file>

<file path=ppt/slides/_rels/slide913.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7.xml"/><Relationship Id="rId1" Type="http://schemas.openxmlformats.org/officeDocument/2006/relationships/tags" Target="../tags/tag940.xml"/><Relationship Id="rId6" Type="http://schemas.openxmlformats.org/officeDocument/2006/relationships/chart" Target="../charts/chart67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914.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7.xml"/><Relationship Id="rId1" Type="http://schemas.openxmlformats.org/officeDocument/2006/relationships/tags" Target="../tags/tag941.xml"/><Relationship Id="rId6" Type="http://schemas.openxmlformats.org/officeDocument/2006/relationships/chart" Target="../charts/chart674.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915.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7.xml"/><Relationship Id="rId1" Type="http://schemas.openxmlformats.org/officeDocument/2006/relationships/tags" Target="../tags/tag942.xml"/><Relationship Id="rId6" Type="http://schemas.openxmlformats.org/officeDocument/2006/relationships/chart" Target="../charts/chart67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916.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7.xml"/><Relationship Id="rId1" Type="http://schemas.openxmlformats.org/officeDocument/2006/relationships/tags" Target="../tags/tag943.xml"/><Relationship Id="rId6" Type="http://schemas.openxmlformats.org/officeDocument/2006/relationships/chart" Target="../charts/chart676.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917.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7.xml"/><Relationship Id="rId1" Type="http://schemas.openxmlformats.org/officeDocument/2006/relationships/tags" Target="../tags/tag944.xml"/><Relationship Id="rId6" Type="http://schemas.openxmlformats.org/officeDocument/2006/relationships/chart" Target="../charts/chart67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918.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7.xml"/><Relationship Id="rId1" Type="http://schemas.openxmlformats.org/officeDocument/2006/relationships/tags" Target="../tags/tag945.xml"/><Relationship Id="rId6" Type="http://schemas.openxmlformats.org/officeDocument/2006/relationships/chart" Target="../charts/chart678.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919.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7.xml"/><Relationship Id="rId1" Type="http://schemas.openxmlformats.org/officeDocument/2006/relationships/tags" Target="../tags/tag946.xml"/><Relationship Id="rId6" Type="http://schemas.openxmlformats.org/officeDocument/2006/relationships/chart" Target="../charts/chart67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9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9.xml"/><Relationship Id="rId5" Type="http://schemas.openxmlformats.org/officeDocument/2006/relationships/chart" Target="../charts/chart92.xml"/><Relationship Id="rId4" Type="http://schemas.openxmlformats.org/officeDocument/2006/relationships/image" Target="../media/image28.emf"/></Relationships>
</file>

<file path=ppt/slides/_rels/slide920.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7.xml"/><Relationship Id="rId1" Type="http://schemas.openxmlformats.org/officeDocument/2006/relationships/tags" Target="../tags/tag947.xml"/><Relationship Id="rId6" Type="http://schemas.openxmlformats.org/officeDocument/2006/relationships/chart" Target="../charts/chart680.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921.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7.xml"/><Relationship Id="rId1" Type="http://schemas.openxmlformats.org/officeDocument/2006/relationships/tags" Target="../tags/tag948.xml"/><Relationship Id="rId6" Type="http://schemas.openxmlformats.org/officeDocument/2006/relationships/chart" Target="../charts/chart68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922.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7.xml"/><Relationship Id="rId1" Type="http://schemas.openxmlformats.org/officeDocument/2006/relationships/tags" Target="../tags/tag949.xml"/><Relationship Id="rId6" Type="http://schemas.openxmlformats.org/officeDocument/2006/relationships/chart" Target="../charts/chart682.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923.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7.xml"/><Relationship Id="rId1" Type="http://schemas.openxmlformats.org/officeDocument/2006/relationships/tags" Target="../tags/tag950.xml"/><Relationship Id="rId6" Type="http://schemas.openxmlformats.org/officeDocument/2006/relationships/chart" Target="../charts/chart68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924.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7.xml"/><Relationship Id="rId1" Type="http://schemas.openxmlformats.org/officeDocument/2006/relationships/tags" Target="../tags/tag951.xml"/><Relationship Id="rId6" Type="http://schemas.openxmlformats.org/officeDocument/2006/relationships/chart" Target="../charts/chart684.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925.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7.xml"/><Relationship Id="rId1" Type="http://schemas.openxmlformats.org/officeDocument/2006/relationships/tags" Target="../tags/tag952.xml"/><Relationship Id="rId6" Type="http://schemas.openxmlformats.org/officeDocument/2006/relationships/chart" Target="../charts/chart68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926.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7.xml"/><Relationship Id="rId1" Type="http://schemas.openxmlformats.org/officeDocument/2006/relationships/tags" Target="../tags/tag953.xml"/><Relationship Id="rId6" Type="http://schemas.openxmlformats.org/officeDocument/2006/relationships/chart" Target="../charts/chart686.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927.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7.xml"/><Relationship Id="rId1" Type="http://schemas.openxmlformats.org/officeDocument/2006/relationships/tags" Target="../tags/tag954.xml"/><Relationship Id="rId6" Type="http://schemas.openxmlformats.org/officeDocument/2006/relationships/chart" Target="../charts/chart68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928.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7.xml"/><Relationship Id="rId1" Type="http://schemas.openxmlformats.org/officeDocument/2006/relationships/tags" Target="../tags/tag955.xml"/><Relationship Id="rId6" Type="http://schemas.openxmlformats.org/officeDocument/2006/relationships/chart" Target="../charts/chart688.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929.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7.xml"/><Relationship Id="rId1" Type="http://schemas.openxmlformats.org/officeDocument/2006/relationships/tags" Target="../tags/tag956.xml"/><Relationship Id="rId6" Type="http://schemas.openxmlformats.org/officeDocument/2006/relationships/chart" Target="../charts/chart68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9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20.xml"/><Relationship Id="rId5" Type="http://schemas.openxmlformats.org/officeDocument/2006/relationships/chart" Target="../charts/chart93.xml"/><Relationship Id="rId4" Type="http://schemas.openxmlformats.org/officeDocument/2006/relationships/image" Target="../media/image28.emf"/></Relationships>
</file>

<file path=ppt/slides/_rels/slide930.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7.xml"/><Relationship Id="rId1" Type="http://schemas.openxmlformats.org/officeDocument/2006/relationships/tags" Target="../tags/tag957.xml"/><Relationship Id="rId6" Type="http://schemas.openxmlformats.org/officeDocument/2006/relationships/chart" Target="../charts/chart690.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931.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7.xml"/><Relationship Id="rId1" Type="http://schemas.openxmlformats.org/officeDocument/2006/relationships/tags" Target="../tags/tag958.xml"/><Relationship Id="rId6" Type="http://schemas.openxmlformats.org/officeDocument/2006/relationships/chart" Target="../charts/chart69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932.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7.xml"/><Relationship Id="rId1" Type="http://schemas.openxmlformats.org/officeDocument/2006/relationships/tags" Target="../tags/tag959.xml"/><Relationship Id="rId6" Type="http://schemas.openxmlformats.org/officeDocument/2006/relationships/chart" Target="../charts/chart692.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933.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7.xml"/><Relationship Id="rId1" Type="http://schemas.openxmlformats.org/officeDocument/2006/relationships/tags" Target="../tags/tag960.xml"/><Relationship Id="rId6" Type="http://schemas.openxmlformats.org/officeDocument/2006/relationships/chart" Target="../charts/chart69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934.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7.xml"/><Relationship Id="rId1" Type="http://schemas.openxmlformats.org/officeDocument/2006/relationships/tags" Target="../tags/tag961.xml"/><Relationship Id="rId6" Type="http://schemas.openxmlformats.org/officeDocument/2006/relationships/chart" Target="../charts/chart694.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935.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7.xml"/><Relationship Id="rId1" Type="http://schemas.openxmlformats.org/officeDocument/2006/relationships/tags" Target="../tags/tag962.xml"/><Relationship Id="rId6" Type="http://schemas.openxmlformats.org/officeDocument/2006/relationships/chart" Target="../charts/chart69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936.xml.rels><?xml version="1.0" encoding="UTF-8" standalone="yes"?>
<Relationships xmlns="http://schemas.openxmlformats.org/package/2006/relationships"><Relationship Id="rId3" Type="http://schemas.openxmlformats.org/officeDocument/2006/relationships/notesSlide" Target="../notesSlides/notesSlide24.xml"/><Relationship Id="rId2" Type="http://schemas.openxmlformats.org/officeDocument/2006/relationships/slideLayout" Target="../slideLayouts/slideLayout7.xml"/><Relationship Id="rId1" Type="http://schemas.openxmlformats.org/officeDocument/2006/relationships/tags" Target="../tags/tag963.xml"/><Relationship Id="rId6" Type="http://schemas.openxmlformats.org/officeDocument/2006/relationships/chart" Target="../charts/chart696.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937.xml.rels><?xml version="1.0" encoding="UTF-8" standalone="yes"?>
<Relationships xmlns="http://schemas.openxmlformats.org/package/2006/relationships"><Relationship Id="rId3" Type="http://schemas.openxmlformats.org/officeDocument/2006/relationships/notesSlide" Target="../notesSlides/notesSlide25.xml"/><Relationship Id="rId2" Type="http://schemas.openxmlformats.org/officeDocument/2006/relationships/slideLayout" Target="../slideLayouts/slideLayout7.xml"/><Relationship Id="rId1" Type="http://schemas.openxmlformats.org/officeDocument/2006/relationships/tags" Target="../tags/tag964.xml"/><Relationship Id="rId6" Type="http://schemas.openxmlformats.org/officeDocument/2006/relationships/chart" Target="../charts/chart69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938.xml.rels><?xml version="1.0" encoding="UTF-8" standalone="yes"?>
<Relationships xmlns="http://schemas.openxmlformats.org/package/2006/relationships"><Relationship Id="rId3" Type="http://schemas.openxmlformats.org/officeDocument/2006/relationships/notesSlide" Target="../notesSlides/notesSlide26.xml"/><Relationship Id="rId2" Type="http://schemas.openxmlformats.org/officeDocument/2006/relationships/slideLayout" Target="../slideLayouts/slideLayout7.xml"/><Relationship Id="rId1" Type="http://schemas.openxmlformats.org/officeDocument/2006/relationships/tags" Target="../tags/tag965.xml"/><Relationship Id="rId6" Type="http://schemas.openxmlformats.org/officeDocument/2006/relationships/chart" Target="../charts/chart698.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939.xml.rels><?xml version="1.0" encoding="UTF-8" standalone="yes"?>
<Relationships xmlns="http://schemas.openxmlformats.org/package/2006/relationships"><Relationship Id="rId3" Type="http://schemas.openxmlformats.org/officeDocument/2006/relationships/notesSlide" Target="../notesSlides/notesSlide27.xml"/><Relationship Id="rId2" Type="http://schemas.openxmlformats.org/officeDocument/2006/relationships/slideLayout" Target="../slideLayouts/slideLayout7.xml"/><Relationship Id="rId1" Type="http://schemas.openxmlformats.org/officeDocument/2006/relationships/tags" Target="../tags/tag966.xml"/><Relationship Id="rId6" Type="http://schemas.openxmlformats.org/officeDocument/2006/relationships/chart" Target="../charts/chart69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9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21.xml"/><Relationship Id="rId5" Type="http://schemas.openxmlformats.org/officeDocument/2006/relationships/chart" Target="../charts/chart94.xml"/><Relationship Id="rId4" Type="http://schemas.openxmlformats.org/officeDocument/2006/relationships/image" Target="../media/image28.emf"/></Relationships>
</file>

<file path=ppt/slides/_rels/slide940.xml.rels><?xml version="1.0" encoding="UTF-8" standalone="yes"?>
<Relationships xmlns="http://schemas.openxmlformats.org/package/2006/relationships"><Relationship Id="rId3" Type="http://schemas.openxmlformats.org/officeDocument/2006/relationships/notesSlide" Target="../notesSlides/notesSlide28.xml"/><Relationship Id="rId2" Type="http://schemas.openxmlformats.org/officeDocument/2006/relationships/slideLayout" Target="../slideLayouts/slideLayout7.xml"/><Relationship Id="rId1" Type="http://schemas.openxmlformats.org/officeDocument/2006/relationships/tags" Target="../tags/tag967.xml"/><Relationship Id="rId6" Type="http://schemas.openxmlformats.org/officeDocument/2006/relationships/chart" Target="../charts/chart700.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941.xml.rels><?xml version="1.0" encoding="UTF-8" standalone="yes"?>
<Relationships xmlns="http://schemas.openxmlformats.org/package/2006/relationships"><Relationship Id="rId3" Type="http://schemas.openxmlformats.org/officeDocument/2006/relationships/notesSlide" Target="../notesSlides/notesSlide29.xml"/><Relationship Id="rId2" Type="http://schemas.openxmlformats.org/officeDocument/2006/relationships/slideLayout" Target="../slideLayouts/slideLayout7.xml"/><Relationship Id="rId1" Type="http://schemas.openxmlformats.org/officeDocument/2006/relationships/tags" Target="../tags/tag968.xml"/><Relationship Id="rId6" Type="http://schemas.openxmlformats.org/officeDocument/2006/relationships/chart" Target="../charts/chart70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942.xml.rels><?xml version="1.0" encoding="UTF-8" standalone="yes"?>
<Relationships xmlns="http://schemas.openxmlformats.org/package/2006/relationships"><Relationship Id="rId3" Type="http://schemas.openxmlformats.org/officeDocument/2006/relationships/notesSlide" Target="../notesSlides/notesSlide30.xml"/><Relationship Id="rId2" Type="http://schemas.openxmlformats.org/officeDocument/2006/relationships/slideLayout" Target="../slideLayouts/slideLayout7.xml"/><Relationship Id="rId1" Type="http://schemas.openxmlformats.org/officeDocument/2006/relationships/tags" Target="../tags/tag969.xml"/><Relationship Id="rId6" Type="http://schemas.openxmlformats.org/officeDocument/2006/relationships/chart" Target="../charts/chart702.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943.xml.rels><?xml version="1.0" encoding="UTF-8" standalone="yes"?>
<Relationships xmlns="http://schemas.openxmlformats.org/package/2006/relationships"><Relationship Id="rId3" Type="http://schemas.openxmlformats.org/officeDocument/2006/relationships/notesSlide" Target="../notesSlides/notesSlide31.xml"/><Relationship Id="rId2" Type="http://schemas.openxmlformats.org/officeDocument/2006/relationships/slideLayout" Target="../slideLayouts/slideLayout7.xml"/><Relationship Id="rId1" Type="http://schemas.openxmlformats.org/officeDocument/2006/relationships/tags" Target="../tags/tag970.xml"/><Relationship Id="rId6" Type="http://schemas.openxmlformats.org/officeDocument/2006/relationships/chart" Target="../charts/chart70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944.xml.rels><?xml version="1.0" encoding="UTF-8" standalone="yes"?>
<Relationships xmlns="http://schemas.openxmlformats.org/package/2006/relationships"><Relationship Id="rId3" Type="http://schemas.openxmlformats.org/officeDocument/2006/relationships/notesSlide" Target="../notesSlides/notesSlide32.xml"/><Relationship Id="rId2" Type="http://schemas.openxmlformats.org/officeDocument/2006/relationships/slideLayout" Target="../slideLayouts/slideLayout7.xml"/><Relationship Id="rId1" Type="http://schemas.openxmlformats.org/officeDocument/2006/relationships/tags" Target="../tags/tag971.xml"/><Relationship Id="rId6" Type="http://schemas.openxmlformats.org/officeDocument/2006/relationships/chart" Target="../charts/chart704.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945.xml.rels><?xml version="1.0" encoding="UTF-8" standalone="yes"?>
<Relationships xmlns="http://schemas.openxmlformats.org/package/2006/relationships"><Relationship Id="rId3" Type="http://schemas.openxmlformats.org/officeDocument/2006/relationships/notesSlide" Target="../notesSlides/notesSlide33.xml"/><Relationship Id="rId2" Type="http://schemas.openxmlformats.org/officeDocument/2006/relationships/slideLayout" Target="../slideLayouts/slideLayout7.xml"/><Relationship Id="rId1" Type="http://schemas.openxmlformats.org/officeDocument/2006/relationships/tags" Target="../tags/tag972.xml"/><Relationship Id="rId6" Type="http://schemas.openxmlformats.org/officeDocument/2006/relationships/chart" Target="../charts/chart70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946.xml.rels><?xml version="1.0" encoding="UTF-8" standalone="yes"?>
<Relationships xmlns="http://schemas.openxmlformats.org/package/2006/relationships"><Relationship Id="rId3" Type="http://schemas.openxmlformats.org/officeDocument/2006/relationships/notesSlide" Target="../notesSlides/notesSlide34.xml"/><Relationship Id="rId2" Type="http://schemas.openxmlformats.org/officeDocument/2006/relationships/slideLayout" Target="../slideLayouts/slideLayout7.xml"/><Relationship Id="rId1" Type="http://schemas.openxmlformats.org/officeDocument/2006/relationships/tags" Target="../tags/tag973.xml"/><Relationship Id="rId6" Type="http://schemas.openxmlformats.org/officeDocument/2006/relationships/chart" Target="../charts/chart706.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947.xml.rels><?xml version="1.0" encoding="UTF-8" standalone="yes"?>
<Relationships xmlns="http://schemas.openxmlformats.org/package/2006/relationships"><Relationship Id="rId3" Type="http://schemas.openxmlformats.org/officeDocument/2006/relationships/notesSlide" Target="../notesSlides/notesSlide35.xml"/><Relationship Id="rId2" Type="http://schemas.openxmlformats.org/officeDocument/2006/relationships/slideLayout" Target="../slideLayouts/slideLayout7.xml"/><Relationship Id="rId1" Type="http://schemas.openxmlformats.org/officeDocument/2006/relationships/tags" Target="../tags/tag974.xml"/><Relationship Id="rId6" Type="http://schemas.openxmlformats.org/officeDocument/2006/relationships/chart" Target="../charts/chart70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948.xml.rels><?xml version="1.0" encoding="UTF-8" standalone="yes"?>
<Relationships xmlns="http://schemas.openxmlformats.org/package/2006/relationships"><Relationship Id="rId3" Type="http://schemas.openxmlformats.org/officeDocument/2006/relationships/notesSlide" Target="../notesSlides/notesSlide36.xml"/><Relationship Id="rId2" Type="http://schemas.openxmlformats.org/officeDocument/2006/relationships/slideLayout" Target="../slideLayouts/slideLayout7.xml"/><Relationship Id="rId1" Type="http://schemas.openxmlformats.org/officeDocument/2006/relationships/tags" Target="../tags/tag975.xml"/><Relationship Id="rId6" Type="http://schemas.openxmlformats.org/officeDocument/2006/relationships/chart" Target="../charts/chart708.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949.xml.rels><?xml version="1.0" encoding="UTF-8" standalone="yes"?>
<Relationships xmlns="http://schemas.openxmlformats.org/package/2006/relationships"><Relationship Id="rId3" Type="http://schemas.openxmlformats.org/officeDocument/2006/relationships/notesSlide" Target="../notesSlides/notesSlide37.xml"/><Relationship Id="rId2" Type="http://schemas.openxmlformats.org/officeDocument/2006/relationships/slideLayout" Target="../slideLayouts/slideLayout7.xml"/><Relationship Id="rId1" Type="http://schemas.openxmlformats.org/officeDocument/2006/relationships/tags" Target="../tags/tag976.xml"/><Relationship Id="rId6" Type="http://schemas.openxmlformats.org/officeDocument/2006/relationships/chart" Target="../charts/chart70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9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22.xml"/><Relationship Id="rId5" Type="http://schemas.openxmlformats.org/officeDocument/2006/relationships/chart" Target="../charts/chart95.xml"/><Relationship Id="rId4" Type="http://schemas.openxmlformats.org/officeDocument/2006/relationships/image" Target="../media/image28.emf"/></Relationships>
</file>

<file path=ppt/slides/_rels/slide950.xml.rels><?xml version="1.0" encoding="UTF-8" standalone="yes"?>
<Relationships xmlns="http://schemas.openxmlformats.org/package/2006/relationships"><Relationship Id="rId3" Type="http://schemas.openxmlformats.org/officeDocument/2006/relationships/notesSlide" Target="../notesSlides/notesSlide38.xml"/><Relationship Id="rId2" Type="http://schemas.openxmlformats.org/officeDocument/2006/relationships/slideLayout" Target="../slideLayouts/slideLayout7.xml"/><Relationship Id="rId1" Type="http://schemas.openxmlformats.org/officeDocument/2006/relationships/tags" Target="../tags/tag977.xml"/><Relationship Id="rId6" Type="http://schemas.openxmlformats.org/officeDocument/2006/relationships/chart" Target="../charts/chart710.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951.xml.rels><?xml version="1.0" encoding="UTF-8" standalone="yes"?>
<Relationships xmlns="http://schemas.openxmlformats.org/package/2006/relationships"><Relationship Id="rId3" Type="http://schemas.openxmlformats.org/officeDocument/2006/relationships/notesSlide" Target="../notesSlides/notesSlide39.xml"/><Relationship Id="rId2" Type="http://schemas.openxmlformats.org/officeDocument/2006/relationships/slideLayout" Target="../slideLayouts/slideLayout7.xml"/><Relationship Id="rId1" Type="http://schemas.openxmlformats.org/officeDocument/2006/relationships/tags" Target="../tags/tag978.xml"/><Relationship Id="rId6" Type="http://schemas.openxmlformats.org/officeDocument/2006/relationships/chart" Target="../charts/chart71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952.xml.rels><?xml version="1.0" encoding="UTF-8" standalone="yes"?>
<Relationships xmlns="http://schemas.openxmlformats.org/package/2006/relationships"><Relationship Id="rId3" Type="http://schemas.openxmlformats.org/officeDocument/2006/relationships/notesSlide" Target="../notesSlides/notesSlide40.xml"/><Relationship Id="rId2" Type="http://schemas.openxmlformats.org/officeDocument/2006/relationships/slideLayout" Target="../slideLayouts/slideLayout7.xml"/><Relationship Id="rId1" Type="http://schemas.openxmlformats.org/officeDocument/2006/relationships/tags" Target="../tags/tag979.xml"/><Relationship Id="rId6" Type="http://schemas.openxmlformats.org/officeDocument/2006/relationships/chart" Target="../charts/chart712.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953.xml.rels><?xml version="1.0" encoding="UTF-8" standalone="yes"?>
<Relationships xmlns="http://schemas.openxmlformats.org/package/2006/relationships"><Relationship Id="rId3" Type="http://schemas.openxmlformats.org/officeDocument/2006/relationships/notesSlide" Target="../notesSlides/notesSlide41.xml"/><Relationship Id="rId2" Type="http://schemas.openxmlformats.org/officeDocument/2006/relationships/slideLayout" Target="../slideLayouts/slideLayout7.xml"/><Relationship Id="rId1" Type="http://schemas.openxmlformats.org/officeDocument/2006/relationships/tags" Target="../tags/tag980.xml"/><Relationship Id="rId6" Type="http://schemas.openxmlformats.org/officeDocument/2006/relationships/chart" Target="../charts/chart71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954.xml.rels><?xml version="1.0" encoding="UTF-8" standalone="yes"?>
<Relationships xmlns="http://schemas.openxmlformats.org/package/2006/relationships"><Relationship Id="rId3" Type="http://schemas.openxmlformats.org/officeDocument/2006/relationships/notesSlide" Target="../notesSlides/notesSlide42.xml"/><Relationship Id="rId2" Type="http://schemas.openxmlformats.org/officeDocument/2006/relationships/slideLayout" Target="../slideLayouts/slideLayout7.xml"/><Relationship Id="rId1" Type="http://schemas.openxmlformats.org/officeDocument/2006/relationships/tags" Target="../tags/tag981.xml"/><Relationship Id="rId6" Type="http://schemas.openxmlformats.org/officeDocument/2006/relationships/chart" Target="../charts/chart714.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955.xml.rels><?xml version="1.0" encoding="UTF-8" standalone="yes"?>
<Relationships xmlns="http://schemas.openxmlformats.org/package/2006/relationships"><Relationship Id="rId3" Type="http://schemas.openxmlformats.org/officeDocument/2006/relationships/notesSlide" Target="../notesSlides/notesSlide43.xml"/><Relationship Id="rId2" Type="http://schemas.openxmlformats.org/officeDocument/2006/relationships/slideLayout" Target="../slideLayouts/slideLayout7.xml"/><Relationship Id="rId1" Type="http://schemas.openxmlformats.org/officeDocument/2006/relationships/tags" Target="../tags/tag982.xml"/><Relationship Id="rId6" Type="http://schemas.openxmlformats.org/officeDocument/2006/relationships/chart" Target="../charts/chart71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956.xml.rels><?xml version="1.0" encoding="UTF-8" standalone="yes"?>
<Relationships xmlns="http://schemas.openxmlformats.org/package/2006/relationships"><Relationship Id="rId3" Type="http://schemas.openxmlformats.org/officeDocument/2006/relationships/notesSlide" Target="../notesSlides/notesSlide44.xml"/><Relationship Id="rId2" Type="http://schemas.openxmlformats.org/officeDocument/2006/relationships/slideLayout" Target="../slideLayouts/slideLayout7.xml"/><Relationship Id="rId1" Type="http://schemas.openxmlformats.org/officeDocument/2006/relationships/tags" Target="../tags/tag983.xml"/><Relationship Id="rId6" Type="http://schemas.openxmlformats.org/officeDocument/2006/relationships/chart" Target="../charts/chart716.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957.xml.rels><?xml version="1.0" encoding="UTF-8" standalone="yes"?>
<Relationships xmlns="http://schemas.openxmlformats.org/package/2006/relationships"><Relationship Id="rId3" Type="http://schemas.openxmlformats.org/officeDocument/2006/relationships/notesSlide" Target="../notesSlides/notesSlide45.xml"/><Relationship Id="rId2" Type="http://schemas.openxmlformats.org/officeDocument/2006/relationships/slideLayout" Target="../slideLayouts/slideLayout7.xml"/><Relationship Id="rId1" Type="http://schemas.openxmlformats.org/officeDocument/2006/relationships/tags" Target="../tags/tag984.xml"/><Relationship Id="rId6" Type="http://schemas.openxmlformats.org/officeDocument/2006/relationships/chart" Target="../charts/chart71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958.xml.rels><?xml version="1.0" encoding="UTF-8" standalone="yes"?>
<Relationships xmlns="http://schemas.openxmlformats.org/package/2006/relationships"><Relationship Id="rId3" Type="http://schemas.openxmlformats.org/officeDocument/2006/relationships/notesSlide" Target="../notesSlides/notesSlide46.xml"/><Relationship Id="rId2" Type="http://schemas.openxmlformats.org/officeDocument/2006/relationships/slideLayout" Target="../slideLayouts/slideLayout7.xml"/><Relationship Id="rId1" Type="http://schemas.openxmlformats.org/officeDocument/2006/relationships/tags" Target="../tags/tag985.xml"/><Relationship Id="rId6" Type="http://schemas.openxmlformats.org/officeDocument/2006/relationships/chart" Target="../charts/chart718.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959.xml.rels><?xml version="1.0" encoding="UTF-8" standalone="yes"?>
<Relationships xmlns="http://schemas.openxmlformats.org/package/2006/relationships"><Relationship Id="rId3" Type="http://schemas.openxmlformats.org/officeDocument/2006/relationships/notesSlide" Target="../notesSlides/notesSlide47.xml"/><Relationship Id="rId2" Type="http://schemas.openxmlformats.org/officeDocument/2006/relationships/slideLayout" Target="../slideLayouts/slideLayout7.xml"/><Relationship Id="rId1" Type="http://schemas.openxmlformats.org/officeDocument/2006/relationships/tags" Target="../tags/tag986.xml"/><Relationship Id="rId6" Type="http://schemas.openxmlformats.org/officeDocument/2006/relationships/chart" Target="../charts/chart71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9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23.xml"/><Relationship Id="rId5" Type="http://schemas.openxmlformats.org/officeDocument/2006/relationships/chart" Target="../charts/chart96.xml"/><Relationship Id="rId4" Type="http://schemas.openxmlformats.org/officeDocument/2006/relationships/image" Target="../media/image28.emf"/></Relationships>
</file>

<file path=ppt/slides/_rels/slide960.xml.rels><?xml version="1.0" encoding="UTF-8" standalone="yes"?>
<Relationships xmlns="http://schemas.openxmlformats.org/package/2006/relationships"><Relationship Id="rId3" Type="http://schemas.openxmlformats.org/officeDocument/2006/relationships/notesSlide" Target="../notesSlides/notesSlide48.xml"/><Relationship Id="rId2" Type="http://schemas.openxmlformats.org/officeDocument/2006/relationships/slideLayout" Target="../slideLayouts/slideLayout7.xml"/><Relationship Id="rId1" Type="http://schemas.openxmlformats.org/officeDocument/2006/relationships/tags" Target="../tags/tag987.xml"/><Relationship Id="rId6" Type="http://schemas.openxmlformats.org/officeDocument/2006/relationships/chart" Target="../charts/chart720.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961.xml.rels><?xml version="1.0" encoding="UTF-8" standalone="yes"?>
<Relationships xmlns="http://schemas.openxmlformats.org/package/2006/relationships"><Relationship Id="rId3" Type="http://schemas.openxmlformats.org/officeDocument/2006/relationships/notesSlide" Target="../notesSlides/notesSlide49.xml"/><Relationship Id="rId2" Type="http://schemas.openxmlformats.org/officeDocument/2006/relationships/slideLayout" Target="../slideLayouts/slideLayout7.xml"/><Relationship Id="rId1" Type="http://schemas.openxmlformats.org/officeDocument/2006/relationships/tags" Target="../tags/tag988.xml"/><Relationship Id="rId6" Type="http://schemas.openxmlformats.org/officeDocument/2006/relationships/chart" Target="../charts/chart72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962.xml.rels><?xml version="1.0" encoding="UTF-8" standalone="yes"?>
<Relationships xmlns="http://schemas.openxmlformats.org/package/2006/relationships"><Relationship Id="rId3" Type="http://schemas.openxmlformats.org/officeDocument/2006/relationships/notesSlide" Target="../notesSlides/notesSlide50.xml"/><Relationship Id="rId2" Type="http://schemas.openxmlformats.org/officeDocument/2006/relationships/slideLayout" Target="../slideLayouts/slideLayout7.xml"/><Relationship Id="rId1" Type="http://schemas.openxmlformats.org/officeDocument/2006/relationships/tags" Target="../tags/tag989.xml"/><Relationship Id="rId6" Type="http://schemas.openxmlformats.org/officeDocument/2006/relationships/chart" Target="../charts/chart722.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963.xml.rels><?xml version="1.0" encoding="UTF-8" standalone="yes"?>
<Relationships xmlns="http://schemas.openxmlformats.org/package/2006/relationships"><Relationship Id="rId3" Type="http://schemas.openxmlformats.org/officeDocument/2006/relationships/notesSlide" Target="../notesSlides/notesSlide51.xml"/><Relationship Id="rId2" Type="http://schemas.openxmlformats.org/officeDocument/2006/relationships/slideLayout" Target="../slideLayouts/slideLayout7.xml"/><Relationship Id="rId1" Type="http://schemas.openxmlformats.org/officeDocument/2006/relationships/tags" Target="../tags/tag990.xml"/><Relationship Id="rId6" Type="http://schemas.openxmlformats.org/officeDocument/2006/relationships/chart" Target="../charts/chart72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964.xml.rels><?xml version="1.0" encoding="UTF-8" standalone="yes"?>
<Relationships xmlns="http://schemas.openxmlformats.org/package/2006/relationships"><Relationship Id="rId3" Type="http://schemas.openxmlformats.org/officeDocument/2006/relationships/notesSlide" Target="../notesSlides/notesSlide52.xml"/><Relationship Id="rId2" Type="http://schemas.openxmlformats.org/officeDocument/2006/relationships/slideLayout" Target="../slideLayouts/slideLayout7.xml"/><Relationship Id="rId1" Type="http://schemas.openxmlformats.org/officeDocument/2006/relationships/tags" Target="../tags/tag991.xml"/><Relationship Id="rId6" Type="http://schemas.openxmlformats.org/officeDocument/2006/relationships/chart" Target="../charts/chart724.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965.xml.rels><?xml version="1.0" encoding="UTF-8" standalone="yes"?>
<Relationships xmlns="http://schemas.openxmlformats.org/package/2006/relationships"><Relationship Id="rId3" Type="http://schemas.openxmlformats.org/officeDocument/2006/relationships/notesSlide" Target="../notesSlides/notesSlide53.xml"/><Relationship Id="rId2" Type="http://schemas.openxmlformats.org/officeDocument/2006/relationships/slideLayout" Target="../slideLayouts/slideLayout7.xml"/><Relationship Id="rId1" Type="http://schemas.openxmlformats.org/officeDocument/2006/relationships/tags" Target="../tags/tag992.xml"/><Relationship Id="rId6" Type="http://schemas.openxmlformats.org/officeDocument/2006/relationships/chart" Target="../charts/chart72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966.xml.rels><?xml version="1.0" encoding="UTF-8" standalone="yes"?>
<Relationships xmlns="http://schemas.openxmlformats.org/package/2006/relationships"><Relationship Id="rId3" Type="http://schemas.openxmlformats.org/officeDocument/2006/relationships/notesSlide" Target="../notesSlides/notesSlide54.xml"/><Relationship Id="rId2" Type="http://schemas.openxmlformats.org/officeDocument/2006/relationships/slideLayout" Target="../slideLayouts/slideLayout7.xml"/><Relationship Id="rId1" Type="http://schemas.openxmlformats.org/officeDocument/2006/relationships/tags" Target="../tags/tag993.xml"/><Relationship Id="rId6" Type="http://schemas.openxmlformats.org/officeDocument/2006/relationships/chart" Target="../charts/chart726.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967.xml.rels><?xml version="1.0" encoding="UTF-8" standalone="yes"?>
<Relationships xmlns="http://schemas.openxmlformats.org/package/2006/relationships"><Relationship Id="rId3" Type="http://schemas.openxmlformats.org/officeDocument/2006/relationships/notesSlide" Target="../notesSlides/notesSlide55.xml"/><Relationship Id="rId2" Type="http://schemas.openxmlformats.org/officeDocument/2006/relationships/slideLayout" Target="../slideLayouts/slideLayout7.xml"/><Relationship Id="rId1" Type="http://schemas.openxmlformats.org/officeDocument/2006/relationships/tags" Target="../tags/tag994.xml"/><Relationship Id="rId6" Type="http://schemas.openxmlformats.org/officeDocument/2006/relationships/chart" Target="../charts/chart72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968.xml.rels><?xml version="1.0" encoding="UTF-8" standalone="yes"?>
<Relationships xmlns="http://schemas.openxmlformats.org/package/2006/relationships"><Relationship Id="rId3" Type="http://schemas.openxmlformats.org/officeDocument/2006/relationships/notesSlide" Target="../notesSlides/notesSlide56.xml"/><Relationship Id="rId2" Type="http://schemas.openxmlformats.org/officeDocument/2006/relationships/slideLayout" Target="../slideLayouts/slideLayout7.xml"/><Relationship Id="rId1" Type="http://schemas.openxmlformats.org/officeDocument/2006/relationships/tags" Target="../tags/tag995.xml"/><Relationship Id="rId6" Type="http://schemas.openxmlformats.org/officeDocument/2006/relationships/chart" Target="../charts/chart728.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969.xml.rels><?xml version="1.0" encoding="UTF-8" standalone="yes"?>
<Relationships xmlns="http://schemas.openxmlformats.org/package/2006/relationships"><Relationship Id="rId3" Type="http://schemas.openxmlformats.org/officeDocument/2006/relationships/notesSlide" Target="../notesSlides/notesSlide57.xml"/><Relationship Id="rId2" Type="http://schemas.openxmlformats.org/officeDocument/2006/relationships/slideLayout" Target="../slideLayouts/slideLayout7.xml"/><Relationship Id="rId1" Type="http://schemas.openxmlformats.org/officeDocument/2006/relationships/tags" Target="../tags/tag996.xml"/><Relationship Id="rId6" Type="http://schemas.openxmlformats.org/officeDocument/2006/relationships/chart" Target="../charts/chart72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9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24.xml"/><Relationship Id="rId5" Type="http://schemas.openxmlformats.org/officeDocument/2006/relationships/chart" Target="../charts/chart97.xml"/><Relationship Id="rId4" Type="http://schemas.openxmlformats.org/officeDocument/2006/relationships/image" Target="../media/image28.emf"/></Relationships>
</file>

<file path=ppt/slides/_rels/slide970.xml.rels><?xml version="1.0" encoding="UTF-8" standalone="yes"?>
<Relationships xmlns="http://schemas.openxmlformats.org/package/2006/relationships"><Relationship Id="rId3" Type="http://schemas.openxmlformats.org/officeDocument/2006/relationships/notesSlide" Target="../notesSlides/notesSlide58.xml"/><Relationship Id="rId2" Type="http://schemas.openxmlformats.org/officeDocument/2006/relationships/slideLayout" Target="../slideLayouts/slideLayout7.xml"/><Relationship Id="rId1" Type="http://schemas.openxmlformats.org/officeDocument/2006/relationships/tags" Target="../tags/tag997.xml"/><Relationship Id="rId6" Type="http://schemas.openxmlformats.org/officeDocument/2006/relationships/chart" Target="../charts/chart730.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971.xml.rels><?xml version="1.0" encoding="UTF-8" standalone="yes"?>
<Relationships xmlns="http://schemas.openxmlformats.org/package/2006/relationships"><Relationship Id="rId3" Type="http://schemas.openxmlformats.org/officeDocument/2006/relationships/notesSlide" Target="../notesSlides/notesSlide59.xml"/><Relationship Id="rId2" Type="http://schemas.openxmlformats.org/officeDocument/2006/relationships/slideLayout" Target="../slideLayouts/slideLayout7.xml"/><Relationship Id="rId1" Type="http://schemas.openxmlformats.org/officeDocument/2006/relationships/tags" Target="../tags/tag998.xml"/><Relationship Id="rId6" Type="http://schemas.openxmlformats.org/officeDocument/2006/relationships/chart" Target="../charts/chart73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972.xml.rels><?xml version="1.0" encoding="UTF-8" standalone="yes"?>
<Relationships xmlns="http://schemas.openxmlformats.org/package/2006/relationships"><Relationship Id="rId3" Type="http://schemas.openxmlformats.org/officeDocument/2006/relationships/notesSlide" Target="../notesSlides/notesSlide60.xml"/><Relationship Id="rId2" Type="http://schemas.openxmlformats.org/officeDocument/2006/relationships/slideLayout" Target="../slideLayouts/slideLayout7.xml"/><Relationship Id="rId1" Type="http://schemas.openxmlformats.org/officeDocument/2006/relationships/tags" Target="../tags/tag999.xml"/><Relationship Id="rId6" Type="http://schemas.openxmlformats.org/officeDocument/2006/relationships/chart" Target="../charts/chart732.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973.xml.rels><?xml version="1.0" encoding="UTF-8" standalone="yes"?>
<Relationships xmlns="http://schemas.openxmlformats.org/package/2006/relationships"><Relationship Id="rId3" Type="http://schemas.openxmlformats.org/officeDocument/2006/relationships/notesSlide" Target="../notesSlides/notesSlide61.xml"/><Relationship Id="rId2" Type="http://schemas.openxmlformats.org/officeDocument/2006/relationships/slideLayout" Target="../slideLayouts/slideLayout7.xml"/><Relationship Id="rId1" Type="http://schemas.openxmlformats.org/officeDocument/2006/relationships/tags" Target="../tags/tag1000.xml"/><Relationship Id="rId6" Type="http://schemas.openxmlformats.org/officeDocument/2006/relationships/chart" Target="../charts/chart73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974.xml.rels><?xml version="1.0" encoding="UTF-8" standalone="yes"?>
<Relationships xmlns="http://schemas.openxmlformats.org/package/2006/relationships"><Relationship Id="rId3" Type="http://schemas.openxmlformats.org/officeDocument/2006/relationships/notesSlide" Target="../notesSlides/notesSlide62.xml"/><Relationship Id="rId2" Type="http://schemas.openxmlformats.org/officeDocument/2006/relationships/slideLayout" Target="../slideLayouts/slideLayout7.xml"/><Relationship Id="rId1" Type="http://schemas.openxmlformats.org/officeDocument/2006/relationships/tags" Target="../tags/tag1001.xml"/><Relationship Id="rId6" Type="http://schemas.openxmlformats.org/officeDocument/2006/relationships/chart" Target="../charts/chart734.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975.xml.rels><?xml version="1.0" encoding="UTF-8" standalone="yes"?>
<Relationships xmlns="http://schemas.openxmlformats.org/package/2006/relationships"><Relationship Id="rId3" Type="http://schemas.openxmlformats.org/officeDocument/2006/relationships/notesSlide" Target="../notesSlides/notesSlide63.xml"/><Relationship Id="rId2" Type="http://schemas.openxmlformats.org/officeDocument/2006/relationships/slideLayout" Target="../slideLayouts/slideLayout7.xml"/><Relationship Id="rId1" Type="http://schemas.openxmlformats.org/officeDocument/2006/relationships/tags" Target="../tags/tag1002.xml"/><Relationship Id="rId6" Type="http://schemas.openxmlformats.org/officeDocument/2006/relationships/chart" Target="../charts/chart73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976.xml.rels><?xml version="1.0" encoding="UTF-8" standalone="yes"?>
<Relationships xmlns="http://schemas.openxmlformats.org/package/2006/relationships"><Relationship Id="rId3" Type="http://schemas.openxmlformats.org/officeDocument/2006/relationships/notesSlide" Target="../notesSlides/notesSlide64.xml"/><Relationship Id="rId2" Type="http://schemas.openxmlformats.org/officeDocument/2006/relationships/slideLayout" Target="../slideLayouts/slideLayout7.xml"/><Relationship Id="rId1" Type="http://schemas.openxmlformats.org/officeDocument/2006/relationships/tags" Target="../tags/tag1003.xml"/><Relationship Id="rId6" Type="http://schemas.openxmlformats.org/officeDocument/2006/relationships/chart" Target="../charts/chart736.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977.xml.rels><?xml version="1.0" encoding="UTF-8" standalone="yes"?>
<Relationships xmlns="http://schemas.openxmlformats.org/package/2006/relationships"><Relationship Id="rId3" Type="http://schemas.openxmlformats.org/officeDocument/2006/relationships/notesSlide" Target="../notesSlides/notesSlide65.xml"/><Relationship Id="rId2" Type="http://schemas.openxmlformats.org/officeDocument/2006/relationships/slideLayout" Target="../slideLayouts/slideLayout7.xml"/><Relationship Id="rId1" Type="http://schemas.openxmlformats.org/officeDocument/2006/relationships/tags" Target="../tags/tag1004.xml"/><Relationship Id="rId6" Type="http://schemas.openxmlformats.org/officeDocument/2006/relationships/chart" Target="../charts/chart73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978.xml.rels><?xml version="1.0" encoding="UTF-8" standalone="yes"?>
<Relationships xmlns="http://schemas.openxmlformats.org/package/2006/relationships"><Relationship Id="rId3" Type="http://schemas.openxmlformats.org/officeDocument/2006/relationships/notesSlide" Target="../notesSlides/notesSlide66.xml"/><Relationship Id="rId2" Type="http://schemas.openxmlformats.org/officeDocument/2006/relationships/slideLayout" Target="../slideLayouts/slideLayout7.xml"/><Relationship Id="rId1" Type="http://schemas.openxmlformats.org/officeDocument/2006/relationships/tags" Target="../tags/tag1005.xml"/><Relationship Id="rId6" Type="http://schemas.openxmlformats.org/officeDocument/2006/relationships/chart" Target="../charts/chart738.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979.xml.rels><?xml version="1.0" encoding="UTF-8" standalone="yes"?>
<Relationships xmlns="http://schemas.openxmlformats.org/package/2006/relationships"><Relationship Id="rId3" Type="http://schemas.openxmlformats.org/officeDocument/2006/relationships/notesSlide" Target="../notesSlides/notesSlide67.xml"/><Relationship Id="rId2" Type="http://schemas.openxmlformats.org/officeDocument/2006/relationships/slideLayout" Target="../slideLayouts/slideLayout7.xml"/><Relationship Id="rId1" Type="http://schemas.openxmlformats.org/officeDocument/2006/relationships/tags" Target="../tags/tag1006.xml"/><Relationship Id="rId6" Type="http://schemas.openxmlformats.org/officeDocument/2006/relationships/chart" Target="../charts/chart73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9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25.xml"/><Relationship Id="rId5" Type="http://schemas.openxmlformats.org/officeDocument/2006/relationships/chart" Target="../charts/chart98.xml"/><Relationship Id="rId4" Type="http://schemas.openxmlformats.org/officeDocument/2006/relationships/image" Target="../media/image28.emf"/></Relationships>
</file>

<file path=ppt/slides/_rels/slide980.xml.rels><?xml version="1.0" encoding="UTF-8" standalone="yes"?>
<Relationships xmlns="http://schemas.openxmlformats.org/package/2006/relationships"><Relationship Id="rId3" Type="http://schemas.openxmlformats.org/officeDocument/2006/relationships/notesSlide" Target="../notesSlides/notesSlide68.xml"/><Relationship Id="rId2" Type="http://schemas.openxmlformats.org/officeDocument/2006/relationships/slideLayout" Target="../slideLayouts/slideLayout7.xml"/><Relationship Id="rId1" Type="http://schemas.openxmlformats.org/officeDocument/2006/relationships/tags" Target="../tags/tag1007.xml"/><Relationship Id="rId6" Type="http://schemas.openxmlformats.org/officeDocument/2006/relationships/chart" Target="../charts/chart740.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981.xml.rels><?xml version="1.0" encoding="UTF-8" standalone="yes"?>
<Relationships xmlns="http://schemas.openxmlformats.org/package/2006/relationships"><Relationship Id="rId3" Type="http://schemas.openxmlformats.org/officeDocument/2006/relationships/notesSlide" Target="../notesSlides/notesSlide69.xml"/><Relationship Id="rId2" Type="http://schemas.openxmlformats.org/officeDocument/2006/relationships/slideLayout" Target="../slideLayouts/slideLayout7.xml"/><Relationship Id="rId1" Type="http://schemas.openxmlformats.org/officeDocument/2006/relationships/tags" Target="../tags/tag1008.xml"/><Relationship Id="rId6" Type="http://schemas.openxmlformats.org/officeDocument/2006/relationships/chart" Target="../charts/chart74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982.xml.rels><?xml version="1.0" encoding="UTF-8" standalone="yes"?>
<Relationships xmlns="http://schemas.openxmlformats.org/package/2006/relationships"><Relationship Id="rId3" Type="http://schemas.openxmlformats.org/officeDocument/2006/relationships/notesSlide" Target="../notesSlides/notesSlide70.xml"/><Relationship Id="rId2" Type="http://schemas.openxmlformats.org/officeDocument/2006/relationships/slideLayout" Target="../slideLayouts/slideLayout7.xml"/><Relationship Id="rId1" Type="http://schemas.openxmlformats.org/officeDocument/2006/relationships/tags" Target="../tags/tag1009.xml"/><Relationship Id="rId6" Type="http://schemas.openxmlformats.org/officeDocument/2006/relationships/chart" Target="../charts/chart742.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983.xml.rels><?xml version="1.0" encoding="UTF-8" standalone="yes"?>
<Relationships xmlns="http://schemas.openxmlformats.org/package/2006/relationships"><Relationship Id="rId3" Type="http://schemas.openxmlformats.org/officeDocument/2006/relationships/notesSlide" Target="../notesSlides/notesSlide71.xml"/><Relationship Id="rId2" Type="http://schemas.openxmlformats.org/officeDocument/2006/relationships/slideLayout" Target="../slideLayouts/slideLayout7.xml"/><Relationship Id="rId1" Type="http://schemas.openxmlformats.org/officeDocument/2006/relationships/tags" Target="../tags/tag1010.xml"/><Relationship Id="rId6" Type="http://schemas.openxmlformats.org/officeDocument/2006/relationships/chart" Target="../charts/chart74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984.xml.rels><?xml version="1.0" encoding="UTF-8" standalone="yes"?>
<Relationships xmlns="http://schemas.openxmlformats.org/package/2006/relationships"><Relationship Id="rId3" Type="http://schemas.openxmlformats.org/officeDocument/2006/relationships/notesSlide" Target="../notesSlides/notesSlide72.xml"/><Relationship Id="rId2" Type="http://schemas.openxmlformats.org/officeDocument/2006/relationships/slideLayout" Target="../slideLayouts/slideLayout7.xml"/><Relationship Id="rId1" Type="http://schemas.openxmlformats.org/officeDocument/2006/relationships/tags" Target="../tags/tag1011.xml"/><Relationship Id="rId6" Type="http://schemas.openxmlformats.org/officeDocument/2006/relationships/chart" Target="../charts/chart744.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985.xml.rels><?xml version="1.0" encoding="UTF-8" standalone="yes"?>
<Relationships xmlns="http://schemas.openxmlformats.org/package/2006/relationships"><Relationship Id="rId3" Type="http://schemas.openxmlformats.org/officeDocument/2006/relationships/notesSlide" Target="../notesSlides/notesSlide73.xml"/><Relationship Id="rId2" Type="http://schemas.openxmlformats.org/officeDocument/2006/relationships/slideLayout" Target="../slideLayouts/slideLayout7.xml"/><Relationship Id="rId1" Type="http://schemas.openxmlformats.org/officeDocument/2006/relationships/tags" Target="../tags/tag1012.xml"/><Relationship Id="rId6" Type="http://schemas.openxmlformats.org/officeDocument/2006/relationships/chart" Target="../charts/chart74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986.xml.rels><?xml version="1.0" encoding="UTF-8" standalone="yes"?>
<Relationships xmlns="http://schemas.openxmlformats.org/package/2006/relationships"><Relationship Id="rId3" Type="http://schemas.openxmlformats.org/officeDocument/2006/relationships/notesSlide" Target="../notesSlides/notesSlide74.xml"/><Relationship Id="rId2" Type="http://schemas.openxmlformats.org/officeDocument/2006/relationships/slideLayout" Target="../slideLayouts/slideLayout7.xml"/><Relationship Id="rId1" Type="http://schemas.openxmlformats.org/officeDocument/2006/relationships/tags" Target="../tags/tag1013.xml"/><Relationship Id="rId6" Type="http://schemas.openxmlformats.org/officeDocument/2006/relationships/chart" Target="../charts/chart746.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987.xml.rels><?xml version="1.0" encoding="UTF-8" standalone="yes"?>
<Relationships xmlns="http://schemas.openxmlformats.org/package/2006/relationships"><Relationship Id="rId3" Type="http://schemas.openxmlformats.org/officeDocument/2006/relationships/notesSlide" Target="../notesSlides/notesSlide75.xml"/><Relationship Id="rId2" Type="http://schemas.openxmlformats.org/officeDocument/2006/relationships/slideLayout" Target="../slideLayouts/slideLayout7.xml"/><Relationship Id="rId1" Type="http://schemas.openxmlformats.org/officeDocument/2006/relationships/tags" Target="../tags/tag1014.xml"/><Relationship Id="rId6" Type="http://schemas.openxmlformats.org/officeDocument/2006/relationships/chart" Target="../charts/chart74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988.xml.rels><?xml version="1.0" encoding="UTF-8" standalone="yes"?>
<Relationships xmlns="http://schemas.openxmlformats.org/package/2006/relationships"><Relationship Id="rId3" Type="http://schemas.openxmlformats.org/officeDocument/2006/relationships/notesSlide" Target="../notesSlides/notesSlide76.xml"/><Relationship Id="rId2" Type="http://schemas.openxmlformats.org/officeDocument/2006/relationships/slideLayout" Target="../slideLayouts/slideLayout7.xml"/><Relationship Id="rId1" Type="http://schemas.openxmlformats.org/officeDocument/2006/relationships/tags" Target="../tags/tag1015.xml"/><Relationship Id="rId6" Type="http://schemas.openxmlformats.org/officeDocument/2006/relationships/chart" Target="../charts/chart748.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989.xml.rels><?xml version="1.0" encoding="UTF-8" standalone="yes"?>
<Relationships xmlns="http://schemas.openxmlformats.org/package/2006/relationships"><Relationship Id="rId3" Type="http://schemas.openxmlformats.org/officeDocument/2006/relationships/notesSlide" Target="../notesSlides/notesSlide77.xml"/><Relationship Id="rId2" Type="http://schemas.openxmlformats.org/officeDocument/2006/relationships/slideLayout" Target="../slideLayouts/slideLayout7.xml"/><Relationship Id="rId1" Type="http://schemas.openxmlformats.org/officeDocument/2006/relationships/tags" Target="../tags/tag1016.xml"/><Relationship Id="rId6" Type="http://schemas.openxmlformats.org/officeDocument/2006/relationships/chart" Target="../charts/chart74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9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26.xml"/><Relationship Id="rId5" Type="http://schemas.openxmlformats.org/officeDocument/2006/relationships/chart" Target="../charts/chart99.xml"/><Relationship Id="rId4" Type="http://schemas.openxmlformats.org/officeDocument/2006/relationships/image" Target="../media/image28.emf"/></Relationships>
</file>

<file path=ppt/slides/_rels/slide990.xml.rels><?xml version="1.0" encoding="UTF-8" standalone="yes"?>
<Relationships xmlns="http://schemas.openxmlformats.org/package/2006/relationships"><Relationship Id="rId3" Type="http://schemas.openxmlformats.org/officeDocument/2006/relationships/notesSlide" Target="../notesSlides/notesSlide78.xml"/><Relationship Id="rId2" Type="http://schemas.openxmlformats.org/officeDocument/2006/relationships/slideLayout" Target="../slideLayouts/slideLayout7.xml"/><Relationship Id="rId1" Type="http://schemas.openxmlformats.org/officeDocument/2006/relationships/tags" Target="../tags/tag1017.xml"/><Relationship Id="rId6" Type="http://schemas.openxmlformats.org/officeDocument/2006/relationships/chart" Target="../charts/chart750.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991.xml.rels><?xml version="1.0" encoding="UTF-8" standalone="yes"?>
<Relationships xmlns="http://schemas.openxmlformats.org/package/2006/relationships"><Relationship Id="rId3" Type="http://schemas.openxmlformats.org/officeDocument/2006/relationships/notesSlide" Target="../notesSlides/notesSlide79.xml"/><Relationship Id="rId2" Type="http://schemas.openxmlformats.org/officeDocument/2006/relationships/slideLayout" Target="../slideLayouts/slideLayout7.xml"/><Relationship Id="rId1" Type="http://schemas.openxmlformats.org/officeDocument/2006/relationships/tags" Target="../tags/tag1018.xml"/><Relationship Id="rId6" Type="http://schemas.openxmlformats.org/officeDocument/2006/relationships/chart" Target="../charts/chart75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992.xml.rels><?xml version="1.0" encoding="UTF-8" standalone="yes"?>
<Relationships xmlns="http://schemas.openxmlformats.org/package/2006/relationships"><Relationship Id="rId3" Type="http://schemas.openxmlformats.org/officeDocument/2006/relationships/notesSlide" Target="../notesSlides/notesSlide80.xml"/><Relationship Id="rId2" Type="http://schemas.openxmlformats.org/officeDocument/2006/relationships/slideLayout" Target="../slideLayouts/slideLayout7.xml"/><Relationship Id="rId1" Type="http://schemas.openxmlformats.org/officeDocument/2006/relationships/tags" Target="../tags/tag1019.xml"/><Relationship Id="rId6" Type="http://schemas.openxmlformats.org/officeDocument/2006/relationships/chart" Target="../charts/chart752.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993.xml.rels><?xml version="1.0" encoding="UTF-8" standalone="yes"?>
<Relationships xmlns="http://schemas.openxmlformats.org/package/2006/relationships"><Relationship Id="rId3" Type="http://schemas.openxmlformats.org/officeDocument/2006/relationships/notesSlide" Target="../notesSlides/notesSlide81.xml"/><Relationship Id="rId2" Type="http://schemas.openxmlformats.org/officeDocument/2006/relationships/slideLayout" Target="../slideLayouts/slideLayout7.xml"/><Relationship Id="rId1" Type="http://schemas.openxmlformats.org/officeDocument/2006/relationships/tags" Target="../tags/tag1020.xml"/><Relationship Id="rId6" Type="http://schemas.openxmlformats.org/officeDocument/2006/relationships/chart" Target="../charts/chart75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994.xml.rels><?xml version="1.0" encoding="UTF-8" standalone="yes"?>
<Relationships xmlns="http://schemas.openxmlformats.org/package/2006/relationships"><Relationship Id="rId3" Type="http://schemas.openxmlformats.org/officeDocument/2006/relationships/notesSlide" Target="../notesSlides/notesSlide82.xml"/><Relationship Id="rId2" Type="http://schemas.openxmlformats.org/officeDocument/2006/relationships/slideLayout" Target="../slideLayouts/slideLayout7.xml"/><Relationship Id="rId1" Type="http://schemas.openxmlformats.org/officeDocument/2006/relationships/tags" Target="../tags/tag1021.xml"/><Relationship Id="rId6" Type="http://schemas.openxmlformats.org/officeDocument/2006/relationships/chart" Target="../charts/chart754.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995.xml.rels><?xml version="1.0" encoding="UTF-8" standalone="yes"?>
<Relationships xmlns="http://schemas.openxmlformats.org/package/2006/relationships"><Relationship Id="rId3" Type="http://schemas.openxmlformats.org/officeDocument/2006/relationships/notesSlide" Target="../notesSlides/notesSlide83.xml"/><Relationship Id="rId2" Type="http://schemas.openxmlformats.org/officeDocument/2006/relationships/slideLayout" Target="../slideLayouts/slideLayout7.xml"/><Relationship Id="rId1" Type="http://schemas.openxmlformats.org/officeDocument/2006/relationships/tags" Target="../tags/tag1022.xml"/><Relationship Id="rId6" Type="http://schemas.openxmlformats.org/officeDocument/2006/relationships/chart" Target="../charts/chart75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996.xml.rels><?xml version="1.0" encoding="UTF-8" standalone="yes"?>
<Relationships xmlns="http://schemas.openxmlformats.org/package/2006/relationships"><Relationship Id="rId3" Type="http://schemas.openxmlformats.org/officeDocument/2006/relationships/notesSlide" Target="../notesSlides/notesSlide84.xml"/><Relationship Id="rId2" Type="http://schemas.openxmlformats.org/officeDocument/2006/relationships/slideLayout" Target="../slideLayouts/slideLayout7.xml"/><Relationship Id="rId1" Type="http://schemas.openxmlformats.org/officeDocument/2006/relationships/tags" Target="../tags/tag1023.xml"/><Relationship Id="rId6" Type="http://schemas.openxmlformats.org/officeDocument/2006/relationships/chart" Target="../charts/chart756.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997.xml.rels><?xml version="1.0" encoding="UTF-8" standalone="yes"?>
<Relationships xmlns="http://schemas.openxmlformats.org/package/2006/relationships"><Relationship Id="rId3" Type="http://schemas.openxmlformats.org/officeDocument/2006/relationships/notesSlide" Target="../notesSlides/notesSlide85.xml"/><Relationship Id="rId2" Type="http://schemas.openxmlformats.org/officeDocument/2006/relationships/slideLayout" Target="../slideLayouts/slideLayout7.xml"/><Relationship Id="rId1" Type="http://schemas.openxmlformats.org/officeDocument/2006/relationships/tags" Target="../tags/tag1024.xml"/><Relationship Id="rId6" Type="http://schemas.openxmlformats.org/officeDocument/2006/relationships/chart" Target="../charts/chart75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998.xml.rels><?xml version="1.0" encoding="UTF-8" standalone="yes"?>
<Relationships xmlns="http://schemas.openxmlformats.org/package/2006/relationships"><Relationship Id="rId3" Type="http://schemas.openxmlformats.org/officeDocument/2006/relationships/notesSlide" Target="../notesSlides/notesSlide86.xml"/><Relationship Id="rId2" Type="http://schemas.openxmlformats.org/officeDocument/2006/relationships/slideLayout" Target="../slideLayouts/slideLayout7.xml"/><Relationship Id="rId1" Type="http://schemas.openxmlformats.org/officeDocument/2006/relationships/tags" Target="../tags/tag1025.xml"/><Relationship Id="rId6" Type="http://schemas.openxmlformats.org/officeDocument/2006/relationships/chart" Target="../charts/chart758.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999.xml.rels><?xml version="1.0" encoding="UTF-8" standalone="yes"?>
<Relationships xmlns="http://schemas.openxmlformats.org/package/2006/relationships"><Relationship Id="rId3" Type="http://schemas.openxmlformats.org/officeDocument/2006/relationships/notesSlide" Target="../notesSlides/notesSlide87.xml"/><Relationship Id="rId2" Type="http://schemas.openxmlformats.org/officeDocument/2006/relationships/slideLayout" Target="../slideLayouts/slideLayout7.xml"/><Relationship Id="rId1" Type="http://schemas.openxmlformats.org/officeDocument/2006/relationships/tags" Target="../tags/tag1026.xml"/><Relationship Id="rId6" Type="http://schemas.openxmlformats.org/officeDocument/2006/relationships/chart" Target="../charts/chart759.xml"/><Relationship Id="rId5" Type="http://schemas.openxmlformats.org/officeDocument/2006/relationships/image" Target="../media/image28.emf"/><Relationship Id="rId4" Type="http://schemas.openxmlformats.org/officeDocument/2006/relationships/oleObject" Target="../embeddings/oleObject27.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Effervescents | NICOLAS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3353713982"/>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a:t>
            </a:fld>
            <a:endParaRPr lang="en-US"/>
          </a:p>
        </p:txBody>
      </p:sp>
    </p:spTree>
    <p:extLst>
      <p:ext uri="{BB962C8B-B14F-4D97-AF65-F5344CB8AC3E}">
        <p14:creationId xmlns:p14="http://schemas.microsoft.com/office/powerpoint/2010/main" val="132375573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Effervescents | NICOLAS AQU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0</a:t>
            </a:fld>
            <a:endParaRPr lang="en-US"/>
          </a:p>
        </p:txBody>
      </p:sp>
    </p:spTree>
    <p:extLst>
      <p:ext uri="{BB962C8B-B14F-4D97-AF65-F5344CB8AC3E}">
        <p14:creationId xmlns:p14="http://schemas.microsoft.com/office/powerpoint/2010/main" val="3396930231"/>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Crus | NICOLAS QCT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00</a:t>
            </a:fld>
            <a:endParaRPr lang="en-US"/>
          </a:p>
        </p:txBody>
      </p:sp>
    </p:spTree>
    <p:extLst>
      <p:ext uri="{BB962C8B-B14F-4D97-AF65-F5344CB8AC3E}">
        <p14:creationId xmlns:p14="http://schemas.microsoft.com/office/powerpoint/2010/main" val="882298316"/>
      </p:ext>
    </p:extLst>
  </p:cSld>
  <p:clrMapOvr>
    <a:masterClrMapping/>
  </p:clrMapOvr>
</p:sld>
</file>

<file path=ppt/slides/slide10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8/27/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lnSpcReduction="10000"/>
          </a:bodyPr>
          <a:lstStyle/>
          <a:p>
            <a:pPr>
              <a:defRPr sz="1100">
                <a:latin typeface="Nexa (Headings)"/>
              </a:defRPr>
            </a:pPr>
            <a:r>
              <a:t>Product Sales Rate, Trade Margin % and Net Sales | Rosés | Nicolas | NICOLAS AQU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3730291689"/>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1000</a:t>
            </a:fld>
            <a:endParaRPr lang="en-US"/>
          </a:p>
        </p:txBody>
      </p:sp>
    </p:spTree>
    <p:extLst>
      <p:ext uri="{BB962C8B-B14F-4D97-AF65-F5344CB8AC3E}">
        <p14:creationId xmlns:p14="http://schemas.microsoft.com/office/powerpoint/2010/main" val="988001900"/>
      </p:ext>
    </p:extLst>
  </p:cSld>
  <p:clrMapOvr>
    <a:masterClrMapping/>
  </p:clrMapOvr>
</p:sld>
</file>

<file path=ppt/slides/slide10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8/27/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lnSpcReduction="10000"/>
          </a:bodyPr>
          <a:lstStyle/>
          <a:p>
            <a:pPr>
              <a:defRPr sz="1100">
                <a:latin typeface="Nexa (Headings)"/>
              </a:defRPr>
            </a:pPr>
            <a:r>
              <a:t>Product Sales Rate, Trade Margin % and Net Sales | Rosés | Nicolas | NICOLAS EST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125482541"/>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1001</a:t>
            </a:fld>
            <a:endParaRPr lang="en-US"/>
          </a:p>
        </p:txBody>
      </p:sp>
    </p:spTree>
    <p:extLst>
      <p:ext uri="{BB962C8B-B14F-4D97-AF65-F5344CB8AC3E}">
        <p14:creationId xmlns:p14="http://schemas.microsoft.com/office/powerpoint/2010/main" val="730917684"/>
      </p:ext>
    </p:extLst>
  </p:cSld>
  <p:clrMapOvr>
    <a:masterClrMapping/>
  </p:clrMapOvr>
</p:sld>
</file>

<file path=ppt/slides/slide10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8/27/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lnSpcReduction="10000"/>
          </a:bodyPr>
          <a:lstStyle/>
          <a:p>
            <a:pPr>
              <a:defRPr sz="1100">
                <a:latin typeface="Nexa (Headings)"/>
              </a:defRPr>
            </a:pPr>
            <a:r>
              <a:t>Product Sales Rate, Trade Margin % and Net Sales | Rosés | Nicolas | CA A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98062054"/>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1002</a:t>
            </a:fld>
            <a:endParaRPr lang="en-US"/>
          </a:p>
        </p:txBody>
      </p:sp>
    </p:spTree>
    <p:extLst>
      <p:ext uri="{BB962C8B-B14F-4D97-AF65-F5344CB8AC3E}">
        <p14:creationId xmlns:p14="http://schemas.microsoft.com/office/powerpoint/2010/main" val="3445935526"/>
      </p:ext>
    </p:extLst>
  </p:cSld>
  <p:clrMapOvr>
    <a:masterClrMapping/>
  </p:clrMapOvr>
</p:sld>
</file>

<file path=ppt/slides/slide10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8/27/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lnSpcReduction="10000"/>
          </a:bodyPr>
          <a:lstStyle/>
          <a:p>
            <a:pPr>
              <a:defRPr sz="1100">
                <a:latin typeface="Nexa (Headings)"/>
              </a:defRPr>
            </a:pPr>
            <a:r>
              <a:t>Product Sales Rate, Trade Margin % and Net Sales | Rosés | Nicolas | CA B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2669490656"/>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1003</a:t>
            </a:fld>
            <a:endParaRPr lang="en-US"/>
          </a:p>
        </p:txBody>
      </p:sp>
    </p:spTree>
    <p:extLst>
      <p:ext uri="{BB962C8B-B14F-4D97-AF65-F5344CB8AC3E}">
        <p14:creationId xmlns:p14="http://schemas.microsoft.com/office/powerpoint/2010/main" val="2151913840"/>
      </p:ext>
    </p:extLst>
  </p:cSld>
  <p:clrMapOvr>
    <a:masterClrMapping/>
  </p:clrMapOvr>
</p:sld>
</file>

<file path=ppt/slides/slide10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8/27/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lnSpcReduction="10000"/>
          </a:bodyPr>
          <a:lstStyle/>
          <a:p>
            <a:pPr>
              <a:defRPr sz="1100">
                <a:latin typeface="Nexa (Headings)"/>
              </a:defRPr>
            </a:pPr>
            <a:r>
              <a:t>Product Sales Rate, Trade Margin % and Net Sales | Rosés | Nicolas | CA C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207126485"/>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1004</a:t>
            </a:fld>
            <a:endParaRPr lang="en-US"/>
          </a:p>
        </p:txBody>
      </p:sp>
    </p:spTree>
    <p:extLst>
      <p:ext uri="{BB962C8B-B14F-4D97-AF65-F5344CB8AC3E}">
        <p14:creationId xmlns:p14="http://schemas.microsoft.com/office/powerpoint/2010/main" val="1637471841"/>
      </p:ext>
    </p:extLst>
  </p:cSld>
  <p:clrMapOvr>
    <a:masterClrMapping/>
  </p:clrMapOvr>
</p:sld>
</file>

<file path=ppt/slides/slide10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8/27/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lnSpcReduction="10000"/>
          </a:bodyPr>
          <a:lstStyle/>
          <a:p>
            <a:pPr>
              <a:defRPr sz="1100">
                <a:latin typeface="Nexa (Headings)"/>
              </a:defRPr>
            </a:pPr>
            <a:r>
              <a:t>Product Sales Rate, Trade Margin % and Net Sales | Rosés | Nicolas | CA D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949856596"/>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1005</a:t>
            </a:fld>
            <a:endParaRPr lang="en-US"/>
          </a:p>
        </p:txBody>
      </p:sp>
    </p:spTree>
    <p:extLst>
      <p:ext uri="{BB962C8B-B14F-4D97-AF65-F5344CB8AC3E}">
        <p14:creationId xmlns:p14="http://schemas.microsoft.com/office/powerpoint/2010/main" val="3829973760"/>
      </p:ext>
    </p:extLst>
  </p:cSld>
  <p:clrMapOvr>
    <a:masterClrMapping/>
  </p:clrMapOvr>
</p:sld>
</file>

<file path=ppt/slides/slide10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8/27/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lnSpcReduction="10000"/>
          </a:bodyPr>
          <a:lstStyle/>
          <a:p>
            <a:pPr>
              <a:defRPr sz="1100">
                <a:latin typeface="Nexa (Headings)"/>
              </a:defRPr>
            </a:pPr>
            <a:r>
              <a:t>Product Sales Rate, Trade Margin % and Net Sales | Rosés | Nicolas | CA E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3253763662"/>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1006</a:t>
            </a:fld>
            <a:endParaRPr lang="en-US"/>
          </a:p>
        </p:txBody>
      </p:sp>
    </p:spTree>
    <p:extLst>
      <p:ext uri="{BB962C8B-B14F-4D97-AF65-F5344CB8AC3E}">
        <p14:creationId xmlns:p14="http://schemas.microsoft.com/office/powerpoint/2010/main" val="2684887293"/>
      </p:ext>
    </p:extLst>
  </p:cSld>
  <p:clrMapOvr>
    <a:masterClrMapping/>
  </p:clrMapOvr>
</p:sld>
</file>

<file path=ppt/slides/slide10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8/27/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lnSpcReduction="10000"/>
          </a:bodyPr>
          <a:lstStyle/>
          <a:p>
            <a:pPr>
              <a:defRPr sz="1100">
                <a:latin typeface="Nexa (Headings)"/>
              </a:defRPr>
            </a:pPr>
            <a:r>
              <a:t>Product Sales Rate, WD and Net Sales | Effervescents | Nicolas | NICOLAS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3540663576"/>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1007</a:t>
            </a:fld>
            <a:endParaRPr lang="en-US"/>
          </a:p>
        </p:txBody>
      </p:sp>
    </p:spTree>
    <p:extLst>
      <p:ext uri="{BB962C8B-B14F-4D97-AF65-F5344CB8AC3E}">
        <p14:creationId xmlns:p14="http://schemas.microsoft.com/office/powerpoint/2010/main" val="1490222497"/>
      </p:ext>
    </p:extLst>
  </p:cSld>
  <p:clrMapOvr>
    <a:masterClrMapping/>
  </p:clrMapOvr>
</p:sld>
</file>

<file path=ppt/slides/slide10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8/27/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lnSpcReduction="10000"/>
          </a:bodyPr>
          <a:lstStyle/>
          <a:p>
            <a:pPr>
              <a:defRPr sz="1100">
                <a:latin typeface="Nexa (Headings)"/>
              </a:defRPr>
            </a:pPr>
            <a:r>
              <a:t>Product Sales Rate, WD and Net Sales | Effervescents | Nicolas | NICOLAS QCN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360088759"/>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1008</a:t>
            </a:fld>
            <a:endParaRPr lang="en-US"/>
          </a:p>
        </p:txBody>
      </p:sp>
    </p:spTree>
    <p:extLst>
      <p:ext uri="{BB962C8B-B14F-4D97-AF65-F5344CB8AC3E}">
        <p14:creationId xmlns:p14="http://schemas.microsoft.com/office/powerpoint/2010/main" val="1533635202"/>
      </p:ext>
    </p:extLst>
  </p:cSld>
  <p:clrMapOvr>
    <a:masterClrMapping/>
  </p:clrMapOvr>
</p:sld>
</file>

<file path=ppt/slides/slide10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8/27/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lnSpcReduction="10000"/>
          </a:bodyPr>
          <a:lstStyle/>
          <a:p>
            <a:pPr>
              <a:defRPr sz="1100">
                <a:latin typeface="Nexa (Headings)"/>
              </a:defRPr>
            </a:pPr>
            <a:r>
              <a:t>Product Sales Rate, WD and Net Sales | Effervescents | Nicolas | NICOLAS VCN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093390042"/>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1009</a:t>
            </a:fld>
            <a:endParaRPr lang="en-US"/>
          </a:p>
        </p:txBody>
      </p:sp>
    </p:spTree>
    <p:extLst>
      <p:ext uri="{BB962C8B-B14F-4D97-AF65-F5344CB8AC3E}">
        <p14:creationId xmlns:p14="http://schemas.microsoft.com/office/powerpoint/2010/main" val="614983277"/>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Crus | NICOLAS QCA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01</a:t>
            </a:fld>
            <a:endParaRPr lang="en-US"/>
          </a:p>
        </p:txBody>
      </p:sp>
    </p:spTree>
    <p:extLst>
      <p:ext uri="{BB962C8B-B14F-4D97-AF65-F5344CB8AC3E}">
        <p14:creationId xmlns:p14="http://schemas.microsoft.com/office/powerpoint/2010/main" val="2571232064"/>
      </p:ext>
    </p:extLst>
  </p:cSld>
  <p:clrMapOvr>
    <a:masterClrMapping/>
  </p:clrMapOvr>
</p:sld>
</file>

<file path=ppt/slides/slide10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8/27/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lnSpcReduction="10000"/>
          </a:bodyPr>
          <a:lstStyle/>
          <a:p>
            <a:pPr>
              <a:defRPr sz="1100">
                <a:latin typeface="Nexa (Headings)"/>
              </a:defRPr>
            </a:pPr>
            <a:r>
              <a:t>Product Sales Rate, WD and Net Sales | Effervescents | Nicolas | NICOLAS QCT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4218807622"/>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1010</a:t>
            </a:fld>
            <a:endParaRPr lang="en-US"/>
          </a:p>
        </p:txBody>
      </p:sp>
    </p:spTree>
    <p:extLst>
      <p:ext uri="{BB962C8B-B14F-4D97-AF65-F5344CB8AC3E}">
        <p14:creationId xmlns:p14="http://schemas.microsoft.com/office/powerpoint/2010/main" val="3244497668"/>
      </p:ext>
    </p:extLst>
  </p:cSld>
  <p:clrMapOvr>
    <a:masterClrMapping/>
  </p:clrMapOvr>
</p:sld>
</file>

<file path=ppt/slides/slide10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8/27/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lnSpcReduction="10000"/>
          </a:bodyPr>
          <a:lstStyle/>
          <a:p>
            <a:pPr>
              <a:defRPr sz="1100">
                <a:latin typeface="Nexa (Headings)"/>
              </a:defRPr>
            </a:pPr>
            <a:r>
              <a:t>Product Sales Rate, WD and Net Sales | Effervescents | Nicolas | NICOLAS QCA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60585626"/>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1011</a:t>
            </a:fld>
            <a:endParaRPr lang="en-US"/>
          </a:p>
        </p:txBody>
      </p:sp>
    </p:spTree>
    <p:extLst>
      <p:ext uri="{BB962C8B-B14F-4D97-AF65-F5344CB8AC3E}">
        <p14:creationId xmlns:p14="http://schemas.microsoft.com/office/powerpoint/2010/main" val="4103210251"/>
      </p:ext>
    </p:extLst>
  </p:cSld>
  <p:clrMapOvr>
    <a:masterClrMapping/>
  </p:clrMapOvr>
</p:sld>
</file>

<file path=ppt/slides/slide10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8/27/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lnSpcReduction="10000"/>
          </a:bodyPr>
          <a:lstStyle/>
          <a:p>
            <a:pPr>
              <a:defRPr sz="1100">
                <a:latin typeface="Nexa (Headings)"/>
              </a:defRPr>
            </a:pPr>
            <a:r>
              <a:t>Product Sales Rate, WD and Net Sales | Effervescents | Nicolas | NICOLAS CCP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308085696"/>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1012</a:t>
            </a:fld>
            <a:endParaRPr lang="en-US"/>
          </a:p>
        </p:txBody>
      </p:sp>
    </p:spTree>
    <p:extLst>
      <p:ext uri="{BB962C8B-B14F-4D97-AF65-F5344CB8AC3E}">
        <p14:creationId xmlns:p14="http://schemas.microsoft.com/office/powerpoint/2010/main" val="1744687638"/>
      </p:ext>
    </p:extLst>
  </p:cSld>
  <p:clrMapOvr>
    <a:masterClrMapping/>
  </p:clrMapOvr>
</p:sld>
</file>

<file path=ppt/slides/slide10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8/27/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lnSpcReduction="10000"/>
          </a:bodyPr>
          <a:lstStyle/>
          <a:p>
            <a:pPr>
              <a:defRPr sz="1100">
                <a:latin typeface="Nexa (Headings)"/>
              </a:defRPr>
            </a:pPr>
            <a:r>
              <a:t>Product Sales Rate, WD and Net Sales | Effervescents | Nicolas | NICOLAS IDF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268630763"/>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1013</a:t>
            </a:fld>
            <a:endParaRPr lang="en-US"/>
          </a:p>
        </p:txBody>
      </p:sp>
    </p:spTree>
    <p:extLst>
      <p:ext uri="{BB962C8B-B14F-4D97-AF65-F5344CB8AC3E}">
        <p14:creationId xmlns:p14="http://schemas.microsoft.com/office/powerpoint/2010/main" val="2890286022"/>
      </p:ext>
    </p:extLst>
  </p:cSld>
  <p:clrMapOvr>
    <a:masterClrMapping/>
  </p:clrMapOvr>
</p:sld>
</file>

<file path=ppt/slides/slide10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8/27/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lnSpcReduction="10000"/>
          </a:bodyPr>
          <a:lstStyle/>
          <a:p>
            <a:pPr>
              <a:defRPr sz="1100">
                <a:latin typeface="Nexa (Headings)"/>
              </a:defRPr>
            </a:pPr>
            <a:r>
              <a:t>Product Sales Rate, WD and Net Sales | Effervescents | Nicolas | NICOLAS PAC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1974451200"/>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1014</a:t>
            </a:fld>
            <a:endParaRPr lang="en-US"/>
          </a:p>
        </p:txBody>
      </p:sp>
    </p:spTree>
    <p:extLst>
      <p:ext uri="{BB962C8B-B14F-4D97-AF65-F5344CB8AC3E}">
        <p14:creationId xmlns:p14="http://schemas.microsoft.com/office/powerpoint/2010/main" val="4053116980"/>
      </p:ext>
    </p:extLst>
  </p:cSld>
  <p:clrMapOvr>
    <a:masterClrMapping/>
  </p:clrMapOvr>
</p:sld>
</file>

<file path=ppt/slides/slide10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8/27/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lnSpcReduction="10000"/>
          </a:bodyPr>
          <a:lstStyle/>
          <a:p>
            <a:pPr>
              <a:defRPr sz="1100">
                <a:latin typeface="Nexa (Headings)"/>
              </a:defRPr>
            </a:pPr>
            <a:r>
              <a:t>Product Sales Rate, WD and Net Sales | Effervescents | Nicolas | NICOLAS RHO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1581330513"/>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1015</a:t>
            </a:fld>
            <a:endParaRPr lang="en-US"/>
          </a:p>
        </p:txBody>
      </p:sp>
    </p:spTree>
    <p:extLst>
      <p:ext uri="{BB962C8B-B14F-4D97-AF65-F5344CB8AC3E}">
        <p14:creationId xmlns:p14="http://schemas.microsoft.com/office/powerpoint/2010/main" val="2469183357"/>
      </p:ext>
    </p:extLst>
  </p:cSld>
  <p:clrMapOvr>
    <a:masterClrMapping/>
  </p:clrMapOvr>
</p:sld>
</file>

<file path=ppt/slides/slide10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8/27/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lnSpcReduction="10000"/>
          </a:bodyPr>
          <a:lstStyle/>
          <a:p>
            <a:pPr>
              <a:defRPr sz="1100">
                <a:latin typeface="Nexa (Headings)"/>
              </a:defRPr>
            </a:pPr>
            <a:r>
              <a:t>Product Sales Rate, WD and Net Sales | Effervescents | Nicolas | NICOLAS AQU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614797632"/>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1016</a:t>
            </a:fld>
            <a:endParaRPr lang="en-US"/>
          </a:p>
        </p:txBody>
      </p:sp>
    </p:spTree>
    <p:extLst>
      <p:ext uri="{BB962C8B-B14F-4D97-AF65-F5344CB8AC3E}">
        <p14:creationId xmlns:p14="http://schemas.microsoft.com/office/powerpoint/2010/main" val="2701973154"/>
      </p:ext>
    </p:extLst>
  </p:cSld>
  <p:clrMapOvr>
    <a:masterClrMapping/>
  </p:clrMapOvr>
</p:sld>
</file>

<file path=ppt/slides/slide10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8/27/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lnSpcReduction="10000"/>
          </a:bodyPr>
          <a:lstStyle/>
          <a:p>
            <a:pPr>
              <a:defRPr sz="1100">
                <a:latin typeface="Nexa (Headings)"/>
              </a:defRPr>
            </a:pPr>
            <a:r>
              <a:t>Product Sales Rate, WD and Net Sales | Effervescents | Nicolas | NICOLAS EST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1042472728"/>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1017</a:t>
            </a:fld>
            <a:endParaRPr lang="en-US"/>
          </a:p>
        </p:txBody>
      </p:sp>
    </p:spTree>
    <p:extLst>
      <p:ext uri="{BB962C8B-B14F-4D97-AF65-F5344CB8AC3E}">
        <p14:creationId xmlns:p14="http://schemas.microsoft.com/office/powerpoint/2010/main" val="611028859"/>
      </p:ext>
    </p:extLst>
  </p:cSld>
  <p:clrMapOvr>
    <a:masterClrMapping/>
  </p:clrMapOvr>
</p:sld>
</file>

<file path=ppt/slides/slide10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8/27/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lnSpcReduction="10000"/>
          </a:bodyPr>
          <a:lstStyle/>
          <a:p>
            <a:pPr>
              <a:defRPr sz="1100">
                <a:latin typeface="Nexa (Headings)"/>
              </a:defRPr>
            </a:pPr>
            <a:r>
              <a:t>Product Sales Rate, WD and Net Sales | Effervescents | Nicolas | CA A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3427411803"/>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1018</a:t>
            </a:fld>
            <a:endParaRPr lang="en-US"/>
          </a:p>
        </p:txBody>
      </p:sp>
    </p:spTree>
    <p:extLst>
      <p:ext uri="{BB962C8B-B14F-4D97-AF65-F5344CB8AC3E}">
        <p14:creationId xmlns:p14="http://schemas.microsoft.com/office/powerpoint/2010/main" val="3725036551"/>
      </p:ext>
    </p:extLst>
  </p:cSld>
  <p:clrMapOvr>
    <a:masterClrMapping/>
  </p:clrMapOvr>
</p:sld>
</file>

<file path=ppt/slides/slide10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8/27/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lnSpcReduction="10000"/>
          </a:bodyPr>
          <a:lstStyle/>
          <a:p>
            <a:pPr>
              <a:defRPr sz="1100">
                <a:latin typeface="Nexa (Headings)"/>
              </a:defRPr>
            </a:pPr>
            <a:r>
              <a:t>Product Sales Rate, WD and Net Sales | Effervescents | Nicolas | CA B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35580338"/>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1019</a:t>
            </a:fld>
            <a:endParaRPr lang="en-US"/>
          </a:p>
        </p:txBody>
      </p:sp>
    </p:spTree>
    <p:extLst>
      <p:ext uri="{BB962C8B-B14F-4D97-AF65-F5344CB8AC3E}">
        <p14:creationId xmlns:p14="http://schemas.microsoft.com/office/powerpoint/2010/main" val="2765355523"/>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Crus | NICOLAS CCP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02</a:t>
            </a:fld>
            <a:endParaRPr lang="en-US"/>
          </a:p>
        </p:txBody>
      </p:sp>
    </p:spTree>
    <p:extLst>
      <p:ext uri="{BB962C8B-B14F-4D97-AF65-F5344CB8AC3E}">
        <p14:creationId xmlns:p14="http://schemas.microsoft.com/office/powerpoint/2010/main" val="385276212"/>
      </p:ext>
    </p:extLst>
  </p:cSld>
  <p:clrMapOvr>
    <a:masterClrMapping/>
  </p:clrMapOvr>
</p:sld>
</file>

<file path=ppt/slides/slide10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8/27/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lnSpcReduction="10000"/>
          </a:bodyPr>
          <a:lstStyle/>
          <a:p>
            <a:pPr>
              <a:defRPr sz="1100">
                <a:latin typeface="Nexa (Headings)"/>
              </a:defRPr>
            </a:pPr>
            <a:r>
              <a:t>Product Sales Rate, WD and Net Sales | Effervescents | Nicolas | CA C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3455892902"/>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1020</a:t>
            </a:fld>
            <a:endParaRPr lang="en-US"/>
          </a:p>
        </p:txBody>
      </p:sp>
    </p:spTree>
    <p:extLst>
      <p:ext uri="{BB962C8B-B14F-4D97-AF65-F5344CB8AC3E}">
        <p14:creationId xmlns:p14="http://schemas.microsoft.com/office/powerpoint/2010/main" val="3480616510"/>
      </p:ext>
    </p:extLst>
  </p:cSld>
  <p:clrMapOvr>
    <a:masterClrMapping/>
  </p:clrMapOvr>
</p:sld>
</file>

<file path=ppt/slides/slide10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8/27/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lnSpcReduction="10000"/>
          </a:bodyPr>
          <a:lstStyle/>
          <a:p>
            <a:pPr>
              <a:defRPr sz="1100">
                <a:latin typeface="Nexa (Headings)"/>
              </a:defRPr>
            </a:pPr>
            <a:r>
              <a:t>Product Sales Rate, WD and Net Sales | Effervescents | Nicolas | CA D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991206279"/>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1021</a:t>
            </a:fld>
            <a:endParaRPr lang="en-US"/>
          </a:p>
        </p:txBody>
      </p:sp>
    </p:spTree>
    <p:extLst>
      <p:ext uri="{BB962C8B-B14F-4D97-AF65-F5344CB8AC3E}">
        <p14:creationId xmlns:p14="http://schemas.microsoft.com/office/powerpoint/2010/main" val="763642401"/>
      </p:ext>
    </p:extLst>
  </p:cSld>
  <p:clrMapOvr>
    <a:masterClrMapping/>
  </p:clrMapOvr>
</p:sld>
</file>

<file path=ppt/slides/slide10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8/27/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lnSpcReduction="10000"/>
          </a:bodyPr>
          <a:lstStyle/>
          <a:p>
            <a:pPr>
              <a:defRPr sz="1100">
                <a:latin typeface="Nexa (Headings)"/>
              </a:defRPr>
            </a:pPr>
            <a:r>
              <a:t>Product Sales Rate, WD and Net Sales | Effervescents | Nicolas | CA E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1310449965"/>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1022</a:t>
            </a:fld>
            <a:endParaRPr lang="en-US"/>
          </a:p>
        </p:txBody>
      </p:sp>
    </p:spTree>
    <p:extLst>
      <p:ext uri="{BB962C8B-B14F-4D97-AF65-F5344CB8AC3E}">
        <p14:creationId xmlns:p14="http://schemas.microsoft.com/office/powerpoint/2010/main" val="596324741"/>
      </p:ext>
    </p:extLst>
  </p:cSld>
  <p:clrMapOvr>
    <a:masterClrMapping/>
  </p:clrMapOvr>
</p:sld>
</file>

<file path=ppt/slides/slide10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8/27/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lnSpcReduction="10000"/>
          </a:bodyPr>
          <a:lstStyle/>
          <a:p>
            <a:pPr>
              <a:defRPr sz="1100">
                <a:latin typeface="Nexa (Headings)"/>
              </a:defRPr>
            </a:pPr>
            <a:r>
              <a:t>Product Sales Rate, WD and Net Sales | Champagnes | Nicolas | NICOLAS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588048971"/>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1023</a:t>
            </a:fld>
            <a:endParaRPr lang="en-US"/>
          </a:p>
        </p:txBody>
      </p:sp>
    </p:spTree>
    <p:extLst>
      <p:ext uri="{BB962C8B-B14F-4D97-AF65-F5344CB8AC3E}">
        <p14:creationId xmlns:p14="http://schemas.microsoft.com/office/powerpoint/2010/main" val="1961975266"/>
      </p:ext>
    </p:extLst>
  </p:cSld>
  <p:clrMapOvr>
    <a:masterClrMapping/>
  </p:clrMapOvr>
</p:sld>
</file>

<file path=ppt/slides/slide10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8/27/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lnSpcReduction="10000"/>
          </a:bodyPr>
          <a:lstStyle/>
          <a:p>
            <a:pPr>
              <a:defRPr sz="1100">
                <a:latin typeface="Nexa (Headings)"/>
              </a:defRPr>
            </a:pPr>
            <a:r>
              <a:t>Product Sales Rate, WD and Net Sales | Champagnes | Nicolas | NICOLAS QCN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98901310"/>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1024</a:t>
            </a:fld>
            <a:endParaRPr lang="en-US"/>
          </a:p>
        </p:txBody>
      </p:sp>
    </p:spTree>
    <p:extLst>
      <p:ext uri="{BB962C8B-B14F-4D97-AF65-F5344CB8AC3E}">
        <p14:creationId xmlns:p14="http://schemas.microsoft.com/office/powerpoint/2010/main" val="904197544"/>
      </p:ext>
    </p:extLst>
  </p:cSld>
  <p:clrMapOvr>
    <a:masterClrMapping/>
  </p:clrMapOvr>
</p:sld>
</file>

<file path=ppt/slides/slide10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8/27/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lnSpcReduction="10000"/>
          </a:bodyPr>
          <a:lstStyle/>
          <a:p>
            <a:pPr>
              <a:defRPr sz="1100">
                <a:latin typeface="Nexa (Headings)"/>
              </a:defRPr>
            </a:pPr>
            <a:r>
              <a:t>Product Sales Rate, WD and Net Sales | Champagnes | Nicolas | NICOLAS VCN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1902750009"/>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1025</a:t>
            </a:fld>
            <a:endParaRPr lang="en-US"/>
          </a:p>
        </p:txBody>
      </p:sp>
    </p:spTree>
    <p:extLst>
      <p:ext uri="{BB962C8B-B14F-4D97-AF65-F5344CB8AC3E}">
        <p14:creationId xmlns:p14="http://schemas.microsoft.com/office/powerpoint/2010/main" val="3898234113"/>
      </p:ext>
    </p:extLst>
  </p:cSld>
  <p:clrMapOvr>
    <a:masterClrMapping/>
  </p:clrMapOvr>
</p:sld>
</file>

<file path=ppt/slides/slide10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8/27/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lnSpcReduction="10000"/>
          </a:bodyPr>
          <a:lstStyle/>
          <a:p>
            <a:pPr>
              <a:defRPr sz="1100">
                <a:latin typeface="Nexa (Headings)"/>
              </a:defRPr>
            </a:pPr>
            <a:r>
              <a:t>Product Sales Rate, WD and Net Sales | Champagnes | Nicolas | NICOLAS QCT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82777552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1026</a:t>
            </a:fld>
            <a:endParaRPr lang="en-US"/>
          </a:p>
        </p:txBody>
      </p:sp>
    </p:spTree>
    <p:extLst>
      <p:ext uri="{BB962C8B-B14F-4D97-AF65-F5344CB8AC3E}">
        <p14:creationId xmlns:p14="http://schemas.microsoft.com/office/powerpoint/2010/main" val="2515197978"/>
      </p:ext>
    </p:extLst>
  </p:cSld>
  <p:clrMapOvr>
    <a:masterClrMapping/>
  </p:clrMapOvr>
</p:sld>
</file>

<file path=ppt/slides/slide10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8/27/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lnSpcReduction="10000"/>
          </a:bodyPr>
          <a:lstStyle/>
          <a:p>
            <a:pPr>
              <a:defRPr sz="1100">
                <a:latin typeface="Nexa (Headings)"/>
              </a:defRPr>
            </a:pPr>
            <a:r>
              <a:t>Product Sales Rate, WD and Net Sales | Champagnes | Nicolas | NICOLAS QCA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425166107"/>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1027</a:t>
            </a:fld>
            <a:endParaRPr lang="en-US"/>
          </a:p>
        </p:txBody>
      </p:sp>
    </p:spTree>
    <p:extLst>
      <p:ext uri="{BB962C8B-B14F-4D97-AF65-F5344CB8AC3E}">
        <p14:creationId xmlns:p14="http://schemas.microsoft.com/office/powerpoint/2010/main" val="1858891976"/>
      </p:ext>
    </p:extLst>
  </p:cSld>
  <p:clrMapOvr>
    <a:masterClrMapping/>
  </p:clrMapOvr>
</p:sld>
</file>

<file path=ppt/slides/slide10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8/27/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lnSpcReduction="10000"/>
          </a:bodyPr>
          <a:lstStyle/>
          <a:p>
            <a:pPr>
              <a:defRPr sz="1100">
                <a:latin typeface="Nexa (Headings)"/>
              </a:defRPr>
            </a:pPr>
            <a:r>
              <a:t>Product Sales Rate, WD and Net Sales | Champagnes | Nicolas | NICOLAS CCP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1529471278"/>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1028</a:t>
            </a:fld>
            <a:endParaRPr lang="en-US"/>
          </a:p>
        </p:txBody>
      </p:sp>
    </p:spTree>
    <p:extLst>
      <p:ext uri="{BB962C8B-B14F-4D97-AF65-F5344CB8AC3E}">
        <p14:creationId xmlns:p14="http://schemas.microsoft.com/office/powerpoint/2010/main" val="3740193044"/>
      </p:ext>
    </p:extLst>
  </p:cSld>
  <p:clrMapOvr>
    <a:masterClrMapping/>
  </p:clrMapOvr>
</p:sld>
</file>

<file path=ppt/slides/slide10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8/27/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lnSpcReduction="10000"/>
          </a:bodyPr>
          <a:lstStyle/>
          <a:p>
            <a:pPr>
              <a:defRPr sz="1100">
                <a:latin typeface="Nexa (Headings)"/>
              </a:defRPr>
            </a:pPr>
            <a:r>
              <a:t>Product Sales Rate, WD and Net Sales | Champagnes | Nicolas | NICOLAS IDF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88210956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1029</a:t>
            </a:fld>
            <a:endParaRPr lang="en-US"/>
          </a:p>
        </p:txBody>
      </p:sp>
    </p:spTree>
    <p:extLst>
      <p:ext uri="{BB962C8B-B14F-4D97-AF65-F5344CB8AC3E}">
        <p14:creationId xmlns:p14="http://schemas.microsoft.com/office/powerpoint/2010/main" val="1687675092"/>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Crus | NICOLAS IDF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03</a:t>
            </a:fld>
            <a:endParaRPr lang="en-US"/>
          </a:p>
        </p:txBody>
      </p:sp>
    </p:spTree>
    <p:extLst>
      <p:ext uri="{BB962C8B-B14F-4D97-AF65-F5344CB8AC3E}">
        <p14:creationId xmlns:p14="http://schemas.microsoft.com/office/powerpoint/2010/main" val="1541476415"/>
      </p:ext>
    </p:extLst>
  </p:cSld>
  <p:clrMapOvr>
    <a:masterClrMapping/>
  </p:clrMapOvr>
</p:sld>
</file>

<file path=ppt/slides/slide10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8/27/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lnSpcReduction="10000"/>
          </a:bodyPr>
          <a:lstStyle/>
          <a:p>
            <a:pPr>
              <a:defRPr sz="1100">
                <a:latin typeface="Nexa (Headings)"/>
              </a:defRPr>
            </a:pPr>
            <a:r>
              <a:t>Product Sales Rate, WD and Net Sales | Champagnes | Nicolas | NICOLAS PAC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1631520933"/>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1030</a:t>
            </a:fld>
            <a:endParaRPr lang="en-US"/>
          </a:p>
        </p:txBody>
      </p:sp>
    </p:spTree>
    <p:extLst>
      <p:ext uri="{BB962C8B-B14F-4D97-AF65-F5344CB8AC3E}">
        <p14:creationId xmlns:p14="http://schemas.microsoft.com/office/powerpoint/2010/main" val="273099287"/>
      </p:ext>
    </p:extLst>
  </p:cSld>
  <p:clrMapOvr>
    <a:masterClrMapping/>
  </p:clrMapOvr>
</p:sld>
</file>

<file path=ppt/slides/slide10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8/27/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lnSpcReduction="10000"/>
          </a:bodyPr>
          <a:lstStyle/>
          <a:p>
            <a:pPr>
              <a:defRPr sz="1100">
                <a:latin typeface="Nexa (Headings)"/>
              </a:defRPr>
            </a:pPr>
            <a:r>
              <a:t>Product Sales Rate, WD and Net Sales | Champagnes | Nicolas | NICOLAS RHO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518206395"/>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1031</a:t>
            </a:fld>
            <a:endParaRPr lang="en-US"/>
          </a:p>
        </p:txBody>
      </p:sp>
    </p:spTree>
    <p:extLst>
      <p:ext uri="{BB962C8B-B14F-4D97-AF65-F5344CB8AC3E}">
        <p14:creationId xmlns:p14="http://schemas.microsoft.com/office/powerpoint/2010/main" val="44082132"/>
      </p:ext>
    </p:extLst>
  </p:cSld>
  <p:clrMapOvr>
    <a:masterClrMapping/>
  </p:clrMapOvr>
</p:sld>
</file>

<file path=ppt/slides/slide10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8/27/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lnSpcReduction="10000"/>
          </a:bodyPr>
          <a:lstStyle/>
          <a:p>
            <a:pPr>
              <a:defRPr sz="1100">
                <a:latin typeface="Nexa (Headings)"/>
              </a:defRPr>
            </a:pPr>
            <a:r>
              <a:t>Product Sales Rate, WD and Net Sales | Champagnes | Nicolas | NICOLAS AQU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1850547531"/>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1032</a:t>
            </a:fld>
            <a:endParaRPr lang="en-US"/>
          </a:p>
        </p:txBody>
      </p:sp>
    </p:spTree>
    <p:extLst>
      <p:ext uri="{BB962C8B-B14F-4D97-AF65-F5344CB8AC3E}">
        <p14:creationId xmlns:p14="http://schemas.microsoft.com/office/powerpoint/2010/main" val="1940159421"/>
      </p:ext>
    </p:extLst>
  </p:cSld>
  <p:clrMapOvr>
    <a:masterClrMapping/>
  </p:clrMapOvr>
</p:sld>
</file>

<file path=ppt/slides/slide10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8/27/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lnSpcReduction="10000"/>
          </a:bodyPr>
          <a:lstStyle/>
          <a:p>
            <a:pPr>
              <a:defRPr sz="1100">
                <a:latin typeface="Nexa (Headings)"/>
              </a:defRPr>
            </a:pPr>
            <a:r>
              <a:t>Product Sales Rate, WD and Net Sales | Champagnes | Nicolas | NICOLAS EST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4226216328"/>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1033</a:t>
            </a:fld>
            <a:endParaRPr lang="en-US"/>
          </a:p>
        </p:txBody>
      </p:sp>
    </p:spTree>
    <p:extLst>
      <p:ext uri="{BB962C8B-B14F-4D97-AF65-F5344CB8AC3E}">
        <p14:creationId xmlns:p14="http://schemas.microsoft.com/office/powerpoint/2010/main" val="2050914847"/>
      </p:ext>
    </p:extLst>
  </p:cSld>
  <p:clrMapOvr>
    <a:masterClrMapping/>
  </p:clrMapOvr>
</p:sld>
</file>

<file path=ppt/slides/slide10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8/27/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lnSpcReduction="10000"/>
          </a:bodyPr>
          <a:lstStyle/>
          <a:p>
            <a:pPr>
              <a:defRPr sz="1100">
                <a:latin typeface="Nexa (Headings)"/>
              </a:defRPr>
            </a:pPr>
            <a:r>
              <a:t>Product Sales Rate, WD and Net Sales | Champagnes | Nicolas | CA A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3557147436"/>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1034</a:t>
            </a:fld>
            <a:endParaRPr lang="en-US"/>
          </a:p>
        </p:txBody>
      </p:sp>
    </p:spTree>
    <p:extLst>
      <p:ext uri="{BB962C8B-B14F-4D97-AF65-F5344CB8AC3E}">
        <p14:creationId xmlns:p14="http://schemas.microsoft.com/office/powerpoint/2010/main" val="1486274057"/>
      </p:ext>
    </p:extLst>
  </p:cSld>
  <p:clrMapOvr>
    <a:masterClrMapping/>
  </p:clrMapOvr>
</p:sld>
</file>

<file path=ppt/slides/slide10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8/27/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lnSpcReduction="10000"/>
          </a:bodyPr>
          <a:lstStyle/>
          <a:p>
            <a:pPr>
              <a:defRPr sz="1100">
                <a:latin typeface="Nexa (Headings)"/>
              </a:defRPr>
            </a:pPr>
            <a:r>
              <a:t>Product Sales Rate, WD and Net Sales | Champagnes | Nicolas | CA B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4128997559"/>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1035</a:t>
            </a:fld>
            <a:endParaRPr lang="en-US"/>
          </a:p>
        </p:txBody>
      </p:sp>
    </p:spTree>
    <p:extLst>
      <p:ext uri="{BB962C8B-B14F-4D97-AF65-F5344CB8AC3E}">
        <p14:creationId xmlns:p14="http://schemas.microsoft.com/office/powerpoint/2010/main" val="1128565168"/>
      </p:ext>
    </p:extLst>
  </p:cSld>
  <p:clrMapOvr>
    <a:masterClrMapping/>
  </p:clrMapOvr>
</p:sld>
</file>

<file path=ppt/slides/slide10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8/27/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lnSpcReduction="10000"/>
          </a:bodyPr>
          <a:lstStyle/>
          <a:p>
            <a:pPr>
              <a:defRPr sz="1100">
                <a:latin typeface="Nexa (Headings)"/>
              </a:defRPr>
            </a:pPr>
            <a:r>
              <a:t>Product Sales Rate, WD and Net Sales | Champagnes | Nicolas | CA C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1989767183"/>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1036</a:t>
            </a:fld>
            <a:endParaRPr lang="en-US"/>
          </a:p>
        </p:txBody>
      </p:sp>
    </p:spTree>
    <p:extLst>
      <p:ext uri="{BB962C8B-B14F-4D97-AF65-F5344CB8AC3E}">
        <p14:creationId xmlns:p14="http://schemas.microsoft.com/office/powerpoint/2010/main" val="992705736"/>
      </p:ext>
    </p:extLst>
  </p:cSld>
  <p:clrMapOvr>
    <a:masterClrMapping/>
  </p:clrMapOvr>
</p:sld>
</file>

<file path=ppt/slides/slide10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8/27/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lnSpcReduction="10000"/>
          </a:bodyPr>
          <a:lstStyle/>
          <a:p>
            <a:pPr>
              <a:defRPr sz="1100">
                <a:latin typeface="Nexa (Headings)"/>
              </a:defRPr>
            </a:pPr>
            <a:r>
              <a:t>Product Sales Rate, WD and Net Sales | Champagnes | Nicolas | CA D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4243827252"/>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1037</a:t>
            </a:fld>
            <a:endParaRPr lang="en-US"/>
          </a:p>
        </p:txBody>
      </p:sp>
    </p:spTree>
    <p:extLst>
      <p:ext uri="{BB962C8B-B14F-4D97-AF65-F5344CB8AC3E}">
        <p14:creationId xmlns:p14="http://schemas.microsoft.com/office/powerpoint/2010/main" val="2539252782"/>
      </p:ext>
    </p:extLst>
  </p:cSld>
  <p:clrMapOvr>
    <a:masterClrMapping/>
  </p:clrMapOvr>
</p:sld>
</file>

<file path=ppt/slides/slide10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8/27/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lnSpcReduction="10000"/>
          </a:bodyPr>
          <a:lstStyle/>
          <a:p>
            <a:pPr>
              <a:defRPr sz="1100">
                <a:latin typeface="Nexa (Headings)"/>
              </a:defRPr>
            </a:pPr>
            <a:r>
              <a:t>Product Sales Rate, WD and Net Sales | Champagnes | Nicolas | CA E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512922357"/>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1038</a:t>
            </a:fld>
            <a:endParaRPr lang="en-US"/>
          </a:p>
        </p:txBody>
      </p:sp>
    </p:spTree>
    <p:extLst>
      <p:ext uri="{BB962C8B-B14F-4D97-AF65-F5344CB8AC3E}">
        <p14:creationId xmlns:p14="http://schemas.microsoft.com/office/powerpoint/2010/main" val="72395962"/>
      </p:ext>
    </p:extLst>
  </p:cSld>
  <p:clrMapOvr>
    <a:masterClrMapping/>
  </p:clrMapOvr>
</p:sld>
</file>

<file path=ppt/slides/slide10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8/27/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lnSpcReduction="10000"/>
          </a:bodyPr>
          <a:lstStyle/>
          <a:p>
            <a:pPr>
              <a:defRPr sz="1100">
                <a:latin typeface="Nexa (Headings)"/>
              </a:defRPr>
            </a:pPr>
            <a:r>
              <a:t>Product Sales Rate, WD and Net Sales | Blanc De Blancs | Nicolas | NICOLAS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820424023"/>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1039</a:t>
            </a:fld>
            <a:endParaRPr lang="en-US"/>
          </a:p>
        </p:txBody>
      </p:sp>
    </p:spTree>
    <p:extLst>
      <p:ext uri="{BB962C8B-B14F-4D97-AF65-F5344CB8AC3E}">
        <p14:creationId xmlns:p14="http://schemas.microsoft.com/office/powerpoint/2010/main" val="3068182284"/>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Crus | NICOLAS PAC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04</a:t>
            </a:fld>
            <a:endParaRPr lang="en-US"/>
          </a:p>
        </p:txBody>
      </p:sp>
    </p:spTree>
    <p:extLst>
      <p:ext uri="{BB962C8B-B14F-4D97-AF65-F5344CB8AC3E}">
        <p14:creationId xmlns:p14="http://schemas.microsoft.com/office/powerpoint/2010/main" val="3915583730"/>
      </p:ext>
    </p:extLst>
  </p:cSld>
  <p:clrMapOvr>
    <a:masterClrMapping/>
  </p:clrMapOvr>
</p:sld>
</file>

<file path=ppt/slides/slide10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8/27/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lnSpcReduction="10000"/>
          </a:bodyPr>
          <a:lstStyle/>
          <a:p>
            <a:pPr>
              <a:defRPr sz="1100">
                <a:latin typeface="Nexa (Headings)"/>
              </a:defRPr>
            </a:pPr>
            <a:r>
              <a:t>Product Sales Rate, WD and Net Sales | Blanc De Blancs | Nicolas | NICOLAS QCN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166887219"/>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1040</a:t>
            </a:fld>
            <a:endParaRPr lang="en-US"/>
          </a:p>
        </p:txBody>
      </p:sp>
    </p:spTree>
    <p:extLst>
      <p:ext uri="{BB962C8B-B14F-4D97-AF65-F5344CB8AC3E}">
        <p14:creationId xmlns:p14="http://schemas.microsoft.com/office/powerpoint/2010/main" val="3779699114"/>
      </p:ext>
    </p:extLst>
  </p:cSld>
  <p:clrMapOvr>
    <a:masterClrMapping/>
  </p:clrMapOvr>
</p:sld>
</file>

<file path=ppt/slides/slide10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8/27/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lnSpcReduction="10000"/>
          </a:bodyPr>
          <a:lstStyle/>
          <a:p>
            <a:pPr>
              <a:defRPr sz="1100">
                <a:latin typeface="Nexa (Headings)"/>
              </a:defRPr>
            </a:pPr>
            <a:r>
              <a:t>Product Sales Rate, WD and Net Sales | Blanc De Blancs | Nicolas | NICOLAS VCN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837030059"/>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1041</a:t>
            </a:fld>
            <a:endParaRPr lang="en-US"/>
          </a:p>
        </p:txBody>
      </p:sp>
    </p:spTree>
    <p:extLst>
      <p:ext uri="{BB962C8B-B14F-4D97-AF65-F5344CB8AC3E}">
        <p14:creationId xmlns:p14="http://schemas.microsoft.com/office/powerpoint/2010/main" val="1093267997"/>
      </p:ext>
    </p:extLst>
  </p:cSld>
  <p:clrMapOvr>
    <a:masterClrMapping/>
  </p:clrMapOvr>
</p:sld>
</file>

<file path=ppt/slides/slide10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8/27/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lnSpcReduction="10000"/>
          </a:bodyPr>
          <a:lstStyle/>
          <a:p>
            <a:pPr>
              <a:defRPr sz="1100">
                <a:latin typeface="Nexa (Headings)"/>
              </a:defRPr>
            </a:pPr>
            <a:r>
              <a:t>Product Sales Rate, WD and Net Sales | Blanc De Blancs | Nicolas | NICOLAS QCT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019563649"/>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1042</a:t>
            </a:fld>
            <a:endParaRPr lang="en-US"/>
          </a:p>
        </p:txBody>
      </p:sp>
    </p:spTree>
    <p:extLst>
      <p:ext uri="{BB962C8B-B14F-4D97-AF65-F5344CB8AC3E}">
        <p14:creationId xmlns:p14="http://schemas.microsoft.com/office/powerpoint/2010/main" val="1940743154"/>
      </p:ext>
    </p:extLst>
  </p:cSld>
  <p:clrMapOvr>
    <a:masterClrMapping/>
  </p:clrMapOvr>
</p:sld>
</file>

<file path=ppt/slides/slide10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8/27/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lnSpcReduction="10000"/>
          </a:bodyPr>
          <a:lstStyle/>
          <a:p>
            <a:pPr>
              <a:defRPr sz="1100">
                <a:latin typeface="Nexa (Headings)"/>
              </a:defRPr>
            </a:pPr>
            <a:r>
              <a:t>Product Sales Rate, WD and Net Sales | Blanc De Blancs | Nicolas | NICOLAS QCA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1604332885"/>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1043</a:t>
            </a:fld>
            <a:endParaRPr lang="en-US"/>
          </a:p>
        </p:txBody>
      </p:sp>
    </p:spTree>
    <p:extLst>
      <p:ext uri="{BB962C8B-B14F-4D97-AF65-F5344CB8AC3E}">
        <p14:creationId xmlns:p14="http://schemas.microsoft.com/office/powerpoint/2010/main" val="1333511271"/>
      </p:ext>
    </p:extLst>
  </p:cSld>
  <p:clrMapOvr>
    <a:masterClrMapping/>
  </p:clrMapOvr>
</p:sld>
</file>

<file path=ppt/slides/slide10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8/27/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lnSpcReduction="10000"/>
          </a:bodyPr>
          <a:lstStyle/>
          <a:p>
            <a:pPr>
              <a:defRPr sz="1100">
                <a:latin typeface="Nexa (Headings)"/>
              </a:defRPr>
            </a:pPr>
            <a:r>
              <a:t>Product Sales Rate, WD and Net Sales | Blanc De Blancs | Nicolas | NICOLAS CCP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1863236299"/>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1044</a:t>
            </a:fld>
            <a:endParaRPr lang="en-US"/>
          </a:p>
        </p:txBody>
      </p:sp>
    </p:spTree>
    <p:extLst>
      <p:ext uri="{BB962C8B-B14F-4D97-AF65-F5344CB8AC3E}">
        <p14:creationId xmlns:p14="http://schemas.microsoft.com/office/powerpoint/2010/main" val="2635073089"/>
      </p:ext>
    </p:extLst>
  </p:cSld>
  <p:clrMapOvr>
    <a:masterClrMapping/>
  </p:clrMapOvr>
</p:sld>
</file>

<file path=ppt/slides/slide10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8/27/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lnSpcReduction="10000"/>
          </a:bodyPr>
          <a:lstStyle/>
          <a:p>
            <a:pPr>
              <a:defRPr sz="1100">
                <a:latin typeface="Nexa (Headings)"/>
              </a:defRPr>
            </a:pPr>
            <a:r>
              <a:t>Product Sales Rate, WD and Net Sales | Blanc De Blancs | Nicolas | NICOLAS IDF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344939195"/>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1045</a:t>
            </a:fld>
            <a:endParaRPr lang="en-US"/>
          </a:p>
        </p:txBody>
      </p:sp>
    </p:spTree>
    <p:extLst>
      <p:ext uri="{BB962C8B-B14F-4D97-AF65-F5344CB8AC3E}">
        <p14:creationId xmlns:p14="http://schemas.microsoft.com/office/powerpoint/2010/main" val="1191358725"/>
      </p:ext>
    </p:extLst>
  </p:cSld>
  <p:clrMapOvr>
    <a:masterClrMapping/>
  </p:clrMapOvr>
</p:sld>
</file>

<file path=ppt/slides/slide10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8/27/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lnSpcReduction="10000"/>
          </a:bodyPr>
          <a:lstStyle/>
          <a:p>
            <a:pPr>
              <a:defRPr sz="1100">
                <a:latin typeface="Nexa (Headings)"/>
              </a:defRPr>
            </a:pPr>
            <a:r>
              <a:t>Product Sales Rate, WD and Net Sales | Blanc De Blancs | Nicolas | NICOLAS PAC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4001905837"/>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1046</a:t>
            </a:fld>
            <a:endParaRPr lang="en-US"/>
          </a:p>
        </p:txBody>
      </p:sp>
    </p:spTree>
    <p:extLst>
      <p:ext uri="{BB962C8B-B14F-4D97-AF65-F5344CB8AC3E}">
        <p14:creationId xmlns:p14="http://schemas.microsoft.com/office/powerpoint/2010/main" val="3984680747"/>
      </p:ext>
    </p:extLst>
  </p:cSld>
  <p:clrMapOvr>
    <a:masterClrMapping/>
  </p:clrMapOvr>
</p:sld>
</file>

<file path=ppt/slides/slide10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8/27/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lnSpcReduction="10000"/>
          </a:bodyPr>
          <a:lstStyle/>
          <a:p>
            <a:pPr>
              <a:defRPr sz="1100">
                <a:latin typeface="Nexa (Headings)"/>
              </a:defRPr>
            </a:pPr>
            <a:r>
              <a:t>Product Sales Rate, WD and Net Sales | Blanc De Blancs | Nicolas | NICOLAS RHO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3601058550"/>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1047</a:t>
            </a:fld>
            <a:endParaRPr lang="en-US"/>
          </a:p>
        </p:txBody>
      </p:sp>
    </p:spTree>
    <p:extLst>
      <p:ext uri="{BB962C8B-B14F-4D97-AF65-F5344CB8AC3E}">
        <p14:creationId xmlns:p14="http://schemas.microsoft.com/office/powerpoint/2010/main" val="1871245673"/>
      </p:ext>
    </p:extLst>
  </p:cSld>
  <p:clrMapOvr>
    <a:masterClrMapping/>
  </p:clrMapOvr>
</p:sld>
</file>

<file path=ppt/slides/slide10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8/27/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lnSpcReduction="10000"/>
          </a:bodyPr>
          <a:lstStyle/>
          <a:p>
            <a:pPr>
              <a:defRPr sz="1100">
                <a:latin typeface="Nexa (Headings)"/>
              </a:defRPr>
            </a:pPr>
            <a:r>
              <a:t>Product Sales Rate, WD and Net Sales | Blanc De Blancs | Nicolas | NICOLAS AQU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917287692"/>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1048</a:t>
            </a:fld>
            <a:endParaRPr lang="en-US"/>
          </a:p>
        </p:txBody>
      </p:sp>
    </p:spTree>
    <p:extLst>
      <p:ext uri="{BB962C8B-B14F-4D97-AF65-F5344CB8AC3E}">
        <p14:creationId xmlns:p14="http://schemas.microsoft.com/office/powerpoint/2010/main" val="2881234497"/>
      </p:ext>
    </p:extLst>
  </p:cSld>
  <p:clrMapOvr>
    <a:masterClrMapping/>
  </p:clrMapOvr>
</p:sld>
</file>

<file path=ppt/slides/slide10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8/27/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lnSpcReduction="10000"/>
          </a:bodyPr>
          <a:lstStyle/>
          <a:p>
            <a:pPr>
              <a:defRPr sz="1100">
                <a:latin typeface="Nexa (Headings)"/>
              </a:defRPr>
            </a:pPr>
            <a:r>
              <a:t>Product Sales Rate, WD and Net Sales | Blanc De Blancs | Nicolas | NICOLAS EST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3995448743"/>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1049</a:t>
            </a:fld>
            <a:endParaRPr lang="en-US"/>
          </a:p>
        </p:txBody>
      </p:sp>
    </p:spTree>
    <p:extLst>
      <p:ext uri="{BB962C8B-B14F-4D97-AF65-F5344CB8AC3E}">
        <p14:creationId xmlns:p14="http://schemas.microsoft.com/office/powerpoint/2010/main" val="4020013608"/>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Crus | NICOLAS RHO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05</a:t>
            </a:fld>
            <a:endParaRPr lang="en-US"/>
          </a:p>
        </p:txBody>
      </p:sp>
    </p:spTree>
    <p:extLst>
      <p:ext uri="{BB962C8B-B14F-4D97-AF65-F5344CB8AC3E}">
        <p14:creationId xmlns:p14="http://schemas.microsoft.com/office/powerpoint/2010/main" val="3922431176"/>
      </p:ext>
    </p:extLst>
  </p:cSld>
  <p:clrMapOvr>
    <a:masterClrMapping/>
  </p:clrMapOvr>
</p:sld>
</file>

<file path=ppt/slides/slide10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8/27/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lnSpcReduction="10000"/>
          </a:bodyPr>
          <a:lstStyle/>
          <a:p>
            <a:pPr>
              <a:defRPr sz="1100">
                <a:latin typeface="Nexa (Headings)"/>
              </a:defRPr>
            </a:pPr>
            <a:r>
              <a:t>Product Sales Rate, WD and Net Sales | Blanc De Blancs | Nicolas | CA A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194752282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1050</a:t>
            </a:fld>
            <a:endParaRPr lang="en-US"/>
          </a:p>
        </p:txBody>
      </p:sp>
    </p:spTree>
    <p:extLst>
      <p:ext uri="{BB962C8B-B14F-4D97-AF65-F5344CB8AC3E}">
        <p14:creationId xmlns:p14="http://schemas.microsoft.com/office/powerpoint/2010/main" val="4006093480"/>
      </p:ext>
    </p:extLst>
  </p:cSld>
  <p:clrMapOvr>
    <a:masterClrMapping/>
  </p:clrMapOvr>
</p:sld>
</file>

<file path=ppt/slides/slide10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8/27/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lnSpcReduction="10000"/>
          </a:bodyPr>
          <a:lstStyle/>
          <a:p>
            <a:pPr>
              <a:defRPr sz="1100">
                <a:latin typeface="Nexa (Headings)"/>
              </a:defRPr>
            </a:pPr>
            <a:r>
              <a:t>Product Sales Rate, WD and Net Sales | Blanc De Blancs | Nicolas | CA B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3856600343"/>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1051</a:t>
            </a:fld>
            <a:endParaRPr lang="en-US"/>
          </a:p>
        </p:txBody>
      </p:sp>
    </p:spTree>
    <p:extLst>
      <p:ext uri="{BB962C8B-B14F-4D97-AF65-F5344CB8AC3E}">
        <p14:creationId xmlns:p14="http://schemas.microsoft.com/office/powerpoint/2010/main" val="1554699756"/>
      </p:ext>
    </p:extLst>
  </p:cSld>
  <p:clrMapOvr>
    <a:masterClrMapping/>
  </p:clrMapOvr>
</p:sld>
</file>

<file path=ppt/slides/slide10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8/27/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lnSpcReduction="10000"/>
          </a:bodyPr>
          <a:lstStyle/>
          <a:p>
            <a:pPr>
              <a:defRPr sz="1100">
                <a:latin typeface="Nexa (Headings)"/>
              </a:defRPr>
            </a:pPr>
            <a:r>
              <a:t>Product Sales Rate, WD and Net Sales | Blanc De Blancs | Nicolas | CA C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5411257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1052</a:t>
            </a:fld>
            <a:endParaRPr lang="en-US"/>
          </a:p>
        </p:txBody>
      </p:sp>
    </p:spTree>
    <p:extLst>
      <p:ext uri="{BB962C8B-B14F-4D97-AF65-F5344CB8AC3E}">
        <p14:creationId xmlns:p14="http://schemas.microsoft.com/office/powerpoint/2010/main" val="326916593"/>
      </p:ext>
    </p:extLst>
  </p:cSld>
  <p:clrMapOvr>
    <a:masterClrMapping/>
  </p:clrMapOvr>
</p:sld>
</file>

<file path=ppt/slides/slide10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8/27/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lnSpcReduction="10000"/>
          </a:bodyPr>
          <a:lstStyle/>
          <a:p>
            <a:pPr>
              <a:defRPr sz="1100">
                <a:latin typeface="Nexa (Headings)"/>
              </a:defRPr>
            </a:pPr>
            <a:r>
              <a:t>Product Sales Rate, WD and Net Sales | Blanc De Blancs | Nicolas | CA D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3402759876"/>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1053</a:t>
            </a:fld>
            <a:endParaRPr lang="en-US"/>
          </a:p>
        </p:txBody>
      </p:sp>
    </p:spTree>
    <p:extLst>
      <p:ext uri="{BB962C8B-B14F-4D97-AF65-F5344CB8AC3E}">
        <p14:creationId xmlns:p14="http://schemas.microsoft.com/office/powerpoint/2010/main" val="4079853514"/>
      </p:ext>
    </p:extLst>
  </p:cSld>
  <p:clrMapOvr>
    <a:masterClrMapping/>
  </p:clrMapOvr>
</p:sld>
</file>

<file path=ppt/slides/slide10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8/27/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lnSpcReduction="10000"/>
          </a:bodyPr>
          <a:lstStyle/>
          <a:p>
            <a:pPr>
              <a:defRPr sz="1100">
                <a:latin typeface="Nexa (Headings)"/>
              </a:defRPr>
            </a:pPr>
            <a:r>
              <a:t>Product Sales Rate, WD and Net Sales | Blanc De Blancs | Nicolas | CA E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1502980249"/>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1054</a:t>
            </a:fld>
            <a:endParaRPr lang="en-US"/>
          </a:p>
        </p:txBody>
      </p:sp>
    </p:spTree>
    <p:extLst>
      <p:ext uri="{BB962C8B-B14F-4D97-AF65-F5344CB8AC3E}">
        <p14:creationId xmlns:p14="http://schemas.microsoft.com/office/powerpoint/2010/main" val="548161547"/>
      </p:ext>
    </p:extLst>
  </p:cSld>
  <p:clrMapOvr>
    <a:masterClrMapping/>
  </p:clrMapOvr>
</p:sld>
</file>

<file path=ppt/slides/slide10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8/27/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lnSpcReduction="10000"/>
          </a:bodyPr>
          <a:lstStyle/>
          <a:p>
            <a:pPr>
              <a:defRPr sz="1100">
                <a:latin typeface="Nexa (Headings)"/>
              </a:defRPr>
            </a:pPr>
            <a:r>
              <a:t>Product Sales Rate, WD and Net Sales | Bruts | Nicolas | NICOLAS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1049409373"/>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1055</a:t>
            </a:fld>
            <a:endParaRPr lang="en-US"/>
          </a:p>
        </p:txBody>
      </p:sp>
    </p:spTree>
    <p:extLst>
      <p:ext uri="{BB962C8B-B14F-4D97-AF65-F5344CB8AC3E}">
        <p14:creationId xmlns:p14="http://schemas.microsoft.com/office/powerpoint/2010/main" val="1268494218"/>
      </p:ext>
    </p:extLst>
  </p:cSld>
  <p:clrMapOvr>
    <a:masterClrMapping/>
  </p:clrMapOvr>
</p:sld>
</file>

<file path=ppt/slides/slide10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8/27/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lnSpcReduction="10000"/>
          </a:bodyPr>
          <a:lstStyle/>
          <a:p>
            <a:pPr>
              <a:defRPr sz="1100">
                <a:latin typeface="Nexa (Headings)"/>
              </a:defRPr>
            </a:pPr>
            <a:r>
              <a:t>Product Sales Rate, WD and Net Sales | Bruts | Nicolas | NICOLAS QCN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3881687320"/>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1056</a:t>
            </a:fld>
            <a:endParaRPr lang="en-US"/>
          </a:p>
        </p:txBody>
      </p:sp>
    </p:spTree>
    <p:extLst>
      <p:ext uri="{BB962C8B-B14F-4D97-AF65-F5344CB8AC3E}">
        <p14:creationId xmlns:p14="http://schemas.microsoft.com/office/powerpoint/2010/main" val="1083952126"/>
      </p:ext>
    </p:extLst>
  </p:cSld>
  <p:clrMapOvr>
    <a:masterClrMapping/>
  </p:clrMapOvr>
</p:sld>
</file>

<file path=ppt/slides/slide10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8/27/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lnSpcReduction="10000"/>
          </a:bodyPr>
          <a:lstStyle/>
          <a:p>
            <a:pPr>
              <a:defRPr sz="1100">
                <a:latin typeface="Nexa (Headings)"/>
              </a:defRPr>
            </a:pPr>
            <a:r>
              <a:t>Product Sales Rate, WD and Net Sales | Bruts | Nicolas | NICOLAS VCN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086502563"/>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1057</a:t>
            </a:fld>
            <a:endParaRPr lang="en-US"/>
          </a:p>
        </p:txBody>
      </p:sp>
    </p:spTree>
    <p:extLst>
      <p:ext uri="{BB962C8B-B14F-4D97-AF65-F5344CB8AC3E}">
        <p14:creationId xmlns:p14="http://schemas.microsoft.com/office/powerpoint/2010/main" val="3102621487"/>
      </p:ext>
    </p:extLst>
  </p:cSld>
  <p:clrMapOvr>
    <a:masterClrMapping/>
  </p:clrMapOvr>
</p:sld>
</file>

<file path=ppt/slides/slide10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8/27/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lnSpcReduction="10000"/>
          </a:bodyPr>
          <a:lstStyle/>
          <a:p>
            <a:pPr>
              <a:defRPr sz="1100">
                <a:latin typeface="Nexa (Headings)"/>
              </a:defRPr>
            </a:pPr>
            <a:r>
              <a:t>Product Sales Rate, WD and Net Sales | Bruts | Nicolas | NICOLAS QCT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1391871119"/>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1058</a:t>
            </a:fld>
            <a:endParaRPr lang="en-US"/>
          </a:p>
        </p:txBody>
      </p:sp>
    </p:spTree>
    <p:extLst>
      <p:ext uri="{BB962C8B-B14F-4D97-AF65-F5344CB8AC3E}">
        <p14:creationId xmlns:p14="http://schemas.microsoft.com/office/powerpoint/2010/main" val="3993225425"/>
      </p:ext>
    </p:extLst>
  </p:cSld>
  <p:clrMapOvr>
    <a:masterClrMapping/>
  </p:clrMapOvr>
</p:sld>
</file>

<file path=ppt/slides/slide10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8/27/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lnSpcReduction="10000"/>
          </a:bodyPr>
          <a:lstStyle/>
          <a:p>
            <a:pPr>
              <a:defRPr sz="1100">
                <a:latin typeface="Nexa (Headings)"/>
              </a:defRPr>
            </a:pPr>
            <a:r>
              <a:t>Product Sales Rate, WD and Net Sales | Bruts | Nicolas | NICOLAS QCA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1104148551"/>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1059</a:t>
            </a:fld>
            <a:endParaRPr lang="en-US"/>
          </a:p>
        </p:txBody>
      </p:sp>
    </p:spTree>
    <p:extLst>
      <p:ext uri="{BB962C8B-B14F-4D97-AF65-F5344CB8AC3E}">
        <p14:creationId xmlns:p14="http://schemas.microsoft.com/office/powerpoint/2010/main" val="1677046722"/>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Crus | NICOLAS AQU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06</a:t>
            </a:fld>
            <a:endParaRPr lang="en-US"/>
          </a:p>
        </p:txBody>
      </p:sp>
    </p:spTree>
    <p:extLst>
      <p:ext uri="{BB962C8B-B14F-4D97-AF65-F5344CB8AC3E}">
        <p14:creationId xmlns:p14="http://schemas.microsoft.com/office/powerpoint/2010/main" val="1394033439"/>
      </p:ext>
    </p:extLst>
  </p:cSld>
  <p:clrMapOvr>
    <a:masterClrMapping/>
  </p:clrMapOvr>
</p:sld>
</file>

<file path=ppt/slides/slide10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8/27/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lnSpcReduction="10000"/>
          </a:bodyPr>
          <a:lstStyle/>
          <a:p>
            <a:pPr>
              <a:defRPr sz="1100">
                <a:latin typeface="Nexa (Headings)"/>
              </a:defRPr>
            </a:pPr>
            <a:r>
              <a:t>Product Sales Rate, WD and Net Sales | Bruts | Nicolas | NICOLAS CCP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323868170"/>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1060</a:t>
            </a:fld>
            <a:endParaRPr lang="en-US"/>
          </a:p>
        </p:txBody>
      </p:sp>
    </p:spTree>
    <p:extLst>
      <p:ext uri="{BB962C8B-B14F-4D97-AF65-F5344CB8AC3E}">
        <p14:creationId xmlns:p14="http://schemas.microsoft.com/office/powerpoint/2010/main" val="2330619684"/>
      </p:ext>
    </p:extLst>
  </p:cSld>
  <p:clrMapOvr>
    <a:masterClrMapping/>
  </p:clrMapOvr>
</p:sld>
</file>

<file path=ppt/slides/slide10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8/27/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lnSpcReduction="10000"/>
          </a:bodyPr>
          <a:lstStyle/>
          <a:p>
            <a:pPr>
              <a:defRPr sz="1100">
                <a:latin typeface="Nexa (Headings)"/>
              </a:defRPr>
            </a:pPr>
            <a:r>
              <a:t>Product Sales Rate, WD and Net Sales | Bruts | Nicolas | NICOLAS IDF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055867676"/>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1061</a:t>
            </a:fld>
            <a:endParaRPr lang="en-US"/>
          </a:p>
        </p:txBody>
      </p:sp>
    </p:spTree>
    <p:extLst>
      <p:ext uri="{BB962C8B-B14F-4D97-AF65-F5344CB8AC3E}">
        <p14:creationId xmlns:p14="http://schemas.microsoft.com/office/powerpoint/2010/main" val="1175973588"/>
      </p:ext>
    </p:extLst>
  </p:cSld>
  <p:clrMapOvr>
    <a:masterClrMapping/>
  </p:clrMapOvr>
</p:sld>
</file>

<file path=ppt/slides/slide10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8/27/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lnSpcReduction="10000"/>
          </a:bodyPr>
          <a:lstStyle/>
          <a:p>
            <a:pPr>
              <a:defRPr sz="1100">
                <a:latin typeface="Nexa (Headings)"/>
              </a:defRPr>
            </a:pPr>
            <a:r>
              <a:t>Product Sales Rate, WD and Net Sales | Bruts | Nicolas | NICOLAS PAC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517563432"/>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1062</a:t>
            </a:fld>
            <a:endParaRPr lang="en-US"/>
          </a:p>
        </p:txBody>
      </p:sp>
    </p:spTree>
    <p:extLst>
      <p:ext uri="{BB962C8B-B14F-4D97-AF65-F5344CB8AC3E}">
        <p14:creationId xmlns:p14="http://schemas.microsoft.com/office/powerpoint/2010/main" val="2758312788"/>
      </p:ext>
    </p:extLst>
  </p:cSld>
  <p:clrMapOvr>
    <a:masterClrMapping/>
  </p:clrMapOvr>
</p:sld>
</file>

<file path=ppt/slides/slide10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8/27/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lnSpcReduction="10000"/>
          </a:bodyPr>
          <a:lstStyle/>
          <a:p>
            <a:pPr>
              <a:defRPr sz="1100">
                <a:latin typeface="Nexa (Headings)"/>
              </a:defRPr>
            </a:pPr>
            <a:r>
              <a:t>Product Sales Rate, WD and Net Sales | Bruts | Nicolas | NICOLAS RHO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725109422"/>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1063</a:t>
            </a:fld>
            <a:endParaRPr lang="en-US"/>
          </a:p>
        </p:txBody>
      </p:sp>
    </p:spTree>
    <p:extLst>
      <p:ext uri="{BB962C8B-B14F-4D97-AF65-F5344CB8AC3E}">
        <p14:creationId xmlns:p14="http://schemas.microsoft.com/office/powerpoint/2010/main" val="830740347"/>
      </p:ext>
    </p:extLst>
  </p:cSld>
  <p:clrMapOvr>
    <a:masterClrMapping/>
  </p:clrMapOvr>
</p:sld>
</file>

<file path=ppt/slides/slide10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8/27/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lnSpcReduction="10000"/>
          </a:bodyPr>
          <a:lstStyle/>
          <a:p>
            <a:pPr>
              <a:defRPr sz="1100">
                <a:latin typeface="Nexa (Headings)"/>
              </a:defRPr>
            </a:pPr>
            <a:r>
              <a:t>Product Sales Rate, WD and Net Sales | Bruts | Nicolas | NICOLAS AQU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3839584751"/>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1064</a:t>
            </a:fld>
            <a:endParaRPr lang="en-US"/>
          </a:p>
        </p:txBody>
      </p:sp>
    </p:spTree>
    <p:extLst>
      <p:ext uri="{BB962C8B-B14F-4D97-AF65-F5344CB8AC3E}">
        <p14:creationId xmlns:p14="http://schemas.microsoft.com/office/powerpoint/2010/main" val="2127358311"/>
      </p:ext>
    </p:extLst>
  </p:cSld>
  <p:clrMapOvr>
    <a:masterClrMapping/>
  </p:clrMapOvr>
</p:sld>
</file>

<file path=ppt/slides/slide10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8/27/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lnSpcReduction="10000"/>
          </a:bodyPr>
          <a:lstStyle/>
          <a:p>
            <a:pPr>
              <a:defRPr sz="1100">
                <a:latin typeface="Nexa (Headings)"/>
              </a:defRPr>
            </a:pPr>
            <a:r>
              <a:t>Product Sales Rate, WD and Net Sales | Bruts | Nicolas | NICOLAS EST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3858471342"/>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1065</a:t>
            </a:fld>
            <a:endParaRPr lang="en-US"/>
          </a:p>
        </p:txBody>
      </p:sp>
    </p:spTree>
    <p:extLst>
      <p:ext uri="{BB962C8B-B14F-4D97-AF65-F5344CB8AC3E}">
        <p14:creationId xmlns:p14="http://schemas.microsoft.com/office/powerpoint/2010/main" val="2030003239"/>
      </p:ext>
    </p:extLst>
  </p:cSld>
  <p:clrMapOvr>
    <a:masterClrMapping/>
  </p:clrMapOvr>
</p:sld>
</file>

<file path=ppt/slides/slide10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8/27/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lnSpcReduction="10000"/>
          </a:bodyPr>
          <a:lstStyle/>
          <a:p>
            <a:pPr>
              <a:defRPr sz="1100">
                <a:latin typeface="Nexa (Headings)"/>
              </a:defRPr>
            </a:pPr>
            <a:r>
              <a:t>Product Sales Rate, WD and Net Sales | Bruts | Nicolas | CA A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865320499"/>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1066</a:t>
            </a:fld>
            <a:endParaRPr lang="en-US"/>
          </a:p>
        </p:txBody>
      </p:sp>
    </p:spTree>
    <p:extLst>
      <p:ext uri="{BB962C8B-B14F-4D97-AF65-F5344CB8AC3E}">
        <p14:creationId xmlns:p14="http://schemas.microsoft.com/office/powerpoint/2010/main" val="3671405276"/>
      </p:ext>
    </p:extLst>
  </p:cSld>
  <p:clrMapOvr>
    <a:masterClrMapping/>
  </p:clrMapOvr>
</p:sld>
</file>

<file path=ppt/slides/slide10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8/27/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lnSpcReduction="10000"/>
          </a:bodyPr>
          <a:lstStyle/>
          <a:p>
            <a:pPr>
              <a:defRPr sz="1100">
                <a:latin typeface="Nexa (Headings)"/>
              </a:defRPr>
            </a:pPr>
            <a:r>
              <a:t>Product Sales Rate, WD and Net Sales | Bruts | Nicolas | CA B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463754839"/>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1067</a:t>
            </a:fld>
            <a:endParaRPr lang="en-US"/>
          </a:p>
        </p:txBody>
      </p:sp>
    </p:spTree>
    <p:extLst>
      <p:ext uri="{BB962C8B-B14F-4D97-AF65-F5344CB8AC3E}">
        <p14:creationId xmlns:p14="http://schemas.microsoft.com/office/powerpoint/2010/main" val="891317633"/>
      </p:ext>
    </p:extLst>
  </p:cSld>
  <p:clrMapOvr>
    <a:masterClrMapping/>
  </p:clrMapOvr>
</p:sld>
</file>

<file path=ppt/slides/slide10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8/27/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lnSpcReduction="10000"/>
          </a:bodyPr>
          <a:lstStyle/>
          <a:p>
            <a:pPr>
              <a:defRPr sz="1100">
                <a:latin typeface="Nexa (Headings)"/>
              </a:defRPr>
            </a:pPr>
            <a:r>
              <a:t>Product Sales Rate, WD and Net Sales | Bruts | Nicolas | CA C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114070329"/>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1068</a:t>
            </a:fld>
            <a:endParaRPr lang="en-US"/>
          </a:p>
        </p:txBody>
      </p:sp>
    </p:spTree>
    <p:extLst>
      <p:ext uri="{BB962C8B-B14F-4D97-AF65-F5344CB8AC3E}">
        <p14:creationId xmlns:p14="http://schemas.microsoft.com/office/powerpoint/2010/main" val="3696613040"/>
      </p:ext>
    </p:extLst>
  </p:cSld>
  <p:clrMapOvr>
    <a:masterClrMapping/>
  </p:clrMapOvr>
</p:sld>
</file>

<file path=ppt/slides/slide10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8/27/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lnSpcReduction="10000"/>
          </a:bodyPr>
          <a:lstStyle/>
          <a:p>
            <a:pPr>
              <a:defRPr sz="1100">
                <a:latin typeface="Nexa (Headings)"/>
              </a:defRPr>
            </a:pPr>
            <a:r>
              <a:t>Product Sales Rate, WD and Net Sales | Bruts | Nicolas | CA D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334427907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1069</a:t>
            </a:fld>
            <a:endParaRPr lang="en-US"/>
          </a:p>
        </p:txBody>
      </p:sp>
    </p:spTree>
    <p:extLst>
      <p:ext uri="{BB962C8B-B14F-4D97-AF65-F5344CB8AC3E}">
        <p14:creationId xmlns:p14="http://schemas.microsoft.com/office/powerpoint/2010/main" val="2523153114"/>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Crus | NICOLAS EST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07</a:t>
            </a:fld>
            <a:endParaRPr lang="en-US"/>
          </a:p>
        </p:txBody>
      </p:sp>
    </p:spTree>
    <p:extLst>
      <p:ext uri="{BB962C8B-B14F-4D97-AF65-F5344CB8AC3E}">
        <p14:creationId xmlns:p14="http://schemas.microsoft.com/office/powerpoint/2010/main" val="2798810788"/>
      </p:ext>
    </p:extLst>
  </p:cSld>
  <p:clrMapOvr>
    <a:masterClrMapping/>
  </p:clrMapOvr>
</p:sld>
</file>

<file path=ppt/slides/slide10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8/27/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lnSpcReduction="10000"/>
          </a:bodyPr>
          <a:lstStyle/>
          <a:p>
            <a:pPr>
              <a:defRPr sz="1100">
                <a:latin typeface="Nexa (Headings)"/>
              </a:defRPr>
            </a:pPr>
            <a:r>
              <a:t>Product Sales Rate, WD and Net Sales | Bruts | Nicolas | CA E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4109551450"/>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1070</a:t>
            </a:fld>
            <a:endParaRPr lang="en-US"/>
          </a:p>
        </p:txBody>
      </p:sp>
    </p:spTree>
    <p:extLst>
      <p:ext uri="{BB962C8B-B14F-4D97-AF65-F5344CB8AC3E}">
        <p14:creationId xmlns:p14="http://schemas.microsoft.com/office/powerpoint/2010/main" val="2341942623"/>
      </p:ext>
    </p:extLst>
  </p:cSld>
  <p:clrMapOvr>
    <a:masterClrMapping/>
  </p:clrMapOvr>
</p:sld>
</file>

<file path=ppt/slides/slide10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8/27/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lnSpcReduction="10000"/>
          </a:bodyPr>
          <a:lstStyle/>
          <a:p>
            <a:pPr>
              <a:defRPr sz="1100">
                <a:latin typeface="Nexa (Headings)"/>
              </a:defRPr>
            </a:pPr>
            <a:r>
              <a:t>Product Sales Rate, WD and Net Sales | Crus | Nicolas | NICOLAS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459909508"/>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1071</a:t>
            </a:fld>
            <a:endParaRPr lang="en-US"/>
          </a:p>
        </p:txBody>
      </p:sp>
    </p:spTree>
    <p:extLst>
      <p:ext uri="{BB962C8B-B14F-4D97-AF65-F5344CB8AC3E}">
        <p14:creationId xmlns:p14="http://schemas.microsoft.com/office/powerpoint/2010/main" val="4292878928"/>
      </p:ext>
    </p:extLst>
  </p:cSld>
  <p:clrMapOvr>
    <a:masterClrMapping/>
  </p:clrMapOvr>
</p:sld>
</file>

<file path=ppt/slides/slide10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8/27/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lnSpcReduction="10000"/>
          </a:bodyPr>
          <a:lstStyle/>
          <a:p>
            <a:pPr>
              <a:defRPr sz="1100">
                <a:latin typeface="Nexa (Headings)"/>
              </a:defRPr>
            </a:pPr>
            <a:r>
              <a:t>Product Sales Rate, WD and Net Sales | Crus | Nicolas | NICOLAS QCN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624066383"/>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1072</a:t>
            </a:fld>
            <a:endParaRPr lang="en-US"/>
          </a:p>
        </p:txBody>
      </p:sp>
    </p:spTree>
    <p:extLst>
      <p:ext uri="{BB962C8B-B14F-4D97-AF65-F5344CB8AC3E}">
        <p14:creationId xmlns:p14="http://schemas.microsoft.com/office/powerpoint/2010/main" val="148589517"/>
      </p:ext>
    </p:extLst>
  </p:cSld>
  <p:clrMapOvr>
    <a:masterClrMapping/>
  </p:clrMapOvr>
</p:sld>
</file>

<file path=ppt/slides/slide10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8/27/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lnSpcReduction="10000"/>
          </a:bodyPr>
          <a:lstStyle/>
          <a:p>
            <a:pPr>
              <a:defRPr sz="1100">
                <a:latin typeface="Nexa (Headings)"/>
              </a:defRPr>
            </a:pPr>
            <a:r>
              <a:t>Product Sales Rate, WD and Net Sales | Crus | Nicolas | NICOLAS VCN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3989848067"/>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1073</a:t>
            </a:fld>
            <a:endParaRPr lang="en-US"/>
          </a:p>
        </p:txBody>
      </p:sp>
    </p:spTree>
    <p:extLst>
      <p:ext uri="{BB962C8B-B14F-4D97-AF65-F5344CB8AC3E}">
        <p14:creationId xmlns:p14="http://schemas.microsoft.com/office/powerpoint/2010/main" val="2881968554"/>
      </p:ext>
    </p:extLst>
  </p:cSld>
  <p:clrMapOvr>
    <a:masterClrMapping/>
  </p:clrMapOvr>
</p:sld>
</file>

<file path=ppt/slides/slide10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8/27/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lnSpcReduction="10000"/>
          </a:bodyPr>
          <a:lstStyle/>
          <a:p>
            <a:pPr>
              <a:defRPr sz="1100">
                <a:latin typeface="Nexa (Headings)"/>
              </a:defRPr>
            </a:pPr>
            <a:r>
              <a:t>Product Sales Rate, WD and Net Sales | Crus | Nicolas | NICOLAS QCT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551881140"/>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1074</a:t>
            </a:fld>
            <a:endParaRPr lang="en-US"/>
          </a:p>
        </p:txBody>
      </p:sp>
    </p:spTree>
    <p:extLst>
      <p:ext uri="{BB962C8B-B14F-4D97-AF65-F5344CB8AC3E}">
        <p14:creationId xmlns:p14="http://schemas.microsoft.com/office/powerpoint/2010/main" val="1057907342"/>
      </p:ext>
    </p:extLst>
  </p:cSld>
  <p:clrMapOvr>
    <a:masterClrMapping/>
  </p:clrMapOvr>
</p:sld>
</file>

<file path=ppt/slides/slide10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8/27/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lnSpcReduction="10000"/>
          </a:bodyPr>
          <a:lstStyle/>
          <a:p>
            <a:pPr>
              <a:defRPr sz="1100">
                <a:latin typeface="Nexa (Headings)"/>
              </a:defRPr>
            </a:pPr>
            <a:r>
              <a:t>Product Sales Rate, WD and Net Sales | Crus | Nicolas | NICOLAS QCA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449134285"/>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1075</a:t>
            </a:fld>
            <a:endParaRPr lang="en-US"/>
          </a:p>
        </p:txBody>
      </p:sp>
    </p:spTree>
    <p:extLst>
      <p:ext uri="{BB962C8B-B14F-4D97-AF65-F5344CB8AC3E}">
        <p14:creationId xmlns:p14="http://schemas.microsoft.com/office/powerpoint/2010/main" val="1420851302"/>
      </p:ext>
    </p:extLst>
  </p:cSld>
  <p:clrMapOvr>
    <a:masterClrMapping/>
  </p:clrMapOvr>
</p:sld>
</file>

<file path=ppt/slides/slide10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8/27/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lnSpcReduction="10000"/>
          </a:bodyPr>
          <a:lstStyle/>
          <a:p>
            <a:pPr>
              <a:defRPr sz="1100">
                <a:latin typeface="Nexa (Headings)"/>
              </a:defRPr>
            </a:pPr>
            <a:r>
              <a:t>Product Sales Rate, WD and Net Sales | Crus | Nicolas | NICOLAS IDF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769844613"/>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1076</a:t>
            </a:fld>
            <a:endParaRPr lang="en-US"/>
          </a:p>
        </p:txBody>
      </p:sp>
    </p:spTree>
    <p:extLst>
      <p:ext uri="{BB962C8B-B14F-4D97-AF65-F5344CB8AC3E}">
        <p14:creationId xmlns:p14="http://schemas.microsoft.com/office/powerpoint/2010/main" val="391142377"/>
      </p:ext>
    </p:extLst>
  </p:cSld>
  <p:clrMapOvr>
    <a:masterClrMapping/>
  </p:clrMapOvr>
</p:sld>
</file>

<file path=ppt/slides/slide10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8/27/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lnSpcReduction="10000"/>
          </a:bodyPr>
          <a:lstStyle/>
          <a:p>
            <a:pPr>
              <a:defRPr sz="1100">
                <a:latin typeface="Nexa (Headings)"/>
              </a:defRPr>
            </a:pPr>
            <a:r>
              <a:t>Product Sales Rate, WD and Net Sales | Crus | Nicolas | NICOLAS PAC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756780331"/>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1077</a:t>
            </a:fld>
            <a:endParaRPr lang="en-US"/>
          </a:p>
        </p:txBody>
      </p:sp>
    </p:spTree>
    <p:extLst>
      <p:ext uri="{BB962C8B-B14F-4D97-AF65-F5344CB8AC3E}">
        <p14:creationId xmlns:p14="http://schemas.microsoft.com/office/powerpoint/2010/main" val="1676648690"/>
      </p:ext>
    </p:extLst>
  </p:cSld>
  <p:clrMapOvr>
    <a:masterClrMapping/>
  </p:clrMapOvr>
</p:sld>
</file>

<file path=ppt/slides/slide10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8/27/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lnSpcReduction="10000"/>
          </a:bodyPr>
          <a:lstStyle/>
          <a:p>
            <a:pPr>
              <a:defRPr sz="1100">
                <a:latin typeface="Nexa (Headings)"/>
              </a:defRPr>
            </a:pPr>
            <a:r>
              <a:t>Product Sales Rate, WD and Net Sales | Crus | Nicolas | NICOLAS RHO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593425617"/>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1078</a:t>
            </a:fld>
            <a:endParaRPr lang="en-US"/>
          </a:p>
        </p:txBody>
      </p:sp>
    </p:spTree>
    <p:extLst>
      <p:ext uri="{BB962C8B-B14F-4D97-AF65-F5344CB8AC3E}">
        <p14:creationId xmlns:p14="http://schemas.microsoft.com/office/powerpoint/2010/main" val="1015796993"/>
      </p:ext>
    </p:extLst>
  </p:cSld>
  <p:clrMapOvr>
    <a:masterClrMapping/>
  </p:clrMapOvr>
</p:sld>
</file>

<file path=ppt/slides/slide10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8/27/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lnSpcReduction="10000"/>
          </a:bodyPr>
          <a:lstStyle/>
          <a:p>
            <a:pPr>
              <a:defRPr sz="1100">
                <a:latin typeface="Nexa (Headings)"/>
              </a:defRPr>
            </a:pPr>
            <a:r>
              <a:t>Product Sales Rate, WD and Net Sales | Crus | Nicolas | NICOLAS AQU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4245283673"/>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1079</a:t>
            </a:fld>
            <a:endParaRPr lang="en-US"/>
          </a:p>
        </p:txBody>
      </p:sp>
    </p:spTree>
    <p:extLst>
      <p:ext uri="{BB962C8B-B14F-4D97-AF65-F5344CB8AC3E}">
        <p14:creationId xmlns:p14="http://schemas.microsoft.com/office/powerpoint/2010/main" val="4195682952"/>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Crus | CA A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08</a:t>
            </a:fld>
            <a:endParaRPr lang="en-US"/>
          </a:p>
        </p:txBody>
      </p:sp>
    </p:spTree>
    <p:extLst>
      <p:ext uri="{BB962C8B-B14F-4D97-AF65-F5344CB8AC3E}">
        <p14:creationId xmlns:p14="http://schemas.microsoft.com/office/powerpoint/2010/main" val="4035557475"/>
      </p:ext>
    </p:extLst>
  </p:cSld>
  <p:clrMapOvr>
    <a:masterClrMapping/>
  </p:clrMapOvr>
</p:sld>
</file>

<file path=ppt/slides/slide10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8/27/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lnSpcReduction="10000"/>
          </a:bodyPr>
          <a:lstStyle/>
          <a:p>
            <a:pPr>
              <a:defRPr sz="1100">
                <a:latin typeface="Nexa (Headings)"/>
              </a:defRPr>
            </a:pPr>
            <a:r>
              <a:t>Product Sales Rate, WD and Net Sales | Crus | Nicolas | CA A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3972283159"/>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1080</a:t>
            </a:fld>
            <a:endParaRPr lang="en-US"/>
          </a:p>
        </p:txBody>
      </p:sp>
    </p:spTree>
    <p:extLst>
      <p:ext uri="{BB962C8B-B14F-4D97-AF65-F5344CB8AC3E}">
        <p14:creationId xmlns:p14="http://schemas.microsoft.com/office/powerpoint/2010/main" val="3778067699"/>
      </p:ext>
    </p:extLst>
  </p:cSld>
  <p:clrMapOvr>
    <a:masterClrMapping/>
  </p:clrMapOvr>
</p:sld>
</file>

<file path=ppt/slides/slide10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8/27/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lnSpcReduction="10000"/>
          </a:bodyPr>
          <a:lstStyle/>
          <a:p>
            <a:pPr>
              <a:defRPr sz="1100">
                <a:latin typeface="Nexa (Headings)"/>
              </a:defRPr>
            </a:pPr>
            <a:r>
              <a:t>Product Sales Rate, WD and Net Sales | Crus | Nicolas | CA B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42059103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1081</a:t>
            </a:fld>
            <a:endParaRPr lang="en-US"/>
          </a:p>
        </p:txBody>
      </p:sp>
    </p:spTree>
    <p:extLst>
      <p:ext uri="{BB962C8B-B14F-4D97-AF65-F5344CB8AC3E}">
        <p14:creationId xmlns:p14="http://schemas.microsoft.com/office/powerpoint/2010/main" val="3039801580"/>
      </p:ext>
    </p:extLst>
  </p:cSld>
  <p:clrMapOvr>
    <a:masterClrMapping/>
  </p:clrMapOvr>
</p:sld>
</file>

<file path=ppt/slides/slide10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8/27/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lnSpcReduction="10000"/>
          </a:bodyPr>
          <a:lstStyle/>
          <a:p>
            <a:pPr>
              <a:defRPr sz="1100">
                <a:latin typeface="Nexa (Headings)"/>
              </a:defRPr>
            </a:pPr>
            <a:r>
              <a:t>Product Sales Rate, WD and Net Sales | Crus | Nicolas | CA C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1670903115"/>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1082</a:t>
            </a:fld>
            <a:endParaRPr lang="en-US"/>
          </a:p>
        </p:txBody>
      </p:sp>
    </p:spTree>
    <p:extLst>
      <p:ext uri="{BB962C8B-B14F-4D97-AF65-F5344CB8AC3E}">
        <p14:creationId xmlns:p14="http://schemas.microsoft.com/office/powerpoint/2010/main" val="863107172"/>
      </p:ext>
    </p:extLst>
  </p:cSld>
  <p:clrMapOvr>
    <a:masterClrMapping/>
  </p:clrMapOvr>
</p:sld>
</file>

<file path=ppt/slides/slide10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8/27/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lnSpcReduction="10000"/>
          </a:bodyPr>
          <a:lstStyle/>
          <a:p>
            <a:pPr>
              <a:defRPr sz="1100">
                <a:latin typeface="Nexa (Headings)"/>
              </a:defRPr>
            </a:pPr>
            <a:r>
              <a:t>Product Sales Rate, WD and Net Sales | Crus | Nicolas | CA D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517243799"/>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1083</a:t>
            </a:fld>
            <a:endParaRPr lang="en-US"/>
          </a:p>
        </p:txBody>
      </p:sp>
    </p:spTree>
    <p:extLst>
      <p:ext uri="{BB962C8B-B14F-4D97-AF65-F5344CB8AC3E}">
        <p14:creationId xmlns:p14="http://schemas.microsoft.com/office/powerpoint/2010/main" val="3967199894"/>
      </p:ext>
    </p:extLst>
  </p:cSld>
  <p:clrMapOvr>
    <a:masterClrMapping/>
  </p:clrMapOvr>
</p:sld>
</file>

<file path=ppt/slides/slide10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8/27/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lnSpcReduction="10000"/>
          </a:bodyPr>
          <a:lstStyle/>
          <a:p>
            <a:pPr>
              <a:defRPr sz="1100">
                <a:latin typeface="Nexa (Headings)"/>
              </a:defRPr>
            </a:pPr>
            <a:r>
              <a:t>Product Sales Rate, WD and Net Sales | Crus | Nicolas | CA E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666866338"/>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1084</a:t>
            </a:fld>
            <a:endParaRPr lang="en-US"/>
          </a:p>
        </p:txBody>
      </p:sp>
    </p:spTree>
    <p:extLst>
      <p:ext uri="{BB962C8B-B14F-4D97-AF65-F5344CB8AC3E}">
        <p14:creationId xmlns:p14="http://schemas.microsoft.com/office/powerpoint/2010/main" val="3746535213"/>
      </p:ext>
    </p:extLst>
  </p:cSld>
  <p:clrMapOvr>
    <a:masterClrMapping/>
  </p:clrMapOvr>
</p:sld>
</file>

<file path=ppt/slides/slide10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8/27/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lnSpcReduction="10000"/>
          </a:bodyPr>
          <a:lstStyle/>
          <a:p>
            <a:pPr>
              <a:defRPr sz="1100">
                <a:latin typeface="Nexa (Headings)"/>
              </a:defRPr>
            </a:pPr>
            <a:r>
              <a:t>Product Sales Rate, WD and Net Sales | Rosés | Nicolas | NICOLAS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1983536069"/>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1085</a:t>
            </a:fld>
            <a:endParaRPr lang="en-US"/>
          </a:p>
        </p:txBody>
      </p:sp>
    </p:spTree>
    <p:extLst>
      <p:ext uri="{BB962C8B-B14F-4D97-AF65-F5344CB8AC3E}">
        <p14:creationId xmlns:p14="http://schemas.microsoft.com/office/powerpoint/2010/main" val="3180573744"/>
      </p:ext>
    </p:extLst>
  </p:cSld>
  <p:clrMapOvr>
    <a:masterClrMapping/>
  </p:clrMapOvr>
</p:sld>
</file>

<file path=ppt/slides/slide10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8/27/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lnSpcReduction="10000"/>
          </a:bodyPr>
          <a:lstStyle/>
          <a:p>
            <a:pPr>
              <a:defRPr sz="1100">
                <a:latin typeface="Nexa (Headings)"/>
              </a:defRPr>
            </a:pPr>
            <a:r>
              <a:t>Product Sales Rate, WD and Net Sales | Rosés | Nicolas | NICOLAS QCN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3462704545"/>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1086</a:t>
            </a:fld>
            <a:endParaRPr lang="en-US"/>
          </a:p>
        </p:txBody>
      </p:sp>
    </p:spTree>
    <p:extLst>
      <p:ext uri="{BB962C8B-B14F-4D97-AF65-F5344CB8AC3E}">
        <p14:creationId xmlns:p14="http://schemas.microsoft.com/office/powerpoint/2010/main" val="2154304186"/>
      </p:ext>
    </p:extLst>
  </p:cSld>
  <p:clrMapOvr>
    <a:masterClrMapping/>
  </p:clrMapOvr>
</p:sld>
</file>

<file path=ppt/slides/slide10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8/27/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lnSpcReduction="10000"/>
          </a:bodyPr>
          <a:lstStyle/>
          <a:p>
            <a:pPr>
              <a:defRPr sz="1100">
                <a:latin typeface="Nexa (Headings)"/>
              </a:defRPr>
            </a:pPr>
            <a:r>
              <a:t>Product Sales Rate, WD and Net Sales | Rosés | Nicolas | NICOLAS VCN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856515297"/>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1087</a:t>
            </a:fld>
            <a:endParaRPr lang="en-US"/>
          </a:p>
        </p:txBody>
      </p:sp>
    </p:spTree>
    <p:extLst>
      <p:ext uri="{BB962C8B-B14F-4D97-AF65-F5344CB8AC3E}">
        <p14:creationId xmlns:p14="http://schemas.microsoft.com/office/powerpoint/2010/main" val="430961009"/>
      </p:ext>
    </p:extLst>
  </p:cSld>
  <p:clrMapOvr>
    <a:masterClrMapping/>
  </p:clrMapOvr>
</p:sld>
</file>

<file path=ppt/slides/slide10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8/27/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lnSpcReduction="10000"/>
          </a:bodyPr>
          <a:lstStyle/>
          <a:p>
            <a:pPr>
              <a:defRPr sz="1100">
                <a:latin typeface="Nexa (Headings)"/>
              </a:defRPr>
            </a:pPr>
            <a:r>
              <a:t>Product Sales Rate, WD and Net Sales | Rosés | Nicolas | NICOLAS QCT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114579219"/>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1088</a:t>
            </a:fld>
            <a:endParaRPr lang="en-US"/>
          </a:p>
        </p:txBody>
      </p:sp>
    </p:spTree>
    <p:extLst>
      <p:ext uri="{BB962C8B-B14F-4D97-AF65-F5344CB8AC3E}">
        <p14:creationId xmlns:p14="http://schemas.microsoft.com/office/powerpoint/2010/main" val="3211701050"/>
      </p:ext>
    </p:extLst>
  </p:cSld>
  <p:clrMapOvr>
    <a:masterClrMapping/>
  </p:clrMapOvr>
</p:sld>
</file>

<file path=ppt/slides/slide10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8/27/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lnSpcReduction="10000"/>
          </a:bodyPr>
          <a:lstStyle/>
          <a:p>
            <a:pPr>
              <a:defRPr sz="1100">
                <a:latin typeface="Nexa (Headings)"/>
              </a:defRPr>
            </a:pPr>
            <a:r>
              <a:t>Product Sales Rate, WD and Net Sales | Rosés | Nicolas | NICOLAS QCA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838295991"/>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1089</a:t>
            </a:fld>
            <a:endParaRPr lang="en-US"/>
          </a:p>
        </p:txBody>
      </p:sp>
    </p:spTree>
    <p:extLst>
      <p:ext uri="{BB962C8B-B14F-4D97-AF65-F5344CB8AC3E}">
        <p14:creationId xmlns:p14="http://schemas.microsoft.com/office/powerpoint/2010/main" val="3202587587"/>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Crus | CA B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09</a:t>
            </a:fld>
            <a:endParaRPr lang="en-US"/>
          </a:p>
        </p:txBody>
      </p:sp>
    </p:spTree>
    <p:extLst>
      <p:ext uri="{BB962C8B-B14F-4D97-AF65-F5344CB8AC3E}">
        <p14:creationId xmlns:p14="http://schemas.microsoft.com/office/powerpoint/2010/main" val="2439453714"/>
      </p:ext>
    </p:extLst>
  </p:cSld>
  <p:clrMapOvr>
    <a:masterClrMapping/>
  </p:clrMapOvr>
</p:sld>
</file>

<file path=ppt/slides/slide10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8/27/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lnSpcReduction="10000"/>
          </a:bodyPr>
          <a:lstStyle/>
          <a:p>
            <a:pPr>
              <a:defRPr sz="1100">
                <a:latin typeface="Nexa (Headings)"/>
              </a:defRPr>
            </a:pPr>
            <a:r>
              <a:t>Product Sales Rate, WD and Net Sales | Rosés | Nicolas | NICOLAS CCP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4062549193"/>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1090</a:t>
            </a:fld>
            <a:endParaRPr lang="en-US"/>
          </a:p>
        </p:txBody>
      </p:sp>
    </p:spTree>
    <p:extLst>
      <p:ext uri="{BB962C8B-B14F-4D97-AF65-F5344CB8AC3E}">
        <p14:creationId xmlns:p14="http://schemas.microsoft.com/office/powerpoint/2010/main" val="2519026882"/>
      </p:ext>
    </p:extLst>
  </p:cSld>
  <p:clrMapOvr>
    <a:masterClrMapping/>
  </p:clrMapOvr>
</p:sld>
</file>

<file path=ppt/slides/slide10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8/27/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lnSpcReduction="10000"/>
          </a:bodyPr>
          <a:lstStyle/>
          <a:p>
            <a:pPr>
              <a:defRPr sz="1100">
                <a:latin typeface="Nexa (Headings)"/>
              </a:defRPr>
            </a:pPr>
            <a:r>
              <a:t>Product Sales Rate, WD and Net Sales | Rosés | Nicolas | NICOLAS IDF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3159664905"/>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1091</a:t>
            </a:fld>
            <a:endParaRPr lang="en-US"/>
          </a:p>
        </p:txBody>
      </p:sp>
    </p:spTree>
    <p:extLst>
      <p:ext uri="{BB962C8B-B14F-4D97-AF65-F5344CB8AC3E}">
        <p14:creationId xmlns:p14="http://schemas.microsoft.com/office/powerpoint/2010/main" val="4099782620"/>
      </p:ext>
    </p:extLst>
  </p:cSld>
  <p:clrMapOvr>
    <a:masterClrMapping/>
  </p:clrMapOvr>
</p:sld>
</file>

<file path=ppt/slides/slide10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8/27/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lnSpcReduction="10000"/>
          </a:bodyPr>
          <a:lstStyle/>
          <a:p>
            <a:pPr>
              <a:defRPr sz="1100">
                <a:latin typeface="Nexa (Headings)"/>
              </a:defRPr>
            </a:pPr>
            <a:r>
              <a:t>Product Sales Rate, WD and Net Sales | Rosés | Nicolas | NICOLAS PAC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128541692"/>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1092</a:t>
            </a:fld>
            <a:endParaRPr lang="en-US"/>
          </a:p>
        </p:txBody>
      </p:sp>
    </p:spTree>
    <p:extLst>
      <p:ext uri="{BB962C8B-B14F-4D97-AF65-F5344CB8AC3E}">
        <p14:creationId xmlns:p14="http://schemas.microsoft.com/office/powerpoint/2010/main" val="1218827382"/>
      </p:ext>
    </p:extLst>
  </p:cSld>
  <p:clrMapOvr>
    <a:masterClrMapping/>
  </p:clrMapOvr>
</p:sld>
</file>

<file path=ppt/slides/slide10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8/27/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lnSpcReduction="10000"/>
          </a:bodyPr>
          <a:lstStyle/>
          <a:p>
            <a:pPr>
              <a:defRPr sz="1100">
                <a:latin typeface="Nexa (Headings)"/>
              </a:defRPr>
            </a:pPr>
            <a:r>
              <a:t>Product Sales Rate, WD and Net Sales | Rosés | Nicolas | NICOLAS RHO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1862281249"/>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1093</a:t>
            </a:fld>
            <a:endParaRPr lang="en-US"/>
          </a:p>
        </p:txBody>
      </p:sp>
    </p:spTree>
    <p:extLst>
      <p:ext uri="{BB962C8B-B14F-4D97-AF65-F5344CB8AC3E}">
        <p14:creationId xmlns:p14="http://schemas.microsoft.com/office/powerpoint/2010/main" val="29907504"/>
      </p:ext>
    </p:extLst>
  </p:cSld>
  <p:clrMapOvr>
    <a:masterClrMapping/>
  </p:clrMapOvr>
</p:sld>
</file>

<file path=ppt/slides/slide10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8/27/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lnSpcReduction="10000"/>
          </a:bodyPr>
          <a:lstStyle/>
          <a:p>
            <a:pPr>
              <a:defRPr sz="1100">
                <a:latin typeface="Nexa (Headings)"/>
              </a:defRPr>
            </a:pPr>
            <a:r>
              <a:t>Product Sales Rate, WD and Net Sales | Rosés | Nicolas | NICOLAS AQU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1955473415"/>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1094</a:t>
            </a:fld>
            <a:endParaRPr lang="en-US"/>
          </a:p>
        </p:txBody>
      </p:sp>
    </p:spTree>
    <p:extLst>
      <p:ext uri="{BB962C8B-B14F-4D97-AF65-F5344CB8AC3E}">
        <p14:creationId xmlns:p14="http://schemas.microsoft.com/office/powerpoint/2010/main" val="237483292"/>
      </p:ext>
    </p:extLst>
  </p:cSld>
  <p:clrMapOvr>
    <a:masterClrMapping/>
  </p:clrMapOvr>
</p:sld>
</file>

<file path=ppt/slides/slide10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8/27/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lnSpcReduction="10000"/>
          </a:bodyPr>
          <a:lstStyle/>
          <a:p>
            <a:pPr>
              <a:defRPr sz="1100">
                <a:latin typeface="Nexa (Headings)"/>
              </a:defRPr>
            </a:pPr>
            <a:r>
              <a:t>Product Sales Rate, WD and Net Sales | Rosés | Nicolas | NICOLAS EST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4222033841"/>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1095</a:t>
            </a:fld>
            <a:endParaRPr lang="en-US"/>
          </a:p>
        </p:txBody>
      </p:sp>
    </p:spTree>
    <p:extLst>
      <p:ext uri="{BB962C8B-B14F-4D97-AF65-F5344CB8AC3E}">
        <p14:creationId xmlns:p14="http://schemas.microsoft.com/office/powerpoint/2010/main" val="2919582392"/>
      </p:ext>
    </p:extLst>
  </p:cSld>
  <p:clrMapOvr>
    <a:masterClrMapping/>
  </p:clrMapOvr>
</p:sld>
</file>

<file path=ppt/slides/slide10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8/27/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lnSpcReduction="10000"/>
          </a:bodyPr>
          <a:lstStyle/>
          <a:p>
            <a:pPr>
              <a:defRPr sz="1100">
                <a:latin typeface="Nexa (Headings)"/>
              </a:defRPr>
            </a:pPr>
            <a:r>
              <a:t>Product Sales Rate, WD and Net Sales | Rosés | Nicolas | CA A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117286604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1096</a:t>
            </a:fld>
            <a:endParaRPr lang="en-US"/>
          </a:p>
        </p:txBody>
      </p:sp>
    </p:spTree>
    <p:extLst>
      <p:ext uri="{BB962C8B-B14F-4D97-AF65-F5344CB8AC3E}">
        <p14:creationId xmlns:p14="http://schemas.microsoft.com/office/powerpoint/2010/main" val="4272195076"/>
      </p:ext>
    </p:extLst>
  </p:cSld>
  <p:clrMapOvr>
    <a:masterClrMapping/>
  </p:clrMapOvr>
</p:sld>
</file>

<file path=ppt/slides/slide10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8/27/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lnSpcReduction="10000"/>
          </a:bodyPr>
          <a:lstStyle/>
          <a:p>
            <a:pPr>
              <a:defRPr sz="1100">
                <a:latin typeface="Nexa (Headings)"/>
              </a:defRPr>
            </a:pPr>
            <a:r>
              <a:t>Product Sales Rate, WD and Net Sales | Rosés | Nicolas | CA B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3080294709"/>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1097</a:t>
            </a:fld>
            <a:endParaRPr lang="en-US"/>
          </a:p>
        </p:txBody>
      </p:sp>
    </p:spTree>
    <p:extLst>
      <p:ext uri="{BB962C8B-B14F-4D97-AF65-F5344CB8AC3E}">
        <p14:creationId xmlns:p14="http://schemas.microsoft.com/office/powerpoint/2010/main" val="2216276083"/>
      </p:ext>
    </p:extLst>
  </p:cSld>
  <p:clrMapOvr>
    <a:masterClrMapping/>
  </p:clrMapOvr>
</p:sld>
</file>

<file path=ppt/slides/slide10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8/27/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lnSpcReduction="10000"/>
          </a:bodyPr>
          <a:lstStyle/>
          <a:p>
            <a:pPr>
              <a:defRPr sz="1100">
                <a:latin typeface="Nexa (Headings)"/>
              </a:defRPr>
            </a:pPr>
            <a:r>
              <a:t>Product Sales Rate, WD and Net Sales | Rosés | Nicolas | CA C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1679634567"/>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1098</a:t>
            </a:fld>
            <a:endParaRPr lang="en-US"/>
          </a:p>
        </p:txBody>
      </p:sp>
    </p:spTree>
    <p:extLst>
      <p:ext uri="{BB962C8B-B14F-4D97-AF65-F5344CB8AC3E}">
        <p14:creationId xmlns:p14="http://schemas.microsoft.com/office/powerpoint/2010/main" val="367121820"/>
      </p:ext>
    </p:extLst>
  </p:cSld>
  <p:clrMapOvr>
    <a:masterClrMapping/>
  </p:clrMapOvr>
</p:sld>
</file>

<file path=ppt/slides/slide10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8/27/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lnSpcReduction="10000"/>
          </a:bodyPr>
          <a:lstStyle/>
          <a:p>
            <a:pPr>
              <a:defRPr sz="1100">
                <a:latin typeface="Nexa (Headings)"/>
              </a:defRPr>
            </a:pPr>
            <a:r>
              <a:t>Product Sales Rate, WD and Net Sales | Rosés | Nicolas | CA D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1807239261"/>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1099</a:t>
            </a:fld>
            <a:endParaRPr lang="en-US"/>
          </a:p>
        </p:txBody>
      </p:sp>
    </p:spTree>
    <p:extLst>
      <p:ext uri="{BB962C8B-B14F-4D97-AF65-F5344CB8AC3E}">
        <p14:creationId xmlns:p14="http://schemas.microsoft.com/office/powerpoint/2010/main" val="65679270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Effervescents | NICOLAS EST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1</a:t>
            </a:fld>
            <a:endParaRPr lang="en-US"/>
          </a:p>
        </p:txBody>
      </p:sp>
    </p:spTree>
    <p:extLst>
      <p:ext uri="{BB962C8B-B14F-4D97-AF65-F5344CB8AC3E}">
        <p14:creationId xmlns:p14="http://schemas.microsoft.com/office/powerpoint/2010/main" val="2396534990"/>
      </p:ext>
    </p:extLst>
  </p:cSld>
  <p:clrMapOvr>
    <a:masterClrMapping/>
  </p:clrMapOvr>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Crus | CA C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10</a:t>
            </a:fld>
            <a:endParaRPr lang="en-US"/>
          </a:p>
        </p:txBody>
      </p:sp>
    </p:spTree>
    <p:extLst>
      <p:ext uri="{BB962C8B-B14F-4D97-AF65-F5344CB8AC3E}">
        <p14:creationId xmlns:p14="http://schemas.microsoft.com/office/powerpoint/2010/main" val="813868715"/>
      </p:ext>
    </p:extLst>
  </p:cSld>
  <p:clrMapOvr>
    <a:masterClrMapping/>
  </p:clrMapOvr>
</p:sld>
</file>

<file path=ppt/slides/slide1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8/27/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lnSpcReduction="10000"/>
          </a:bodyPr>
          <a:lstStyle/>
          <a:p>
            <a:pPr>
              <a:defRPr sz="1100">
                <a:latin typeface="Nexa (Headings)"/>
              </a:defRPr>
            </a:pPr>
            <a:r>
              <a:t>Product Sales Rate, WD and Net Sales | Rosés | Nicolas | CA E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1312866696"/>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1100</a:t>
            </a:fld>
            <a:endParaRPr lang="en-US"/>
          </a:p>
        </p:txBody>
      </p:sp>
    </p:spTree>
    <p:extLst>
      <p:ext uri="{BB962C8B-B14F-4D97-AF65-F5344CB8AC3E}">
        <p14:creationId xmlns:p14="http://schemas.microsoft.com/office/powerpoint/2010/main" val="3008289106"/>
      </p:ext>
    </p:extLst>
  </p:cSld>
  <p:clrMapOvr>
    <a:masterClrMapping/>
  </p:clrMapOvr>
</p:sld>
</file>

<file path=ppt/slides/slide1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8/27/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pPr>
              <a:defRPr sz="1200">
                <a:latin typeface="Nexa Bold (Headings)"/>
              </a:defRPr>
            </a:pPr>
            <a:r>
              <a:t>Sector fair share | Effervescents | Malard Nicolas | NICOLAS CCP | P12M</a:t>
            </a:r>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pPr>
              <a:defRPr sz="1600">
                <a:latin typeface="Nexa Bold (Headings)"/>
              </a:defRPr>
            </a:pPr>
            <a:r>
              <a:rPr lang="en-GB" dirty="0">
                <a:highlight>
                  <a:srgbClr val="FFFF00"/>
                </a:highlight>
              </a:rPr>
              <a:t>Sector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Malard Nicolas </a:t>
                      </a:r>
                    </a:p>
                    <a:p>
                      <a:pPr algn="ctr">
                        <a:defRPr sz="900" b="1">
                          <a:latin typeface="Nexa (Headings)"/>
                        </a:defRPr>
                      </a:pPr>
                      <a: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Malard Nicolas </a:t>
                      </a:r>
                    </a:p>
                    <a:p>
                      <a:pPr algn="ctr">
                        <a:defRPr sz="900" b="1">
                          <a:latin typeface="Nexa (Headings)"/>
                        </a:defRPr>
                      </a:pPr>
                      <a: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Malard Nicolas </a:t>
                      </a:r>
                    </a:p>
                    <a:p>
                      <a:pPr algn="ctr">
                        <a:defRPr sz="900" b="1">
                          <a:latin typeface="Nexa (Headings)"/>
                        </a:defRPr>
                      </a:pPr>
                      <a: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Malard Nicolas </a:t>
                      </a:r>
                    </a:p>
                    <a:p>
                      <a:pPr algn="ctr">
                        <a:defRPr sz="900" b="1">
                          <a:latin typeface="Nexa (Headings)"/>
                        </a:defRPr>
                      </a:pPr>
                      <a: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Malard Nicolas</a:t>
                      </a:r>
                    </a:p>
                    <a:p>
                      <a:pPr algn="ctr">
                        <a:defRPr sz="900" b="1">
                          <a:latin typeface="Nexa (Headings)"/>
                        </a:defRPr>
                      </a:pPr>
                      <a: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831402">
                <a:tc>
                  <a:txBody>
                    <a:bodyPr/>
                    <a:lstStyle/>
                    <a:p>
                      <a:pPr algn="ctr">
                        <a:defRPr sz="800" b="1">
                          <a:latin typeface="Nexa (Headings)"/>
                        </a:defRPr>
                      </a:pPr>
                      <a:r>
                        <a:t>Grand Total</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11</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8</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8%</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8%</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7</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831402">
                <a:tc>
                  <a:txBody>
                    <a:bodyPr/>
                    <a:lstStyle/>
                    <a:p>
                      <a:pPr algn="ctr">
                        <a:defRPr sz="800" b="1">
                          <a:latin typeface="Nexa (Headings)"/>
                        </a:defRPr>
                      </a:pPr>
                      <a:r>
                        <a:t>Mousseux</a:t>
                      </a:r>
                    </a:p>
                  </a:txBody>
                  <a:tcPr marL="3810" marR="3810" marT="3810" marB="0" anchor="ctr">
                    <a:noFill/>
                  </a:tcPr>
                </a:tc>
                <a:tc>
                  <a:txBody>
                    <a:bodyPr/>
                    <a:lstStyle/>
                    <a:p>
                      <a:pPr algn="ctr">
                        <a:defRPr sz="800">
                          <a:latin typeface="Nexa Book"/>
                        </a:defRPr>
                      </a:pPr>
                      <a:r>
                        <a:t>18</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3161381"/>
                  </a:ext>
                </a:extLst>
              </a:tr>
              <a:tr h="831402">
                <a:tc>
                  <a:txBody>
                    <a:bodyPr/>
                    <a:lstStyle/>
                    <a:p>
                      <a:pPr algn="ctr">
                        <a:defRPr sz="800" b="1">
                          <a:latin typeface="Nexa (Headings)"/>
                        </a:defRPr>
                      </a:pPr>
                      <a:r>
                        <a:t>Champagnes</a:t>
                      </a:r>
                    </a:p>
                  </a:txBody>
                  <a:tcPr marL="3810" marR="3810" marT="3810" marB="0" anchor="ctr">
                    <a:noFill/>
                  </a:tcPr>
                </a:tc>
                <a:tc>
                  <a:txBody>
                    <a:bodyPr/>
                    <a:lstStyle/>
                    <a:p>
                      <a:pPr algn="ctr">
                        <a:defRPr sz="800">
                          <a:latin typeface="Nexa Book"/>
                        </a:defRPr>
                      </a:pPr>
                      <a:r>
                        <a:t>90</a:t>
                      </a:r>
                    </a:p>
                  </a:txBody>
                  <a:tcPr marL="3810" marR="3810" marT="3810" marB="0" anchor="ctr">
                    <a:noFill/>
                  </a:tcPr>
                </a:tc>
                <a:tc>
                  <a:txBody>
                    <a:bodyPr/>
                    <a:lstStyle/>
                    <a:p>
                      <a:pPr algn="ctr">
                        <a:defRPr sz="800">
                          <a:latin typeface="Nexa Book"/>
                        </a:defRPr>
                      </a:pPr>
                      <a:r>
                        <a:t>8</a:t>
                      </a:r>
                    </a:p>
                  </a:txBody>
                  <a:tcPr marL="3810" marR="3810" marT="3810" marB="0" anchor="ctr">
                    <a:noFill/>
                  </a:tcPr>
                </a:tc>
                <a:tc>
                  <a:txBody>
                    <a:bodyPr/>
                    <a:lstStyle/>
                    <a:p>
                      <a:pPr algn="ctr">
                        <a:defRPr sz="800">
                          <a:latin typeface="Nexa Book"/>
                        </a:defRPr>
                      </a:pPr>
                      <a:r>
                        <a:t>8%</a:t>
                      </a:r>
                    </a:p>
                  </a:txBody>
                  <a:tcPr marL="3810" marR="3810" marT="3810" marB="0" anchor="ctr">
                    <a:noFill/>
                  </a:tcPr>
                </a:tc>
                <a:tc>
                  <a:txBody>
                    <a:bodyPr/>
                    <a:lstStyle/>
                    <a:p>
                      <a:pPr algn="ctr">
                        <a:defRPr sz="800">
                          <a:latin typeface="Nexa Book"/>
                        </a:defRPr>
                      </a:pPr>
                      <a:r>
                        <a:t>8%</a:t>
                      </a:r>
                    </a:p>
                  </a:txBody>
                  <a:tcPr marL="3810" marR="3810" marT="3810" marB="0" anchor="ctr">
                    <a:noFill/>
                  </a:tcPr>
                </a:tc>
                <a:tc>
                  <a:txBody>
                    <a:bodyPr/>
                    <a:lstStyle/>
                    <a:p>
                      <a:pPr algn="ctr">
                        <a:defRPr sz="800">
                          <a:latin typeface="Nexa Book"/>
                        </a:defRPr>
                      </a:pPr>
                      <a:r>
                        <a:t>7</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1752397169"/>
                  </a:ext>
                </a:extLst>
              </a:tr>
              <a:tr h="831402">
                <a:tc>
                  <a:txBody>
                    <a:bodyPr/>
                    <a:lstStyle/>
                    <a:p>
                      <a:pPr algn="ctr">
                        <a:defRPr sz="800" b="1">
                          <a:latin typeface="Nexa (Headings)"/>
                        </a:defRPr>
                      </a:pPr>
                      <a:r>
                        <a:t>Effervescents Sans Alcool</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3712364869"/>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1101</a:t>
            </a:fld>
            <a:endParaRPr lang="en-US"/>
          </a:p>
        </p:txBody>
      </p:sp>
    </p:spTree>
    <p:extLst>
      <p:ext uri="{BB962C8B-B14F-4D97-AF65-F5344CB8AC3E}">
        <p14:creationId xmlns:p14="http://schemas.microsoft.com/office/powerpoint/2010/main" val="1520319807"/>
      </p:ext>
    </p:extLst>
  </p:cSld>
  <p:clrMapOvr>
    <a:masterClrMapping/>
  </p:clrMapOvr>
</p:sld>
</file>

<file path=ppt/slides/slide1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8/27/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pPr>
              <a:defRPr sz="1200">
                <a:latin typeface="Nexa Bold (Headings)"/>
              </a:defRPr>
            </a:pPr>
            <a:r>
              <a:t>Sector fair share | Effervescents | Malard Nicolas | NICOLAS VCN | P12M</a:t>
            </a:r>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pPr>
              <a:defRPr sz="1600">
                <a:latin typeface="Nexa Bold (Headings)"/>
              </a:defRPr>
            </a:pPr>
            <a:r>
              <a:rPr lang="en-GB" dirty="0">
                <a:highlight>
                  <a:srgbClr val="FFFF00"/>
                </a:highlight>
              </a:rPr>
              <a:t>Sector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Malard Nicolas </a:t>
                      </a:r>
                    </a:p>
                    <a:p>
                      <a:pPr algn="ctr">
                        <a:defRPr sz="900" b="1">
                          <a:latin typeface="Nexa (Headings)"/>
                        </a:defRPr>
                      </a:pPr>
                      <a: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Malard Nicolas </a:t>
                      </a:r>
                    </a:p>
                    <a:p>
                      <a:pPr algn="ctr">
                        <a:defRPr sz="900" b="1">
                          <a:latin typeface="Nexa (Headings)"/>
                        </a:defRPr>
                      </a:pPr>
                      <a: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Malard Nicolas </a:t>
                      </a:r>
                    </a:p>
                    <a:p>
                      <a:pPr algn="ctr">
                        <a:defRPr sz="900" b="1">
                          <a:latin typeface="Nexa (Headings)"/>
                        </a:defRPr>
                      </a:pPr>
                      <a: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Malard Nicolas </a:t>
                      </a:r>
                    </a:p>
                    <a:p>
                      <a:pPr algn="ctr">
                        <a:defRPr sz="900" b="1">
                          <a:latin typeface="Nexa (Headings)"/>
                        </a:defRPr>
                      </a:pPr>
                      <a: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Malard Nicolas</a:t>
                      </a:r>
                    </a:p>
                    <a:p>
                      <a:pPr algn="ctr">
                        <a:defRPr sz="900" b="1">
                          <a:latin typeface="Nexa (Headings)"/>
                        </a:defRPr>
                      </a:pPr>
                      <a: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831402">
                <a:tc>
                  <a:txBody>
                    <a:bodyPr/>
                    <a:lstStyle/>
                    <a:p>
                      <a:pPr algn="ctr">
                        <a:defRPr sz="800" b="1">
                          <a:latin typeface="Nexa (Headings)"/>
                        </a:defRPr>
                      </a:pPr>
                      <a:r>
                        <a:t>Grand Total</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75</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6</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0%</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0%</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6</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831402">
                <a:tc>
                  <a:txBody>
                    <a:bodyPr/>
                    <a:lstStyle/>
                    <a:p>
                      <a:pPr algn="ctr">
                        <a:defRPr sz="800" b="1">
                          <a:latin typeface="Nexa (Headings)"/>
                        </a:defRPr>
                      </a:pPr>
                      <a:r>
                        <a:t>Mousseux</a:t>
                      </a:r>
                    </a:p>
                  </a:txBody>
                  <a:tcPr marL="3810" marR="3810" marT="3810" marB="0" anchor="ctr">
                    <a:noFill/>
                  </a:tcPr>
                </a:tc>
                <a:tc>
                  <a:txBody>
                    <a:bodyPr/>
                    <a:lstStyle/>
                    <a:p>
                      <a:pPr algn="ctr">
                        <a:defRPr sz="800">
                          <a:latin typeface="Nexa Book"/>
                        </a:defRPr>
                      </a:pPr>
                      <a:r>
                        <a:t>12</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3161381"/>
                  </a:ext>
                </a:extLst>
              </a:tr>
              <a:tr h="831402">
                <a:tc>
                  <a:txBody>
                    <a:bodyPr/>
                    <a:lstStyle/>
                    <a:p>
                      <a:pPr algn="ctr">
                        <a:defRPr sz="800" b="1">
                          <a:latin typeface="Nexa (Headings)"/>
                        </a:defRPr>
                      </a:pPr>
                      <a:r>
                        <a:t>Champagnes</a:t>
                      </a:r>
                    </a:p>
                  </a:txBody>
                  <a:tcPr marL="3810" marR="3810" marT="3810" marB="0" anchor="ctr">
                    <a:noFill/>
                  </a:tcPr>
                </a:tc>
                <a:tc>
                  <a:txBody>
                    <a:bodyPr/>
                    <a:lstStyle/>
                    <a:p>
                      <a:pPr algn="ctr">
                        <a:defRPr sz="800">
                          <a:latin typeface="Nexa Book"/>
                        </a:defRPr>
                      </a:pPr>
                      <a:r>
                        <a:t>61</a:t>
                      </a:r>
                    </a:p>
                  </a:txBody>
                  <a:tcPr marL="3810" marR="3810" marT="3810" marB="0" anchor="ctr">
                    <a:noFill/>
                  </a:tcPr>
                </a:tc>
                <a:tc>
                  <a:txBody>
                    <a:bodyPr/>
                    <a:lstStyle/>
                    <a:p>
                      <a:pPr algn="ctr">
                        <a:defRPr sz="800">
                          <a:latin typeface="Nexa Book"/>
                        </a:defRPr>
                      </a:pPr>
                      <a:r>
                        <a:t>6</a:t>
                      </a:r>
                    </a:p>
                  </a:txBody>
                  <a:tcPr marL="3810" marR="3810" marT="3810" marB="0" anchor="ctr">
                    <a:noFill/>
                  </a:tcPr>
                </a:tc>
                <a:tc>
                  <a:txBody>
                    <a:bodyPr/>
                    <a:lstStyle/>
                    <a:p>
                      <a:pPr algn="ctr">
                        <a:defRPr sz="800">
                          <a:latin typeface="Nexa Book"/>
                        </a:defRPr>
                      </a:pPr>
                      <a:r>
                        <a:t>10%</a:t>
                      </a:r>
                    </a:p>
                  </a:txBody>
                  <a:tcPr marL="3810" marR="3810" marT="3810" marB="0" anchor="ctr">
                    <a:noFill/>
                  </a:tcPr>
                </a:tc>
                <a:tc>
                  <a:txBody>
                    <a:bodyPr/>
                    <a:lstStyle/>
                    <a:p>
                      <a:pPr algn="ctr">
                        <a:defRPr sz="800">
                          <a:latin typeface="Nexa Book"/>
                        </a:defRPr>
                      </a:pPr>
                      <a:r>
                        <a:t>10%</a:t>
                      </a:r>
                    </a:p>
                  </a:txBody>
                  <a:tcPr marL="3810" marR="3810" marT="3810" marB="0" anchor="ctr">
                    <a:noFill/>
                  </a:tcPr>
                </a:tc>
                <a:tc>
                  <a:txBody>
                    <a:bodyPr/>
                    <a:lstStyle/>
                    <a:p>
                      <a:pPr algn="ctr">
                        <a:defRPr sz="800">
                          <a:latin typeface="Nexa Book"/>
                        </a:defRPr>
                      </a:pPr>
                      <a:r>
                        <a:t>6</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1752397169"/>
                  </a:ext>
                </a:extLst>
              </a:tr>
              <a:tr h="831402">
                <a:tc>
                  <a:txBody>
                    <a:bodyPr/>
                    <a:lstStyle/>
                    <a:p>
                      <a:pPr algn="ctr">
                        <a:defRPr sz="800" b="1">
                          <a:latin typeface="Nexa (Headings)"/>
                        </a:defRPr>
                      </a:pPr>
                      <a:r>
                        <a:t>Effervescents Sans Alcool</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3712364869"/>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1102</a:t>
            </a:fld>
            <a:endParaRPr lang="en-US"/>
          </a:p>
        </p:txBody>
      </p:sp>
    </p:spTree>
    <p:extLst>
      <p:ext uri="{BB962C8B-B14F-4D97-AF65-F5344CB8AC3E}">
        <p14:creationId xmlns:p14="http://schemas.microsoft.com/office/powerpoint/2010/main" val="2468046839"/>
      </p:ext>
    </p:extLst>
  </p:cSld>
  <p:clrMapOvr>
    <a:masterClrMapping/>
  </p:clrMapOvr>
</p:sld>
</file>

<file path=ppt/slides/slide1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8/27/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pPr>
              <a:defRPr sz="1200">
                <a:latin typeface="Nexa Bold (Headings)"/>
              </a:defRPr>
            </a:pPr>
            <a:r>
              <a:t>Sector fair share | Effervescents | Malard Nicolas | NICOLAS QCT | P12M</a:t>
            </a:r>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pPr>
              <a:defRPr sz="1600">
                <a:latin typeface="Nexa Bold (Headings)"/>
              </a:defRPr>
            </a:pPr>
            <a:r>
              <a:rPr lang="en-GB" dirty="0">
                <a:highlight>
                  <a:srgbClr val="FFFF00"/>
                </a:highlight>
              </a:rPr>
              <a:t>Sector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Malard Nicolas </a:t>
                      </a:r>
                    </a:p>
                    <a:p>
                      <a:pPr algn="ctr">
                        <a:defRPr sz="900" b="1">
                          <a:latin typeface="Nexa (Headings)"/>
                        </a:defRPr>
                      </a:pPr>
                      <a: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Malard Nicolas </a:t>
                      </a:r>
                    </a:p>
                    <a:p>
                      <a:pPr algn="ctr">
                        <a:defRPr sz="900" b="1">
                          <a:latin typeface="Nexa (Headings)"/>
                        </a:defRPr>
                      </a:pPr>
                      <a: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Malard Nicolas </a:t>
                      </a:r>
                    </a:p>
                    <a:p>
                      <a:pPr algn="ctr">
                        <a:defRPr sz="900" b="1">
                          <a:latin typeface="Nexa (Headings)"/>
                        </a:defRPr>
                      </a:pPr>
                      <a: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Malard Nicolas </a:t>
                      </a:r>
                    </a:p>
                    <a:p>
                      <a:pPr algn="ctr">
                        <a:defRPr sz="900" b="1">
                          <a:latin typeface="Nexa (Headings)"/>
                        </a:defRPr>
                      </a:pPr>
                      <a: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Malard Nicolas</a:t>
                      </a:r>
                    </a:p>
                    <a:p>
                      <a:pPr algn="ctr">
                        <a:defRPr sz="900" b="1">
                          <a:latin typeface="Nexa (Headings)"/>
                        </a:defRPr>
                      </a:pPr>
                      <a: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831402">
                <a:tc>
                  <a:txBody>
                    <a:bodyPr/>
                    <a:lstStyle/>
                    <a:p>
                      <a:pPr algn="ctr">
                        <a:defRPr sz="800" b="1">
                          <a:latin typeface="Nexa (Headings)"/>
                        </a:defRPr>
                      </a:pPr>
                      <a:r>
                        <a:t>Grand Total</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06</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7</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8%</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8%</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7</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831402">
                <a:tc>
                  <a:txBody>
                    <a:bodyPr/>
                    <a:lstStyle/>
                    <a:p>
                      <a:pPr algn="ctr">
                        <a:defRPr sz="800" b="1">
                          <a:latin typeface="Nexa (Headings)"/>
                        </a:defRPr>
                      </a:pPr>
                      <a:r>
                        <a:t>Mousseux</a:t>
                      </a:r>
                    </a:p>
                  </a:txBody>
                  <a:tcPr marL="3810" marR="3810" marT="3810" marB="0" anchor="ctr">
                    <a:noFill/>
                  </a:tcPr>
                </a:tc>
                <a:tc>
                  <a:txBody>
                    <a:bodyPr/>
                    <a:lstStyle/>
                    <a:p>
                      <a:pPr algn="ctr">
                        <a:defRPr sz="800">
                          <a:latin typeface="Nexa Book"/>
                        </a:defRPr>
                      </a:pPr>
                      <a:r>
                        <a:t>14</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3161381"/>
                  </a:ext>
                </a:extLst>
              </a:tr>
              <a:tr h="831402">
                <a:tc>
                  <a:txBody>
                    <a:bodyPr/>
                    <a:lstStyle/>
                    <a:p>
                      <a:pPr algn="ctr">
                        <a:defRPr sz="800" b="1">
                          <a:latin typeface="Nexa (Headings)"/>
                        </a:defRPr>
                      </a:pPr>
                      <a:r>
                        <a:t>Champagnes</a:t>
                      </a:r>
                    </a:p>
                  </a:txBody>
                  <a:tcPr marL="3810" marR="3810" marT="3810" marB="0" anchor="ctr">
                    <a:noFill/>
                  </a:tcPr>
                </a:tc>
                <a:tc>
                  <a:txBody>
                    <a:bodyPr/>
                    <a:lstStyle/>
                    <a:p>
                      <a:pPr algn="ctr">
                        <a:defRPr sz="800">
                          <a:latin typeface="Nexa Book"/>
                        </a:defRPr>
                      </a:pPr>
                      <a:r>
                        <a:t>89</a:t>
                      </a:r>
                    </a:p>
                  </a:txBody>
                  <a:tcPr marL="3810" marR="3810" marT="3810" marB="0" anchor="ctr">
                    <a:noFill/>
                  </a:tcPr>
                </a:tc>
                <a:tc>
                  <a:txBody>
                    <a:bodyPr/>
                    <a:lstStyle/>
                    <a:p>
                      <a:pPr algn="ctr">
                        <a:defRPr sz="800">
                          <a:latin typeface="Nexa Book"/>
                        </a:defRPr>
                      </a:pPr>
                      <a:r>
                        <a:t>7</a:t>
                      </a:r>
                    </a:p>
                  </a:txBody>
                  <a:tcPr marL="3810" marR="3810" marT="3810" marB="0" anchor="ctr">
                    <a:noFill/>
                  </a:tcPr>
                </a:tc>
                <a:tc>
                  <a:txBody>
                    <a:bodyPr/>
                    <a:lstStyle/>
                    <a:p>
                      <a:pPr algn="ctr">
                        <a:defRPr sz="800">
                          <a:latin typeface="Nexa Book"/>
                        </a:defRPr>
                      </a:pPr>
                      <a:r>
                        <a:t>8%</a:t>
                      </a:r>
                    </a:p>
                  </a:txBody>
                  <a:tcPr marL="3810" marR="3810" marT="3810" marB="0" anchor="ctr">
                    <a:noFill/>
                  </a:tcPr>
                </a:tc>
                <a:tc>
                  <a:txBody>
                    <a:bodyPr/>
                    <a:lstStyle/>
                    <a:p>
                      <a:pPr algn="ctr">
                        <a:defRPr sz="800">
                          <a:latin typeface="Nexa Book"/>
                        </a:defRPr>
                      </a:pPr>
                      <a:r>
                        <a:t>8%</a:t>
                      </a:r>
                    </a:p>
                  </a:txBody>
                  <a:tcPr marL="3810" marR="3810" marT="3810" marB="0" anchor="ctr">
                    <a:noFill/>
                  </a:tcPr>
                </a:tc>
                <a:tc>
                  <a:txBody>
                    <a:bodyPr/>
                    <a:lstStyle/>
                    <a:p>
                      <a:pPr algn="ctr">
                        <a:defRPr sz="800">
                          <a:latin typeface="Nexa Book"/>
                        </a:defRPr>
                      </a:pPr>
                      <a:r>
                        <a:t>7</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1752397169"/>
                  </a:ext>
                </a:extLst>
              </a:tr>
              <a:tr h="831402">
                <a:tc>
                  <a:txBody>
                    <a:bodyPr/>
                    <a:lstStyle/>
                    <a:p>
                      <a:pPr algn="ctr">
                        <a:defRPr sz="800" b="1">
                          <a:latin typeface="Nexa (Headings)"/>
                        </a:defRPr>
                      </a:pPr>
                      <a:r>
                        <a:t>Effervescents Sans Alcool</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3712364869"/>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1103</a:t>
            </a:fld>
            <a:endParaRPr lang="en-US"/>
          </a:p>
        </p:txBody>
      </p:sp>
    </p:spTree>
    <p:extLst>
      <p:ext uri="{BB962C8B-B14F-4D97-AF65-F5344CB8AC3E}">
        <p14:creationId xmlns:p14="http://schemas.microsoft.com/office/powerpoint/2010/main" val="4016700199"/>
      </p:ext>
    </p:extLst>
  </p:cSld>
  <p:clrMapOvr>
    <a:masterClrMapping/>
  </p:clrMapOvr>
</p:sld>
</file>

<file path=ppt/slides/slide1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8/27/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pPr>
              <a:defRPr sz="1200">
                <a:latin typeface="Nexa Bold (Headings)"/>
              </a:defRPr>
            </a:pPr>
            <a:r>
              <a:t>Sector fair share | Effervescents | Malard Nicolas | NICOLAS IDF | P12M</a:t>
            </a:r>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pPr>
              <a:defRPr sz="1600">
                <a:latin typeface="Nexa Bold (Headings)"/>
              </a:defRPr>
            </a:pPr>
            <a:r>
              <a:rPr lang="en-GB" dirty="0">
                <a:highlight>
                  <a:srgbClr val="FFFF00"/>
                </a:highlight>
              </a:rPr>
              <a:t>Sector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Malard Nicolas </a:t>
                      </a:r>
                    </a:p>
                    <a:p>
                      <a:pPr algn="ctr">
                        <a:defRPr sz="900" b="1">
                          <a:latin typeface="Nexa (Headings)"/>
                        </a:defRPr>
                      </a:pPr>
                      <a: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Malard Nicolas </a:t>
                      </a:r>
                    </a:p>
                    <a:p>
                      <a:pPr algn="ctr">
                        <a:defRPr sz="900" b="1">
                          <a:latin typeface="Nexa (Headings)"/>
                        </a:defRPr>
                      </a:pPr>
                      <a: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Malard Nicolas </a:t>
                      </a:r>
                    </a:p>
                    <a:p>
                      <a:pPr algn="ctr">
                        <a:defRPr sz="900" b="1">
                          <a:latin typeface="Nexa (Headings)"/>
                        </a:defRPr>
                      </a:pPr>
                      <a: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Malard Nicolas </a:t>
                      </a:r>
                    </a:p>
                    <a:p>
                      <a:pPr algn="ctr">
                        <a:defRPr sz="900" b="1">
                          <a:latin typeface="Nexa (Headings)"/>
                        </a:defRPr>
                      </a:pPr>
                      <a: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Malard Nicolas</a:t>
                      </a:r>
                    </a:p>
                    <a:p>
                      <a:pPr algn="ctr">
                        <a:defRPr sz="900" b="1">
                          <a:latin typeface="Nexa (Headings)"/>
                        </a:defRPr>
                      </a:pPr>
                      <a: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831402">
                <a:tc>
                  <a:txBody>
                    <a:bodyPr/>
                    <a:lstStyle/>
                    <a:p>
                      <a:pPr algn="ctr">
                        <a:defRPr sz="800" b="1">
                          <a:latin typeface="Nexa (Headings)"/>
                        </a:defRPr>
                      </a:pPr>
                      <a:r>
                        <a:t>Grand Total</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80</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6</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6</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831402">
                <a:tc>
                  <a:txBody>
                    <a:bodyPr/>
                    <a:lstStyle/>
                    <a:p>
                      <a:pPr algn="ctr">
                        <a:defRPr sz="800" b="1">
                          <a:latin typeface="Nexa (Headings)"/>
                        </a:defRPr>
                      </a:pPr>
                      <a:r>
                        <a:t>Mousseux</a:t>
                      </a:r>
                    </a:p>
                  </a:txBody>
                  <a:tcPr marL="3810" marR="3810" marT="3810" marB="0" anchor="ctr">
                    <a:noFill/>
                  </a:tcPr>
                </a:tc>
                <a:tc>
                  <a:txBody>
                    <a:bodyPr/>
                    <a:lstStyle/>
                    <a:p>
                      <a:pPr algn="ctr">
                        <a:defRPr sz="800">
                          <a:latin typeface="Nexa Book"/>
                        </a:defRPr>
                      </a:pPr>
                      <a:r>
                        <a:t>12</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3161381"/>
                  </a:ext>
                </a:extLst>
              </a:tr>
              <a:tr h="831402">
                <a:tc>
                  <a:txBody>
                    <a:bodyPr/>
                    <a:lstStyle/>
                    <a:p>
                      <a:pPr algn="ctr">
                        <a:defRPr sz="800" b="1">
                          <a:latin typeface="Nexa (Headings)"/>
                        </a:defRPr>
                      </a:pPr>
                      <a:r>
                        <a:t>Champagnes</a:t>
                      </a:r>
                    </a:p>
                  </a:txBody>
                  <a:tcPr marL="3810" marR="3810" marT="3810" marB="0" anchor="ctr">
                    <a:noFill/>
                  </a:tcPr>
                </a:tc>
                <a:tc>
                  <a:txBody>
                    <a:bodyPr/>
                    <a:lstStyle/>
                    <a:p>
                      <a:pPr algn="ctr">
                        <a:defRPr sz="800">
                          <a:latin typeface="Nexa Book"/>
                        </a:defRPr>
                      </a:pPr>
                      <a:r>
                        <a:t>66</a:t>
                      </a:r>
                    </a:p>
                  </a:txBody>
                  <a:tcPr marL="3810" marR="3810" marT="3810" marB="0" anchor="ctr">
                    <a:noFill/>
                  </a:tcPr>
                </a:tc>
                <a:tc>
                  <a:txBody>
                    <a:bodyPr/>
                    <a:lstStyle/>
                    <a:p>
                      <a:pPr algn="ctr">
                        <a:defRPr sz="800">
                          <a:latin typeface="Nexa Book"/>
                        </a:defRPr>
                      </a:pPr>
                      <a:r>
                        <a:t>6</a:t>
                      </a:r>
                    </a:p>
                  </a:txBody>
                  <a:tcPr marL="3810" marR="3810" marT="3810" marB="0" anchor="ctr">
                    <a:noFill/>
                  </a:tcPr>
                </a:tc>
                <a:tc>
                  <a:txBody>
                    <a:bodyPr/>
                    <a:lstStyle/>
                    <a:p>
                      <a:pPr algn="ctr">
                        <a:defRPr sz="800">
                          <a:latin typeface="Nexa Book"/>
                        </a:defRPr>
                      </a:pPr>
                      <a:r>
                        <a:t>9%</a:t>
                      </a:r>
                    </a:p>
                  </a:txBody>
                  <a:tcPr marL="3810" marR="3810" marT="3810" marB="0" anchor="ctr">
                    <a:noFill/>
                  </a:tcPr>
                </a:tc>
                <a:tc>
                  <a:txBody>
                    <a:bodyPr/>
                    <a:lstStyle/>
                    <a:p>
                      <a:pPr algn="ctr">
                        <a:defRPr sz="800">
                          <a:latin typeface="Nexa Book"/>
                        </a:defRPr>
                      </a:pPr>
                      <a:r>
                        <a:t>9%</a:t>
                      </a:r>
                    </a:p>
                  </a:txBody>
                  <a:tcPr marL="3810" marR="3810" marT="3810" marB="0" anchor="ctr">
                    <a:noFill/>
                  </a:tcPr>
                </a:tc>
                <a:tc>
                  <a:txBody>
                    <a:bodyPr/>
                    <a:lstStyle/>
                    <a:p>
                      <a:pPr algn="ctr">
                        <a:defRPr sz="800">
                          <a:latin typeface="Nexa Book"/>
                        </a:defRPr>
                      </a:pPr>
                      <a:r>
                        <a:t>6</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1752397169"/>
                  </a:ext>
                </a:extLst>
              </a:tr>
              <a:tr h="831402">
                <a:tc>
                  <a:txBody>
                    <a:bodyPr/>
                    <a:lstStyle/>
                    <a:p>
                      <a:pPr algn="ctr">
                        <a:defRPr sz="800" b="1">
                          <a:latin typeface="Nexa (Headings)"/>
                        </a:defRPr>
                      </a:pPr>
                      <a:r>
                        <a:t>Effervescents Sans Alcool</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3712364869"/>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1104</a:t>
            </a:fld>
            <a:endParaRPr lang="en-US"/>
          </a:p>
        </p:txBody>
      </p:sp>
    </p:spTree>
    <p:extLst>
      <p:ext uri="{BB962C8B-B14F-4D97-AF65-F5344CB8AC3E}">
        <p14:creationId xmlns:p14="http://schemas.microsoft.com/office/powerpoint/2010/main" val="3047444093"/>
      </p:ext>
    </p:extLst>
  </p:cSld>
  <p:clrMapOvr>
    <a:masterClrMapping/>
  </p:clrMapOvr>
</p:sld>
</file>

<file path=ppt/slides/slide1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8/27/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pPr>
              <a:defRPr sz="1200">
                <a:latin typeface="Nexa Bold (Headings)"/>
              </a:defRPr>
            </a:pPr>
            <a:r>
              <a:t>Sector fair share | Effervescents | Malard Nicolas | NICOLAS QCA | P12M</a:t>
            </a:r>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pPr>
              <a:defRPr sz="1600">
                <a:latin typeface="Nexa Bold (Headings)"/>
              </a:defRPr>
            </a:pPr>
            <a:r>
              <a:rPr lang="en-GB" dirty="0">
                <a:highlight>
                  <a:srgbClr val="FFFF00"/>
                </a:highlight>
              </a:rPr>
              <a:t>Sector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Malard Nicolas </a:t>
                      </a:r>
                    </a:p>
                    <a:p>
                      <a:pPr algn="ctr">
                        <a:defRPr sz="900" b="1">
                          <a:latin typeface="Nexa (Headings)"/>
                        </a:defRPr>
                      </a:pPr>
                      <a: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Malard Nicolas </a:t>
                      </a:r>
                    </a:p>
                    <a:p>
                      <a:pPr algn="ctr">
                        <a:defRPr sz="900" b="1">
                          <a:latin typeface="Nexa (Headings)"/>
                        </a:defRPr>
                      </a:pPr>
                      <a: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Malard Nicolas </a:t>
                      </a:r>
                    </a:p>
                    <a:p>
                      <a:pPr algn="ctr">
                        <a:defRPr sz="900" b="1">
                          <a:latin typeface="Nexa (Headings)"/>
                        </a:defRPr>
                      </a:pPr>
                      <a: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Malard Nicolas </a:t>
                      </a:r>
                    </a:p>
                    <a:p>
                      <a:pPr algn="ctr">
                        <a:defRPr sz="900" b="1">
                          <a:latin typeface="Nexa (Headings)"/>
                        </a:defRPr>
                      </a:pPr>
                      <a: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Malard Nicolas</a:t>
                      </a:r>
                    </a:p>
                    <a:p>
                      <a:pPr algn="ctr">
                        <a:defRPr sz="900" b="1">
                          <a:latin typeface="Nexa (Headings)"/>
                        </a:defRPr>
                      </a:pPr>
                      <a: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831402">
                <a:tc>
                  <a:txBody>
                    <a:bodyPr/>
                    <a:lstStyle/>
                    <a:p>
                      <a:pPr algn="ctr">
                        <a:defRPr sz="800" b="1">
                          <a:latin typeface="Nexa (Headings)"/>
                        </a:defRPr>
                      </a:pPr>
                      <a:r>
                        <a:t>Grand Total</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08</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7</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7%</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6%</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6</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831402">
                <a:tc>
                  <a:txBody>
                    <a:bodyPr/>
                    <a:lstStyle/>
                    <a:p>
                      <a:pPr algn="ctr">
                        <a:defRPr sz="800" b="1">
                          <a:latin typeface="Nexa (Headings)"/>
                        </a:defRPr>
                      </a:pPr>
                      <a:r>
                        <a:t>Mousseux</a:t>
                      </a:r>
                    </a:p>
                  </a:txBody>
                  <a:tcPr marL="3810" marR="3810" marT="3810" marB="0" anchor="ctr">
                    <a:noFill/>
                  </a:tcPr>
                </a:tc>
                <a:tc>
                  <a:txBody>
                    <a:bodyPr/>
                    <a:lstStyle/>
                    <a:p>
                      <a:pPr algn="ctr">
                        <a:defRPr sz="800">
                          <a:latin typeface="Nexa Book"/>
                        </a:defRPr>
                      </a:pPr>
                      <a:r>
                        <a:t>14</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3161381"/>
                  </a:ext>
                </a:extLst>
              </a:tr>
              <a:tr h="831402">
                <a:tc>
                  <a:txBody>
                    <a:bodyPr/>
                    <a:lstStyle/>
                    <a:p>
                      <a:pPr algn="ctr">
                        <a:defRPr sz="800" b="1">
                          <a:latin typeface="Nexa (Headings)"/>
                        </a:defRPr>
                      </a:pPr>
                      <a:r>
                        <a:t>Champagnes</a:t>
                      </a:r>
                    </a:p>
                  </a:txBody>
                  <a:tcPr marL="3810" marR="3810" marT="3810" marB="0" anchor="ctr">
                    <a:noFill/>
                  </a:tcPr>
                </a:tc>
                <a:tc>
                  <a:txBody>
                    <a:bodyPr/>
                    <a:lstStyle/>
                    <a:p>
                      <a:pPr algn="ctr">
                        <a:defRPr sz="800">
                          <a:latin typeface="Nexa Book"/>
                        </a:defRPr>
                      </a:pPr>
                      <a:r>
                        <a:t>91</a:t>
                      </a:r>
                    </a:p>
                  </a:txBody>
                  <a:tcPr marL="3810" marR="3810" marT="3810" marB="0" anchor="ctr">
                    <a:noFill/>
                  </a:tcPr>
                </a:tc>
                <a:tc>
                  <a:txBody>
                    <a:bodyPr/>
                    <a:lstStyle/>
                    <a:p>
                      <a:pPr algn="ctr">
                        <a:defRPr sz="800">
                          <a:latin typeface="Nexa Book"/>
                        </a:defRPr>
                      </a:pPr>
                      <a:r>
                        <a:t>7</a:t>
                      </a:r>
                    </a:p>
                  </a:txBody>
                  <a:tcPr marL="3810" marR="3810" marT="3810" marB="0" anchor="ctr">
                    <a:noFill/>
                  </a:tcPr>
                </a:tc>
                <a:tc>
                  <a:txBody>
                    <a:bodyPr/>
                    <a:lstStyle/>
                    <a:p>
                      <a:pPr algn="ctr">
                        <a:defRPr sz="800">
                          <a:latin typeface="Nexa Book"/>
                        </a:defRPr>
                      </a:pPr>
                      <a:r>
                        <a:t>7%</a:t>
                      </a:r>
                    </a:p>
                  </a:txBody>
                  <a:tcPr marL="3810" marR="3810" marT="3810" marB="0" anchor="ctr">
                    <a:noFill/>
                  </a:tcPr>
                </a:tc>
                <a:tc>
                  <a:txBody>
                    <a:bodyPr/>
                    <a:lstStyle/>
                    <a:p>
                      <a:pPr algn="ctr">
                        <a:defRPr sz="800">
                          <a:latin typeface="Nexa Book"/>
                        </a:defRPr>
                      </a:pPr>
                      <a:r>
                        <a:t>6%</a:t>
                      </a:r>
                    </a:p>
                  </a:txBody>
                  <a:tcPr marL="3810" marR="3810" marT="3810" marB="0" anchor="ctr">
                    <a:noFill/>
                  </a:tcPr>
                </a:tc>
                <a:tc>
                  <a:txBody>
                    <a:bodyPr/>
                    <a:lstStyle/>
                    <a:p>
                      <a:pPr algn="ctr">
                        <a:defRPr sz="800">
                          <a:latin typeface="Nexa Book"/>
                        </a:defRPr>
                      </a:pPr>
                      <a:r>
                        <a:t>6</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1752397169"/>
                  </a:ext>
                </a:extLst>
              </a:tr>
              <a:tr h="831402">
                <a:tc>
                  <a:txBody>
                    <a:bodyPr/>
                    <a:lstStyle/>
                    <a:p>
                      <a:pPr algn="ctr">
                        <a:defRPr sz="800" b="1">
                          <a:latin typeface="Nexa (Headings)"/>
                        </a:defRPr>
                      </a:pPr>
                      <a:r>
                        <a:t>Effervescents Sans Alcool</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3712364869"/>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1105</a:t>
            </a:fld>
            <a:endParaRPr lang="en-US"/>
          </a:p>
        </p:txBody>
      </p:sp>
    </p:spTree>
    <p:extLst>
      <p:ext uri="{BB962C8B-B14F-4D97-AF65-F5344CB8AC3E}">
        <p14:creationId xmlns:p14="http://schemas.microsoft.com/office/powerpoint/2010/main" val="1464863757"/>
      </p:ext>
    </p:extLst>
  </p:cSld>
  <p:clrMapOvr>
    <a:masterClrMapping/>
  </p:clrMapOvr>
</p:sld>
</file>

<file path=ppt/slides/slide1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8/27/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pPr>
              <a:defRPr sz="1200">
                <a:latin typeface="Nexa Bold (Headings)"/>
              </a:defRPr>
            </a:pPr>
            <a:r>
              <a:t>Sector fair share | Effervescents | Malard Nicolas | NICOLAS PAC | P12M</a:t>
            </a:r>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pPr>
              <a:defRPr sz="1600">
                <a:latin typeface="Nexa Bold (Headings)"/>
              </a:defRPr>
            </a:pPr>
            <a:r>
              <a:rPr lang="en-GB" dirty="0">
                <a:highlight>
                  <a:srgbClr val="FFFF00"/>
                </a:highlight>
              </a:rPr>
              <a:t>Sector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Malard Nicolas </a:t>
                      </a:r>
                    </a:p>
                    <a:p>
                      <a:pPr algn="ctr">
                        <a:defRPr sz="900" b="1">
                          <a:latin typeface="Nexa (Headings)"/>
                        </a:defRPr>
                      </a:pPr>
                      <a: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Malard Nicolas </a:t>
                      </a:r>
                    </a:p>
                    <a:p>
                      <a:pPr algn="ctr">
                        <a:defRPr sz="900" b="1">
                          <a:latin typeface="Nexa (Headings)"/>
                        </a:defRPr>
                      </a:pPr>
                      <a: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Malard Nicolas </a:t>
                      </a:r>
                    </a:p>
                    <a:p>
                      <a:pPr algn="ctr">
                        <a:defRPr sz="900" b="1">
                          <a:latin typeface="Nexa (Headings)"/>
                        </a:defRPr>
                      </a:pPr>
                      <a: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Malard Nicolas </a:t>
                      </a:r>
                    </a:p>
                    <a:p>
                      <a:pPr algn="ctr">
                        <a:defRPr sz="900" b="1">
                          <a:latin typeface="Nexa (Headings)"/>
                        </a:defRPr>
                      </a:pPr>
                      <a: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Malard Nicolas</a:t>
                      </a:r>
                    </a:p>
                    <a:p>
                      <a:pPr algn="ctr">
                        <a:defRPr sz="900" b="1">
                          <a:latin typeface="Nexa (Headings)"/>
                        </a:defRPr>
                      </a:pPr>
                      <a: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831402">
                <a:tc>
                  <a:txBody>
                    <a:bodyPr/>
                    <a:lstStyle/>
                    <a:p>
                      <a:pPr algn="ctr">
                        <a:defRPr sz="800" b="1">
                          <a:latin typeface="Nexa (Headings)"/>
                        </a:defRPr>
                      </a:pPr>
                      <a:r>
                        <a:t>Grand Total</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9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7</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0%</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8</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831402">
                <a:tc>
                  <a:txBody>
                    <a:bodyPr/>
                    <a:lstStyle/>
                    <a:p>
                      <a:pPr algn="ctr">
                        <a:defRPr sz="800" b="1">
                          <a:latin typeface="Nexa (Headings)"/>
                        </a:defRPr>
                      </a:pPr>
                      <a:r>
                        <a:t>Mousseux</a:t>
                      </a:r>
                    </a:p>
                  </a:txBody>
                  <a:tcPr marL="3810" marR="3810" marT="3810" marB="0" anchor="ctr">
                    <a:noFill/>
                  </a:tcPr>
                </a:tc>
                <a:tc>
                  <a:txBody>
                    <a:bodyPr/>
                    <a:lstStyle/>
                    <a:p>
                      <a:pPr algn="ctr">
                        <a:defRPr sz="800">
                          <a:latin typeface="Nexa Book"/>
                        </a:defRPr>
                      </a:pPr>
                      <a:r>
                        <a:t>14</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3161381"/>
                  </a:ext>
                </a:extLst>
              </a:tr>
              <a:tr h="831402">
                <a:tc>
                  <a:txBody>
                    <a:bodyPr/>
                    <a:lstStyle/>
                    <a:p>
                      <a:pPr algn="ctr">
                        <a:defRPr sz="800" b="1">
                          <a:latin typeface="Nexa (Headings)"/>
                        </a:defRPr>
                      </a:pPr>
                      <a:r>
                        <a:t>Champagnes</a:t>
                      </a:r>
                    </a:p>
                  </a:txBody>
                  <a:tcPr marL="3810" marR="3810" marT="3810" marB="0" anchor="ctr">
                    <a:noFill/>
                  </a:tcPr>
                </a:tc>
                <a:tc>
                  <a:txBody>
                    <a:bodyPr/>
                    <a:lstStyle/>
                    <a:p>
                      <a:pPr algn="ctr">
                        <a:defRPr sz="800">
                          <a:latin typeface="Nexa Book"/>
                        </a:defRPr>
                      </a:pPr>
                      <a:r>
                        <a:t>82</a:t>
                      </a:r>
                    </a:p>
                  </a:txBody>
                  <a:tcPr marL="3810" marR="3810" marT="3810" marB="0" anchor="ctr">
                    <a:noFill/>
                  </a:tcPr>
                </a:tc>
                <a:tc>
                  <a:txBody>
                    <a:bodyPr/>
                    <a:lstStyle/>
                    <a:p>
                      <a:pPr algn="ctr">
                        <a:defRPr sz="800">
                          <a:latin typeface="Nexa Book"/>
                        </a:defRPr>
                      </a:pPr>
                      <a:r>
                        <a:t>7</a:t>
                      </a:r>
                    </a:p>
                  </a:txBody>
                  <a:tcPr marL="3810" marR="3810" marT="3810" marB="0" anchor="ctr">
                    <a:noFill/>
                  </a:tcPr>
                </a:tc>
                <a:tc>
                  <a:txBody>
                    <a:bodyPr/>
                    <a:lstStyle/>
                    <a:p>
                      <a:pPr algn="ctr">
                        <a:defRPr sz="800">
                          <a:latin typeface="Nexa Book"/>
                        </a:defRPr>
                      </a:pPr>
                      <a:r>
                        <a:t>9%</a:t>
                      </a:r>
                    </a:p>
                  </a:txBody>
                  <a:tcPr marL="3810" marR="3810" marT="3810" marB="0" anchor="ctr">
                    <a:noFill/>
                  </a:tcPr>
                </a:tc>
                <a:tc>
                  <a:txBody>
                    <a:bodyPr/>
                    <a:lstStyle/>
                    <a:p>
                      <a:pPr algn="ctr">
                        <a:defRPr sz="800">
                          <a:latin typeface="Nexa Book"/>
                        </a:defRPr>
                      </a:pPr>
                      <a:r>
                        <a:t>10%</a:t>
                      </a:r>
                    </a:p>
                  </a:txBody>
                  <a:tcPr marL="3810" marR="3810" marT="3810" marB="0" anchor="ctr">
                    <a:noFill/>
                  </a:tcPr>
                </a:tc>
                <a:tc>
                  <a:txBody>
                    <a:bodyPr/>
                    <a:lstStyle/>
                    <a:p>
                      <a:pPr algn="ctr">
                        <a:defRPr sz="800">
                          <a:latin typeface="Nexa Book"/>
                        </a:defRPr>
                      </a:pPr>
                      <a:r>
                        <a:t>8</a:t>
                      </a:r>
                    </a:p>
                  </a:txBody>
                  <a:tcPr marL="3810" marR="3810" marT="3810" marB="0" anchor="ctr">
                    <a:noFill/>
                  </a:tcPr>
                </a:tc>
                <a:tc>
                  <a:txBody>
                    <a:bodyPr/>
                    <a:lstStyle/>
                    <a:p>
                      <a:pPr algn="ctr">
                        <a:defRPr sz="800">
                          <a:latin typeface="Nexa Book"/>
                        </a:defRPr>
                      </a:pPr>
                      <a:r>
                        <a:t>1</a:t>
                      </a:r>
                    </a:p>
                  </a:txBody>
                  <a:tcPr marL="3810" marR="3810" marT="3810" marB="0" anchor="ctr">
                    <a:noFill/>
                  </a:tcPr>
                </a:tc>
                <a:extLst>
                  <a:ext uri="{0D108BD9-81ED-4DB2-BD59-A6C34878D82A}">
                    <a16:rowId xmlns:a16="http://schemas.microsoft.com/office/drawing/2014/main" val="1752397169"/>
                  </a:ext>
                </a:extLst>
              </a:tr>
              <a:tr h="831402">
                <a:tc>
                  <a:txBody>
                    <a:bodyPr/>
                    <a:lstStyle/>
                    <a:p>
                      <a:pPr algn="ctr">
                        <a:defRPr sz="800" b="1">
                          <a:latin typeface="Nexa (Headings)"/>
                        </a:defRPr>
                      </a:pPr>
                      <a:r>
                        <a:t>Effervescents Sans Alcool</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3712364869"/>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1106</a:t>
            </a:fld>
            <a:endParaRPr lang="en-US"/>
          </a:p>
        </p:txBody>
      </p:sp>
    </p:spTree>
    <p:extLst>
      <p:ext uri="{BB962C8B-B14F-4D97-AF65-F5344CB8AC3E}">
        <p14:creationId xmlns:p14="http://schemas.microsoft.com/office/powerpoint/2010/main" val="2458800237"/>
      </p:ext>
    </p:extLst>
  </p:cSld>
  <p:clrMapOvr>
    <a:masterClrMapping/>
  </p:clrMapOvr>
</p:sld>
</file>

<file path=ppt/slides/slide1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8/27/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pPr>
              <a:defRPr sz="1200">
                <a:latin typeface="Nexa Bold (Headings)"/>
              </a:defRPr>
            </a:pPr>
            <a:r>
              <a:t>Sector fair share | Effervescents | Malard Nicolas | NICOLAS QCN | P12M</a:t>
            </a:r>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pPr>
              <a:defRPr sz="1600">
                <a:latin typeface="Nexa Bold (Headings)"/>
              </a:defRPr>
            </a:pPr>
            <a:r>
              <a:rPr lang="en-GB" dirty="0">
                <a:highlight>
                  <a:srgbClr val="FFFF00"/>
                </a:highlight>
              </a:rPr>
              <a:t>Sector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Malard Nicolas </a:t>
                      </a:r>
                    </a:p>
                    <a:p>
                      <a:pPr algn="ctr">
                        <a:defRPr sz="900" b="1">
                          <a:latin typeface="Nexa (Headings)"/>
                        </a:defRPr>
                      </a:pPr>
                      <a: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Malard Nicolas </a:t>
                      </a:r>
                    </a:p>
                    <a:p>
                      <a:pPr algn="ctr">
                        <a:defRPr sz="900" b="1">
                          <a:latin typeface="Nexa (Headings)"/>
                        </a:defRPr>
                      </a:pPr>
                      <a: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Malard Nicolas </a:t>
                      </a:r>
                    </a:p>
                    <a:p>
                      <a:pPr algn="ctr">
                        <a:defRPr sz="900" b="1">
                          <a:latin typeface="Nexa (Headings)"/>
                        </a:defRPr>
                      </a:pPr>
                      <a: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Malard Nicolas </a:t>
                      </a:r>
                    </a:p>
                    <a:p>
                      <a:pPr algn="ctr">
                        <a:defRPr sz="900" b="1">
                          <a:latin typeface="Nexa (Headings)"/>
                        </a:defRPr>
                      </a:pPr>
                      <a: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Malard Nicolas</a:t>
                      </a:r>
                    </a:p>
                    <a:p>
                      <a:pPr algn="ctr">
                        <a:defRPr sz="900" b="1">
                          <a:latin typeface="Nexa (Headings)"/>
                        </a:defRPr>
                      </a:pPr>
                      <a: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831402">
                <a:tc>
                  <a:txBody>
                    <a:bodyPr/>
                    <a:lstStyle/>
                    <a:p>
                      <a:pPr algn="ctr">
                        <a:defRPr sz="800" b="1">
                          <a:latin typeface="Nexa (Headings)"/>
                        </a:defRPr>
                      </a:pPr>
                      <a:r>
                        <a:t>Grand Total</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81</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6</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6</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831402">
                <a:tc>
                  <a:txBody>
                    <a:bodyPr/>
                    <a:lstStyle/>
                    <a:p>
                      <a:pPr algn="ctr">
                        <a:defRPr sz="800" b="1">
                          <a:latin typeface="Nexa (Headings)"/>
                        </a:defRPr>
                      </a:pPr>
                      <a:r>
                        <a:t>Mousseux</a:t>
                      </a:r>
                    </a:p>
                  </a:txBody>
                  <a:tcPr marL="3810" marR="3810" marT="3810" marB="0" anchor="ctr">
                    <a:noFill/>
                  </a:tcPr>
                </a:tc>
                <a:tc>
                  <a:txBody>
                    <a:bodyPr/>
                    <a:lstStyle/>
                    <a:p>
                      <a:pPr algn="ctr">
                        <a:defRPr sz="800">
                          <a:latin typeface="Nexa Book"/>
                        </a:defRPr>
                      </a:pPr>
                      <a:r>
                        <a:t>13</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3161381"/>
                  </a:ext>
                </a:extLst>
              </a:tr>
              <a:tr h="831402">
                <a:tc>
                  <a:txBody>
                    <a:bodyPr/>
                    <a:lstStyle/>
                    <a:p>
                      <a:pPr algn="ctr">
                        <a:defRPr sz="800" b="1">
                          <a:latin typeface="Nexa (Headings)"/>
                        </a:defRPr>
                      </a:pPr>
                      <a:r>
                        <a:t>Champagnes</a:t>
                      </a:r>
                    </a:p>
                  </a:txBody>
                  <a:tcPr marL="3810" marR="3810" marT="3810" marB="0" anchor="ctr">
                    <a:noFill/>
                  </a:tcPr>
                </a:tc>
                <a:tc>
                  <a:txBody>
                    <a:bodyPr/>
                    <a:lstStyle/>
                    <a:p>
                      <a:pPr algn="ctr">
                        <a:defRPr sz="800">
                          <a:latin typeface="Nexa Book"/>
                        </a:defRPr>
                      </a:pPr>
                      <a:r>
                        <a:t>65</a:t>
                      </a:r>
                    </a:p>
                  </a:txBody>
                  <a:tcPr marL="3810" marR="3810" marT="3810" marB="0" anchor="ctr">
                    <a:noFill/>
                  </a:tcPr>
                </a:tc>
                <a:tc>
                  <a:txBody>
                    <a:bodyPr/>
                    <a:lstStyle/>
                    <a:p>
                      <a:pPr algn="ctr">
                        <a:defRPr sz="800">
                          <a:latin typeface="Nexa Book"/>
                        </a:defRPr>
                      </a:pPr>
                      <a:r>
                        <a:t>6</a:t>
                      </a:r>
                    </a:p>
                  </a:txBody>
                  <a:tcPr marL="3810" marR="3810" marT="3810" marB="0" anchor="ctr">
                    <a:noFill/>
                  </a:tcPr>
                </a:tc>
                <a:tc>
                  <a:txBody>
                    <a:bodyPr/>
                    <a:lstStyle/>
                    <a:p>
                      <a:pPr algn="ctr">
                        <a:defRPr sz="800">
                          <a:latin typeface="Nexa Book"/>
                        </a:defRPr>
                      </a:pPr>
                      <a:r>
                        <a:t>9%</a:t>
                      </a:r>
                    </a:p>
                  </a:txBody>
                  <a:tcPr marL="3810" marR="3810" marT="3810" marB="0" anchor="ctr">
                    <a:noFill/>
                  </a:tcPr>
                </a:tc>
                <a:tc>
                  <a:txBody>
                    <a:bodyPr/>
                    <a:lstStyle/>
                    <a:p>
                      <a:pPr algn="ctr">
                        <a:defRPr sz="800">
                          <a:latin typeface="Nexa Book"/>
                        </a:defRPr>
                      </a:pPr>
                      <a:r>
                        <a:t>9%</a:t>
                      </a:r>
                    </a:p>
                  </a:txBody>
                  <a:tcPr marL="3810" marR="3810" marT="3810" marB="0" anchor="ctr">
                    <a:noFill/>
                  </a:tcPr>
                </a:tc>
                <a:tc>
                  <a:txBody>
                    <a:bodyPr/>
                    <a:lstStyle/>
                    <a:p>
                      <a:pPr algn="ctr">
                        <a:defRPr sz="800">
                          <a:latin typeface="Nexa Book"/>
                        </a:defRPr>
                      </a:pPr>
                      <a:r>
                        <a:t>6</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1752397169"/>
                  </a:ext>
                </a:extLst>
              </a:tr>
              <a:tr h="831402">
                <a:tc>
                  <a:txBody>
                    <a:bodyPr/>
                    <a:lstStyle/>
                    <a:p>
                      <a:pPr algn="ctr">
                        <a:defRPr sz="800" b="1">
                          <a:latin typeface="Nexa (Headings)"/>
                        </a:defRPr>
                      </a:pPr>
                      <a:r>
                        <a:t>Effervescents Sans Alcool</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3712364869"/>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1107</a:t>
            </a:fld>
            <a:endParaRPr lang="en-US"/>
          </a:p>
        </p:txBody>
      </p:sp>
    </p:spTree>
    <p:extLst>
      <p:ext uri="{BB962C8B-B14F-4D97-AF65-F5344CB8AC3E}">
        <p14:creationId xmlns:p14="http://schemas.microsoft.com/office/powerpoint/2010/main" val="2712344230"/>
      </p:ext>
    </p:extLst>
  </p:cSld>
  <p:clrMapOvr>
    <a:masterClrMapping/>
  </p:clrMapOvr>
</p:sld>
</file>

<file path=ppt/slides/slide1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8/27/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pPr>
              <a:defRPr sz="1200">
                <a:latin typeface="Nexa Bold (Headings)"/>
              </a:defRPr>
            </a:pPr>
            <a:r>
              <a:t>Sector fair share | Effervescents | Malard Nicolas | NICOLAS | P12M</a:t>
            </a:r>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pPr>
              <a:defRPr sz="1600">
                <a:latin typeface="Nexa Bold (Headings)"/>
              </a:defRPr>
            </a:pPr>
            <a:r>
              <a:rPr lang="en-GB" dirty="0">
                <a:highlight>
                  <a:srgbClr val="FFFF00"/>
                </a:highlight>
              </a:rPr>
              <a:t>Sector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Malard Nicolas </a:t>
                      </a:r>
                    </a:p>
                    <a:p>
                      <a:pPr algn="ctr">
                        <a:defRPr sz="900" b="1">
                          <a:latin typeface="Nexa (Headings)"/>
                        </a:defRPr>
                      </a:pPr>
                      <a: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Malard Nicolas </a:t>
                      </a:r>
                    </a:p>
                    <a:p>
                      <a:pPr algn="ctr">
                        <a:defRPr sz="900" b="1">
                          <a:latin typeface="Nexa (Headings)"/>
                        </a:defRPr>
                      </a:pPr>
                      <a: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Malard Nicolas </a:t>
                      </a:r>
                    </a:p>
                    <a:p>
                      <a:pPr algn="ctr">
                        <a:defRPr sz="900" b="1">
                          <a:latin typeface="Nexa (Headings)"/>
                        </a:defRPr>
                      </a:pPr>
                      <a: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Malard Nicolas </a:t>
                      </a:r>
                    </a:p>
                    <a:p>
                      <a:pPr algn="ctr">
                        <a:defRPr sz="900" b="1">
                          <a:latin typeface="Nexa (Headings)"/>
                        </a:defRPr>
                      </a:pPr>
                      <a: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Malard Nicolas</a:t>
                      </a:r>
                    </a:p>
                    <a:p>
                      <a:pPr algn="ctr">
                        <a:defRPr sz="900" b="1">
                          <a:latin typeface="Nexa (Headings)"/>
                        </a:defRPr>
                      </a:pPr>
                      <a: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831402">
                <a:tc>
                  <a:txBody>
                    <a:bodyPr/>
                    <a:lstStyle/>
                    <a:p>
                      <a:pPr algn="ctr">
                        <a:defRPr sz="800" b="1">
                          <a:latin typeface="Nexa (Headings)"/>
                        </a:defRPr>
                      </a:pPr>
                      <a:r>
                        <a:t>Grand Total</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8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6</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7</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831402">
                <a:tc>
                  <a:txBody>
                    <a:bodyPr/>
                    <a:lstStyle/>
                    <a:p>
                      <a:pPr algn="ctr">
                        <a:defRPr sz="800" b="1">
                          <a:latin typeface="Nexa (Headings)"/>
                        </a:defRPr>
                      </a:pPr>
                      <a:r>
                        <a:t>Mousseux</a:t>
                      </a:r>
                    </a:p>
                  </a:txBody>
                  <a:tcPr marL="3810" marR="3810" marT="3810" marB="0" anchor="ctr">
                    <a:noFill/>
                  </a:tcPr>
                </a:tc>
                <a:tc>
                  <a:txBody>
                    <a:bodyPr/>
                    <a:lstStyle/>
                    <a:p>
                      <a:pPr algn="ctr">
                        <a:defRPr sz="800">
                          <a:latin typeface="Nexa Book"/>
                        </a:defRPr>
                      </a:pPr>
                      <a:r>
                        <a:t>14</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3161381"/>
                  </a:ext>
                </a:extLst>
              </a:tr>
              <a:tr h="831402">
                <a:tc>
                  <a:txBody>
                    <a:bodyPr/>
                    <a:lstStyle/>
                    <a:p>
                      <a:pPr algn="ctr">
                        <a:defRPr sz="800" b="1">
                          <a:latin typeface="Nexa (Headings)"/>
                        </a:defRPr>
                      </a:pPr>
                      <a:r>
                        <a:t>Champagnes</a:t>
                      </a:r>
                    </a:p>
                  </a:txBody>
                  <a:tcPr marL="3810" marR="3810" marT="3810" marB="0" anchor="ctr">
                    <a:noFill/>
                  </a:tcPr>
                </a:tc>
                <a:tc>
                  <a:txBody>
                    <a:bodyPr/>
                    <a:lstStyle/>
                    <a:p>
                      <a:pPr algn="ctr">
                        <a:defRPr sz="800">
                          <a:latin typeface="Nexa Book"/>
                        </a:defRPr>
                      </a:pPr>
                      <a:r>
                        <a:t>72</a:t>
                      </a:r>
                    </a:p>
                  </a:txBody>
                  <a:tcPr marL="3810" marR="3810" marT="3810" marB="0" anchor="ctr">
                    <a:noFill/>
                  </a:tcPr>
                </a:tc>
                <a:tc>
                  <a:txBody>
                    <a:bodyPr/>
                    <a:lstStyle/>
                    <a:p>
                      <a:pPr algn="ctr">
                        <a:defRPr sz="800">
                          <a:latin typeface="Nexa Book"/>
                        </a:defRPr>
                      </a:pPr>
                      <a:r>
                        <a:t>6</a:t>
                      </a:r>
                    </a:p>
                  </a:txBody>
                  <a:tcPr marL="3810" marR="3810" marT="3810" marB="0" anchor="ctr">
                    <a:noFill/>
                  </a:tcPr>
                </a:tc>
                <a:tc>
                  <a:txBody>
                    <a:bodyPr/>
                    <a:lstStyle/>
                    <a:p>
                      <a:pPr algn="ctr">
                        <a:defRPr sz="800">
                          <a:latin typeface="Nexa Book"/>
                        </a:defRPr>
                      </a:pPr>
                      <a:r>
                        <a:t>9%</a:t>
                      </a:r>
                    </a:p>
                  </a:txBody>
                  <a:tcPr marL="3810" marR="3810" marT="3810" marB="0" anchor="ctr">
                    <a:noFill/>
                  </a:tcPr>
                </a:tc>
                <a:tc>
                  <a:txBody>
                    <a:bodyPr/>
                    <a:lstStyle/>
                    <a:p>
                      <a:pPr algn="ctr">
                        <a:defRPr sz="800">
                          <a:latin typeface="Nexa Book"/>
                        </a:defRPr>
                      </a:pPr>
                      <a:r>
                        <a:t>9%</a:t>
                      </a:r>
                    </a:p>
                  </a:txBody>
                  <a:tcPr marL="3810" marR="3810" marT="3810" marB="0" anchor="ctr">
                    <a:noFill/>
                  </a:tcPr>
                </a:tc>
                <a:tc>
                  <a:txBody>
                    <a:bodyPr/>
                    <a:lstStyle/>
                    <a:p>
                      <a:pPr algn="ctr">
                        <a:defRPr sz="800">
                          <a:latin typeface="Nexa Book"/>
                        </a:defRPr>
                      </a:pPr>
                      <a:r>
                        <a:t>7</a:t>
                      </a:r>
                    </a:p>
                  </a:txBody>
                  <a:tcPr marL="3810" marR="3810" marT="3810" marB="0" anchor="ctr">
                    <a:noFill/>
                  </a:tcPr>
                </a:tc>
                <a:tc>
                  <a:txBody>
                    <a:bodyPr/>
                    <a:lstStyle/>
                    <a:p>
                      <a:pPr algn="ctr">
                        <a:defRPr sz="800">
                          <a:latin typeface="Nexa Book"/>
                        </a:defRPr>
                      </a:pPr>
                      <a:r>
                        <a:t>1</a:t>
                      </a:r>
                    </a:p>
                  </a:txBody>
                  <a:tcPr marL="3810" marR="3810" marT="3810" marB="0" anchor="ctr">
                    <a:noFill/>
                  </a:tcPr>
                </a:tc>
                <a:extLst>
                  <a:ext uri="{0D108BD9-81ED-4DB2-BD59-A6C34878D82A}">
                    <a16:rowId xmlns:a16="http://schemas.microsoft.com/office/drawing/2014/main" val="1752397169"/>
                  </a:ext>
                </a:extLst>
              </a:tr>
              <a:tr h="831402">
                <a:tc>
                  <a:txBody>
                    <a:bodyPr/>
                    <a:lstStyle/>
                    <a:p>
                      <a:pPr algn="ctr">
                        <a:defRPr sz="800" b="1">
                          <a:latin typeface="Nexa (Headings)"/>
                        </a:defRPr>
                      </a:pPr>
                      <a:r>
                        <a:t>Effervescents Sans Alcool</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3712364869"/>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1108</a:t>
            </a:fld>
            <a:endParaRPr lang="en-US"/>
          </a:p>
        </p:txBody>
      </p:sp>
    </p:spTree>
    <p:extLst>
      <p:ext uri="{BB962C8B-B14F-4D97-AF65-F5344CB8AC3E}">
        <p14:creationId xmlns:p14="http://schemas.microsoft.com/office/powerpoint/2010/main" val="3226836682"/>
      </p:ext>
    </p:extLst>
  </p:cSld>
  <p:clrMapOvr>
    <a:masterClrMapping/>
  </p:clrMapOvr>
</p:sld>
</file>

<file path=ppt/slides/slide1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8/27/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pPr>
              <a:defRPr sz="1200">
                <a:latin typeface="Nexa Bold (Headings)"/>
              </a:defRPr>
            </a:pPr>
            <a:r>
              <a:t>Sector fair share | Effervescents | Malard Nicolas | NICOLAS RHO | P12M</a:t>
            </a:r>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pPr>
              <a:defRPr sz="1600">
                <a:latin typeface="Nexa Bold (Headings)"/>
              </a:defRPr>
            </a:pPr>
            <a:r>
              <a:rPr lang="en-GB" dirty="0">
                <a:highlight>
                  <a:srgbClr val="FFFF00"/>
                </a:highlight>
              </a:rPr>
              <a:t>Sector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Malard Nicolas </a:t>
                      </a:r>
                    </a:p>
                    <a:p>
                      <a:pPr algn="ctr">
                        <a:defRPr sz="900" b="1">
                          <a:latin typeface="Nexa (Headings)"/>
                        </a:defRPr>
                      </a:pPr>
                      <a: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Malard Nicolas </a:t>
                      </a:r>
                    </a:p>
                    <a:p>
                      <a:pPr algn="ctr">
                        <a:defRPr sz="900" b="1">
                          <a:latin typeface="Nexa (Headings)"/>
                        </a:defRPr>
                      </a:pPr>
                      <a: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Malard Nicolas </a:t>
                      </a:r>
                    </a:p>
                    <a:p>
                      <a:pPr algn="ctr">
                        <a:defRPr sz="900" b="1">
                          <a:latin typeface="Nexa (Headings)"/>
                        </a:defRPr>
                      </a:pPr>
                      <a: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Malard Nicolas </a:t>
                      </a:r>
                    </a:p>
                    <a:p>
                      <a:pPr algn="ctr">
                        <a:defRPr sz="900" b="1">
                          <a:latin typeface="Nexa (Headings)"/>
                        </a:defRPr>
                      </a:pPr>
                      <a: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Malard Nicolas</a:t>
                      </a:r>
                    </a:p>
                    <a:p>
                      <a:pPr algn="ctr">
                        <a:defRPr sz="900" b="1">
                          <a:latin typeface="Nexa (Headings)"/>
                        </a:defRPr>
                      </a:pPr>
                      <a: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831402">
                <a:tc>
                  <a:txBody>
                    <a:bodyPr/>
                    <a:lstStyle/>
                    <a:p>
                      <a:pPr algn="ctr">
                        <a:defRPr sz="800" b="1">
                          <a:latin typeface="Nexa (Headings)"/>
                        </a:defRPr>
                      </a:pPr>
                      <a:r>
                        <a:t>Grand Total</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98</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7</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8%</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6</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831402">
                <a:tc>
                  <a:txBody>
                    <a:bodyPr/>
                    <a:lstStyle/>
                    <a:p>
                      <a:pPr algn="ctr">
                        <a:defRPr sz="800" b="1">
                          <a:latin typeface="Nexa (Headings)"/>
                        </a:defRPr>
                      </a:pPr>
                      <a:r>
                        <a:t>Mousseux</a:t>
                      </a:r>
                    </a:p>
                  </a:txBody>
                  <a:tcPr marL="3810" marR="3810" marT="3810" marB="0" anchor="ctr">
                    <a:noFill/>
                  </a:tcPr>
                </a:tc>
                <a:tc>
                  <a:txBody>
                    <a:bodyPr/>
                    <a:lstStyle/>
                    <a:p>
                      <a:pPr algn="ctr">
                        <a:defRPr sz="800">
                          <a:latin typeface="Nexa Book"/>
                        </a:defRPr>
                      </a:pPr>
                      <a:r>
                        <a:t>16</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3161381"/>
                  </a:ext>
                </a:extLst>
              </a:tr>
              <a:tr h="831402">
                <a:tc>
                  <a:txBody>
                    <a:bodyPr/>
                    <a:lstStyle/>
                    <a:p>
                      <a:pPr algn="ctr">
                        <a:defRPr sz="800" b="1">
                          <a:latin typeface="Nexa (Headings)"/>
                        </a:defRPr>
                      </a:pPr>
                      <a:r>
                        <a:t>Champagnes</a:t>
                      </a:r>
                    </a:p>
                  </a:txBody>
                  <a:tcPr marL="3810" marR="3810" marT="3810" marB="0" anchor="ctr">
                    <a:noFill/>
                  </a:tcPr>
                </a:tc>
                <a:tc>
                  <a:txBody>
                    <a:bodyPr/>
                    <a:lstStyle/>
                    <a:p>
                      <a:pPr algn="ctr">
                        <a:defRPr sz="800">
                          <a:latin typeface="Nexa Book"/>
                        </a:defRPr>
                      </a:pPr>
                      <a:r>
                        <a:t>79</a:t>
                      </a:r>
                    </a:p>
                  </a:txBody>
                  <a:tcPr marL="3810" marR="3810" marT="3810" marB="0" anchor="ctr">
                    <a:noFill/>
                  </a:tcPr>
                </a:tc>
                <a:tc>
                  <a:txBody>
                    <a:bodyPr/>
                    <a:lstStyle/>
                    <a:p>
                      <a:pPr algn="ctr">
                        <a:defRPr sz="800">
                          <a:latin typeface="Nexa Book"/>
                        </a:defRPr>
                      </a:pPr>
                      <a:r>
                        <a:t>7</a:t>
                      </a:r>
                    </a:p>
                  </a:txBody>
                  <a:tcPr marL="3810" marR="3810" marT="3810" marB="0" anchor="ctr">
                    <a:noFill/>
                  </a:tcPr>
                </a:tc>
                <a:tc>
                  <a:txBody>
                    <a:bodyPr/>
                    <a:lstStyle/>
                    <a:p>
                      <a:pPr algn="ctr">
                        <a:defRPr sz="800">
                          <a:latin typeface="Nexa Book"/>
                        </a:defRPr>
                      </a:pPr>
                      <a:r>
                        <a:t>9%</a:t>
                      </a:r>
                    </a:p>
                  </a:txBody>
                  <a:tcPr marL="3810" marR="3810" marT="3810" marB="0" anchor="ctr">
                    <a:noFill/>
                  </a:tcPr>
                </a:tc>
                <a:tc>
                  <a:txBody>
                    <a:bodyPr/>
                    <a:lstStyle/>
                    <a:p>
                      <a:pPr algn="ctr">
                        <a:defRPr sz="800">
                          <a:latin typeface="Nexa Book"/>
                        </a:defRPr>
                      </a:pPr>
                      <a:r>
                        <a:t>8%</a:t>
                      </a:r>
                    </a:p>
                  </a:txBody>
                  <a:tcPr marL="3810" marR="3810" marT="3810" marB="0" anchor="ctr">
                    <a:noFill/>
                  </a:tcPr>
                </a:tc>
                <a:tc>
                  <a:txBody>
                    <a:bodyPr/>
                    <a:lstStyle/>
                    <a:p>
                      <a:pPr algn="ctr">
                        <a:defRPr sz="800">
                          <a:latin typeface="Nexa Book"/>
                        </a:defRPr>
                      </a:pPr>
                      <a:r>
                        <a:t>6</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1752397169"/>
                  </a:ext>
                </a:extLst>
              </a:tr>
              <a:tr h="831402">
                <a:tc>
                  <a:txBody>
                    <a:bodyPr/>
                    <a:lstStyle/>
                    <a:p>
                      <a:pPr algn="ctr">
                        <a:defRPr sz="800" b="1">
                          <a:latin typeface="Nexa (Headings)"/>
                        </a:defRPr>
                      </a:pPr>
                      <a:r>
                        <a:t>Effervescents Sans Alcool</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3712364869"/>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1109</a:t>
            </a:fld>
            <a:endParaRPr lang="en-US"/>
          </a:p>
        </p:txBody>
      </p:sp>
    </p:spTree>
    <p:extLst>
      <p:ext uri="{BB962C8B-B14F-4D97-AF65-F5344CB8AC3E}">
        <p14:creationId xmlns:p14="http://schemas.microsoft.com/office/powerpoint/2010/main" val="1478204602"/>
      </p:ext>
    </p:extLst>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Crus | CA D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11</a:t>
            </a:fld>
            <a:endParaRPr lang="en-US"/>
          </a:p>
        </p:txBody>
      </p:sp>
    </p:spTree>
    <p:extLst>
      <p:ext uri="{BB962C8B-B14F-4D97-AF65-F5344CB8AC3E}">
        <p14:creationId xmlns:p14="http://schemas.microsoft.com/office/powerpoint/2010/main" val="2933652674"/>
      </p:ext>
    </p:extLst>
  </p:cSld>
  <p:clrMapOvr>
    <a:masterClrMapping/>
  </p:clrMapOvr>
</p:sld>
</file>

<file path=ppt/slides/slide1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8/27/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pPr>
              <a:defRPr sz="1200">
                <a:latin typeface="Nexa Bold (Headings)"/>
              </a:defRPr>
            </a:pPr>
            <a:r>
              <a:t>Sector fair share | Effervescents | Malard Nicolas | NICOLAS EST | P12M</a:t>
            </a:r>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pPr>
              <a:defRPr sz="1600">
                <a:latin typeface="Nexa Bold (Headings)"/>
              </a:defRPr>
            </a:pPr>
            <a:r>
              <a:rPr lang="en-GB" dirty="0">
                <a:highlight>
                  <a:srgbClr val="FFFF00"/>
                </a:highlight>
              </a:rPr>
              <a:t>Sector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Malard Nicolas </a:t>
                      </a:r>
                    </a:p>
                    <a:p>
                      <a:pPr algn="ctr">
                        <a:defRPr sz="900" b="1">
                          <a:latin typeface="Nexa (Headings)"/>
                        </a:defRPr>
                      </a:pPr>
                      <a: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Malard Nicolas </a:t>
                      </a:r>
                    </a:p>
                    <a:p>
                      <a:pPr algn="ctr">
                        <a:defRPr sz="900" b="1">
                          <a:latin typeface="Nexa (Headings)"/>
                        </a:defRPr>
                      </a:pPr>
                      <a: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Malard Nicolas </a:t>
                      </a:r>
                    </a:p>
                    <a:p>
                      <a:pPr algn="ctr">
                        <a:defRPr sz="900" b="1">
                          <a:latin typeface="Nexa (Headings)"/>
                        </a:defRPr>
                      </a:pPr>
                      <a: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Malard Nicolas </a:t>
                      </a:r>
                    </a:p>
                    <a:p>
                      <a:pPr algn="ctr">
                        <a:defRPr sz="900" b="1">
                          <a:latin typeface="Nexa (Headings)"/>
                        </a:defRPr>
                      </a:pPr>
                      <a: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Malard Nicolas</a:t>
                      </a:r>
                    </a:p>
                    <a:p>
                      <a:pPr algn="ctr">
                        <a:defRPr sz="900" b="1">
                          <a:latin typeface="Nexa (Headings)"/>
                        </a:defRPr>
                      </a:pPr>
                      <a: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831402">
                <a:tc>
                  <a:txBody>
                    <a:bodyPr/>
                    <a:lstStyle/>
                    <a:p>
                      <a:pPr algn="ctr">
                        <a:defRPr sz="800" b="1">
                          <a:latin typeface="Nexa (Headings)"/>
                        </a:defRPr>
                      </a:pPr>
                      <a:r>
                        <a:t>Grand Total</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07</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7</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8%</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8</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831402">
                <a:tc>
                  <a:txBody>
                    <a:bodyPr/>
                    <a:lstStyle/>
                    <a:p>
                      <a:pPr algn="ctr">
                        <a:defRPr sz="800" b="1">
                          <a:latin typeface="Nexa (Headings)"/>
                        </a:defRPr>
                      </a:pPr>
                      <a:r>
                        <a:t>Mousseux</a:t>
                      </a:r>
                    </a:p>
                  </a:txBody>
                  <a:tcPr marL="3810" marR="3810" marT="3810" marB="0" anchor="ctr">
                    <a:noFill/>
                  </a:tcPr>
                </a:tc>
                <a:tc>
                  <a:txBody>
                    <a:bodyPr/>
                    <a:lstStyle/>
                    <a:p>
                      <a:pPr algn="ctr">
                        <a:defRPr sz="800">
                          <a:latin typeface="Nexa Book"/>
                        </a:defRPr>
                      </a:pPr>
                      <a:r>
                        <a:t>17</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3161381"/>
                  </a:ext>
                </a:extLst>
              </a:tr>
              <a:tr h="831402">
                <a:tc>
                  <a:txBody>
                    <a:bodyPr/>
                    <a:lstStyle/>
                    <a:p>
                      <a:pPr algn="ctr">
                        <a:defRPr sz="800" b="1">
                          <a:latin typeface="Nexa (Headings)"/>
                        </a:defRPr>
                      </a:pPr>
                      <a:r>
                        <a:t>Champagnes</a:t>
                      </a:r>
                    </a:p>
                  </a:txBody>
                  <a:tcPr marL="3810" marR="3810" marT="3810" marB="0" anchor="ctr">
                    <a:noFill/>
                  </a:tcPr>
                </a:tc>
                <a:tc>
                  <a:txBody>
                    <a:bodyPr/>
                    <a:lstStyle/>
                    <a:p>
                      <a:pPr algn="ctr">
                        <a:defRPr sz="800">
                          <a:latin typeface="Nexa Book"/>
                        </a:defRPr>
                      </a:pPr>
                      <a:r>
                        <a:t>88</a:t>
                      </a:r>
                    </a:p>
                  </a:txBody>
                  <a:tcPr marL="3810" marR="3810" marT="3810" marB="0" anchor="ctr">
                    <a:noFill/>
                  </a:tcPr>
                </a:tc>
                <a:tc>
                  <a:txBody>
                    <a:bodyPr/>
                    <a:lstStyle/>
                    <a:p>
                      <a:pPr algn="ctr">
                        <a:defRPr sz="800">
                          <a:latin typeface="Nexa Book"/>
                        </a:defRPr>
                      </a:pPr>
                      <a:r>
                        <a:t>7</a:t>
                      </a:r>
                    </a:p>
                  </a:txBody>
                  <a:tcPr marL="3810" marR="3810" marT="3810" marB="0" anchor="ctr">
                    <a:noFill/>
                  </a:tcPr>
                </a:tc>
                <a:tc>
                  <a:txBody>
                    <a:bodyPr/>
                    <a:lstStyle/>
                    <a:p>
                      <a:pPr algn="ctr">
                        <a:defRPr sz="800">
                          <a:latin typeface="Nexa Book"/>
                        </a:defRPr>
                      </a:pPr>
                      <a:r>
                        <a:t>8%</a:t>
                      </a:r>
                    </a:p>
                  </a:txBody>
                  <a:tcPr marL="3810" marR="3810" marT="3810" marB="0" anchor="ctr">
                    <a:noFill/>
                  </a:tcPr>
                </a:tc>
                <a:tc>
                  <a:txBody>
                    <a:bodyPr/>
                    <a:lstStyle/>
                    <a:p>
                      <a:pPr algn="ctr">
                        <a:defRPr sz="800">
                          <a:latin typeface="Nexa Book"/>
                        </a:defRPr>
                      </a:pPr>
                      <a:r>
                        <a:t>9%</a:t>
                      </a:r>
                    </a:p>
                  </a:txBody>
                  <a:tcPr marL="3810" marR="3810" marT="3810" marB="0" anchor="ctr">
                    <a:noFill/>
                  </a:tcPr>
                </a:tc>
                <a:tc>
                  <a:txBody>
                    <a:bodyPr/>
                    <a:lstStyle/>
                    <a:p>
                      <a:pPr algn="ctr">
                        <a:defRPr sz="800">
                          <a:latin typeface="Nexa Book"/>
                        </a:defRPr>
                      </a:pPr>
                      <a:r>
                        <a:t>8</a:t>
                      </a:r>
                    </a:p>
                  </a:txBody>
                  <a:tcPr marL="3810" marR="3810" marT="3810" marB="0" anchor="ctr">
                    <a:noFill/>
                  </a:tcPr>
                </a:tc>
                <a:tc>
                  <a:txBody>
                    <a:bodyPr/>
                    <a:lstStyle/>
                    <a:p>
                      <a:pPr algn="ctr">
                        <a:defRPr sz="800">
                          <a:latin typeface="Nexa Book"/>
                        </a:defRPr>
                      </a:pPr>
                      <a:r>
                        <a:t>1</a:t>
                      </a:r>
                    </a:p>
                  </a:txBody>
                  <a:tcPr marL="3810" marR="3810" marT="3810" marB="0" anchor="ctr">
                    <a:noFill/>
                  </a:tcPr>
                </a:tc>
                <a:extLst>
                  <a:ext uri="{0D108BD9-81ED-4DB2-BD59-A6C34878D82A}">
                    <a16:rowId xmlns:a16="http://schemas.microsoft.com/office/drawing/2014/main" val="1752397169"/>
                  </a:ext>
                </a:extLst>
              </a:tr>
              <a:tr h="831402">
                <a:tc>
                  <a:txBody>
                    <a:bodyPr/>
                    <a:lstStyle/>
                    <a:p>
                      <a:pPr algn="ctr">
                        <a:defRPr sz="800" b="1">
                          <a:latin typeface="Nexa (Headings)"/>
                        </a:defRPr>
                      </a:pPr>
                      <a:r>
                        <a:t>Effervescents Sans Alcool</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3712364869"/>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1110</a:t>
            </a:fld>
            <a:endParaRPr lang="en-US"/>
          </a:p>
        </p:txBody>
      </p:sp>
    </p:spTree>
    <p:extLst>
      <p:ext uri="{BB962C8B-B14F-4D97-AF65-F5344CB8AC3E}">
        <p14:creationId xmlns:p14="http://schemas.microsoft.com/office/powerpoint/2010/main" val="2062044536"/>
      </p:ext>
    </p:extLst>
  </p:cSld>
  <p:clrMapOvr>
    <a:masterClrMapping/>
  </p:clrMapOvr>
</p:sld>
</file>

<file path=ppt/slides/slide1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8/27/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pPr>
              <a:defRPr sz="1200">
                <a:latin typeface="Nexa Bold (Headings)"/>
              </a:defRPr>
            </a:pPr>
            <a:r>
              <a:t>Sector fair share | Effervescents | Malard Nicolas | NICOLAS AQU | P12M</a:t>
            </a:r>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pPr>
              <a:defRPr sz="1600">
                <a:latin typeface="Nexa Bold (Headings)"/>
              </a:defRPr>
            </a:pPr>
            <a:r>
              <a:rPr lang="en-GB" dirty="0">
                <a:highlight>
                  <a:srgbClr val="FFFF00"/>
                </a:highlight>
              </a:rPr>
              <a:t>Sector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Malard Nicolas </a:t>
                      </a:r>
                    </a:p>
                    <a:p>
                      <a:pPr algn="ctr">
                        <a:defRPr sz="900" b="1">
                          <a:latin typeface="Nexa (Headings)"/>
                        </a:defRPr>
                      </a:pPr>
                      <a: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Malard Nicolas </a:t>
                      </a:r>
                    </a:p>
                    <a:p>
                      <a:pPr algn="ctr">
                        <a:defRPr sz="900" b="1">
                          <a:latin typeface="Nexa (Headings)"/>
                        </a:defRPr>
                      </a:pPr>
                      <a: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Malard Nicolas </a:t>
                      </a:r>
                    </a:p>
                    <a:p>
                      <a:pPr algn="ctr">
                        <a:defRPr sz="900" b="1">
                          <a:latin typeface="Nexa (Headings)"/>
                        </a:defRPr>
                      </a:pPr>
                      <a: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Malard Nicolas </a:t>
                      </a:r>
                    </a:p>
                    <a:p>
                      <a:pPr algn="ctr">
                        <a:defRPr sz="900" b="1">
                          <a:latin typeface="Nexa (Headings)"/>
                        </a:defRPr>
                      </a:pPr>
                      <a: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Malard Nicolas</a:t>
                      </a:r>
                    </a:p>
                    <a:p>
                      <a:pPr algn="ctr">
                        <a:defRPr sz="900" b="1">
                          <a:latin typeface="Nexa (Headings)"/>
                        </a:defRPr>
                      </a:pPr>
                      <a: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831402">
                <a:tc>
                  <a:txBody>
                    <a:bodyPr/>
                    <a:lstStyle/>
                    <a:p>
                      <a:pPr algn="ctr">
                        <a:defRPr sz="800" b="1">
                          <a:latin typeface="Nexa (Headings)"/>
                        </a:defRPr>
                      </a:pPr>
                      <a:r>
                        <a:t>Grand Total</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00</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7</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2%</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2</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831402">
                <a:tc>
                  <a:txBody>
                    <a:bodyPr/>
                    <a:lstStyle/>
                    <a:p>
                      <a:pPr algn="ctr">
                        <a:defRPr sz="800" b="1">
                          <a:latin typeface="Nexa (Headings)"/>
                        </a:defRPr>
                      </a:pPr>
                      <a:r>
                        <a:t>Mousseux</a:t>
                      </a:r>
                    </a:p>
                  </a:txBody>
                  <a:tcPr marL="3810" marR="3810" marT="3810" marB="0" anchor="ctr">
                    <a:noFill/>
                  </a:tcPr>
                </a:tc>
                <a:tc>
                  <a:txBody>
                    <a:bodyPr/>
                    <a:lstStyle/>
                    <a:p>
                      <a:pPr algn="ctr">
                        <a:defRPr sz="800">
                          <a:latin typeface="Nexa Book"/>
                        </a:defRPr>
                      </a:pPr>
                      <a:r>
                        <a:t>18</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3161381"/>
                  </a:ext>
                </a:extLst>
              </a:tr>
              <a:tr h="831402">
                <a:tc>
                  <a:txBody>
                    <a:bodyPr/>
                    <a:lstStyle/>
                    <a:p>
                      <a:pPr algn="ctr">
                        <a:defRPr sz="800" b="1">
                          <a:latin typeface="Nexa (Headings)"/>
                        </a:defRPr>
                      </a:pPr>
                      <a:r>
                        <a:t>Champagnes</a:t>
                      </a:r>
                    </a:p>
                  </a:txBody>
                  <a:tcPr marL="3810" marR="3810" marT="3810" marB="0" anchor="ctr">
                    <a:noFill/>
                  </a:tcPr>
                </a:tc>
                <a:tc>
                  <a:txBody>
                    <a:bodyPr/>
                    <a:lstStyle/>
                    <a:p>
                      <a:pPr algn="ctr">
                        <a:defRPr sz="800">
                          <a:latin typeface="Nexa Book"/>
                        </a:defRPr>
                      </a:pPr>
                      <a:r>
                        <a:t>79</a:t>
                      </a:r>
                    </a:p>
                  </a:txBody>
                  <a:tcPr marL="3810" marR="3810" marT="3810" marB="0" anchor="ctr">
                    <a:noFill/>
                  </a:tcPr>
                </a:tc>
                <a:tc>
                  <a:txBody>
                    <a:bodyPr/>
                    <a:lstStyle/>
                    <a:p>
                      <a:pPr algn="ctr">
                        <a:defRPr sz="800">
                          <a:latin typeface="Nexa Book"/>
                        </a:defRPr>
                      </a:pPr>
                      <a:r>
                        <a:t>7</a:t>
                      </a:r>
                    </a:p>
                  </a:txBody>
                  <a:tcPr marL="3810" marR="3810" marT="3810" marB="0" anchor="ctr">
                    <a:noFill/>
                  </a:tcPr>
                </a:tc>
                <a:tc>
                  <a:txBody>
                    <a:bodyPr/>
                    <a:lstStyle/>
                    <a:p>
                      <a:pPr algn="ctr">
                        <a:defRPr sz="800">
                          <a:latin typeface="Nexa Book"/>
                        </a:defRPr>
                      </a:pPr>
                      <a:r>
                        <a:t>9%</a:t>
                      </a:r>
                    </a:p>
                  </a:txBody>
                  <a:tcPr marL="3810" marR="3810" marT="3810" marB="0" anchor="ctr">
                    <a:noFill/>
                  </a:tcPr>
                </a:tc>
                <a:tc>
                  <a:txBody>
                    <a:bodyPr/>
                    <a:lstStyle/>
                    <a:p>
                      <a:pPr algn="ctr">
                        <a:defRPr sz="800">
                          <a:latin typeface="Nexa Book"/>
                        </a:defRPr>
                      </a:pPr>
                      <a:r>
                        <a:t>12%</a:t>
                      </a:r>
                    </a:p>
                  </a:txBody>
                  <a:tcPr marL="3810" marR="3810" marT="3810" marB="0" anchor="ctr">
                    <a:noFill/>
                  </a:tcPr>
                </a:tc>
                <a:tc>
                  <a:txBody>
                    <a:bodyPr/>
                    <a:lstStyle/>
                    <a:p>
                      <a:pPr algn="ctr">
                        <a:defRPr sz="800">
                          <a:latin typeface="Nexa Book"/>
                        </a:defRPr>
                      </a:pPr>
                      <a:r>
                        <a:t>9</a:t>
                      </a:r>
                    </a:p>
                  </a:txBody>
                  <a:tcPr marL="3810" marR="3810" marT="3810" marB="0" anchor="ctr">
                    <a:noFill/>
                  </a:tcPr>
                </a:tc>
                <a:tc>
                  <a:txBody>
                    <a:bodyPr/>
                    <a:lstStyle/>
                    <a:p>
                      <a:pPr algn="ctr">
                        <a:defRPr sz="800">
                          <a:latin typeface="Nexa Book"/>
                        </a:defRPr>
                      </a:pPr>
                      <a:r>
                        <a:t>2</a:t>
                      </a:r>
                    </a:p>
                  </a:txBody>
                  <a:tcPr marL="3810" marR="3810" marT="3810" marB="0" anchor="ctr">
                    <a:noFill/>
                  </a:tcPr>
                </a:tc>
                <a:extLst>
                  <a:ext uri="{0D108BD9-81ED-4DB2-BD59-A6C34878D82A}">
                    <a16:rowId xmlns:a16="http://schemas.microsoft.com/office/drawing/2014/main" val="1752397169"/>
                  </a:ext>
                </a:extLst>
              </a:tr>
              <a:tr h="831402">
                <a:tc>
                  <a:txBody>
                    <a:bodyPr/>
                    <a:lstStyle/>
                    <a:p>
                      <a:pPr algn="ctr">
                        <a:defRPr sz="800" b="1">
                          <a:latin typeface="Nexa (Headings)"/>
                        </a:defRPr>
                      </a:pPr>
                      <a:r>
                        <a:t>Effervescents Sans Alcool</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3712364869"/>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1111</a:t>
            </a:fld>
            <a:endParaRPr lang="en-US"/>
          </a:p>
        </p:txBody>
      </p:sp>
    </p:spTree>
    <p:extLst>
      <p:ext uri="{BB962C8B-B14F-4D97-AF65-F5344CB8AC3E}">
        <p14:creationId xmlns:p14="http://schemas.microsoft.com/office/powerpoint/2010/main" val="147381970"/>
      </p:ext>
    </p:extLst>
  </p:cSld>
  <p:clrMapOvr>
    <a:masterClrMapping/>
  </p:clrMapOvr>
</p:sld>
</file>

<file path=ppt/slides/slide1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8/27/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pPr>
              <a:defRPr sz="1200">
                <a:latin typeface="Nexa Bold (Headings)"/>
              </a:defRPr>
            </a:pPr>
            <a:r>
              <a:t>Sector fair share | Effervescents | Malard Nicolas | CA B | P12M</a:t>
            </a:r>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pPr>
              <a:defRPr sz="1600">
                <a:latin typeface="Nexa Bold (Headings)"/>
              </a:defRPr>
            </a:pPr>
            <a:r>
              <a:rPr lang="en-GB" dirty="0">
                <a:highlight>
                  <a:srgbClr val="FFFF00"/>
                </a:highlight>
              </a:rPr>
              <a:t>Sector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Malard Nicolas </a:t>
                      </a:r>
                    </a:p>
                    <a:p>
                      <a:pPr algn="ctr">
                        <a:defRPr sz="900" b="1">
                          <a:latin typeface="Nexa (Headings)"/>
                        </a:defRPr>
                      </a:pPr>
                      <a: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Malard Nicolas </a:t>
                      </a:r>
                    </a:p>
                    <a:p>
                      <a:pPr algn="ctr">
                        <a:defRPr sz="900" b="1">
                          <a:latin typeface="Nexa (Headings)"/>
                        </a:defRPr>
                      </a:pPr>
                      <a: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Malard Nicolas </a:t>
                      </a:r>
                    </a:p>
                    <a:p>
                      <a:pPr algn="ctr">
                        <a:defRPr sz="900" b="1">
                          <a:latin typeface="Nexa (Headings)"/>
                        </a:defRPr>
                      </a:pPr>
                      <a: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Malard Nicolas </a:t>
                      </a:r>
                    </a:p>
                    <a:p>
                      <a:pPr algn="ctr">
                        <a:defRPr sz="900" b="1">
                          <a:latin typeface="Nexa (Headings)"/>
                        </a:defRPr>
                      </a:pPr>
                      <a: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Malard Nicolas</a:t>
                      </a:r>
                    </a:p>
                    <a:p>
                      <a:pPr algn="ctr">
                        <a:defRPr sz="900" b="1">
                          <a:latin typeface="Nexa (Headings)"/>
                        </a:defRPr>
                      </a:pPr>
                      <a: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831402">
                <a:tc>
                  <a:txBody>
                    <a:bodyPr/>
                    <a:lstStyle/>
                    <a:p>
                      <a:pPr algn="ctr">
                        <a:defRPr sz="800" b="1">
                          <a:latin typeface="Nexa (Headings)"/>
                        </a:defRPr>
                      </a:pPr>
                      <a:r>
                        <a:t>Grand Total</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88</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7</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0%</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7</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831402">
                <a:tc>
                  <a:txBody>
                    <a:bodyPr/>
                    <a:lstStyle/>
                    <a:p>
                      <a:pPr algn="ctr">
                        <a:defRPr sz="800" b="1">
                          <a:latin typeface="Nexa (Headings)"/>
                        </a:defRPr>
                      </a:pPr>
                      <a:r>
                        <a:t>Mousseux</a:t>
                      </a:r>
                    </a:p>
                  </a:txBody>
                  <a:tcPr marL="3810" marR="3810" marT="3810" marB="0" anchor="ctr">
                    <a:noFill/>
                  </a:tcPr>
                </a:tc>
                <a:tc>
                  <a:txBody>
                    <a:bodyPr/>
                    <a:lstStyle/>
                    <a:p>
                      <a:pPr algn="ctr">
                        <a:defRPr sz="800">
                          <a:latin typeface="Nexa Book"/>
                        </a:defRPr>
                      </a:pPr>
                      <a:r>
                        <a:t>15</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3161381"/>
                  </a:ext>
                </a:extLst>
              </a:tr>
              <a:tr h="831402">
                <a:tc>
                  <a:txBody>
                    <a:bodyPr/>
                    <a:lstStyle/>
                    <a:p>
                      <a:pPr algn="ctr">
                        <a:defRPr sz="800" b="1">
                          <a:latin typeface="Nexa (Headings)"/>
                        </a:defRPr>
                      </a:pPr>
                      <a:r>
                        <a:t>Champagnes</a:t>
                      </a:r>
                    </a:p>
                  </a:txBody>
                  <a:tcPr marL="3810" marR="3810" marT="3810" marB="0" anchor="ctr">
                    <a:noFill/>
                  </a:tcPr>
                </a:tc>
                <a:tc>
                  <a:txBody>
                    <a:bodyPr/>
                    <a:lstStyle/>
                    <a:p>
                      <a:pPr algn="ctr">
                        <a:defRPr sz="800">
                          <a:latin typeface="Nexa Book"/>
                        </a:defRPr>
                      </a:pPr>
                      <a:r>
                        <a:t>71</a:t>
                      </a:r>
                    </a:p>
                  </a:txBody>
                  <a:tcPr marL="3810" marR="3810" marT="3810" marB="0" anchor="ctr">
                    <a:noFill/>
                  </a:tcPr>
                </a:tc>
                <a:tc>
                  <a:txBody>
                    <a:bodyPr/>
                    <a:lstStyle/>
                    <a:p>
                      <a:pPr algn="ctr">
                        <a:defRPr sz="800">
                          <a:latin typeface="Nexa Book"/>
                        </a:defRPr>
                      </a:pPr>
                      <a:r>
                        <a:t>7</a:t>
                      </a:r>
                    </a:p>
                  </a:txBody>
                  <a:tcPr marL="3810" marR="3810" marT="3810" marB="0" anchor="ctr">
                    <a:noFill/>
                  </a:tcPr>
                </a:tc>
                <a:tc>
                  <a:txBody>
                    <a:bodyPr/>
                    <a:lstStyle/>
                    <a:p>
                      <a:pPr algn="ctr">
                        <a:defRPr sz="800">
                          <a:latin typeface="Nexa Book"/>
                        </a:defRPr>
                      </a:pPr>
                      <a:r>
                        <a:t>10%</a:t>
                      </a:r>
                    </a:p>
                  </a:txBody>
                  <a:tcPr marL="3810" marR="3810" marT="3810" marB="0" anchor="ctr">
                    <a:noFill/>
                  </a:tcPr>
                </a:tc>
                <a:tc>
                  <a:txBody>
                    <a:bodyPr/>
                    <a:lstStyle/>
                    <a:p>
                      <a:pPr algn="ctr">
                        <a:defRPr sz="800">
                          <a:latin typeface="Nexa Book"/>
                        </a:defRPr>
                      </a:pPr>
                      <a:r>
                        <a:t>9%</a:t>
                      </a:r>
                    </a:p>
                  </a:txBody>
                  <a:tcPr marL="3810" marR="3810" marT="3810" marB="0" anchor="ctr">
                    <a:noFill/>
                  </a:tcPr>
                </a:tc>
                <a:tc>
                  <a:txBody>
                    <a:bodyPr/>
                    <a:lstStyle/>
                    <a:p>
                      <a:pPr algn="ctr">
                        <a:defRPr sz="800">
                          <a:latin typeface="Nexa Book"/>
                        </a:defRPr>
                      </a:pPr>
                      <a:r>
                        <a:t>7</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1752397169"/>
                  </a:ext>
                </a:extLst>
              </a:tr>
              <a:tr h="831402">
                <a:tc>
                  <a:txBody>
                    <a:bodyPr/>
                    <a:lstStyle/>
                    <a:p>
                      <a:pPr algn="ctr">
                        <a:defRPr sz="800" b="1">
                          <a:latin typeface="Nexa (Headings)"/>
                        </a:defRPr>
                      </a:pPr>
                      <a:r>
                        <a:t>Effervescents Sans Alcool</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3712364869"/>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1112</a:t>
            </a:fld>
            <a:endParaRPr lang="en-US"/>
          </a:p>
        </p:txBody>
      </p:sp>
    </p:spTree>
    <p:extLst>
      <p:ext uri="{BB962C8B-B14F-4D97-AF65-F5344CB8AC3E}">
        <p14:creationId xmlns:p14="http://schemas.microsoft.com/office/powerpoint/2010/main" val="2362062657"/>
      </p:ext>
    </p:extLst>
  </p:cSld>
  <p:clrMapOvr>
    <a:masterClrMapping/>
  </p:clrMapOvr>
</p:sld>
</file>

<file path=ppt/slides/slide1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8/27/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pPr>
              <a:defRPr sz="1200">
                <a:latin typeface="Nexa Bold (Headings)"/>
              </a:defRPr>
            </a:pPr>
            <a:r>
              <a:t>Sector fair share | Effervescents | Malard Nicolas | CA A | P12M</a:t>
            </a:r>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pPr>
              <a:defRPr sz="1600">
                <a:latin typeface="Nexa Bold (Headings)"/>
              </a:defRPr>
            </a:pPr>
            <a:r>
              <a:rPr lang="en-GB" dirty="0">
                <a:highlight>
                  <a:srgbClr val="FFFF00"/>
                </a:highlight>
              </a:rPr>
              <a:t>Sector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Malard Nicolas </a:t>
                      </a:r>
                    </a:p>
                    <a:p>
                      <a:pPr algn="ctr">
                        <a:defRPr sz="900" b="1">
                          <a:latin typeface="Nexa (Headings)"/>
                        </a:defRPr>
                      </a:pPr>
                      <a: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Malard Nicolas </a:t>
                      </a:r>
                    </a:p>
                    <a:p>
                      <a:pPr algn="ctr">
                        <a:defRPr sz="900" b="1">
                          <a:latin typeface="Nexa (Headings)"/>
                        </a:defRPr>
                      </a:pPr>
                      <a: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Malard Nicolas </a:t>
                      </a:r>
                    </a:p>
                    <a:p>
                      <a:pPr algn="ctr">
                        <a:defRPr sz="900" b="1">
                          <a:latin typeface="Nexa (Headings)"/>
                        </a:defRPr>
                      </a:pPr>
                      <a: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Malard Nicolas </a:t>
                      </a:r>
                    </a:p>
                    <a:p>
                      <a:pPr algn="ctr">
                        <a:defRPr sz="900" b="1">
                          <a:latin typeface="Nexa (Headings)"/>
                        </a:defRPr>
                      </a:pPr>
                      <a: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Malard Nicolas</a:t>
                      </a:r>
                    </a:p>
                    <a:p>
                      <a:pPr algn="ctr">
                        <a:defRPr sz="900" b="1">
                          <a:latin typeface="Nexa (Headings)"/>
                        </a:defRPr>
                      </a:pPr>
                      <a: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831402">
                <a:tc>
                  <a:txBody>
                    <a:bodyPr/>
                    <a:lstStyle/>
                    <a:p>
                      <a:pPr algn="ctr">
                        <a:defRPr sz="800" b="1">
                          <a:latin typeface="Nexa (Headings)"/>
                        </a:defRPr>
                      </a:pPr>
                      <a:r>
                        <a:t>Grand Total</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11</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7</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8%</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8%</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7</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831402">
                <a:tc>
                  <a:txBody>
                    <a:bodyPr/>
                    <a:lstStyle/>
                    <a:p>
                      <a:pPr algn="ctr">
                        <a:defRPr sz="800" b="1">
                          <a:latin typeface="Nexa (Headings)"/>
                        </a:defRPr>
                      </a:pPr>
                      <a:r>
                        <a:t>Mousseux</a:t>
                      </a:r>
                    </a:p>
                  </a:txBody>
                  <a:tcPr marL="3810" marR="3810" marT="3810" marB="0" anchor="ctr">
                    <a:noFill/>
                  </a:tcPr>
                </a:tc>
                <a:tc>
                  <a:txBody>
                    <a:bodyPr/>
                    <a:lstStyle/>
                    <a:p>
                      <a:pPr algn="ctr">
                        <a:defRPr sz="800">
                          <a:latin typeface="Nexa Book"/>
                        </a:defRPr>
                      </a:pPr>
                      <a:r>
                        <a:t>15</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3161381"/>
                  </a:ext>
                </a:extLst>
              </a:tr>
              <a:tr h="831402">
                <a:tc>
                  <a:txBody>
                    <a:bodyPr/>
                    <a:lstStyle/>
                    <a:p>
                      <a:pPr algn="ctr">
                        <a:defRPr sz="800" b="1">
                          <a:latin typeface="Nexa (Headings)"/>
                        </a:defRPr>
                      </a:pPr>
                      <a:r>
                        <a:t>Champagnes</a:t>
                      </a:r>
                    </a:p>
                  </a:txBody>
                  <a:tcPr marL="3810" marR="3810" marT="3810" marB="0" anchor="ctr">
                    <a:noFill/>
                  </a:tcPr>
                </a:tc>
                <a:tc>
                  <a:txBody>
                    <a:bodyPr/>
                    <a:lstStyle/>
                    <a:p>
                      <a:pPr algn="ctr">
                        <a:defRPr sz="800">
                          <a:latin typeface="Nexa Book"/>
                        </a:defRPr>
                      </a:pPr>
                      <a:r>
                        <a:t>92</a:t>
                      </a:r>
                    </a:p>
                  </a:txBody>
                  <a:tcPr marL="3810" marR="3810" marT="3810" marB="0" anchor="ctr">
                    <a:noFill/>
                  </a:tcPr>
                </a:tc>
                <a:tc>
                  <a:txBody>
                    <a:bodyPr/>
                    <a:lstStyle/>
                    <a:p>
                      <a:pPr algn="ctr">
                        <a:defRPr sz="800">
                          <a:latin typeface="Nexa Book"/>
                        </a:defRPr>
                      </a:pPr>
                      <a:r>
                        <a:t>7</a:t>
                      </a:r>
                    </a:p>
                  </a:txBody>
                  <a:tcPr marL="3810" marR="3810" marT="3810" marB="0" anchor="ctr">
                    <a:noFill/>
                  </a:tcPr>
                </a:tc>
                <a:tc>
                  <a:txBody>
                    <a:bodyPr/>
                    <a:lstStyle/>
                    <a:p>
                      <a:pPr algn="ctr">
                        <a:defRPr sz="800">
                          <a:latin typeface="Nexa Book"/>
                        </a:defRPr>
                      </a:pPr>
                      <a:r>
                        <a:t>8%</a:t>
                      </a:r>
                    </a:p>
                  </a:txBody>
                  <a:tcPr marL="3810" marR="3810" marT="3810" marB="0" anchor="ctr">
                    <a:noFill/>
                  </a:tcPr>
                </a:tc>
                <a:tc>
                  <a:txBody>
                    <a:bodyPr/>
                    <a:lstStyle/>
                    <a:p>
                      <a:pPr algn="ctr">
                        <a:defRPr sz="800">
                          <a:latin typeface="Nexa Book"/>
                        </a:defRPr>
                      </a:pPr>
                      <a:r>
                        <a:t>8%</a:t>
                      </a:r>
                    </a:p>
                  </a:txBody>
                  <a:tcPr marL="3810" marR="3810" marT="3810" marB="0" anchor="ctr">
                    <a:noFill/>
                  </a:tcPr>
                </a:tc>
                <a:tc>
                  <a:txBody>
                    <a:bodyPr/>
                    <a:lstStyle/>
                    <a:p>
                      <a:pPr algn="ctr">
                        <a:defRPr sz="800">
                          <a:latin typeface="Nexa Book"/>
                        </a:defRPr>
                      </a:pPr>
                      <a:r>
                        <a:t>7</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1752397169"/>
                  </a:ext>
                </a:extLst>
              </a:tr>
              <a:tr h="831402">
                <a:tc>
                  <a:txBody>
                    <a:bodyPr/>
                    <a:lstStyle/>
                    <a:p>
                      <a:pPr algn="ctr">
                        <a:defRPr sz="800" b="1">
                          <a:latin typeface="Nexa (Headings)"/>
                        </a:defRPr>
                      </a:pPr>
                      <a:r>
                        <a:t>Effervescents Sans Alcool</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3712364869"/>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1113</a:t>
            </a:fld>
            <a:endParaRPr lang="en-US"/>
          </a:p>
        </p:txBody>
      </p:sp>
    </p:spTree>
    <p:extLst>
      <p:ext uri="{BB962C8B-B14F-4D97-AF65-F5344CB8AC3E}">
        <p14:creationId xmlns:p14="http://schemas.microsoft.com/office/powerpoint/2010/main" val="895198460"/>
      </p:ext>
    </p:extLst>
  </p:cSld>
  <p:clrMapOvr>
    <a:masterClrMapping/>
  </p:clrMapOvr>
</p:sld>
</file>

<file path=ppt/slides/slide1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8/27/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pPr>
              <a:defRPr sz="1200">
                <a:latin typeface="Nexa Bold (Headings)"/>
              </a:defRPr>
            </a:pPr>
            <a:r>
              <a:t>Sector fair share | Effervescents | Malard Nicolas | CA C | P12M</a:t>
            </a:r>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pPr>
              <a:defRPr sz="1600">
                <a:latin typeface="Nexa Bold (Headings)"/>
              </a:defRPr>
            </a:pPr>
            <a:r>
              <a:rPr lang="en-GB" dirty="0">
                <a:highlight>
                  <a:srgbClr val="FFFF00"/>
                </a:highlight>
              </a:rPr>
              <a:t>Sector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Malard Nicolas </a:t>
                      </a:r>
                    </a:p>
                    <a:p>
                      <a:pPr algn="ctr">
                        <a:defRPr sz="900" b="1">
                          <a:latin typeface="Nexa (Headings)"/>
                        </a:defRPr>
                      </a:pPr>
                      <a: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Malard Nicolas </a:t>
                      </a:r>
                    </a:p>
                    <a:p>
                      <a:pPr algn="ctr">
                        <a:defRPr sz="900" b="1">
                          <a:latin typeface="Nexa (Headings)"/>
                        </a:defRPr>
                      </a:pPr>
                      <a: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Malard Nicolas </a:t>
                      </a:r>
                    </a:p>
                    <a:p>
                      <a:pPr algn="ctr">
                        <a:defRPr sz="900" b="1">
                          <a:latin typeface="Nexa (Headings)"/>
                        </a:defRPr>
                      </a:pPr>
                      <a: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Malard Nicolas </a:t>
                      </a:r>
                    </a:p>
                    <a:p>
                      <a:pPr algn="ctr">
                        <a:defRPr sz="900" b="1">
                          <a:latin typeface="Nexa (Headings)"/>
                        </a:defRPr>
                      </a:pPr>
                      <a: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Malard Nicolas</a:t>
                      </a:r>
                    </a:p>
                    <a:p>
                      <a:pPr algn="ctr">
                        <a:defRPr sz="900" b="1">
                          <a:latin typeface="Nexa (Headings)"/>
                        </a:defRPr>
                      </a:pPr>
                      <a: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831402">
                <a:tc>
                  <a:txBody>
                    <a:bodyPr/>
                    <a:lstStyle/>
                    <a:p>
                      <a:pPr algn="ctr">
                        <a:defRPr sz="800" b="1">
                          <a:latin typeface="Nexa (Headings)"/>
                        </a:defRPr>
                      </a:pPr>
                      <a:r>
                        <a:t>Grand Total</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77</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6</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6</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831402">
                <a:tc>
                  <a:txBody>
                    <a:bodyPr/>
                    <a:lstStyle/>
                    <a:p>
                      <a:pPr algn="ctr">
                        <a:defRPr sz="800" b="1">
                          <a:latin typeface="Nexa (Headings)"/>
                        </a:defRPr>
                      </a:pPr>
                      <a:r>
                        <a:t>Mousseux</a:t>
                      </a:r>
                    </a:p>
                  </a:txBody>
                  <a:tcPr marL="3810" marR="3810" marT="3810" marB="0" anchor="ctr">
                    <a:noFill/>
                  </a:tcPr>
                </a:tc>
                <a:tc>
                  <a:txBody>
                    <a:bodyPr/>
                    <a:lstStyle/>
                    <a:p>
                      <a:pPr algn="ctr">
                        <a:defRPr sz="800">
                          <a:latin typeface="Nexa Book"/>
                        </a:defRPr>
                      </a:pPr>
                      <a:r>
                        <a:t>13</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3161381"/>
                  </a:ext>
                </a:extLst>
              </a:tr>
              <a:tr h="831402">
                <a:tc>
                  <a:txBody>
                    <a:bodyPr/>
                    <a:lstStyle/>
                    <a:p>
                      <a:pPr algn="ctr">
                        <a:defRPr sz="800" b="1">
                          <a:latin typeface="Nexa (Headings)"/>
                        </a:defRPr>
                      </a:pPr>
                      <a:r>
                        <a:t>Champagnes</a:t>
                      </a:r>
                    </a:p>
                  </a:txBody>
                  <a:tcPr marL="3810" marR="3810" marT="3810" marB="0" anchor="ctr">
                    <a:noFill/>
                  </a:tcPr>
                </a:tc>
                <a:tc>
                  <a:txBody>
                    <a:bodyPr/>
                    <a:lstStyle/>
                    <a:p>
                      <a:pPr algn="ctr">
                        <a:defRPr sz="800">
                          <a:latin typeface="Nexa Book"/>
                        </a:defRPr>
                      </a:pPr>
                      <a:r>
                        <a:t>62</a:t>
                      </a:r>
                    </a:p>
                  </a:txBody>
                  <a:tcPr marL="3810" marR="3810" marT="3810" marB="0" anchor="ctr">
                    <a:noFill/>
                  </a:tcPr>
                </a:tc>
                <a:tc>
                  <a:txBody>
                    <a:bodyPr/>
                    <a:lstStyle/>
                    <a:p>
                      <a:pPr algn="ctr">
                        <a:defRPr sz="800">
                          <a:latin typeface="Nexa Book"/>
                        </a:defRPr>
                      </a:pPr>
                      <a:r>
                        <a:t>6</a:t>
                      </a:r>
                    </a:p>
                  </a:txBody>
                  <a:tcPr marL="3810" marR="3810" marT="3810" marB="0" anchor="ctr">
                    <a:noFill/>
                  </a:tcPr>
                </a:tc>
                <a:tc>
                  <a:txBody>
                    <a:bodyPr/>
                    <a:lstStyle/>
                    <a:p>
                      <a:pPr algn="ctr">
                        <a:defRPr sz="800">
                          <a:latin typeface="Nexa Book"/>
                        </a:defRPr>
                      </a:pPr>
                      <a:r>
                        <a:t>9%</a:t>
                      </a:r>
                    </a:p>
                  </a:txBody>
                  <a:tcPr marL="3810" marR="3810" marT="3810" marB="0" anchor="ctr">
                    <a:noFill/>
                  </a:tcPr>
                </a:tc>
                <a:tc>
                  <a:txBody>
                    <a:bodyPr/>
                    <a:lstStyle/>
                    <a:p>
                      <a:pPr algn="ctr">
                        <a:defRPr sz="800">
                          <a:latin typeface="Nexa Book"/>
                        </a:defRPr>
                      </a:pPr>
                      <a:r>
                        <a:t>9%</a:t>
                      </a:r>
                    </a:p>
                  </a:txBody>
                  <a:tcPr marL="3810" marR="3810" marT="3810" marB="0" anchor="ctr">
                    <a:noFill/>
                  </a:tcPr>
                </a:tc>
                <a:tc>
                  <a:txBody>
                    <a:bodyPr/>
                    <a:lstStyle/>
                    <a:p>
                      <a:pPr algn="ctr">
                        <a:defRPr sz="800">
                          <a:latin typeface="Nexa Book"/>
                        </a:defRPr>
                      </a:pPr>
                      <a:r>
                        <a:t>6</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1752397169"/>
                  </a:ext>
                </a:extLst>
              </a:tr>
              <a:tr h="831402">
                <a:tc>
                  <a:txBody>
                    <a:bodyPr/>
                    <a:lstStyle/>
                    <a:p>
                      <a:pPr algn="ctr">
                        <a:defRPr sz="800" b="1">
                          <a:latin typeface="Nexa (Headings)"/>
                        </a:defRPr>
                      </a:pPr>
                      <a:r>
                        <a:t>Effervescents Sans Alcool</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3712364869"/>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1114</a:t>
            </a:fld>
            <a:endParaRPr lang="en-US"/>
          </a:p>
        </p:txBody>
      </p:sp>
    </p:spTree>
    <p:extLst>
      <p:ext uri="{BB962C8B-B14F-4D97-AF65-F5344CB8AC3E}">
        <p14:creationId xmlns:p14="http://schemas.microsoft.com/office/powerpoint/2010/main" val="1232746412"/>
      </p:ext>
    </p:extLst>
  </p:cSld>
  <p:clrMapOvr>
    <a:masterClrMapping/>
  </p:clrMapOvr>
</p:sld>
</file>

<file path=ppt/slides/slide1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8/27/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pPr>
              <a:defRPr sz="1200">
                <a:latin typeface="Nexa Bold (Headings)"/>
              </a:defRPr>
            </a:pPr>
            <a:r>
              <a:t>Sector fair share | Effervescents | Malard Nicolas | CA D | P12M</a:t>
            </a:r>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pPr>
              <a:defRPr sz="1600">
                <a:latin typeface="Nexa Bold (Headings)"/>
              </a:defRPr>
            </a:pPr>
            <a:r>
              <a:rPr lang="en-GB" dirty="0">
                <a:highlight>
                  <a:srgbClr val="FFFF00"/>
                </a:highlight>
              </a:rPr>
              <a:t>Sector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Malard Nicolas </a:t>
                      </a:r>
                    </a:p>
                    <a:p>
                      <a:pPr algn="ctr">
                        <a:defRPr sz="900" b="1">
                          <a:latin typeface="Nexa (Headings)"/>
                        </a:defRPr>
                      </a:pPr>
                      <a: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Malard Nicolas </a:t>
                      </a:r>
                    </a:p>
                    <a:p>
                      <a:pPr algn="ctr">
                        <a:defRPr sz="900" b="1">
                          <a:latin typeface="Nexa (Headings)"/>
                        </a:defRPr>
                      </a:pPr>
                      <a: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Malard Nicolas </a:t>
                      </a:r>
                    </a:p>
                    <a:p>
                      <a:pPr algn="ctr">
                        <a:defRPr sz="900" b="1">
                          <a:latin typeface="Nexa (Headings)"/>
                        </a:defRPr>
                      </a:pPr>
                      <a: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Malard Nicolas </a:t>
                      </a:r>
                    </a:p>
                    <a:p>
                      <a:pPr algn="ctr">
                        <a:defRPr sz="900" b="1">
                          <a:latin typeface="Nexa (Headings)"/>
                        </a:defRPr>
                      </a:pPr>
                      <a: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Malard Nicolas</a:t>
                      </a:r>
                    </a:p>
                    <a:p>
                      <a:pPr algn="ctr">
                        <a:defRPr sz="900" b="1">
                          <a:latin typeface="Nexa (Headings)"/>
                        </a:defRPr>
                      </a:pPr>
                      <a: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831402">
                <a:tc>
                  <a:txBody>
                    <a:bodyPr/>
                    <a:lstStyle/>
                    <a:p>
                      <a:pPr algn="ctr">
                        <a:defRPr sz="800" b="1">
                          <a:latin typeface="Nexa (Headings)"/>
                        </a:defRPr>
                      </a:pPr>
                      <a:r>
                        <a:t>Grand Total</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68</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5</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5</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831402">
                <a:tc>
                  <a:txBody>
                    <a:bodyPr/>
                    <a:lstStyle/>
                    <a:p>
                      <a:pPr algn="ctr">
                        <a:defRPr sz="800" b="1">
                          <a:latin typeface="Nexa (Headings)"/>
                        </a:defRPr>
                      </a:pPr>
                      <a:r>
                        <a:t>Mousseux</a:t>
                      </a:r>
                    </a:p>
                  </a:txBody>
                  <a:tcPr marL="3810" marR="3810" marT="3810" marB="0" anchor="ctr">
                    <a:noFill/>
                  </a:tcPr>
                </a:tc>
                <a:tc>
                  <a:txBody>
                    <a:bodyPr/>
                    <a:lstStyle/>
                    <a:p>
                      <a:pPr algn="ctr">
                        <a:defRPr sz="800">
                          <a:latin typeface="Nexa Book"/>
                        </a:defRPr>
                      </a:pPr>
                      <a:r>
                        <a:t>12</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3161381"/>
                  </a:ext>
                </a:extLst>
              </a:tr>
              <a:tr h="831402">
                <a:tc>
                  <a:txBody>
                    <a:bodyPr/>
                    <a:lstStyle/>
                    <a:p>
                      <a:pPr algn="ctr">
                        <a:defRPr sz="800" b="1">
                          <a:latin typeface="Nexa (Headings)"/>
                        </a:defRPr>
                      </a:pPr>
                      <a:r>
                        <a:t>Champagnes</a:t>
                      </a:r>
                    </a:p>
                  </a:txBody>
                  <a:tcPr marL="3810" marR="3810" marT="3810" marB="0" anchor="ctr">
                    <a:noFill/>
                  </a:tcPr>
                </a:tc>
                <a:tc>
                  <a:txBody>
                    <a:bodyPr/>
                    <a:lstStyle/>
                    <a:p>
                      <a:pPr algn="ctr">
                        <a:defRPr sz="800">
                          <a:latin typeface="Nexa Book"/>
                        </a:defRPr>
                      </a:pPr>
                      <a:r>
                        <a:t>54</a:t>
                      </a:r>
                    </a:p>
                  </a:txBody>
                  <a:tcPr marL="3810" marR="3810" marT="3810" marB="0" anchor="ctr">
                    <a:noFill/>
                  </a:tcPr>
                </a:tc>
                <a:tc>
                  <a:txBody>
                    <a:bodyPr/>
                    <a:lstStyle/>
                    <a:p>
                      <a:pPr algn="ctr">
                        <a:defRPr sz="800">
                          <a:latin typeface="Nexa Book"/>
                        </a:defRPr>
                      </a:pPr>
                      <a:r>
                        <a:t>5</a:t>
                      </a:r>
                    </a:p>
                  </a:txBody>
                  <a:tcPr marL="3810" marR="3810" marT="3810" marB="0" anchor="ctr">
                    <a:noFill/>
                  </a:tcPr>
                </a:tc>
                <a:tc>
                  <a:txBody>
                    <a:bodyPr/>
                    <a:lstStyle/>
                    <a:p>
                      <a:pPr algn="ctr">
                        <a:defRPr sz="800">
                          <a:latin typeface="Nexa Book"/>
                        </a:defRPr>
                      </a:pPr>
                      <a:r>
                        <a:t>9%</a:t>
                      </a:r>
                    </a:p>
                  </a:txBody>
                  <a:tcPr marL="3810" marR="3810" marT="3810" marB="0" anchor="ctr">
                    <a:noFill/>
                  </a:tcPr>
                </a:tc>
                <a:tc>
                  <a:txBody>
                    <a:bodyPr/>
                    <a:lstStyle/>
                    <a:p>
                      <a:pPr algn="ctr">
                        <a:defRPr sz="800">
                          <a:latin typeface="Nexa Book"/>
                        </a:defRPr>
                      </a:pPr>
                      <a:r>
                        <a:t>9%</a:t>
                      </a:r>
                    </a:p>
                  </a:txBody>
                  <a:tcPr marL="3810" marR="3810" marT="3810" marB="0" anchor="ctr">
                    <a:noFill/>
                  </a:tcPr>
                </a:tc>
                <a:tc>
                  <a:txBody>
                    <a:bodyPr/>
                    <a:lstStyle/>
                    <a:p>
                      <a:pPr algn="ctr">
                        <a:defRPr sz="800">
                          <a:latin typeface="Nexa Book"/>
                        </a:defRPr>
                      </a:pPr>
                      <a:r>
                        <a:t>5</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1752397169"/>
                  </a:ext>
                </a:extLst>
              </a:tr>
              <a:tr h="831402">
                <a:tc>
                  <a:txBody>
                    <a:bodyPr/>
                    <a:lstStyle/>
                    <a:p>
                      <a:pPr algn="ctr">
                        <a:defRPr sz="800" b="1">
                          <a:latin typeface="Nexa (Headings)"/>
                        </a:defRPr>
                      </a:pPr>
                      <a:r>
                        <a:t>Effervescents Sans Alcool</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3712364869"/>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1115</a:t>
            </a:fld>
            <a:endParaRPr lang="en-US"/>
          </a:p>
        </p:txBody>
      </p:sp>
    </p:spTree>
    <p:extLst>
      <p:ext uri="{BB962C8B-B14F-4D97-AF65-F5344CB8AC3E}">
        <p14:creationId xmlns:p14="http://schemas.microsoft.com/office/powerpoint/2010/main" val="2185458874"/>
      </p:ext>
    </p:extLst>
  </p:cSld>
  <p:clrMapOvr>
    <a:masterClrMapping/>
  </p:clrMapOvr>
</p:sld>
</file>

<file path=ppt/slides/slide1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8/27/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pPr>
              <a:defRPr sz="1200">
                <a:latin typeface="Nexa Bold (Headings)"/>
              </a:defRPr>
            </a:pPr>
            <a:r>
              <a:t>Sector fair share | Effervescents | Malard Nicolas | CA E | P12M</a:t>
            </a:r>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pPr>
              <a:defRPr sz="1600">
                <a:latin typeface="Nexa Bold (Headings)"/>
              </a:defRPr>
            </a:pPr>
            <a:r>
              <a:rPr lang="en-GB" dirty="0">
                <a:highlight>
                  <a:srgbClr val="FFFF00"/>
                </a:highlight>
              </a:rPr>
              <a:t>Sector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Malard Nicolas </a:t>
                      </a:r>
                    </a:p>
                    <a:p>
                      <a:pPr algn="ctr">
                        <a:defRPr sz="900" b="1">
                          <a:latin typeface="Nexa (Headings)"/>
                        </a:defRPr>
                      </a:pPr>
                      <a: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Malard Nicolas </a:t>
                      </a:r>
                    </a:p>
                    <a:p>
                      <a:pPr algn="ctr">
                        <a:defRPr sz="900" b="1">
                          <a:latin typeface="Nexa (Headings)"/>
                        </a:defRPr>
                      </a:pPr>
                      <a: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Malard Nicolas </a:t>
                      </a:r>
                    </a:p>
                    <a:p>
                      <a:pPr algn="ctr">
                        <a:defRPr sz="900" b="1">
                          <a:latin typeface="Nexa (Headings)"/>
                        </a:defRPr>
                      </a:pPr>
                      <a: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Malard Nicolas </a:t>
                      </a:r>
                    </a:p>
                    <a:p>
                      <a:pPr algn="ctr">
                        <a:defRPr sz="900" b="1">
                          <a:latin typeface="Nexa (Headings)"/>
                        </a:defRPr>
                      </a:pPr>
                      <a: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Malard Nicolas</a:t>
                      </a:r>
                    </a:p>
                    <a:p>
                      <a:pPr algn="ctr">
                        <a:defRPr sz="900" b="1">
                          <a:latin typeface="Nexa (Headings)"/>
                        </a:defRPr>
                      </a:pPr>
                      <a: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831402">
                <a:tc>
                  <a:txBody>
                    <a:bodyPr/>
                    <a:lstStyle/>
                    <a:p>
                      <a:pPr algn="ctr">
                        <a:defRPr sz="800" b="1">
                          <a:latin typeface="Nexa (Headings)"/>
                        </a:defRPr>
                      </a:pPr>
                      <a:r>
                        <a:t>Grand Total</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56</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4</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0%</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0%</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5</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831402">
                <a:tc>
                  <a:txBody>
                    <a:bodyPr/>
                    <a:lstStyle/>
                    <a:p>
                      <a:pPr algn="ctr">
                        <a:defRPr sz="800" b="1">
                          <a:latin typeface="Nexa (Headings)"/>
                        </a:defRPr>
                      </a:pPr>
                      <a:r>
                        <a:t>Mousseux</a:t>
                      </a:r>
                    </a:p>
                  </a:txBody>
                  <a:tcPr marL="3810" marR="3810" marT="3810" marB="0" anchor="ctr">
                    <a:noFill/>
                  </a:tcPr>
                </a:tc>
                <a:tc>
                  <a:txBody>
                    <a:bodyPr/>
                    <a:lstStyle/>
                    <a:p>
                      <a:pPr algn="ctr">
                        <a:defRPr sz="800">
                          <a:latin typeface="Nexa Book"/>
                        </a:defRPr>
                      </a:pPr>
                      <a:r>
                        <a:t>1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3161381"/>
                  </a:ext>
                </a:extLst>
              </a:tr>
              <a:tr h="831402">
                <a:tc>
                  <a:txBody>
                    <a:bodyPr/>
                    <a:lstStyle/>
                    <a:p>
                      <a:pPr algn="ctr">
                        <a:defRPr sz="800" b="1">
                          <a:latin typeface="Nexa (Headings)"/>
                        </a:defRPr>
                      </a:pPr>
                      <a:r>
                        <a:t>Champagnes</a:t>
                      </a:r>
                    </a:p>
                  </a:txBody>
                  <a:tcPr marL="3810" marR="3810" marT="3810" marB="0" anchor="ctr">
                    <a:noFill/>
                  </a:tcPr>
                </a:tc>
                <a:tc>
                  <a:txBody>
                    <a:bodyPr/>
                    <a:lstStyle/>
                    <a:p>
                      <a:pPr algn="ctr">
                        <a:defRPr sz="800">
                          <a:latin typeface="Nexa Book"/>
                        </a:defRPr>
                      </a:pPr>
                      <a:r>
                        <a:t>44</a:t>
                      </a:r>
                    </a:p>
                  </a:txBody>
                  <a:tcPr marL="3810" marR="3810" marT="3810" marB="0" anchor="ctr">
                    <a:noFill/>
                  </a:tcPr>
                </a:tc>
                <a:tc>
                  <a:txBody>
                    <a:bodyPr/>
                    <a:lstStyle/>
                    <a:p>
                      <a:pPr algn="ctr">
                        <a:defRPr sz="800">
                          <a:latin typeface="Nexa Book"/>
                        </a:defRPr>
                      </a:pPr>
                      <a:r>
                        <a:t>4</a:t>
                      </a:r>
                    </a:p>
                  </a:txBody>
                  <a:tcPr marL="3810" marR="3810" marT="3810" marB="0" anchor="ctr">
                    <a:noFill/>
                  </a:tcPr>
                </a:tc>
                <a:tc>
                  <a:txBody>
                    <a:bodyPr/>
                    <a:lstStyle/>
                    <a:p>
                      <a:pPr algn="ctr">
                        <a:defRPr sz="800">
                          <a:latin typeface="Nexa Book"/>
                        </a:defRPr>
                      </a:pPr>
                      <a:r>
                        <a:t>10%</a:t>
                      </a:r>
                    </a:p>
                  </a:txBody>
                  <a:tcPr marL="3810" marR="3810" marT="3810" marB="0" anchor="ctr">
                    <a:noFill/>
                  </a:tcPr>
                </a:tc>
                <a:tc>
                  <a:txBody>
                    <a:bodyPr/>
                    <a:lstStyle/>
                    <a:p>
                      <a:pPr algn="ctr">
                        <a:defRPr sz="800">
                          <a:latin typeface="Nexa Book"/>
                        </a:defRPr>
                      </a:pPr>
                      <a:r>
                        <a:t>10%</a:t>
                      </a:r>
                    </a:p>
                  </a:txBody>
                  <a:tcPr marL="3810" marR="3810" marT="3810" marB="0" anchor="ctr">
                    <a:noFill/>
                  </a:tcPr>
                </a:tc>
                <a:tc>
                  <a:txBody>
                    <a:bodyPr/>
                    <a:lstStyle/>
                    <a:p>
                      <a:pPr algn="ctr">
                        <a:defRPr sz="800">
                          <a:latin typeface="Nexa Book"/>
                        </a:defRPr>
                      </a:pPr>
                      <a:r>
                        <a:t>5</a:t>
                      </a:r>
                    </a:p>
                  </a:txBody>
                  <a:tcPr marL="3810" marR="3810" marT="3810" marB="0" anchor="ctr">
                    <a:noFill/>
                  </a:tcPr>
                </a:tc>
                <a:tc>
                  <a:txBody>
                    <a:bodyPr/>
                    <a:lstStyle/>
                    <a:p>
                      <a:pPr algn="ctr">
                        <a:defRPr sz="800">
                          <a:latin typeface="Nexa Book"/>
                        </a:defRPr>
                      </a:pPr>
                      <a:r>
                        <a:t>1</a:t>
                      </a:r>
                    </a:p>
                  </a:txBody>
                  <a:tcPr marL="3810" marR="3810" marT="3810" marB="0" anchor="ctr">
                    <a:noFill/>
                  </a:tcPr>
                </a:tc>
                <a:extLst>
                  <a:ext uri="{0D108BD9-81ED-4DB2-BD59-A6C34878D82A}">
                    <a16:rowId xmlns:a16="http://schemas.microsoft.com/office/drawing/2014/main" val="1752397169"/>
                  </a:ext>
                </a:extLst>
              </a:tr>
              <a:tr h="831402">
                <a:tc>
                  <a:txBody>
                    <a:bodyPr/>
                    <a:lstStyle/>
                    <a:p>
                      <a:pPr algn="ctr">
                        <a:defRPr sz="800" b="1">
                          <a:latin typeface="Nexa (Headings)"/>
                        </a:defRPr>
                      </a:pPr>
                      <a:r>
                        <a:t>Effervescents Sans Alcool</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3712364869"/>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1116</a:t>
            </a:fld>
            <a:endParaRPr lang="en-US"/>
          </a:p>
        </p:txBody>
      </p:sp>
    </p:spTree>
    <p:extLst>
      <p:ext uri="{BB962C8B-B14F-4D97-AF65-F5344CB8AC3E}">
        <p14:creationId xmlns:p14="http://schemas.microsoft.com/office/powerpoint/2010/main" val="1125921315"/>
      </p:ext>
    </p:extLst>
  </p:cSld>
  <p:clrMapOvr>
    <a:masterClrMapping/>
  </p:clrMapOvr>
</p:sld>
</file>

<file path=ppt/slides/slide1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8/27/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pPr>
              <a:defRPr sz="1200">
                <a:latin typeface="Nexa Bold (Headings)"/>
              </a:defRPr>
            </a:pPr>
            <a:r>
              <a:t>Sector fair share | Effervescents | Nicolas | NICOLAS QCA | P12M</a:t>
            </a:r>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pPr>
              <a:defRPr sz="1600">
                <a:latin typeface="Nexa Bold (Headings)"/>
              </a:defRPr>
            </a:pPr>
            <a:r>
              <a:rPr lang="en-GB" dirty="0">
                <a:highlight>
                  <a:srgbClr val="FFFF00"/>
                </a:highlight>
              </a:rPr>
              <a:t>Sector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Nicolas </a:t>
                      </a:r>
                    </a:p>
                    <a:p>
                      <a:pPr algn="ctr">
                        <a:defRPr sz="900" b="1">
                          <a:latin typeface="Nexa (Headings)"/>
                        </a:defRPr>
                      </a:pPr>
                      <a: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Nicolas </a:t>
                      </a:r>
                    </a:p>
                    <a:p>
                      <a:pPr algn="ctr">
                        <a:defRPr sz="900" b="1">
                          <a:latin typeface="Nexa (Headings)"/>
                        </a:defRPr>
                      </a:pPr>
                      <a: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Nicolas </a:t>
                      </a:r>
                    </a:p>
                    <a:p>
                      <a:pPr algn="ctr">
                        <a:defRPr sz="900" b="1">
                          <a:latin typeface="Nexa (Headings)"/>
                        </a:defRPr>
                      </a:pPr>
                      <a: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Nicolas </a:t>
                      </a:r>
                    </a:p>
                    <a:p>
                      <a:pPr algn="ctr">
                        <a:defRPr sz="900" b="1">
                          <a:latin typeface="Nexa (Headings)"/>
                        </a:defRPr>
                      </a:pPr>
                      <a: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Nicolas</a:t>
                      </a:r>
                    </a:p>
                    <a:p>
                      <a:pPr algn="ctr">
                        <a:defRPr sz="900" b="1">
                          <a:latin typeface="Nexa (Headings)"/>
                        </a:defRPr>
                      </a:pPr>
                      <a: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831402">
                <a:tc>
                  <a:txBody>
                    <a:bodyPr/>
                    <a:lstStyle/>
                    <a:p>
                      <a:pPr algn="ctr">
                        <a:defRPr sz="800" b="1">
                          <a:latin typeface="Nexa (Headings)"/>
                        </a:defRPr>
                      </a:pPr>
                      <a:r>
                        <a:t>Grand Total</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08</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7</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7%</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6%</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6</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831402">
                <a:tc>
                  <a:txBody>
                    <a:bodyPr/>
                    <a:lstStyle/>
                    <a:p>
                      <a:pPr algn="ctr">
                        <a:defRPr sz="800" b="1">
                          <a:latin typeface="Nexa (Headings)"/>
                        </a:defRPr>
                      </a:pPr>
                      <a:r>
                        <a:t>Mousseux</a:t>
                      </a:r>
                    </a:p>
                  </a:txBody>
                  <a:tcPr marL="3810" marR="3810" marT="3810" marB="0" anchor="ctr">
                    <a:noFill/>
                  </a:tcPr>
                </a:tc>
                <a:tc>
                  <a:txBody>
                    <a:bodyPr/>
                    <a:lstStyle/>
                    <a:p>
                      <a:pPr algn="ctr">
                        <a:defRPr sz="800">
                          <a:latin typeface="Nexa Book"/>
                        </a:defRPr>
                      </a:pPr>
                      <a:r>
                        <a:t>14</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3161381"/>
                  </a:ext>
                </a:extLst>
              </a:tr>
              <a:tr h="831402">
                <a:tc>
                  <a:txBody>
                    <a:bodyPr/>
                    <a:lstStyle/>
                    <a:p>
                      <a:pPr algn="ctr">
                        <a:defRPr sz="800" b="1">
                          <a:latin typeface="Nexa (Headings)"/>
                        </a:defRPr>
                      </a:pPr>
                      <a:r>
                        <a:t>Champagnes</a:t>
                      </a:r>
                    </a:p>
                  </a:txBody>
                  <a:tcPr marL="3810" marR="3810" marT="3810" marB="0" anchor="ctr">
                    <a:noFill/>
                  </a:tcPr>
                </a:tc>
                <a:tc>
                  <a:txBody>
                    <a:bodyPr/>
                    <a:lstStyle/>
                    <a:p>
                      <a:pPr algn="ctr">
                        <a:defRPr sz="800">
                          <a:latin typeface="Nexa Book"/>
                        </a:defRPr>
                      </a:pPr>
                      <a:r>
                        <a:t>91</a:t>
                      </a:r>
                    </a:p>
                  </a:txBody>
                  <a:tcPr marL="3810" marR="3810" marT="3810" marB="0" anchor="ctr">
                    <a:noFill/>
                  </a:tcPr>
                </a:tc>
                <a:tc>
                  <a:txBody>
                    <a:bodyPr/>
                    <a:lstStyle/>
                    <a:p>
                      <a:pPr algn="ctr">
                        <a:defRPr sz="800">
                          <a:latin typeface="Nexa Book"/>
                        </a:defRPr>
                      </a:pPr>
                      <a:r>
                        <a:t>7</a:t>
                      </a:r>
                    </a:p>
                  </a:txBody>
                  <a:tcPr marL="3810" marR="3810" marT="3810" marB="0" anchor="ctr">
                    <a:noFill/>
                  </a:tcPr>
                </a:tc>
                <a:tc>
                  <a:txBody>
                    <a:bodyPr/>
                    <a:lstStyle/>
                    <a:p>
                      <a:pPr algn="ctr">
                        <a:defRPr sz="800">
                          <a:latin typeface="Nexa Book"/>
                        </a:defRPr>
                      </a:pPr>
                      <a:r>
                        <a:t>7%</a:t>
                      </a:r>
                    </a:p>
                  </a:txBody>
                  <a:tcPr marL="3810" marR="3810" marT="3810" marB="0" anchor="ctr">
                    <a:noFill/>
                  </a:tcPr>
                </a:tc>
                <a:tc>
                  <a:txBody>
                    <a:bodyPr/>
                    <a:lstStyle/>
                    <a:p>
                      <a:pPr algn="ctr">
                        <a:defRPr sz="800">
                          <a:latin typeface="Nexa Book"/>
                        </a:defRPr>
                      </a:pPr>
                      <a:r>
                        <a:t>6%</a:t>
                      </a:r>
                    </a:p>
                  </a:txBody>
                  <a:tcPr marL="3810" marR="3810" marT="3810" marB="0" anchor="ctr">
                    <a:noFill/>
                  </a:tcPr>
                </a:tc>
                <a:tc>
                  <a:txBody>
                    <a:bodyPr/>
                    <a:lstStyle/>
                    <a:p>
                      <a:pPr algn="ctr">
                        <a:defRPr sz="800">
                          <a:latin typeface="Nexa Book"/>
                        </a:defRPr>
                      </a:pPr>
                      <a:r>
                        <a:t>6</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1752397169"/>
                  </a:ext>
                </a:extLst>
              </a:tr>
              <a:tr h="831402">
                <a:tc>
                  <a:txBody>
                    <a:bodyPr/>
                    <a:lstStyle/>
                    <a:p>
                      <a:pPr algn="ctr">
                        <a:defRPr sz="800" b="1">
                          <a:latin typeface="Nexa (Headings)"/>
                        </a:defRPr>
                      </a:pPr>
                      <a:r>
                        <a:t>Effervescents Sans Alcool</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3712364869"/>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1117</a:t>
            </a:fld>
            <a:endParaRPr lang="en-US"/>
          </a:p>
        </p:txBody>
      </p:sp>
    </p:spTree>
    <p:extLst>
      <p:ext uri="{BB962C8B-B14F-4D97-AF65-F5344CB8AC3E}">
        <p14:creationId xmlns:p14="http://schemas.microsoft.com/office/powerpoint/2010/main" val="3794561710"/>
      </p:ext>
    </p:extLst>
  </p:cSld>
  <p:clrMapOvr>
    <a:masterClrMapping/>
  </p:clrMapOvr>
</p:sld>
</file>

<file path=ppt/slides/slide1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8/27/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pPr>
              <a:defRPr sz="1200">
                <a:latin typeface="Nexa Bold (Headings)"/>
              </a:defRPr>
            </a:pPr>
            <a:r>
              <a:t>Sector fair share | Effervescents | Nicolas | NICOLAS IDF | P12M</a:t>
            </a:r>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pPr>
              <a:defRPr sz="1600">
                <a:latin typeface="Nexa Bold (Headings)"/>
              </a:defRPr>
            </a:pPr>
            <a:r>
              <a:rPr lang="en-GB" dirty="0">
                <a:highlight>
                  <a:srgbClr val="FFFF00"/>
                </a:highlight>
              </a:rPr>
              <a:t>Sector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Nicolas </a:t>
                      </a:r>
                    </a:p>
                    <a:p>
                      <a:pPr algn="ctr">
                        <a:defRPr sz="900" b="1">
                          <a:latin typeface="Nexa (Headings)"/>
                        </a:defRPr>
                      </a:pPr>
                      <a: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Nicolas </a:t>
                      </a:r>
                    </a:p>
                    <a:p>
                      <a:pPr algn="ctr">
                        <a:defRPr sz="900" b="1">
                          <a:latin typeface="Nexa (Headings)"/>
                        </a:defRPr>
                      </a:pPr>
                      <a: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Nicolas </a:t>
                      </a:r>
                    </a:p>
                    <a:p>
                      <a:pPr algn="ctr">
                        <a:defRPr sz="900" b="1">
                          <a:latin typeface="Nexa (Headings)"/>
                        </a:defRPr>
                      </a:pPr>
                      <a: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Nicolas </a:t>
                      </a:r>
                    </a:p>
                    <a:p>
                      <a:pPr algn="ctr">
                        <a:defRPr sz="900" b="1">
                          <a:latin typeface="Nexa (Headings)"/>
                        </a:defRPr>
                      </a:pPr>
                      <a: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Nicolas</a:t>
                      </a:r>
                    </a:p>
                    <a:p>
                      <a:pPr algn="ctr">
                        <a:defRPr sz="900" b="1">
                          <a:latin typeface="Nexa (Headings)"/>
                        </a:defRPr>
                      </a:pPr>
                      <a: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831402">
                <a:tc>
                  <a:txBody>
                    <a:bodyPr/>
                    <a:lstStyle/>
                    <a:p>
                      <a:pPr algn="ctr">
                        <a:defRPr sz="800" b="1">
                          <a:latin typeface="Nexa (Headings)"/>
                        </a:defRPr>
                      </a:pPr>
                      <a:r>
                        <a:t>Grand Total</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80</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6</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6</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831402">
                <a:tc>
                  <a:txBody>
                    <a:bodyPr/>
                    <a:lstStyle/>
                    <a:p>
                      <a:pPr algn="ctr">
                        <a:defRPr sz="800" b="1">
                          <a:latin typeface="Nexa (Headings)"/>
                        </a:defRPr>
                      </a:pPr>
                      <a:r>
                        <a:t>Mousseux</a:t>
                      </a:r>
                    </a:p>
                  </a:txBody>
                  <a:tcPr marL="3810" marR="3810" marT="3810" marB="0" anchor="ctr">
                    <a:noFill/>
                  </a:tcPr>
                </a:tc>
                <a:tc>
                  <a:txBody>
                    <a:bodyPr/>
                    <a:lstStyle/>
                    <a:p>
                      <a:pPr algn="ctr">
                        <a:defRPr sz="800">
                          <a:latin typeface="Nexa Book"/>
                        </a:defRPr>
                      </a:pPr>
                      <a:r>
                        <a:t>12</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3161381"/>
                  </a:ext>
                </a:extLst>
              </a:tr>
              <a:tr h="831402">
                <a:tc>
                  <a:txBody>
                    <a:bodyPr/>
                    <a:lstStyle/>
                    <a:p>
                      <a:pPr algn="ctr">
                        <a:defRPr sz="800" b="1">
                          <a:latin typeface="Nexa (Headings)"/>
                        </a:defRPr>
                      </a:pPr>
                      <a:r>
                        <a:t>Champagnes</a:t>
                      </a:r>
                    </a:p>
                  </a:txBody>
                  <a:tcPr marL="3810" marR="3810" marT="3810" marB="0" anchor="ctr">
                    <a:noFill/>
                  </a:tcPr>
                </a:tc>
                <a:tc>
                  <a:txBody>
                    <a:bodyPr/>
                    <a:lstStyle/>
                    <a:p>
                      <a:pPr algn="ctr">
                        <a:defRPr sz="800">
                          <a:latin typeface="Nexa Book"/>
                        </a:defRPr>
                      </a:pPr>
                      <a:r>
                        <a:t>66</a:t>
                      </a:r>
                    </a:p>
                  </a:txBody>
                  <a:tcPr marL="3810" marR="3810" marT="3810" marB="0" anchor="ctr">
                    <a:noFill/>
                  </a:tcPr>
                </a:tc>
                <a:tc>
                  <a:txBody>
                    <a:bodyPr/>
                    <a:lstStyle/>
                    <a:p>
                      <a:pPr algn="ctr">
                        <a:defRPr sz="800">
                          <a:latin typeface="Nexa Book"/>
                        </a:defRPr>
                      </a:pPr>
                      <a:r>
                        <a:t>6</a:t>
                      </a:r>
                    </a:p>
                  </a:txBody>
                  <a:tcPr marL="3810" marR="3810" marT="3810" marB="0" anchor="ctr">
                    <a:noFill/>
                  </a:tcPr>
                </a:tc>
                <a:tc>
                  <a:txBody>
                    <a:bodyPr/>
                    <a:lstStyle/>
                    <a:p>
                      <a:pPr algn="ctr">
                        <a:defRPr sz="800">
                          <a:latin typeface="Nexa Book"/>
                        </a:defRPr>
                      </a:pPr>
                      <a:r>
                        <a:t>9%</a:t>
                      </a:r>
                    </a:p>
                  </a:txBody>
                  <a:tcPr marL="3810" marR="3810" marT="3810" marB="0" anchor="ctr">
                    <a:noFill/>
                  </a:tcPr>
                </a:tc>
                <a:tc>
                  <a:txBody>
                    <a:bodyPr/>
                    <a:lstStyle/>
                    <a:p>
                      <a:pPr algn="ctr">
                        <a:defRPr sz="800">
                          <a:latin typeface="Nexa Book"/>
                        </a:defRPr>
                      </a:pPr>
                      <a:r>
                        <a:t>9%</a:t>
                      </a:r>
                    </a:p>
                  </a:txBody>
                  <a:tcPr marL="3810" marR="3810" marT="3810" marB="0" anchor="ctr">
                    <a:noFill/>
                  </a:tcPr>
                </a:tc>
                <a:tc>
                  <a:txBody>
                    <a:bodyPr/>
                    <a:lstStyle/>
                    <a:p>
                      <a:pPr algn="ctr">
                        <a:defRPr sz="800">
                          <a:latin typeface="Nexa Book"/>
                        </a:defRPr>
                      </a:pPr>
                      <a:r>
                        <a:t>6</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1752397169"/>
                  </a:ext>
                </a:extLst>
              </a:tr>
              <a:tr h="831402">
                <a:tc>
                  <a:txBody>
                    <a:bodyPr/>
                    <a:lstStyle/>
                    <a:p>
                      <a:pPr algn="ctr">
                        <a:defRPr sz="800" b="1">
                          <a:latin typeface="Nexa (Headings)"/>
                        </a:defRPr>
                      </a:pPr>
                      <a:r>
                        <a:t>Effervescents Sans Alcool</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3712364869"/>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1118</a:t>
            </a:fld>
            <a:endParaRPr lang="en-US"/>
          </a:p>
        </p:txBody>
      </p:sp>
    </p:spTree>
    <p:extLst>
      <p:ext uri="{BB962C8B-B14F-4D97-AF65-F5344CB8AC3E}">
        <p14:creationId xmlns:p14="http://schemas.microsoft.com/office/powerpoint/2010/main" val="1649898862"/>
      </p:ext>
    </p:extLst>
  </p:cSld>
  <p:clrMapOvr>
    <a:masterClrMapping/>
  </p:clrMapOvr>
</p:sld>
</file>

<file path=ppt/slides/slide1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8/27/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pPr>
              <a:defRPr sz="1200">
                <a:latin typeface="Nexa Bold (Headings)"/>
              </a:defRPr>
            </a:pPr>
            <a:r>
              <a:t>Sector fair share | Effervescents | Nicolas | NICOLAS CCP | P12M</a:t>
            </a:r>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pPr>
              <a:defRPr sz="1600">
                <a:latin typeface="Nexa Bold (Headings)"/>
              </a:defRPr>
            </a:pPr>
            <a:r>
              <a:rPr lang="en-GB" dirty="0">
                <a:highlight>
                  <a:srgbClr val="FFFF00"/>
                </a:highlight>
              </a:rPr>
              <a:t>Sector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Nicolas </a:t>
                      </a:r>
                    </a:p>
                    <a:p>
                      <a:pPr algn="ctr">
                        <a:defRPr sz="900" b="1">
                          <a:latin typeface="Nexa (Headings)"/>
                        </a:defRPr>
                      </a:pPr>
                      <a: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Nicolas </a:t>
                      </a:r>
                    </a:p>
                    <a:p>
                      <a:pPr algn="ctr">
                        <a:defRPr sz="900" b="1">
                          <a:latin typeface="Nexa (Headings)"/>
                        </a:defRPr>
                      </a:pPr>
                      <a: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Nicolas </a:t>
                      </a:r>
                    </a:p>
                    <a:p>
                      <a:pPr algn="ctr">
                        <a:defRPr sz="900" b="1">
                          <a:latin typeface="Nexa (Headings)"/>
                        </a:defRPr>
                      </a:pPr>
                      <a: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Nicolas </a:t>
                      </a:r>
                    </a:p>
                    <a:p>
                      <a:pPr algn="ctr">
                        <a:defRPr sz="900" b="1">
                          <a:latin typeface="Nexa (Headings)"/>
                        </a:defRPr>
                      </a:pPr>
                      <a: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Nicolas</a:t>
                      </a:r>
                    </a:p>
                    <a:p>
                      <a:pPr algn="ctr">
                        <a:defRPr sz="900" b="1">
                          <a:latin typeface="Nexa (Headings)"/>
                        </a:defRPr>
                      </a:pPr>
                      <a: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831402">
                <a:tc>
                  <a:txBody>
                    <a:bodyPr/>
                    <a:lstStyle/>
                    <a:p>
                      <a:pPr algn="ctr">
                        <a:defRPr sz="800" b="1">
                          <a:latin typeface="Nexa (Headings)"/>
                        </a:defRPr>
                      </a:pPr>
                      <a:r>
                        <a:t>Grand Total</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11</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8</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8%</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8%</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7</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831402">
                <a:tc>
                  <a:txBody>
                    <a:bodyPr/>
                    <a:lstStyle/>
                    <a:p>
                      <a:pPr algn="ctr">
                        <a:defRPr sz="800" b="1">
                          <a:latin typeface="Nexa (Headings)"/>
                        </a:defRPr>
                      </a:pPr>
                      <a:r>
                        <a:t>Mousseux</a:t>
                      </a:r>
                    </a:p>
                  </a:txBody>
                  <a:tcPr marL="3810" marR="3810" marT="3810" marB="0" anchor="ctr">
                    <a:noFill/>
                  </a:tcPr>
                </a:tc>
                <a:tc>
                  <a:txBody>
                    <a:bodyPr/>
                    <a:lstStyle/>
                    <a:p>
                      <a:pPr algn="ctr">
                        <a:defRPr sz="800">
                          <a:latin typeface="Nexa Book"/>
                        </a:defRPr>
                      </a:pPr>
                      <a:r>
                        <a:t>18</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3161381"/>
                  </a:ext>
                </a:extLst>
              </a:tr>
              <a:tr h="831402">
                <a:tc>
                  <a:txBody>
                    <a:bodyPr/>
                    <a:lstStyle/>
                    <a:p>
                      <a:pPr algn="ctr">
                        <a:defRPr sz="800" b="1">
                          <a:latin typeface="Nexa (Headings)"/>
                        </a:defRPr>
                      </a:pPr>
                      <a:r>
                        <a:t>Champagnes</a:t>
                      </a:r>
                    </a:p>
                  </a:txBody>
                  <a:tcPr marL="3810" marR="3810" marT="3810" marB="0" anchor="ctr">
                    <a:noFill/>
                  </a:tcPr>
                </a:tc>
                <a:tc>
                  <a:txBody>
                    <a:bodyPr/>
                    <a:lstStyle/>
                    <a:p>
                      <a:pPr algn="ctr">
                        <a:defRPr sz="800">
                          <a:latin typeface="Nexa Book"/>
                        </a:defRPr>
                      </a:pPr>
                      <a:r>
                        <a:t>90</a:t>
                      </a:r>
                    </a:p>
                  </a:txBody>
                  <a:tcPr marL="3810" marR="3810" marT="3810" marB="0" anchor="ctr">
                    <a:noFill/>
                  </a:tcPr>
                </a:tc>
                <a:tc>
                  <a:txBody>
                    <a:bodyPr/>
                    <a:lstStyle/>
                    <a:p>
                      <a:pPr algn="ctr">
                        <a:defRPr sz="800">
                          <a:latin typeface="Nexa Book"/>
                        </a:defRPr>
                      </a:pPr>
                      <a:r>
                        <a:t>8</a:t>
                      </a:r>
                    </a:p>
                  </a:txBody>
                  <a:tcPr marL="3810" marR="3810" marT="3810" marB="0" anchor="ctr">
                    <a:noFill/>
                  </a:tcPr>
                </a:tc>
                <a:tc>
                  <a:txBody>
                    <a:bodyPr/>
                    <a:lstStyle/>
                    <a:p>
                      <a:pPr algn="ctr">
                        <a:defRPr sz="800">
                          <a:latin typeface="Nexa Book"/>
                        </a:defRPr>
                      </a:pPr>
                      <a:r>
                        <a:t>8%</a:t>
                      </a:r>
                    </a:p>
                  </a:txBody>
                  <a:tcPr marL="3810" marR="3810" marT="3810" marB="0" anchor="ctr">
                    <a:noFill/>
                  </a:tcPr>
                </a:tc>
                <a:tc>
                  <a:txBody>
                    <a:bodyPr/>
                    <a:lstStyle/>
                    <a:p>
                      <a:pPr algn="ctr">
                        <a:defRPr sz="800">
                          <a:latin typeface="Nexa Book"/>
                        </a:defRPr>
                      </a:pPr>
                      <a:r>
                        <a:t>8%</a:t>
                      </a:r>
                    </a:p>
                  </a:txBody>
                  <a:tcPr marL="3810" marR="3810" marT="3810" marB="0" anchor="ctr">
                    <a:noFill/>
                  </a:tcPr>
                </a:tc>
                <a:tc>
                  <a:txBody>
                    <a:bodyPr/>
                    <a:lstStyle/>
                    <a:p>
                      <a:pPr algn="ctr">
                        <a:defRPr sz="800">
                          <a:latin typeface="Nexa Book"/>
                        </a:defRPr>
                      </a:pPr>
                      <a:r>
                        <a:t>7</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1752397169"/>
                  </a:ext>
                </a:extLst>
              </a:tr>
              <a:tr h="831402">
                <a:tc>
                  <a:txBody>
                    <a:bodyPr/>
                    <a:lstStyle/>
                    <a:p>
                      <a:pPr algn="ctr">
                        <a:defRPr sz="800" b="1">
                          <a:latin typeface="Nexa (Headings)"/>
                        </a:defRPr>
                      </a:pPr>
                      <a:r>
                        <a:t>Effervescents Sans Alcool</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3712364869"/>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1119</a:t>
            </a:fld>
            <a:endParaRPr lang="en-US"/>
          </a:p>
        </p:txBody>
      </p:sp>
    </p:spTree>
    <p:extLst>
      <p:ext uri="{BB962C8B-B14F-4D97-AF65-F5344CB8AC3E}">
        <p14:creationId xmlns:p14="http://schemas.microsoft.com/office/powerpoint/2010/main" val="730185216"/>
      </p:ext>
    </p:extLst>
  </p:cSld>
  <p:clrMapOvr>
    <a:masterClrMapping/>
  </p:clrMapOvr>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Crus | CA E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12</a:t>
            </a:fld>
            <a:endParaRPr lang="en-US"/>
          </a:p>
        </p:txBody>
      </p:sp>
    </p:spTree>
    <p:extLst>
      <p:ext uri="{BB962C8B-B14F-4D97-AF65-F5344CB8AC3E}">
        <p14:creationId xmlns:p14="http://schemas.microsoft.com/office/powerpoint/2010/main" val="2462442054"/>
      </p:ext>
    </p:extLst>
  </p:cSld>
  <p:clrMapOvr>
    <a:masterClrMapping/>
  </p:clrMapOvr>
</p:sld>
</file>

<file path=ppt/slides/slide1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8/27/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pPr>
              <a:defRPr sz="1200">
                <a:latin typeface="Nexa Bold (Headings)"/>
              </a:defRPr>
            </a:pPr>
            <a:r>
              <a:t>Sector fair share | Effervescents | Nicolas | NICOLAS QCT | P12M</a:t>
            </a:r>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pPr>
              <a:defRPr sz="1600">
                <a:latin typeface="Nexa Bold (Headings)"/>
              </a:defRPr>
            </a:pPr>
            <a:r>
              <a:rPr lang="en-GB" dirty="0">
                <a:highlight>
                  <a:srgbClr val="FFFF00"/>
                </a:highlight>
              </a:rPr>
              <a:t>Sector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Nicolas </a:t>
                      </a:r>
                    </a:p>
                    <a:p>
                      <a:pPr algn="ctr">
                        <a:defRPr sz="900" b="1">
                          <a:latin typeface="Nexa (Headings)"/>
                        </a:defRPr>
                      </a:pPr>
                      <a: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Nicolas </a:t>
                      </a:r>
                    </a:p>
                    <a:p>
                      <a:pPr algn="ctr">
                        <a:defRPr sz="900" b="1">
                          <a:latin typeface="Nexa (Headings)"/>
                        </a:defRPr>
                      </a:pPr>
                      <a: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Nicolas </a:t>
                      </a:r>
                    </a:p>
                    <a:p>
                      <a:pPr algn="ctr">
                        <a:defRPr sz="900" b="1">
                          <a:latin typeface="Nexa (Headings)"/>
                        </a:defRPr>
                      </a:pPr>
                      <a: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Nicolas </a:t>
                      </a:r>
                    </a:p>
                    <a:p>
                      <a:pPr algn="ctr">
                        <a:defRPr sz="900" b="1">
                          <a:latin typeface="Nexa (Headings)"/>
                        </a:defRPr>
                      </a:pPr>
                      <a: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Nicolas</a:t>
                      </a:r>
                    </a:p>
                    <a:p>
                      <a:pPr algn="ctr">
                        <a:defRPr sz="900" b="1">
                          <a:latin typeface="Nexa (Headings)"/>
                        </a:defRPr>
                      </a:pPr>
                      <a: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831402">
                <a:tc>
                  <a:txBody>
                    <a:bodyPr/>
                    <a:lstStyle/>
                    <a:p>
                      <a:pPr algn="ctr">
                        <a:defRPr sz="800" b="1">
                          <a:latin typeface="Nexa (Headings)"/>
                        </a:defRPr>
                      </a:pPr>
                      <a:r>
                        <a:t>Grand Total</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06</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7</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8%</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8%</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7</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831402">
                <a:tc>
                  <a:txBody>
                    <a:bodyPr/>
                    <a:lstStyle/>
                    <a:p>
                      <a:pPr algn="ctr">
                        <a:defRPr sz="800" b="1">
                          <a:latin typeface="Nexa (Headings)"/>
                        </a:defRPr>
                      </a:pPr>
                      <a:r>
                        <a:t>Mousseux</a:t>
                      </a:r>
                    </a:p>
                  </a:txBody>
                  <a:tcPr marL="3810" marR="3810" marT="3810" marB="0" anchor="ctr">
                    <a:noFill/>
                  </a:tcPr>
                </a:tc>
                <a:tc>
                  <a:txBody>
                    <a:bodyPr/>
                    <a:lstStyle/>
                    <a:p>
                      <a:pPr algn="ctr">
                        <a:defRPr sz="800">
                          <a:latin typeface="Nexa Book"/>
                        </a:defRPr>
                      </a:pPr>
                      <a:r>
                        <a:t>14</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3161381"/>
                  </a:ext>
                </a:extLst>
              </a:tr>
              <a:tr h="831402">
                <a:tc>
                  <a:txBody>
                    <a:bodyPr/>
                    <a:lstStyle/>
                    <a:p>
                      <a:pPr algn="ctr">
                        <a:defRPr sz="800" b="1">
                          <a:latin typeface="Nexa (Headings)"/>
                        </a:defRPr>
                      </a:pPr>
                      <a:r>
                        <a:t>Champagnes</a:t>
                      </a:r>
                    </a:p>
                  </a:txBody>
                  <a:tcPr marL="3810" marR="3810" marT="3810" marB="0" anchor="ctr">
                    <a:noFill/>
                  </a:tcPr>
                </a:tc>
                <a:tc>
                  <a:txBody>
                    <a:bodyPr/>
                    <a:lstStyle/>
                    <a:p>
                      <a:pPr algn="ctr">
                        <a:defRPr sz="800">
                          <a:latin typeface="Nexa Book"/>
                        </a:defRPr>
                      </a:pPr>
                      <a:r>
                        <a:t>89</a:t>
                      </a:r>
                    </a:p>
                  </a:txBody>
                  <a:tcPr marL="3810" marR="3810" marT="3810" marB="0" anchor="ctr">
                    <a:noFill/>
                  </a:tcPr>
                </a:tc>
                <a:tc>
                  <a:txBody>
                    <a:bodyPr/>
                    <a:lstStyle/>
                    <a:p>
                      <a:pPr algn="ctr">
                        <a:defRPr sz="800">
                          <a:latin typeface="Nexa Book"/>
                        </a:defRPr>
                      </a:pPr>
                      <a:r>
                        <a:t>7</a:t>
                      </a:r>
                    </a:p>
                  </a:txBody>
                  <a:tcPr marL="3810" marR="3810" marT="3810" marB="0" anchor="ctr">
                    <a:noFill/>
                  </a:tcPr>
                </a:tc>
                <a:tc>
                  <a:txBody>
                    <a:bodyPr/>
                    <a:lstStyle/>
                    <a:p>
                      <a:pPr algn="ctr">
                        <a:defRPr sz="800">
                          <a:latin typeface="Nexa Book"/>
                        </a:defRPr>
                      </a:pPr>
                      <a:r>
                        <a:t>8%</a:t>
                      </a:r>
                    </a:p>
                  </a:txBody>
                  <a:tcPr marL="3810" marR="3810" marT="3810" marB="0" anchor="ctr">
                    <a:noFill/>
                  </a:tcPr>
                </a:tc>
                <a:tc>
                  <a:txBody>
                    <a:bodyPr/>
                    <a:lstStyle/>
                    <a:p>
                      <a:pPr algn="ctr">
                        <a:defRPr sz="800">
                          <a:latin typeface="Nexa Book"/>
                        </a:defRPr>
                      </a:pPr>
                      <a:r>
                        <a:t>8%</a:t>
                      </a:r>
                    </a:p>
                  </a:txBody>
                  <a:tcPr marL="3810" marR="3810" marT="3810" marB="0" anchor="ctr">
                    <a:noFill/>
                  </a:tcPr>
                </a:tc>
                <a:tc>
                  <a:txBody>
                    <a:bodyPr/>
                    <a:lstStyle/>
                    <a:p>
                      <a:pPr algn="ctr">
                        <a:defRPr sz="800">
                          <a:latin typeface="Nexa Book"/>
                        </a:defRPr>
                      </a:pPr>
                      <a:r>
                        <a:t>7</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1752397169"/>
                  </a:ext>
                </a:extLst>
              </a:tr>
              <a:tr h="831402">
                <a:tc>
                  <a:txBody>
                    <a:bodyPr/>
                    <a:lstStyle/>
                    <a:p>
                      <a:pPr algn="ctr">
                        <a:defRPr sz="800" b="1">
                          <a:latin typeface="Nexa (Headings)"/>
                        </a:defRPr>
                      </a:pPr>
                      <a:r>
                        <a:t>Effervescents Sans Alcool</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3712364869"/>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1120</a:t>
            </a:fld>
            <a:endParaRPr lang="en-US"/>
          </a:p>
        </p:txBody>
      </p:sp>
    </p:spTree>
    <p:extLst>
      <p:ext uri="{BB962C8B-B14F-4D97-AF65-F5344CB8AC3E}">
        <p14:creationId xmlns:p14="http://schemas.microsoft.com/office/powerpoint/2010/main" val="7512026"/>
      </p:ext>
    </p:extLst>
  </p:cSld>
  <p:clrMapOvr>
    <a:masterClrMapping/>
  </p:clrMapOvr>
</p:sld>
</file>

<file path=ppt/slides/slide1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8/27/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pPr>
              <a:defRPr sz="1200">
                <a:latin typeface="Nexa Bold (Headings)"/>
              </a:defRPr>
            </a:pPr>
            <a:r>
              <a:t>Sector fair share | Effervescents | Nicolas | NICOLAS VCN | P12M</a:t>
            </a:r>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pPr>
              <a:defRPr sz="1600">
                <a:latin typeface="Nexa Bold (Headings)"/>
              </a:defRPr>
            </a:pPr>
            <a:r>
              <a:rPr lang="en-GB" dirty="0">
                <a:highlight>
                  <a:srgbClr val="FFFF00"/>
                </a:highlight>
              </a:rPr>
              <a:t>Sector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Nicolas </a:t>
                      </a:r>
                    </a:p>
                    <a:p>
                      <a:pPr algn="ctr">
                        <a:defRPr sz="900" b="1">
                          <a:latin typeface="Nexa (Headings)"/>
                        </a:defRPr>
                      </a:pPr>
                      <a: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Nicolas </a:t>
                      </a:r>
                    </a:p>
                    <a:p>
                      <a:pPr algn="ctr">
                        <a:defRPr sz="900" b="1">
                          <a:latin typeface="Nexa (Headings)"/>
                        </a:defRPr>
                      </a:pPr>
                      <a: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Nicolas </a:t>
                      </a:r>
                    </a:p>
                    <a:p>
                      <a:pPr algn="ctr">
                        <a:defRPr sz="900" b="1">
                          <a:latin typeface="Nexa (Headings)"/>
                        </a:defRPr>
                      </a:pPr>
                      <a: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Nicolas </a:t>
                      </a:r>
                    </a:p>
                    <a:p>
                      <a:pPr algn="ctr">
                        <a:defRPr sz="900" b="1">
                          <a:latin typeface="Nexa (Headings)"/>
                        </a:defRPr>
                      </a:pPr>
                      <a: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Nicolas</a:t>
                      </a:r>
                    </a:p>
                    <a:p>
                      <a:pPr algn="ctr">
                        <a:defRPr sz="900" b="1">
                          <a:latin typeface="Nexa (Headings)"/>
                        </a:defRPr>
                      </a:pPr>
                      <a: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831402">
                <a:tc>
                  <a:txBody>
                    <a:bodyPr/>
                    <a:lstStyle/>
                    <a:p>
                      <a:pPr algn="ctr">
                        <a:defRPr sz="800" b="1">
                          <a:latin typeface="Nexa (Headings)"/>
                        </a:defRPr>
                      </a:pPr>
                      <a:r>
                        <a:t>Grand Total</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75</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6</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0%</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0%</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6</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831402">
                <a:tc>
                  <a:txBody>
                    <a:bodyPr/>
                    <a:lstStyle/>
                    <a:p>
                      <a:pPr algn="ctr">
                        <a:defRPr sz="800" b="1">
                          <a:latin typeface="Nexa (Headings)"/>
                        </a:defRPr>
                      </a:pPr>
                      <a:r>
                        <a:t>Mousseux</a:t>
                      </a:r>
                    </a:p>
                  </a:txBody>
                  <a:tcPr marL="3810" marR="3810" marT="3810" marB="0" anchor="ctr">
                    <a:noFill/>
                  </a:tcPr>
                </a:tc>
                <a:tc>
                  <a:txBody>
                    <a:bodyPr/>
                    <a:lstStyle/>
                    <a:p>
                      <a:pPr algn="ctr">
                        <a:defRPr sz="800">
                          <a:latin typeface="Nexa Book"/>
                        </a:defRPr>
                      </a:pPr>
                      <a:r>
                        <a:t>12</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3161381"/>
                  </a:ext>
                </a:extLst>
              </a:tr>
              <a:tr h="831402">
                <a:tc>
                  <a:txBody>
                    <a:bodyPr/>
                    <a:lstStyle/>
                    <a:p>
                      <a:pPr algn="ctr">
                        <a:defRPr sz="800" b="1">
                          <a:latin typeface="Nexa (Headings)"/>
                        </a:defRPr>
                      </a:pPr>
                      <a:r>
                        <a:t>Champagnes</a:t>
                      </a:r>
                    </a:p>
                  </a:txBody>
                  <a:tcPr marL="3810" marR="3810" marT="3810" marB="0" anchor="ctr">
                    <a:noFill/>
                  </a:tcPr>
                </a:tc>
                <a:tc>
                  <a:txBody>
                    <a:bodyPr/>
                    <a:lstStyle/>
                    <a:p>
                      <a:pPr algn="ctr">
                        <a:defRPr sz="800">
                          <a:latin typeface="Nexa Book"/>
                        </a:defRPr>
                      </a:pPr>
                      <a:r>
                        <a:t>61</a:t>
                      </a:r>
                    </a:p>
                  </a:txBody>
                  <a:tcPr marL="3810" marR="3810" marT="3810" marB="0" anchor="ctr">
                    <a:noFill/>
                  </a:tcPr>
                </a:tc>
                <a:tc>
                  <a:txBody>
                    <a:bodyPr/>
                    <a:lstStyle/>
                    <a:p>
                      <a:pPr algn="ctr">
                        <a:defRPr sz="800">
                          <a:latin typeface="Nexa Book"/>
                        </a:defRPr>
                      </a:pPr>
                      <a:r>
                        <a:t>6</a:t>
                      </a:r>
                    </a:p>
                  </a:txBody>
                  <a:tcPr marL="3810" marR="3810" marT="3810" marB="0" anchor="ctr">
                    <a:noFill/>
                  </a:tcPr>
                </a:tc>
                <a:tc>
                  <a:txBody>
                    <a:bodyPr/>
                    <a:lstStyle/>
                    <a:p>
                      <a:pPr algn="ctr">
                        <a:defRPr sz="800">
                          <a:latin typeface="Nexa Book"/>
                        </a:defRPr>
                      </a:pPr>
                      <a:r>
                        <a:t>10%</a:t>
                      </a:r>
                    </a:p>
                  </a:txBody>
                  <a:tcPr marL="3810" marR="3810" marT="3810" marB="0" anchor="ctr">
                    <a:noFill/>
                  </a:tcPr>
                </a:tc>
                <a:tc>
                  <a:txBody>
                    <a:bodyPr/>
                    <a:lstStyle/>
                    <a:p>
                      <a:pPr algn="ctr">
                        <a:defRPr sz="800">
                          <a:latin typeface="Nexa Book"/>
                        </a:defRPr>
                      </a:pPr>
                      <a:r>
                        <a:t>10%</a:t>
                      </a:r>
                    </a:p>
                  </a:txBody>
                  <a:tcPr marL="3810" marR="3810" marT="3810" marB="0" anchor="ctr">
                    <a:noFill/>
                  </a:tcPr>
                </a:tc>
                <a:tc>
                  <a:txBody>
                    <a:bodyPr/>
                    <a:lstStyle/>
                    <a:p>
                      <a:pPr algn="ctr">
                        <a:defRPr sz="800">
                          <a:latin typeface="Nexa Book"/>
                        </a:defRPr>
                      </a:pPr>
                      <a:r>
                        <a:t>6</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1752397169"/>
                  </a:ext>
                </a:extLst>
              </a:tr>
              <a:tr h="831402">
                <a:tc>
                  <a:txBody>
                    <a:bodyPr/>
                    <a:lstStyle/>
                    <a:p>
                      <a:pPr algn="ctr">
                        <a:defRPr sz="800" b="1">
                          <a:latin typeface="Nexa (Headings)"/>
                        </a:defRPr>
                      </a:pPr>
                      <a:r>
                        <a:t>Effervescents Sans Alcool</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3712364869"/>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1121</a:t>
            </a:fld>
            <a:endParaRPr lang="en-US"/>
          </a:p>
        </p:txBody>
      </p:sp>
    </p:spTree>
    <p:extLst>
      <p:ext uri="{BB962C8B-B14F-4D97-AF65-F5344CB8AC3E}">
        <p14:creationId xmlns:p14="http://schemas.microsoft.com/office/powerpoint/2010/main" val="1659355793"/>
      </p:ext>
    </p:extLst>
  </p:cSld>
  <p:clrMapOvr>
    <a:masterClrMapping/>
  </p:clrMapOvr>
</p:sld>
</file>

<file path=ppt/slides/slide1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8/27/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pPr>
              <a:defRPr sz="1200">
                <a:latin typeface="Nexa Bold (Headings)"/>
              </a:defRPr>
            </a:pPr>
            <a:r>
              <a:t>Sector fair share | Effervescents | Nicolas | NICOLAS QCN | P12M</a:t>
            </a:r>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pPr>
              <a:defRPr sz="1600">
                <a:latin typeface="Nexa Bold (Headings)"/>
              </a:defRPr>
            </a:pPr>
            <a:r>
              <a:rPr lang="en-GB" dirty="0">
                <a:highlight>
                  <a:srgbClr val="FFFF00"/>
                </a:highlight>
              </a:rPr>
              <a:t>Sector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Nicolas </a:t>
                      </a:r>
                    </a:p>
                    <a:p>
                      <a:pPr algn="ctr">
                        <a:defRPr sz="900" b="1">
                          <a:latin typeface="Nexa (Headings)"/>
                        </a:defRPr>
                      </a:pPr>
                      <a: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Nicolas </a:t>
                      </a:r>
                    </a:p>
                    <a:p>
                      <a:pPr algn="ctr">
                        <a:defRPr sz="900" b="1">
                          <a:latin typeface="Nexa (Headings)"/>
                        </a:defRPr>
                      </a:pPr>
                      <a: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Nicolas </a:t>
                      </a:r>
                    </a:p>
                    <a:p>
                      <a:pPr algn="ctr">
                        <a:defRPr sz="900" b="1">
                          <a:latin typeface="Nexa (Headings)"/>
                        </a:defRPr>
                      </a:pPr>
                      <a: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Nicolas </a:t>
                      </a:r>
                    </a:p>
                    <a:p>
                      <a:pPr algn="ctr">
                        <a:defRPr sz="900" b="1">
                          <a:latin typeface="Nexa (Headings)"/>
                        </a:defRPr>
                      </a:pPr>
                      <a: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Nicolas</a:t>
                      </a:r>
                    </a:p>
                    <a:p>
                      <a:pPr algn="ctr">
                        <a:defRPr sz="900" b="1">
                          <a:latin typeface="Nexa (Headings)"/>
                        </a:defRPr>
                      </a:pPr>
                      <a: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831402">
                <a:tc>
                  <a:txBody>
                    <a:bodyPr/>
                    <a:lstStyle/>
                    <a:p>
                      <a:pPr algn="ctr">
                        <a:defRPr sz="800" b="1">
                          <a:latin typeface="Nexa (Headings)"/>
                        </a:defRPr>
                      </a:pPr>
                      <a:r>
                        <a:t>Grand Total</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81</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6</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6</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831402">
                <a:tc>
                  <a:txBody>
                    <a:bodyPr/>
                    <a:lstStyle/>
                    <a:p>
                      <a:pPr algn="ctr">
                        <a:defRPr sz="800" b="1">
                          <a:latin typeface="Nexa (Headings)"/>
                        </a:defRPr>
                      </a:pPr>
                      <a:r>
                        <a:t>Mousseux</a:t>
                      </a:r>
                    </a:p>
                  </a:txBody>
                  <a:tcPr marL="3810" marR="3810" marT="3810" marB="0" anchor="ctr">
                    <a:noFill/>
                  </a:tcPr>
                </a:tc>
                <a:tc>
                  <a:txBody>
                    <a:bodyPr/>
                    <a:lstStyle/>
                    <a:p>
                      <a:pPr algn="ctr">
                        <a:defRPr sz="800">
                          <a:latin typeface="Nexa Book"/>
                        </a:defRPr>
                      </a:pPr>
                      <a:r>
                        <a:t>13</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3161381"/>
                  </a:ext>
                </a:extLst>
              </a:tr>
              <a:tr h="831402">
                <a:tc>
                  <a:txBody>
                    <a:bodyPr/>
                    <a:lstStyle/>
                    <a:p>
                      <a:pPr algn="ctr">
                        <a:defRPr sz="800" b="1">
                          <a:latin typeface="Nexa (Headings)"/>
                        </a:defRPr>
                      </a:pPr>
                      <a:r>
                        <a:t>Champagnes</a:t>
                      </a:r>
                    </a:p>
                  </a:txBody>
                  <a:tcPr marL="3810" marR="3810" marT="3810" marB="0" anchor="ctr">
                    <a:noFill/>
                  </a:tcPr>
                </a:tc>
                <a:tc>
                  <a:txBody>
                    <a:bodyPr/>
                    <a:lstStyle/>
                    <a:p>
                      <a:pPr algn="ctr">
                        <a:defRPr sz="800">
                          <a:latin typeface="Nexa Book"/>
                        </a:defRPr>
                      </a:pPr>
                      <a:r>
                        <a:t>65</a:t>
                      </a:r>
                    </a:p>
                  </a:txBody>
                  <a:tcPr marL="3810" marR="3810" marT="3810" marB="0" anchor="ctr">
                    <a:noFill/>
                  </a:tcPr>
                </a:tc>
                <a:tc>
                  <a:txBody>
                    <a:bodyPr/>
                    <a:lstStyle/>
                    <a:p>
                      <a:pPr algn="ctr">
                        <a:defRPr sz="800">
                          <a:latin typeface="Nexa Book"/>
                        </a:defRPr>
                      </a:pPr>
                      <a:r>
                        <a:t>6</a:t>
                      </a:r>
                    </a:p>
                  </a:txBody>
                  <a:tcPr marL="3810" marR="3810" marT="3810" marB="0" anchor="ctr">
                    <a:noFill/>
                  </a:tcPr>
                </a:tc>
                <a:tc>
                  <a:txBody>
                    <a:bodyPr/>
                    <a:lstStyle/>
                    <a:p>
                      <a:pPr algn="ctr">
                        <a:defRPr sz="800">
                          <a:latin typeface="Nexa Book"/>
                        </a:defRPr>
                      </a:pPr>
                      <a:r>
                        <a:t>9%</a:t>
                      </a:r>
                    </a:p>
                  </a:txBody>
                  <a:tcPr marL="3810" marR="3810" marT="3810" marB="0" anchor="ctr">
                    <a:noFill/>
                  </a:tcPr>
                </a:tc>
                <a:tc>
                  <a:txBody>
                    <a:bodyPr/>
                    <a:lstStyle/>
                    <a:p>
                      <a:pPr algn="ctr">
                        <a:defRPr sz="800">
                          <a:latin typeface="Nexa Book"/>
                        </a:defRPr>
                      </a:pPr>
                      <a:r>
                        <a:t>9%</a:t>
                      </a:r>
                    </a:p>
                  </a:txBody>
                  <a:tcPr marL="3810" marR="3810" marT="3810" marB="0" anchor="ctr">
                    <a:noFill/>
                  </a:tcPr>
                </a:tc>
                <a:tc>
                  <a:txBody>
                    <a:bodyPr/>
                    <a:lstStyle/>
                    <a:p>
                      <a:pPr algn="ctr">
                        <a:defRPr sz="800">
                          <a:latin typeface="Nexa Book"/>
                        </a:defRPr>
                      </a:pPr>
                      <a:r>
                        <a:t>6</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1752397169"/>
                  </a:ext>
                </a:extLst>
              </a:tr>
              <a:tr h="831402">
                <a:tc>
                  <a:txBody>
                    <a:bodyPr/>
                    <a:lstStyle/>
                    <a:p>
                      <a:pPr algn="ctr">
                        <a:defRPr sz="800" b="1">
                          <a:latin typeface="Nexa (Headings)"/>
                        </a:defRPr>
                      </a:pPr>
                      <a:r>
                        <a:t>Effervescents Sans Alcool</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3712364869"/>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1122</a:t>
            </a:fld>
            <a:endParaRPr lang="en-US"/>
          </a:p>
        </p:txBody>
      </p:sp>
    </p:spTree>
    <p:extLst>
      <p:ext uri="{BB962C8B-B14F-4D97-AF65-F5344CB8AC3E}">
        <p14:creationId xmlns:p14="http://schemas.microsoft.com/office/powerpoint/2010/main" val="3890880302"/>
      </p:ext>
    </p:extLst>
  </p:cSld>
  <p:clrMapOvr>
    <a:masterClrMapping/>
  </p:clrMapOvr>
</p:sld>
</file>

<file path=ppt/slides/slide1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8/27/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pPr>
              <a:defRPr sz="1200">
                <a:latin typeface="Nexa Bold (Headings)"/>
              </a:defRPr>
            </a:pPr>
            <a:r>
              <a:t>Sector fair share | Effervescents | Nicolas | NICOLAS PAC | P12M</a:t>
            </a:r>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pPr>
              <a:defRPr sz="1600">
                <a:latin typeface="Nexa Bold (Headings)"/>
              </a:defRPr>
            </a:pPr>
            <a:r>
              <a:rPr lang="en-GB" dirty="0">
                <a:highlight>
                  <a:srgbClr val="FFFF00"/>
                </a:highlight>
              </a:rPr>
              <a:t>Sector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Nicolas </a:t>
                      </a:r>
                    </a:p>
                    <a:p>
                      <a:pPr algn="ctr">
                        <a:defRPr sz="900" b="1">
                          <a:latin typeface="Nexa (Headings)"/>
                        </a:defRPr>
                      </a:pPr>
                      <a: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Nicolas </a:t>
                      </a:r>
                    </a:p>
                    <a:p>
                      <a:pPr algn="ctr">
                        <a:defRPr sz="900" b="1">
                          <a:latin typeface="Nexa (Headings)"/>
                        </a:defRPr>
                      </a:pPr>
                      <a: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Nicolas </a:t>
                      </a:r>
                    </a:p>
                    <a:p>
                      <a:pPr algn="ctr">
                        <a:defRPr sz="900" b="1">
                          <a:latin typeface="Nexa (Headings)"/>
                        </a:defRPr>
                      </a:pPr>
                      <a: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Nicolas </a:t>
                      </a:r>
                    </a:p>
                    <a:p>
                      <a:pPr algn="ctr">
                        <a:defRPr sz="900" b="1">
                          <a:latin typeface="Nexa (Headings)"/>
                        </a:defRPr>
                      </a:pPr>
                      <a: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Nicolas</a:t>
                      </a:r>
                    </a:p>
                    <a:p>
                      <a:pPr algn="ctr">
                        <a:defRPr sz="900" b="1">
                          <a:latin typeface="Nexa (Headings)"/>
                        </a:defRPr>
                      </a:pPr>
                      <a: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831402">
                <a:tc>
                  <a:txBody>
                    <a:bodyPr/>
                    <a:lstStyle/>
                    <a:p>
                      <a:pPr algn="ctr">
                        <a:defRPr sz="800" b="1">
                          <a:latin typeface="Nexa (Headings)"/>
                        </a:defRPr>
                      </a:pPr>
                      <a:r>
                        <a:t>Grand Total</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9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7</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0%</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8</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831402">
                <a:tc>
                  <a:txBody>
                    <a:bodyPr/>
                    <a:lstStyle/>
                    <a:p>
                      <a:pPr algn="ctr">
                        <a:defRPr sz="800" b="1">
                          <a:latin typeface="Nexa (Headings)"/>
                        </a:defRPr>
                      </a:pPr>
                      <a:r>
                        <a:t>Mousseux</a:t>
                      </a:r>
                    </a:p>
                  </a:txBody>
                  <a:tcPr marL="3810" marR="3810" marT="3810" marB="0" anchor="ctr">
                    <a:noFill/>
                  </a:tcPr>
                </a:tc>
                <a:tc>
                  <a:txBody>
                    <a:bodyPr/>
                    <a:lstStyle/>
                    <a:p>
                      <a:pPr algn="ctr">
                        <a:defRPr sz="800">
                          <a:latin typeface="Nexa Book"/>
                        </a:defRPr>
                      </a:pPr>
                      <a:r>
                        <a:t>14</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3161381"/>
                  </a:ext>
                </a:extLst>
              </a:tr>
              <a:tr h="831402">
                <a:tc>
                  <a:txBody>
                    <a:bodyPr/>
                    <a:lstStyle/>
                    <a:p>
                      <a:pPr algn="ctr">
                        <a:defRPr sz="800" b="1">
                          <a:latin typeface="Nexa (Headings)"/>
                        </a:defRPr>
                      </a:pPr>
                      <a:r>
                        <a:t>Champagnes</a:t>
                      </a:r>
                    </a:p>
                  </a:txBody>
                  <a:tcPr marL="3810" marR="3810" marT="3810" marB="0" anchor="ctr">
                    <a:noFill/>
                  </a:tcPr>
                </a:tc>
                <a:tc>
                  <a:txBody>
                    <a:bodyPr/>
                    <a:lstStyle/>
                    <a:p>
                      <a:pPr algn="ctr">
                        <a:defRPr sz="800">
                          <a:latin typeface="Nexa Book"/>
                        </a:defRPr>
                      </a:pPr>
                      <a:r>
                        <a:t>82</a:t>
                      </a:r>
                    </a:p>
                  </a:txBody>
                  <a:tcPr marL="3810" marR="3810" marT="3810" marB="0" anchor="ctr">
                    <a:noFill/>
                  </a:tcPr>
                </a:tc>
                <a:tc>
                  <a:txBody>
                    <a:bodyPr/>
                    <a:lstStyle/>
                    <a:p>
                      <a:pPr algn="ctr">
                        <a:defRPr sz="800">
                          <a:latin typeface="Nexa Book"/>
                        </a:defRPr>
                      </a:pPr>
                      <a:r>
                        <a:t>7</a:t>
                      </a:r>
                    </a:p>
                  </a:txBody>
                  <a:tcPr marL="3810" marR="3810" marT="3810" marB="0" anchor="ctr">
                    <a:noFill/>
                  </a:tcPr>
                </a:tc>
                <a:tc>
                  <a:txBody>
                    <a:bodyPr/>
                    <a:lstStyle/>
                    <a:p>
                      <a:pPr algn="ctr">
                        <a:defRPr sz="800">
                          <a:latin typeface="Nexa Book"/>
                        </a:defRPr>
                      </a:pPr>
                      <a:r>
                        <a:t>9%</a:t>
                      </a:r>
                    </a:p>
                  </a:txBody>
                  <a:tcPr marL="3810" marR="3810" marT="3810" marB="0" anchor="ctr">
                    <a:noFill/>
                  </a:tcPr>
                </a:tc>
                <a:tc>
                  <a:txBody>
                    <a:bodyPr/>
                    <a:lstStyle/>
                    <a:p>
                      <a:pPr algn="ctr">
                        <a:defRPr sz="800">
                          <a:latin typeface="Nexa Book"/>
                        </a:defRPr>
                      </a:pPr>
                      <a:r>
                        <a:t>10%</a:t>
                      </a:r>
                    </a:p>
                  </a:txBody>
                  <a:tcPr marL="3810" marR="3810" marT="3810" marB="0" anchor="ctr">
                    <a:noFill/>
                  </a:tcPr>
                </a:tc>
                <a:tc>
                  <a:txBody>
                    <a:bodyPr/>
                    <a:lstStyle/>
                    <a:p>
                      <a:pPr algn="ctr">
                        <a:defRPr sz="800">
                          <a:latin typeface="Nexa Book"/>
                        </a:defRPr>
                      </a:pPr>
                      <a:r>
                        <a:t>8</a:t>
                      </a:r>
                    </a:p>
                  </a:txBody>
                  <a:tcPr marL="3810" marR="3810" marT="3810" marB="0" anchor="ctr">
                    <a:noFill/>
                  </a:tcPr>
                </a:tc>
                <a:tc>
                  <a:txBody>
                    <a:bodyPr/>
                    <a:lstStyle/>
                    <a:p>
                      <a:pPr algn="ctr">
                        <a:defRPr sz="800">
                          <a:latin typeface="Nexa Book"/>
                        </a:defRPr>
                      </a:pPr>
                      <a:r>
                        <a:t>1</a:t>
                      </a:r>
                    </a:p>
                  </a:txBody>
                  <a:tcPr marL="3810" marR="3810" marT="3810" marB="0" anchor="ctr">
                    <a:noFill/>
                  </a:tcPr>
                </a:tc>
                <a:extLst>
                  <a:ext uri="{0D108BD9-81ED-4DB2-BD59-A6C34878D82A}">
                    <a16:rowId xmlns:a16="http://schemas.microsoft.com/office/drawing/2014/main" val="1752397169"/>
                  </a:ext>
                </a:extLst>
              </a:tr>
              <a:tr h="831402">
                <a:tc>
                  <a:txBody>
                    <a:bodyPr/>
                    <a:lstStyle/>
                    <a:p>
                      <a:pPr algn="ctr">
                        <a:defRPr sz="800" b="1">
                          <a:latin typeface="Nexa (Headings)"/>
                        </a:defRPr>
                      </a:pPr>
                      <a:r>
                        <a:t>Effervescents Sans Alcool</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3712364869"/>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1123</a:t>
            </a:fld>
            <a:endParaRPr lang="en-US"/>
          </a:p>
        </p:txBody>
      </p:sp>
    </p:spTree>
    <p:extLst>
      <p:ext uri="{BB962C8B-B14F-4D97-AF65-F5344CB8AC3E}">
        <p14:creationId xmlns:p14="http://schemas.microsoft.com/office/powerpoint/2010/main" val="2961413443"/>
      </p:ext>
    </p:extLst>
  </p:cSld>
  <p:clrMapOvr>
    <a:masterClrMapping/>
  </p:clrMapOvr>
</p:sld>
</file>

<file path=ppt/slides/slide1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8/27/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pPr>
              <a:defRPr sz="1200">
                <a:latin typeface="Nexa Bold (Headings)"/>
              </a:defRPr>
            </a:pPr>
            <a:r>
              <a:t>Sector fair share | Effervescents | Nicolas | NICOLAS | P12M</a:t>
            </a:r>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pPr>
              <a:defRPr sz="1600">
                <a:latin typeface="Nexa Bold (Headings)"/>
              </a:defRPr>
            </a:pPr>
            <a:r>
              <a:rPr lang="en-GB" dirty="0">
                <a:highlight>
                  <a:srgbClr val="FFFF00"/>
                </a:highlight>
              </a:rPr>
              <a:t>Sector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Nicolas </a:t>
                      </a:r>
                    </a:p>
                    <a:p>
                      <a:pPr algn="ctr">
                        <a:defRPr sz="900" b="1">
                          <a:latin typeface="Nexa (Headings)"/>
                        </a:defRPr>
                      </a:pPr>
                      <a: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Nicolas </a:t>
                      </a:r>
                    </a:p>
                    <a:p>
                      <a:pPr algn="ctr">
                        <a:defRPr sz="900" b="1">
                          <a:latin typeface="Nexa (Headings)"/>
                        </a:defRPr>
                      </a:pPr>
                      <a: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Nicolas </a:t>
                      </a:r>
                    </a:p>
                    <a:p>
                      <a:pPr algn="ctr">
                        <a:defRPr sz="900" b="1">
                          <a:latin typeface="Nexa (Headings)"/>
                        </a:defRPr>
                      </a:pPr>
                      <a: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Nicolas </a:t>
                      </a:r>
                    </a:p>
                    <a:p>
                      <a:pPr algn="ctr">
                        <a:defRPr sz="900" b="1">
                          <a:latin typeface="Nexa (Headings)"/>
                        </a:defRPr>
                      </a:pPr>
                      <a: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Nicolas</a:t>
                      </a:r>
                    </a:p>
                    <a:p>
                      <a:pPr algn="ctr">
                        <a:defRPr sz="900" b="1">
                          <a:latin typeface="Nexa (Headings)"/>
                        </a:defRPr>
                      </a:pPr>
                      <a: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831402">
                <a:tc>
                  <a:txBody>
                    <a:bodyPr/>
                    <a:lstStyle/>
                    <a:p>
                      <a:pPr algn="ctr">
                        <a:defRPr sz="800" b="1">
                          <a:latin typeface="Nexa (Headings)"/>
                        </a:defRPr>
                      </a:pPr>
                      <a:r>
                        <a:t>Grand Total</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8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6</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7</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831402">
                <a:tc>
                  <a:txBody>
                    <a:bodyPr/>
                    <a:lstStyle/>
                    <a:p>
                      <a:pPr algn="ctr">
                        <a:defRPr sz="800" b="1">
                          <a:latin typeface="Nexa (Headings)"/>
                        </a:defRPr>
                      </a:pPr>
                      <a:r>
                        <a:t>Mousseux</a:t>
                      </a:r>
                    </a:p>
                  </a:txBody>
                  <a:tcPr marL="3810" marR="3810" marT="3810" marB="0" anchor="ctr">
                    <a:noFill/>
                  </a:tcPr>
                </a:tc>
                <a:tc>
                  <a:txBody>
                    <a:bodyPr/>
                    <a:lstStyle/>
                    <a:p>
                      <a:pPr algn="ctr">
                        <a:defRPr sz="800">
                          <a:latin typeface="Nexa Book"/>
                        </a:defRPr>
                      </a:pPr>
                      <a:r>
                        <a:t>14</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3161381"/>
                  </a:ext>
                </a:extLst>
              </a:tr>
              <a:tr h="831402">
                <a:tc>
                  <a:txBody>
                    <a:bodyPr/>
                    <a:lstStyle/>
                    <a:p>
                      <a:pPr algn="ctr">
                        <a:defRPr sz="800" b="1">
                          <a:latin typeface="Nexa (Headings)"/>
                        </a:defRPr>
                      </a:pPr>
                      <a:r>
                        <a:t>Champagnes</a:t>
                      </a:r>
                    </a:p>
                  </a:txBody>
                  <a:tcPr marL="3810" marR="3810" marT="3810" marB="0" anchor="ctr">
                    <a:noFill/>
                  </a:tcPr>
                </a:tc>
                <a:tc>
                  <a:txBody>
                    <a:bodyPr/>
                    <a:lstStyle/>
                    <a:p>
                      <a:pPr algn="ctr">
                        <a:defRPr sz="800">
                          <a:latin typeface="Nexa Book"/>
                        </a:defRPr>
                      </a:pPr>
                      <a:r>
                        <a:t>72</a:t>
                      </a:r>
                    </a:p>
                  </a:txBody>
                  <a:tcPr marL="3810" marR="3810" marT="3810" marB="0" anchor="ctr">
                    <a:noFill/>
                  </a:tcPr>
                </a:tc>
                <a:tc>
                  <a:txBody>
                    <a:bodyPr/>
                    <a:lstStyle/>
                    <a:p>
                      <a:pPr algn="ctr">
                        <a:defRPr sz="800">
                          <a:latin typeface="Nexa Book"/>
                        </a:defRPr>
                      </a:pPr>
                      <a:r>
                        <a:t>6</a:t>
                      </a:r>
                    </a:p>
                  </a:txBody>
                  <a:tcPr marL="3810" marR="3810" marT="3810" marB="0" anchor="ctr">
                    <a:noFill/>
                  </a:tcPr>
                </a:tc>
                <a:tc>
                  <a:txBody>
                    <a:bodyPr/>
                    <a:lstStyle/>
                    <a:p>
                      <a:pPr algn="ctr">
                        <a:defRPr sz="800">
                          <a:latin typeface="Nexa Book"/>
                        </a:defRPr>
                      </a:pPr>
                      <a:r>
                        <a:t>9%</a:t>
                      </a:r>
                    </a:p>
                  </a:txBody>
                  <a:tcPr marL="3810" marR="3810" marT="3810" marB="0" anchor="ctr">
                    <a:noFill/>
                  </a:tcPr>
                </a:tc>
                <a:tc>
                  <a:txBody>
                    <a:bodyPr/>
                    <a:lstStyle/>
                    <a:p>
                      <a:pPr algn="ctr">
                        <a:defRPr sz="800">
                          <a:latin typeface="Nexa Book"/>
                        </a:defRPr>
                      </a:pPr>
                      <a:r>
                        <a:t>9%</a:t>
                      </a:r>
                    </a:p>
                  </a:txBody>
                  <a:tcPr marL="3810" marR="3810" marT="3810" marB="0" anchor="ctr">
                    <a:noFill/>
                  </a:tcPr>
                </a:tc>
                <a:tc>
                  <a:txBody>
                    <a:bodyPr/>
                    <a:lstStyle/>
                    <a:p>
                      <a:pPr algn="ctr">
                        <a:defRPr sz="800">
                          <a:latin typeface="Nexa Book"/>
                        </a:defRPr>
                      </a:pPr>
                      <a:r>
                        <a:t>7</a:t>
                      </a:r>
                    </a:p>
                  </a:txBody>
                  <a:tcPr marL="3810" marR="3810" marT="3810" marB="0" anchor="ctr">
                    <a:noFill/>
                  </a:tcPr>
                </a:tc>
                <a:tc>
                  <a:txBody>
                    <a:bodyPr/>
                    <a:lstStyle/>
                    <a:p>
                      <a:pPr algn="ctr">
                        <a:defRPr sz="800">
                          <a:latin typeface="Nexa Book"/>
                        </a:defRPr>
                      </a:pPr>
                      <a:r>
                        <a:t>1</a:t>
                      </a:r>
                    </a:p>
                  </a:txBody>
                  <a:tcPr marL="3810" marR="3810" marT="3810" marB="0" anchor="ctr">
                    <a:noFill/>
                  </a:tcPr>
                </a:tc>
                <a:extLst>
                  <a:ext uri="{0D108BD9-81ED-4DB2-BD59-A6C34878D82A}">
                    <a16:rowId xmlns:a16="http://schemas.microsoft.com/office/drawing/2014/main" val="1752397169"/>
                  </a:ext>
                </a:extLst>
              </a:tr>
              <a:tr h="831402">
                <a:tc>
                  <a:txBody>
                    <a:bodyPr/>
                    <a:lstStyle/>
                    <a:p>
                      <a:pPr algn="ctr">
                        <a:defRPr sz="800" b="1">
                          <a:latin typeface="Nexa (Headings)"/>
                        </a:defRPr>
                      </a:pPr>
                      <a:r>
                        <a:t>Effervescents Sans Alcool</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3712364869"/>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1124</a:t>
            </a:fld>
            <a:endParaRPr lang="en-US"/>
          </a:p>
        </p:txBody>
      </p:sp>
    </p:spTree>
    <p:extLst>
      <p:ext uri="{BB962C8B-B14F-4D97-AF65-F5344CB8AC3E}">
        <p14:creationId xmlns:p14="http://schemas.microsoft.com/office/powerpoint/2010/main" val="3264121380"/>
      </p:ext>
    </p:extLst>
  </p:cSld>
  <p:clrMapOvr>
    <a:masterClrMapping/>
  </p:clrMapOvr>
</p:sld>
</file>

<file path=ppt/slides/slide1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8/27/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pPr>
              <a:defRPr sz="1200">
                <a:latin typeface="Nexa Bold (Headings)"/>
              </a:defRPr>
            </a:pPr>
            <a:r>
              <a:t>Sector fair share | Effervescents | Nicolas | NICOLAS RHO | P12M</a:t>
            </a:r>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pPr>
              <a:defRPr sz="1600">
                <a:latin typeface="Nexa Bold (Headings)"/>
              </a:defRPr>
            </a:pPr>
            <a:r>
              <a:rPr lang="en-GB" dirty="0">
                <a:highlight>
                  <a:srgbClr val="FFFF00"/>
                </a:highlight>
              </a:rPr>
              <a:t>Sector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Nicolas </a:t>
                      </a:r>
                    </a:p>
                    <a:p>
                      <a:pPr algn="ctr">
                        <a:defRPr sz="900" b="1">
                          <a:latin typeface="Nexa (Headings)"/>
                        </a:defRPr>
                      </a:pPr>
                      <a: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Nicolas </a:t>
                      </a:r>
                    </a:p>
                    <a:p>
                      <a:pPr algn="ctr">
                        <a:defRPr sz="900" b="1">
                          <a:latin typeface="Nexa (Headings)"/>
                        </a:defRPr>
                      </a:pPr>
                      <a: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Nicolas </a:t>
                      </a:r>
                    </a:p>
                    <a:p>
                      <a:pPr algn="ctr">
                        <a:defRPr sz="900" b="1">
                          <a:latin typeface="Nexa (Headings)"/>
                        </a:defRPr>
                      </a:pPr>
                      <a: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Nicolas </a:t>
                      </a:r>
                    </a:p>
                    <a:p>
                      <a:pPr algn="ctr">
                        <a:defRPr sz="900" b="1">
                          <a:latin typeface="Nexa (Headings)"/>
                        </a:defRPr>
                      </a:pPr>
                      <a: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Nicolas</a:t>
                      </a:r>
                    </a:p>
                    <a:p>
                      <a:pPr algn="ctr">
                        <a:defRPr sz="900" b="1">
                          <a:latin typeface="Nexa (Headings)"/>
                        </a:defRPr>
                      </a:pPr>
                      <a: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831402">
                <a:tc>
                  <a:txBody>
                    <a:bodyPr/>
                    <a:lstStyle/>
                    <a:p>
                      <a:pPr algn="ctr">
                        <a:defRPr sz="800" b="1">
                          <a:latin typeface="Nexa (Headings)"/>
                        </a:defRPr>
                      </a:pPr>
                      <a:r>
                        <a:t>Grand Total</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98</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7</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8%</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6</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831402">
                <a:tc>
                  <a:txBody>
                    <a:bodyPr/>
                    <a:lstStyle/>
                    <a:p>
                      <a:pPr algn="ctr">
                        <a:defRPr sz="800" b="1">
                          <a:latin typeface="Nexa (Headings)"/>
                        </a:defRPr>
                      </a:pPr>
                      <a:r>
                        <a:t>Mousseux</a:t>
                      </a:r>
                    </a:p>
                  </a:txBody>
                  <a:tcPr marL="3810" marR="3810" marT="3810" marB="0" anchor="ctr">
                    <a:noFill/>
                  </a:tcPr>
                </a:tc>
                <a:tc>
                  <a:txBody>
                    <a:bodyPr/>
                    <a:lstStyle/>
                    <a:p>
                      <a:pPr algn="ctr">
                        <a:defRPr sz="800">
                          <a:latin typeface="Nexa Book"/>
                        </a:defRPr>
                      </a:pPr>
                      <a:r>
                        <a:t>16</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3161381"/>
                  </a:ext>
                </a:extLst>
              </a:tr>
              <a:tr h="831402">
                <a:tc>
                  <a:txBody>
                    <a:bodyPr/>
                    <a:lstStyle/>
                    <a:p>
                      <a:pPr algn="ctr">
                        <a:defRPr sz="800" b="1">
                          <a:latin typeface="Nexa (Headings)"/>
                        </a:defRPr>
                      </a:pPr>
                      <a:r>
                        <a:t>Champagnes</a:t>
                      </a:r>
                    </a:p>
                  </a:txBody>
                  <a:tcPr marL="3810" marR="3810" marT="3810" marB="0" anchor="ctr">
                    <a:noFill/>
                  </a:tcPr>
                </a:tc>
                <a:tc>
                  <a:txBody>
                    <a:bodyPr/>
                    <a:lstStyle/>
                    <a:p>
                      <a:pPr algn="ctr">
                        <a:defRPr sz="800">
                          <a:latin typeface="Nexa Book"/>
                        </a:defRPr>
                      </a:pPr>
                      <a:r>
                        <a:t>79</a:t>
                      </a:r>
                    </a:p>
                  </a:txBody>
                  <a:tcPr marL="3810" marR="3810" marT="3810" marB="0" anchor="ctr">
                    <a:noFill/>
                  </a:tcPr>
                </a:tc>
                <a:tc>
                  <a:txBody>
                    <a:bodyPr/>
                    <a:lstStyle/>
                    <a:p>
                      <a:pPr algn="ctr">
                        <a:defRPr sz="800">
                          <a:latin typeface="Nexa Book"/>
                        </a:defRPr>
                      </a:pPr>
                      <a:r>
                        <a:t>7</a:t>
                      </a:r>
                    </a:p>
                  </a:txBody>
                  <a:tcPr marL="3810" marR="3810" marT="3810" marB="0" anchor="ctr">
                    <a:noFill/>
                  </a:tcPr>
                </a:tc>
                <a:tc>
                  <a:txBody>
                    <a:bodyPr/>
                    <a:lstStyle/>
                    <a:p>
                      <a:pPr algn="ctr">
                        <a:defRPr sz="800">
                          <a:latin typeface="Nexa Book"/>
                        </a:defRPr>
                      </a:pPr>
                      <a:r>
                        <a:t>9%</a:t>
                      </a:r>
                    </a:p>
                  </a:txBody>
                  <a:tcPr marL="3810" marR="3810" marT="3810" marB="0" anchor="ctr">
                    <a:noFill/>
                  </a:tcPr>
                </a:tc>
                <a:tc>
                  <a:txBody>
                    <a:bodyPr/>
                    <a:lstStyle/>
                    <a:p>
                      <a:pPr algn="ctr">
                        <a:defRPr sz="800">
                          <a:latin typeface="Nexa Book"/>
                        </a:defRPr>
                      </a:pPr>
                      <a:r>
                        <a:t>8%</a:t>
                      </a:r>
                    </a:p>
                  </a:txBody>
                  <a:tcPr marL="3810" marR="3810" marT="3810" marB="0" anchor="ctr">
                    <a:noFill/>
                  </a:tcPr>
                </a:tc>
                <a:tc>
                  <a:txBody>
                    <a:bodyPr/>
                    <a:lstStyle/>
                    <a:p>
                      <a:pPr algn="ctr">
                        <a:defRPr sz="800">
                          <a:latin typeface="Nexa Book"/>
                        </a:defRPr>
                      </a:pPr>
                      <a:r>
                        <a:t>6</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1752397169"/>
                  </a:ext>
                </a:extLst>
              </a:tr>
              <a:tr h="831402">
                <a:tc>
                  <a:txBody>
                    <a:bodyPr/>
                    <a:lstStyle/>
                    <a:p>
                      <a:pPr algn="ctr">
                        <a:defRPr sz="800" b="1">
                          <a:latin typeface="Nexa (Headings)"/>
                        </a:defRPr>
                      </a:pPr>
                      <a:r>
                        <a:t>Effervescents Sans Alcool</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3712364869"/>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1125</a:t>
            </a:fld>
            <a:endParaRPr lang="en-US"/>
          </a:p>
        </p:txBody>
      </p:sp>
    </p:spTree>
    <p:extLst>
      <p:ext uri="{BB962C8B-B14F-4D97-AF65-F5344CB8AC3E}">
        <p14:creationId xmlns:p14="http://schemas.microsoft.com/office/powerpoint/2010/main" val="1290475114"/>
      </p:ext>
    </p:extLst>
  </p:cSld>
  <p:clrMapOvr>
    <a:masterClrMapping/>
  </p:clrMapOvr>
</p:sld>
</file>

<file path=ppt/slides/slide1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8/27/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pPr>
              <a:defRPr sz="1200">
                <a:latin typeface="Nexa Bold (Headings)"/>
              </a:defRPr>
            </a:pPr>
            <a:r>
              <a:t>Sector fair share | Effervescents | Nicolas | NICOLAS AQU | P12M</a:t>
            </a:r>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pPr>
              <a:defRPr sz="1600">
                <a:latin typeface="Nexa Bold (Headings)"/>
              </a:defRPr>
            </a:pPr>
            <a:r>
              <a:rPr lang="en-GB" dirty="0">
                <a:highlight>
                  <a:srgbClr val="FFFF00"/>
                </a:highlight>
              </a:rPr>
              <a:t>Sector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Nicolas </a:t>
                      </a:r>
                    </a:p>
                    <a:p>
                      <a:pPr algn="ctr">
                        <a:defRPr sz="900" b="1">
                          <a:latin typeface="Nexa (Headings)"/>
                        </a:defRPr>
                      </a:pPr>
                      <a: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Nicolas </a:t>
                      </a:r>
                    </a:p>
                    <a:p>
                      <a:pPr algn="ctr">
                        <a:defRPr sz="900" b="1">
                          <a:latin typeface="Nexa (Headings)"/>
                        </a:defRPr>
                      </a:pPr>
                      <a: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Nicolas </a:t>
                      </a:r>
                    </a:p>
                    <a:p>
                      <a:pPr algn="ctr">
                        <a:defRPr sz="900" b="1">
                          <a:latin typeface="Nexa (Headings)"/>
                        </a:defRPr>
                      </a:pPr>
                      <a: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Nicolas </a:t>
                      </a:r>
                    </a:p>
                    <a:p>
                      <a:pPr algn="ctr">
                        <a:defRPr sz="900" b="1">
                          <a:latin typeface="Nexa (Headings)"/>
                        </a:defRPr>
                      </a:pPr>
                      <a: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Nicolas</a:t>
                      </a:r>
                    </a:p>
                    <a:p>
                      <a:pPr algn="ctr">
                        <a:defRPr sz="900" b="1">
                          <a:latin typeface="Nexa (Headings)"/>
                        </a:defRPr>
                      </a:pPr>
                      <a: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831402">
                <a:tc>
                  <a:txBody>
                    <a:bodyPr/>
                    <a:lstStyle/>
                    <a:p>
                      <a:pPr algn="ctr">
                        <a:defRPr sz="800" b="1">
                          <a:latin typeface="Nexa (Headings)"/>
                        </a:defRPr>
                      </a:pPr>
                      <a:r>
                        <a:t>Grand Total</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00</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7</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2%</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2</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831402">
                <a:tc>
                  <a:txBody>
                    <a:bodyPr/>
                    <a:lstStyle/>
                    <a:p>
                      <a:pPr algn="ctr">
                        <a:defRPr sz="800" b="1">
                          <a:latin typeface="Nexa (Headings)"/>
                        </a:defRPr>
                      </a:pPr>
                      <a:r>
                        <a:t>Mousseux</a:t>
                      </a:r>
                    </a:p>
                  </a:txBody>
                  <a:tcPr marL="3810" marR="3810" marT="3810" marB="0" anchor="ctr">
                    <a:noFill/>
                  </a:tcPr>
                </a:tc>
                <a:tc>
                  <a:txBody>
                    <a:bodyPr/>
                    <a:lstStyle/>
                    <a:p>
                      <a:pPr algn="ctr">
                        <a:defRPr sz="800">
                          <a:latin typeface="Nexa Book"/>
                        </a:defRPr>
                      </a:pPr>
                      <a:r>
                        <a:t>18</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3161381"/>
                  </a:ext>
                </a:extLst>
              </a:tr>
              <a:tr h="831402">
                <a:tc>
                  <a:txBody>
                    <a:bodyPr/>
                    <a:lstStyle/>
                    <a:p>
                      <a:pPr algn="ctr">
                        <a:defRPr sz="800" b="1">
                          <a:latin typeface="Nexa (Headings)"/>
                        </a:defRPr>
                      </a:pPr>
                      <a:r>
                        <a:t>Champagnes</a:t>
                      </a:r>
                    </a:p>
                  </a:txBody>
                  <a:tcPr marL="3810" marR="3810" marT="3810" marB="0" anchor="ctr">
                    <a:noFill/>
                  </a:tcPr>
                </a:tc>
                <a:tc>
                  <a:txBody>
                    <a:bodyPr/>
                    <a:lstStyle/>
                    <a:p>
                      <a:pPr algn="ctr">
                        <a:defRPr sz="800">
                          <a:latin typeface="Nexa Book"/>
                        </a:defRPr>
                      </a:pPr>
                      <a:r>
                        <a:t>79</a:t>
                      </a:r>
                    </a:p>
                  </a:txBody>
                  <a:tcPr marL="3810" marR="3810" marT="3810" marB="0" anchor="ctr">
                    <a:noFill/>
                  </a:tcPr>
                </a:tc>
                <a:tc>
                  <a:txBody>
                    <a:bodyPr/>
                    <a:lstStyle/>
                    <a:p>
                      <a:pPr algn="ctr">
                        <a:defRPr sz="800">
                          <a:latin typeface="Nexa Book"/>
                        </a:defRPr>
                      </a:pPr>
                      <a:r>
                        <a:t>7</a:t>
                      </a:r>
                    </a:p>
                  </a:txBody>
                  <a:tcPr marL="3810" marR="3810" marT="3810" marB="0" anchor="ctr">
                    <a:noFill/>
                  </a:tcPr>
                </a:tc>
                <a:tc>
                  <a:txBody>
                    <a:bodyPr/>
                    <a:lstStyle/>
                    <a:p>
                      <a:pPr algn="ctr">
                        <a:defRPr sz="800">
                          <a:latin typeface="Nexa Book"/>
                        </a:defRPr>
                      </a:pPr>
                      <a:r>
                        <a:t>9%</a:t>
                      </a:r>
                    </a:p>
                  </a:txBody>
                  <a:tcPr marL="3810" marR="3810" marT="3810" marB="0" anchor="ctr">
                    <a:noFill/>
                  </a:tcPr>
                </a:tc>
                <a:tc>
                  <a:txBody>
                    <a:bodyPr/>
                    <a:lstStyle/>
                    <a:p>
                      <a:pPr algn="ctr">
                        <a:defRPr sz="800">
                          <a:latin typeface="Nexa Book"/>
                        </a:defRPr>
                      </a:pPr>
                      <a:r>
                        <a:t>12%</a:t>
                      </a:r>
                    </a:p>
                  </a:txBody>
                  <a:tcPr marL="3810" marR="3810" marT="3810" marB="0" anchor="ctr">
                    <a:noFill/>
                  </a:tcPr>
                </a:tc>
                <a:tc>
                  <a:txBody>
                    <a:bodyPr/>
                    <a:lstStyle/>
                    <a:p>
                      <a:pPr algn="ctr">
                        <a:defRPr sz="800">
                          <a:latin typeface="Nexa Book"/>
                        </a:defRPr>
                      </a:pPr>
                      <a:r>
                        <a:t>9</a:t>
                      </a:r>
                    </a:p>
                  </a:txBody>
                  <a:tcPr marL="3810" marR="3810" marT="3810" marB="0" anchor="ctr">
                    <a:noFill/>
                  </a:tcPr>
                </a:tc>
                <a:tc>
                  <a:txBody>
                    <a:bodyPr/>
                    <a:lstStyle/>
                    <a:p>
                      <a:pPr algn="ctr">
                        <a:defRPr sz="800">
                          <a:latin typeface="Nexa Book"/>
                        </a:defRPr>
                      </a:pPr>
                      <a:r>
                        <a:t>2</a:t>
                      </a:r>
                    </a:p>
                  </a:txBody>
                  <a:tcPr marL="3810" marR="3810" marT="3810" marB="0" anchor="ctr">
                    <a:noFill/>
                  </a:tcPr>
                </a:tc>
                <a:extLst>
                  <a:ext uri="{0D108BD9-81ED-4DB2-BD59-A6C34878D82A}">
                    <a16:rowId xmlns:a16="http://schemas.microsoft.com/office/drawing/2014/main" val="1752397169"/>
                  </a:ext>
                </a:extLst>
              </a:tr>
              <a:tr h="831402">
                <a:tc>
                  <a:txBody>
                    <a:bodyPr/>
                    <a:lstStyle/>
                    <a:p>
                      <a:pPr algn="ctr">
                        <a:defRPr sz="800" b="1">
                          <a:latin typeface="Nexa (Headings)"/>
                        </a:defRPr>
                      </a:pPr>
                      <a:r>
                        <a:t>Effervescents Sans Alcool</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3712364869"/>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1126</a:t>
            </a:fld>
            <a:endParaRPr lang="en-US"/>
          </a:p>
        </p:txBody>
      </p:sp>
    </p:spTree>
    <p:extLst>
      <p:ext uri="{BB962C8B-B14F-4D97-AF65-F5344CB8AC3E}">
        <p14:creationId xmlns:p14="http://schemas.microsoft.com/office/powerpoint/2010/main" val="835714787"/>
      </p:ext>
    </p:extLst>
  </p:cSld>
  <p:clrMapOvr>
    <a:masterClrMapping/>
  </p:clrMapOvr>
</p:sld>
</file>

<file path=ppt/slides/slide1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8/27/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pPr>
              <a:defRPr sz="1200">
                <a:latin typeface="Nexa Bold (Headings)"/>
              </a:defRPr>
            </a:pPr>
            <a:r>
              <a:t>Sector fair share | Effervescents | Nicolas | NICOLAS EST | P12M</a:t>
            </a:r>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pPr>
              <a:defRPr sz="1600">
                <a:latin typeface="Nexa Bold (Headings)"/>
              </a:defRPr>
            </a:pPr>
            <a:r>
              <a:rPr lang="en-GB" dirty="0">
                <a:highlight>
                  <a:srgbClr val="FFFF00"/>
                </a:highlight>
              </a:rPr>
              <a:t>Sector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Nicolas </a:t>
                      </a:r>
                    </a:p>
                    <a:p>
                      <a:pPr algn="ctr">
                        <a:defRPr sz="900" b="1">
                          <a:latin typeface="Nexa (Headings)"/>
                        </a:defRPr>
                      </a:pPr>
                      <a: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Nicolas </a:t>
                      </a:r>
                    </a:p>
                    <a:p>
                      <a:pPr algn="ctr">
                        <a:defRPr sz="900" b="1">
                          <a:latin typeface="Nexa (Headings)"/>
                        </a:defRPr>
                      </a:pPr>
                      <a: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Nicolas </a:t>
                      </a:r>
                    </a:p>
                    <a:p>
                      <a:pPr algn="ctr">
                        <a:defRPr sz="900" b="1">
                          <a:latin typeface="Nexa (Headings)"/>
                        </a:defRPr>
                      </a:pPr>
                      <a: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Nicolas </a:t>
                      </a:r>
                    </a:p>
                    <a:p>
                      <a:pPr algn="ctr">
                        <a:defRPr sz="900" b="1">
                          <a:latin typeface="Nexa (Headings)"/>
                        </a:defRPr>
                      </a:pPr>
                      <a: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Nicolas</a:t>
                      </a:r>
                    </a:p>
                    <a:p>
                      <a:pPr algn="ctr">
                        <a:defRPr sz="900" b="1">
                          <a:latin typeface="Nexa (Headings)"/>
                        </a:defRPr>
                      </a:pPr>
                      <a: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831402">
                <a:tc>
                  <a:txBody>
                    <a:bodyPr/>
                    <a:lstStyle/>
                    <a:p>
                      <a:pPr algn="ctr">
                        <a:defRPr sz="800" b="1">
                          <a:latin typeface="Nexa (Headings)"/>
                        </a:defRPr>
                      </a:pPr>
                      <a:r>
                        <a:t>Grand Total</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07</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7</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8%</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8</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831402">
                <a:tc>
                  <a:txBody>
                    <a:bodyPr/>
                    <a:lstStyle/>
                    <a:p>
                      <a:pPr algn="ctr">
                        <a:defRPr sz="800" b="1">
                          <a:latin typeface="Nexa (Headings)"/>
                        </a:defRPr>
                      </a:pPr>
                      <a:r>
                        <a:t>Mousseux</a:t>
                      </a:r>
                    </a:p>
                  </a:txBody>
                  <a:tcPr marL="3810" marR="3810" marT="3810" marB="0" anchor="ctr">
                    <a:noFill/>
                  </a:tcPr>
                </a:tc>
                <a:tc>
                  <a:txBody>
                    <a:bodyPr/>
                    <a:lstStyle/>
                    <a:p>
                      <a:pPr algn="ctr">
                        <a:defRPr sz="800">
                          <a:latin typeface="Nexa Book"/>
                        </a:defRPr>
                      </a:pPr>
                      <a:r>
                        <a:t>17</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3161381"/>
                  </a:ext>
                </a:extLst>
              </a:tr>
              <a:tr h="831402">
                <a:tc>
                  <a:txBody>
                    <a:bodyPr/>
                    <a:lstStyle/>
                    <a:p>
                      <a:pPr algn="ctr">
                        <a:defRPr sz="800" b="1">
                          <a:latin typeface="Nexa (Headings)"/>
                        </a:defRPr>
                      </a:pPr>
                      <a:r>
                        <a:t>Champagnes</a:t>
                      </a:r>
                    </a:p>
                  </a:txBody>
                  <a:tcPr marL="3810" marR="3810" marT="3810" marB="0" anchor="ctr">
                    <a:noFill/>
                  </a:tcPr>
                </a:tc>
                <a:tc>
                  <a:txBody>
                    <a:bodyPr/>
                    <a:lstStyle/>
                    <a:p>
                      <a:pPr algn="ctr">
                        <a:defRPr sz="800">
                          <a:latin typeface="Nexa Book"/>
                        </a:defRPr>
                      </a:pPr>
                      <a:r>
                        <a:t>88</a:t>
                      </a:r>
                    </a:p>
                  </a:txBody>
                  <a:tcPr marL="3810" marR="3810" marT="3810" marB="0" anchor="ctr">
                    <a:noFill/>
                  </a:tcPr>
                </a:tc>
                <a:tc>
                  <a:txBody>
                    <a:bodyPr/>
                    <a:lstStyle/>
                    <a:p>
                      <a:pPr algn="ctr">
                        <a:defRPr sz="800">
                          <a:latin typeface="Nexa Book"/>
                        </a:defRPr>
                      </a:pPr>
                      <a:r>
                        <a:t>7</a:t>
                      </a:r>
                    </a:p>
                  </a:txBody>
                  <a:tcPr marL="3810" marR="3810" marT="3810" marB="0" anchor="ctr">
                    <a:noFill/>
                  </a:tcPr>
                </a:tc>
                <a:tc>
                  <a:txBody>
                    <a:bodyPr/>
                    <a:lstStyle/>
                    <a:p>
                      <a:pPr algn="ctr">
                        <a:defRPr sz="800">
                          <a:latin typeface="Nexa Book"/>
                        </a:defRPr>
                      </a:pPr>
                      <a:r>
                        <a:t>8%</a:t>
                      </a:r>
                    </a:p>
                  </a:txBody>
                  <a:tcPr marL="3810" marR="3810" marT="3810" marB="0" anchor="ctr">
                    <a:noFill/>
                  </a:tcPr>
                </a:tc>
                <a:tc>
                  <a:txBody>
                    <a:bodyPr/>
                    <a:lstStyle/>
                    <a:p>
                      <a:pPr algn="ctr">
                        <a:defRPr sz="800">
                          <a:latin typeface="Nexa Book"/>
                        </a:defRPr>
                      </a:pPr>
                      <a:r>
                        <a:t>9%</a:t>
                      </a:r>
                    </a:p>
                  </a:txBody>
                  <a:tcPr marL="3810" marR="3810" marT="3810" marB="0" anchor="ctr">
                    <a:noFill/>
                  </a:tcPr>
                </a:tc>
                <a:tc>
                  <a:txBody>
                    <a:bodyPr/>
                    <a:lstStyle/>
                    <a:p>
                      <a:pPr algn="ctr">
                        <a:defRPr sz="800">
                          <a:latin typeface="Nexa Book"/>
                        </a:defRPr>
                      </a:pPr>
                      <a:r>
                        <a:t>8</a:t>
                      </a:r>
                    </a:p>
                  </a:txBody>
                  <a:tcPr marL="3810" marR="3810" marT="3810" marB="0" anchor="ctr">
                    <a:noFill/>
                  </a:tcPr>
                </a:tc>
                <a:tc>
                  <a:txBody>
                    <a:bodyPr/>
                    <a:lstStyle/>
                    <a:p>
                      <a:pPr algn="ctr">
                        <a:defRPr sz="800">
                          <a:latin typeface="Nexa Book"/>
                        </a:defRPr>
                      </a:pPr>
                      <a:r>
                        <a:t>1</a:t>
                      </a:r>
                    </a:p>
                  </a:txBody>
                  <a:tcPr marL="3810" marR="3810" marT="3810" marB="0" anchor="ctr">
                    <a:noFill/>
                  </a:tcPr>
                </a:tc>
                <a:extLst>
                  <a:ext uri="{0D108BD9-81ED-4DB2-BD59-A6C34878D82A}">
                    <a16:rowId xmlns:a16="http://schemas.microsoft.com/office/drawing/2014/main" val="1752397169"/>
                  </a:ext>
                </a:extLst>
              </a:tr>
              <a:tr h="831402">
                <a:tc>
                  <a:txBody>
                    <a:bodyPr/>
                    <a:lstStyle/>
                    <a:p>
                      <a:pPr algn="ctr">
                        <a:defRPr sz="800" b="1">
                          <a:latin typeface="Nexa (Headings)"/>
                        </a:defRPr>
                      </a:pPr>
                      <a:r>
                        <a:t>Effervescents Sans Alcool</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3712364869"/>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1127</a:t>
            </a:fld>
            <a:endParaRPr lang="en-US"/>
          </a:p>
        </p:txBody>
      </p:sp>
    </p:spTree>
    <p:extLst>
      <p:ext uri="{BB962C8B-B14F-4D97-AF65-F5344CB8AC3E}">
        <p14:creationId xmlns:p14="http://schemas.microsoft.com/office/powerpoint/2010/main" val="2116438390"/>
      </p:ext>
    </p:extLst>
  </p:cSld>
  <p:clrMapOvr>
    <a:masterClrMapping/>
  </p:clrMapOvr>
</p:sld>
</file>

<file path=ppt/slides/slide1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8/27/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pPr>
              <a:defRPr sz="1200">
                <a:latin typeface="Nexa Bold (Headings)"/>
              </a:defRPr>
            </a:pPr>
            <a:r>
              <a:t>Sector fair share | Effervescents | Nicolas | CA A | P12M</a:t>
            </a:r>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pPr>
              <a:defRPr sz="1600">
                <a:latin typeface="Nexa Bold (Headings)"/>
              </a:defRPr>
            </a:pPr>
            <a:r>
              <a:rPr lang="en-GB" dirty="0">
                <a:highlight>
                  <a:srgbClr val="FFFF00"/>
                </a:highlight>
              </a:rPr>
              <a:t>Sector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Nicolas </a:t>
                      </a:r>
                    </a:p>
                    <a:p>
                      <a:pPr algn="ctr">
                        <a:defRPr sz="900" b="1">
                          <a:latin typeface="Nexa (Headings)"/>
                        </a:defRPr>
                      </a:pPr>
                      <a: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Nicolas </a:t>
                      </a:r>
                    </a:p>
                    <a:p>
                      <a:pPr algn="ctr">
                        <a:defRPr sz="900" b="1">
                          <a:latin typeface="Nexa (Headings)"/>
                        </a:defRPr>
                      </a:pPr>
                      <a: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Nicolas </a:t>
                      </a:r>
                    </a:p>
                    <a:p>
                      <a:pPr algn="ctr">
                        <a:defRPr sz="900" b="1">
                          <a:latin typeface="Nexa (Headings)"/>
                        </a:defRPr>
                      </a:pPr>
                      <a: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Nicolas </a:t>
                      </a:r>
                    </a:p>
                    <a:p>
                      <a:pPr algn="ctr">
                        <a:defRPr sz="900" b="1">
                          <a:latin typeface="Nexa (Headings)"/>
                        </a:defRPr>
                      </a:pPr>
                      <a: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Nicolas</a:t>
                      </a:r>
                    </a:p>
                    <a:p>
                      <a:pPr algn="ctr">
                        <a:defRPr sz="900" b="1">
                          <a:latin typeface="Nexa (Headings)"/>
                        </a:defRPr>
                      </a:pPr>
                      <a: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831402">
                <a:tc>
                  <a:txBody>
                    <a:bodyPr/>
                    <a:lstStyle/>
                    <a:p>
                      <a:pPr algn="ctr">
                        <a:defRPr sz="800" b="1">
                          <a:latin typeface="Nexa (Headings)"/>
                        </a:defRPr>
                      </a:pPr>
                      <a:r>
                        <a:t>Grand Total</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11</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7</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8%</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8%</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7</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831402">
                <a:tc>
                  <a:txBody>
                    <a:bodyPr/>
                    <a:lstStyle/>
                    <a:p>
                      <a:pPr algn="ctr">
                        <a:defRPr sz="800" b="1">
                          <a:latin typeface="Nexa (Headings)"/>
                        </a:defRPr>
                      </a:pPr>
                      <a:r>
                        <a:t>Mousseux</a:t>
                      </a:r>
                    </a:p>
                  </a:txBody>
                  <a:tcPr marL="3810" marR="3810" marT="3810" marB="0" anchor="ctr">
                    <a:noFill/>
                  </a:tcPr>
                </a:tc>
                <a:tc>
                  <a:txBody>
                    <a:bodyPr/>
                    <a:lstStyle/>
                    <a:p>
                      <a:pPr algn="ctr">
                        <a:defRPr sz="800">
                          <a:latin typeface="Nexa Book"/>
                        </a:defRPr>
                      </a:pPr>
                      <a:r>
                        <a:t>15</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3161381"/>
                  </a:ext>
                </a:extLst>
              </a:tr>
              <a:tr h="831402">
                <a:tc>
                  <a:txBody>
                    <a:bodyPr/>
                    <a:lstStyle/>
                    <a:p>
                      <a:pPr algn="ctr">
                        <a:defRPr sz="800" b="1">
                          <a:latin typeface="Nexa (Headings)"/>
                        </a:defRPr>
                      </a:pPr>
                      <a:r>
                        <a:t>Champagnes</a:t>
                      </a:r>
                    </a:p>
                  </a:txBody>
                  <a:tcPr marL="3810" marR="3810" marT="3810" marB="0" anchor="ctr">
                    <a:noFill/>
                  </a:tcPr>
                </a:tc>
                <a:tc>
                  <a:txBody>
                    <a:bodyPr/>
                    <a:lstStyle/>
                    <a:p>
                      <a:pPr algn="ctr">
                        <a:defRPr sz="800">
                          <a:latin typeface="Nexa Book"/>
                        </a:defRPr>
                      </a:pPr>
                      <a:r>
                        <a:t>92</a:t>
                      </a:r>
                    </a:p>
                  </a:txBody>
                  <a:tcPr marL="3810" marR="3810" marT="3810" marB="0" anchor="ctr">
                    <a:noFill/>
                  </a:tcPr>
                </a:tc>
                <a:tc>
                  <a:txBody>
                    <a:bodyPr/>
                    <a:lstStyle/>
                    <a:p>
                      <a:pPr algn="ctr">
                        <a:defRPr sz="800">
                          <a:latin typeface="Nexa Book"/>
                        </a:defRPr>
                      </a:pPr>
                      <a:r>
                        <a:t>7</a:t>
                      </a:r>
                    </a:p>
                  </a:txBody>
                  <a:tcPr marL="3810" marR="3810" marT="3810" marB="0" anchor="ctr">
                    <a:noFill/>
                  </a:tcPr>
                </a:tc>
                <a:tc>
                  <a:txBody>
                    <a:bodyPr/>
                    <a:lstStyle/>
                    <a:p>
                      <a:pPr algn="ctr">
                        <a:defRPr sz="800">
                          <a:latin typeface="Nexa Book"/>
                        </a:defRPr>
                      </a:pPr>
                      <a:r>
                        <a:t>8%</a:t>
                      </a:r>
                    </a:p>
                  </a:txBody>
                  <a:tcPr marL="3810" marR="3810" marT="3810" marB="0" anchor="ctr">
                    <a:noFill/>
                  </a:tcPr>
                </a:tc>
                <a:tc>
                  <a:txBody>
                    <a:bodyPr/>
                    <a:lstStyle/>
                    <a:p>
                      <a:pPr algn="ctr">
                        <a:defRPr sz="800">
                          <a:latin typeface="Nexa Book"/>
                        </a:defRPr>
                      </a:pPr>
                      <a:r>
                        <a:t>8%</a:t>
                      </a:r>
                    </a:p>
                  </a:txBody>
                  <a:tcPr marL="3810" marR="3810" marT="3810" marB="0" anchor="ctr">
                    <a:noFill/>
                  </a:tcPr>
                </a:tc>
                <a:tc>
                  <a:txBody>
                    <a:bodyPr/>
                    <a:lstStyle/>
                    <a:p>
                      <a:pPr algn="ctr">
                        <a:defRPr sz="800">
                          <a:latin typeface="Nexa Book"/>
                        </a:defRPr>
                      </a:pPr>
                      <a:r>
                        <a:t>7</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1752397169"/>
                  </a:ext>
                </a:extLst>
              </a:tr>
              <a:tr h="831402">
                <a:tc>
                  <a:txBody>
                    <a:bodyPr/>
                    <a:lstStyle/>
                    <a:p>
                      <a:pPr algn="ctr">
                        <a:defRPr sz="800" b="1">
                          <a:latin typeface="Nexa (Headings)"/>
                        </a:defRPr>
                      </a:pPr>
                      <a:r>
                        <a:t>Effervescents Sans Alcool</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3712364869"/>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1128</a:t>
            </a:fld>
            <a:endParaRPr lang="en-US"/>
          </a:p>
        </p:txBody>
      </p:sp>
    </p:spTree>
    <p:extLst>
      <p:ext uri="{BB962C8B-B14F-4D97-AF65-F5344CB8AC3E}">
        <p14:creationId xmlns:p14="http://schemas.microsoft.com/office/powerpoint/2010/main" val="243727528"/>
      </p:ext>
    </p:extLst>
  </p:cSld>
  <p:clrMapOvr>
    <a:masterClrMapping/>
  </p:clrMapOvr>
</p:sld>
</file>

<file path=ppt/slides/slide1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8/27/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pPr>
              <a:defRPr sz="1200">
                <a:latin typeface="Nexa Bold (Headings)"/>
              </a:defRPr>
            </a:pPr>
            <a:r>
              <a:t>Sector fair share | Effervescents | Nicolas | CA C | P12M</a:t>
            </a:r>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pPr>
              <a:defRPr sz="1600">
                <a:latin typeface="Nexa Bold (Headings)"/>
              </a:defRPr>
            </a:pPr>
            <a:r>
              <a:rPr lang="en-GB" dirty="0">
                <a:highlight>
                  <a:srgbClr val="FFFF00"/>
                </a:highlight>
              </a:rPr>
              <a:t>Sector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Nicolas </a:t>
                      </a:r>
                    </a:p>
                    <a:p>
                      <a:pPr algn="ctr">
                        <a:defRPr sz="900" b="1">
                          <a:latin typeface="Nexa (Headings)"/>
                        </a:defRPr>
                      </a:pPr>
                      <a: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Nicolas </a:t>
                      </a:r>
                    </a:p>
                    <a:p>
                      <a:pPr algn="ctr">
                        <a:defRPr sz="900" b="1">
                          <a:latin typeface="Nexa (Headings)"/>
                        </a:defRPr>
                      </a:pPr>
                      <a: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Nicolas </a:t>
                      </a:r>
                    </a:p>
                    <a:p>
                      <a:pPr algn="ctr">
                        <a:defRPr sz="900" b="1">
                          <a:latin typeface="Nexa (Headings)"/>
                        </a:defRPr>
                      </a:pPr>
                      <a: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Nicolas </a:t>
                      </a:r>
                    </a:p>
                    <a:p>
                      <a:pPr algn="ctr">
                        <a:defRPr sz="900" b="1">
                          <a:latin typeface="Nexa (Headings)"/>
                        </a:defRPr>
                      </a:pPr>
                      <a: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Nicolas</a:t>
                      </a:r>
                    </a:p>
                    <a:p>
                      <a:pPr algn="ctr">
                        <a:defRPr sz="900" b="1">
                          <a:latin typeface="Nexa (Headings)"/>
                        </a:defRPr>
                      </a:pPr>
                      <a: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831402">
                <a:tc>
                  <a:txBody>
                    <a:bodyPr/>
                    <a:lstStyle/>
                    <a:p>
                      <a:pPr algn="ctr">
                        <a:defRPr sz="800" b="1">
                          <a:latin typeface="Nexa (Headings)"/>
                        </a:defRPr>
                      </a:pPr>
                      <a:r>
                        <a:t>Grand Total</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77</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6</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6</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831402">
                <a:tc>
                  <a:txBody>
                    <a:bodyPr/>
                    <a:lstStyle/>
                    <a:p>
                      <a:pPr algn="ctr">
                        <a:defRPr sz="800" b="1">
                          <a:latin typeface="Nexa (Headings)"/>
                        </a:defRPr>
                      </a:pPr>
                      <a:r>
                        <a:t>Mousseux</a:t>
                      </a:r>
                    </a:p>
                  </a:txBody>
                  <a:tcPr marL="3810" marR="3810" marT="3810" marB="0" anchor="ctr">
                    <a:noFill/>
                  </a:tcPr>
                </a:tc>
                <a:tc>
                  <a:txBody>
                    <a:bodyPr/>
                    <a:lstStyle/>
                    <a:p>
                      <a:pPr algn="ctr">
                        <a:defRPr sz="800">
                          <a:latin typeface="Nexa Book"/>
                        </a:defRPr>
                      </a:pPr>
                      <a:r>
                        <a:t>13</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3161381"/>
                  </a:ext>
                </a:extLst>
              </a:tr>
              <a:tr h="831402">
                <a:tc>
                  <a:txBody>
                    <a:bodyPr/>
                    <a:lstStyle/>
                    <a:p>
                      <a:pPr algn="ctr">
                        <a:defRPr sz="800" b="1">
                          <a:latin typeface="Nexa (Headings)"/>
                        </a:defRPr>
                      </a:pPr>
                      <a:r>
                        <a:t>Champagnes</a:t>
                      </a:r>
                    </a:p>
                  </a:txBody>
                  <a:tcPr marL="3810" marR="3810" marT="3810" marB="0" anchor="ctr">
                    <a:noFill/>
                  </a:tcPr>
                </a:tc>
                <a:tc>
                  <a:txBody>
                    <a:bodyPr/>
                    <a:lstStyle/>
                    <a:p>
                      <a:pPr algn="ctr">
                        <a:defRPr sz="800">
                          <a:latin typeface="Nexa Book"/>
                        </a:defRPr>
                      </a:pPr>
                      <a:r>
                        <a:t>62</a:t>
                      </a:r>
                    </a:p>
                  </a:txBody>
                  <a:tcPr marL="3810" marR="3810" marT="3810" marB="0" anchor="ctr">
                    <a:noFill/>
                  </a:tcPr>
                </a:tc>
                <a:tc>
                  <a:txBody>
                    <a:bodyPr/>
                    <a:lstStyle/>
                    <a:p>
                      <a:pPr algn="ctr">
                        <a:defRPr sz="800">
                          <a:latin typeface="Nexa Book"/>
                        </a:defRPr>
                      </a:pPr>
                      <a:r>
                        <a:t>6</a:t>
                      </a:r>
                    </a:p>
                  </a:txBody>
                  <a:tcPr marL="3810" marR="3810" marT="3810" marB="0" anchor="ctr">
                    <a:noFill/>
                  </a:tcPr>
                </a:tc>
                <a:tc>
                  <a:txBody>
                    <a:bodyPr/>
                    <a:lstStyle/>
                    <a:p>
                      <a:pPr algn="ctr">
                        <a:defRPr sz="800">
                          <a:latin typeface="Nexa Book"/>
                        </a:defRPr>
                      </a:pPr>
                      <a:r>
                        <a:t>9%</a:t>
                      </a:r>
                    </a:p>
                  </a:txBody>
                  <a:tcPr marL="3810" marR="3810" marT="3810" marB="0" anchor="ctr">
                    <a:noFill/>
                  </a:tcPr>
                </a:tc>
                <a:tc>
                  <a:txBody>
                    <a:bodyPr/>
                    <a:lstStyle/>
                    <a:p>
                      <a:pPr algn="ctr">
                        <a:defRPr sz="800">
                          <a:latin typeface="Nexa Book"/>
                        </a:defRPr>
                      </a:pPr>
                      <a:r>
                        <a:t>9%</a:t>
                      </a:r>
                    </a:p>
                  </a:txBody>
                  <a:tcPr marL="3810" marR="3810" marT="3810" marB="0" anchor="ctr">
                    <a:noFill/>
                  </a:tcPr>
                </a:tc>
                <a:tc>
                  <a:txBody>
                    <a:bodyPr/>
                    <a:lstStyle/>
                    <a:p>
                      <a:pPr algn="ctr">
                        <a:defRPr sz="800">
                          <a:latin typeface="Nexa Book"/>
                        </a:defRPr>
                      </a:pPr>
                      <a:r>
                        <a:t>6</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1752397169"/>
                  </a:ext>
                </a:extLst>
              </a:tr>
              <a:tr h="831402">
                <a:tc>
                  <a:txBody>
                    <a:bodyPr/>
                    <a:lstStyle/>
                    <a:p>
                      <a:pPr algn="ctr">
                        <a:defRPr sz="800" b="1">
                          <a:latin typeface="Nexa (Headings)"/>
                        </a:defRPr>
                      </a:pPr>
                      <a:r>
                        <a:t>Effervescents Sans Alcool</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3712364869"/>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1129</a:t>
            </a:fld>
            <a:endParaRPr lang="en-US"/>
          </a:p>
        </p:txBody>
      </p:sp>
    </p:spTree>
    <p:extLst>
      <p:ext uri="{BB962C8B-B14F-4D97-AF65-F5344CB8AC3E}">
        <p14:creationId xmlns:p14="http://schemas.microsoft.com/office/powerpoint/2010/main" val="918213395"/>
      </p:ext>
    </p:extLst>
  </p:cSld>
  <p:clrMapOvr>
    <a:masterClrMapping/>
  </p:clrMapOvr>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Extra Brut | NICOLAS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13</a:t>
            </a:fld>
            <a:endParaRPr lang="en-US"/>
          </a:p>
        </p:txBody>
      </p:sp>
    </p:spTree>
    <p:extLst>
      <p:ext uri="{BB962C8B-B14F-4D97-AF65-F5344CB8AC3E}">
        <p14:creationId xmlns:p14="http://schemas.microsoft.com/office/powerpoint/2010/main" val="82568710"/>
      </p:ext>
    </p:extLst>
  </p:cSld>
  <p:clrMapOvr>
    <a:masterClrMapping/>
  </p:clrMapOvr>
</p:sld>
</file>

<file path=ppt/slides/slide1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8/27/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pPr>
              <a:defRPr sz="1200">
                <a:latin typeface="Nexa Bold (Headings)"/>
              </a:defRPr>
            </a:pPr>
            <a:r>
              <a:t>Sector fair share | Effervescents | Nicolas | CA B | P12M</a:t>
            </a:r>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pPr>
              <a:defRPr sz="1600">
                <a:latin typeface="Nexa Bold (Headings)"/>
              </a:defRPr>
            </a:pPr>
            <a:r>
              <a:rPr lang="en-GB" dirty="0">
                <a:highlight>
                  <a:srgbClr val="FFFF00"/>
                </a:highlight>
              </a:rPr>
              <a:t>Sector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Nicolas </a:t>
                      </a:r>
                    </a:p>
                    <a:p>
                      <a:pPr algn="ctr">
                        <a:defRPr sz="900" b="1">
                          <a:latin typeface="Nexa (Headings)"/>
                        </a:defRPr>
                      </a:pPr>
                      <a: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Nicolas </a:t>
                      </a:r>
                    </a:p>
                    <a:p>
                      <a:pPr algn="ctr">
                        <a:defRPr sz="900" b="1">
                          <a:latin typeface="Nexa (Headings)"/>
                        </a:defRPr>
                      </a:pPr>
                      <a: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Nicolas </a:t>
                      </a:r>
                    </a:p>
                    <a:p>
                      <a:pPr algn="ctr">
                        <a:defRPr sz="900" b="1">
                          <a:latin typeface="Nexa (Headings)"/>
                        </a:defRPr>
                      </a:pPr>
                      <a: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Nicolas </a:t>
                      </a:r>
                    </a:p>
                    <a:p>
                      <a:pPr algn="ctr">
                        <a:defRPr sz="900" b="1">
                          <a:latin typeface="Nexa (Headings)"/>
                        </a:defRPr>
                      </a:pPr>
                      <a: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Nicolas</a:t>
                      </a:r>
                    </a:p>
                    <a:p>
                      <a:pPr algn="ctr">
                        <a:defRPr sz="900" b="1">
                          <a:latin typeface="Nexa (Headings)"/>
                        </a:defRPr>
                      </a:pPr>
                      <a: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831402">
                <a:tc>
                  <a:txBody>
                    <a:bodyPr/>
                    <a:lstStyle/>
                    <a:p>
                      <a:pPr algn="ctr">
                        <a:defRPr sz="800" b="1">
                          <a:latin typeface="Nexa (Headings)"/>
                        </a:defRPr>
                      </a:pPr>
                      <a:r>
                        <a:t>Grand Total</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88</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7</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0%</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7</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831402">
                <a:tc>
                  <a:txBody>
                    <a:bodyPr/>
                    <a:lstStyle/>
                    <a:p>
                      <a:pPr algn="ctr">
                        <a:defRPr sz="800" b="1">
                          <a:latin typeface="Nexa (Headings)"/>
                        </a:defRPr>
                      </a:pPr>
                      <a:r>
                        <a:t>Mousseux</a:t>
                      </a:r>
                    </a:p>
                  </a:txBody>
                  <a:tcPr marL="3810" marR="3810" marT="3810" marB="0" anchor="ctr">
                    <a:noFill/>
                  </a:tcPr>
                </a:tc>
                <a:tc>
                  <a:txBody>
                    <a:bodyPr/>
                    <a:lstStyle/>
                    <a:p>
                      <a:pPr algn="ctr">
                        <a:defRPr sz="800">
                          <a:latin typeface="Nexa Book"/>
                        </a:defRPr>
                      </a:pPr>
                      <a:r>
                        <a:t>15</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3161381"/>
                  </a:ext>
                </a:extLst>
              </a:tr>
              <a:tr h="831402">
                <a:tc>
                  <a:txBody>
                    <a:bodyPr/>
                    <a:lstStyle/>
                    <a:p>
                      <a:pPr algn="ctr">
                        <a:defRPr sz="800" b="1">
                          <a:latin typeface="Nexa (Headings)"/>
                        </a:defRPr>
                      </a:pPr>
                      <a:r>
                        <a:t>Champagnes</a:t>
                      </a:r>
                    </a:p>
                  </a:txBody>
                  <a:tcPr marL="3810" marR="3810" marT="3810" marB="0" anchor="ctr">
                    <a:noFill/>
                  </a:tcPr>
                </a:tc>
                <a:tc>
                  <a:txBody>
                    <a:bodyPr/>
                    <a:lstStyle/>
                    <a:p>
                      <a:pPr algn="ctr">
                        <a:defRPr sz="800">
                          <a:latin typeface="Nexa Book"/>
                        </a:defRPr>
                      </a:pPr>
                      <a:r>
                        <a:t>71</a:t>
                      </a:r>
                    </a:p>
                  </a:txBody>
                  <a:tcPr marL="3810" marR="3810" marT="3810" marB="0" anchor="ctr">
                    <a:noFill/>
                  </a:tcPr>
                </a:tc>
                <a:tc>
                  <a:txBody>
                    <a:bodyPr/>
                    <a:lstStyle/>
                    <a:p>
                      <a:pPr algn="ctr">
                        <a:defRPr sz="800">
                          <a:latin typeface="Nexa Book"/>
                        </a:defRPr>
                      </a:pPr>
                      <a:r>
                        <a:t>7</a:t>
                      </a:r>
                    </a:p>
                  </a:txBody>
                  <a:tcPr marL="3810" marR="3810" marT="3810" marB="0" anchor="ctr">
                    <a:noFill/>
                  </a:tcPr>
                </a:tc>
                <a:tc>
                  <a:txBody>
                    <a:bodyPr/>
                    <a:lstStyle/>
                    <a:p>
                      <a:pPr algn="ctr">
                        <a:defRPr sz="800">
                          <a:latin typeface="Nexa Book"/>
                        </a:defRPr>
                      </a:pPr>
                      <a:r>
                        <a:t>10%</a:t>
                      </a:r>
                    </a:p>
                  </a:txBody>
                  <a:tcPr marL="3810" marR="3810" marT="3810" marB="0" anchor="ctr">
                    <a:noFill/>
                  </a:tcPr>
                </a:tc>
                <a:tc>
                  <a:txBody>
                    <a:bodyPr/>
                    <a:lstStyle/>
                    <a:p>
                      <a:pPr algn="ctr">
                        <a:defRPr sz="800">
                          <a:latin typeface="Nexa Book"/>
                        </a:defRPr>
                      </a:pPr>
                      <a:r>
                        <a:t>9%</a:t>
                      </a:r>
                    </a:p>
                  </a:txBody>
                  <a:tcPr marL="3810" marR="3810" marT="3810" marB="0" anchor="ctr">
                    <a:noFill/>
                  </a:tcPr>
                </a:tc>
                <a:tc>
                  <a:txBody>
                    <a:bodyPr/>
                    <a:lstStyle/>
                    <a:p>
                      <a:pPr algn="ctr">
                        <a:defRPr sz="800">
                          <a:latin typeface="Nexa Book"/>
                        </a:defRPr>
                      </a:pPr>
                      <a:r>
                        <a:t>7</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1752397169"/>
                  </a:ext>
                </a:extLst>
              </a:tr>
              <a:tr h="831402">
                <a:tc>
                  <a:txBody>
                    <a:bodyPr/>
                    <a:lstStyle/>
                    <a:p>
                      <a:pPr algn="ctr">
                        <a:defRPr sz="800" b="1">
                          <a:latin typeface="Nexa (Headings)"/>
                        </a:defRPr>
                      </a:pPr>
                      <a:r>
                        <a:t>Effervescents Sans Alcool</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3712364869"/>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1130</a:t>
            </a:fld>
            <a:endParaRPr lang="en-US"/>
          </a:p>
        </p:txBody>
      </p:sp>
    </p:spTree>
    <p:extLst>
      <p:ext uri="{BB962C8B-B14F-4D97-AF65-F5344CB8AC3E}">
        <p14:creationId xmlns:p14="http://schemas.microsoft.com/office/powerpoint/2010/main" val="3134619622"/>
      </p:ext>
    </p:extLst>
  </p:cSld>
  <p:clrMapOvr>
    <a:masterClrMapping/>
  </p:clrMapOvr>
</p:sld>
</file>

<file path=ppt/slides/slide1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8/27/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pPr>
              <a:defRPr sz="1200">
                <a:latin typeface="Nexa Bold (Headings)"/>
              </a:defRPr>
            </a:pPr>
            <a:r>
              <a:t>Sector fair share | Effervescents | Nicolas | CA D | P12M</a:t>
            </a:r>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pPr>
              <a:defRPr sz="1600">
                <a:latin typeface="Nexa Bold (Headings)"/>
              </a:defRPr>
            </a:pPr>
            <a:r>
              <a:rPr lang="en-GB" dirty="0">
                <a:highlight>
                  <a:srgbClr val="FFFF00"/>
                </a:highlight>
              </a:rPr>
              <a:t>Sector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Nicolas </a:t>
                      </a:r>
                    </a:p>
                    <a:p>
                      <a:pPr algn="ctr">
                        <a:defRPr sz="900" b="1">
                          <a:latin typeface="Nexa (Headings)"/>
                        </a:defRPr>
                      </a:pPr>
                      <a: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Nicolas </a:t>
                      </a:r>
                    </a:p>
                    <a:p>
                      <a:pPr algn="ctr">
                        <a:defRPr sz="900" b="1">
                          <a:latin typeface="Nexa (Headings)"/>
                        </a:defRPr>
                      </a:pPr>
                      <a: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Nicolas </a:t>
                      </a:r>
                    </a:p>
                    <a:p>
                      <a:pPr algn="ctr">
                        <a:defRPr sz="900" b="1">
                          <a:latin typeface="Nexa (Headings)"/>
                        </a:defRPr>
                      </a:pPr>
                      <a: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Nicolas </a:t>
                      </a:r>
                    </a:p>
                    <a:p>
                      <a:pPr algn="ctr">
                        <a:defRPr sz="900" b="1">
                          <a:latin typeface="Nexa (Headings)"/>
                        </a:defRPr>
                      </a:pPr>
                      <a: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Nicolas</a:t>
                      </a:r>
                    </a:p>
                    <a:p>
                      <a:pPr algn="ctr">
                        <a:defRPr sz="900" b="1">
                          <a:latin typeface="Nexa (Headings)"/>
                        </a:defRPr>
                      </a:pPr>
                      <a: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831402">
                <a:tc>
                  <a:txBody>
                    <a:bodyPr/>
                    <a:lstStyle/>
                    <a:p>
                      <a:pPr algn="ctr">
                        <a:defRPr sz="800" b="1">
                          <a:latin typeface="Nexa (Headings)"/>
                        </a:defRPr>
                      </a:pPr>
                      <a:r>
                        <a:t>Grand Total</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68</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5</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5</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831402">
                <a:tc>
                  <a:txBody>
                    <a:bodyPr/>
                    <a:lstStyle/>
                    <a:p>
                      <a:pPr algn="ctr">
                        <a:defRPr sz="800" b="1">
                          <a:latin typeface="Nexa (Headings)"/>
                        </a:defRPr>
                      </a:pPr>
                      <a:r>
                        <a:t>Mousseux</a:t>
                      </a:r>
                    </a:p>
                  </a:txBody>
                  <a:tcPr marL="3810" marR="3810" marT="3810" marB="0" anchor="ctr">
                    <a:noFill/>
                  </a:tcPr>
                </a:tc>
                <a:tc>
                  <a:txBody>
                    <a:bodyPr/>
                    <a:lstStyle/>
                    <a:p>
                      <a:pPr algn="ctr">
                        <a:defRPr sz="800">
                          <a:latin typeface="Nexa Book"/>
                        </a:defRPr>
                      </a:pPr>
                      <a:r>
                        <a:t>12</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3161381"/>
                  </a:ext>
                </a:extLst>
              </a:tr>
              <a:tr h="831402">
                <a:tc>
                  <a:txBody>
                    <a:bodyPr/>
                    <a:lstStyle/>
                    <a:p>
                      <a:pPr algn="ctr">
                        <a:defRPr sz="800" b="1">
                          <a:latin typeface="Nexa (Headings)"/>
                        </a:defRPr>
                      </a:pPr>
                      <a:r>
                        <a:t>Champagnes</a:t>
                      </a:r>
                    </a:p>
                  </a:txBody>
                  <a:tcPr marL="3810" marR="3810" marT="3810" marB="0" anchor="ctr">
                    <a:noFill/>
                  </a:tcPr>
                </a:tc>
                <a:tc>
                  <a:txBody>
                    <a:bodyPr/>
                    <a:lstStyle/>
                    <a:p>
                      <a:pPr algn="ctr">
                        <a:defRPr sz="800">
                          <a:latin typeface="Nexa Book"/>
                        </a:defRPr>
                      </a:pPr>
                      <a:r>
                        <a:t>54</a:t>
                      </a:r>
                    </a:p>
                  </a:txBody>
                  <a:tcPr marL="3810" marR="3810" marT="3810" marB="0" anchor="ctr">
                    <a:noFill/>
                  </a:tcPr>
                </a:tc>
                <a:tc>
                  <a:txBody>
                    <a:bodyPr/>
                    <a:lstStyle/>
                    <a:p>
                      <a:pPr algn="ctr">
                        <a:defRPr sz="800">
                          <a:latin typeface="Nexa Book"/>
                        </a:defRPr>
                      </a:pPr>
                      <a:r>
                        <a:t>5</a:t>
                      </a:r>
                    </a:p>
                  </a:txBody>
                  <a:tcPr marL="3810" marR="3810" marT="3810" marB="0" anchor="ctr">
                    <a:noFill/>
                  </a:tcPr>
                </a:tc>
                <a:tc>
                  <a:txBody>
                    <a:bodyPr/>
                    <a:lstStyle/>
                    <a:p>
                      <a:pPr algn="ctr">
                        <a:defRPr sz="800">
                          <a:latin typeface="Nexa Book"/>
                        </a:defRPr>
                      </a:pPr>
                      <a:r>
                        <a:t>9%</a:t>
                      </a:r>
                    </a:p>
                  </a:txBody>
                  <a:tcPr marL="3810" marR="3810" marT="3810" marB="0" anchor="ctr">
                    <a:noFill/>
                  </a:tcPr>
                </a:tc>
                <a:tc>
                  <a:txBody>
                    <a:bodyPr/>
                    <a:lstStyle/>
                    <a:p>
                      <a:pPr algn="ctr">
                        <a:defRPr sz="800">
                          <a:latin typeface="Nexa Book"/>
                        </a:defRPr>
                      </a:pPr>
                      <a:r>
                        <a:t>9%</a:t>
                      </a:r>
                    </a:p>
                  </a:txBody>
                  <a:tcPr marL="3810" marR="3810" marT="3810" marB="0" anchor="ctr">
                    <a:noFill/>
                  </a:tcPr>
                </a:tc>
                <a:tc>
                  <a:txBody>
                    <a:bodyPr/>
                    <a:lstStyle/>
                    <a:p>
                      <a:pPr algn="ctr">
                        <a:defRPr sz="800">
                          <a:latin typeface="Nexa Book"/>
                        </a:defRPr>
                      </a:pPr>
                      <a:r>
                        <a:t>5</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1752397169"/>
                  </a:ext>
                </a:extLst>
              </a:tr>
              <a:tr h="831402">
                <a:tc>
                  <a:txBody>
                    <a:bodyPr/>
                    <a:lstStyle/>
                    <a:p>
                      <a:pPr algn="ctr">
                        <a:defRPr sz="800" b="1">
                          <a:latin typeface="Nexa (Headings)"/>
                        </a:defRPr>
                      </a:pPr>
                      <a:r>
                        <a:t>Effervescents Sans Alcool</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3712364869"/>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1131</a:t>
            </a:fld>
            <a:endParaRPr lang="en-US"/>
          </a:p>
        </p:txBody>
      </p:sp>
    </p:spTree>
    <p:extLst>
      <p:ext uri="{BB962C8B-B14F-4D97-AF65-F5344CB8AC3E}">
        <p14:creationId xmlns:p14="http://schemas.microsoft.com/office/powerpoint/2010/main" val="2340917697"/>
      </p:ext>
    </p:extLst>
  </p:cSld>
  <p:clrMapOvr>
    <a:masterClrMapping/>
  </p:clrMapOvr>
</p:sld>
</file>

<file path=ppt/slides/slide11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8/27/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pPr>
              <a:defRPr sz="1200">
                <a:latin typeface="Nexa Bold (Headings)"/>
              </a:defRPr>
            </a:pPr>
            <a:r>
              <a:t>Sector fair share | Effervescents | Nicolas | CA E | P12M</a:t>
            </a:r>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pPr>
              <a:defRPr sz="1600">
                <a:latin typeface="Nexa Bold (Headings)"/>
              </a:defRPr>
            </a:pPr>
            <a:r>
              <a:rPr lang="en-GB" dirty="0">
                <a:highlight>
                  <a:srgbClr val="FFFF00"/>
                </a:highlight>
              </a:rPr>
              <a:t>Sector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Nicolas </a:t>
                      </a:r>
                    </a:p>
                    <a:p>
                      <a:pPr algn="ctr">
                        <a:defRPr sz="900" b="1">
                          <a:latin typeface="Nexa (Headings)"/>
                        </a:defRPr>
                      </a:pPr>
                      <a: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Nicolas </a:t>
                      </a:r>
                    </a:p>
                    <a:p>
                      <a:pPr algn="ctr">
                        <a:defRPr sz="900" b="1">
                          <a:latin typeface="Nexa (Headings)"/>
                        </a:defRPr>
                      </a:pPr>
                      <a: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Nicolas </a:t>
                      </a:r>
                    </a:p>
                    <a:p>
                      <a:pPr algn="ctr">
                        <a:defRPr sz="900" b="1">
                          <a:latin typeface="Nexa (Headings)"/>
                        </a:defRPr>
                      </a:pPr>
                      <a: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Nicolas </a:t>
                      </a:r>
                    </a:p>
                    <a:p>
                      <a:pPr algn="ctr">
                        <a:defRPr sz="900" b="1">
                          <a:latin typeface="Nexa (Headings)"/>
                        </a:defRPr>
                      </a:pPr>
                      <a: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Nicolas</a:t>
                      </a:r>
                    </a:p>
                    <a:p>
                      <a:pPr algn="ctr">
                        <a:defRPr sz="900" b="1">
                          <a:latin typeface="Nexa (Headings)"/>
                        </a:defRPr>
                      </a:pPr>
                      <a: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831402">
                <a:tc>
                  <a:txBody>
                    <a:bodyPr/>
                    <a:lstStyle/>
                    <a:p>
                      <a:pPr algn="ctr">
                        <a:defRPr sz="800" b="1">
                          <a:latin typeface="Nexa (Headings)"/>
                        </a:defRPr>
                      </a:pPr>
                      <a:r>
                        <a:t>Grand Total</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56</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4</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0%</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0%</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5</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831402">
                <a:tc>
                  <a:txBody>
                    <a:bodyPr/>
                    <a:lstStyle/>
                    <a:p>
                      <a:pPr algn="ctr">
                        <a:defRPr sz="800" b="1">
                          <a:latin typeface="Nexa (Headings)"/>
                        </a:defRPr>
                      </a:pPr>
                      <a:r>
                        <a:t>Mousseux</a:t>
                      </a:r>
                    </a:p>
                  </a:txBody>
                  <a:tcPr marL="3810" marR="3810" marT="3810" marB="0" anchor="ctr">
                    <a:noFill/>
                  </a:tcPr>
                </a:tc>
                <a:tc>
                  <a:txBody>
                    <a:bodyPr/>
                    <a:lstStyle/>
                    <a:p>
                      <a:pPr algn="ctr">
                        <a:defRPr sz="800">
                          <a:latin typeface="Nexa Book"/>
                        </a:defRPr>
                      </a:pPr>
                      <a:r>
                        <a:t>1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3161381"/>
                  </a:ext>
                </a:extLst>
              </a:tr>
              <a:tr h="831402">
                <a:tc>
                  <a:txBody>
                    <a:bodyPr/>
                    <a:lstStyle/>
                    <a:p>
                      <a:pPr algn="ctr">
                        <a:defRPr sz="800" b="1">
                          <a:latin typeface="Nexa (Headings)"/>
                        </a:defRPr>
                      </a:pPr>
                      <a:r>
                        <a:t>Champagnes</a:t>
                      </a:r>
                    </a:p>
                  </a:txBody>
                  <a:tcPr marL="3810" marR="3810" marT="3810" marB="0" anchor="ctr">
                    <a:noFill/>
                  </a:tcPr>
                </a:tc>
                <a:tc>
                  <a:txBody>
                    <a:bodyPr/>
                    <a:lstStyle/>
                    <a:p>
                      <a:pPr algn="ctr">
                        <a:defRPr sz="800">
                          <a:latin typeface="Nexa Book"/>
                        </a:defRPr>
                      </a:pPr>
                      <a:r>
                        <a:t>44</a:t>
                      </a:r>
                    </a:p>
                  </a:txBody>
                  <a:tcPr marL="3810" marR="3810" marT="3810" marB="0" anchor="ctr">
                    <a:noFill/>
                  </a:tcPr>
                </a:tc>
                <a:tc>
                  <a:txBody>
                    <a:bodyPr/>
                    <a:lstStyle/>
                    <a:p>
                      <a:pPr algn="ctr">
                        <a:defRPr sz="800">
                          <a:latin typeface="Nexa Book"/>
                        </a:defRPr>
                      </a:pPr>
                      <a:r>
                        <a:t>4</a:t>
                      </a:r>
                    </a:p>
                  </a:txBody>
                  <a:tcPr marL="3810" marR="3810" marT="3810" marB="0" anchor="ctr">
                    <a:noFill/>
                  </a:tcPr>
                </a:tc>
                <a:tc>
                  <a:txBody>
                    <a:bodyPr/>
                    <a:lstStyle/>
                    <a:p>
                      <a:pPr algn="ctr">
                        <a:defRPr sz="800">
                          <a:latin typeface="Nexa Book"/>
                        </a:defRPr>
                      </a:pPr>
                      <a:r>
                        <a:t>10%</a:t>
                      </a:r>
                    </a:p>
                  </a:txBody>
                  <a:tcPr marL="3810" marR="3810" marT="3810" marB="0" anchor="ctr">
                    <a:noFill/>
                  </a:tcPr>
                </a:tc>
                <a:tc>
                  <a:txBody>
                    <a:bodyPr/>
                    <a:lstStyle/>
                    <a:p>
                      <a:pPr algn="ctr">
                        <a:defRPr sz="800">
                          <a:latin typeface="Nexa Book"/>
                        </a:defRPr>
                      </a:pPr>
                      <a:r>
                        <a:t>10%</a:t>
                      </a:r>
                    </a:p>
                  </a:txBody>
                  <a:tcPr marL="3810" marR="3810" marT="3810" marB="0" anchor="ctr">
                    <a:noFill/>
                  </a:tcPr>
                </a:tc>
                <a:tc>
                  <a:txBody>
                    <a:bodyPr/>
                    <a:lstStyle/>
                    <a:p>
                      <a:pPr algn="ctr">
                        <a:defRPr sz="800">
                          <a:latin typeface="Nexa Book"/>
                        </a:defRPr>
                      </a:pPr>
                      <a:r>
                        <a:t>5</a:t>
                      </a:r>
                    </a:p>
                  </a:txBody>
                  <a:tcPr marL="3810" marR="3810" marT="3810" marB="0" anchor="ctr">
                    <a:noFill/>
                  </a:tcPr>
                </a:tc>
                <a:tc>
                  <a:txBody>
                    <a:bodyPr/>
                    <a:lstStyle/>
                    <a:p>
                      <a:pPr algn="ctr">
                        <a:defRPr sz="800">
                          <a:latin typeface="Nexa Book"/>
                        </a:defRPr>
                      </a:pPr>
                      <a:r>
                        <a:t>1</a:t>
                      </a:r>
                    </a:p>
                  </a:txBody>
                  <a:tcPr marL="3810" marR="3810" marT="3810" marB="0" anchor="ctr">
                    <a:noFill/>
                  </a:tcPr>
                </a:tc>
                <a:extLst>
                  <a:ext uri="{0D108BD9-81ED-4DB2-BD59-A6C34878D82A}">
                    <a16:rowId xmlns:a16="http://schemas.microsoft.com/office/drawing/2014/main" val="1752397169"/>
                  </a:ext>
                </a:extLst>
              </a:tr>
              <a:tr h="831402">
                <a:tc>
                  <a:txBody>
                    <a:bodyPr/>
                    <a:lstStyle/>
                    <a:p>
                      <a:pPr algn="ctr">
                        <a:defRPr sz="800" b="1">
                          <a:latin typeface="Nexa (Headings)"/>
                        </a:defRPr>
                      </a:pPr>
                      <a:r>
                        <a:t>Effervescents Sans Alcool</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3712364869"/>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1132</a:t>
            </a:fld>
            <a:endParaRPr lang="en-US"/>
          </a:p>
        </p:txBody>
      </p:sp>
    </p:spTree>
    <p:extLst>
      <p:ext uri="{BB962C8B-B14F-4D97-AF65-F5344CB8AC3E}">
        <p14:creationId xmlns:p14="http://schemas.microsoft.com/office/powerpoint/2010/main" val="3988996520"/>
      </p:ext>
    </p:extLst>
  </p:cSld>
  <p:clrMapOvr>
    <a:masterClrMapping/>
  </p:clrMapOvr>
</p:sld>
</file>

<file path=ppt/slides/slide11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8/27/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pPr>
              <a:defRPr sz="1200">
                <a:latin typeface="Nexa Bold (Headings)"/>
              </a:defRPr>
            </a:pPr>
            <a:r>
              <a:t>Segment fair share | Effervescents | Malard Nicolas | NICOLAS QCA | P12M</a:t>
            </a:r>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pPr>
              <a:defRPr sz="1600">
                <a:latin typeface="Nexa Bold (Headings)"/>
              </a:defRPr>
            </a:pPr>
            <a:r>
              <a:rPr lang="en-GB" dirty="0">
                <a:highlight>
                  <a:srgbClr val="FFFF00"/>
                </a:highlight>
              </a:rPr>
              <a:t>Segment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Malard Nicolas </a:t>
                      </a:r>
                    </a:p>
                    <a:p>
                      <a:pPr algn="ctr">
                        <a:defRPr sz="900" b="1">
                          <a:latin typeface="Nexa (Headings)"/>
                        </a:defRPr>
                      </a:pPr>
                      <a: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Malard Nicolas </a:t>
                      </a:r>
                    </a:p>
                    <a:p>
                      <a:pPr algn="ctr">
                        <a:defRPr sz="900" b="1">
                          <a:latin typeface="Nexa (Headings)"/>
                        </a:defRPr>
                      </a:pPr>
                      <a: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Malard Nicolas </a:t>
                      </a:r>
                    </a:p>
                    <a:p>
                      <a:pPr algn="ctr">
                        <a:defRPr sz="900" b="1">
                          <a:latin typeface="Nexa (Headings)"/>
                        </a:defRPr>
                      </a:pPr>
                      <a: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Malard Nicolas </a:t>
                      </a:r>
                    </a:p>
                    <a:p>
                      <a:pPr algn="ctr">
                        <a:defRPr sz="900" b="1">
                          <a:latin typeface="Nexa (Headings)"/>
                        </a:defRPr>
                      </a:pPr>
                      <a: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Malard Nicolas</a:t>
                      </a:r>
                    </a:p>
                    <a:p>
                      <a:pPr algn="ctr">
                        <a:defRPr sz="900" b="1">
                          <a:latin typeface="Nexa (Headings)"/>
                        </a:defRPr>
                      </a:pPr>
                      <a: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277134">
                <a:tc>
                  <a:txBody>
                    <a:bodyPr/>
                    <a:lstStyle/>
                    <a:p>
                      <a:pPr algn="ctr">
                        <a:defRPr sz="800" b="1">
                          <a:latin typeface="Nexa (Headings)"/>
                        </a:defRPr>
                      </a:pPr>
                      <a:r>
                        <a:t>Grand Total</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08</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7</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65%</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33%</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3</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277134">
                <a:tc>
                  <a:txBody>
                    <a:bodyPr/>
                    <a:lstStyle/>
                    <a:p>
                      <a:pPr algn="ctr">
                        <a:defRPr sz="800" b="1">
                          <a:latin typeface="Nexa (Headings)"/>
                        </a:defRPr>
                      </a:pPr>
                      <a:r>
                        <a:t>Mousseux Italiens</a:t>
                      </a:r>
                    </a:p>
                  </a:txBody>
                  <a:tcPr marL="3810" marR="3810" marT="3810" marB="0" anchor="ctr">
                    <a:noFill/>
                  </a:tcPr>
                </a:tc>
                <a:tc>
                  <a:txBody>
                    <a:bodyPr/>
                    <a:lstStyle/>
                    <a:p>
                      <a:pPr algn="ctr">
                        <a:defRPr sz="800">
                          <a:latin typeface="Nexa Book"/>
                        </a:defRPr>
                      </a:pPr>
                      <a:r>
                        <a:t>4</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3161381"/>
                  </a:ext>
                </a:extLst>
              </a:tr>
              <a:tr h="277134">
                <a:tc>
                  <a:txBody>
                    <a:bodyPr/>
                    <a:lstStyle/>
                    <a:p>
                      <a:pPr algn="ctr">
                        <a:defRPr sz="800" b="1">
                          <a:latin typeface="Nexa (Headings)"/>
                        </a:defRPr>
                      </a:pPr>
                      <a:r>
                        <a:t>Mousseux Val De Loire</a:t>
                      </a:r>
                    </a:p>
                  </a:txBody>
                  <a:tcPr marL="3810" marR="3810" marT="3810" marB="0" anchor="ctr">
                    <a:noFill/>
                  </a:tcPr>
                </a:tc>
                <a:tc>
                  <a:txBody>
                    <a:bodyPr/>
                    <a:lstStyle/>
                    <a:p>
                      <a:pPr algn="ctr">
                        <a:defRPr sz="800">
                          <a:latin typeface="Nexa Book"/>
                        </a:defRPr>
                      </a:pPr>
                      <a:r>
                        <a:t>4</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1752397169"/>
                  </a:ext>
                </a:extLst>
              </a:tr>
              <a:tr h="277134">
                <a:tc>
                  <a:txBody>
                    <a:bodyPr/>
                    <a:lstStyle/>
                    <a:p>
                      <a:pPr algn="ctr">
                        <a:defRPr sz="800" b="1">
                          <a:latin typeface="Nexa (Headings)"/>
                        </a:defRPr>
                      </a:pPr>
                      <a:r>
                        <a:t>Mousseux Bordelais</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3712364869"/>
                  </a:ext>
                </a:extLst>
              </a:tr>
              <a:tr h="277134">
                <a:tc>
                  <a:txBody>
                    <a:bodyPr/>
                    <a:lstStyle/>
                    <a:p>
                      <a:pPr algn="ctr">
                        <a:defRPr sz="800" b="1">
                          <a:latin typeface="Nexa (Headings)"/>
                        </a:defRPr>
                      </a:pPr>
                      <a:r>
                        <a:t>Mousseux Bourgogne</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98998524"/>
                  </a:ext>
                </a:extLst>
              </a:tr>
              <a:tr h="277134">
                <a:tc>
                  <a:txBody>
                    <a:bodyPr/>
                    <a:lstStyle/>
                    <a:p>
                      <a:pPr algn="ctr">
                        <a:defRPr sz="800" b="1">
                          <a:latin typeface="Nexa (Headings)"/>
                        </a:defRPr>
                      </a:pPr>
                      <a:r>
                        <a:t>Mousseux Alsace</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4143210105"/>
                  </a:ext>
                </a:extLst>
              </a:tr>
              <a:tr h="277134">
                <a:tc>
                  <a:txBody>
                    <a:bodyPr/>
                    <a:lstStyle/>
                    <a:p>
                      <a:pPr algn="ctr">
                        <a:defRPr sz="800" b="1">
                          <a:latin typeface="Nexa (Headings)"/>
                        </a:defRPr>
                      </a:pPr>
                      <a:r>
                        <a:t>Rosés</a:t>
                      </a:r>
                    </a:p>
                  </a:txBody>
                  <a:tcPr marL="3810" marR="3810" marT="3810" marB="0" anchor="ctr">
                    <a:noFill/>
                  </a:tcPr>
                </a:tc>
                <a:tc>
                  <a:txBody>
                    <a:bodyPr/>
                    <a:lstStyle/>
                    <a:p>
                      <a:pPr algn="ctr">
                        <a:defRPr sz="800">
                          <a:latin typeface="Nexa Book"/>
                        </a:defRPr>
                      </a:pPr>
                      <a:r>
                        <a:t>13</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14%</a:t>
                      </a:r>
                    </a:p>
                  </a:txBody>
                  <a:tcPr marL="3810" marR="3810" marT="3810" marB="0" anchor="ctr">
                    <a:noFill/>
                  </a:tcPr>
                </a:tc>
                <a:tc>
                  <a:txBody>
                    <a:bodyPr/>
                    <a:lstStyle/>
                    <a:p>
                      <a:pPr algn="ctr">
                        <a:defRPr sz="800">
                          <a:latin typeface="Nexa Book"/>
                        </a:defRPr>
                      </a:pPr>
                      <a:r>
                        <a:t>7%</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3374402097"/>
                  </a:ext>
                </a:extLst>
              </a:tr>
              <a:tr h="277134">
                <a:tc>
                  <a:txBody>
                    <a:bodyPr/>
                    <a:lstStyle/>
                    <a:p>
                      <a:pPr algn="ctr">
                        <a:defRPr sz="800" b="1">
                          <a:latin typeface="Nexa (Headings)"/>
                        </a:defRPr>
                      </a:pPr>
                      <a:r>
                        <a:t>Bruts</a:t>
                      </a:r>
                    </a:p>
                  </a:txBody>
                  <a:tcPr marL="3810" marR="3810" marT="3810" marB="0" anchor="ctr">
                    <a:noFill/>
                  </a:tcPr>
                </a:tc>
                <a:tc>
                  <a:txBody>
                    <a:bodyPr/>
                    <a:lstStyle/>
                    <a:p>
                      <a:pPr algn="ctr">
                        <a:defRPr sz="800">
                          <a:latin typeface="Nexa Book"/>
                        </a:defRPr>
                      </a:pPr>
                      <a:r>
                        <a:t>48</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6%</a:t>
                      </a:r>
                    </a:p>
                  </a:txBody>
                  <a:tcPr marL="3810" marR="3810" marT="3810" marB="0" anchor="ctr">
                    <a:noFill/>
                  </a:tcPr>
                </a:tc>
                <a:tc>
                  <a:txBody>
                    <a:bodyPr/>
                    <a:lstStyle/>
                    <a:p>
                      <a:pPr algn="ctr">
                        <a:defRPr sz="800">
                          <a:latin typeface="Nexa Book"/>
                        </a:defRPr>
                      </a:pPr>
                      <a:r>
                        <a:t>8%</a:t>
                      </a:r>
                    </a:p>
                  </a:txBody>
                  <a:tcPr marL="3810" marR="3810" marT="3810" marB="0" anchor="ctr">
                    <a:noFill/>
                  </a:tcPr>
                </a:tc>
                <a:tc>
                  <a:txBody>
                    <a:bodyPr/>
                    <a:lstStyle/>
                    <a:p>
                      <a:pPr algn="ctr">
                        <a:defRPr sz="800">
                          <a:latin typeface="Nexa Book"/>
                        </a:defRPr>
                      </a:pPr>
                      <a:r>
                        <a:t>4</a:t>
                      </a:r>
                    </a:p>
                  </a:txBody>
                  <a:tcPr marL="3810" marR="3810" marT="3810" marB="0" anchor="ctr">
                    <a:noFill/>
                  </a:tcPr>
                </a:tc>
                <a:tc>
                  <a:txBody>
                    <a:bodyPr/>
                    <a:lstStyle/>
                    <a:p>
                      <a:pPr algn="ctr">
                        <a:defRPr sz="800">
                          <a:latin typeface="Nexa Book"/>
                        </a:defRPr>
                      </a:pPr>
                      <a:r>
                        <a:t>1</a:t>
                      </a:r>
                    </a:p>
                  </a:txBody>
                  <a:tcPr marL="3810" marR="3810" marT="3810" marB="0" anchor="ctr">
                    <a:noFill/>
                  </a:tcPr>
                </a:tc>
                <a:extLst>
                  <a:ext uri="{0D108BD9-81ED-4DB2-BD59-A6C34878D82A}">
                    <a16:rowId xmlns:a16="http://schemas.microsoft.com/office/drawing/2014/main" val="2061534110"/>
                  </a:ext>
                </a:extLst>
              </a:tr>
              <a:tr h="277134">
                <a:tc>
                  <a:txBody>
                    <a:bodyPr/>
                    <a:lstStyle/>
                    <a:p>
                      <a:pPr algn="ctr">
                        <a:defRPr sz="800" b="1">
                          <a:latin typeface="Nexa (Headings)"/>
                        </a:defRPr>
                      </a:pPr>
                      <a:r>
                        <a:t>Blanc De Blancs</a:t>
                      </a:r>
                    </a:p>
                  </a:txBody>
                  <a:tcPr marL="3810" marR="3810" marT="3810" marB="0" anchor="ctr">
                    <a:noFill/>
                  </a:tcPr>
                </a:tc>
                <a:tc>
                  <a:txBody>
                    <a:bodyPr/>
                    <a:lstStyle/>
                    <a:p>
                      <a:pPr algn="ctr">
                        <a:defRPr sz="800">
                          <a:latin typeface="Nexa Book"/>
                        </a:defRPr>
                      </a:pPr>
                      <a:r>
                        <a:t>12</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10%</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04386257"/>
                  </a:ext>
                </a:extLst>
              </a:tr>
              <a:tr h="277134">
                <a:tc>
                  <a:txBody>
                    <a:bodyPr/>
                    <a:lstStyle/>
                    <a:p>
                      <a:pPr algn="ctr">
                        <a:defRPr sz="800" b="1">
                          <a:latin typeface="Nexa (Headings)"/>
                        </a:defRPr>
                      </a:pPr>
                      <a:r>
                        <a:t>Millesimes</a:t>
                      </a:r>
                    </a:p>
                  </a:txBody>
                  <a:tcPr marL="3810" marR="3810" marT="3810" marB="0" anchor="ctr">
                    <a:noFill/>
                  </a:tcPr>
                </a:tc>
                <a:tc>
                  <a:txBody>
                    <a:bodyPr/>
                    <a:lstStyle/>
                    <a:p>
                      <a:pPr algn="ctr">
                        <a:defRPr sz="800">
                          <a:latin typeface="Nexa Book"/>
                        </a:defRPr>
                      </a:pPr>
                      <a:r>
                        <a:t>9</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071136303"/>
                  </a:ext>
                </a:extLst>
              </a:tr>
              <a:tr h="277134">
                <a:tc>
                  <a:txBody>
                    <a:bodyPr/>
                    <a:lstStyle/>
                    <a:p>
                      <a:pPr algn="ctr">
                        <a:defRPr sz="800" b="1">
                          <a:latin typeface="Nexa (Headings)"/>
                        </a:defRPr>
                      </a:pPr>
                      <a:r>
                        <a:t>Extra Brut</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478226403"/>
                  </a:ext>
                </a:extLst>
              </a:tr>
              <a:tr h="277134">
                <a:tc>
                  <a:txBody>
                    <a:bodyPr/>
                    <a:lstStyle/>
                    <a:p>
                      <a:pPr algn="ctr">
                        <a:defRPr sz="800" b="1">
                          <a:latin typeface="Nexa (Headings)"/>
                        </a:defRPr>
                      </a:pPr>
                      <a:r>
                        <a:t>Crus</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20%</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116474470"/>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1133</a:t>
            </a:fld>
            <a:endParaRPr lang="en-US"/>
          </a:p>
        </p:txBody>
      </p:sp>
    </p:spTree>
    <p:extLst>
      <p:ext uri="{BB962C8B-B14F-4D97-AF65-F5344CB8AC3E}">
        <p14:creationId xmlns:p14="http://schemas.microsoft.com/office/powerpoint/2010/main" val="1298125291"/>
      </p:ext>
    </p:extLst>
  </p:cSld>
  <p:clrMapOvr>
    <a:masterClrMapping/>
  </p:clrMapOvr>
</p:sld>
</file>

<file path=ppt/slides/slide11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8/27/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pPr>
              <a:defRPr sz="1200">
                <a:latin typeface="Nexa Bold (Headings)"/>
              </a:defRPr>
            </a:pPr>
            <a:r>
              <a:t>Segment fair share | Effervescents | Malard Nicolas | NICOLAS CCP | P12M</a:t>
            </a:r>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pPr>
              <a:defRPr sz="1600">
                <a:latin typeface="Nexa Bold (Headings)"/>
              </a:defRPr>
            </a:pPr>
            <a:r>
              <a:rPr lang="en-GB" dirty="0">
                <a:highlight>
                  <a:srgbClr val="FFFF00"/>
                </a:highlight>
              </a:rPr>
              <a:t>Segment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Malard Nicolas </a:t>
                      </a:r>
                    </a:p>
                    <a:p>
                      <a:pPr algn="ctr">
                        <a:defRPr sz="900" b="1">
                          <a:latin typeface="Nexa (Headings)"/>
                        </a:defRPr>
                      </a:pPr>
                      <a: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Malard Nicolas </a:t>
                      </a:r>
                    </a:p>
                    <a:p>
                      <a:pPr algn="ctr">
                        <a:defRPr sz="900" b="1">
                          <a:latin typeface="Nexa (Headings)"/>
                        </a:defRPr>
                      </a:pPr>
                      <a: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Malard Nicolas </a:t>
                      </a:r>
                    </a:p>
                    <a:p>
                      <a:pPr algn="ctr">
                        <a:defRPr sz="900" b="1">
                          <a:latin typeface="Nexa (Headings)"/>
                        </a:defRPr>
                      </a:pPr>
                      <a: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Malard Nicolas </a:t>
                      </a:r>
                    </a:p>
                    <a:p>
                      <a:pPr algn="ctr">
                        <a:defRPr sz="900" b="1">
                          <a:latin typeface="Nexa (Headings)"/>
                        </a:defRPr>
                      </a:pPr>
                      <a: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Malard Nicolas</a:t>
                      </a:r>
                    </a:p>
                    <a:p>
                      <a:pPr algn="ctr">
                        <a:defRPr sz="900" b="1">
                          <a:latin typeface="Nexa (Headings)"/>
                        </a:defRPr>
                      </a:pPr>
                      <a: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277134">
                <a:tc>
                  <a:txBody>
                    <a:bodyPr/>
                    <a:lstStyle/>
                    <a:p>
                      <a:pPr algn="ctr">
                        <a:defRPr sz="800" b="1">
                          <a:latin typeface="Nexa (Headings)"/>
                        </a:defRPr>
                      </a:pPr>
                      <a:r>
                        <a:t>Grand Total</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11</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8</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65%</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36%</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4</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277134">
                <a:tc>
                  <a:txBody>
                    <a:bodyPr/>
                    <a:lstStyle/>
                    <a:p>
                      <a:pPr algn="ctr">
                        <a:defRPr sz="800" b="1">
                          <a:latin typeface="Nexa (Headings)"/>
                        </a:defRPr>
                      </a:pPr>
                      <a:r>
                        <a:t>Mousseux Italiens</a:t>
                      </a:r>
                    </a:p>
                  </a:txBody>
                  <a:tcPr marL="3810" marR="3810" marT="3810" marB="0" anchor="ctr">
                    <a:noFill/>
                  </a:tcPr>
                </a:tc>
                <a:tc>
                  <a:txBody>
                    <a:bodyPr/>
                    <a:lstStyle/>
                    <a:p>
                      <a:pPr algn="ctr">
                        <a:defRPr sz="800">
                          <a:latin typeface="Nexa Book"/>
                        </a:defRPr>
                      </a:pPr>
                      <a:r>
                        <a:t>5</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3161381"/>
                  </a:ext>
                </a:extLst>
              </a:tr>
              <a:tr h="277134">
                <a:tc>
                  <a:txBody>
                    <a:bodyPr/>
                    <a:lstStyle/>
                    <a:p>
                      <a:pPr algn="ctr">
                        <a:defRPr sz="800" b="1">
                          <a:latin typeface="Nexa (Headings)"/>
                        </a:defRPr>
                      </a:pPr>
                      <a:r>
                        <a:t>Mousseux Val De Loire</a:t>
                      </a:r>
                    </a:p>
                  </a:txBody>
                  <a:tcPr marL="3810" marR="3810" marT="3810" marB="0" anchor="ctr">
                    <a:noFill/>
                  </a:tcPr>
                </a:tc>
                <a:tc>
                  <a:txBody>
                    <a:bodyPr/>
                    <a:lstStyle/>
                    <a:p>
                      <a:pPr algn="ctr">
                        <a:defRPr sz="800">
                          <a:latin typeface="Nexa Book"/>
                        </a:defRPr>
                      </a:pPr>
                      <a:r>
                        <a:t>4</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1752397169"/>
                  </a:ext>
                </a:extLst>
              </a:tr>
              <a:tr h="277134">
                <a:tc>
                  <a:txBody>
                    <a:bodyPr/>
                    <a:lstStyle/>
                    <a:p>
                      <a:pPr algn="ctr">
                        <a:defRPr sz="800" b="1">
                          <a:latin typeface="Nexa (Headings)"/>
                        </a:defRPr>
                      </a:pPr>
                      <a:r>
                        <a:t>Mousseux Bordelais</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3712364869"/>
                  </a:ext>
                </a:extLst>
              </a:tr>
              <a:tr h="277134">
                <a:tc>
                  <a:txBody>
                    <a:bodyPr/>
                    <a:lstStyle/>
                    <a:p>
                      <a:pPr algn="ctr">
                        <a:defRPr sz="800" b="1">
                          <a:latin typeface="Nexa (Headings)"/>
                        </a:defRPr>
                      </a:pPr>
                      <a:r>
                        <a:t>Mousseux Bourgogne</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98998524"/>
                  </a:ext>
                </a:extLst>
              </a:tr>
              <a:tr h="277134">
                <a:tc>
                  <a:txBody>
                    <a:bodyPr/>
                    <a:lstStyle/>
                    <a:p>
                      <a:pPr algn="ctr">
                        <a:defRPr sz="800" b="1">
                          <a:latin typeface="Nexa (Headings)"/>
                        </a:defRPr>
                      </a:pPr>
                      <a:r>
                        <a:t>Mousseux Alsace</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4143210105"/>
                  </a:ext>
                </a:extLst>
              </a:tr>
              <a:tr h="277134">
                <a:tc>
                  <a:txBody>
                    <a:bodyPr/>
                    <a:lstStyle/>
                    <a:p>
                      <a:pPr algn="ctr">
                        <a:defRPr sz="800" b="1">
                          <a:latin typeface="Nexa (Headings)"/>
                        </a:defRPr>
                      </a:pPr>
                      <a:r>
                        <a:t>Rosés</a:t>
                      </a:r>
                    </a:p>
                  </a:txBody>
                  <a:tcPr marL="3810" marR="3810" marT="3810" marB="0" anchor="ctr">
                    <a:noFill/>
                  </a:tcPr>
                </a:tc>
                <a:tc>
                  <a:txBody>
                    <a:bodyPr/>
                    <a:lstStyle/>
                    <a:p>
                      <a:pPr algn="ctr">
                        <a:defRPr sz="800">
                          <a:latin typeface="Nexa Book"/>
                        </a:defRPr>
                      </a:pPr>
                      <a:r>
                        <a:t>13</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15%</a:t>
                      </a:r>
                    </a:p>
                  </a:txBody>
                  <a:tcPr marL="3810" marR="3810" marT="3810" marB="0" anchor="ctr">
                    <a:noFill/>
                  </a:tcPr>
                </a:tc>
                <a:tc>
                  <a:txBody>
                    <a:bodyPr/>
                    <a:lstStyle/>
                    <a:p>
                      <a:pPr algn="ctr">
                        <a:defRPr sz="800">
                          <a:latin typeface="Nexa Book"/>
                        </a:defRPr>
                      </a:pPr>
                      <a:r>
                        <a:t>8%</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3374402097"/>
                  </a:ext>
                </a:extLst>
              </a:tr>
              <a:tr h="277134">
                <a:tc>
                  <a:txBody>
                    <a:bodyPr/>
                    <a:lstStyle/>
                    <a:p>
                      <a:pPr algn="ctr">
                        <a:defRPr sz="800" b="1">
                          <a:latin typeface="Nexa (Headings)"/>
                        </a:defRPr>
                      </a:pPr>
                      <a:r>
                        <a:t>Bruts</a:t>
                      </a:r>
                    </a:p>
                  </a:txBody>
                  <a:tcPr marL="3810" marR="3810" marT="3810" marB="0" anchor="ctr">
                    <a:noFill/>
                  </a:tcPr>
                </a:tc>
                <a:tc>
                  <a:txBody>
                    <a:bodyPr/>
                    <a:lstStyle/>
                    <a:p>
                      <a:pPr algn="ctr">
                        <a:defRPr sz="800">
                          <a:latin typeface="Nexa Book"/>
                        </a:defRPr>
                      </a:pPr>
                      <a:r>
                        <a:t>46</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7%</a:t>
                      </a:r>
                    </a:p>
                  </a:txBody>
                  <a:tcPr marL="3810" marR="3810" marT="3810" marB="0" anchor="ctr">
                    <a:noFill/>
                  </a:tcPr>
                </a:tc>
                <a:tc>
                  <a:txBody>
                    <a:bodyPr/>
                    <a:lstStyle/>
                    <a:p>
                      <a:pPr algn="ctr">
                        <a:defRPr sz="800">
                          <a:latin typeface="Nexa Book"/>
                        </a:defRPr>
                      </a:pPr>
                      <a:r>
                        <a:t>10%</a:t>
                      </a:r>
                    </a:p>
                  </a:txBody>
                  <a:tcPr marL="3810" marR="3810" marT="3810" marB="0" anchor="ctr">
                    <a:noFill/>
                  </a:tcPr>
                </a:tc>
                <a:tc>
                  <a:txBody>
                    <a:bodyPr/>
                    <a:lstStyle/>
                    <a:p>
                      <a:pPr algn="ctr">
                        <a:defRPr sz="800">
                          <a:latin typeface="Nexa Book"/>
                        </a:defRPr>
                      </a:pPr>
                      <a:r>
                        <a:t>5</a:t>
                      </a:r>
                    </a:p>
                  </a:txBody>
                  <a:tcPr marL="3810" marR="3810" marT="3810" marB="0" anchor="ctr">
                    <a:noFill/>
                  </a:tcPr>
                </a:tc>
                <a:tc>
                  <a:txBody>
                    <a:bodyPr/>
                    <a:lstStyle/>
                    <a:p>
                      <a:pPr algn="ctr">
                        <a:defRPr sz="800">
                          <a:latin typeface="Nexa Book"/>
                        </a:defRPr>
                      </a:pPr>
                      <a:r>
                        <a:t>2</a:t>
                      </a:r>
                    </a:p>
                  </a:txBody>
                  <a:tcPr marL="3810" marR="3810" marT="3810" marB="0" anchor="ctr">
                    <a:noFill/>
                  </a:tcPr>
                </a:tc>
                <a:extLst>
                  <a:ext uri="{0D108BD9-81ED-4DB2-BD59-A6C34878D82A}">
                    <a16:rowId xmlns:a16="http://schemas.microsoft.com/office/drawing/2014/main" val="2061534110"/>
                  </a:ext>
                </a:extLst>
              </a:tr>
              <a:tr h="277134">
                <a:tc>
                  <a:txBody>
                    <a:bodyPr/>
                    <a:lstStyle/>
                    <a:p>
                      <a:pPr algn="ctr">
                        <a:defRPr sz="800" b="1">
                          <a:latin typeface="Nexa (Headings)"/>
                        </a:defRPr>
                      </a:pPr>
                      <a:r>
                        <a:t>Blanc De Blancs</a:t>
                      </a:r>
                    </a:p>
                  </a:txBody>
                  <a:tcPr marL="3810" marR="3810" marT="3810" marB="0" anchor="ctr">
                    <a:noFill/>
                  </a:tcPr>
                </a:tc>
                <a:tc>
                  <a:txBody>
                    <a:bodyPr/>
                    <a:lstStyle/>
                    <a:p>
                      <a:pPr algn="ctr">
                        <a:defRPr sz="800">
                          <a:latin typeface="Nexa Book"/>
                        </a:defRPr>
                      </a:pPr>
                      <a:r>
                        <a:t>13</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12%</a:t>
                      </a:r>
                    </a:p>
                  </a:txBody>
                  <a:tcPr marL="3810" marR="3810" marT="3810" marB="0" anchor="ctr">
                    <a:noFill/>
                  </a:tcPr>
                </a:tc>
                <a:tc>
                  <a:txBody>
                    <a:bodyPr/>
                    <a:lstStyle/>
                    <a:p>
                      <a:pPr algn="ctr">
                        <a:defRPr sz="800">
                          <a:latin typeface="Nexa Book"/>
                        </a:defRPr>
                      </a:pPr>
                      <a:r>
                        <a:t>4%</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04386257"/>
                  </a:ext>
                </a:extLst>
              </a:tr>
              <a:tr h="277134">
                <a:tc>
                  <a:txBody>
                    <a:bodyPr/>
                    <a:lstStyle/>
                    <a:p>
                      <a:pPr algn="ctr">
                        <a:defRPr sz="800" b="1">
                          <a:latin typeface="Nexa (Headings)"/>
                        </a:defRPr>
                      </a:pPr>
                      <a:r>
                        <a:t>Millesimes</a:t>
                      </a:r>
                    </a:p>
                  </a:txBody>
                  <a:tcPr marL="3810" marR="3810" marT="3810" marB="0" anchor="ctr">
                    <a:noFill/>
                  </a:tcPr>
                </a:tc>
                <a:tc>
                  <a:txBody>
                    <a:bodyPr/>
                    <a:lstStyle/>
                    <a:p>
                      <a:pPr algn="ctr">
                        <a:defRPr sz="800">
                          <a:latin typeface="Nexa Book"/>
                        </a:defRPr>
                      </a:pPr>
                      <a:r>
                        <a:t>1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071136303"/>
                  </a:ext>
                </a:extLst>
              </a:tr>
              <a:tr h="277134">
                <a:tc>
                  <a:txBody>
                    <a:bodyPr/>
                    <a:lstStyle/>
                    <a:p>
                      <a:pPr algn="ctr">
                        <a:defRPr sz="800" b="1">
                          <a:latin typeface="Nexa (Headings)"/>
                        </a:defRPr>
                      </a:pPr>
                      <a:r>
                        <a:t>Extra Brut</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478226403"/>
                  </a:ext>
                </a:extLst>
              </a:tr>
              <a:tr h="277134">
                <a:tc>
                  <a:txBody>
                    <a:bodyPr/>
                    <a:lstStyle/>
                    <a:p>
                      <a:pPr algn="ctr">
                        <a:defRPr sz="800" b="1">
                          <a:latin typeface="Nexa (Headings)"/>
                        </a:defRPr>
                      </a:pPr>
                      <a:r>
                        <a:t>Crus</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16%</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116474470"/>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1134</a:t>
            </a:fld>
            <a:endParaRPr lang="en-US"/>
          </a:p>
        </p:txBody>
      </p:sp>
    </p:spTree>
    <p:extLst>
      <p:ext uri="{BB962C8B-B14F-4D97-AF65-F5344CB8AC3E}">
        <p14:creationId xmlns:p14="http://schemas.microsoft.com/office/powerpoint/2010/main" val="1923442955"/>
      </p:ext>
    </p:extLst>
  </p:cSld>
  <p:clrMapOvr>
    <a:masterClrMapping/>
  </p:clrMapOvr>
</p:sld>
</file>

<file path=ppt/slides/slide11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8/27/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pPr>
              <a:defRPr sz="1200">
                <a:latin typeface="Nexa Bold (Headings)"/>
              </a:defRPr>
            </a:pPr>
            <a:r>
              <a:t>Segment fair share | Effervescents | Malard Nicolas | NICOLAS VCN | P12M</a:t>
            </a:r>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pPr>
              <a:defRPr sz="1600">
                <a:latin typeface="Nexa Bold (Headings)"/>
              </a:defRPr>
            </a:pPr>
            <a:r>
              <a:rPr lang="en-GB" dirty="0">
                <a:highlight>
                  <a:srgbClr val="FFFF00"/>
                </a:highlight>
              </a:rPr>
              <a:t>Segment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Malard Nicolas </a:t>
                      </a:r>
                    </a:p>
                    <a:p>
                      <a:pPr algn="ctr">
                        <a:defRPr sz="900" b="1">
                          <a:latin typeface="Nexa (Headings)"/>
                        </a:defRPr>
                      </a:pPr>
                      <a: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Malard Nicolas </a:t>
                      </a:r>
                    </a:p>
                    <a:p>
                      <a:pPr algn="ctr">
                        <a:defRPr sz="900" b="1">
                          <a:latin typeface="Nexa (Headings)"/>
                        </a:defRPr>
                      </a:pPr>
                      <a: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Malard Nicolas </a:t>
                      </a:r>
                    </a:p>
                    <a:p>
                      <a:pPr algn="ctr">
                        <a:defRPr sz="900" b="1">
                          <a:latin typeface="Nexa (Headings)"/>
                        </a:defRPr>
                      </a:pPr>
                      <a: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Malard Nicolas </a:t>
                      </a:r>
                    </a:p>
                    <a:p>
                      <a:pPr algn="ctr">
                        <a:defRPr sz="900" b="1">
                          <a:latin typeface="Nexa (Headings)"/>
                        </a:defRPr>
                      </a:pPr>
                      <a: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Malard Nicolas</a:t>
                      </a:r>
                    </a:p>
                    <a:p>
                      <a:pPr algn="ctr">
                        <a:defRPr sz="900" b="1">
                          <a:latin typeface="Nexa (Headings)"/>
                        </a:defRPr>
                      </a:pPr>
                      <a: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277134">
                <a:tc>
                  <a:txBody>
                    <a:bodyPr/>
                    <a:lstStyle/>
                    <a:p>
                      <a:pPr algn="ctr">
                        <a:defRPr sz="800" b="1">
                          <a:latin typeface="Nexa (Headings)"/>
                        </a:defRPr>
                      </a:pPr>
                      <a:r>
                        <a:t>Grand Total</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75</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6</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7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44%</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3</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277134">
                <a:tc>
                  <a:txBody>
                    <a:bodyPr/>
                    <a:lstStyle/>
                    <a:p>
                      <a:pPr algn="ctr">
                        <a:defRPr sz="800" b="1">
                          <a:latin typeface="Nexa (Headings)"/>
                        </a:defRPr>
                      </a:pPr>
                      <a:r>
                        <a:t>Mousseux Italiens</a:t>
                      </a:r>
                    </a:p>
                  </a:txBody>
                  <a:tcPr marL="3810" marR="3810" marT="3810" marB="0" anchor="ctr">
                    <a:noFill/>
                  </a:tcPr>
                </a:tc>
                <a:tc>
                  <a:txBody>
                    <a:bodyPr/>
                    <a:lstStyle/>
                    <a:p>
                      <a:pPr algn="ctr">
                        <a:defRPr sz="800">
                          <a:latin typeface="Nexa Book"/>
                        </a:defRPr>
                      </a:pPr>
                      <a:r>
                        <a:t>4</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3161381"/>
                  </a:ext>
                </a:extLst>
              </a:tr>
              <a:tr h="277134">
                <a:tc>
                  <a:txBody>
                    <a:bodyPr/>
                    <a:lstStyle/>
                    <a:p>
                      <a:pPr algn="ctr">
                        <a:defRPr sz="800" b="1">
                          <a:latin typeface="Nexa (Headings)"/>
                        </a:defRPr>
                      </a:pPr>
                      <a:r>
                        <a:t>Mousseux Val De Loire</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1752397169"/>
                  </a:ext>
                </a:extLst>
              </a:tr>
              <a:tr h="277134">
                <a:tc>
                  <a:txBody>
                    <a:bodyPr/>
                    <a:lstStyle/>
                    <a:p>
                      <a:pPr algn="ctr">
                        <a:defRPr sz="800" b="1">
                          <a:latin typeface="Nexa (Headings)"/>
                        </a:defRPr>
                      </a:pPr>
                      <a:r>
                        <a:t>Mousseux Bordelais</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3712364869"/>
                  </a:ext>
                </a:extLst>
              </a:tr>
              <a:tr h="277134">
                <a:tc>
                  <a:txBody>
                    <a:bodyPr/>
                    <a:lstStyle/>
                    <a:p>
                      <a:pPr algn="ctr">
                        <a:defRPr sz="800" b="1">
                          <a:latin typeface="Nexa (Headings)"/>
                        </a:defRPr>
                      </a:pPr>
                      <a:r>
                        <a:t>Mousseux Bourgogne</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98998524"/>
                  </a:ext>
                </a:extLst>
              </a:tr>
              <a:tr h="277134">
                <a:tc>
                  <a:txBody>
                    <a:bodyPr/>
                    <a:lstStyle/>
                    <a:p>
                      <a:pPr algn="ctr">
                        <a:defRPr sz="800" b="1">
                          <a:latin typeface="Nexa (Headings)"/>
                        </a:defRPr>
                      </a:pPr>
                      <a:r>
                        <a:t>Mousseux Alsace</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4143210105"/>
                  </a:ext>
                </a:extLst>
              </a:tr>
              <a:tr h="277134">
                <a:tc>
                  <a:txBody>
                    <a:bodyPr/>
                    <a:lstStyle/>
                    <a:p>
                      <a:pPr algn="ctr">
                        <a:defRPr sz="800" b="1">
                          <a:latin typeface="Nexa (Headings)"/>
                        </a:defRPr>
                      </a:pPr>
                      <a:r>
                        <a:t>Rosés</a:t>
                      </a:r>
                    </a:p>
                  </a:txBody>
                  <a:tcPr marL="3810" marR="3810" marT="3810" marB="0" anchor="ctr">
                    <a:noFill/>
                  </a:tcPr>
                </a:tc>
                <a:tc>
                  <a:txBody>
                    <a:bodyPr/>
                    <a:lstStyle/>
                    <a:p>
                      <a:pPr algn="ctr">
                        <a:defRPr sz="800">
                          <a:latin typeface="Nexa Book"/>
                        </a:defRPr>
                      </a:pPr>
                      <a:r>
                        <a:t>7</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17%</a:t>
                      </a:r>
                    </a:p>
                  </a:txBody>
                  <a:tcPr marL="3810" marR="3810" marT="3810" marB="0" anchor="ctr">
                    <a:noFill/>
                  </a:tcPr>
                </a:tc>
                <a:tc>
                  <a:txBody>
                    <a:bodyPr/>
                    <a:lstStyle/>
                    <a:p>
                      <a:pPr algn="ctr">
                        <a:defRPr sz="800">
                          <a:latin typeface="Nexa Book"/>
                        </a:defRPr>
                      </a:pPr>
                      <a:r>
                        <a:t>11%</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3374402097"/>
                  </a:ext>
                </a:extLst>
              </a:tr>
              <a:tr h="277134">
                <a:tc>
                  <a:txBody>
                    <a:bodyPr/>
                    <a:lstStyle/>
                    <a:p>
                      <a:pPr algn="ctr">
                        <a:defRPr sz="800" b="1">
                          <a:latin typeface="Nexa (Headings)"/>
                        </a:defRPr>
                      </a:pPr>
                      <a:r>
                        <a:t>Bruts</a:t>
                      </a:r>
                    </a:p>
                  </a:txBody>
                  <a:tcPr marL="3810" marR="3810" marT="3810" marB="0" anchor="ctr">
                    <a:noFill/>
                  </a:tcPr>
                </a:tc>
                <a:tc>
                  <a:txBody>
                    <a:bodyPr/>
                    <a:lstStyle/>
                    <a:p>
                      <a:pPr algn="ctr">
                        <a:defRPr sz="800">
                          <a:latin typeface="Nexa Book"/>
                        </a:defRPr>
                      </a:pPr>
                      <a:r>
                        <a:t>34</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8%</a:t>
                      </a:r>
                    </a:p>
                  </a:txBody>
                  <a:tcPr marL="3810" marR="3810" marT="3810" marB="0" anchor="ctr">
                    <a:noFill/>
                  </a:tcPr>
                </a:tc>
                <a:tc>
                  <a:txBody>
                    <a:bodyPr/>
                    <a:lstStyle/>
                    <a:p>
                      <a:pPr algn="ctr">
                        <a:defRPr sz="800">
                          <a:latin typeface="Nexa Book"/>
                        </a:defRPr>
                      </a:pPr>
                      <a:r>
                        <a:t>12%</a:t>
                      </a:r>
                    </a:p>
                  </a:txBody>
                  <a:tcPr marL="3810" marR="3810" marT="3810" marB="0" anchor="ctr">
                    <a:noFill/>
                  </a:tcPr>
                </a:tc>
                <a:tc>
                  <a:txBody>
                    <a:bodyPr/>
                    <a:lstStyle/>
                    <a:p>
                      <a:pPr algn="ctr">
                        <a:defRPr sz="800">
                          <a:latin typeface="Nexa Book"/>
                        </a:defRPr>
                      </a:pPr>
                      <a:r>
                        <a:t>4</a:t>
                      </a:r>
                    </a:p>
                  </a:txBody>
                  <a:tcPr marL="3810" marR="3810" marT="3810" marB="0" anchor="ctr">
                    <a:noFill/>
                  </a:tcPr>
                </a:tc>
                <a:tc>
                  <a:txBody>
                    <a:bodyPr/>
                    <a:lstStyle/>
                    <a:p>
                      <a:pPr algn="ctr">
                        <a:defRPr sz="800">
                          <a:latin typeface="Nexa Book"/>
                        </a:defRPr>
                      </a:pPr>
                      <a:r>
                        <a:t>1</a:t>
                      </a:r>
                    </a:p>
                  </a:txBody>
                  <a:tcPr marL="3810" marR="3810" marT="3810" marB="0" anchor="ctr">
                    <a:noFill/>
                  </a:tcPr>
                </a:tc>
                <a:extLst>
                  <a:ext uri="{0D108BD9-81ED-4DB2-BD59-A6C34878D82A}">
                    <a16:rowId xmlns:a16="http://schemas.microsoft.com/office/drawing/2014/main" val="2061534110"/>
                  </a:ext>
                </a:extLst>
              </a:tr>
              <a:tr h="277134">
                <a:tc>
                  <a:txBody>
                    <a:bodyPr/>
                    <a:lstStyle/>
                    <a:p>
                      <a:pPr algn="ctr">
                        <a:defRPr sz="800" b="1">
                          <a:latin typeface="Nexa (Headings)"/>
                        </a:defRPr>
                      </a:pPr>
                      <a:r>
                        <a:t>Blanc De Blancs</a:t>
                      </a:r>
                    </a:p>
                  </a:txBody>
                  <a:tcPr marL="3810" marR="3810" marT="3810" marB="0" anchor="ctr">
                    <a:noFill/>
                  </a:tcPr>
                </a:tc>
                <a:tc>
                  <a:txBody>
                    <a:bodyPr/>
                    <a:lstStyle/>
                    <a:p>
                      <a:pPr algn="ctr">
                        <a:defRPr sz="800">
                          <a:latin typeface="Nexa Book"/>
                        </a:defRPr>
                      </a:pPr>
                      <a:r>
                        <a:t>8</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13%</a:t>
                      </a:r>
                    </a:p>
                  </a:txBody>
                  <a:tcPr marL="3810" marR="3810" marT="3810" marB="0" anchor="ctr">
                    <a:noFill/>
                  </a:tcPr>
                </a:tc>
                <a:tc>
                  <a:txBody>
                    <a:bodyPr/>
                    <a:lstStyle/>
                    <a:p>
                      <a:pPr algn="ctr">
                        <a:defRPr sz="800">
                          <a:latin typeface="Nexa Book"/>
                        </a:defRPr>
                      </a:pPr>
                      <a:r>
                        <a:t>7%</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04386257"/>
                  </a:ext>
                </a:extLst>
              </a:tr>
              <a:tr h="277134">
                <a:tc>
                  <a:txBody>
                    <a:bodyPr/>
                    <a:lstStyle/>
                    <a:p>
                      <a:pPr algn="ctr">
                        <a:defRPr sz="800" b="1">
                          <a:latin typeface="Nexa (Headings)"/>
                        </a:defRPr>
                      </a:pPr>
                      <a:r>
                        <a:t>Millesimes</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071136303"/>
                  </a:ext>
                </a:extLst>
              </a:tr>
              <a:tr h="277134">
                <a:tc>
                  <a:txBody>
                    <a:bodyPr/>
                    <a:lstStyle/>
                    <a:p>
                      <a:pPr algn="ctr">
                        <a:defRPr sz="800" b="1">
                          <a:latin typeface="Nexa (Headings)"/>
                        </a:defRPr>
                      </a:pPr>
                      <a:r>
                        <a:t>Extra Brut</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478226403"/>
                  </a:ext>
                </a:extLst>
              </a:tr>
              <a:tr h="277134">
                <a:tc>
                  <a:txBody>
                    <a:bodyPr/>
                    <a:lstStyle/>
                    <a:p>
                      <a:pPr algn="ctr">
                        <a:defRPr sz="800" b="1">
                          <a:latin typeface="Nexa (Headings)"/>
                        </a:defRPr>
                      </a:pPr>
                      <a:r>
                        <a:t>Crus</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24%</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116474470"/>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1135</a:t>
            </a:fld>
            <a:endParaRPr lang="en-US"/>
          </a:p>
        </p:txBody>
      </p:sp>
    </p:spTree>
    <p:extLst>
      <p:ext uri="{BB962C8B-B14F-4D97-AF65-F5344CB8AC3E}">
        <p14:creationId xmlns:p14="http://schemas.microsoft.com/office/powerpoint/2010/main" val="3994760302"/>
      </p:ext>
    </p:extLst>
  </p:cSld>
  <p:clrMapOvr>
    <a:masterClrMapping/>
  </p:clrMapOvr>
</p:sld>
</file>

<file path=ppt/slides/slide11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8/27/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pPr>
              <a:defRPr sz="1200">
                <a:latin typeface="Nexa Bold (Headings)"/>
              </a:defRPr>
            </a:pPr>
            <a:r>
              <a:t>Segment fair share | Effervescents | Malard Nicolas | NICOLAS PAC | P12M</a:t>
            </a:r>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pPr>
              <a:defRPr sz="1600">
                <a:latin typeface="Nexa Bold (Headings)"/>
              </a:defRPr>
            </a:pPr>
            <a:r>
              <a:rPr lang="en-GB" dirty="0">
                <a:highlight>
                  <a:srgbClr val="FFFF00"/>
                </a:highlight>
              </a:rPr>
              <a:t>Segment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Malard Nicolas </a:t>
                      </a:r>
                    </a:p>
                    <a:p>
                      <a:pPr algn="ctr">
                        <a:defRPr sz="900" b="1">
                          <a:latin typeface="Nexa (Headings)"/>
                        </a:defRPr>
                      </a:pPr>
                      <a: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Malard Nicolas </a:t>
                      </a:r>
                    </a:p>
                    <a:p>
                      <a:pPr algn="ctr">
                        <a:defRPr sz="900" b="1">
                          <a:latin typeface="Nexa (Headings)"/>
                        </a:defRPr>
                      </a:pPr>
                      <a: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Malard Nicolas </a:t>
                      </a:r>
                    </a:p>
                    <a:p>
                      <a:pPr algn="ctr">
                        <a:defRPr sz="900" b="1">
                          <a:latin typeface="Nexa (Headings)"/>
                        </a:defRPr>
                      </a:pPr>
                      <a: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Malard Nicolas </a:t>
                      </a:r>
                    </a:p>
                    <a:p>
                      <a:pPr algn="ctr">
                        <a:defRPr sz="900" b="1">
                          <a:latin typeface="Nexa (Headings)"/>
                        </a:defRPr>
                      </a:pPr>
                      <a: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Malard Nicolas</a:t>
                      </a:r>
                    </a:p>
                    <a:p>
                      <a:pPr algn="ctr">
                        <a:defRPr sz="900" b="1">
                          <a:latin typeface="Nexa (Headings)"/>
                        </a:defRPr>
                      </a:pPr>
                      <a: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277134">
                <a:tc>
                  <a:txBody>
                    <a:bodyPr/>
                    <a:lstStyle/>
                    <a:p>
                      <a:pPr algn="ctr">
                        <a:defRPr sz="800" b="1">
                          <a:latin typeface="Nexa (Headings)"/>
                        </a:defRPr>
                      </a:pPr>
                      <a:r>
                        <a:t>Grand Total</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9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7</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71%</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41%</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4</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277134">
                <a:tc>
                  <a:txBody>
                    <a:bodyPr/>
                    <a:lstStyle/>
                    <a:p>
                      <a:pPr algn="ctr">
                        <a:defRPr sz="800" b="1">
                          <a:latin typeface="Nexa (Headings)"/>
                        </a:defRPr>
                      </a:pPr>
                      <a:r>
                        <a:t>Mousseux Italiens</a:t>
                      </a:r>
                    </a:p>
                  </a:txBody>
                  <a:tcPr marL="3810" marR="3810" marT="3810" marB="0" anchor="ctr">
                    <a:noFill/>
                  </a:tcPr>
                </a:tc>
                <a:tc>
                  <a:txBody>
                    <a:bodyPr/>
                    <a:lstStyle/>
                    <a:p>
                      <a:pPr algn="ctr">
                        <a:defRPr sz="800">
                          <a:latin typeface="Nexa Book"/>
                        </a:defRPr>
                      </a:pPr>
                      <a:r>
                        <a:t>4</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3161381"/>
                  </a:ext>
                </a:extLst>
              </a:tr>
              <a:tr h="277134">
                <a:tc>
                  <a:txBody>
                    <a:bodyPr/>
                    <a:lstStyle/>
                    <a:p>
                      <a:pPr algn="ctr">
                        <a:defRPr sz="800" b="1">
                          <a:latin typeface="Nexa (Headings)"/>
                        </a:defRPr>
                      </a:pPr>
                      <a:r>
                        <a:t>Mousseux Val De Loire</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1752397169"/>
                  </a:ext>
                </a:extLst>
              </a:tr>
              <a:tr h="277134">
                <a:tc>
                  <a:txBody>
                    <a:bodyPr/>
                    <a:lstStyle/>
                    <a:p>
                      <a:pPr algn="ctr">
                        <a:defRPr sz="800" b="1">
                          <a:latin typeface="Nexa (Headings)"/>
                        </a:defRPr>
                      </a:pPr>
                      <a:r>
                        <a:t>Mousseux Bordelais</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3712364869"/>
                  </a:ext>
                </a:extLst>
              </a:tr>
              <a:tr h="277134">
                <a:tc>
                  <a:txBody>
                    <a:bodyPr/>
                    <a:lstStyle/>
                    <a:p>
                      <a:pPr algn="ctr">
                        <a:defRPr sz="800" b="1">
                          <a:latin typeface="Nexa (Headings)"/>
                        </a:defRPr>
                      </a:pPr>
                      <a:r>
                        <a:t>Mousseux Bourgogne</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98998524"/>
                  </a:ext>
                </a:extLst>
              </a:tr>
              <a:tr h="277134">
                <a:tc>
                  <a:txBody>
                    <a:bodyPr/>
                    <a:lstStyle/>
                    <a:p>
                      <a:pPr algn="ctr">
                        <a:defRPr sz="800" b="1">
                          <a:latin typeface="Nexa (Headings)"/>
                        </a:defRPr>
                      </a:pPr>
                      <a:r>
                        <a:t>Mousseux Alsace</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4143210105"/>
                  </a:ext>
                </a:extLst>
              </a:tr>
              <a:tr h="277134">
                <a:tc>
                  <a:txBody>
                    <a:bodyPr/>
                    <a:lstStyle/>
                    <a:p>
                      <a:pPr algn="ctr">
                        <a:defRPr sz="800" b="1">
                          <a:latin typeface="Nexa (Headings)"/>
                        </a:defRPr>
                      </a:pPr>
                      <a:r>
                        <a:t>Rosés</a:t>
                      </a:r>
                    </a:p>
                  </a:txBody>
                  <a:tcPr marL="3810" marR="3810" marT="3810" marB="0" anchor="ctr">
                    <a:noFill/>
                  </a:tcPr>
                </a:tc>
                <a:tc>
                  <a:txBody>
                    <a:bodyPr/>
                    <a:lstStyle/>
                    <a:p>
                      <a:pPr algn="ctr">
                        <a:defRPr sz="800">
                          <a:latin typeface="Nexa Book"/>
                        </a:defRPr>
                      </a:pPr>
                      <a:r>
                        <a:t>11</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17%</a:t>
                      </a:r>
                    </a:p>
                  </a:txBody>
                  <a:tcPr marL="3810" marR="3810" marT="3810" marB="0" anchor="ctr">
                    <a:noFill/>
                  </a:tcPr>
                </a:tc>
                <a:tc>
                  <a:txBody>
                    <a:bodyPr/>
                    <a:lstStyle/>
                    <a:p>
                      <a:pPr algn="ctr">
                        <a:defRPr sz="800">
                          <a:latin typeface="Nexa Book"/>
                        </a:defRPr>
                      </a:pPr>
                      <a:r>
                        <a:t>9%</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3374402097"/>
                  </a:ext>
                </a:extLst>
              </a:tr>
              <a:tr h="277134">
                <a:tc>
                  <a:txBody>
                    <a:bodyPr/>
                    <a:lstStyle/>
                    <a:p>
                      <a:pPr algn="ctr">
                        <a:defRPr sz="800" b="1">
                          <a:latin typeface="Nexa (Headings)"/>
                        </a:defRPr>
                      </a:pPr>
                      <a:r>
                        <a:t>Bruts</a:t>
                      </a:r>
                    </a:p>
                  </a:txBody>
                  <a:tcPr marL="3810" marR="3810" marT="3810" marB="0" anchor="ctr">
                    <a:noFill/>
                  </a:tcPr>
                </a:tc>
                <a:tc>
                  <a:txBody>
                    <a:bodyPr/>
                    <a:lstStyle/>
                    <a:p>
                      <a:pPr algn="ctr">
                        <a:defRPr sz="800">
                          <a:latin typeface="Nexa Book"/>
                        </a:defRPr>
                      </a:pPr>
                      <a:r>
                        <a:t>45</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7%</a:t>
                      </a:r>
                    </a:p>
                  </a:txBody>
                  <a:tcPr marL="3810" marR="3810" marT="3810" marB="0" anchor="ctr">
                    <a:noFill/>
                  </a:tcPr>
                </a:tc>
                <a:tc>
                  <a:txBody>
                    <a:bodyPr/>
                    <a:lstStyle/>
                    <a:p>
                      <a:pPr algn="ctr">
                        <a:defRPr sz="800">
                          <a:latin typeface="Nexa Book"/>
                        </a:defRPr>
                      </a:pPr>
                      <a:r>
                        <a:t>13%</a:t>
                      </a:r>
                    </a:p>
                  </a:txBody>
                  <a:tcPr marL="3810" marR="3810" marT="3810" marB="0" anchor="ctr">
                    <a:noFill/>
                  </a:tcPr>
                </a:tc>
                <a:tc>
                  <a:txBody>
                    <a:bodyPr/>
                    <a:lstStyle/>
                    <a:p>
                      <a:pPr algn="ctr">
                        <a:defRPr sz="800">
                          <a:latin typeface="Nexa Book"/>
                        </a:defRPr>
                      </a:pPr>
                      <a:r>
                        <a:t>6</a:t>
                      </a:r>
                    </a:p>
                  </a:txBody>
                  <a:tcPr marL="3810" marR="3810" marT="3810" marB="0" anchor="ctr">
                    <a:noFill/>
                  </a:tcPr>
                </a:tc>
                <a:tc>
                  <a:txBody>
                    <a:bodyPr/>
                    <a:lstStyle/>
                    <a:p>
                      <a:pPr algn="ctr">
                        <a:defRPr sz="800">
                          <a:latin typeface="Nexa Book"/>
                        </a:defRPr>
                      </a:pPr>
                      <a:r>
                        <a:t>3</a:t>
                      </a:r>
                    </a:p>
                  </a:txBody>
                  <a:tcPr marL="3810" marR="3810" marT="3810" marB="0" anchor="ctr">
                    <a:noFill/>
                  </a:tcPr>
                </a:tc>
                <a:extLst>
                  <a:ext uri="{0D108BD9-81ED-4DB2-BD59-A6C34878D82A}">
                    <a16:rowId xmlns:a16="http://schemas.microsoft.com/office/drawing/2014/main" val="2061534110"/>
                  </a:ext>
                </a:extLst>
              </a:tr>
              <a:tr h="277134">
                <a:tc>
                  <a:txBody>
                    <a:bodyPr/>
                    <a:lstStyle/>
                    <a:p>
                      <a:pPr algn="ctr">
                        <a:defRPr sz="800" b="1">
                          <a:latin typeface="Nexa (Headings)"/>
                        </a:defRPr>
                      </a:pPr>
                      <a:r>
                        <a:t>Blanc De Blancs</a:t>
                      </a:r>
                    </a:p>
                  </a:txBody>
                  <a:tcPr marL="3810" marR="3810" marT="3810" marB="0" anchor="ctr">
                    <a:noFill/>
                  </a:tcPr>
                </a:tc>
                <a:tc>
                  <a:txBody>
                    <a:bodyPr/>
                    <a:lstStyle/>
                    <a:p>
                      <a:pPr algn="ctr">
                        <a:defRPr sz="800">
                          <a:latin typeface="Nexa Book"/>
                        </a:defRPr>
                      </a:pPr>
                      <a:r>
                        <a:t>11</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12%</a:t>
                      </a:r>
                    </a:p>
                  </a:txBody>
                  <a:tcPr marL="3810" marR="3810" marT="3810" marB="0" anchor="ctr">
                    <a:noFill/>
                  </a:tcPr>
                </a:tc>
                <a:tc>
                  <a:txBody>
                    <a:bodyPr/>
                    <a:lstStyle/>
                    <a:p>
                      <a:pPr algn="ctr">
                        <a:defRPr sz="800">
                          <a:latin typeface="Nexa Book"/>
                        </a:defRPr>
                      </a:pPr>
                      <a:r>
                        <a:t>6%</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04386257"/>
                  </a:ext>
                </a:extLst>
              </a:tr>
              <a:tr h="277134">
                <a:tc>
                  <a:txBody>
                    <a:bodyPr/>
                    <a:lstStyle/>
                    <a:p>
                      <a:pPr algn="ctr">
                        <a:defRPr sz="800" b="1">
                          <a:latin typeface="Nexa (Headings)"/>
                        </a:defRPr>
                      </a:pPr>
                      <a:r>
                        <a:t>Millesimes</a:t>
                      </a:r>
                    </a:p>
                  </a:txBody>
                  <a:tcPr marL="3810" marR="3810" marT="3810" marB="0" anchor="ctr">
                    <a:noFill/>
                  </a:tcPr>
                </a:tc>
                <a:tc>
                  <a:txBody>
                    <a:bodyPr/>
                    <a:lstStyle/>
                    <a:p>
                      <a:pPr algn="ctr">
                        <a:defRPr sz="800">
                          <a:latin typeface="Nexa Book"/>
                        </a:defRPr>
                      </a:pPr>
                      <a:r>
                        <a:t>7</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071136303"/>
                  </a:ext>
                </a:extLst>
              </a:tr>
              <a:tr h="277134">
                <a:tc>
                  <a:txBody>
                    <a:bodyPr/>
                    <a:lstStyle/>
                    <a:p>
                      <a:pPr algn="ctr">
                        <a:defRPr sz="800" b="1">
                          <a:latin typeface="Nexa (Headings)"/>
                        </a:defRPr>
                      </a:pPr>
                      <a:r>
                        <a:t>Extra Brut</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478226403"/>
                  </a:ext>
                </a:extLst>
              </a:tr>
              <a:tr h="277134">
                <a:tc>
                  <a:txBody>
                    <a:bodyPr/>
                    <a:lstStyle/>
                    <a:p>
                      <a:pPr algn="ctr">
                        <a:defRPr sz="800" b="1">
                          <a:latin typeface="Nexa (Headings)"/>
                        </a:defRPr>
                      </a:pPr>
                      <a:r>
                        <a:t>Crus</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17%</a:t>
                      </a:r>
                    </a:p>
                  </a:txBody>
                  <a:tcPr marL="3810" marR="3810" marT="3810" marB="0" anchor="ctr">
                    <a:noFill/>
                  </a:tcPr>
                </a:tc>
                <a:tc>
                  <a:txBody>
                    <a:bodyPr/>
                    <a:lstStyle/>
                    <a:p>
                      <a:pPr algn="ctr">
                        <a:defRPr sz="800">
                          <a:latin typeface="Nexa Book"/>
                        </a:defRPr>
                      </a:pPr>
                      <a:r>
                        <a:t>4%</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116474470"/>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1136</a:t>
            </a:fld>
            <a:endParaRPr lang="en-US"/>
          </a:p>
        </p:txBody>
      </p:sp>
    </p:spTree>
    <p:extLst>
      <p:ext uri="{BB962C8B-B14F-4D97-AF65-F5344CB8AC3E}">
        <p14:creationId xmlns:p14="http://schemas.microsoft.com/office/powerpoint/2010/main" val="3965510826"/>
      </p:ext>
    </p:extLst>
  </p:cSld>
  <p:clrMapOvr>
    <a:masterClrMapping/>
  </p:clrMapOvr>
</p:sld>
</file>

<file path=ppt/slides/slide11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8/27/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pPr>
              <a:defRPr sz="1200">
                <a:latin typeface="Nexa Bold (Headings)"/>
              </a:defRPr>
            </a:pPr>
            <a:r>
              <a:t>Segment fair share | Effervescents | Malard Nicolas | NICOLAS QCT | P12M</a:t>
            </a:r>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pPr>
              <a:defRPr sz="1600">
                <a:latin typeface="Nexa Bold (Headings)"/>
              </a:defRPr>
            </a:pPr>
            <a:r>
              <a:rPr lang="en-GB" dirty="0">
                <a:highlight>
                  <a:srgbClr val="FFFF00"/>
                </a:highlight>
              </a:rPr>
              <a:t>Segment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Malard Nicolas </a:t>
                      </a:r>
                    </a:p>
                    <a:p>
                      <a:pPr algn="ctr">
                        <a:defRPr sz="900" b="1">
                          <a:latin typeface="Nexa (Headings)"/>
                        </a:defRPr>
                      </a:pPr>
                      <a: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Malard Nicolas </a:t>
                      </a:r>
                    </a:p>
                    <a:p>
                      <a:pPr algn="ctr">
                        <a:defRPr sz="900" b="1">
                          <a:latin typeface="Nexa (Headings)"/>
                        </a:defRPr>
                      </a:pPr>
                      <a: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Malard Nicolas </a:t>
                      </a:r>
                    </a:p>
                    <a:p>
                      <a:pPr algn="ctr">
                        <a:defRPr sz="900" b="1">
                          <a:latin typeface="Nexa (Headings)"/>
                        </a:defRPr>
                      </a:pPr>
                      <a: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Malard Nicolas </a:t>
                      </a:r>
                    </a:p>
                    <a:p>
                      <a:pPr algn="ctr">
                        <a:defRPr sz="900" b="1">
                          <a:latin typeface="Nexa (Headings)"/>
                        </a:defRPr>
                      </a:pPr>
                      <a: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Malard Nicolas</a:t>
                      </a:r>
                    </a:p>
                    <a:p>
                      <a:pPr algn="ctr">
                        <a:defRPr sz="900" b="1">
                          <a:latin typeface="Nexa (Headings)"/>
                        </a:defRPr>
                      </a:pPr>
                      <a: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277134">
                <a:tc>
                  <a:txBody>
                    <a:bodyPr/>
                    <a:lstStyle/>
                    <a:p>
                      <a:pPr algn="ctr">
                        <a:defRPr sz="800" b="1">
                          <a:latin typeface="Nexa (Headings)"/>
                        </a:defRPr>
                      </a:pPr>
                      <a:r>
                        <a:t>Grand Total</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06</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7</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68%</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31%</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3</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277134">
                <a:tc>
                  <a:txBody>
                    <a:bodyPr/>
                    <a:lstStyle/>
                    <a:p>
                      <a:pPr algn="ctr">
                        <a:defRPr sz="800" b="1">
                          <a:latin typeface="Nexa (Headings)"/>
                        </a:defRPr>
                      </a:pPr>
                      <a:r>
                        <a:t>Mousseux Italiens</a:t>
                      </a:r>
                    </a:p>
                  </a:txBody>
                  <a:tcPr marL="3810" marR="3810" marT="3810" marB="0" anchor="ctr">
                    <a:noFill/>
                  </a:tcPr>
                </a:tc>
                <a:tc>
                  <a:txBody>
                    <a:bodyPr/>
                    <a:lstStyle/>
                    <a:p>
                      <a:pPr algn="ctr">
                        <a:defRPr sz="800">
                          <a:latin typeface="Nexa Book"/>
                        </a:defRPr>
                      </a:pPr>
                      <a:r>
                        <a:t>4</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3161381"/>
                  </a:ext>
                </a:extLst>
              </a:tr>
              <a:tr h="277134">
                <a:tc>
                  <a:txBody>
                    <a:bodyPr/>
                    <a:lstStyle/>
                    <a:p>
                      <a:pPr algn="ctr">
                        <a:defRPr sz="800" b="1">
                          <a:latin typeface="Nexa (Headings)"/>
                        </a:defRPr>
                      </a:pPr>
                      <a:r>
                        <a:t>Mousseux Val De Loire</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1752397169"/>
                  </a:ext>
                </a:extLst>
              </a:tr>
              <a:tr h="277134">
                <a:tc>
                  <a:txBody>
                    <a:bodyPr/>
                    <a:lstStyle/>
                    <a:p>
                      <a:pPr algn="ctr">
                        <a:defRPr sz="800" b="1">
                          <a:latin typeface="Nexa (Headings)"/>
                        </a:defRPr>
                      </a:pPr>
                      <a:r>
                        <a:t>Mousseux Bordelais</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3712364869"/>
                  </a:ext>
                </a:extLst>
              </a:tr>
              <a:tr h="277134">
                <a:tc>
                  <a:txBody>
                    <a:bodyPr/>
                    <a:lstStyle/>
                    <a:p>
                      <a:pPr algn="ctr">
                        <a:defRPr sz="800" b="1">
                          <a:latin typeface="Nexa (Headings)"/>
                        </a:defRPr>
                      </a:pPr>
                      <a:r>
                        <a:t>Mousseux Bourgogne</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98998524"/>
                  </a:ext>
                </a:extLst>
              </a:tr>
              <a:tr h="277134">
                <a:tc>
                  <a:txBody>
                    <a:bodyPr/>
                    <a:lstStyle/>
                    <a:p>
                      <a:pPr algn="ctr">
                        <a:defRPr sz="800" b="1">
                          <a:latin typeface="Nexa (Headings)"/>
                        </a:defRPr>
                      </a:pPr>
                      <a:r>
                        <a:t>Mousseux Alsace</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4143210105"/>
                  </a:ext>
                </a:extLst>
              </a:tr>
              <a:tr h="277134">
                <a:tc>
                  <a:txBody>
                    <a:bodyPr/>
                    <a:lstStyle/>
                    <a:p>
                      <a:pPr algn="ctr">
                        <a:defRPr sz="800" b="1">
                          <a:latin typeface="Nexa (Headings)"/>
                        </a:defRPr>
                      </a:pPr>
                      <a:r>
                        <a:t>Rosés</a:t>
                      </a:r>
                    </a:p>
                  </a:txBody>
                  <a:tcPr marL="3810" marR="3810" marT="3810" marB="0" anchor="ctr">
                    <a:noFill/>
                  </a:tcPr>
                </a:tc>
                <a:tc>
                  <a:txBody>
                    <a:bodyPr/>
                    <a:lstStyle/>
                    <a:p>
                      <a:pPr algn="ctr">
                        <a:defRPr sz="800">
                          <a:latin typeface="Nexa Book"/>
                        </a:defRPr>
                      </a:pPr>
                      <a:r>
                        <a:t>11</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14%</a:t>
                      </a:r>
                    </a:p>
                  </a:txBody>
                  <a:tcPr marL="3810" marR="3810" marT="3810" marB="0" anchor="ctr">
                    <a:noFill/>
                  </a:tcPr>
                </a:tc>
                <a:tc>
                  <a:txBody>
                    <a:bodyPr/>
                    <a:lstStyle/>
                    <a:p>
                      <a:pPr algn="ctr">
                        <a:defRPr sz="800">
                          <a:latin typeface="Nexa Book"/>
                        </a:defRPr>
                      </a:pPr>
                      <a:r>
                        <a:t>9%</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3374402097"/>
                  </a:ext>
                </a:extLst>
              </a:tr>
              <a:tr h="277134">
                <a:tc>
                  <a:txBody>
                    <a:bodyPr/>
                    <a:lstStyle/>
                    <a:p>
                      <a:pPr algn="ctr">
                        <a:defRPr sz="800" b="1">
                          <a:latin typeface="Nexa (Headings)"/>
                        </a:defRPr>
                      </a:pPr>
                      <a:r>
                        <a:t>Bruts</a:t>
                      </a:r>
                    </a:p>
                  </a:txBody>
                  <a:tcPr marL="3810" marR="3810" marT="3810" marB="0" anchor="ctr">
                    <a:noFill/>
                  </a:tcPr>
                </a:tc>
                <a:tc>
                  <a:txBody>
                    <a:bodyPr/>
                    <a:lstStyle/>
                    <a:p>
                      <a:pPr algn="ctr">
                        <a:defRPr sz="800">
                          <a:latin typeface="Nexa Book"/>
                        </a:defRPr>
                      </a:pPr>
                      <a:r>
                        <a:t>46</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7%</a:t>
                      </a:r>
                    </a:p>
                  </a:txBody>
                  <a:tcPr marL="3810" marR="3810" marT="3810" marB="0" anchor="ctr">
                    <a:noFill/>
                  </a:tcPr>
                </a:tc>
                <a:tc>
                  <a:txBody>
                    <a:bodyPr/>
                    <a:lstStyle/>
                    <a:p>
                      <a:pPr algn="ctr">
                        <a:defRPr sz="800">
                          <a:latin typeface="Nexa Book"/>
                        </a:defRPr>
                      </a:pPr>
                      <a:r>
                        <a:t>10%</a:t>
                      </a:r>
                    </a:p>
                  </a:txBody>
                  <a:tcPr marL="3810" marR="3810" marT="3810" marB="0" anchor="ctr">
                    <a:noFill/>
                  </a:tcPr>
                </a:tc>
                <a:tc>
                  <a:txBody>
                    <a:bodyPr/>
                    <a:lstStyle/>
                    <a:p>
                      <a:pPr algn="ctr">
                        <a:defRPr sz="800">
                          <a:latin typeface="Nexa Book"/>
                        </a:defRPr>
                      </a:pPr>
                      <a:r>
                        <a:t>5</a:t>
                      </a:r>
                    </a:p>
                  </a:txBody>
                  <a:tcPr marL="3810" marR="3810" marT="3810" marB="0" anchor="ctr">
                    <a:noFill/>
                  </a:tcPr>
                </a:tc>
                <a:tc>
                  <a:txBody>
                    <a:bodyPr/>
                    <a:lstStyle/>
                    <a:p>
                      <a:pPr algn="ctr">
                        <a:defRPr sz="800">
                          <a:latin typeface="Nexa Book"/>
                        </a:defRPr>
                      </a:pPr>
                      <a:r>
                        <a:t>2</a:t>
                      </a:r>
                    </a:p>
                  </a:txBody>
                  <a:tcPr marL="3810" marR="3810" marT="3810" marB="0" anchor="ctr">
                    <a:noFill/>
                  </a:tcPr>
                </a:tc>
                <a:extLst>
                  <a:ext uri="{0D108BD9-81ED-4DB2-BD59-A6C34878D82A}">
                    <a16:rowId xmlns:a16="http://schemas.microsoft.com/office/drawing/2014/main" val="2061534110"/>
                  </a:ext>
                </a:extLst>
              </a:tr>
              <a:tr h="277134">
                <a:tc>
                  <a:txBody>
                    <a:bodyPr/>
                    <a:lstStyle/>
                    <a:p>
                      <a:pPr algn="ctr">
                        <a:defRPr sz="800" b="1">
                          <a:latin typeface="Nexa (Headings)"/>
                        </a:defRPr>
                      </a:pPr>
                      <a:r>
                        <a:t>Blanc De Blancs</a:t>
                      </a:r>
                    </a:p>
                  </a:txBody>
                  <a:tcPr marL="3810" marR="3810" marT="3810" marB="0" anchor="ctr">
                    <a:noFill/>
                  </a:tcPr>
                </a:tc>
                <a:tc>
                  <a:txBody>
                    <a:bodyPr/>
                    <a:lstStyle/>
                    <a:p>
                      <a:pPr algn="ctr">
                        <a:defRPr sz="800">
                          <a:latin typeface="Nexa Book"/>
                        </a:defRPr>
                      </a:pPr>
                      <a:r>
                        <a:t>12</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9%</a:t>
                      </a:r>
                    </a:p>
                  </a:txBody>
                  <a:tcPr marL="3810" marR="3810" marT="3810" marB="0" anchor="ctr">
                    <a:noFill/>
                  </a:tcPr>
                </a:tc>
                <a:tc>
                  <a:txBody>
                    <a:bodyPr/>
                    <a:lstStyle/>
                    <a:p>
                      <a:pPr algn="ctr">
                        <a:defRPr sz="800">
                          <a:latin typeface="Nexa Book"/>
                        </a:defRPr>
                      </a:pPr>
                      <a:r>
                        <a:t>5%</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04386257"/>
                  </a:ext>
                </a:extLst>
              </a:tr>
              <a:tr h="277134">
                <a:tc>
                  <a:txBody>
                    <a:bodyPr/>
                    <a:lstStyle/>
                    <a:p>
                      <a:pPr algn="ctr">
                        <a:defRPr sz="800" b="1">
                          <a:latin typeface="Nexa (Headings)"/>
                        </a:defRPr>
                      </a:pPr>
                      <a:r>
                        <a:t>Millesimes</a:t>
                      </a:r>
                    </a:p>
                  </a:txBody>
                  <a:tcPr marL="3810" marR="3810" marT="3810" marB="0" anchor="ctr">
                    <a:noFill/>
                  </a:tcPr>
                </a:tc>
                <a:tc>
                  <a:txBody>
                    <a:bodyPr/>
                    <a:lstStyle/>
                    <a:p>
                      <a:pPr algn="ctr">
                        <a:defRPr sz="800">
                          <a:latin typeface="Nexa Book"/>
                        </a:defRPr>
                      </a:pPr>
                      <a:r>
                        <a:t>9</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071136303"/>
                  </a:ext>
                </a:extLst>
              </a:tr>
              <a:tr h="277134">
                <a:tc>
                  <a:txBody>
                    <a:bodyPr/>
                    <a:lstStyle/>
                    <a:p>
                      <a:pPr algn="ctr">
                        <a:defRPr sz="800" b="1">
                          <a:latin typeface="Nexa (Headings)"/>
                        </a:defRPr>
                      </a:pPr>
                      <a:r>
                        <a:t>Extra Brut</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478226403"/>
                  </a:ext>
                </a:extLst>
              </a:tr>
              <a:tr h="277134">
                <a:tc>
                  <a:txBody>
                    <a:bodyPr/>
                    <a:lstStyle/>
                    <a:p>
                      <a:pPr algn="ctr">
                        <a:defRPr sz="800" b="1">
                          <a:latin typeface="Nexa (Headings)"/>
                        </a:defRPr>
                      </a:pPr>
                      <a:r>
                        <a:t>Crus</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18%</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116474470"/>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1137</a:t>
            </a:fld>
            <a:endParaRPr lang="en-US"/>
          </a:p>
        </p:txBody>
      </p:sp>
    </p:spTree>
    <p:extLst>
      <p:ext uri="{BB962C8B-B14F-4D97-AF65-F5344CB8AC3E}">
        <p14:creationId xmlns:p14="http://schemas.microsoft.com/office/powerpoint/2010/main" val="1854695348"/>
      </p:ext>
    </p:extLst>
  </p:cSld>
  <p:clrMapOvr>
    <a:masterClrMapping/>
  </p:clrMapOvr>
</p:sld>
</file>

<file path=ppt/slides/slide11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8/27/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pPr>
              <a:defRPr sz="1200">
                <a:latin typeface="Nexa Bold (Headings)"/>
              </a:defRPr>
            </a:pPr>
            <a:r>
              <a:t>Segment fair share | Effervescents | Malard Nicolas | NICOLAS IDF | P12M</a:t>
            </a:r>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pPr>
              <a:defRPr sz="1600">
                <a:latin typeface="Nexa Bold (Headings)"/>
              </a:defRPr>
            </a:pPr>
            <a:r>
              <a:rPr lang="en-GB" dirty="0">
                <a:highlight>
                  <a:srgbClr val="FFFF00"/>
                </a:highlight>
              </a:rPr>
              <a:t>Segment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Malard Nicolas </a:t>
                      </a:r>
                    </a:p>
                    <a:p>
                      <a:pPr algn="ctr">
                        <a:defRPr sz="900" b="1">
                          <a:latin typeface="Nexa (Headings)"/>
                        </a:defRPr>
                      </a:pPr>
                      <a: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Malard Nicolas </a:t>
                      </a:r>
                    </a:p>
                    <a:p>
                      <a:pPr algn="ctr">
                        <a:defRPr sz="900" b="1">
                          <a:latin typeface="Nexa (Headings)"/>
                        </a:defRPr>
                      </a:pPr>
                      <a: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Malard Nicolas </a:t>
                      </a:r>
                    </a:p>
                    <a:p>
                      <a:pPr algn="ctr">
                        <a:defRPr sz="900" b="1">
                          <a:latin typeface="Nexa (Headings)"/>
                        </a:defRPr>
                      </a:pPr>
                      <a: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Malard Nicolas </a:t>
                      </a:r>
                    </a:p>
                    <a:p>
                      <a:pPr algn="ctr">
                        <a:defRPr sz="900" b="1">
                          <a:latin typeface="Nexa (Headings)"/>
                        </a:defRPr>
                      </a:pPr>
                      <a: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Malard Nicolas</a:t>
                      </a:r>
                    </a:p>
                    <a:p>
                      <a:pPr algn="ctr">
                        <a:defRPr sz="900" b="1">
                          <a:latin typeface="Nexa (Headings)"/>
                        </a:defRPr>
                      </a:pPr>
                      <a: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277134">
                <a:tc>
                  <a:txBody>
                    <a:bodyPr/>
                    <a:lstStyle/>
                    <a:p>
                      <a:pPr algn="ctr">
                        <a:defRPr sz="800" b="1">
                          <a:latin typeface="Nexa (Headings)"/>
                        </a:defRPr>
                      </a:pPr>
                      <a:r>
                        <a:t>Grand Total</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80</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6</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6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38%</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3</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277134">
                <a:tc>
                  <a:txBody>
                    <a:bodyPr/>
                    <a:lstStyle/>
                    <a:p>
                      <a:pPr algn="ctr">
                        <a:defRPr sz="800" b="1">
                          <a:latin typeface="Nexa (Headings)"/>
                        </a:defRPr>
                      </a:pPr>
                      <a:r>
                        <a:t>Mousseux Italiens</a:t>
                      </a:r>
                    </a:p>
                  </a:txBody>
                  <a:tcPr marL="3810" marR="3810" marT="3810" marB="0" anchor="ctr">
                    <a:noFill/>
                  </a:tcPr>
                </a:tc>
                <a:tc>
                  <a:txBody>
                    <a:bodyPr/>
                    <a:lstStyle/>
                    <a:p>
                      <a:pPr algn="ctr">
                        <a:defRPr sz="800">
                          <a:latin typeface="Nexa Book"/>
                        </a:defRPr>
                      </a:pPr>
                      <a:r>
                        <a:t>4</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3161381"/>
                  </a:ext>
                </a:extLst>
              </a:tr>
              <a:tr h="277134">
                <a:tc>
                  <a:txBody>
                    <a:bodyPr/>
                    <a:lstStyle/>
                    <a:p>
                      <a:pPr algn="ctr">
                        <a:defRPr sz="800" b="1">
                          <a:latin typeface="Nexa (Headings)"/>
                        </a:defRPr>
                      </a:pPr>
                      <a:r>
                        <a:t>Mousseux Val De Loire</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1752397169"/>
                  </a:ext>
                </a:extLst>
              </a:tr>
              <a:tr h="277134">
                <a:tc>
                  <a:txBody>
                    <a:bodyPr/>
                    <a:lstStyle/>
                    <a:p>
                      <a:pPr algn="ctr">
                        <a:defRPr sz="800" b="1">
                          <a:latin typeface="Nexa (Headings)"/>
                        </a:defRPr>
                      </a:pPr>
                      <a:r>
                        <a:t>Mousseux Bordelais</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3712364869"/>
                  </a:ext>
                </a:extLst>
              </a:tr>
              <a:tr h="277134">
                <a:tc>
                  <a:txBody>
                    <a:bodyPr/>
                    <a:lstStyle/>
                    <a:p>
                      <a:pPr algn="ctr">
                        <a:defRPr sz="800" b="1">
                          <a:latin typeface="Nexa (Headings)"/>
                        </a:defRPr>
                      </a:pPr>
                      <a:r>
                        <a:t>Mousseux Bourgogne</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98998524"/>
                  </a:ext>
                </a:extLst>
              </a:tr>
              <a:tr h="277134">
                <a:tc>
                  <a:txBody>
                    <a:bodyPr/>
                    <a:lstStyle/>
                    <a:p>
                      <a:pPr algn="ctr">
                        <a:defRPr sz="800" b="1">
                          <a:latin typeface="Nexa (Headings)"/>
                        </a:defRPr>
                      </a:pPr>
                      <a:r>
                        <a:t>Mousseux Alsace</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4143210105"/>
                  </a:ext>
                </a:extLst>
              </a:tr>
              <a:tr h="277134">
                <a:tc>
                  <a:txBody>
                    <a:bodyPr/>
                    <a:lstStyle/>
                    <a:p>
                      <a:pPr algn="ctr">
                        <a:defRPr sz="800" b="1">
                          <a:latin typeface="Nexa (Headings)"/>
                        </a:defRPr>
                      </a:pPr>
                      <a:r>
                        <a:t>Rosés</a:t>
                      </a:r>
                    </a:p>
                  </a:txBody>
                  <a:tcPr marL="3810" marR="3810" marT="3810" marB="0" anchor="ctr">
                    <a:noFill/>
                  </a:tcPr>
                </a:tc>
                <a:tc>
                  <a:txBody>
                    <a:bodyPr/>
                    <a:lstStyle/>
                    <a:p>
                      <a:pPr algn="ctr">
                        <a:defRPr sz="800">
                          <a:latin typeface="Nexa Book"/>
                        </a:defRPr>
                      </a:pPr>
                      <a:r>
                        <a:t>9</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15%</a:t>
                      </a:r>
                    </a:p>
                  </a:txBody>
                  <a:tcPr marL="3810" marR="3810" marT="3810" marB="0" anchor="ctr">
                    <a:noFill/>
                  </a:tcPr>
                </a:tc>
                <a:tc>
                  <a:txBody>
                    <a:bodyPr/>
                    <a:lstStyle/>
                    <a:p>
                      <a:pPr algn="ctr">
                        <a:defRPr sz="800">
                          <a:latin typeface="Nexa Book"/>
                        </a:defRPr>
                      </a:pPr>
                      <a:r>
                        <a:t>9%</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3374402097"/>
                  </a:ext>
                </a:extLst>
              </a:tr>
              <a:tr h="277134">
                <a:tc>
                  <a:txBody>
                    <a:bodyPr/>
                    <a:lstStyle/>
                    <a:p>
                      <a:pPr algn="ctr">
                        <a:defRPr sz="800" b="1">
                          <a:latin typeface="Nexa (Headings)"/>
                        </a:defRPr>
                      </a:pPr>
                      <a:r>
                        <a:t>Bruts</a:t>
                      </a:r>
                    </a:p>
                  </a:txBody>
                  <a:tcPr marL="3810" marR="3810" marT="3810" marB="0" anchor="ctr">
                    <a:noFill/>
                  </a:tcPr>
                </a:tc>
                <a:tc>
                  <a:txBody>
                    <a:bodyPr/>
                    <a:lstStyle/>
                    <a:p>
                      <a:pPr algn="ctr">
                        <a:defRPr sz="800">
                          <a:latin typeface="Nexa Book"/>
                        </a:defRPr>
                      </a:pPr>
                      <a:r>
                        <a:t>36</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7%</a:t>
                      </a:r>
                    </a:p>
                  </a:txBody>
                  <a:tcPr marL="3810" marR="3810" marT="3810" marB="0" anchor="ctr">
                    <a:noFill/>
                  </a:tcPr>
                </a:tc>
                <a:tc>
                  <a:txBody>
                    <a:bodyPr/>
                    <a:lstStyle/>
                    <a:p>
                      <a:pPr algn="ctr">
                        <a:defRPr sz="800">
                          <a:latin typeface="Nexa Book"/>
                        </a:defRPr>
                      </a:pPr>
                      <a:r>
                        <a:t>11%</a:t>
                      </a:r>
                    </a:p>
                  </a:txBody>
                  <a:tcPr marL="3810" marR="3810" marT="3810" marB="0" anchor="ctr">
                    <a:noFill/>
                  </a:tcPr>
                </a:tc>
                <a:tc>
                  <a:txBody>
                    <a:bodyPr/>
                    <a:lstStyle/>
                    <a:p>
                      <a:pPr algn="ctr">
                        <a:defRPr sz="800">
                          <a:latin typeface="Nexa Book"/>
                        </a:defRPr>
                      </a:pPr>
                      <a:r>
                        <a:t>4</a:t>
                      </a:r>
                    </a:p>
                  </a:txBody>
                  <a:tcPr marL="3810" marR="3810" marT="3810" marB="0" anchor="ctr">
                    <a:noFill/>
                  </a:tcPr>
                </a:tc>
                <a:tc>
                  <a:txBody>
                    <a:bodyPr/>
                    <a:lstStyle/>
                    <a:p>
                      <a:pPr algn="ctr">
                        <a:defRPr sz="800">
                          <a:latin typeface="Nexa Book"/>
                        </a:defRPr>
                      </a:pPr>
                      <a:r>
                        <a:t>1</a:t>
                      </a:r>
                    </a:p>
                  </a:txBody>
                  <a:tcPr marL="3810" marR="3810" marT="3810" marB="0" anchor="ctr">
                    <a:noFill/>
                  </a:tcPr>
                </a:tc>
                <a:extLst>
                  <a:ext uri="{0D108BD9-81ED-4DB2-BD59-A6C34878D82A}">
                    <a16:rowId xmlns:a16="http://schemas.microsoft.com/office/drawing/2014/main" val="2061534110"/>
                  </a:ext>
                </a:extLst>
              </a:tr>
              <a:tr h="277134">
                <a:tc>
                  <a:txBody>
                    <a:bodyPr/>
                    <a:lstStyle/>
                    <a:p>
                      <a:pPr algn="ctr">
                        <a:defRPr sz="800" b="1">
                          <a:latin typeface="Nexa (Headings)"/>
                        </a:defRPr>
                      </a:pPr>
                      <a:r>
                        <a:t>Blanc De Blancs</a:t>
                      </a:r>
                    </a:p>
                  </a:txBody>
                  <a:tcPr marL="3810" marR="3810" marT="3810" marB="0" anchor="ctr">
                    <a:noFill/>
                  </a:tcPr>
                </a:tc>
                <a:tc>
                  <a:txBody>
                    <a:bodyPr/>
                    <a:lstStyle/>
                    <a:p>
                      <a:pPr algn="ctr">
                        <a:defRPr sz="800">
                          <a:latin typeface="Nexa Book"/>
                        </a:defRPr>
                      </a:pPr>
                      <a:r>
                        <a:t>8</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12%</a:t>
                      </a:r>
                    </a:p>
                  </a:txBody>
                  <a:tcPr marL="3810" marR="3810" marT="3810" marB="0" anchor="ctr">
                    <a:noFill/>
                  </a:tcPr>
                </a:tc>
                <a:tc>
                  <a:txBody>
                    <a:bodyPr/>
                    <a:lstStyle/>
                    <a:p>
                      <a:pPr algn="ctr">
                        <a:defRPr sz="800">
                          <a:latin typeface="Nexa Book"/>
                        </a:defRPr>
                      </a:pPr>
                      <a:r>
                        <a:t>6%</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04386257"/>
                  </a:ext>
                </a:extLst>
              </a:tr>
              <a:tr h="277134">
                <a:tc>
                  <a:txBody>
                    <a:bodyPr/>
                    <a:lstStyle/>
                    <a:p>
                      <a:pPr algn="ctr">
                        <a:defRPr sz="800" b="1">
                          <a:latin typeface="Nexa (Headings)"/>
                        </a:defRPr>
                      </a:pPr>
                      <a:r>
                        <a:t>Millesimes</a:t>
                      </a:r>
                    </a:p>
                  </a:txBody>
                  <a:tcPr marL="3810" marR="3810" marT="3810" marB="0" anchor="ctr">
                    <a:noFill/>
                  </a:tcPr>
                </a:tc>
                <a:tc>
                  <a:txBody>
                    <a:bodyPr/>
                    <a:lstStyle/>
                    <a:p>
                      <a:pPr algn="ctr">
                        <a:defRPr sz="800">
                          <a:latin typeface="Nexa Book"/>
                        </a:defRPr>
                      </a:pPr>
                      <a:r>
                        <a:t>4</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071136303"/>
                  </a:ext>
                </a:extLst>
              </a:tr>
              <a:tr h="277134">
                <a:tc>
                  <a:txBody>
                    <a:bodyPr/>
                    <a:lstStyle/>
                    <a:p>
                      <a:pPr algn="ctr">
                        <a:defRPr sz="800" b="1">
                          <a:latin typeface="Nexa (Headings)"/>
                        </a:defRPr>
                      </a:pPr>
                      <a:r>
                        <a:t>Extra Brut</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478226403"/>
                  </a:ext>
                </a:extLst>
              </a:tr>
              <a:tr h="277134">
                <a:tc>
                  <a:txBody>
                    <a:bodyPr/>
                    <a:lstStyle/>
                    <a:p>
                      <a:pPr algn="ctr">
                        <a:defRPr sz="800" b="1">
                          <a:latin typeface="Nexa (Headings)"/>
                        </a:defRPr>
                      </a:pPr>
                      <a:r>
                        <a:t>Crus</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19%</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116474470"/>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1138</a:t>
            </a:fld>
            <a:endParaRPr lang="en-US"/>
          </a:p>
        </p:txBody>
      </p:sp>
    </p:spTree>
    <p:extLst>
      <p:ext uri="{BB962C8B-B14F-4D97-AF65-F5344CB8AC3E}">
        <p14:creationId xmlns:p14="http://schemas.microsoft.com/office/powerpoint/2010/main" val="2874815636"/>
      </p:ext>
    </p:extLst>
  </p:cSld>
  <p:clrMapOvr>
    <a:masterClrMapping/>
  </p:clrMapOvr>
</p:sld>
</file>

<file path=ppt/slides/slide11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8/27/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pPr>
              <a:defRPr sz="1200">
                <a:latin typeface="Nexa Bold (Headings)"/>
              </a:defRPr>
            </a:pPr>
            <a:r>
              <a:t>Segment fair share | Effervescents | Malard Nicolas | NICOLAS QCN | P12M</a:t>
            </a:r>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pPr>
              <a:defRPr sz="1600">
                <a:latin typeface="Nexa Bold (Headings)"/>
              </a:defRPr>
            </a:pPr>
            <a:r>
              <a:rPr lang="en-GB" dirty="0">
                <a:highlight>
                  <a:srgbClr val="FFFF00"/>
                </a:highlight>
              </a:rPr>
              <a:t>Segment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Malard Nicolas </a:t>
                      </a:r>
                    </a:p>
                    <a:p>
                      <a:pPr algn="ctr">
                        <a:defRPr sz="900" b="1">
                          <a:latin typeface="Nexa (Headings)"/>
                        </a:defRPr>
                      </a:pPr>
                      <a: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Malard Nicolas </a:t>
                      </a:r>
                    </a:p>
                    <a:p>
                      <a:pPr algn="ctr">
                        <a:defRPr sz="900" b="1">
                          <a:latin typeface="Nexa (Headings)"/>
                        </a:defRPr>
                      </a:pPr>
                      <a: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Malard Nicolas </a:t>
                      </a:r>
                    </a:p>
                    <a:p>
                      <a:pPr algn="ctr">
                        <a:defRPr sz="900" b="1">
                          <a:latin typeface="Nexa (Headings)"/>
                        </a:defRPr>
                      </a:pPr>
                      <a: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Malard Nicolas </a:t>
                      </a:r>
                    </a:p>
                    <a:p>
                      <a:pPr algn="ctr">
                        <a:defRPr sz="900" b="1">
                          <a:latin typeface="Nexa (Headings)"/>
                        </a:defRPr>
                      </a:pPr>
                      <a: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Malard Nicolas</a:t>
                      </a:r>
                    </a:p>
                    <a:p>
                      <a:pPr algn="ctr">
                        <a:defRPr sz="900" b="1">
                          <a:latin typeface="Nexa (Headings)"/>
                        </a:defRPr>
                      </a:pPr>
                      <a: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277134">
                <a:tc>
                  <a:txBody>
                    <a:bodyPr/>
                    <a:lstStyle/>
                    <a:p>
                      <a:pPr algn="ctr">
                        <a:defRPr sz="800" b="1">
                          <a:latin typeface="Nexa (Headings)"/>
                        </a:defRPr>
                      </a:pPr>
                      <a:r>
                        <a:t>Grand Total</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81</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6</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72%</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42%</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3</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277134">
                <a:tc>
                  <a:txBody>
                    <a:bodyPr/>
                    <a:lstStyle/>
                    <a:p>
                      <a:pPr algn="ctr">
                        <a:defRPr sz="800" b="1">
                          <a:latin typeface="Nexa (Headings)"/>
                        </a:defRPr>
                      </a:pPr>
                      <a:r>
                        <a:t>Mousseux Italiens</a:t>
                      </a:r>
                    </a:p>
                  </a:txBody>
                  <a:tcPr marL="3810" marR="3810" marT="3810" marB="0" anchor="ctr">
                    <a:noFill/>
                  </a:tcPr>
                </a:tc>
                <a:tc>
                  <a:txBody>
                    <a:bodyPr/>
                    <a:lstStyle/>
                    <a:p>
                      <a:pPr algn="ctr">
                        <a:defRPr sz="800">
                          <a:latin typeface="Nexa Book"/>
                        </a:defRPr>
                      </a:pPr>
                      <a:r>
                        <a:t>4</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3161381"/>
                  </a:ext>
                </a:extLst>
              </a:tr>
              <a:tr h="277134">
                <a:tc>
                  <a:txBody>
                    <a:bodyPr/>
                    <a:lstStyle/>
                    <a:p>
                      <a:pPr algn="ctr">
                        <a:defRPr sz="800" b="1">
                          <a:latin typeface="Nexa (Headings)"/>
                        </a:defRPr>
                      </a:pPr>
                      <a:r>
                        <a:t>Mousseux Val De Loire</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1752397169"/>
                  </a:ext>
                </a:extLst>
              </a:tr>
              <a:tr h="277134">
                <a:tc>
                  <a:txBody>
                    <a:bodyPr/>
                    <a:lstStyle/>
                    <a:p>
                      <a:pPr algn="ctr">
                        <a:defRPr sz="800" b="1">
                          <a:latin typeface="Nexa (Headings)"/>
                        </a:defRPr>
                      </a:pPr>
                      <a:r>
                        <a:t>Mousseux Bordelais</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3712364869"/>
                  </a:ext>
                </a:extLst>
              </a:tr>
              <a:tr h="277134">
                <a:tc>
                  <a:txBody>
                    <a:bodyPr/>
                    <a:lstStyle/>
                    <a:p>
                      <a:pPr algn="ctr">
                        <a:defRPr sz="800" b="1">
                          <a:latin typeface="Nexa (Headings)"/>
                        </a:defRPr>
                      </a:pPr>
                      <a:r>
                        <a:t>Mousseux Bourgogne</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98998524"/>
                  </a:ext>
                </a:extLst>
              </a:tr>
              <a:tr h="277134">
                <a:tc>
                  <a:txBody>
                    <a:bodyPr/>
                    <a:lstStyle/>
                    <a:p>
                      <a:pPr algn="ctr">
                        <a:defRPr sz="800" b="1">
                          <a:latin typeface="Nexa (Headings)"/>
                        </a:defRPr>
                      </a:pPr>
                      <a:r>
                        <a:t>Mousseux Alsace</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4143210105"/>
                  </a:ext>
                </a:extLst>
              </a:tr>
              <a:tr h="277134">
                <a:tc>
                  <a:txBody>
                    <a:bodyPr/>
                    <a:lstStyle/>
                    <a:p>
                      <a:pPr algn="ctr">
                        <a:defRPr sz="800" b="1">
                          <a:latin typeface="Nexa (Headings)"/>
                        </a:defRPr>
                      </a:pPr>
                      <a:r>
                        <a:t>Rosés</a:t>
                      </a:r>
                    </a:p>
                  </a:txBody>
                  <a:tcPr marL="3810" marR="3810" marT="3810" marB="0" anchor="ctr">
                    <a:noFill/>
                  </a:tcPr>
                </a:tc>
                <a:tc>
                  <a:txBody>
                    <a:bodyPr/>
                    <a:lstStyle/>
                    <a:p>
                      <a:pPr algn="ctr">
                        <a:defRPr sz="800">
                          <a:latin typeface="Nexa Book"/>
                        </a:defRPr>
                      </a:pPr>
                      <a:r>
                        <a:t>9</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15%</a:t>
                      </a:r>
                    </a:p>
                  </a:txBody>
                  <a:tcPr marL="3810" marR="3810" marT="3810" marB="0" anchor="ctr">
                    <a:noFill/>
                  </a:tcPr>
                </a:tc>
                <a:tc>
                  <a:txBody>
                    <a:bodyPr/>
                    <a:lstStyle/>
                    <a:p>
                      <a:pPr algn="ctr">
                        <a:defRPr sz="800">
                          <a:latin typeface="Nexa Book"/>
                        </a:defRPr>
                      </a:pPr>
                      <a:r>
                        <a:t>10%</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3374402097"/>
                  </a:ext>
                </a:extLst>
              </a:tr>
              <a:tr h="277134">
                <a:tc>
                  <a:txBody>
                    <a:bodyPr/>
                    <a:lstStyle/>
                    <a:p>
                      <a:pPr algn="ctr">
                        <a:defRPr sz="800" b="1">
                          <a:latin typeface="Nexa (Headings)"/>
                        </a:defRPr>
                      </a:pPr>
                      <a:r>
                        <a:t>Bruts</a:t>
                      </a:r>
                    </a:p>
                  </a:txBody>
                  <a:tcPr marL="3810" marR="3810" marT="3810" marB="0" anchor="ctr">
                    <a:noFill/>
                  </a:tcPr>
                </a:tc>
                <a:tc>
                  <a:txBody>
                    <a:bodyPr/>
                    <a:lstStyle/>
                    <a:p>
                      <a:pPr algn="ctr">
                        <a:defRPr sz="800">
                          <a:latin typeface="Nexa Book"/>
                        </a:defRPr>
                      </a:pPr>
                      <a:r>
                        <a:t>37</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8%</a:t>
                      </a:r>
                    </a:p>
                  </a:txBody>
                  <a:tcPr marL="3810" marR="3810" marT="3810" marB="0" anchor="ctr">
                    <a:noFill/>
                  </a:tcPr>
                </a:tc>
                <a:tc>
                  <a:txBody>
                    <a:bodyPr/>
                    <a:lstStyle/>
                    <a:p>
                      <a:pPr algn="ctr">
                        <a:defRPr sz="800">
                          <a:latin typeface="Nexa Book"/>
                        </a:defRPr>
                      </a:pPr>
                      <a:r>
                        <a:t>11%</a:t>
                      </a:r>
                    </a:p>
                  </a:txBody>
                  <a:tcPr marL="3810" marR="3810" marT="3810" marB="0" anchor="ctr">
                    <a:noFill/>
                  </a:tcPr>
                </a:tc>
                <a:tc>
                  <a:txBody>
                    <a:bodyPr/>
                    <a:lstStyle/>
                    <a:p>
                      <a:pPr algn="ctr">
                        <a:defRPr sz="800">
                          <a:latin typeface="Nexa Book"/>
                        </a:defRPr>
                      </a:pPr>
                      <a:r>
                        <a:t>4</a:t>
                      </a:r>
                    </a:p>
                  </a:txBody>
                  <a:tcPr marL="3810" marR="3810" marT="3810" marB="0" anchor="ctr">
                    <a:noFill/>
                  </a:tcPr>
                </a:tc>
                <a:tc>
                  <a:txBody>
                    <a:bodyPr/>
                    <a:lstStyle/>
                    <a:p>
                      <a:pPr algn="ctr">
                        <a:defRPr sz="800">
                          <a:latin typeface="Nexa Book"/>
                        </a:defRPr>
                      </a:pPr>
                      <a:r>
                        <a:t>1</a:t>
                      </a:r>
                    </a:p>
                  </a:txBody>
                  <a:tcPr marL="3810" marR="3810" marT="3810" marB="0" anchor="ctr">
                    <a:noFill/>
                  </a:tcPr>
                </a:tc>
                <a:extLst>
                  <a:ext uri="{0D108BD9-81ED-4DB2-BD59-A6C34878D82A}">
                    <a16:rowId xmlns:a16="http://schemas.microsoft.com/office/drawing/2014/main" val="2061534110"/>
                  </a:ext>
                </a:extLst>
              </a:tr>
              <a:tr h="277134">
                <a:tc>
                  <a:txBody>
                    <a:bodyPr/>
                    <a:lstStyle/>
                    <a:p>
                      <a:pPr algn="ctr">
                        <a:defRPr sz="800" b="1">
                          <a:latin typeface="Nexa (Headings)"/>
                        </a:defRPr>
                      </a:pPr>
                      <a:r>
                        <a:t>Blanc De Blancs</a:t>
                      </a:r>
                    </a:p>
                  </a:txBody>
                  <a:tcPr marL="3810" marR="3810" marT="3810" marB="0" anchor="ctr">
                    <a:noFill/>
                  </a:tcPr>
                </a:tc>
                <a:tc>
                  <a:txBody>
                    <a:bodyPr/>
                    <a:lstStyle/>
                    <a:p>
                      <a:pPr algn="ctr">
                        <a:defRPr sz="800">
                          <a:latin typeface="Nexa Book"/>
                        </a:defRPr>
                      </a:pPr>
                      <a:r>
                        <a:t>7</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13%</a:t>
                      </a:r>
                    </a:p>
                  </a:txBody>
                  <a:tcPr marL="3810" marR="3810" marT="3810" marB="0" anchor="ctr">
                    <a:noFill/>
                  </a:tcPr>
                </a:tc>
                <a:tc>
                  <a:txBody>
                    <a:bodyPr/>
                    <a:lstStyle/>
                    <a:p>
                      <a:pPr algn="ctr">
                        <a:defRPr sz="800">
                          <a:latin typeface="Nexa Book"/>
                        </a:defRPr>
                      </a:pPr>
                      <a:r>
                        <a:t>8%</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04386257"/>
                  </a:ext>
                </a:extLst>
              </a:tr>
              <a:tr h="277134">
                <a:tc>
                  <a:txBody>
                    <a:bodyPr/>
                    <a:lstStyle/>
                    <a:p>
                      <a:pPr algn="ctr">
                        <a:defRPr sz="800" b="1">
                          <a:latin typeface="Nexa (Headings)"/>
                        </a:defRPr>
                      </a:pPr>
                      <a:r>
                        <a:t>Millesimes</a:t>
                      </a:r>
                    </a:p>
                  </a:txBody>
                  <a:tcPr marL="3810" marR="3810" marT="3810" marB="0" anchor="ctr">
                    <a:noFill/>
                  </a:tcPr>
                </a:tc>
                <a:tc>
                  <a:txBody>
                    <a:bodyPr/>
                    <a:lstStyle/>
                    <a:p>
                      <a:pPr algn="ctr">
                        <a:defRPr sz="800">
                          <a:latin typeface="Nexa Book"/>
                        </a:defRPr>
                      </a:pPr>
                      <a:r>
                        <a:t>4</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071136303"/>
                  </a:ext>
                </a:extLst>
              </a:tr>
              <a:tr h="277134">
                <a:tc>
                  <a:txBody>
                    <a:bodyPr/>
                    <a:lstStyle/>
                    <a:p>
                      <a:pPr algn="ctr">
                        <a:defRPr sz="800" b="1">
                          <a:latin typeface="Nexa (Headings)"/>
                        </a:defRPr>
                      </a:pPr>
                      <a:r>
                        <a:t>Extra Brut</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478226403"/>
                  </a:ext>
                </a:extLst>
              </a:tr>
              <a:tr h="277134">
                <a:tc>
                  <a:txBody>
                    <a:bodyPr/>
                    <a:lstStyle/>
                    <a:p>
                      <a:pPr algn="ctr">
                        <a:defRPr sz="800" b="1">
                          <a:latin typeface="Nexa (Headings)"/>
                        </a:defRPr>
                      </a:pPr>
                      <a:r>
                        <a:t>Crus</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18%</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116474470"/>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1139</a:t>
            </a:fld>
            <a:endParaRPr lang="en-US"/>
          </a:p>
        </p:txBody>
      </p:sp>
    </p:spTree>
    <p:extLst>
      <p:ext uri="{BB962C8B-B14F-4D97-AF65-F5344CB8AC3E}">
        <p14:creationId xmlns:p14="http://schemas.microsoft.com/office/powerpoint/2010/main" val="1382273768"/>
      </p:ext>
    </p:extLst>
  </p:cSld>
  <p:clrMapOvr>
    <a:masterClrMapping/>
  </p:clrMapOvr>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Extra Brut | NICOLAS QCN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14</a:t>
            </a:fld>
            <a:endParaRPr lang="en-US"/>
          </a:p>
        </p:txBody>
      </p:sp>
    </p:spTree>
    <p:extLst>
      <p:ext uri="{BB962C8B-B14F-4D97-AF65-F5344CB8AC3E}">
        <p14:creationId xmlns:p14="http://schemas.microsoft.com/office/powerpoint/2010/main" val="2615462969"/>
      </p:ext>
    </p:extLst>
  </p:cSld>
  <p:clrMapOvr>
    <a:masterClrMapping/>
  </p:clrMapOvr>
</p:sld>
</file>

<file path=ppt/slides/slide11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8/27/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pPr>
              <a:defRPr sz="1200">
                <a:latin typeface="Nexa Bold (Headings)"/>
              </a:defRPr>
            </a:pPr>
            <a:r>
              <a:t>Segment fair share | Effervescents | Malard Nicolas | NICOLAS | P12M</a:t>
            </a:r>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pPr>
              <a:defRPr sz="1600">
                <a:latin typeface="Nexa Bold (Headings)"/>
              </a:defRPr>
            </a:pPr>
            <a:r>
              <a:rPr lang="en-GB" dirty="0">
                <a:highlight>
                  <a:srgbClr val="FFFF00"/>
                </a:highlight>
              </a:rPr>
              <a:t>Segment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Malard Nicolas </a:t>
                      </a:r>
                    </a:p>
                    <a:p>
                      <a:pPr algn="ctr">
                        <a:defRPr sz="900" b="1">
                          <a:latin typeface="Nexa (Headings)"/>
                        </a:defRPr>
                      </a:pPr>
                      <a: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Malard Nicolas </a:t>
                      </a:r>
                    </a:p>
                    <a:p>
                      <a:pPr algn="ctr">
                        <a:defRPr sz="900" b="1">
                          <a:latin typeface="Nexa (Headings)"/>
                        </a:defRPr>
                      </a:pPr>
                      <a: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Malard Nicolas </a:t>
                      </a:r>
                    </a:p>
                    <a:p>
                      <a:pPr algn="ctr">
                        <a:defRPr sz="900" b="1">
                          <a:latin typeface="Nexa (Headings)"/>
                        </a:defRPr>
                      </a:pPr>
                      <a: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Malard Nicolas </a:t>
                      </a:r>
                    </a:p>
                    <a:p>
                      <a:pPr algn="ctr">
                        <a:defRPr sz="900" b="1">
                          <a:latin typeface="Nexa (Headings)"/>
                        </a:defRPr>
                      </a:pPr>
                      <a: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Malard Nicolas</a:t>
                      </a:r>
                    </a:p>
                    <a:p>
                      <a:pPr algn="ctr">
                        <a:defRPr sz="900" b="1">
                          <a:latin typeface="Nexa (Headings)"/>
                        </a:defRPr>
                      </a:pPr>
                      <a: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277134">
                <a:tc>
                  <a:txBody>
                    <a:bodyPr/>
                    <a:lstStyle/>
                    <a:p>
                      <a:pPr algn="ctr">
                        <a:defRPr sz="800" b="1">
                          <a:latin typeface="Nexa (Headings)"/>
                        </a:defRPr>
                      </a:pPr>
                      <a:r>
                        <a:t>Grand Total</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8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6</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72%</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3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3</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277134">
                <a:tc>
                  <a:txBody>
                    <a:bodyPr/>
                    <a:lstStyle/>
                    <a:p>
                      <a:pPr algn="ctr">
                        <a:defRPr sz="800" b="1">
                          <a:latin typeface="Nexa (Headings)"/>
                        </a:defRPr>
                      </a:pPr>
                      <a:r>
                        <a:t>Mousseux Italiens</a:t>
                      </a:r>
                    </a:p>
                  </a:txBody>
                  <a:tcPr marL="3810" marR="3810" marT="3810" marB="0" anchor="ctr">
                    <a:noFill/>
                  </a:tcPr>
                </a:tc>
                <a:tc>
                  <a:txBody>
                    <a:bodyPr/>
                    <a:lstStyle/>
                    <a:p>
                      <a:pPr algn="ctr">
                        <a:defRPr sz="800">
                          <a:latin typeface="Nexa Book"/>
                        </a:defRPr>
                      </a:pPr>
                      <a:r>
                        <a:t>4</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3161381"/>
                  </a:ext>
                </a:extLst>
              </a:tr>
              <a:tr h="277134">
                <a:tc>
                  <a:txBody>
                    <a:bodyPr/>
                    <a:lstStyle/>
                    <a:p>
                      <a:pPr algn="ctr">
                        <a:defRPr sz="800" b="1">
                          <a:latin typeface="Nexa (Headings)"/>
                        </a:defRPr>
                      </a:pPr>
                      <a:r>
                        <a:t>Mousseux Val De Loire</a:t>
                      </a:r>
                    </a:p>
                  </a:txBody>
                  <a:tcPr marL="3810" marR="3810" marT="3810" marB="0" anchor="ctr">
                    <a:noFill/>
                  </a:tcPr>
                </a:tc>
                <a:tc>
                  <a:txBody>
                    <a:bodyPr/>
                    <a:lstStyle/>
                    <a:p>
                      <a:pPr algn="ctr">
                        <a:defRPr sz="800">
                          <a:latin typeface="Nexa Book"/>
                        </a:defRPr>
                      </a:pPr>
                      <a:r>
                        <a:t>4</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1752397169"/>
                  </a:ext>
                </a:extLst>
              </a:tr>
              <a:tr h="277134">
                <a:tc>
                  <a:txBody>
                    <a:bodyPr/>
                    <a:lstStyle/>
                    <a:p>
                      <a:pPr algn="ctr">
                        <a:defRPr sz="800" b="1">
                          <a:latin typeface="Nexa (Headings)"/>
                        </a:defRPr>
                      </a:pPr>
                      <a:r>
                        <a:t>Mousseux Bordelais</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3712364869"/>
                  </a:ext>
                </a:extLst>
              </a:tr>
              <a:tr h="277134">
                <a:tc>
                  <a:txBody>
                    <a:bodyPr/>
                    <a:lstStyle/>
                    <a:p>
                      <a:pPr algn="ctr">
                        <a:defRPr sz="800" b="1">
                          <a:latin typeface="Nexa (Headings)"/>
                        </a:defRPr>
                      </a:pPr>
                      <a:r>
                        <a:t>Mousseux Bourgogne</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98998524"/>
                  </a:ext>
                </a:extLst>
              </a:tr>
              <a:tr h="277134">
                <a:tc>
                  <a:txBody>
                    <a:bodyPr/>
                    <a:lstStyle/>
                    <a:p>
                      <a:pPr algn="ctr">
                        <a:defRPr sz="800" b="1">
                          <a:latin typeface="Nexa (Headings)"/>
                        </a:defRPr>
                      </a:pPr>
                      <a:r>
                        <a:t>Mousseux Alsace</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4143210105"/>
                  </a:ext>
                </a:extLst>
              </a:tr>
              <a:tr h="277134">
                <a:tc>
                  <a:txBody>
                    <a:bodyPr/>
                    <a:lstStyle/>
                    <a:p>
                      <a:pPr algn="ctr">
                        <a:defRPr sz="800" b="1">
                          <a:latin typeface="Nexa (Headings)"/>
                        </a:defRPr>
                      </a:pPr>
                      <a:r>
                        <a:t>Rosés</a:t>
                      </a:r>
                    </a:p>
                  </a:txBody>
                  <a:tcPr marL="3810" marR="3810" marT="3810" marB="0" anchor="ctr">
                    <a:noFill/>
                  </a:tcPr>
                </a:tc>
                <a:tc>
                  <a:txBody>
                    <a:bodyPr/>
                    <a:lstStyle/>
                    <a:p>
                      <a:pPr algn="ctr">
                        <a:defRPr sz="800">
                          <a:latin typeface="Nexa Book"/>
                        </a:defRPr>
                      </a:pPr>
                      <a:r>
                        <a:t>10</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15%</a:t>
                      </a:r>
                    </a:p>
                  </a:txBody>
                  <a:tcPr marL="3810" marR="3810" marT="3810" marB="0" anchor="ctr">
                    <a:noFill/>
                  </a:tcPr>
                </a:tc>
                <a:tc>
                  <a:txBody>
                    <a:bodyPr/>
                    <a:lstStyle/>
                    <a:p>
                      <a:pPr algn="ctr">
                        <a:defRPr sz="800">
                          <a:latin typeface="Nexa Book"/>
                        </a:defRPr>
                      </a:pPr>
                      <a:r>
                        <a:t>10%</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3374402097"/>
                  </a:ext>
                </a:extLst>
              </a:tr>
              <a:tr h="277134">
                <a:tc>
                  <a:txBody>
                    <a:bodyPr/>
                    <a:lstStyle/>
                    <a:p>
                      <a:pPr algn="ctr">
                        <a:defRPr sz="800" b="1">
                          <a:latin typeface="Nexa (Headings)"/>
                        </a:defRPr>
                      </a:pPr>
                      <a:r>
                        <a:t>Bruts</a:t>
                      </a:r>
                    </a:p>
                  </a:txBody>
                  <a:tcPr marL="3810" marR="3810" marT="3810" marB="0" anchor="ctr">
                    <a:noFill/>
                  </a:tcPr>
                </a:tc>
                <a:tc>
                  <a:txBody>
                    <a:bodyPr/>
                    <a:lstStyle/>
                    <a:p>
                      <a:pPr algn="ctr">
                        <a:defRPr sz="800">
                          <a:latin typeface="Nexa Book"/>
                        </a:defRPr>
                      </a:pPr>
                      <a:r>
                        <a:t>40</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8%</a:t>
                      </a:r>
                    </a:p>
                  </a:txBody>
                  <a:tcPr marL="3810" marR="3810" marT="3810" marB="0" anchor="ctr">
                    <a:noFill/>
                  </a:tcPr>
                </a:tc>
                <a:tc>
                  <a:txBody>
                    <a:bodyPr/>
                    <a:lstStyle/>
                    <a:p>
                      <a:pPr algn="ctr">
                        <a:defRPr sz="800">
                          <a:latin typeface="Nexa Book"/>
                        </a:defRPr>
                      </a:pPr>
                      <a:r>
                        <a:t>11%</a:t>
                      </a:r>
                    </a:p>
                  </a:txBody>
                  <a:tcPr marL="3810" marR="3810" marT="3810" marB="0" anchor="ctr">
                    <a:noFill/>
                  </a:tcPr>
                </a:tc>
                <a:tc>
                  <a:txBody>
                    <a:bodyPr/>
                    <a:lstStyle/>
                    <a:p>
                      <a:pPr algn="ctr">
                        <a:defRPr sz="800">
                          <a:latin typeface="Nexa Book"/>
                        </a:defRPr>
                      </a:pPr>
                      <a:r>
                        <a:t>4</a:t>
                      </a:r>
                    </a:p>
                  </a:txBody>
                  <a:tcPr marL="3810" marR="3810" marT="3810" marB="0" anchor="ctr">
                    <a:noFill/>
                  </a:tcPr>
                </a:tc>
                <a:tc>
                  <a:txBody>
                    <a:bodyPr/>
                    <a:lstStyle/>
                    <a:p>
                      <a:pPr algn="ctr">
                        <a:defRPr sz="800">
                          <a:latin typeface="Nexa Book"/>
                        </a:defRPr>
                      </a:pPr>
                      <a:r>
                        <a:t>1</a:t>
                      </a:r>
                    </a:p>
                  </a:txBody>
                  <a:tcPr marL="3810" marR="3810" marT="3810" marB="0" anchor="ctr">
                    <a:noFill/>
                  </a:tcPr>
                </a:tc>
                <a:extLst>
                  <a:ext uri="{0D108BD9-81ED-4DB2-BD59-A6C34878D82A}">
                    <a16:rowId xmlns:a16="http://schemas.microsoft.com/office/drawing/2014/main" val="2061534110"/>
                  </a:ext>
                </a:extLst>
              </a:tr>
              <a:tr h="277134">
                <a:tc>
                  <a:txBody>
                    <a:bodyPr/>
                    <a:lstStyle/>
                    <a:p>
                      <a:pPr algn="ctr">
                        <a:defRPr sz="800" b="1">
                          <a:latin typeface="Nexa (Headings)"/>
                        </a:defRPr>
                      </a:pPr>
                      <a:r>
                        <a:t>Blanc De Blancs</a:t>
                      </a:r>
                    </a:p>
                  </a:txBody>
                  <a:tcPr marL="3810" marR="3810" marT="3810" marB="0" anchor="ctr">
                    <a:noFill/>
                  </a:tcPr>
                </a:tc>
                <a:tc>
                  <a:txBody>
                    <a:bodyPr/>
                    <a:lstStyle/>
                    <a:p>
                      <a:pPr algn="ctr">
                        <a:defRPr sz="800">
                          <a:latin typeface="Nexa Book"/>
                        </a:defRPr>
                      </a:pPr>
                      <a:r>
                        <a:t>9</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12%</a:t>
                      </a:r>
                    </a:p>
                  </a:txBody>
                  <a:tcPr marL="3810" marR="3810" marT="3810" marB="0" anchor="ctr">
                    <a:noFill/>
                  </a:tcPr>
                </a:tc>
                <a:tc>
                  <a:txBody>
                    <a:bodyPr/>
                    <a:lstStyle/>
                    <a:p>
                      <a:pPr algn="ctr">
                        <a:defRPr sz="800">
                          <a:latin typeface="Nexa Book"/>
                        </a:defRPr>
                      </a:pPr>
                      <a:r>
                        <a:t>6%</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04386257"/>
                  </a:ext>
                </a:extLst>
              </a:tr>
              <a:tr h="277134">
                <a:tc>
                  <a:txBody>
                    <a:bodyPr/>
                    <a:lstStyle/>
                    <a:p>
                      <a:pPr algn="ctr">
                        <a:defRPr sz="800" b="1">
                          <a:latin typeface="Nexa (Headings)"/>
                        </a:defRPr>
                      </a:pPr>
                      <a:r>
                        <a:t>Millesimes</a:t>
                      </a:r>
                    </a:p>
                  </a:txBody>
                  <a:tcPr marL="3810" marR="3810" marT="3810" marB="0" anchor="ctr">
                    <a:noFill/>
                  </a:tcPr>
                </a:tc>
                <a:tc>
                  <a:txBody>
                    <a:bodyPr/>
                    <a:lstStyle/>
                    <a:p>
                      <a:pPr algn="ctr">
                        <a:defRPr sz="800">
                          <a:latin typeface="Nexa Book"/>
                        </a:defRPr>
                      </a:pPr>
                      <a:r>
                        <a:t>5</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071136303"/>
                  </a:ext>
                </a:extLst>
              </a:tr>
              <a:tr h="277134">
                <a:tc>
                  <a:txBody>
                    <a:bodyPr/>
                    <a:lstStyle/>
                    <a:p>
                      <a:pPr algn="ctr">
                        <a:defRPr sz="800" b="1">
                          <a:latin typeface="Nexa (Headings)"/>
                        </a:defRPr>
                      </a:pPr>
                      <a:r>
                        <a:t>Extra Brut</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478226403"/>
                  </a:ext>
                </a:extLst>
              </a:tr>
              <a:tr h="277134">
                <a:tc>
                  <a:txBody>
                    <a:bodyPr/>
                    <a:lstStyle/>
                    <a:p>
                      <a:pPr algn="ctr">
                        <a:defRPr sz="800" b="1">
                          <a:latin typeface="Nexa (Headings)"/>
                        </a:defRPr>
                      </a:pPr>
                      <a:r>
                        <a:t>Crus</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20%</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116474470"/>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1140</a:t>
            </a:fld>
            <a:endParaRPr lang="en-US"/>
          </a:p>
        </p:txBody>
      </p:sp>
    </p:spTree>
    <p:extLst>
      <p:ext uri="{BB962C8B-B14F-4D97-AF65-F5344CB8AC3E}">
        <p14:creationId xmlns:p14="http://schemas.microsoft.com/office/powerpoint/2010/main" val="1862626853"/>
      </p:ext>
    </p:extLst>
  </p:cSld>
  <p:clrMapOvr>
    <a:masterClrMapping/>
  </p:clrMapOvr>
</p:sld>
</file>

<file path=ppt/slides/slide11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8/27/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pPr>
              <a:defRPr sz="1200">
                <a:latin typeface="Nexa Bold (Headings)"/>
              </a:defRPr>
            </a:pPr>
            <a:r>
              <a:t>Segment fair share | Effervescents | Malard Nicolas | NICOLAS AQU | P12M</a:t>
            </a:r>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pPr>
              <a:defRPr sz="1600">
                <a:latin typeface="Nexa Bold (Headings)"/>
              </a:defRPr>
            </a:pPr>
            <a:r>
              <a:rPr lang="en-GB" dirty="0">
                <a:highlight>
                  <a:srgbClr val="FFFF00"/>
                </a:highlight>
              </a:rPr>
              <a:t>Segment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Malard Nicolas </a:t>
                      </a:r>
                    </a:p>
                    <a:p>
                      <a:pPr algn="ctr">
                        <a:defRPr sz="900" b="1">
                          <a:latin typeface="Nexa (Headings)"/>
                        </a:defRPr>
                      </a:pPr>
                      <a: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Malard Nicolas </a:t>
                      </a:r>
                    </a:p>
                    <a:p>
                      <a:pPr algn="ctr">
                        <a:defRPr sz="900" b="1">
                          <a:latin typeface="Nexa (Headings)"/>
                        </a:defRPr>
                      </a:pPr>
                      <a: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Malard Nicolas </a:t>
                      </a:r>
                    </a:p>
                    <a:p>
                      <a:pPr algn="ctr">
                        <a:defRPr sz="900" b="1">
                          <a:latin typeface="Nexa (Headings)"/>
                        </a:defRPr>
                      </a:pPr>
                      <a: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Malard Nicolas </a:t>
                      </a:r>
                    </a:p>
                    <a:p>
                      <a:pPr algn="ctr">
                        <a:defRPr sz="900" b="1">
                          <a:latin typeface="Nexa (Headings)"/>
                        </a:defRPr>
                      </a:pPr>
                      <a: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Malard Nicolas</a:t>
                      </a:r>
                    </a:p>
                    <a:p>
                      <a:pPr algn="ctr">
                        <a:defRPr sz="900" b="1">
                          <a:latin typeface="Nexa (Headings)"/>
                        </a:defRPr>
                      </a:pPr>
                      <a: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277134">
                <a:tc>
                  <a:txBody>
                    <a:bodyPr/>
                    <a:lstStyle/>
                    <a:p>
                      <a:pPr algn="ctr">
                        <a:defRPr sz="800" b="1">
                          <a:latin typeface="Nexa (Headings)"/>
                        </a:defRPr>
                      </a:pPr>
                      <a:r>
                        <a:t>Grand Total</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00</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7</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62%</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3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4</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277134">
                <a:tc>
                  <a:txBody>
                    <a:bodyPr/>
                    <a:lstStyle/>
                    <a:p>
                      <a:pPr algn="ctr">
                        <a:defRPr sz="800" b="1">
                          <a:latin typeface="Nexa (Headings)"/>
                        </a:defRPr>
                      </a:pPr>
                      <a:r>
                        <a:t>Mousseux Italiens</a:t>
                      </a:r>
                    </a:p>
                  </a:txBody>
                  <a:tcPr marL="3810" marR="3810" marT="3810" marB="0" anchor="ctr">
                    <a:noFill/>
                  </a:tcPr>
                </a:tc>
                <a:tc>
                  <a:txBody>
                    <a:bodyPr/>
                    <a:lstStyle/>
                    <a:p>
                      <a:pPr algn="ctr">
                        <a:defRPr sz="800">
                          <a:latin typeface="Nexa Book"/>
                        </a:defRPr>
                      </a:pPr>
                      <a:r>
                        <a:t>4</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3161381"/>
                  </a:ext>
                </a:extLst>
              </a:tr>
              <a:tr h="277134">
                <a:tc>
                  <a:txBody>
                    <a:bodyPr/>
                    <a:lstStyle/>
                    <a:p>
                      <a:pPr algn="ctr">
                        <a:defRPr sz="800" b="1">
                          <a:latin typeface="Nexa (Headings)"/>
                        </a:defRPr>
                      </a:pPr>
                      <a:r>
                        <a:t>Mousseux Val De Loire</a:t>
                      </a:r>
                    </a:p>
                  </a:txBody>
                  <a:tcPr marL="3810" marR="3810" marT="3810" marB="0" anchor="ctr">
                    <a:noFill/>
                  </a:tcPr>
                </a:tc>
                <a:tc>
                  <a:txBody>
                    <a:bodyPr/>
                    <a:lstStyle/>
                    <a:p>
                      <a:pPr algn="ctr">
                        <a:defRPr sz="800">
                          <a:latin typeface="Nexa Book"/>
                        </a:defRPr>
                      </a:pPr>
                      <a:r>
                        <a:t>5</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1752397169"/>
                  </a:ext>
                </a:extLst>
              </a:tr>
              <a:tr h="277134">
                <a:tc>
                  <a:txBody>
                    <a:bodyPr/>
                    <a:lstStyle/>
                    <a:p>
                      <a:pPr algn="ctr">
                        <a:defRPr sz="800" b="1">
                          <a:latin typeface="Nexa (Headings)"/>
                        </a:defRPr>
                      </a:pPr>
                      <a:r>
                        <a:t>Mousseux Bordelais</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3712364869"/>
                  </a:ext>
                </a:extLst>
              </a:tr>
              <a:tr h="277134">
                <a:tc>
                  <a:txBody>
                    <a:bodyPr/>
                    <a:lstStyle/>
                    <a:p>
                      <a:pPr algn="ctr">
                        <a:defRPr sz="800" b="1">
                          <a:latin typeface="Nexa (Headings)"/>
                        </a:defRPr>
                      </a:pPr>
                      <a:r>
                        <a:t>Mousseux Bourgogne</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98998524"/>
                  </a:ext>
                </a:extLst>
              </a:tr>
              <a:tr h="277134">
                <a:tc>
                  <a:txBody>
                    <a:bodyPr/>
                    <a:lstStyle/>
                    <a:p>
                      <a:pPr algn="ctr">
                        <a:defRPr sz="800" b="1">
                          <a:latin typeface="Nexa (Headings)"/>
                        </a:defRPr>
                      </a:pPr>
                      <a:r>
                        <a:t>Mousseux Alsace</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4143210105"/>
                  </a:ext>
                </a:extLst>
              </a:tr>
              <a:tr h="277134">
                <a:tc>
                  <a:txBody>
                    <a:bodyPr/>
                    <a:lstStyle/>
                    <a:p>
                      <a:pPr algn="ctr">
                        <a:defRPr sz="800" b="1">
                          <a:latin typeface="Nexa (Headings)"/>
                        </a:defRPr>
                      </a:pPr>
                      <a:r>
                        <a:t>Rosés</a:t>
                      </a:r>
                    </a:p>
                  </a:txBody>
                  <a:tcPr marL="3810" marR="3810" marT="3810" marB="0" anchor="ctr">
                    <a:noFill/>
                  </a:tcPr>
                </a:tc>
                <a:tc>
                  <a:txBody>
                    <a:bodyPr/>
                    <a:lstStyle/>
                    <a:p>
                      <a:pPr algn="ctr">
                        <a:defRPr sz="800">
                          <a:latin typeface="Nexa Book"/>
                        </a:defRPr>
                      </a:pPr>
                      <a:r>
                        <a:t>10</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18%</a:t>
                      </a:r>
                    </a:p>
                  </a:txBody>
                  <a:tcPr marL="3810" marR="3810" marT="3810" marB="0" anchor="ctr">
                    <a:noFill/>
                  </a:tcPr>
                </a:tc>
                <a:tc>
                  <a:txBody>
                    <a:bodyPr/>
                    <a:lstStyle/>
                    <a:p>
                      <a:pPr algn="ctr">
                        <a:defRPr sz="800">
                          <a:latin typeface="Nexa Book"/>
                        </a:defRPr>
                      </a:pPr>
                      <a:r>
                        <a:t>12%</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3374402097"/>
                  </a:ext>
                </a:extLst>
              </a:tr>
              <a:tr h="277134">
                <a:tc>
                  <a:txBody>
                    <a:bodyPr/>
                    <a:lstStyle/>
                    <a:p>
                      <a:pPr algn="ctr">
                        <a:defRPr sz="800" b="1">
                          <a:latin typeface="Nexa (Headings)"/>
                        </a:defRPr>
                      </a:pPr>
                      <a:r>
                        <a:t>Bruts</a:t>
                      </a:r>
                    </a:p>
                  </a:txBody>
                  <a:tcPr marL="3810" marR="3810" marT="3810" marB="0" anchor="ctr">
                    <a:noFill/>
                  </a:tcPr>
                </a:tc>
                <a:tc>
                  <a:txBody>
                    <a:bodyPr/>
                    <a:lstStyle/>
                    <a:p>
                      <a:pPr algn="ctr">
                        <a:defRPr sz="800">
                          <a:latin typeface="Nexa Book"/>
                        </a:defRPr>
                      </a:pPr>
                      <a:r>
                        <a:t>43</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8%</a:t>
                      </a:r>
                    </a:p>
                  </a:txBody>
                  <a:tcPr marL="3810" marR="3810" marT="3810" marB="0" anchor="ctr">
                    <a:noFill/>
                  </a:tcPr>
                </a:tc>
                <a:tc>
                  <a:txBody>
                    <a:bodyPr/>
                    <a:lstStyle/>
                    <a:p>
                      <a:pPr algn="ctr">
                        <a:defRPr sz="800">
                          <a:latin typeface="Nexa Book"/>
                        </a:defRPr>
                      </a:pPr>
                      <a:r>
                        <a:t>14%</a:t>
                      </a:r>
                    </a:p>
                  </a:txBody>
                  <a:tcPr marL="3810" marR="3810" marT="3810" marB="0" anchor="ctr">
                    <a:noFill/>
                  </a:tcPr>
                </a:tc>
                <a:tc>
                  <a:txBody>
                    <a:bodyPr/>
                    <a:lstStyle/>
                    <a:p>
                      <a:pPr algn="ctr">
                        <a:defRPr sz="800">
                          <a:latin typeface="Nexa Book"/>
                        </a:defRPr>
                      </a:pPr>
                      <a:r>
                        <a:t>6</a:t>
                      </a:r>
                    </a:p>
                  </a:txBody>
                  <a:tcPr marL="3810" marR="3810" marT="3810" marB="0" anchor="ctr">
                    <a:noFill/>
                  </a:tcPr>
                </a:tc>
                <a:tc>
                  <a:txBody>
                    <a:bodyPr/>
                    <a:lstStyle/>
                    <a:p>
                      <a:pPr algn="ctr">
                        <a:defRPr sz="800">
                          <a:latin typeface="Nexa Book"/>
                        </a:defRPr>
                      </a:pPr>
                      <a:r>
                        <a:t>3</a:t>
                      </a:r>
                    </a:p>
                  </a:txBody>
                  <a:tcPr marL="3810" marR="3810" marT="3810" marB="0" anchor="ctr">
                    <a:noFill/>
                  </a:tcPr>
                </a:tc>
                <a:extLst>
                  <a:ext uri="{0D108BD9-81ED-4DB2-BD59-A6C34878D82A}">
                    <a16:rowId xmlns:a16="http://schemas.microsoft.com/office/drawing/2014/main" val="2061534110"/>
                  </a:ext>
                </a:extLst>
              </a:tr>
              <a:tr h="277134">
                <a:tc>
                  <a:txBody>
                    <a:bodyPr/>
                    <a:lstStyle/>
                    <a:p>
                      <a:pPr algn="ctr">
                        <a:defRPr sz="800" b="1">
                          <a:latin typeface="Nexa (Headings)"/>
                        </a:defRPr>
                      </a:pPr>
                      <a:r>
                        <a:t>Blanc De Blancs</a:t>
                      </a:r>
                    </a:p>
                  </a:txBody>
                  <a:tcPr marL="3810" marR="3810" marT="3810" marB="0" anchor="ctr">
                    <a:noFill/>
                  </a:tcPr>
                </a:tc>
                <a:tc>
                  <a:txBody>
                    <a:bodyPr/>
                    <a:lstStyle/>
                    <a:p>
                      <a:pPr algn="ctr">
                        <a:defRPr sz="800">
                          <a:latin typeface="Nexa Book"/>
                        </a:defRPr>
                      </a:pPr>
                      <a:r>
                        <a:t>12</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9%</a:t>
                      </a:r>
                    </a:p>
                  </a:txBody>
                  <a:tcPr marL="3810" marR="3810" marT="3810" marB="0" anchor="ctr">
                    <a:noFill/>
                  </a:tcPr>
                </a:tc>
                <a:tc>
                  <a:txBody>
                    <a:bodyPr/>
                    <a:lstStyle/>
                    <a:p>
                      <a:pPr algn="ctr">
                        <a:defRPr sz="800">
                          <a:latin typeface="Nexa Book"/>
                        </a:defRPr>
                      </a:pPr>
                      <a:r>
                        <a:t>6%</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04386257"/>
                  </a:ext>
                </a:extLst>
              </a:tr>
              <a:tr h="277134">
                <a:tc>
                  <a:txBody>
                    <a:bodyPr/>
                    <a:lstStyle/>
                    <a:p>
                      <a:pPr algn="ctr">
                        <a:defRPr sz="800" b="1">
                          <a:latin typeface="Nexa (Headings)"/>
                        </a:defRPr>
                      </a:pPr>
                      <a:r>
                        <a:t>Millesimes</a:t>
                      </a:r>
                    </a:p>
                  </a:txBody>
                  <a:tcPr marL="3810" marR="3810" marT="3810" marB="0" anchor="ctr">
                    <a:noFill/>
                  </a:tcPr>
                </a:tc>
                <a:tc>
                  <a:txBody>
                    <a:bodyPr/>
                    <a:lstStyle/>
                    <a:p>
                      <a:pPr algn="ctr">
                        <a:defRPr sz="800">
                          <a:latin typeface="Nexa Book"/>
                        </a:defRPr>
                      </a:pPr>
                      <a:r>
                        <a:t>6</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071136303"/>
                  </a:ext>
                </a:extLst>
              </a:tr>
              <a:tr h="277134">
                <a:tc>
                  <a:txBody>
                    <a:bodyPr/>
                    <a:lstStyle/>
                    <a:p>
                      <a:pPr algn="ctr">
                        <a:defRPr sz="800" b="1">
                          <a:latin typeface="Nexa (Headings)"/>
                        </a:defRPr>
                      </a:pPr>
                      <a:r>
                        <a:t>Extra Brut</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478226403"/>
                  </a:ext>
                </a:extLst>
              </a:tr>
              <a:tr h="277134">
                <a:tc>
                  <a:txBody>
                    <a:bodyPr/>
                    <a:lstStyle/>
                    <a:p>
                      <a:pPr algn="ctr">
                        <a:defRPr sz="800" b="1">
                          <a:latin typeface="Nexa (Headings)"/>
                        </a:defRPr>
                      </a:pPr>
                      <a:r>
                        <a:t>Crus</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20%</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116474470"/>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1141</a:t>
            </a:fld>
            <a:endParaRPr lang="en-US"/>
          </a:p>
        </p:txBody>
      </p:sp>
    </p:spTree>
    <p:extLst>
      <p:ext uri="{BB962C8B-B14F-4D97-AF65-F5344CB8AC3E}">
        <p14:creationId xmlns:p14="http://schemas.microsoft.com/office/powerpoint/2010/main" val="3132561329"/>
      </p:ext>
    </p:extLst>
  </p:cSld>
  <p:clrMapOvr>
    <a:masterClrMapping/>
  </p:clrMapOvr>
</p:sld>
</file>

<file path=ppt/slides/slide11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8/27/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pPr>
              <a:defRPr sz="1200">
                <a:latin typeface="Nexa Bold (Headings)"/>
              </a:defRPr>
            </a:pPr>
            <a:r>
              <a:t>Segment fair share | Effervescents | Malard Nicolas | NICOLAS RHO | P12M</a:t>
            </a:r>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pPr>
              <a:defRPr sz="1600">
                <a:latin typeface="Nexa Bold (Headings)"/>
              </a:defRPr>
            </a:pPr>
            <a:r>
              <a:rPr lang="en-GB" dirty="0">
                <a:highlight>
                  <a:srgbClr val="FFFF00"/>
                </a:highlight>
              </a:rPr>
              <a:t>Segment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Malard Nicolas </a:t>
                      </a:r>
                    </a:p>
                    <a:p>
                      <a:pPr algn="ctr">
                        <a:defRPr sz="900" b="1">
                          <a:latin typeface="Nexa (Headings)"/>
                        </a:defRPr>
                      </a:pPr>
                      <a: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Malard Nicolas </a:t>
                      </a:r>
                    </a:p>
                    <a:p>
                      <a:pPr algn="ctr">
                        <a:defRPr sz="900" b="1">
                          <a:latin typeface="Nexa (Headings)"/>
                        </a:defRPr>
                      </a:pPr>
                      <a: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Malard Nicolas </a:t>
                      </a:r>
                    </a:p>
                    <a:p>
                      <a:pPr algn="ctr">
                        <a:defRPr sz="900" b="1">
                          <a:latin typeface="Nexa (Headings)"/>
                        </a:defRPr>
                      </a:pPr>
                      <a: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Malard Nicolas </a:t>
                      </a:r>
                    </a:p>
                    <a:p>
                      <a:pPr algn="ctr">
                        <a:defRPr sz="900" b="1">
                          <a:latin typeface="Nexa (Headings)"/>
                        </a:defRPr>
                      </a:pPr>
                      <a: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Malard Nicolas</a:t>
                      </a:r>
                    </a:p>
                    <a:p>
                      <a:pPr algn="ctr">
                        <a:defRPr sz="900" b="1">
                          <a:latin typeface="Nexa (Headings)"/>
                        </a:defRPr>
                      </a:pPr>
                      <a: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277134">
                <a:tc>
                  <a:txBody>
                    <a:bodyPr/>
                    <a:lstStyle/>
                    <a:p>
                      <a:pPr algn="ctr">
                        <a:defRPr sz="800" b="1">
                          <a:latin typeface="Nexa (Headings)"/>
                        </a:defRPr>
                      </a:pPr>
                      <a:r>
                        <a:t>Grand Total</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98</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7</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85%</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45%</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4</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277134">
                <a:tc>
                  <a:txBody>
                    <a:bodyPr/>
                    <a:lstStyle/>
                    <a:p>
                      <a:pPr algn="ctr">
                        <a:defRPr sz="800" b="1">
                          <a:latin typeface="Nexa (Headings)"/>
                        </a:defRPr>
                      </a:pPr>
                      <a:r>
                        <a:t>Mousseux Italiens</a:t>
                      </a:r>
                    </a:p>
                  </a:txBody>
                  <a:tcPr marL="3810" marR="3810" marT="3810" marB="0" anchor="ctr">
                    <a:noFill/>
                  </a:tcPr>
                </a:tc>
                <a:tc>
                  <a:txBody>
                    <a:bodyPr/>
                    <a:lstStyle/>
                    <a:p>
                      <a:pPr algn="ctr">
                        <a:defRPr sz="800">
                          <a:latin typeface="Nexa Book"/>
                        </a:defRPr>
                      </a:pPr>
                      <a:r>
                        <a:t>5</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3161381"/>
                  </a:ext>
                </a:extLst>
              </a:tr>
              <a:tr h="277134">
                <a:tc>
                  <a:txBody>
                    <a:bodyPr/>
                    <a:lstStyle/>
                    <a:p>
                      <a:pPr algn="ctr">
                        <a:defRPr sz="800" b="1">
                          <a:latin typeface="Nexa (Headings)"/>
                        </a:defRPr>
                      </a:pPr>
                      <a:r>
                        <a:t>Mousseux Val De Loire</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1752397169"/>
                  </a:ext>
                </a:extLst>
              </a:tr>
              <a:tr h="277134">
                <a:tc>
                  <a:txBody>
                    <a:bodyPr/>
                    <a:lstStyle/>
                    <a:p>
                      <a:pPr algn="ctr">
                        <a:defRPr sz="800" b="1">
                          <a:latin typeface="Nexa (Headings)"/>
                        </a:defRPr>
                      </a:pPr>
                      <a:r>
                        <a:t>Mousseux Bordelais</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3712364869"/>
                  </a:ext>
                </a:extLst>
              </a:tr>
              <a:tr h="277134">
                <a:tc>
                  <a:txBody>
                    <a:bodyPr/>
                    <a:lstStyle/>
                    <a:p>
                      <a:pPr algn="ctr">
                        <a:defRPr sz="800" b="1">
                          <a:latin typeface="Nexa (Headings)"/>
                        </a:defRPr>
                      </a:pPr>
                      <a:r>
                        <a:t>Mousseux Bourgogne</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98998524"/>
                  </a:ext>
                </a:extLst>
              </a:tr>
              <a:tr h="277134">
                <a:tc>
                  <a:txBody>
                    <a:bodyPr/>
                    <a:lstStyle/>
                    <a:p>
                      <a:pPr algn="ctr">
                        <a:defRPr sz="800" b="1">
                          <a:latin typeface="Nexa (Headings)"/>
                        </a:defRPr>
                      </a:pPr>
                      <a:r>
                        <a:t>Mousseux Alsace</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4143210105"/>
                  </a:ext>
                </a:extLst>
              </a:tr>
              <a:tr h="277134">
                <a:tc>
                  <a:txBody>
                    <a:bodyPr/>
                    <a:lstStyle/>
                    <a:p>
                      <a:pPr algn="ctr">
                        <a:defRPr sz="800" b="1">
                          <a:latin typeface="Nexa (Headings)"/>
                        </a:defRPr>
                      </a:pPr>
                      <a:r>
                        <a:t>Rosés</a:t>
                      </a:r>
                    </a:p>
                  </a:txBody>
                  <a:tcPr marL="3810" marR="3810" marT="3810" marB="0" anchor="ctr">
                    <a:noFill/>
                  </a:tcPr>
                </a:tc>
                <a:tc>
                  <a:txBody>
                    <a:bodyPr/>
                    <a:lstStyle/>
                    <a:p>
                      <a:pPr algn="ctr">
                        <a:defRPr sz="800">
                          <a:latin typeface="Nexa Book"/>
                        </a:defRPr>
                      </a:pPr>
                      <a:r>
                        <a:t>11</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18%</a:t>
                      </a:r>
                    </a:p>
                  </a:txBody>
                  <a:tcPr marL="3810" marR="3810" marT="3810" marB="0" anchor="ctr">
                    <a:noFill/>
                  </a:tcPr>
                </a:tc>
                <a:tc>
                  <a:txBody>
                    <a:bodyPr/>
                    <a:lstStyle/>
                    <a:p>
                      <a:pPr algn="ctr">
                        <a:defRPr sz="800">
                          <a:latin typeface="Nexa Book"/>
                        </a:defRPr>
                      </a:pPr>
                      <a:r>
                        <a:t>11%</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3374402097"/>
                  </a:ext>
                </a:extLst>
              </a:tr>
              <a:tr h="277134">
                <a:tc>
                  <a:txBody>
                    <a:bodyPr/>
                    <a:lstStyle/>
                    <a:p>
                      <a:pPr algn="ctr">
                        <a:defRPr sz="800" b="1">
                          <a:latin typeface="Nexa (Headings)"/>
                        </a:defRPr>
                      </a:pPr>
                      <a:r>
                        <a:t>Bruts</a:t>
                      </a:r>
                    </a:p>
                  </a:txBody>
                  <a:tcPr marL="3810" marR="3810" marT="3810" marB="0" anchor="ctr">
                    <a:noFill/>
                  </a:tcPr>
                </a:tc>
                <a:tc>
                  <a:txBody>
                    <a:bodyPr/>
                    <a:lstStyle/>
                    <a:p>
                      <a:pPr algn="ctr">
                        <a:defRPr sz="800">
                          <a:latin typeface="Nexa Book"/>
                        </a:defRPr>
                      </a:pPr>
                      <a:r>
                        <a:t>44</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7%</a:t>
                      </a:r>
                    </a:p>
                  </a:txBody>
                  <a:tcPr marL="3810" marR="3810" marT="3810" marB="0" anchor="ctr">
                    <a:noFill/>
                  </a:tcPr>
                </a:tc>
                <a:tc>
                  <a:txBody>
                    <a:bodyPr/>
                    <a:lstStyle/>
                    <a:p>
                      <a:pPr algn="ctr">
                        <a:defRPr sz="800">
                          <a:latin typeface="Nexa Book"/>
                        </a:defRPr>
                      </a:pPr>
                      <a:r>
                        <a:t>9%</a:t>
                      </a:r>
                    </a:p>
                  </a:txBody>
                  <a:tcPr marL="3810" marR="3810" marT="3810" marB="0" anchor="ctr">
                    <a:noFill/>
                  </a:tcPr>
                </a:tc>
                <a:tc>
                  <a:txBody>
                    <a:bodyPr/>
                    <a:lstStyle/>
                    <a:p>
                      <a:pPr algn="ctr">
                        <a:defRPr sz="800">
                          <a:latin typeface="Nexa Book"/>
                        </a:defRPr>
                      </a:pPr>
                      <a:r>
                        <a:t>4</a:t>
                      </a:r>
                    </a:p>
                  </a:txBody>
                  <a:tcPr marL="3810" marR="3810" marT="3810" marB="0" anchor="ctr">
                    <a:noFill/>
                  </a:tcPr>
                </a:tc>
                <a:tc>
                  <a:txBody>
                    <a:bodyPr/>
                    <a:lstStyle/>
                    <a:p>
                      <a:pPr algn="ctr">
                        <a:defRPr sz="800">
                          <a:latin typeface="Nexa Book"/>
                        </a:defRPr>
                      </a:pPr>
                      <a:r>
                        <a:t>1</a:t>
                      </a:r>
                    </a:p>
                  </a:txBody>
                  <a:tcPr marL="3810" marR="3810" marT="3810" marB="0" anchor="ctr">
                    <a:noFill/>
                  </a:tcPr>
                </a:tc>
                <a:extLst>
                  <a:ext uri="{0D108BD9-81ED-4DB2-BD59-A6C34878D82A}">
                    <a16:rowId xmlns:a16="http://schemas.microsoft.com/office/drawing/2014/main" val="2061534110"/>
                  </a:ext>
                </a:extLst>
              </a:tr>
              <a:tr h="277134">
                <a:tc>
                  <a:txBody>
                    <a:bodyPr/>
                    <a:lstStyle/>
                    <a:p>
                      <a:pPr algn="ctr">
                        <a:defRPr sz="800" b="1">
                          <a:latin typeface="Nexa (Headings)"/>
                        </a:defRPr>
                      </a:pPr>
                      <a:r>
                        <a:t>Blanc De Blancs</a:t>
                      </a:r>
                    </a:p>
                  </a:txBody>
                  <a:tcPr marL="3810" marR="3810" marT="3810" marB="0" anchor="ctr">
                    <a:noFill/>
                  </a:tcPr>
                </a:tc>
                <a:tc>
                  <a:txBody>
                    <a:bodyPr/>
                    <a:lstStyle/>
                    <a:p>
                      <a:pPr algn="ctr">
                        <a:defRPr sz="800">
                          <a:latin typeface="Nexa Book"/>
                        </a:defRPr>
                      </a:pPr>
                      <a:r>
                        <a:t>11</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12%</a:t>
                      </a:r>
                    </a:p>
                  </a:txBody>
                  <a:tcPr marL="3810" marR="3810" marT="3810" marB="0" anchor="ctr">
                    <a:noFill/>
                  </a:tcPr>
                </a:tc>
                <a:tc>
                  <a:txBody>
                    <a:bodyPr/>
                    <a:lstStyle/>
                    <a:p>
                      <a:pPr algn="ctr">
                        <a:defRPr sz="800">
                          <a:latin typeface="Nexa Book"/>
                        </a:defRPr>
                      </a:pPr>
                      <a:r>
                        <a:t>6%</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04386257"/>
                  </a:ext>
                </a:extLst>
              </a:tr>
              <a:tr h="277134">
                <a:tc>
                  <a:txBody>
                    <a:bodyPr/>
                    <a:lstStyle/>
                    <a:p>
                      <a:pPr algn="ctr">
                        <a:defRPr sz="800" b="1">
                          <a:latin typeface="Nexa (Headings)"/>
                        </a:defRPr>
                      </a:pPr>
                      <a:r>
                        <a:t>Millesimes</a:t>
                      </a:r>
                    </a:p>
                  </a:txBody>
                  <a:tcPr marL="3810" marR="3810" marT="3810" marB="0" anchor="ctr">
                    <a:noFill/>
                  </a:tcPr>
                </a:tc>
                <a:tc>
                  <a:txBody>
                    <a:bodyPr/>
                    <a:lstStyle/>
                    <a:p>
                      <a:pPr algn="ctr">
                        <a:defRPr sz="800">
                          <a:latin typeface="Nexa Book"/>
                        </a:defRPr>
                      </a:pPr>
                      <a:r>
                        <a:t>6</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071136303"/>
                  </a:ext>
                </a:extLst>
              </a:tr>
              <a:tr h="277134">
                <a:tc>
                  <a:txBody>
                    <a:bodyPr/>
                    <a:lstStyle/>
                    <a:p>
                      <a:pPr algn="ctr">
                        <a:defRPr sz="800" b="1">
                          <a:latin typeface="Nexa (Headings)"/>
                        </a:defRPr>
                      </a:pPr>
                      <a:r>
                        <a:t>Extra Brut</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478226403"/>
                  </a:ext>
                </a:extLst>
              </a:tr>
              <a:tr h="277134">
                <a:tc>
                  <a:txBody>
                    <a:bodyPr/>
                    <a:lstStyle/>
                    <a:p>
                      <a:pPr algn="ctr">
                        <a:defRPr sz="800" b="1">
                          <a:latin typeface="Nexa (Headings)"/>
                        </a:defRPr>
                      </a:pPr>
                      <a:r>
                        <a:t>Crus</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23%</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116474470"/>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1142</a:t>
            </a:fld>
            <a:endParaRPr lang="en-US"/>
          </a:p>
        </p:txBody>
      </p:sp>
    </p:spTree>
    <p:extLst>
      <p:ext uri="{BB962C8B-B14F-4D97-AF65-F5344CB8AC3E}">
        <p14:creationId xmlns:p14="http://schemas.microsoft.com/office/powerpoint/2010/main" val="1274291874"/>
      </p:ext>
    </p:extLst>
  </p:cSld>
  <p:clrMapOvr>
    <a:masterClrMapping/>
  </p:clrMapOvr>
</p:sld>
</file>

<file path=ppt/slides/slide11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8/27/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pPr>
              <a:defRPr sz="1200">
                <a:latin typeface="Nexa Bold (Headings)"/>
              </a:defRPr>
            </a:pPr>
            <a:r>
              <a:t>Segment fair share | Effervescents | Malard Nicolas | CA C | P12M</a:t>
            </a:r>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pPr>
              <a:defRPr sz="1600">
                <a:latin typeface="Nexa Bold (Headings)"/>
              </a:defRPr>
            </a:pPr>
            <a:r>
              <a:rPr lang="en-GB" dirty="0">
                <a:highlight>
                  <a:srgbClr val="FFFF00"/>
                </a:highlight>
              </a:rPr>
              <a:t>Segment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Malard Nicolas </a:t>
                      </a:r>
                    </a:p>
                    <a:p>
                      <a:pPr algn="ctr">
                        <a:defRPr sz="900" b="1">
                          <a:latin typeface="Nexa (Headings)"/>
                        </a:defRPr>
                      </a:pPr>
                      <a: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Malard Nicolas </a:t>
                      </a:r>
                    </a:p>
                    <a:p>
                      <a:pPr algn="ctr">
                        <a:defRPr sz="900" b="1">
                          <a:latin typeface="Nexa (Headings)"/>
                        </a:defRPr>
                      </a:pPr>
                      <a: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Malard Nicolas </a:t>
                      </a:r>
                    </a:p>
                    <a:p>
                      <a:pPr algn="ctr">
                        <a:defRPr sz="900" b="1">
                          <a:latin typeface="Nexa (Headings)"/>
                        </a:defRPr>
                      </a:pPr>
                      <a: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Malard Nicolas </a:t>
                      </a:r>
                    </a:p>
                    <a:p>
                      <a:pPr algn="ctr">
                        <a:defRPr sz="900" b="1">
                          <a:latin typeface="Nexa (Headings)"/>
                        </a:defRPr>
                      </a:pPr>
                      <a: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Malard Nicolas</a:t>
                      </a:r>
                    </a:p>
                    <a:p>
                      <a:pPr algn="ctr">
                        <a:defRPr sz="900" b="1">
                          <a:latin typeface="Nexa (Headings)"/>
                        </a:defRPr>
                      </a:pPr>
                      <a: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277134">
                <a:tc>
                  <a:txBody>
                    <a:bodyPr/>
                    <a:lstStyle/>
                    <a:p>
                      <a:pPr algn="ctr">
                        <a:defRPr sz="800" b="1">
                          <a:latin typeface="Nexa (Headings)"/>
                        </a:defRPr>
                      </a:pPr>
                      <a:r>
                        <a:t>Grand Total</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77</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6</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71%</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42%</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3</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277134">
                <a:tc>
                  <a:txBody>
                    <a:bodyPr/>
                    <a:lstStyle/>
                    <a:p>
                      <a:pPr algn="ctr">
                        <a:defRPr sz="800" b="1">
                          <a:latin typeface="Nexa (Headings)"/>
                        </a:defRPr>
                      </a:pPr>
                      <a:r>
                        <a:t>Mousseux Italiens</a:t>
                      </a:r>
                    </a:p>
                  </a:txBody>
                  <a:tcPr marL="3810" marR="3810" marT="3810" marB="0" anchor="ctr">
                    <a:noFill/>
                  </a:tcPr>
                </a:tc>
                <a:tc>
                  <a:txBody>
                    <a:bodyPr/>
                    <a:lstStyle/>
                    <a:p>
                      <a:pPr algn="ctr">
                        <a:defRPr sz="800">
                          <a:latin typeface="Nexa Book"/>
                        </a:defRPr>
                      </a:pPr>
                      <a:r>
                        <a:t>4</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3161381"/>
                  </a:ext>
                </a:extLst>
              </a:tr>
              <a:tr h="277134">
                <a:tc>
                  <a:txBody>
                    <a:bodyPr/>
                    <a:lstStyle/>
                    <a:p>
                      <a:pPr algn="ctr">
                        <a:defRPr sz="800" b="1">
                          <a:latin typeface="Nexa (Headings)"/>
                        </a:defRPr>
                      </a:pPr>
                      <a:r>
                        <a:t>Mousseux Val De Loire</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1752397169"/>
                  </a:ext>
                </a:extLst>
              </a:tr>
              <a:tr h="277134">
                <a:tc>
                  <a:txBody>
                    <a:bodyPr/>
                    <a:lstStyle/>
                    <a:p>
                      <a:pPr algn="ctr">
                        <a:defRPr sz="800" b="1">
                          <a:latin typeface="Nexa (Headings)"/>
                        </a:defRPr>
                      </a:pPr>
                      <a:r>
                        <a:t>Mousseux Bordelais</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3712364869"/>
                  </a:ext>
                </a:extLst>
              </a:tr>
              <a:tr h="277134">
                <a:tc>
                  <a:txBody>
                    <a:bodyPr/>
                    <a:lstStyle/>
                    <a:p>
                      <a:pPr algn="ctr">
                        <a:defRPr sz="800" b="1">
                          <a:latin typeface="Nexa (Headings)"/>
                        </a:defRPr>
                      </a:pPr>
                      <a:r>
                        <a:t>Mousseux Bourgogne</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98998524"/>
                  </a:ext>
                </a:extLst>
              </a:tr>
              <a:tr h="277134">
                <a:tc>
                  <a:txBody>
                    <a:bodyPr/>
                    <a:lstStyle/>
                    <a:p>
                      <a:pPr algn="ctr">
                        <a:defRPr sz="800" b="1">
                          <a:latin typeface="Nexa (Headings)"/>
                        </a:defRPr>
                      </a:pPr>
                      <a:r>
                        <a:t>Mousseux Alsace</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4143210105"/>
                  </a:ext>
                </a:extLst>
              </a:tr>
              <a:tr h="277134">
                <a:tc>
                  <a:txBody>
                    <a:bodyPr/>
                    <a:lstStyle/>
                    <a:p>
                      <a:pPr algn="ctr">
                        <a:defRPr sz="800" b="1">
                          <a:latin typeface="Nexa (Headings)"/>
                        </a:defRPr>
                      </a:pPr>
                      <a:r>
                        <a:t>Rosés</a:t>
                      </a:r>
                    </a:p>
                  </a:txBody>
                  <a:tcPr marL="3810" marR="3810" marT="3810" marB="0" anchor="ctr">
                    <a:noFill/>
                  </a:tcPr>
                </a:tc>
                <a:tc>
                  <a:txBody>
                    <a:bodyPr/>
                    <a:lstStyle/>
                    <a:p>
                      <a:pPr algn="ctr">
                        <a:defRPr sz="800">
                          <a:latin typeface="Nexa Book"/>
                        </a:defRPr>
                      </a:pPr>
                      <a:r>
                        <a:t>8</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16%</a:t>
                      </a:r>
                    </a:p>
                  </a:txBody>
                  <a:tcPr marL="3810" marR="3810" marT="3810" marB="0" anchor="ctr">
                    <a:noFill/>
                  </a:tcPr>
                </a:tc>
                <a:tc>
                  <a:txBody>
                    <a:bodyPr/>
                    <a:lstStyle/>
                    <a:p>
                      <a:pPr algn="ctr">
                        <a:defRPr sz="800">
                          <a:latin typeface="Nexa Book"/>
                        </a:defRPr>
                      </a:pPr>
                      <a:r>
                        <a:t>10%</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3374402097"/>
                  </a:ext>
                </a:extLst>
              </a:tr>
              <a:tr h="277134">
                <a:tc>
                  <a:txBody>
                    <a:bodyPr/>
                    <a:lstStyle/>
                    <a:p>
                      <a:pPr algn="ctr">
                        <a:defRPr sz="800" b="1">
                          <a:latin typeface="Nexa (Headings)"/>
                        </a:defRPr>
                      </a:pPr>
                      <a:r>
                        <a:t>Bruts</a:t>
                      </a:r>
                    </a:p>
                  </a:txBody>
                  <a:tcPr marL="3810" marR="3810" marT="3810" marB="0" anchor="ctr">
                    <a:noFill/>
                  </a:tcPr>
                </a:tc>
                <a:tc>
                  <a:txBody>
                    <a:bodyPr/>
                    <a:lstStyle/>
                    <a:p>
                      <a:pPr algn="ctr">
                        <a:defRPr sz="800">
                          <a:latin typeface="Nexa Book"/>
                        </a:defRPr>
                      </a:pPr>
                      <a:r>
                        <a:t>36</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8%</a:t>
                      </a:r>
                    </a:p>
                  </a:txBody>
                  <a:tcPr marL="3810" marR="3810" marT="3810" marB="0" anchor="ctr">
                    <a:noFill/>
                  </a:tcPr>
                </a:tc>
                <a:tc>
                  <a:txBody>
                    <a:bodyPr/>
                    <a:lstStyle/>
                    <a:p>
                      <a:pPr algn="ctr">
                        <a:defRPr sz="800">
                          <a:latin typeface="Nexa Book"/>
                        </a:defRPr>
                      </a:pPr>
                      <a:r>
                        <a:t>11%</a:t>
                      </a:r>
                    </a:p>
                  </a:txBody>
                  <a:tcPr marL="3810" marR="3810" marT="3810" marB="0" anchor="ctr">
                    <a:noFill/>
                  </a:tcPr>
                </a:tc>
                <a:tc>
                  <a:txBody>
                    <a:bodyPr/>
                    <a:lstStyle/>
                    <a:p>
                      <a:pPr algn="ctr">
                        <a:defRPr sz="800">
                          <a:latin typeface="Nexa Book"/>
                        </a:defRPr>
                      </a:pPr>
                      <a:r>
                        <a:t>4</a:t>
                      </a:r>
                    </a:p>
                  </a:txBody>
                  <a:tcPr marL="3810" marR="3810" marT="3810" marB="0" anchor="ctr">
                    <a:noFill/>
                  </a:tcPr>
                </a:tc>
                <a:tc>
                  <a:txBody>
                    <a:bodyPr/>
                    <a:lstStyle/>
                    <a:p>
                      <a:pPr algn="ctr">
                        <a:defRPr sz="800">
                          <a:latin typeface="Nexa Book"/>
                        </a:defRPr>
                      </a:pPr>
                      <a:r>
                        <a:t>1</a:t>
                      </a:r>
                    </a:p>
                  </a:txBody>
                  <a:tcPr marL="3810" marR="3810" marT="3810" marB="0" anchor="ctr">
                    <a:noFill/>
                  </a:tcPr>
                </a:tc>
                <a:extLst>
                  <a:ext uri="{0D108BD9-81ED-4DB2-BD59-A6C34878D82A}">
                    <a16:rowId xmlns:a16="http://schemas.microsoft.com/office/drawing/2014/main" val="2061534110"/>
                  </a:ext>
                </a:extLst>
              </a:tr>
              <a:tr h="277134">
                <a:tc>
                  <a:txBody>
                    <a:bodyPr/>
                    <a:lstStyle/>
                    <a:p>
                      <a:pPr algn="ctr">
                        <a:defRPr sz="800" b="1">
                          <a:latin typeface="Nexa (Headings)"/>
                        </a:defRPr>
                      </a:pPr>
                      <a:r>
                        <a:t>Blanc De Blancs</a:t>
                      </a:r>
                    </a:p>
                  </a:txBody>
                  <a:tcPr marL="3810" marR="3810" marT="3810" marB="0" anchor="ctr">
                    <a:noFill/>
                  </a:tcPr>
                </a:tc>
                <a:tc>
                  <a:txBody>
                    <a:bodyPr/>
                    <a:lstStyle/>
                    <a:p>
                      <a:pPr algn="ctr">
                        <a:defRPr sz="800">
                          <a:latin typeface="Nexa Book"/>
                        </a:defRPr>
                      </a:pPr>
                      <a:r>
                        <a:t>8</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12%</a:t>
                      </a:r>
                    </a:p>
                  </a:txBody>
                  <a:tcPr marL="3810" marR="3810" marT="3810" marB="0" anchor="ctr">
                    <a:noFill/>
                  </a:tcPr>
                </a:tc>
                <a:tc>
                  <a:txBody>
                    <a:bodyPr/>
                    <a:lstStyle/>
                    <a:p>
                      <a:pPr algn="ctr">
                        <a:defRPr sz="800">
                          <a:latin typeface="Nexa Book"/>
                        </a:defRPr>
                      </a:pPr>
                      <a:r>
                        <a:t>7%</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04386257"/>
                  </a:ext>
                </a:extLst>
              </a:tr>
              <a:tr h="277134">
                <a:tc>
                  <a:txBody>
                    <a:bodyPr/>
                    <a:lstStyle/>
                    <a:p>
                      <a:pPr algn="ctr">
                        <a:defRPr sz="800" b="1">
                          <a:latin typeface="Nexa (Headings)"/>
                        </a:defRPr>
                      </a:pPr>
                      <a:r>
                        <a:t>Millesimes</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071136303"/>
                  </a:ext>
                </a:extLst>
              </a:tr>
              <a:tr h="277134">
                <a:tc>
                  <a:txBody>
                    <a:bodyPr/>
                    <a:lstStyle/>
                    <a:p>
                      <a:pPr algn="ctr">
                        <a:defRPr sz="800" b="1">
                          <a:latin typeface="Nexa (Headings)"/>
                        </a:defRPr>
                      </a:pPr>
                      <a:r>
                        <a:t>Extra Brut</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478226403"/>
                  </a:ext>
                </a:extLst>
              </a:tr>
              <a:tr h="277134">
                <a:tc>
                  <a:txBody>
                    <a:bodyPr/>
                    <a:lstStyle/>
                    <a:p>
                      <a:pPr algn="ctr">
                        <a:defRPr sz="800" b="1">
                          <a:latin typeface="Nexa (Headings)"/>
                        </a:defRPr>
                      </a:pPr>
                      <a:r>
                        <a:t>Crus</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18%</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116474470"/>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1143</a:t>
            </a:fld>
            <a:endParaRPr lang="en-US"/>
          </a:p>
        </p:txBody>
      </p:sp>
    </p:spTree>
    <p:extLst>
      <p:ext uri="{BB962C8B-B14F-4D97-AF65-F5344CB8AC3E}">
        <p14:creationId xmlns:p14="http://schemas.microsoft.com/office/powerpoint/2010/main" val="3343087972"/>
      </p:ext>
    </p:extLst>
  </p:cSld>
  <p:clrMapOvr>
    <a:masterClrMapping/>
  </p:clrMapOvr>
</p:sld>
</file>

<file path=ppt/slides/slide11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8/27/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pPr>
              <a:defRPr sz="1200">
                <a:latin typeface="Nexa Bold (Headings)"/>
              </a:defRPr>
            </a:pPr>
            <a:r>
              <a:t>Segment fair share | Effervescents | Malard Nicolas | NICOLAS EST | P12M</a:t>
            </a:r>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pPr>
              <a:defRPr sz="1600">
                <a:latin typeface="Nexa Bold (Headings)"/>
              </a:defRPr>
            </a:pPr>
            <a:r>
              <a:rPr lang="en-GB" dirty="0">
                <a:highlight>
                  <a:srgbClr val="FFFF00"/>
                </a:highlight>
              </a:rPr>
              <a:t>Segment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Malard Nicolas </a:t>
                      </a:r>
                    </a:p>
                    <a:p>
                      <a:pPr algn="ctr">
                        <a:defRPr sz="900" b="1">
                          <a:latin typeface="Nexa (Headings)"/>
                        </a:defRPr>
                      </a:pPr>
                      <a: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Malard Nicolas </a:t>
                      </a:r>
                    </a:p>
                    <a:p>
                      <a:pPr algn="ctr">
                        <a:defRPr sz="900" b="1">
                          <a:latin typeface="Nexa (Headings)"/>
                        </a:defRPr>
                      </a:pPr>
                      <a: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Malard Nicolas </a:t>
                      </a:r>
                    </a:p>
                    <a:p>
                      <a:pPr algn="ctr">
                        <a:defRPr sz="900" b="1">
                          <a:latin typeface="Nexa (Headings)"/>
                        </a:defRPr>
                      </a:pPr>
                      <a: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Malard Nicolas </a:t>
                      </a:r>
                    </a:p>
                    <a:p>
                      <a:pPr algn="ctr">
                        <a:defRPr sz="900" b="1">
                          <a:latin typeface="Nexa (Headings)"/>
                        </a:defRPr>
                      </a:pPr>
                      <a: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Malard Nicolas</a:t>
                      </a:r>
                    </a:p>
                    <a:p>
                      <a:pPr algn="ctr">
                        <a:defRPr sz="900" b="1">
                          <a:latin typeface="Nexa (Headings)"/>
                        </a:defRPr>
                      </a:pPr>
                      <a: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277134">
                <a:tc>
                  <a:txBody>
                    <a:bodyPr/>
                    <a:lstStyle/>
                    <a:p>
                      <a:pPr algn="ctr">
                        <a:defRPr sz="800" b="1">
                          <a:latin typeface="Nexa (Headings)"/>
                        </a:defRPr>
                      </a:pPr>
                      <a:r>
                        <a:t>Grand Total</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07</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7</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71%</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4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5</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277134">
                <a:tc>
                  <a:txBody>
                    <a:bodyPr/>
                    <a:lstStyle/>
                    <a:p>
                      <a:pPr algn="ctr">
                        <a:defRPr sz="800" b="1">
                          <a:latin typeface="Nexa (Headings)"/>
                        </a:defRPr>
                      </a:pPr>
                      <a:r>
                        <a:t>Mousseux Italiens</a:t>
                      </a:r>
                    </a:p>
                  </a:txBody>
                  <a:tcPr marL="3810" marR="3810" marT="3810" marB="0" anchor="ctr">
                    <a:noFill/>
                  </a:tcPr>
                </a:tc>
                <a:tc>
                  <a:txBody>
                    <a:bodyPr/>
                    <a:lstStyle/>
                    <a:p>
                      <a:pPr algn="ctr">
                        <a:defRPr sz="800">
                          <a:latin typeface="Nexa Book"/>
                        </a:defRPr>
                      </a:pPr>
                      <a:r>
                        <a:t>4</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3161381"/>
                  </a:ext>
                </a:extLst>
              </a:tr>
              <a:tr h="277134">
                <a:tc>
                  <a:txBody>
                    <a:bodyPr/>
                    <a:lstStyle/>
                    <a:p>
                      <a:pPr algn="ctr">
                        <a:defRPr sz="800" b="1">
                          <a:latin typeface="Nexa (Headings)"/>
                        </a:defRPr>
                      </a:pPr>
                      <a:r>
                        <a:t>Mousseux Val De Loire</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1752397169"/>
                  </a:ext>
                </a:extLst>
              </a:tr>
              <a:tr h="277134">
                <a:tc>
                  <a:txBody>
                    <a:bodyPr/>
                    <a:lstStyle/>
                    <a:p>
                      <a:pPr algn="ctr">
                        <a:defRPr sz="800" b="1">
                          <a:latin typeface="Nexa (Headings)"/>
                        </a:defRPr>
                      </a:pPr>
                      <a:r>
                        <a:t>Mousseux Bordelais</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3712364869"/>
                  </a:ext>
                </a:extLst>
              </a:tr>
              <a:tr h="277134">
                <a:tc>
                  <a:txBody>
                    <a:bodyPr/>
                    <a:lstStyle/>
                    <a:p>
                      <a:pPr algn="ctr">
                        <a:defRPr sz="800" b="1">
                          <a:latin typeface="Nexa (Headings)"/>
                        </a:defRPr>
                      </a:pPr>
                      <a:r>
                        <a:t>Mousseux Bourgogne</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98998524"/>
                  </a:ext>
                </a:extLst>
              </a:tr>
              <a:tr h="277134">
                <a:tc>
                  <a:txBody>
                    <a:bodyPr/>
                    <a:lstStyle/>
                    <a:p>
                      <a:pPr algn="ctr">
                        <a:defRPr sz="800" b="1">
                          <a:latin typeface="Nexa (Headings)"/>
                        </a:defRPr>
                      </a:pPr>
                      <a:r>
                        <a:t>Mousseux Alsace</a:t>
                      </a:r>
                    </a:p>
                  </a:txBody>
                  <a:tcPr marL="3810" marR="3810" marT="3810" marB="0" anchor="ctr">
                    <a:noFill/>
                  </a:tcPr>
                </a:tc>
                <a:tc>
                  <a:txBody>
                    <a:bodyPr/>
                    <a:lstStyle/>
                    <a:p>
                      <a:pPr algn="ctr">
                        <a:defRPr sz="800">
                          <a:latin typeface="Nexa Book"/>
                        </a:defRPr>
                      </a:pPr>
                      <a:r>
                        <a:t>5</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4143210105"/>
                  </a:ext>
                </a:extLst>
              </a:tr>
              <a:tr h="277134">
                <a:tc>
                  <a:txBody>
                    <a:bodyPr/>
                    <a:lstStyle/>
                    <a:p>
                      <a:pPr algn="ctr">
                        <a:defRPr sz="800" b="1">
                          <a:latin typeface="Nexa (Headings)"/>
                        </a:defRPr>
                      </a:pPr>
                      <a:r>
                        <a:t>Rosés</a:t>
                      </a:r>
                    </a:p>
                  </a:txBody>
                  <a:tcPr marL="3810" marR="3810" marT="3810" marB="0" anchor="ctr">
                    <a:noFill/>
                  </a:tcPr>
                </a:tc>
                <a:tc>
                  <a:txBody>
                    <a:bodyPr/>
                    <a:lstStyle/>
                    <a:p>
                      <a:pPr algn="ctr">
                        <a:defRPr sz="800">
                          <a:latin typeface="Nexa Book"/>
                        </a:defRPr>
                      </a:pPr>
                      <a:r>
                        <a:t>9</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17%</a:t>
                      </a:r>
                    </a:p>
                  </a:txBody>
                  <a:tcPr marL="3810" marR="3810" marT="3810" marB="0" anchor="ctr">
                    <a:noFill/>
                  </a:tcPr>
                </a:tc>
                <a:tc>
                  <a:txBody>
                    <a:bodyPr/>
                    <a:lstStyle/>
                    <a:p>
                      <a:pPr algn="ctr">
                        <a:defRPr sz="800">
                          <a:latin typeface="Nexa Book"/>
                        </a:defRPr>
                      </a:pPr>
                      <a:r>
                        <a:t>17%</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3374402097"/>
                  </a:ext>
                </a:extLst>
              </a:tr>
              <a:tr h="277134">
                <a:tc>
                  <a:txBody>
                    <a:bodyPr/>
                    <a:lstStyle/>
                    <a:p>
                      <a:pPr algn="ctr">
                        <a:defRPr sz="800" b="1">
                          <a:latin typeface="Nexa (Headings)"/>
                        </a:defRPr>
                      </a:pPr>
                      <a:r>
                        <a:t>Bruts</a:t>
                      </a:r>
                    </a:p>
                  </a:txBody>
                  <a:tcPr marL="3810" marR="3810" marT="3810" marB="0" anchor="ctr">
                    <a:noFill/>
                  </a:tcPr>
                </a:tc>
                <a:tc>
                  <a:txBody>
                    <a:bodyPr/>
                    <a:lstStyle/>
                    <a:p>
                      <a:pPr algn="ctr">
                        <a:defRPr sz="800">
                          <a:latin typeface="Nexa Book"/>
                        </a:defRPr>
                      </a:pPr>
                      <a:r>
                        <a:t>46</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7%</a:t>
                      </a:r>
                    </a:p>
                  </a:txBody>
                  <a:tcPr marL="3810" marR="3810" marT="3810" marB="0" anchor="ctr">
                    <a:noFill/>
                  </a:tcPr>
                </a:tc>
                <a:tc>
                  <a:txBody>
                    <a:bodyPr/>
                    <a:lstStyle/>
                    <a:p>
                      <a:pPr algn="ctr">
                        <a:defRPr sz="800">
                          <a:latin typeface="Nexa Book"/>
                        </a:defRPr>
                      </a:pPr>
                      <a:r>
                        <a:t>11%</a:t>
                      </a:r>
                    </a:p>
                  </a:txBody>
                  <a:tcPr marL="3810" marR="3810" marT="3810" marB="0" anchor="ctr">
                    <a:noFill/>
                  </a:tcPr>
                </a:tc>
                <a:tc>
                  <a:txBody>
                    <a:bodyPr/>
                    <a:lstStyle/>
                    <a:p>
                      <a:pPr algn="ctr">
                        <a:defRPr sz="800">
                          <a:latin typeface="Nexa Book"/>
                        </a:defRPr>
                      </a:pPr>
                      <a:r>
                        <a:t>5</a:t>
                      </a:r>
                    </a:p>
                  </a:txBody>
                  <a:tcPr marL="3810" marR="3810" marT="3810" marB="0" anchor="ctr">
                    <a:noFill/>
                  </a:tcPr>
                </a:tc>
                <a:tc>
                  <a:txBody>
                    <a:bodyPr/>
                    <a:lstStyle/>
                    <a:p>
                      <a:pPr algn="ctr">
                        <a:defRPr sz="800">
                          <a:latin typeface="Nexa Book"/>
                        </a:defRPr>
                      </a:pPr>
                      <a:r>
                        <a:t>2</a:t>
                      </a:r>
                    </a:p>
                  </a:txBody>
                  <a:tcPr marL="3810" marR="3810" marT="3810" marB="0" anchor="ctr">
                    <a:noFill/>
                  </a:tcPr>
                </a:tc>
                <a:extLst>
                  <a:ext uri="{0D108BD9-81ED-4DB2-BD59-A6C34878D82A}">
                    <a16:rowId xmlns:a16="http://schemas.microsoft.com/office/drawing/2014/main" val="2061534110"/>
                  </a:ext>
                </a:extLst>
              </a:tr>
              <a:tr h="277134">
                <a:tc>
                  <a:txBody>
                    <a:bodyPr/>
                    <a:lstStyle/>
                    <a:p>
                      <a:pPr algn="ctr">
                        <a:defRPr sz="800" b="1">
                          <a:latin typeface="Nexa (Headings)"/>
                        </a:defRPr>
                      </a:pPr>
                      <a:r>
                        <a:t>Blanc De Blancs</a:t>
                      </a:r>
                    </a:p>
                  </a:txBody>
                  <a:tcPr marL="3810" marR="3810" marT="3810" marB="0" anchor="ctr">
                    <a:noFill/>
                  </a:tcPr>
                </a:tc>
                <a:tc>
                  <a:txBody>
                    <a:bodyPr/>
                    <a:lstStyle/>
                    <a:p>
                      <a:pPr algn="ctr">
                        <a:defRPr sz="800">
                          <a:latin typeface="Nexa Book"/>
                        </a:defRPr>
                      </a:pPr>
                      <a:r>
                        <a:t>14</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9%</a:t>
                      </a:r>
                    </a:p>
                  </a:txBody>
                  <a:tcPr marL="3810" marR="3810" marT="3810" marB="0" anchor="ctr">
                    <a:noFill/>
                  </a:tcPr>
                </a:tc>
                <a:tc>
                  <a:txBody>
                    <a:bodyPr/>
                    <a:lstStyle/>
                    <a:p>
                      <a:pPr algn="ctr">
                        <a:defRPr sz="800">
                          <a:latin typeface="Nexa Book"/>
                        </a:defRPr>
                      </a:pPr>
                      <a:r>
                        <a:t>5%</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04386257"/>
                  </a:ext>
                </a:extLst>
              </a:tr>
              <a:tr h="277134">
                <a:tc>
                  <a:txBody>
                    <a:bodyPr/>
                    <a:lstStyle/>
                    <a:p>
                      <a:pPr algn="ctr">
                        <a:defRPr sz="800" b="1">
                          <a:latin typeface="Nexa (Headings)"/>
                        </a:defRPr>
                      </a:pPr>
                      <a:r>
                        <a:t>Millesimes</a:t>
                      </a:r>
                    </a:p>
                  </a:txBody>
                  <a:tcPr marL="3810" marR="3810" marT="3810" marB="0" anchor="ctr">
                    <a:noFill/>
                  </a:tcPr>
                </a:tc>
                <a:tc>
                  <a:txBody>
                    <a:bodyPr/>
                    <a:lstStyle/>
                    <a:p>
                      <a:pPr algn="ctr">
                        <a:defRPr sz="800">
                          <a:latin typeface="Nexa Book"/>
                        </a:defRPr>
                      </a:pPr>
                      <a:r>
                        <a:t>8</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071136303"/>
                  </a:ext>
                </a:extLst>
              </a:tr>
              <a:tr h="277134">
                <a:tc>
                  <a:txBody>
                    <a:bodyPr/>
                    <a:lstStyle/>
                    <a:p>
                      <a:pPr algn="ctr">
                        <a:defRPr sz="800" b="1">
                          <a:latin typeface="Nexa (Headings)"/>
                        </a:defRPr>
                      </a:pPr>
                      <a:r>
                        <a:t>Extra Brut</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478226403"/>
                  </a:ext>
                </a:extLst>
              </a:tr>
              <a:tr h="277134">
                <a:tc>
                  <a:txBody>
                    <a:bodyPr/>
                    <a:lstStyle/>
                    <a:p>
                      <a:pPr algn="ctr">
                        <a:defRPr sz="800" b="1">
                          <a:latin typeface="Nexa (Headings)"/>
                        </a:defRPr>
                      </a:pPr>
                      <a:r>
                        <a:t>Crus</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19%</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116474470"/>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1144</a:t>
            </a:fld>
            <a:endParaRPr lang="en-US"/>
          </a:p>
        </p:txBody>
      </p:sp>
    </p:spTree>
    <p:extLst>
      <p:ext uri="{BB962C8B-B14F-4D97-AF65-F5344CB8AC3E}">
        <p14:creationId xmlns:p14="http://schemas.microsoft.com/office/powerpoint/2010/main" val="2667966987"/>
      </p:ext>
    </p:extLst>
  </p:cSld>
  <p:clrMapOvr>
    <a:masterClrMapping/>
  </p:clrMapOvr>
</p:sld>
</file>

<file path=ppt/slides/slide11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8/27/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pPr>
              <a:defRPr sz="1200">
                <a:latin typeface="Nexa Bold (Headings)"/>
              </a:defRPr>
            </a:pPr>
            <a:r>
              <a:t>Segment fair share | Effervescents | Malard Nicolas | CA A | P12M</a:t>
            </a:r>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pPr>
              <a:defRPr sz="1600">
                <a:latin typeface="Nexa Bold (Headings)"/>
              </a:defRPr>
            </a:pPr>
            <a:r>
              <a:rPr lang="en-GB" dirty="0">
                <a:highlight>
                  <a:srgbClr val="FFFF00"/>
                </a:highlight>
              </a:rPr>
              <a:t>Segment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Malard Nicolas </a:t>
                      </a:r>
                    </a:p>
                    <a:p>
                      <a:pPr algn="ctr">
                        <a:defRPr sz="900" b="1">
                          <a:latin typeface="Nexa (Headings)"/>
                        </a:defRPr>
                      </a:pPr>
                      <a: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Malard Nicolas </a:t>
                      </a:r>
                    </a:p>
                    <a:p>
                      <a:pPr algn="ctr">
                        <a:defRPr sz="900" b="1">
                          <a:latin typeface="Nexa (Headings)"/>
                        </a:defRPr>
                      </a:pPr>
                      <a: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Malard Nicolas </a:t>
                      </a:r>
                    </a:p>
                    <a:p>
                      <a:pPr algn="ctr">
                        <a:defRPr sz="900" b="1">
                          <a:latin typeface="Nexa (Headings)"/>
                        </a:defRPr>
                      </a:pPr>
                      <a: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Malard Nicolas </a:t>
                      </a:r>
                    </a:p>
                    <a:p>
                      <a:pPr algn="ctr">
                        <a:defRPr sz="900" b="1">
                          <a:latin typeface="Nexa (Headings)"/>
                        </a:defRPr>
                      </a:pPr>
                      <a: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Malard Nicolas</a:t>
                      </a:r>
                    </a:p>
                    <a:p>
                      <a:pPr algn="ctr">
                        <a:defRPr sz="900" b="1">
                          <a:latin typeface="Nexa (Headings)"/>
                        </a:defRPr>
                      </a:pPr>
                      <a: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277134">
                <a:tc>
                  <a:txBody>
                    <a:bodyPr/>
                    <a:lstStyle/>
                    <a:p>
                      <a:pPr algn="ctr">
                        <a:defRPr sz="800" b="1">
                          <a:latin typeface="Nexa (Headings)"/>
                        </a:defRPr>
                      </a:pPr>
                      <a:r>
                        <a:t>Grand Total</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11</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7</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64%</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33%</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4</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277134">
                <a:tc>
                  <a:txBody>
                    <a:bodyPr/>
                    <a:lstStyle/>
                    <a:p>
                      <a:pPr algn="ctr">
                        <a:defRPr sz="800" b="1">
                          <a:latin typeface="Nexa (Headings)"/>
                        </a:defRPr>
                      </a:pPr>
                      <a:r>
                        <a:t>Mousseux Italiens</a:t>
                      </a:r>
                    </a:p>
                  </a:txBody>
                  <a:tcPr marL="3810" marR="3810" marT="3810" marB="0" anchor="ctr">
                    <a:noFill/>
                  </a:tcPr>
                </a:tc>
                <a:tc>
                  <a:txBody>
                    <a:bodyPr/>
                    <a:lstStyle/>
                    <a:p>
                      <a:pPr algn="ctr">
                        <a:defRPr sz="800">
                          <a:latin typeface="Nexa Book"/>
                        </a:defRPr>
                      </a:pPr>
                      <a:r>
                        <a:t>5</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3161381"/>
                  </a:ext>
                </a:extLst>
              </a:tr>
              <a:tr h="277134">
                <a:tc>
                  <a:txBody>
                    <a:bodyPr/>
                    <a:lstStyle/>
                    <a:p>
                      <a:pPr algn="ctr">
                        <a:defRPr sz="800" b="1">
                          <a:latin typeface="Nexa (Headings)"/>
                        </a:defRPr>
                      </a:pPr>
                      <a:r>
                        <a:t>Mousseux Val De Loire</a:t>
                      </a:r>
                    </a:p>
                  </a:txBody>
                  <a:tcPr marL="3810" marR="3810" marT="3810" marB="0" anchor="ctr">
                    <a:noFill/>
                  </a:tcPr>
                </a:tc>
                <a:tc>
                  <a:txBody>
                    <a:bodyPr/>
                    <a:lstStyle/>
                    <a:p>
                      <a:pPr algn="ctr">
                        <a:defRPr sz="800">
                          <a:latin typeface="Nexa Book"/>
                        </a:defRPr>
                      </a:pPr>
                      <a:r>
                        <a:t>4</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1752397169"/>
                  </a:ext>
                </a:extLst>
              </a:tr>
              <a:tr h="277134">
                <a:tc>
                  <a:txBody>
                    <a:bodyPr/>
                    <a:lstStyle/>
                    <a:p>
                      <a:pPr algn="ctr">
                        <a:defRPr sz="800" b="1">
                          <a:latin typeface="Nexa (Headings)"/>
                        </a:defRPr>
                      </a:pPr>
                      <a:r>
                        <a:t>Mousseux Bordelais</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3712364869"/>
                  </a:ext>
                </a:extLst>
              </a:tr>
              <a:tr h="277134">
                <a:tc>
                  <a:txBody>
                    <a:bodyPr/>
                    <a:lstStyle/>
                    <a:p>
                      <a:pPr algn="ctr">
                        <a:defRPr sz="800" b="1">
                          <a:latin typeface="Nexa (Headings)"/>
                        </a:defRPr>
                      </a:pPr>
                      <a:r>
                        <a:t>Mousseux Bourgogne</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98998524"/>
                  </a:ext>
                </a:extLst>
              </a:tr>
              <a:tr h="277134">
                <a:tc>
                  <a:txBody>
                    <a:bodyPr/>
                    <a:lstStyle/>
                    <a:p>
                      <a:pPr algn="ctr">
                        <a:defRPr sz="800" b="1">
                          <a:latin typeface="Nexa (Headings)"/>
                        </a:defRPr>
                      </a:pPr>
                      <a:r>
                        <a:t>Mousseux Alsace</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4143210105"/>
                  </a:ext>
                </a:extLst>
              </a:tr>
              <a:tr h="277134">
                <a:tc>
                  <a:txBody>
                    <a:bodyPr/>
                    <a:lstStyle/>
                    <a:p>
                      <a:pPr algn="ctr">
                        <a:defRPr sz="800" b="1">
                          <a:latin typeface="Nexa (Headings)"/>
                        </a:defRPr>
                      </a:pPr>
                      <a:r>
                        <a:t>Rosés</a:t>
                      </a:r>
                    </a:p>
                  </a:txBody>
                  <a:tcPr marL="3810" marR="3810" marT="3810" marB="0" anchor="ctr">
                    <a:noFill/>
                  </a:tcPr>
                </a:tc>
                <a:tc>
                  <a:txBody>
                    <a:bodyPr/>
                    <a:lstStyle/>
                    <a:p>
                      <a:pPr algn="ctr">
                        <a:defRPr sz="800">
                          <a:latin typeface="Nexa Book"/>
                        </a:defRPr>
                      </a:pPr>
                      <a:r>
                        <a:t>13</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14%</a:t>
                      </a:r>
                    </a:p>
                  </a:txBody>
                  <a:tcPr marL="3810" marR="3810" marT="3810" marB="0" anchor="ctr">
                    <a:noFill/>
                  </a:tcPr>
                </a:tc>
                <a:tc>
                  <a:txBody>
                    <a:bodyPr/>
                    <a:lstStyle/>
                    <a:p>
                      <a:pPr algn="ctr">
                        <a:defRPr sz="800">
                          <a:latin typeface="Nexa Book"/>
                        </a:defRPr>
                      </a:pPr>
                      <a:r>
                        <a:t>7%</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3374402097"/>
                  </a:ext>
                </a:extLst>
              </a:tr>
              <a:tr h="277134">
                <a:tc>
                  <a:txBody>
                    <a:bodyPr/>
                    <a:lstStyle/>
                    <a:p>
                      <a:pPr algn="ctr">
                        <a:defRPr sz="800" b="1">
                          <a:latin typeface="Nexa (Headings)"/>
                        </a:defRPr>
                      </a:pPr>
                      <a:r>
                        <a:t>Bruts</a:t>
                      </a:r>
                    </a:p>
                  </a:txBody>
                  <a:tcPr marL="3810" marR="3810" marT="3810" marB="0" anchor="ctr">
                    <a:noFill/>
                  </a:tcPr>
                </a:tc>
                <a:tc>
                  <a:txBody>
                    <a:bodyPr/>
                    <a:lstStyle/>
                    <a:p>
                      <a:pPr algn="ctr">
                        <a:defRPr sz="800">
                          <a:latin typeface="Nexa Book"/>
                        </a:defRPr>
                      </a:pPr>
                      <a:r>
                        <a:t>48</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7%</a:t>
                      </a:r>
                    </a:p>
                  </a:txBody>
                  <a:tcPr marL="3810" marR="3810" marT="3810" marB="0" anchor="ctr">
                    <a:noFill/>
                  </a:tcPr>
                </a:tc>
                <a:tc>
                  <a:txBody>
                    <a:bodyPr/>
                    <a:lstStyle/>
                    <a:p>
                      <a:pPr algn="ctr">
                        <a:defRPr sz="800">
                          <a:latin typeface="Nexa Book"/>
                        </a:defRPr>
                      </a:pPr>
                      <a:r>
                        <a:t>10%</a:t>
                      </a:r>
                    </a:p>
                  </a:txBody>
                  <a:tcPr marL="3810" marR="3810" marT="3810" marB="0" anchor="ctr">
                    <a:noFill/>
                  </a:tcPr>
                </a:tc>
                <a:tc>
                  <a:txBody>
                    <a:bodyPr/>
                    <a:lstStyle/>
                    <a:p>
                      <a:pPr algn="ctr">
                        <a:defRPr sz="800">
                          <a:latin typeface="Nexa Book"/>
                        </a:defRPr>
                      </a:pPr>
                      <a:r>
                        <a:t>5</a:t>
                      </a:r>
                    </a:p>
                  </a:txBody>
                  <a:tcPr marL="3810" marR="3810" marT="3810" marB="0" anchor="ctr">
                    <a:noFill/>
                  </a:tcPr>
                </a:tc>
                <a:tc>
                  <a:txBody>
                    <a:bodyPr/>
                    <a:lstStyle/>
                    <a:p>
                      <a:pPr algn="ctr">
                        <a:defRPr sz="800">
                          <a:latin typeface="Nexa Book"/>
                        </a:defRPr>
                      </a:pPr>
                      <a:r>
                        <a:t>2</a:t>
                      </a:r>
                    </a:p>
                  </a:txBody>
                  <a:tcPr marL="3810" marR="3810" marT="3810" marB="0" anchor="ctr">
                    <a:noFill/>
                  </a:tcPr>
                </a:tc>
                <a:extLst>
                  <a:ext uri="{0D108BD9-81ED-4DB2-BD59-A6C34878D82A}">
                    <a16:rowId xmlns:a16="http://schemas.microsoft.com/office/drawing/2014/main" val="2061534110"/>
                  </a:ext>
                </a:extLst>
              </a:tr>
              <a:tr h="277134">
                <a:tc>
                  <a:txBody>
                    <a:bodyPr/>
                    <a:lstStyle/>
                    <a:p>
                      <a:pPr algn="ctr">
                        <a:defRPr sz="800" b="1">
                          <a:latin typeface="Nexa (Headings)"/>
                        </a:defRPr>
                      </a:pPr>
                      <a:r>
                        <a:t>Blanc De Blancs</a:t>
                      </a:r>
                    </a:p>
                  </a:txBody>
                  <a:tcPr marL="3810" marR="3810" marT="3810" marB="0" anchor="ctr">
                    <a:noFill/>
                  </a:tcPr>
                </a:tc>
                <a:tc>
                  <a:txBody>
                    <a:bodyPr/>
                    <a:lstStyle/>
                    <a:p>
                      <a:pPr algn="ctr">
                        <a:defRPr sz="800">
                          <a:latin typeface="Nexa Book"/>
                        </a:defRPr>
                      </a:pPr>
                      <a:r>
                        <a:t>12</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11%</a:t>
                      </a:r>
                    </a:p>
                  </a:txBody>
                  <a:tcPr marL="3810" marR="3810" marT="3810" marB="0" anchor="ctr">
                    <a:noFill/>
                  </a:tcPr>
                </a:tc>
                <a:tc>
                  <a:txBody>
                    <a:bodyPr/>
                    <a:lstStyle/>
                    <a:p>
                      <a:pPr algn="ctr">
                        <a:defRPr sz="800">
                          <a:latin typeface="Nexa Book"/>
                        </a:defRPr>
                      </a:pPr>
                      <a:r>
                        <a:t>5%</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04386257"/>
                  </a:ext>
                </a:extLst>
              </a:tr>
              <a:tr h="277134">
                <a:tc>
                  <a:txBody>
                    <a:bodyPr/>
                    <a:lstStyle/>
                    <a:p>
                      <a:pPr algn="ctr">
                        <a:defRPr sz="800" b="1">
                          <a:latin typeface="Nexa (Headings)"/>
                        </a:defRPr>
                      </a:pPr>
                      <a:r>
                        <a:t>Millesimes</a:t>
                      </a:r>
                    </a:p>
                  </a:txBody>
                  <a:tcPr marL="3810" marR="3810" marT="3810" marB="0" anchor="ctr">
                    <a:noFill/>
                  </a:tcPr>
                </a:tc>
                <a:tc>
                  <a:txBody>
                    <a:bodyPr/>
                    <a:lstStyle/>
                    <a:p>
                      <a:pPr algn="ctr">
                        <a:defRPr sz="800">
                          <a:latin typeface="Nexa Book"/>
                        </a:defRPr>
                      </a:pPr>
                      <a:r>
                        <a:t>8</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071136303"/>
                  </a:ext>
                </a:extLst>
              </a:tr>
              <a:tr h="277134">
                <a:tc>
                  <a:txBody>
                    <a:bodyPr/>
                    <a:lstStyle/>
                    <a:p>
                      <a:pPr algn="ctr">
                        <a:defRPr sz="800" b="1">
                          <a:latin typeface="Nexa (Headings)"/>
                        </a:defRPr>
                      </a:pPr>
                      <a:r>
                        <a:t>Extra Brut</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478226403"/>
                  </a:ext>
                </a:extLst>
              </a:tr>
              <a:tr h="277134">
                <a:tc>
                  <a:txBody>
                    <a:bodyPr/>
                    <a:lstStyle/>
                    <a:p>
                      <a:pPr algn="ctr">
                        <a:defRPr sz="800" b="1">
                          <a:latin typeface="Nexa (Headings)"/>
                        </a:defRPr>
                      </a:pPr>
                      <a:r>
                        <a:t>Crus</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18%</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116474470"/>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1145</a:t>
            </a:fld>
            <a:endParaRPr lang="en-US"/>
          </a:p>
        </p:txBody>
      </p:sp>
    </p:spTree>
    <p:extLst>
      <p:ext uri="{BB962C8B-B14F-4D97-AF65-F5344CB8AC3E}">
        <p14:creationId xmlns:p14="http://schemas.microsoft.com/office/powerpoint/2010/main" val="1857438374"/>
      </p:ext>
    </p:extLst>
  </p:cSld>
  <p:clrMapOvr>
    <a:masterClrMapping/>
  </p:clrMapOvr>
</p:sld>
</file>

<file path=ppt/slides/slide11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8/27/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pPr>
              <a:defRPr sz="1200">
                <a:latin typeface="Nexa Bold (Headings)"/>
              </a:defRPr>
            </a:pPr>
            <a:r>
              <a:t>Segment fair share | Effervescents | Malard Nicolas | CA B | P12M</a:t>
            </a:r>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pPr>
              <a:defRPr sz="1600">
                <a:latin typeface="Nexa Bold (Headings)"/>
              </a:defRPr>
            </a:pPr>
            <a:r>
              <a:rPr lang="en-GB" dirty="0">
                <a:highlight>
                  <a:srgbClr val="FFFF00"/>
                </a:highlight>
              </a:rPr>
              <a:t>Segment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Malard Nicolas </a:t>
                      </a:r>
                    </a:p>
                    <a:p>
                      <a:pPr algn="ctr">
                        <a:defRPr sz="900" b="1">
                          <a:latin typeface="Nexa (Headings)"/>
                        </a:defRPr>
                      </a:pPr>
                      <a: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Malard Nicolas </a:t>
                      </a:r>
                    </a:p>
                    <a:p>
                      <a:pPr algn="ctr">
                        <a:defRPr sz="900" b="1">
                          <a:latin typeface="Nexa (Headings)"/>
                        </a:defRPr>
                      </a:pPr>
                      <a: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Malard Nicolas </a:t>
                      </a:r>
                    </a:p>
                    <a:p>
                      <a:pPr algn="ctr">
                        <a:defRPr sz="900" b="1">
                          <a:latin typeface="Nexa (Headings)"/>
                        </a:defRPr>
                      </a:pPr>
                      <a: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Malard Nicolas </a:t>
                      </a:r>
                    </a:p>
                    <a:p>
                      <a:pPr algn="ctr">
                        <a:defRPr sz="900" b="1">
                          <a:latin typeface="Nexa (Headings)"/>
                        </a:defRPr>
                      </a:pPr>
                      <a: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Malard Nicolas</a:t>
                      </a:r>
                    </a:p>
                    <a:p>
                      <a:pPr algn="ctr">
                        <a:defRPr sz="900" b="1">
                          <a:latin typeface="Nexa (Headings)"/>
                        </a:defRPr>
                      </a:pPr>
                      <a: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277134">
                <a:tc>
                  <a:txBody>
                    <a:bodyPr/>
                    <a:lstStyle/>
                    <a:p>
                      <a:pPr algn="ctr">
                        <a:defRPr sz="800" b="1">
                          <a:latin typeface="Nexa (Headings)"/>
                        </a:defRPr>
                      </a:pPr>
                      <a:r>
                        <a:t>Grand Total</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88</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7</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7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41%</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4</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277134">
                <a:tc>
                  <a:txBody>
                    <a:bodyPr/>
                    <a:lstStyle/>
                    <a:p>
                      <a:pPr algn="ctr">
                        <a:defRPr sz="800" b="1">
                          <a:latin typeface="Nexa (Headings)"/>
                        </a:defRPr>
                      </a:pPr>
                      <a:r>
                        <a:t>Mousseux Italiens</a:t>
                      </a:r>
                    </a:p>
                  </a:txBody>
                  <a:tcPr marL="3810" marR="3810" marT="3810" marB="0" anchor="ctr">
                    <a:noFill/>
                  </a:tcPr>
                </a:tc>
                <a:tc>
                  <a:txBody>
                    <a:bodyPr/>
                    <a:lstStyle/>
                    <a:p>
                      <a:pPr algn="ctr">
                        <a:defRPr sz="800">
                          <a:latin typeface="Nexa Book"/>
                        </a:defRPr>
                      </a:pPr>
                      <a:r>
                        <a:t>4</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3161381"/>
                  </a:ext>
                </a:extLst>
              </a:tr>
              <a:tr h="277134">
                <a:tc>
                  <a:txBody>
                    <a:bodyPr/>
                    <a:lstStyle/>
                    <a:p>
                      <a:pPr algn="ctr">
                        <a:defRPr sz="800" b="1">
                          <a:latin typeface="Nexa (Headings)"/>
                        </a:defRPr>
                      </a:pPr>
                      <a:r>
                        <a:t>Mousseux Val De Loire</a:t>
                      </a:r>
                    </a:p>
                  </a:txBody>
                  <a:tcPr marL="3810" marR="3810" marT="3810" marB="0" anchor="ctr">
                    <a:noFill/>
                  </a:tcPr>
                </a:tc>
                <a:tc>
                  <a:txBody>
                    <a:bodyPr/>
                    <a:lstStyle/>
                    <a:p>
                      <a:pPr algn="ctr">
                        <a:defRPr sz="800">
                          <a:latin typeface="Nexa Book"/>
                        </a:defRPr>
                      </a:pPr>
                      <a:r>
                        <a:t>4</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1752397169"/>
                  </a:ext>
                </a:extLst>
              </a:tr>
              <a:tr h="277134">
                <a:tc>
                  <a:txBody>
                    <a:bodyPr/>
                    <a:lstStyle/>
                    <a:p>
                      <a:pPr algn="ctr">
                        <a:defRPr sz="800" b="1">
                          <a:latin typeface="Nexa (Headings)"/>
                        </a:defRPr>
                      </a:pPr>
                      <a:r>
                        <a:t>Mousseux Bordelais</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3712364869"/>
                  </a:ext>
                </a:extLst>
              </a:tr>
              <a:tr h="277134">
                <a:tc>
                  <a:txBody>
                    <a:bodyPr/>
                    <a:lstStyle/>
                    <a:p>
                      <a:pPr algn="ctr">
                        <a:defRPr sz="800" b="1">
                          <a:latin typeface="Nexa (Headings)"/>
                        </a:defRPr>
                      </a:pPr>
                      <a:r>
                        <a:t>Mousseux Bourgogne</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98998524"/>
                  </a:ext>
                </a:extLst>
              </a:tr>
              <a:tr h="277134">
                <a:tc>
                  <a:txBody>
                    <a:bodyPr/>
                    <a:lstStyle/>
                    <a:p>
                      <a:pPr algn="ctr">
                        <a:defRPr sz="800" b="1">
                          <a:latin typeface="Nexa (Headings)"/>
                        </a:defRPr>
                      </a:pPr>
                      <a:r>
                        <a:t>Mousseux Alsace</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4143210105"/>
                  </a:ext>
                </a:extLst>
              </a:tr>
              <a:tr h="277134">
                <a:tc>
                  <a:txBody>
                    <a:bodyPr/>
                    <a:lstStyle/>
                    <a:p>
                      <a:pPr algn="ctr">
                        <a:defRPr sz="800" b="1">
                          <a:latin typeface="Nexa (Headings)"/>
                        </a:defRPr>
                      </a:pPr>
                      <a:r>
                        <a:t>Rosés</a:t>
                      </a:r>
                    </a:p>
                  </a:txBody>
                  <a:tcPr marL="3810" marR="3810" marT="3810" marB="0" anchor="ctr">
                    <a:noFill/>
                  </a:tcPr>
                </a:tc>
                <a:tc>
                  <a:txBody>
                    <a:bodyPr/>
                    <a:lstStyle/>
                    <a:p>
                      <a:pPr algn="ctr">
                        <a:defRPr sz="800">
                          <a:latin typeface="Nexa Book"/>
                        </a:defRPr>
                      </a:pPr>
                      <a:r>
                        <a:t>10</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17%</a:t>
                      </a:r>
                    </a:p>
                  </a:txBody>
                  <a:tcPr marL="3810" marR="3810" marT="3810" marB="0" anchor="ctr">
                    <a:noFill/>
                  </a:tcPr>
                </a:tc>
                <a:tc>
                  <a:txBody>
                    <a:bodyPr/>
                    <a:lstStyle/>
                    <a:p>
                      <a:pPr algn="ctr">
                        <a:defRPr sz="800">
                          <a:latin typeface="Nexa Book"/>
                        </a:defRPr>
                      </a:pPr>
                      <a:r>
                        <a:t>10%</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3374402097"/>
                  </a:ext>
                </a:extLst>
              </a:tr>
              <a:tr h="277134">
                <a:tc>
                  <a:txBody>
                    <a:bodyPr/>
                    <a:lstStyle/>
                    <a:p>
                      <a:pPr algn="ctr">
                        <a:defRPr sz="800" b="1">
                          <a:latin typeface="Nexa (Headings)"/>
                        </a:defRPr>
                      </a:pPr>
                      <a:r>
                        <a:t>Bruts</a:t>
                      </a:r>
                    </a:p>
                  </a:txBody>
                  <a:tcPr marL="3810" marR="3810" marT="3810" marB="0" anchor="ctr">
                    <a:noFill/>
                  </a:tcPr>
                </a:tc>
                <a:tc>
                  <a:txBody>
                    <a:bodyPr/>
                    <a:lstStyle/>
                    <a:p>
                      <a:pPr algn="ctr">
                        <a:defRPr sz="800">
                          <a:latin typeface="Nexa Book"/>
                        </a:defRPr>
                      </a:pPr>
                      <a:r>
                        <a:t>40</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8%</a:t>
                      </a:r>
                    </a:p>
                  </a:txBody>
                  <a:tcPr marL="3810" marR="3810" marT="3810" marB="0" anchor="ctr">
                    <a:noFill/>
                  </a:tcPr>
                </a:tc>
                <a:tc>
                  <a:txBody>
                    <a:bodyPr/>
                    <a:lstStyle/>
                    <a:p>
                      <a:pPr algn="ctr">
                        <a:defRPr sz="800">
                          <a:latin typeface="Nexa Book"/>
                        </a:defRPr>
                      </a:pPr>
                      <a:r>
                        <a:t>11%</a:t>
                      </a:r>
                    </a:p>
                  </a:txBody>
                  <a:tcPr marL="3810" marR="3810" marT="3810" marB="0" anchor="ctr">
                    <a:noFill/>
                  </a:tcPr>
                </a:tc>
                <a:tc>
                  <a:txBody>
                    <a:bodyPr/>
                    <a:lstStyle/>
                    <a:p>
                      <a:pPr algn="ctr">
                        <a:defRPr sz="800">
                          <a:latin typeface="Nexa Book"/>
                        </a:defRPr>
                      </a:pPr>
                      <a:r>
                        <a:t>4</a:t>
                      </a:r>
                    </a:p>
                  </a:txBody>
                  <a:tcPr marL="3810" marR="3810" marT="3810" marB="0" anchor="ctr">
                    <a:noFill/>
                  </a:tcPr>
                </a:tc>
                <a:tc>
                  <a:txBody>
                    <a:bodyPr/>
                    <a:lstStyle/>
                    <a:p>
                      <a:pPr algn="ctr">
                        <a:defRPr sz="800">
                          <a:latin typeface="Nexa Book"/>
                        </a:defRPr>
                      </a:pPr>
                      <a:r>
                        <a:t>1</a:t>
                      </a:r>
                    </a:p>
                  </a:txBody>
                  <a:tcPr marL="3810" marR="3810" marT="3810" marB="0" anchor="ctr">
                    <a:noFill/>
                  </a:tcPr>
                </a:tc>
                <a:extLst>
                  <a:ext uri="{0D108BD9-81ED-4DB2-BD59-A6C34878D82A}">
                    <a16:rowId xmlns:a16="http://schemas.microsoft.com/office/drawing/2014/main" val="2061534110"/>
                  </a:ext>
                </a:extLst>
              </a:tr>
              <a:tr h="277134">
                <a:tc>
                  <a:txBody>
                    <a:bodyPr/>
                    <a:lstStyle/>
                    <a:p>
                      <a:pPr algn="ctr">
                        <a:defRPr sz="800" b="1">
                          <a:latin typeface="Nexa (Headings)"/>
                        </a:defRPr>
                      </a:pPr>
                      <a:r>
                        <a:t>Blanc De Blancs</a:t>
                      </a:r>
                    </a:p>
                  </a:txBody>
                  <a:tcPr marL="3810" marR="3810" marT="3810" marB="0" anchor="ctr">
                    <a:noFill/>
                  </a:tcPr>
                </a:tc>
                <a:tc>
                  <a:txBody>
                    <a:bodyPr/>
                    <a:lstStyle/>
                    <a:p>
                      <a:pPr algn="ctr">
                        <a:defRPr sz="800">
                          <a:latin typeface="Nexa Book"/>
                        </a:defRPr>
                      </a:pPr>
                      <a:r>
                        <a:t>9</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14%</a:t>
                      </a:r>
                    </a:p>
                  </a:txBody>
                  <a:tcPr marL="3810" marR="3810" marT="3810" marB="0" anchor="ctr">
                    <a:noFill/>
                  </a:tcPr>
                </a:tc>
                <a:tc>
                  <a:txBody>
                    <a:bodyPr/>
                    <a:lstStyle/>
                    <a:p>
                      <a:pPr algn="ctr">
                        <a:defRPr sz="800">
                          <a:latin typeface="Nexa Book"/>
                        </a:defRPr>
                      </a:pPr>
                      <a:r>
                        <a:t>7%</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04386257"/>
                  </a:ext>
                </a:extLst>
              </a:tr>
              <a:tr h="277134">
                <a:tc>
                  <a:txBody>
                    <a:bodyPr/>
                    <a:lstStyle/>
                    <a:p>
                      <a:pPr algn="ctr">
                        <a:defRPr sz="800" b="1">
                          <a:latin typeface="Nexa (Headings)"/>
                        </a:defRPr>
                      </a:pPr>
                      <a:r>
                        <a:t>Millesimes</a:t>
                      </a:r>
                    </a:p>
                  </a:txBody>
                  <a:tcPr marL="3810" marR="3810" marT="3810" marB="0" anchor="ctr">
                    <a:noFill/>
                  </a:tcPr>
                </a:tc>
                <a:tc>
                  <a:txBody>
                    <a:bodyPr/>
                    <a:lstStyle/>
                    <a:p>
                      <a:pPr algn="ctr">
                        <a:defRPr sz="800">
                          <a:latin typeface="Nexa Book"/>
                        </a:defRPr>
                      </a:pPr>
                      <a:r>
                        <a:t>4</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071136303"/>
                  </a:ext>
                </a:extLst>
              </a:tr>
              <a:tr h="277134">
                <a:tc>
                  <a:txBody>
                    <a:bodyPr/>
                    <a:lstStyle/>
                    <a:p>
                      <a:pPr algn="ctr">
                        <a:defRPr sz="800" b="1">
                          <a:latin typeface="Nexa (Headings)"/>
                        </a:defRPr>
                      </a:pPr>
                      <a:r>
                        <a:t>Extra Brut</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478226403"/>
                  </a:ext>
                </a:extLst>
              </a:tr>
              <a:tr h="277134">
                <a:tc>
                  <a:txBody>
                    <a:bodyPr/>
                    <a:lstStyle/>
                    <a:p>
                      <a:pPr algn="ctr">
                        <a:defRPr sz="800" b="1">
                          <a:latin typeface="Nexa (Headings)"/>
                        </a:defRPr>
                      </a:pPr>
                      <a:r>
                        <a:t>Crus</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21%</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116474470"/>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1146</a:t>
            </a:fld>
            <a:endParaRPr lang="en-US"/>
          </a:p>
        </p:txBody>
      </p:sp>
    </p:spTree>
    <p:extLst>
      <p:ext uri="{BB962C8B-B14F-4D97-AF65-F5344CB8AC3E}">
        <p14:creationId xmlns:p14="http://schemas.microsoft.com/office/powerpoint/2010/main" val="3844176926"/>
      </p:ext>
    </p:extLst>
  </p:cSld>
  <p:clrMapOvr>
    <a:masterClrMapping/>
  </p:clrMapOvr>
</p:sld>
</file>

<file path=ppt/slides/slide11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8/27/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pPr>
              <a:defRPr sz="1200">
                <a:latin typeface="Nexa Bold (Headings)"/>
              </a:defRPr>
            </a:pPr>
            <a:r>
              <a:t>Segment fair share | Effervescents | Malard Nicolas | CA D | P12M</a:t>
            </a:r>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pPr>
              <a:defRPr sz="1600">
                <a:latin typeface="Nexa Bold (Headings)"/>
              </a:defRPr>
            </a:pPr>
            <a:r>
              <a:rPr lang="en-GB" dirty="0">
                <a:highlight>
                  <a:srgbClr val="FFFF00"/>
                </a:highlight>
              </a:rPr>
              <a:t>Segment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Malard Nicolas </a:t>
                      </a:r>
                    </a:p>
                    <a:p>
                      <a:pPr algn="ctr">
                        <a:defRPr sz="900" b="1">
                          <a:latin typeface="Nexa (Headings)"/>
                        </a:defRPr>
                      </a:pPr>
                      <a: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Malard Nicolas </a:t>
                      </a:r>
                    </a:p>
                    <a:p>
                      <a:pPr algn="ctr">
                        <a:defRPr sz="900" b="1">
                          <a:latin typeface="Nexa (Headings)"/>
                        </a:defRPr>
                      </a:pPr>
                      <a: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Malard Nicolas </a:t>
                      </a:r>
                    </a:p>
                    <a:p>
                      <a:pPr algn="ctr">
                        <a:defRPr sz="900" b="1">
                          <a:latin typeface="Nexa (Headings)"/>
                        </a:defRPr>
                      </a:pPr>
                      <a: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Malard Nicolas </a:t>
                      </a:r>
                    </a:p>
                    <a:p>
                      <a:pPr algn="ctr">
                        <a:defRPr sz="900" b="1">
                          <a:latin typeface="Nexa (Headings)"/>
                        </a:defRPr>
                      </a:pPr>
                      <a: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Malard Nicolas</a:t>
                      </a:r>
                    </a:p>
                    <a:p>
                      <a:pPr algn="ctr">
                        <a:defRPr sz="900" b="1">
                          <a:latin typeface="Nexa (Headings)"/>
                        </a:defRPr>
                      </a:pPr>
                      <a: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277134">
                <a:tc>
                  <a:txBody>
                    <a:bodyPr/>
                    <a:lstStyle/>
                    <a:p>
                      <a:pPr algn="ctr">
                        <a:defRPr sz="800" b="1">
                          <a:latin typeface="Nexa (Headings)"/>
                        </a:defRPr>
                      </a:pPr>
                      <a:r>
                        <a:t>Grand Total</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68</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5</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6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40%</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3</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277134">
                <a:tc>
                  <a:txBody>
                    <a:bodyPr/>
                    <a:lstStyle/>
                    <a:p>
                      <a:pPr algn="ctr">
                        <a:defRPr sz="800" b="1">
                          <a:latin typeface="Nexa (Headings)"/>
                        </a:defRPr>
                      </a:pPr>
                      <a:r>
                        <a:t>Mousseux Italiens</a:t>
                      </a:r>
                    </a:p>
                  </a:txBody>
                  <a:tcPr marL="3810" marR="3810" marT="3810" marB="0" anchor="ctr">
                    <a:noFill/>
                  </a:tcPr>
                </a:tc>
                <a:tc>
                  <a:txBody>
                    <a:bodyPr/>
                    <a:lstStyle/>
                    <a:p>
                      <a:pPr algn="ctr">
                        <a:defRPr sz="800">
                          <a:latin typeface="Nexa Book"/>
                        </a:defRPr>
                      </a:pPr>
                      <a:r>
                        <a:t>4</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3161381"/>
                  </a:ext>
                </a:extLst>
              </a:tr>
              <a:tr h="277134">
                <a:tc>
                  <a:txBody>
                    <a:bodyPr/>
                    <a:lstStyle/>
                    <a:p>
                      <a:pPr algn="ctr">
                        <a:defRPr sz="800" b="1">
                          <a:latin typeface="Nexa (Headings)"/>
                        </a:defRPr>
                      </a:pPr>
                      <a:r>
                        <a:t>Mousseux Val De Loire</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1752397169"/>
                  </a:ext>
                </a:extLst>
              </a:tr>
              <a:tr h="277134">
                <a:tc>
                  <a:txBody>
                    <a:bodyPr/>
                    <a:lstStyle/>
                    <a:p>
                      <a:pPr algn="ctr">
                        <a:defRPr sz="800" b="1">
                          <a:latin typeface="Nexa (Headings)"/>
                        </a:defRPr>
                      </a:pPr>
                      <a:r>
                        <a:t>Mousseux Bordelais</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3712364869"/>
                  </a:ext>
                </a:extLst>
              </a:tr>
              <a:tr h="277134">
                <a:tc>
                  <a:txBody>
                    <a:bodyPr/>
                    <a:lstStyle/>
                    <a:p>
                      <a:pPr algn="ctr">
                        <a:defRPr sz="800" b="1">
                          <a:latin typeface="Nexa (Headings)"/>
                        </a:defRPr>
                      </a:pPr>
                      <a:r>
                        <a:t>Mousseux Bourgogne</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98998524"/>
                  </a:ext>
                </a:extLst>
              </a:tr>
              <a:tr h="277134">
                <a:tc>
                  <a:txBody>
                    <a:bodyPr/>
                    <a:lstStyle/>
                    <a:p>
                      <a:pPr algn="ctr">
                        <a:defRPr sz="800" b="1">
                          <a:latin typeface="Nexa (Headings)"/>
                        </a:defRPr>
                      </a:pPr>
                      <a:r>
                        <a:t>Mousseux Alsace</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4143210105"/>
                  </a:ext>
                </a:extLst>
              </a:tr>
              <a:tr h="277134">
                <a:tc>
                  <a:txBody>
                    <a:bodyPr/>
                    <a:lstStyle/>
                    <a:p>
                      <a:pPr algn="ctr">
                        <a:defRPr sz="800" b="1">
                          <a:latin typeface="Nexa (Headings)"/>
                        </a:defRPr>
                      </a:pPr>
                      <a:r>
                        <a:t>Rosés</a:t>
                      </a:r>
                    </a:p>
                  </a:txBody>
                  <a:tcPr marL="3810" marR="3810" marT="3810" marB="0" anchor="ctr">
                    <a:noFill/>
                  </a:tcPr>
                </a:tc>
                <a:tc>
                  <a:txBody>
                    <a:bodyPr/>
                    <a:lstStyle/>
                    <a:p>
                      <a:pPr algn="ctr">
                        <a:defRPr sz="800">
                          <a:latin typeface="Nexa Book"/>
                        </a:defRPr>
                      </a:pPr>
                      <a:r>
                        <a:t>6</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17%</a:t>
                      </a:r>
                    </a:p>
                  </a:txBody>
                  <a:tcPr marL="3810" marR="3810" marT="3810" marB="0" anchor="ctr">
                    <a:noFill/>
                  </a:tcPr>
                </a:tc>
                <a:tc>
                  <a:txBody>
                    <a:bodyPr/>
                    <a:lstStyle/>
                    <a:p>
                      <a:pPr algn="ctr">
                        <a:defRPr sz="800">
                          <a:latin typeface="Nexa Book"/>
                        </a:defRPr>
                      </a:pPr>
                      <a:r>
                        <a:t>12%</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3374402097"/>
                  </a:ext>
                </a:extLst>
              </a:tr>
              <a:tr h="277134">
                <a:tc>
                  <a:txBody>
                    <a:bodyPr/>
                    <a:lstStyle/>
                    <a:p>
                      <a:pPr algn="ctr">
                        <a:defRPr sz="800" b="1">
                          <a:latin typeface="Nexa (Headings)"/>
                        </a:defRPr>
                      </a:pPr>
                      <a:r>
                        <a:t>Bruts</a:t>
                      </a:r>
                    </a:p>
                  </a:txBody>
                  <a:tcPr marL="3810" marR="3810" marT="3810" marB="0" anchor="ctr">
                    <a:noFill/>
                  </a:tcPr>
                </a:tc>
                <a:tc>
                  <a:txBody>
                    <a:bodyPr/>
                    <a:lstStyle/>
                    <a:p>
                      <a:pPr algn="ctr">
                        <a:defRPr sz="800">
                          <a:latin typeface="Nexa Book"/>
                        </a:defRPr>
                      </a:pPr>
                      <a:r>
                        <a:t>32</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8%</a:t>
                      </a:r>
                    </a:p>
                  </a:txBody>
                  <a:tcPr marL="3810" marR="3810" marT="3810" marB="0" anchor="ctr">
                    <a:noFill/>
                  </a:tcPr>
                </a:tc>
                <a:tc>
                  <a:txBody>
                    <a:bodyPr/>
                    <a:lstStyle/>
                    <a:p>
                      <a:pPr algn="ctr">
                        <a:defRPr sz="800">
                          <a:latin typeface="Nexa Book"/>
                        </a:defRPr>
                      </a:pPr>
                      <a:r>
                        <a:t>11%</a:t>
                      </a:r>
                    </a:p>
                  </a:txBody>
                  <a:tcPr marL="3810" marR="3810" marT="3810" marB="0" anchor="ctr">
                    <a:noFill/>
                  </a:tcPr>
                </a:tc>
                <a:tc>
                  <a:txBody>
                    <a:bodyPr/>
                    <a:lstStyle/>
                    <a:p>
                      <a:pPr algn="ctr">
                        <a:defRPr sz="800">
                          <a:latin typeface="Nexa Book"/>
                        </a:defRPr>
                      </a:pPr>
                      <a:r>
                        <a:t>4</a:t>
                      </a:r>
                    </a:p>
                  </a:txBody>
                  <a:tcPr marL="3810" marR="3810" marT="3810" marB="0" anchor="ctr">
                    <a:noFill/>
                  </a:tcPr>
                </a:tc>
                <a:tc>
                  <a:txBody>
                    <a:bodyPr/>
                    <a:lstStyle/>
                    <a:p>
                      <a:pPr algn="ctr">
                        <a:defRPr sz="800">
                          <a:latin typeface="Nexa Book"/>
                        </a:defRPr>
                      </a:pPr>
                      <a:r>
                        <a:t>2</a:t>
                      </a:r>
                    </a:p>
                  </a:txBody>
                  <a:tcPr marL="3810" marR="3810" marT="3810" marB="0" anchor="ctr">
                    <a:noFill/>
                  </a:tcPr>
                </a:tc>
                <a:extLst>
                  <a:ext uri="{0D108BD9-81ED-4DB2-BD59-A6C34878D82A}">
                    <a16:rowId xmlns:a16="http://schemas.microsoft.com/office/drawing/2014/main" val="2061534110"/>
                  </a:ext>
                </a:extLst>
              </a:tr>
              <a:tr h="277134">
                <a:tc>
                  <a:txBody>
                    <a:bodyPr/>
                    <a:lstStyle/>
                    <a:p>
                      <a:pPr algn="ctr">
                        <a:defRPr sz="800" b="1">
                          <a:latin typeface="Nexa (Headings)"/>
                        </a:defRPr>
                      </a:pPr>
                      <a:r>
                        <a:t>Blanc De Blancs</a:t>
                      </a:r>
                    </a:p>
                  </a:txBody>
                  <a:tcPr marL="3810" marR="3810" marT="3810" marB="0" anchor="ctr">
                    <a:noFill/>
                  </a:tcPr>
                </a:tc>
                <a:tc>
                  <a:txBody>
                    <a:bodyPr/>
                    <a:lstStyle/>
                    <a:p>
                      <a:pPr algn="ctr">
                        <a:defRPr sz="800">
                          <a:latin typeface="Nexa Book"/>
                        </a:defRPr>
                      </a:pPr>
                      <a:r>
                        <a:t>6</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12%</a:t>
                      </a:r>
                    </a:p>
                  </a:txBody>
                  <a:tcPr marL="3810" marR="3810" marT="3810" marB="0" anchor="ctr">
                    <a:noFill/>
                  </a:tcPr>
                </a:tc>
                <a:tc>
                  <a:txBody>
                    <a:bodyPr/>
                    <a:lstStyle/>
                    <a:p>
                      <a:pPr algn="ctr">
                        <a:defRPr sz="800">
                          <a:latin typeface="Nexa Book"/>
                        </a:defRPr>
                      </a:pPr>
                      <a:r>
                        <a:t>6%</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04386257"/>
                  </a:ext>
                </a:extLst>
              </a:tr>
              <a:tr h="277134">
                <a:tc>
                  <a:txBody>
                    <a:bodyPr/>
                    <a:lstStyle/>
                    <a:p>
                      <a:pPr algn="ctr">
                        <a:defRPr sz="800" b="1">
                          <a:latin typeface="Nexa (Headings)"/>
                        </a:defRPr>
                      </a:pPr>
                      <a:r>
                        <a:t>Millesimes</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071136303"/>
                  </a:ext>
                </a:extLst>
              </a:tr>
              <a:tr h="277134">
                <a:tc>
                  <a:txBody>
                    <a:bodyPr/>
                    <a:lstStyle/>
                    <a:p>
                      <a:pPr algn="ctr">
                        <a:defRPr sz="800" b="1">
                          <a:latin typeface="Nexa (Headings)"/>
                        </a:defRPr>
                      </a:pPr>
                      <a:r>
                        <a:t>Extra Brut</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478226403"/>
                  </a:ext>
                </a:extLst>
              </a:tr>
              <a:tr h="277134">
                <a:tc>
                  <a:txBody>
                    <a:bodyPr/>
                    <a:lstStyle/>
                    <a:p>
                      <a:pPr algn="ctr">
                        <a:defRPr sz="800" b="1">
                          <a:latin typeface="Nexa (Headings)"/>
                        </a:defRPr>
                      </a:pPr>
                      <a:r>
                        <a:t>Crus</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16%</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116474470"/>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1147</a:t>
            </a:fld>
            <a:endParaRPr lang="en-US"/>
          </a:p>
        </p:txBody>
      </p:sp>
    </p:spTree>
    <p:extLst>
      <p:ext uri="{BB962C8B-B14F-4D97-AF65-F5344CB8AC3E}">
        <p14:creationId xmlns:p14="http://schemas.microsoft.com/office/powerpoint/2010/main" val="1434079033"/>
      </p:ext>
    </p:extLst>
  </p:cSld>
  <p:clrMapOvr>
    <a:masterClrMapping/>
  </p:clrMapOvr>
</p:sld>
</file>

<file path=ppt/slides/slide11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8/27/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pPr>
              <a:defRPr sz="1200">
                <a:latin typeface="Nexa Bold (Headings)"/>
              </a:defRPr>
            </a:pPr>
            <a:r>
              <a:t>Segment fair share | Effervescents | Malard Nicolas | CA E | P12M</a:t>
            </a:r>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pPr>
              <a:defRPr sz="1600">
                <a:latin typeface="Nexa Bold (Headings)"/>
              </a:defRPr>
            </a:pPr>
            <a:r>
              <a:rPr lang="en-GB" dirty="0">
                <a:highlight>
                  <a:srgbClr val="FFFF00"/>
                </a:highlight>
              </a:rPr>
              <a:t>Segment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Malard Nicolas </a:t>
                      </a:r>
                    </a:p>
                    <a:p>
                      <a:pPr algn="ctr">
                        <a:defRPr sz="900" b="1">
                          <a:latin typeface="Nexa (Headings)"/>
                        </a:defRPr>
                      </a:pPr>
                      <a: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Malard Nicolas </a:t>
                      </a:r>
                    </a:p>
                    <a:p>
                      <a:pPr algn="ctr">
                        <a:defRPr sz="900" b="1">
                          <a:latin typeface="Nexa (Headings)"/>
                        </a:defRPr>
                      </a:pPr>
                      <a: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Malard Nicolas </a:t>
                      </a:r>
                    </a:p>
                    <a:p>
                      <a:pPr algn="ctr">
                        <a:defRPr sz="900" b="1">
                          <a:latin typeface="Nexa (Headings)"/>
                        </a:defRPr>
                      </a:pPr>
                      <a: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Malard Nicolas </a:t>
                      </a:r>
                    </a:p>
                    <a:p>
                      <a:pPr algn="ctr">
                        <a:defRPr sz="900" b="1">
                          <a:latin typeface="Nexa (Headings)"/>
                        </a:defRPr>
                      </a:pPr>
                      <a: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Malard Nicolas</a:t>
                      </a:r>
                    </a:p>
                    <a:p>
                      <a:pPr algn="ctr">
                        <a:defRPr sz="900" b="1">
                          <a:latin typeface="Nexa (Headings)"/>
                        </a:defRPr>
                      </a:pPr>
                      <a: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277134">
                <a:tc>
                  <a:txBody>
                    <a:bodyPr/>
                    <a:lstStyle/>
                    <a:p>
                      <a:pPr algn="ctr">
                        <a:defRPr sz="800" b="1">
                          <a:latin typeface="Nexa (Headings)"/>
                        </a:defRPr>
                      </a:pPr>
                      <a:r>
                        <a:t>Grand Total</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56</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4</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73%</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45%</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3</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277134">
                <a:tc>
                  <a:txBody>
                    <a:bodyPr/>
                    <a:lstStyle/>
                    <a:p>
                      <a:pPr algn="ctr">
                        <a:defRPr sz="800" b="1">
                          <a:latin typeface="Nexa (Headings)"/>
                        </a:defRPr>
                      </a:pPr>
                      <a:r>
                        <a:t>Mousseux Italiens</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3161381"/>
                  </a:ext>
                </a:extLst>
              </a:tr>
              <a:tr h="277134">
                <a:tc>
                  <a:txBody>
                    <a:bodyPr/>
                    <a:lstStyle/>
                    <a:p>
                      <a:pPr algn="ctr">
                        <a:defRPr sz="800" b="1">
                          <a:latin typeface="Nexa (Headings)"/>
                        </a:defRPr>
                      </a:pPr>
                      <a:r>
                        <a:t>Mousseux Val De Loire</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1752397169"/>
                  </a:ext>
                </a:extLst>
              </a:tr>
              <a:tr h="277134">
                <a:tc>
                  <a:txBody>
                    <a:bodyPr/>
                    <a:lstStyle/>
                    <a:p>
                      <a:pPr algn="ctr">
                        <a:defRPr sz="800" b="1">
                          <a:latin typeface="Nexa (Headings)"/>
                        </a:defRPr>
                      </a:pPr>
                      <a:r>
                        <a:t>Mousseux Bordelais</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3712364869"/>
                  </a:ext>
                </a:extLst>
              </a:tr>
              <a:tr h="277134">
                <a:tc>
                  <a:txBody>
                    <a:bodyPr/>
                    <a:lstStyle/>
                    <a:p>
                      <a:pPr algn="ctr">
                        <a:defRPr sz="800" b="1">
                          <a:latin typeface="Nexa (Headings)"/>
                        </a:defRPr>
                      </a:pPr>
                      <a:r>
                        <a:t>Mousseux Bourgogne</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98998524"/>
                  </a:ext>
                </a:extLst>
              </a:tr>
              <a:tr h="277134">
                <a:tc>
                  <a:txBody>
                    <a:bodyPr/>
                    <a:lstStyle/>
                    <a:p>
                      <a:pPr algn="ctr">
                        <a:defRPr sz="800" b="1">
                          <a:latin typeface="Nexa (Headings)"/>
                        </a:defRPr>
                      </a:pPr>
                      <a:r>
                        <a:t>Mousseux Alsace</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4143210105"/>
                  </a:ext>
                </a:extLst>
              </a:tr>
              <a:tr h="277134">
                <a:tc>
                  <a:txBody>
                    <a:bodyPr/>
                    <a:lstStyle/>
                    <a:p>
                      <a:pPr algn="ctr">
                        <a:defRPr sz="800" b="1">
                          <a:latin typeface="Nexa (Headings)"/>
                        </a:defRPr>
                      </a:pPr>
                      <a:r>
                        <a:t>Rosés</a:t>
                      </a:r>
                    </a:p>
                  </a:txBody>
                  <a:tcPr marL="3810" marR="3810" marT="3810" marB="0" anchor="ctr">
                    <a:noFill/>
                  </a:tcPr>
                </a:tc>
                <a:tc>
                  <a:txBody>
                    <a:bodyPr/>
                    <a:lstStyle/>
                    <a:p>
                      <a:pPr algn="ctr">
                        <a:defRPr sz="800">
                          <a:latin typeface="Nexa Book"/>
                        </a:defRPr>
                      </a:pPr>
                      <a:r>
                        <a:t>5</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18%</a:t>
                      </a:r>
                    </a:p>
                  </a:txBody>
                  <a:tcPr marL="3810" marR="3810" marT="3810" marB="0" anchor="ctr">
                    <a:noFill/>
                  </a:tcPr>
                </a:tc>
                <a:tc>
                  <a:txBody>
                    <a:bodyPr/>
                    <a:lstStyle/>
                    <a:p>
                      <a:pPr algn="ctr">
                        <a:defRPr sz="800">
                          <a:latin typeface="Nexa Book"/>
                        </a:defRPr>
                      </a:pPr>
                      <a:r>
                        <a:t>12%</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3374402097"/>
                  </a:ext>
                </a:extLst>
              </a:tr>
              <a:tr h="277134">
                <a:tc>
                  <a:txBody>
                    <a:bodyPr/>
                    <a:lstStyle/>
                    <a:p>
                      <a:pPr algn="ctr">
                        <a:defRPr sz="800" b="1">
                          <a:latin typeface="Nexa (Headings)"/>
                        </a:defRPr>
                      </a:pPr>
                      <a:r>
                        <a:t>Bruts</a:t>
                      </a:r>
                    </a:p>
                  </a:txBody>
                  <a:tcPr marL="3810" marR="3810" marT="3810" marB="0" anchor="ctr">
                    <a:noFill/>
                  </a:tcPr>
                </a:tc>
                <a:tc>
                  <a:txBody>
                    <a:bodyPr/>
                    <a:lstStyle/>
                    <a:p>
                      <a:pPr algn="ctr">
                        <a:defRPr sz="800">
                          <a:latin typeface="Nexa Book"/>
                        </a:defRPr>
                      </a:pPr>
                      <a:r>
                        <a:t>27</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8%</a:t>
                      </a:r>
                    </a:p>
                  </a:txBody>
                  <a:tcPr marL="3810" marR="3810" marT="3810" marB="0" anchor="ctr">
                    <a:noFill/>
                  </a:tcPr>
                </a:tc>
                <a:tc>
                  <a:txBody>
                    <a:bodyPr/>
                    <a:lstStyle/>
                    <a:p>
                      <a:pPr algn="ctr">
                        <a:defRPr sz="800">
                          <a:latin typeface="Nexa Book"/>
                        </a:defRPr>
                      </a:pPr>
                      <a:r>
                        <a:t>12%</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1</a:t>
                      </a:r>
                    </a:p>
                  </a:txBody>
                  <a:tcPr marL="3810" marR="3810" marT="3810" marB="0" anchor="ctr">
                    <a:noFill/>
                  </a:tcPr>
                </a:tc>
                <a:extLst>
                  <a:ext uri="{0D108BD9-81ED-4DB2-BD59-A6C34878D82A}">
                    <a16:rowId xmlns:a16="http://schemas.microsoft.com/office/drawing/2014/main" val="2061534110"/>
                  </a:ext>
                </a:extLst>
              </a:tr>
              <a:tr h="277134">
                <a:tc>
                  <a:txBody>
                    <a:bodyPr/>
                    <a:lstStyle/>
                    <a:p>
                      <a:pPr algn="ctr">
                        <a:defRPr sz="800" b="1">
                          <a:latin typeface="Nexa (Headings)"/>
                        </a:defRPr>
                      </a:pPr>
                      <a:r>
                        <a:t>Blanc De Blancs</a:t>
                      </a:r>
                    </a:p>
                  </a:txBody>
                  <a:tcPr marL="3810" marR="3810" marT="3810" marB="0" anchor="ctr">
                    <a:noFill/>
                  </a:tcPr>
                </a:tc>
                <a:tc>
                  <a:txBody>
                    <a:bodyPr/>
                    <a:lstStyle/>
                    <a:p>
                      <a:pPr algn="ctr">
                        <a:defRPr sz="800">
                          <a:latin typeface="Nexa Book"/>
                        </a:defRPr>
                      </a:pPr>
                      <a:r>
                        <a:t>5</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13%</a:t>
                      </a:r>
                    </a:p>
                  </a:txBody>
                  <a:tcPr marL="3810" marR="3810" marT="3810" marB="0" anchor="ctr">
                    <a:noFill/>
                  </a:tcPr>
                </a:tc>
                <a:tc>
                  <a:txBody>
                    <a:bodyPr/>
                    <a:lstStyle/>
                    <a:p>
                      <a:pPr algn="ctr">
                        <a:defRPr sz="800">
                          <a:latin typeface="Nexa Book"/>
                        </a:defRPr>
                      </a:pPr>
                      <a:r>
                        <a:t>8%</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04386257"/>
                  </a:ext>
                </a:extLst>
              </a:tr>
              <a:tr h="277134">
                <a:tc>
                  <a:txBody>
                    <a:bodyPr/>
                    <a:lstStyle/>
                    <a:p>
                      <a:pPr algn="ctr">
                        <a:defRPr sz="800" b="1">
                          <a:latin typeface="Nexa (Headings)"/>
                        </a:defRPr>
                      </a:pPr>
                      <a:r>
                        <a:t>Millesimes</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071136303"/>
                  </a:ext>
                </a:extLst>
              </a:tr>
              <a:tr h="277134">
                <a:tc>
                  <a:txBody>
                    <a:bodyPr/>
                    <a:lstStyle/>
                    <a:p>
                      <a:pPr algn="ctr">
                        <a:defRPr sz="800" b="1">
                          <a:latin typeface="Nexa (Headings)"/>
                        </a:defRPr>
                      </a:pPr>
                      <a:r>
                        <a:t>Extra Brut</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478226403"/>
                  </a:ext>
                </a:extLst>
              </a:tr>
              <a:tr h="277134">
                <a:tc>
                  <a:txBody>
                    <a:bodyPr/>
                    <a:lstStyle/>
                    <a:p>
                      <a:pPr algn="ctr">
                        <a:defRPr sz="800" b="1">
                          <a:latin typeface="Nexa (Headings)"/>
                        </a:defRPr>
                      </a:pPr>
                      <a:r>
                        <a:t>Crus</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22%</a:t>
                      </a:r>
                    </a:p>
                  </a:txBody>
                  <a:tcPr marL="3810" marR="3810" marT="3810" marB="0" anchor="ctr">
                    <a:noFill/>
                  </a:tcPr>
                </a:tc>
                <a:tc>
                  <a:txBody>
                    <a:bodyPr/>
                    <a:lstStyle/>
                    <a:p>
                      <a:pPr algn="ctr">
                        <a:defRPr sz="800">
                          <a:latin typeface="Nexa Book"/>
                        </a:defRPr>
                      </a:pPr>
                      <a:r>
                        <a:t>4%</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116474470"/>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1148</a:t>
            </a:fld>
            <a:endParaRPr lang="en-US"/>
          </a:p>
        </p:txBody>
      </p:sp>
    </p:spTree>
    <p:extLst>
      <p:ext uri="{BB962C8B-B14F-4D97-AF65-F5344CB8AC3E}">
        <p14:creationId xmlns:p14="http://schemas.microsoft.com/office/powerpoint/2010/main" val="2295933927"/>
      </p:ext>
    </p:extLst>
  </p:cSld>
  <p:clrMapOvr>
    <a:masterClrMapping/>
  </p:clrMapOvr>
</p:sld>
</file>

<file path=ppt/slides/slide11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8/27/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pPr>
              <a:defRPr sz="1200">
                <a:latin typeface="Nexa Bold (Headings)"/>
              </a:defRPr>
            </a:pPr>
            <a:r>
              <a:t>Segment fair share | Effervescents | Nicolas | NICOLAS QCT | P12M</a:t>
            </a:r>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pPr>
              <a:defRPr sz="1600">
                <a:latin typeface="Nexa Bold (Headings)"/>
              </a:defRPr>
            </a:pPr>
            <a:r>
              <a:rPr lang="en-GB" dirty="0">
                <a:highlight>
                  <a:srgbClr val="FFFF00"/>
                </a:highlight>
              </a:rPr>
              <a:t>Segment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Nicolas </a:t>
                      </a:r>
                    </a:p>
                    <a:p>
                      <a:pPr algn="ctr">
                        <a:defRPr sz="900" b="1">
                          <a:latin typeface="Nexa (Headings)"/>
                        </a:defRPr>
                      </a:pPr>
                      <a: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Nicolas </a:t>
                      </a:r>
                    </a:p>
                    <a:p>
                      <a:pPr algn="ctr">
                        <a:defRPr sz="900" b="1">
                          <a:latin typeface="Nexa (Headings)"/>
                        </a:defRPr>
                      </a:pPr>
                      <a: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Nicolas </a:t>
                      </a:r>
                    </a:p>
                    <a:p>
                      <a:pPr algn="ctr">
                        <a:defRPr sz="900" b="1">
                          <a:latin typeface="Nexa (Headings)"/>
                        </a:defRPr>
                      </a:pPr>
                      <a: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Nicolas </a:t>
                      </a:r>
                    </a:p>
                    <a:p>
                      <a:pPr algn="ctr">
                        <a:defRPr sz="900" b="1">
                          <a:latin typeface="Nexa (Headings)"/>
                        </a:defRPr>
                      </a:pPr>
                      <a: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Nicolas</a:t>
                      </a:r>
                    </a:p>
                    <a:p>
                      <a:pPr algn="ctr">
                        <a:defRPr sz="900" b="1">
                          <a:latin typeface="Nexa (Headings)"/>
                        </a:defRPr>
                      </a:pPr>
                      <a: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277134">
                <a:tc>
                  <a:txBody>
                    <a:bodyPr/>
                    <a:lstStyle/>
                    <a:p>
                      <a:pPr algn="ctr">
                        <a:defRPr sz="800" b="1">
                          <a:latin typeface="Nexa (Headings)"/>
                        </a:defRPr>
                      </a:pPr>
                      <a:r>
                        <a:t>Grand Total</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06</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7</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68%</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31%</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3</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277134">
                <a:tc>
                  <a:txBody>
                    <a:bodyPr/>
                    <a:lstStyle/>
                    <a:p>
                      <a:pPr algn="ctr">
                        <a:defRPr sz="800" b="1">
                          <a:latin typeface="Nexa (Headings)"/>
                        </a:defRPr>
                      </a:pPr>
                      <a:r>
                        <a:t>Mousseux Italiens</a:t>
                      </a:r>
                    </a:p>
                  </a:txBody>
                  <a:tcPr marL="3810" marR="3810" marT="3810" marB="0" anchor="ctr">
                    <a:noFill/>
                  </a:tcPr>
                </a:tc>
                <a:tc>
                  <a:txBody>
                    <a:bodyPr/>
                    <a:lstStyle/>
                    <a:p>
                      <a:pPr algn="ctr">
                        <a:defRPr sz="800">
                          <a:latin typeface="Nexa Book"/>
                        </a:defRPr>
                      </a:pPr>
                      <a:r>
                        <a:t>4</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3161381"/>
                  </a:ext>
                </a:extLst>
              </a:tr>
              <a:tr h="277134">
                <a:tc>
                  <a:txBody>
                    <a:bodyPr/>
                    <a:lstStyle/>
                    <a:p>
                      <a:pPr algn="ctr">
                        <a:defRPr sz="800" b="1">
                          <a:latin typeface="Nexa (Headings)"/>
                        </a:defRPr>
                      </a:pPr>
                      <a:r>
                        <a:t>Mousseux Val De Loire</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1752397169"/>
                  </a:ext>
                </a:extLst>
              </a:tr>
              <a:tr h="277134">
                <a:tc>
                  <a:txBody>
                    <a:bodyPr/>
                    <a:lstStyle/>
                    <a:p>
                      <a:pPr algn="ctr">
                        <a:defRPr sz="800" b="1">
                          <a:latin typeface="Nexa (Headings)"/>
                        </a:defRPr>
                      </a:pPr>
                      <a:r>
                        <a:t>Mousseux Bordelais</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3712364869"/>
                  </a:ext>
                </a:extLst>
              </a:tr>
              <a:tr h="277134">
                <a:tc>
                  <a:txBody>
                    <a:bodyPr/>
                    <a:lstStyle/>
                    <a:p>
                      <a:pPr algn="ctr">
                        <a:defRPr sz="800" b="1">
                          <a:latin typeface="Nexa (Headings)"/>
                        </a:defRPr>
                      </a:pPr>
                      <a:r>
                        <a:t>Mousseux Bourgogne</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98998524"/>
                  </a:ext>
                </a:extLst>
              </a:tr>
              <a:tr h="277134">
                <a:tc>
                  <a:txBody>
                    <a:bodyPr/>
                    <a:lstStyle/>
                    <a:p>
                      <a:pPr algn="ctr">
                        <a:defRPr sz="800" b="1">
                          <a:latin typeface="Nexa (Headings)"/>
                        </a:defRPr>
                      </a:pPr>
                      <a:r>
                        <a:t>Mousseux Alsace</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4143210105"/>
                  </a:ext>
                </a:extLst>
              </a:tr>
              <a:tr h="277134">
                <a:tc>
                  <a:txBody>
                    <a:bodyPr/>
                    <a:lstStyle/>
                    <a:p>
                      <a:pPr algn="ctr">
                        <a:defRPr sz="800" b="1">
                          <a:latin typeface="Nexa (Headings)"/>
                        </a:defRPr>
                      </a:pPr>
                      <a:r>
                        <a:t>Rosés</a:t>
                      </a:r>
                    </a:p>
                  </a:txBody>
                  <a:tcPr marL="3810" marR="3810" marT="3810" marB="0" anchor="ctr">
                    <a:noFill/>
                  </a:tcPr>
                </a:tc>
                <a:tc>
                  <a:txBody>
                    <a:bodyPr/>
                    <a:lstStyle/>
                    <a:p>
                      <a:pPr algn="ctr">
                        <a:defRPr sz="800">
                          <a:latin typeface="Nexa Book"/>
                        </a:defRPr>
                      </a:pPr>
                      <a:r>
                        <a:t>11</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14%</a:t>
                      </a:r>
                    </a:p>
                  </a:txBody>
                  <a:tcPr marL="3810" marR="3810" marT="3810" marB="0" anchor="ctr">
                    <a:noFill/>
                  </a:tcPr>
                </a:tc>
                <a:tc>
                  <a:txBody>
                    <a:bodyPr/>
                    <a:lstStyle/>
                    <a:p>
                      <a:pPr algn="ctr">
                        <a:defRPr sz="800">
                          <a:latin typeface="Nexa Book"/>
                        </a:defRPr>
                      </a:pPr>
                      <a:r>
                        <a:t>9%</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3374402097"/>
                  </a:ext>
                </a:extLst>
              </a:tr>
              <a:tr h="277134">
                <a:tc>
                  <a:txBody>
                    <a:bodyPr/>
                    <a:lstStyle/>
                    <a:p>
                      <a:pPr algn="ctr">
                        <a:defRPr sz="800" b="1">
                          <a:latin typeface="Nexa (Headings)"/>
                        </a:defRPr>
                      </a:pPr>
                      <a:r>
                        <a:t>Bruts</a:t>
                      </a:r>
                    </a:p>
                  </a:txBody>
                  <a:tcPr marL="3810" marR="3810" marT="3810" marB="0" anchor="ctr">
                    <a:noFill/>
                  </a:tcPr>
                </a:tc>
                <a:tc>
                  <a:txBody>
                    <a:bodyPr/>
                    <a:lstStyle/>
                    <a:p>
                      <a:pPr algn="ctr">
                        <a:defRPr sz="800">
                          <a:latin typeface="Nexa Book"/>
                        </a:defRPr>
                      </a:pPr>
                      <a:r>
                        <a:t>46</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7%</a:t>
                      </a:r>
                    </a:p>
                  </a:txBody>
                  <a:tcPr marL="3810" marR="3810" marT="3810" marB="0" anchor="ctr">
                    <a:noFill/>
                  </a:tcPr>
                </a:tc>
                <a:tc>
                  <a:txBody>
                    <a:bodyPr/>
                    <a:lstStyle/>
                    <a:p>
                      <a:pPr algn="ctr">
                        <a:defRPr sz="800">
                          <a:latin typeface="Nexa Book"/>
                        </a:defRPr>
                      </a:pPr>
                      <a:r>
                        <a:t>10%</a:t>
                      </a:r>
                    </a:p>
                  </a:txBody>
                  <a:tcPr marL="3810" marR="3810" marT="3810" marB="0" anchor="ctr">
                    <a:noFill/>
                  </a:tcPr>
                </a:tc>
                <a:tc>
                  <a:txBody>
                    <a:bodyPr/>
                    <a:lstStyle/>
                    <a:p>
                      <a:pPr algn="ctr">
                        <a:defRPr sz="800">
                          <a:latin typeface="Nexa Book"/>
                        </a:defRPr>
                      </a:pPr>
                      <a:r>
                        <a:t>5</a:t>
                      </a:r>
                    </a:p>
                  </a:txBody>
                  <a:tcPr marL="3810" marR="3810" marT="3810" marB="0" anchor="ctr">
                    <a:noFill/>
                  </a:tcPr>
                </a:tc>
                <a:tc>
                  <a:txBody>
                    <a:bodyPr/>
                    <a:lstStyle/>
                    <a:p>
                      <a:pPr algn="ctr">
                        <a:defRPr sz="800">
                          <a:latin typeface="Nexa Book"/>
                        </a:defRPr>
                      </a:pPr>
                      <a:r>
                        <a:t>2</a:t>
                      </a:r>
                    </a:p>
                  </a:txBody>
                  <a:tcPr marL="3810" marR="3810" marT="3810" marB="0" anchor="ctr">
                    <a:noFill/>
                  </a:tcPr>
                </a:tc>
                <a:extLst>
                  <a:ext uri="{0D108BD9-81ED-4DB2-BD59-A6C34878D82A}">
                    <a16:rowId xmlns:a16="http://schemas.microsoft.com/office/drawing/2014/main" val="2061534110"/>
                  </a:ext>
                </a:extLst>
              </a:tr>
              <a:tr h="277134">
                <a:tc>
                  <a:txBody>
                    <a:bodyPr/>
                    <a:lstStyle/>
                    <a:p>
                      <a:pPr algn="ctr">
                        <a:defRPr sz="800" b="1">
                          <a:latin typeface="Nexa (Headings)"/>
                        </a:defRPr>
                      </a:pPr>
                      <a:r>
                        <a:t>Blanc De Blancs</a:t>
                      </a:r>
                    </a:p>
                  </a:txBody>
                  <a:tcPr marL="3810" marR="3810" marT="3810" marB="0" anchor="ctr">
                    <a:noFill/>
                  </a:tcPr>
                </a:tc>
                <a:tc>
                  <a:txBody>
                    <a:bodyPr/>
                    <a:lstStyle/>
                    <a:p>
                      <a:pPr algn="ctr">
                        <a:defRPr sz="800">
                          <a:latin typeface="Nexa Book"/>
                        </a:defRPr>
                      </a:pPr>
                      <a:r>
                        <a:t>12</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9%</a:t>
                      </a:r>
                    </a:p>
                  </a:txBody>
                  <a:tcPr marL="3810" marR="3810" marT="3810" marB="0" anchor="ctr">
                    <a:noFill/>
                  </a:tcPr>
                </a:tc>
                <a:tc>
                  <a:txBody>
                    <a:bodyPr/>
                    <a:lstStyle/>
                    <a:p>
                      <a:pPr algn="ctr">
                        <a:defRPr sz="800">
                          <a:latin typeface="Nexa Book"/>
                        </a:defRPr>
                      </a:pPr>
                      <a:r>
                        <a:t>5%</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04386257"/>
                  </a:ext>
                </a:extLst>
              </a:tr>
              <a:tr h="277134">
                <a:tc>
                  <a:txBody>
                    <a:bodyPr/>
                    <a:lstStyle/>
                    <a:p>
                      <a:pPr algn="ctr">
                        <a:defRPr sz="800" b="1">
                          <a:latin typeface="Nexa (Headings)"/>
                        </a:defRPr>
                      </a:pPr>
                      <a:r>
                        <a:t>Millesimes</a:t>
                      </a:r>
                    </a:p>
                  </a:txBody>
                  <a:tcPr marL="3810" marR="3810" marT="3810" marB="0" anchor="ctr">
                    <a:noFill/>
                  </a:tcPr>
                </a:tc>
                <a:tc>
                  <a:txBody>
                    <a:bodyPr/>
                    <a:lstStyle/>
                    <a:p>
                      <a:pPr algn="ctr">
                        <a:defRPr sz="800">
                          <a:latin typeface="Nexa Book"/>
                        </a:defRPr>
                      </a:pPr>
                      <a:r>
                        <a:t>9</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071136303"/>
                  </a:ext>
                </a:extLst>
              </a:tr>
              <a:tr h="277134">
                <a:tc>
                  <a:txBody>
                    <a:bodyPr/>
                    <a:lstStyle/>
                    <a:p>
                      <a:pPr algn="ctr">
                        <a:defRPr sz="800" b="1">
                          <a:latin typeface="Nexa (Headings)"/>
                        </a:defRPr>
                      </a:pPr>
                      <a:r>
                        <a:t>Extra Brut</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478226403"/>
                  </a:ext>
                </a:extLst>
              </a:tr>
              <a:tr h="277134">
                <a:tc>
                  <a:txBody>
                    <a:bodyPr/>
                    <a:lstStyle/>
                    <a:p>
                      <a:pPr algn="ctr">
                        <a:defRPr sz="800" b="1">
                          <a:latin typeface="Nexa (Headings)"/>
                        </a:defRPr>
                      </a:pPr>
                      <a:r>
                        <a:t>Crus</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18%</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116474470"/>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1149</a:t>
            </a:fld>
            <a:endParaRPr lang="en-US"/>
          </a:p>
        </p:txBody>
      </p:sp>
    </p:spTree>
    <p:extLst>
      <p:ext uri="{BB962C8B-B14F-4D97-AF65-F5344CB8AC3E}">
        <p14:creationId xmlns:p14="http://schemas.microsoft.com/office/powerpoint/2010/main" val="145155742"/>
      </p:ext>
    </p:extLst>
  </p:cSld>
  <p:clrMapOvr>
    <a:masterClrMapping/>
  </p:clrMapOvr>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Extra Brut | NICOLAS VCN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15</a:t>
            </a:fld>
            <a:endParaRPr lang="en-US"/>
          </a:p>
        </p:txBody>
      </p:sp>
    </p:spTree>
    <p:extLst>
      <p:ext uri="{BB962C8B-B14F-4D97-AF65-F5344CB8AC3E}">
        <p14:creationId xmlns:p14="http://schemas.microsoft.com/office/powerpoint/2010/main" val="59605343"/>
      </p:ext>
    </p:extLst>
  </p:cSld>
  <p:clrMapOvr>
    <a:masterClrMapping/>
  </p:clrMapOvr>
</p:sld>
</file>

<file path=ppt/slides/slide11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8/27/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pPr>
              <a:defRPr sz="1200">
                <a:latin typeface="Nexa Bold (Headings)"/>
              </a:defRPr>
            </a:pPr>
            <a:r>
              <a:t>Segment fair share | Effervescents | Nicolas | NICOLAS IDF | P12M</a:t>
            </a:r>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pPr>
              <a:defRPr sz="1600">
                <a:latin typeface="Nexa Bold (Headings)"/>
              </a:defRPr>
            </a:pPr>
            <a:r>
              <a:rPr lang="en-GB" dirty="0">
                <a:highlight>
                  <a:srgbClr val="FFFF00"/>
                </a:highlight>
              </a:rPr>
              <a:t>Segment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Nicolas </a:t>
                      </a:r>
                    </a:p>
                    <a:p>
                      <a:pPr algn="ctr">
                        <a:defRPr sz="900" b="1">
                          <a:latin typeface="Nexa (Headings)"/>
                        </a:defRPr>
                      </a:pPr>
                      <a: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Nicolas </a:t>
                      </a:r>
                    </a:p>
                    <a:p>
                      <a:pPr algn="ctr">
                        <a:defRPr sz="900" b="1">
                          <a:latin typeface="Nexa (Headings)"/>
                        </a:defRPr>
                      </a:pPr>
                      <a: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Nicolas </a:t>
                      </a:r>
                    </a:p>
                    <a:p>
                      <a:pPr algn="ctr">
                        <a:defRPr sz="900" b="1">
                          <a:latin typeface="Nexa (Headings)"/>
                        </a:defRPr>
                      </a:pPr>
                      <a: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Nicolas </a:t>
                      </a:r>
                    </a:p>
                    <a:p>
                      <a:pPr algn="ctr">
                        <a:defRPr sz="900" b="1">
                          <a:latin typeface="Nexa (Headings)"/>
                        </a:defRPr>
                      </a:pPr>
                      <a: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Nicolas</a:t>
                      </a:r>
                    </a:p>
                    <a:p>
                      <a:pPr algn="ctr">
                        <a:defRPr sz="900" b="1">
                          <a:latin typeface="Nexa (Headings)"/>
                        </a:defRPr>
                      </a:pPr>
                      <a: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277134">
                <a:tc>
                  <a:txBody>
                    <a:bodyPr/>
                    <a:lstStyle/>
                    <a:p>
                      <a:pPr algn="ctr">
                        <a:defRPr sz="800" b="1">
                          <a:latin typeface="Nexa (Headings)"/>
                        </a:defRPr>
                      </a:pPr>
                      <a:r>
                        <a:t>Grand Total</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80</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6</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6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38%</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3</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277134">
                <a:tc>
                  <a:txBody>
                    <a:bodyPr/>
                    <a:lstStyle/>
                    <a:p>
                      <a:pPr algn="ctr">
                        <a:defRPr sz="800" b="1">
                          <a:latin typeface="Nexa (Headings)"/>
                        </a:defRPr>
                      </a:pPr>
                      <a:r>
                        <a:t>Mousseux Italiens</a:t>
                      </a:r>
                    </a:p>
                  </a:txBody>
                  <a:tcPr marL="3810" marR="3810" marT="3810" marB="0" anchor="ctr">
                    <a:noFill/>
                  </a:tcPr>
                </a:tc>
                <a:tc>
                  <a:txBody>
                    <a:bodyPr/>
                    <a:lstStyle/>
                    <a:p>
                      <a:pPr algn="ctr">
                        <a:defRPr sz="800">
                          <a:latin typeface="Nexa Book"/>
                        </a:defRPr>
                      </a:pPr>
                      <a:r>
                        <a:t>4</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3161381"/>
                  </a:ext>
                </a:extLst>
              </a:tr>
              <a:tr h="277134">
                <a:tc>
                  <a:txBody>
                    <a:bodyPr/>
                    <a:lstStyle/>
                    <a:p>
                      <a:pPr algn="ctr">
                        <a:defRPr sz="800" b="1">
                          <a:latin typeface="Nexa (Headings)"/>
                        </a:defRPr>
                      </a:pPr>
                      <a:r>
                        <a:t>Mousseux Val De Loire</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1752397169"/>
                  </a:ext>
                </a:extLst>
              </a:tr>
              <a:tr h="277134">
                <a:tc>
                  <a:txBody>
                    <a:bodyPr/>
                    <a:lstStyle/>
                    <a:p>
                      <a:pPr algn="ctr">
                        <a:defRPr sz="800" b="1">
                          <a:latin typeface="Nexa (Headings)"/>
                        </a:defRPr>
                      </a:pPr>
                      <a:r>
                        <a:t>Mousseux Bordelais</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3712364869"/>
                  </a:ext>
                </a:extLst>
              </a:tr>
              <a:tr h="277134">
                <a:tc>
                  <a:txBody>
                    <a:bodyPr/>
                    <a:lstStyle/>
                    <a:p>
                      <a:pPr algn="ctr">
                        <a:defRPr sz="800" b="1">
                          <a:latin typeface="Nexa (Headings)"/>
                        </a:defRPr>
                      </a:pPr>
                      <a:r>
                        <a:t>Mousseux Bourgogne</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98998524"/>
                  </a:ext>
                </a:extLst>
              </a:tr>
              <a:tr h="277134">
                <a:tc>
                  <a:txBody>
                    <a:bodyPr/>
                    <a:lstStyle/>
                    <a:p>
                      <a:pPr algn="ctr">
                        <a:defRPr sz="800" b="1">
                          <a:latin typeface="Nexa (Headings)"/>
                        </a:defRPr>
                      </a:pPr>
                      <a:r>
                        <a:t>Mousseux Alsace</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4143210105"/>
                  </a:ext>
                </a:extLst>
              </a:tr>
              <a:tr h="277134">
                <a:tc>
                  <a:txBody>
                    <a:bodyPr/>
                    <a:lstStyle/>
                    <a:p>
                      <a:pPr algn="ctr">
                        <a:defRPr sz="800" b="1">
                          <a:latin typeface="Nexa (Headings)"/>
                        </a:defRPr>
                      </a:pPr>
                      <a:r>
                        <a:t>Rosés</a:t>
                      </a:r>
                    </a:p>
                  </a:txBody>
                  <a:tcPr marL="3810" marR="3810" marT="3810" marB="0" anchor="ctr">
                    <a:noFill/>
                  </a:tcPr>
                </a:tc>
                <a:tc>
                  <a:txBody>
                    <a:bodyPr/>
                    <a:lstStyle/>
                    <a:p>
                      <a:pPr algn="ctr">
                        <a:defRPr sz="800">
                          <a:latin typeface="Nexa Book"/>
                        </a:defRPr>
                      </a:pPr>
                      <a:r>
                        <a:t>9</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15%</a:t>
                      </a:r>
                    </a:p>
                  </a:txBody>
                  <a:tcPr marL="3810" marR="3810" marT="3810" marB="0" anchor="ctr">
                    <a:noFill/>
                  </a:tcPr>
                </a:tc>
                <a:tc>
                  <a:txBody>
                    <a:bodyPr/>
                    <a:lstStyle/>
                    <a:p>
                      <a:pPr algn="ctr">
                        <a:defRPr sz="800">
                          <a:latin typeface="Nexa Book"/>
                        </a:defRPr>
                      </a:pPr>
                      <a:r>
                        <a:t>9%</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3374402097"/>
                  </a:ext>
                </a:extLst>
              </a:tr>
              <a:tr h="277134">
                <a:tc>
                  <a:txBody>
                    <a:bodyPr/>
                    <a:lstStyle/>
                    <a:p>
                      <a:pPr algn="ctr">
                        <a:defRPr sz="800" b="1">
                          <a:latin typeface="Nexa (Headings)"/>
                        </a:defRPr>
                      </a:pPr>
                      <a:r>
                        <a:t>Bruts</a:t>
                      </a:r>
                    </a:p>
                  </a:txBody>
                  <a:tcPr marL="3810" marR="3810" marT="3810" marB="0" anchor="ctr">
                    <a:noFill/>
                  </a:tcPr>
                </a:tc>
                <a:tc>
                  <a:txBody>
                    <a:bodyPr/>
                    <a:lstStyle/>
                    <a:p>
                      <a:pPr algn="ctr">
                        <a:defRPr sz="800">
                          <a:latin typeface="Nexa Book"/>
                        </a:defRPr>
                      </a:pPr>
                      <a:r>
                        <a:t>36</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7%</a:t>
                      </a:r>
                    </a:p>
                  </a:txBody>
                  <a:tcPr marL="3810" marR="3810" marT="3810" marB="0" anchor="ctr">
                    <a:noFill/>
                  </a:tcPr>
                </a:tc>
                <a:tc>
                  <a:txBody>
                    <a:bodyPr/>
                    <a:lstStyle/>
                    <a:p>
                      <a:pPr algn="ctr">
                        <a:defRPr sz="800">
                          <a:latin typeface="Nexa Book"/>
                        </a:defRPr>
                      </a:pPr>
                      <a:r>
                        <a:t>11%</a:t>
                      </a:r>
                    </a:p>
                  </a:txBody>
                  <a:tcPr marL="3810" marR="3810" marT="3810" marB="0" anchor="ctr">
                    <a:noFill/>
                  </a:tcPr>
                </a:tc>
                <a:tc>
                  <a:txBody>
                    <a:bodyPr/>
                    <a:lstStyle/>
                    <a:p>
                      <a:pPr algn="ctr">
                        <a:defRPr sz="800">
                          <a:latin typeface="Nexa Book"/>
                        </a:defRPr>
                      </a:pPr>
                      <a:r>
                        <a:t>4</a:t>
                      </a:r>
                    </a:p>
                  </a:txBody>
                  <a:tcPr marL="3810" marR="3810" marT="3810" marB="0" anchor="ctr">
                    <a:noFill/>
                  </a:tcPr>
                </a:tc>
                <a:tc>
                  <a:txBody>
                    <a:bodyPr/>
                    <a:lstStyle/>
                    <a:p>
                      <a:pPr algn="ctr">
                        <a:defRPr sz="800">
                          <a:latin typeface="Nexa Book"/>
                        </a:defRPr>
                      </a:pPr>
                      <a:r>
                        <a:t>1</a:t>
                      </a:r>
                    </a:p>
                  </a:txBody>
                  <a:tcPr marL="3810" marR="3810" marT="3810" marB="0" anchor="ctr">
                    <a:noFill/>
                  </a:tcPr>
                </a:tc>
                <a:extLst>
                  <a:ext uri="{0D108BD9-81ED-4DB2-BD59-A6C34878D82A}">
                    <a16:rowId xmlns:a16="http://schemas.microsoft.com/office/drawing/2014/main" val="2061534110"/>
                  </a:ext>
                </a:extLst>
              </a:tr>
              <a:tr h="277134">
                <a:tc>
                  <a:txBody>
                    <a:bodyPr/>
                    <a:lstStyle/>
                    <a:p>
                      <a:pPr algn="ctr">
                        <a:defRPr sz="800" b="1">
                          <a:latin typeface="Nexa (Headings)"/>
                        </a:defRPr>
                      </a:pPr>
                      <a:r>
                        <a:t>Blanc De Blancs</a:t>
                      </a:r>
                    </a:p>
                  </a:txBody>
                  <a:tcPr marL="3810" marR="3810" marT="3810" marB="0" anchor="ctr">
                    <a:noFill/>
                  </a:tcPr>
                </a:tc>
                <a:tc>
                  <a:txBody>
                    <a:bodyPr/>
                    <a:lstStyle/>
                    <a:p>
                      <a:pPr algn="ctr">
                        <a:defRPr sz="800">
                          <a:latin typeface="Nexa Book"/>
                        </a:defRPr>
                      </a:pPr>
                      <a:r>
                        <a:t>8</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12%</a:t>
                      </a:r>
                    </a:p>
                  </a:txBody>
                  <a:tcPr marL="3810" marR="3810" marT="3810" marB="0" anchor="ctr">
                    <a:noFill/>
                  </a:tcPr>
                </a:tc>
                <a:tc>
                  <a:txBody>
                    <a:bodyPr/>
                    <a:lstStyle/>
                    <a:p>
                      <a:pPr algn="ctr">
                        <a:defRPr sz="800">
                          <a:latin typeface="Nexa Book"/>
                        </a:defRPr>
                      </a:pPr>
                      <a:r>
                        <a:t>6%</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04386257"/>
                  </a:ext>
                </a:extLst>
              </a:tr>
              <a:tr h="277134">
                <a:tc>
                  <a:txBody>
                    <a:bodyPr/>
                    <a:lstStyle/>
                    <a:p>
                      <a:pPr algn="ctr">
                        <a:defRPr sz="800" b="1">
                          <a:latin typeface="Nexa (Headings)"/>
                        </a:defRPr>
                      </a:pPr>
                      <a:r>
                        <a:t>Millesimes</a:t>
                      </a:r>
                    </a:p>
                  </a:txBody>
                  <a:tcPr marL="3810" marR="3810" marT="3810" marB="0" anchor="ctr">
                    <a:noFill/>
                  </a:tcPr>
                </a:tc>
                <a:tc>
                  <a:txBody>
                    <a:bodyPr/>
                    <a:lstStyle/>
                    <a:p>
                      <a:pPr algn="ctr">
                        <a:defRPr sz="800">
                          <a:latin typeface="Nexa Book"/>
                        </a:defRPr>
                      </a:pPr>
                      <a:r>
                        <a:t>4</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071136303"/>
                  </a:ext>
                </a:extLst>
              </a:tr>
              <a:tr h="277134">
                <a:tc>
                  <a:txBody>
                    <a:bodyPr/>
                    <a:lstStyle/>
                    <a:p>
                      <a:pPr algn="ctr">
                        <a:defRPr sz="800" b="1">
                          <a:latin typeface="Nexa (Headings)"/>
                        </a:defRPr>
                      </a:pPr>
                      <a:r>
                        <a:t>Extra Brut</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478226403"/>
                  </a:ext>
                </a:extLst>
              </a:tr>
              <a:tr h="277134">
                <a:tc>
                  <a:txBody>
                    <a:bodyPr/>
                    <a:lstStyle/>
                    <a:p>
                      <a:pPr algn="ctr">
                        <a:defRPr sz="800" b="1">
                          <a:latin typeface="Nexa (Headings)"/>
                        </a:defRPr>
                      </a:pPr>
                      <a:r>
                        <a:t>Crus</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19%</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116474470"/>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1150</a:t>
            </a:fld>
            <a:endParaRPr lang="en-US"/>
          </a:p>
        </p:txBody>
      </p:sp>
    </p:spTree>
    <p:extLst>
      <p:ext uri="{BB962C8B-B14F-4D97-AF65-F5344CB8AC3E}">
        <p14:creationId xmlns:p14="http://schemas.microsoft.com/office/powerpoint/2010/main" val="2992205898"/>
      </p:ext>
    </p:extLst>
  </p:cSld>
  <p:clrMapOvr>
    <a:masterClrMapping/>
  </p:clrMapOvr>
</p:sld>
</file>

<file path=ppt/slides/slide11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8/27/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pPr>
              <a:defRPr sz="1200">
                <a:latin typeface="Nexa Bold (Headings)"/>
              </a:defRPr>
            </a:pPr>
            <a:r>
              <a:t>Segment fair share | Effervescents | Nicolas | NICOLAS PAC | P12M</a:t>
            </a:r>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pPr>
              <a:defRPr sz="1600">
                <a:latin typeface="Nexa Bold (Headings)"/>
              </a:defRPr>
            </a:pPr>
            <a:r>
              <a:rPr lang="en-GB" dirty="0">
                <a:highlight>
                  <a:srgbClr val="FFFF00"/>
                </a:highlight>
              </a:rPr>
              <a:t>Segment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Nicolas </a:t>
                      </a:r>
                    </a:p>
                    <a:p>
                      <a:pPr algn="ctr">
                        <a:defRPr sz="900" b="1">
                          <a:latin typeface="Nexa (Headings)"/>
                        </a:defRPr>
                      </a:pPr>
                      <a: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Nicolas </a:t>
                      </a:r>
                    </a:p>
                    <a:p>
                      <a:pPr algn="ctr">
                        <a:defRPr sz="900" b="1">
                          <a:latin typeface="Nexa (Headings)"/>
                        </a:defRPr>
                      </a:pPr>
                      <a: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Nicolas </a:t>
                      </a:r>
                    </a:p>
                    <a:p>
                      <a:pPr algn="ctr">
                        <a:defRPr sz="900" b="1">
                          <a:latin typeface="Nexa (Headings)"/>
                        </a:defRPr>
                      </a:pPr>
                      <a: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Nicolas </a:t>
                      </a:r>
                    </a:p>
                    <a:p>
                      <a:pPr algn="ctr">
                        <a:defRPr sz="900" b="1">
                          <a:latin typeface="Nexa (Headings)"/>
                        </a:defRPr>
                      </a:pPr>
                      <a: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Nicolas</a:t>
                      </a:r>
                    </a:p>
                    <a:p>
                      <a:pPr algn="ctr">
                        <a:defRPr sz="900" b="1">
                          <a:latin typeface="Nexa (Headings)"/>
                        </a:defRPr>
                      </a:pPr>
                      <a: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277134">
                <a:tc>
                  <a:txBody>
                    <a:bodyPr/>
                    <a:lstStyle/>
                    <a:p>
                      <a:pPr algn="ctr">
                        <a:defRPr sz="800" b="1">
                          <a:latin typeface="Nexa (Headings)"/>
                        </a:defRPr>
                      </a:pPr>
                      <a:r>
                        <a:t>Grand Total</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9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7</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71%</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41%</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4</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277134">
                <a:tc>
                  <a:txBody>
                    <a:bodyPr/>
                    <a:lstStyle/>
                    <a:p>
                      <a:pPr algn="ctr">
                        <a:defRPr sz="800" b="1">
                          <a:latin typeface="Nexa (Headings)"/>
                        </a:defRPr>
                      </a:pPr>
                      <a:r>
                        <a:t>Mousseux Italiens</a:t>
                      </a:r>
                    </a:p>
                  </a:txBody>
                  <a:tcPr marL="3810" marR="3810" marT="3810" marB="0" anchor="ctr">
                    <a:noFill/>
                  </a:tcPr>
                </a:tc>
                <a:tc>
                  <a:txBody>
                    <a:bodyPr/>
                    <a:lstStyle/>
                    <a:p>
                      <a:pPr algn="ctr">
                        <a:defRPr sz="800">
                          <a:latin typeface="Nexa Book"/>
                        </a:defRPr>
                      </a:pPr>
                      <a:r>
                        <a:t>4</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3161381"/>
                  </a:ext>
                </a:extLst>
              </a:tr>
              <a:tr h="277134">
                <a:tc>
                  <a:txBody>
                    <a:bodyPr/>
                    <a:lstStyle/>
                    <a:p>
                      <a:pPr algn="ctr">
                        <a:defRPr sz="800" b="1">
                          <a:latin typeface="Nexa (Headings)"/>
                        </a:defRPr>
                      </a:pPr>
                      <a:r>
                        <a:t>Mousseux Val De Loire</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1752397169"/>
                  </a:ext>
                </a:extLst>
              </a:tr>
              <a:tr h="277134">
                <a:tc>
                  <a:txBody>
                    <a:bodyPr/>
                    <a:lstStyle/>
                    <a:p>
                      <a:pPr algn="ctr">
                        <a:defRPr sz="800" b="1">
                          <a:latin typeface="Nexa (Headings)"/>
                        </a:defRPr>
                      </a:pPr>
                      <a:r>
                        <a:t>Mousseux Bordelais</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3712364869"/>
                  </a:ext>
                </a:extLst>
              </a:tr>
              <a:tr h="277134">
                <a:tc>
                  <a:txBody>
                    <a:bodyPr/>
                    <a:lstStyle/>
                    <a:p>
                      <a:pPr algn="ctr">
                        <a:defRPr sz="800" b="1">
                          <a:latin typeface="Nexa (Headings)"/>
                        </a:defRPr>
                      </a:pPr>
                      <a:r>
                        <a:t>Mousseux Bourgogne</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98998524"/>
                  </a:ext>
                </a:extLst>
              </a:tr>
              <a:tr h="277134">
                <a:tc>
                  <a:txBody>
                    <a:bodyPr/>
                    <a:lstStyle/>
                    <a:p>
                      <a:pPr algn="ctr">
                        <a:defRPr sz="800" b="1">
                          <a:latin typeface="Nexa (Headings)"/>
                        </a:defRPr>
                      </a:pPr>
                      <a:r>
                        <a:t>Mousseux Alsace</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4143210105"/>
                  </a:ext>
                </a:extLst>
              </a:tr>
              <a:tr h="277134">
                <a:tc>
                  <a:txBody>
                    <a:bodyPr/>
                    <a:lstStyle/>
                    <a:p>
                      <a:pPr algn="ctr">
                        <a:defRPr sz="800" b="1">
                          <a:latin typeface="Nexa (Headings)"/>
                        </a:defRPr>
                      </a:pPr>
                      <a:r>
                        <a:t>Rosés</a:t>
                      </a:r>
                    </a:p>
                  </a:txBody>
                  <a:tcPr marL="3810" marR="3810" marT="3810" marB="0" anchor="ctr">
                    <a:noFill/>
                  </a:tcPr>
                </a:tc>
                <a:tc>
                  <a:txBody>
                    <a:bodyPr/>
                    <a:lstStyle/>
                    <a:p>
                      <a:pPr algn="ctr">
                        <a:defRPr sz="800">
                          <a:latin typeface="Nexa Book"/>
                        </a:defRPr>
                      </a:pPr>
                      <a:r>
                        <a:t>11</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17%</a:t>
                      </a:r>
                    </a:p>
                  </a:txBody>
                  <a:tcPr marL="3810" marR="3810" marT="3810" marB="0" anchor="ctr">
                    <a:noFill/>
                  </a:tcPr>
                </a:tc>
                <a:tc>
                  <a:txBody>
                    <a:bodyPr/>
                    <a:lstStyle/>
                    <a:p>
                      <a:pPr algn="ctr">
                        <a:defRPr sz="800">
                          <a:latin typeface="Nexa Book"/>
                        </a:defRPr>
                      </a:pPr>
                      <a:r>
                        <a:t>9%</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3374402097"/>
                  </a:ext>
                </a:extLst>
              </a:tr>
              <a:tr h="277134">
                <a:tc>
                  <a:txBody>
                    <a:bodyPr/>
                    <a:lstStyle/>
                    <a:p>
                      <a:pPr algn="ctr">
                        <a:defRPr sz="800" b="1">
                          <a:latin typeface="Nexa (Headings)"/>
                        </a:defRPr>
                      </a:pPr>
                      <a:r>
                        <a:t>Bruts</a:t>
                      </a:r>
                    </a:p>
                  </a:txBody>
                  <a:tcPr marL="3810" marR="3810" marT="3810" marB="0" anchor="ctr">
                    <a:noFill/>
                  </a:tcPr>
                </a:tc>
                <a:tc>
                  <a:txBody>
                    <a:bodyPr/>
                    <a:lstStyle/>
                    <a:p>
                      <a:pPr algn="ctr">
                        <a:defRPr sz="800">
                          <a:latin typeface="Nexa Book"/>
                        </a:defRPr>
                      </a:pPr>
                      <a:r>
                        <a:t>45</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7%</a:t>
                      </a:r>
                    </a:p>
                  </a:txBody>
                  <a:tcPr marL="3810" marR="3810" marT="3810" marB="0" anchor="ctr">
                    <a:noFill/>
                  </a:tcPr>
                </a:tc>
                <a:tc>
                  <a:txBody>
                    <a:bodyPr/>
                    <a:lstStyle/>
                    <a:p>
                      <a:pPr algn="ctr">
                        <a:defRPr sz="800">
                          <a:latin typeface="Nexa Book"/>
                        </a:defRPr>
                      </a:pPr>
                      <a:r>
                        <a:t>13%</a:t>
                      </a:r>
                    </a:p>
                  </a:txBody>
                  <a:tcPr marL="3810" marR="3810" marT="3810" marB="0" anchor="ctr">
                    <a:noFill/>
                  </a:tcPr>
                </a:tc>
                <a:tc>
                  <a:txBody>
                    <a:bodyPr/>
                    <a:lstStyle/>
                    <a:p>
                      <a:pPr algn="ctr">
                        <a:defRPr sz="800">
                          <a:latin typeface="Nexa Book"/>
                        </a:defRPr>
                      </a:pPr>
                      <a:r>
                        <a:t>6</a:t>
                      </a:r>
                    </a:p>
                  </a:txBody>
                  <a:tcPr marL="3810" marR="3810" marT="3810" marB="0" anchor="ctr">
                    <a:noFill/>
                  </a:tcPr>
                </a:tc>
                <a:tc>
                  <a:txBody>
                    <a:bodyPr/>
                    <a:lstStyle/>
                    <a:p>
                      <a:pPr algn="ctr">
                        <a:defRPr sz="800">
                          <a:latin typeface="Nexa Book"/>
                        </a:defRPr>
                      </a:pPr>
                      <a:r>
                        <a:t>3</a:t>
                      </a:r>
                    </a:p>
                  </a:txBody>
                  <a:tcPr marL="3810" marR="3810" marT="3810" marB="0" anchor="ctr">
                    <a:noFill/>
                  </a:tcPr>
                </a:tc>
                <a:extLst>
                  <a:ext uri="{0D108BD9-81ED-4DB2-BD59-A6C34878D82A}">
                    <a16:rowId xmlns:a16="http://schemas.microsoft.com/office/drawing/2014/main" val="2061534110"/>
                  </a:ext>
                </a:extLst>
              </a:tr>
              <a:tr h="277134">
                <a:tc>
                  <a:txBody>
                    <a:bodyPr/>
                    <a:lstStyle/>
                    <a:p>
                      <a:pPr algn="ctr">
                        <a:defRPr sz="800" b="1">
                          <a:latin typeface="Nexa (Headings)"/>
                        </a:defRPr>
                      </a:pPr>
                      <a:r>
                        <a:t>Blanc De Blancs</a:t>
                      </a:r>
                    </a:p>
                  </a:txBody>
                  <a:tcPr marL="3810" marR="3810" marT="3810" marB="0" anchor="ctr">
                    <a:noFill/>
                  </a:tcPr>
                </a:tc>
                <a:tc>
                  <a:txBody>
                    <a:bodyPr/>
                    <a:lstStyle/>
                    <a:p>
                      <a:pPr algn="ctr">
                        <a:defRPr sz="800">
                          <a:latin typeface="Nexa Book"/>
                        </a:defRPr>
                      </a:pPr>
                      <a:r>
                        <a:t>11</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12%</a:t>
                      </a:r>
                    </a:p>
                  </a:txBody>
                  <a:tcPr marL="3810" marR="3810" marT="3810" marB="0" anchor="ctr">
                    <a:noFill/>
                  </a:tcPr>
                </a:tc>
                <a:tc>
                  <a:txBody>
                    <a:bodyPr/>
                    <a:lstStyle/>
                    <a:p>
                      <a:pPr algn="ctr">
                        <a:defRPr sz="800">
                          <a:latin typeface="Nexa Book"/>
                        </a:defRPr>
                      </a:pPr>
                      <a:r>
                        <a:t>6%</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04386257"/>
                  </a:ext>
                </a:extLst>
              </a:tr>
              <a:tr h="277134">
                <a:tc>
                  <a:txBody>
                    <a:bodyPr/>
                    <a:lstStyle/>
                    <a:p>
                      <a:pPr algn="ctr">
                        <a:defRPr sz="800" b="1">
                          <a:latin typeface="Nexa (Headings)"/>
                        </a:defRPr>
                      </a:pPr>
                      <a:r>
                        <a:t>Millesimes</a:t>
                      </a:r>
                    </a:p>
                  </a:txBody>
                  <a:tcPr marL="3810" marR="3810" marT="3810" marB="0" anchor="ctr">
                    <a:noFill/>
                  </a:tcPr>
                </a:tc>
                <a:tc>
                  <a:txBody>
                    <a:bodyPr/>
                    <a:lstStyle/>
                    <a:p>
                      <a:pPr algn="ctr">
                        <a:defRPr sz="800">
                          <a:latin typeface="Nexa Book"/>
                        </a:defRPr>
                      </a:pPr>
                      <a:r>
                        <a:t>7</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071136303"/>
                  </a:ext>
                </a:extLst>
              </a:tr>
              <a:tr h="277134">
                <a:tc>
                  <a:txBody>
                    <a:bodyPr/>
                    <a:lstStyle/>
                    <a:p>
                      <a:pPr algn="ctr">
                        <a:defRPr sz="800" b="1">
                          <a:latin typeface="Nexa (Headings)"/>
                        </a:defRPr>
                      </a:pPr>
                      <a:r>
                        <a:t>Extra Brut</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478226403"/>
                  </a:ext>
                </a:extLst>
              </a:tr>
              <a:tr h="277134">
                <a:tc>
                  <a:txBody>
                    <a:bodyPr/>
                    <a:lstStyle/>
                    <a:p>
                      <a:pPr algn="ctr">
                        <a:defRPr sz="800" b="1">
                          <a:latin typeface="Nexa (Headings)"/>
                        </a:defRPr>
                      </a:pPr>
                      <a:r>
                        <a:t>Crus</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17%</a:t>
                      </a:r>
                    </a:p>
                  </a:txBody>
                  <a:tcPr marL="3810" marR="3810" marT="3810" marB="0" anchor="ctr">
                    <a:noFill/>
                  </a:tcPr>
                </a:tc>
                <a:tc>
                  <a:txBody>
                    <a:bodyPr/>
                    <a:lstStyle/>
                    <a:p>
                      <a:pPr algn="ctr">
                        <a:defRPr sz="800">
                          <a:latin typeface="Nexa Book"/>
                        </a:defRPr>
                      </a:pPr>
                      <a:r>
                        <a:t>4%</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116474470"/>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1151</a:t>
            </a:fld>
            <a:endParaRPr lang="en-US"/>
          </a:p>
        </p:txBody>
      </p:sp>
    </p:spTree>
    <p:extLst>
      <p:ext uri="{BB962C8B-B14F-4D97-AF65-F5344CB8AC3E}">
        <p14:creationId xmlns:p14="http://schemas.microsoft.com/office/powerpoint/2010/main" val="3242887716"/>
      </p:ext>
    </p:extLst>
  </p:cSld>
  <p:clrMapOvr>
    <a:masterClrMapping/>
  </p:clrMapOvr>
</p:sld>
</file>

<file path=ppt/slides/slide11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8/27/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pPr>
              <a:defRPr sz="1200">
                <a:latin typeface="Nexa Bold (Headings)"/>
              </a:defRPr>
            </a:pPr>
            <a:r>
              <a:t>Segment fair share | Effervescents | Nicolas | NICOLAS VCN | P12M</a:t>
            </a:r>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pPr>
              <a:defRPr sz="1600">
                <a:latin typeface="Nexa Bold (Headings)"/>
              </a:defRPr>
            </a:pPr>
            <a:r>
              <a:rPr lang="en-GB" dirty="0">
                <a:highlight>
                  <a:srgbClr val="FFFF00"/>
                </a:highlight>
              </a:rPr>
              <a:t>Segment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Nicolas </a:t>
                      </a:r>
                    </a:p>
                    <a:p>
                      <a:pPr algn="ctr">
                        <a:defRPr sz="900" b="1">
                          <a:latin typeface="Nexa (Headings)"/>
                        </a:defRPr>
                      </a:pPr>
                      <a: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Nicolas </a:t>
                      </a:r>
                    </a:p>
                    <a:p>
                      <a:pPr algn="ctr">
                        <a:defRPr sz="900" b="1">
                          <a:latin typeface="Nexa (Headings)"/>
                        </a:defRPr>
                      </a:pPr>
                      <a: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Nicolas </a:t>
                      </a:r>
                    </a:p>
                    <a:p>
                      <a:pPr algn="ctr">
                        <a:defRPr sz="900" b="1">
                          <a:latin typeface="Nexa (Headings)"/>
                        </a:defRPr>
                      </a:pPr>
                      <a: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Nicolas </a:t>
                      </a:r>
                    </a:p>
                    <a:p>
                      <a:pPr algn="ctr">
                        <a:defRPr sz="900" b="1">
                          <a:latin typeface="Nexa (Headings)"/>
                        </a:defRPr>
                      </a:pPr>
                      <a: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Nicolas</a:t>
                      </a:r>
                    </a:p>
                    <a:p>
                      <a:pPr algn="ctr">
                        <a:defRPr sz="900" b="1">
                          <a:latin typeface="Nexa (Headings)"/>
                        </a:defRPr>
                      </a:pPr>
                      <a: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277134">
                <a:tc>
                  <a:txBody>
                    <a:bodyPr/>
                    <a:lstStyle/>
                    <a:p>
                      <a:pPr algn="ctr">
                        <a:defRPr sz="800" b="1">
                          <a:latin typeface="Nexa (Headings)"/>
                        </a:defRPr>
                      </a:pPr>
                      <a:r>
                        <a:t>Grand Total</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75</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6</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7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44%</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3</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277134">
                <a:tc>
                  <a:txBody>
                    <a:bodyPr/>
                    <a:lstStyle/>
                    <a:p>
                      <a:pPr algn="ctr">
                        <a:defRPr sz="800" b="1">
                          <a:latin typeface="Nexa (Headings)"/>
                        </a:defRPr>
                      </a:pPr>
                      <a:r>
                        <a:t>Mousseux Italiens</a:t>
                      </a:r>
                    </a:p>
                  </a:txBody>
                  <a:tcPr marL="3810" marR="3810" marT="3810" marB="0" anchor="ctr">
                    <a:noFill/>
                  </a:tcPr>
                </a:tc>
                <a:tc>
                  <a:txBody>
                    <a:bodyPr/>
                    <a:lstStyle/>
                    <a:p>
                      <a:pPr algn="ctr">
                        <a:defRPr sz="800">
                          <a:latin typeface="Nexa Book"/>
                        </a:defRPr>
                      </a:pPr>
                      <a:r>
                        <a:t>4</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3161381"/>
                  </a:ext>
                </a:extLst>
              </a:tr>
              <a:tr h="277134">
                <a:tc>
                  <a:txBody>
                    <a:bodyPr/>
                    <a:lstStyle/>
                    <a:p>
                      <a:pPr algn="ctr">
                        <a:defRPr sz="800" b="1">
                          <a:latin typeface="Nexa (Headings)"/>
                        </a:defRPr>
                      </a:pPr>
                      <a:r>
                        <a:t>Mousseux Val De Loire</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1752397169"/>
                  </a:ext>
                </a:extLst>
              </a:tr>
              <a:tr h="277134">
                <a:tc>
                  <a:txBody>
                    <a:bodyPr/>
                    <a:lstStyle/>
                    <a:p>
                      <a:pPr algn="ctr">
                        <a:defRPr sz="800" b="1">
                          <a:latin typeface="Nexa (Headings)"/>
                        </a:defRPr>
                      </a:pPr>
                      <a:r>
                        <a:t>Mousseux Bordelais</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3712364869"/>
                  </a:ext>
                </a:extLst>
              </a:tr>
              <a:tr h="277134">
                <a:tc>
                  <a:txBody>
                    <a:bodyPr/>
                    <a:lstStyle/>
                    <a:p>
                      <a:pPr algn="ctr">
                        <a:defRPr sz="800" b="1">
                          <a:latin typeface="Nexa (Headings)"/>
                        </a:defRPr>
                      </a:pPr>
                      <a:r>
                        <a:t>Mousseux Bourgogne</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98998524"/>
                  </a:ext>
                </a:extLst>
              </a:tr>
              <a:tr h="277134">
                <a:tc>
                  <a:txBody>
                    <a:bodyPr/>
                    <a:lstStyle/>
                    <a:p>
                      <a:pPr algn="ctr">
                        <a:defRPr sz="800" b="1">
                          <a:latin typeface="Nexa (Headings)"/>
                        </a:defRPr>
                      </a:pPr>
                      <a:r>
                        <a:t>Mousseux Alsace</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4143210105"/>
                  </a:ext>
                </a:extLst>
              </a:tr>
              <a:tr h="277134">
                <a:tc>
                  <a:txBody>
                    <a:bodyPr/>
                    <a:lstStyle/>
                    <a:p>
                      <a:pPr algn="ctr">
                        <a:defRPr sz="800" b="1">
                          <a:latin typeface="Nexa (Headings)"/>
                        </a:defRPr>
                      </a:pPr>
                      <a:r>
                        <a:t>Rosés</a:t>
                      </a:r>
                    </a:p>
                  </a:txBody>
                  <a:tcPr marL="3810" marR="3810" marT="3810" marB="0" anchor="ctr">
                    <a:noFill/>
                  </a:tcPr>
                </a:tc>
                <a:tc>
                  <a:txBody>
                    <a:bodyPr/>
                    <a:lstStyle/>
                    <a:p>
                      <a:pPr algn="ctr">
                        <a:defRPr sz="800">
                          <a:latin typeface="Nexa Book"/>
                        </a:defRPr>
                      </a:pPr>
                      <a:r>
                        <a:t>7</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17%</a:t>
                      </a:r>
                    </a:p>
                  </a:txBody>
                  <a:tcPr marL="3810" marR="3810" marT="3810" marB="0" anchor="ctr">
                    <a:noFill/>
                  </a:tcPr>
                </a:tc>
                <a:tc>
                  <a:txBody>
                    <a:bodyPr/>
                    <a:lstStyle/>
                    <a:p>
                      <a:pPr algn="ctr">
                        <a:defRPr sz="800">
                          <a:latin typeface="Nexa Book"/>
                        </a:defRPr>
                      </a:pPr>
                      <a:r>
                        <a:t>11%</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3374402097"/>
                  </a:ext>
                </a:extLst>
              </a:tr>
              <a:tr h="277134">
                <a:tc>
                  <a:txBody>
                    <a:bodyPr/>
                    <a:lstStyle/>
                    <a:p>
                      <a:pPr algn="ctr">
                        <a:defRPr sz="800" b="1">
                          <a:latin typeface="Nexa (Headings)"/>
                        </a:defRPr>
                      </a:pPr>
                      <a:r>
                        <a:t>Bruts</a:t>
                      </a:r>
                    </a:p>
                  </a:txBody>
                  <a:tcPr marL="3810" marR="3810" marT="3810" marB="0" anchor="ctr">
                    <a:noFill/>
                  </a:tcPr>
                </a:tc>
                <a:tc>
                  <a:txBody>
                    <a:bodyPr/>
                    <a:lstStyle/>
                    <a:p>
                      <a:pPr algn="ctr">
                        <a:defRPr sz="800">
                          <a:latin typeface="Nexa Book"/>
                        </a:defRPr>
                      </a:pPr>
                      <a:r>
                        <a:t>34</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8%</a:t>
                      </a:r>
                    </a:p>
                  </a:txBody>
                  <a:tcPr marL="3810" marR="3810" marT="3810" marB="0" anchor="ctr">
                    <a:noFill/>
                  </a:tcPr>
                </a:tc>
                <a:tc>
                  <a:txBody>
                    <a:bodyPr/>
                    <a:lstStyle/>
                    <a:p>
                      <a:pPr algn="ctr">
                        <a:defRPr sz="800">
                          <a:latin typeface="Nexa Book"/>
                        </a:defRPr>
                      </a:pPr>
                      <a:r>
                        <a:t>12%</a:t>
                      </a:r>
                    </a:p>
                  </a:txBody>
                  <a:tcPr marL="3810" marR="3810" marT="3810" marB="0" anchor="ctr">
                    <a:noFill/>
                  </a:tcPr>
                </a:tc>
                <a:tc>
                  <a:txBody>
                    <a:bodyPr/>
                    <a:lstStyle/>
                    <a:p>
                      <a:pPr algn="ctr">
                        <a:defRPr sz="800">
                          <a:latin typeface="Nexa Book"/>
                        </a:defRPr>
                      </a:pPr>
                      <a:r>
                        <a:t>4</a:t>
                      </a:r>
                    </a:p>
                  </a:txBody>
                  <a:tcPr marL="3810" marR="3810" marT="3810" marB="0" anchor="ctr">
                    <a:noFill/>
                  </a:tcPr>
                </a:tc>
                <a:tc>
                  <a:txBody>
                    <a:bodyPr/>
                    <a:lstStyle/>
                    <a:p>
                      <a:pPr algn="ctr">
                        <a:defRPr sz="800">
                          <a:latin typeface="Nexa Book"/>
                        </a:defRPr>
                      </a:pPr>
                      <a:r>
                        <a:t>1</a:t>
                      </a:r>
                    </a:p>
                  </a:txBody>
                  <a:tcPr marL="3810" marR="3810" marT="3810" marB="0" anchor="ctr">
                    <a:noFill/>
                  </a:tcPr>
                </a:tc>
                <a:extLst>
                  <a:ext uri="{0D108BD9-81ED-4DB2-BD59-A6C34878D82A}">
                    <a16:rowId xmlns:a16="http://schemas.microsoft.com/office/drawing/2014/main" val="2061534110"/>
                  </a:ext>
                </a:extLst>
              </a:tr>
              <a:tr h="277134">
                <a:tc>
                  <a:txBody>
                    <a:bodyPr/>
                    <a:lstStyle/>
                    <a:p>
                      <a:pPr algn="ctr">
                        <a:defRPr sz="800" b="1">
                          <a:latin typeface="Nexa (Headings)"/>
                        </a:defRPr>
                      </a:pPr>
                      <a:r>
                        <a:t>Blanc De Blancs</a:t>
                      </a:r>
                    </a:p>
                  </a:txBody>
                  <a:tcPr marL="3810" marR="3810" marT="3810" marB="0" anchor="ctr">
                    <a:noFill/>
                  </a:tcPr>
                </a:tc>
                <a:tc>
                  <a:txBody>
                    <a:bodyPr/>
                    <a:lstStyle/>
                    <a:p>
                      <a:pPr algn="ctr">
                        <a:defRPr sz="800">
                          <a:latin typeface="Nexa Book"/>
                        </a:defRPr>
                      </a:pPr>
                      <a:r>
                        <a:t>8</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13%</a:t>
                      </a:r>
                    </a:p>
                  </a:txBody>
                  <a:tcPr marL="3810" marR="3810" marT="3810" marB="0" anchor="ctr">
                    <a:noFill/>
                  </a:tcPr>
                </a:tc>
                <a:tc>
                  <a:txBody>
                    <a:bodyPr/>
                    <a:lstStyle/>
                    <a:p>
                      <a:pPr algn="ctr">
                        <a:defRPr sz="800">
                          <a:latin typeface="Nexa Book"/>
                        </a:defRPr>
                      </a:pPr>
                      <a:r>
                        <a:t>7%</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04386257"/>
                  </a:ext>
                </a:extLst>
              </a:tr>
              <a:tr h="277134">
                <a:tc>
                  <a:txBody>
                    <a:bodyPr/>
                    <a:lstStyle/>
                    <a:p>
                      <a:pPr algn="ctr">
                        <a:defRPr sz="800" b="1">
                          <a:latin typeface="Nexa (Headings)"/>
                        </a:defRPr>
                      </a:pPr>
                      <a:r>
                        <a:t>Millesimes</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071136303"/>
                  </a:ext>
                </a:extLst>
              </a:tr>
              <a:tr h="277134">
                <a:tc>
                  <a:txBody>
                    <a:bodyPr/>
                    <a:lstStyle/>
                    <a:p>
                      <a:pPr algn="ctr">
                        <a:defRPr sz="800" b="1">
                          <a:latin typeface="Nexa (Headings)"/>
                        </a:defRPr>
                      </a:pPr>
                      <a:r>
                        <a:t>Extra Brut</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478226403"/>
                  </a:ext>
                </a:extLst>
              </a:tr>
              <a:tr h="277134">
                <a:tc>
                  <a:txBody>
                    <a:bodyPr/>
                    <a:lstStyle/>
                    <a:p>
                      <a:pPr algn="ctr">
                        <a:defRPr sz="800" b="1">
                          <a:latin typeface="Nexa (Headings)"/>
                        </a:defRPr>
                      </a:pPr>
                      <a:r>
                        <a:t>Crus</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24%</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116474470"/>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1152</a:t>
            </a:fld>
            <a:endParaRPr lang="en-US"/>
          </a:p>
        </p:txBody>
      </p:sp>
    </p:spTree>
    <p:extLst>
      <p:ext uri="{BB962C8B-B14F-4D97-AF65-F5344CB8AC3E}">
        <p14:creationId xmlns:p14="http://schemas.microsoft.com/office/powerpoint/2010/main" val="702333885"/>
      </p:ext>
    </p:extLst>
  </p:cSld>
  <p:clrMapOvr>
    <a:masterClrMapping/>
  </p:clrMapOvr>
</p:sld>
</file>

<file path=ppt/slides/slide11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8/27/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pPr>
              <a:defRPr sz="1200">
                <a:latin typeface="Nexa Bold (Headings)"/>
              </a:defRPr>
            </a:pPr>
            <a:r>
              <a:t>Segment fair share | Effervescents | Nicolas | NICOLAS CCP | P12M</a:t>
            </a:r>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pPr>
              <a:defRPr sz="1600">
                <a:latin typeface="Nexa Bold (Headings)"/>
              </a:defRPr>
            </a:pPr>
            <a:r>
              <a:rPr lang="en-GB" dirty="0">
                <a:highlight>
                  <a:srgbClr val="FFFF00"/>
                </a:highlight>
              </a:rPr>
              <a:t>Segment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Nicolas </a:t>
                      </a:r>
                    </a:p>
                    <a:p>
                      <a:pPr algn="ctr">
                        <a:defRPr sz="900" b="1">
                          <a:latin typeface="Nexa (Headings)"/>
                        </a:defRPr>
                      </a:pPr>
                      <a: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Nicolas </a:t>
                      </a:r>
                    </a:p>
                    <a:p>
                      <a:pPr algn="ctr">
                        <a:defRPr sz="900" b="1">
                          <a:latin typeface="Nexa (Headings)"/>
                        </a:defRPr>
                      </a:pPr>
                      <a: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Nicolas </a:t>
                      </a:r>
                    </a:p>
                    <a:p>
                      <a:pPr algn="ctr">
                        <a:defRPr sz="900" b="1">
                          <a:latin typeface="Nexa (Headings)"/>
                        </a:defRPr>
                      </a:pPr>
                      <a: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Nicolas </a:t>
                      </a:r>
                    </a:p>
                    <a:p>
                      <a:pPr algn="ctr">
                        <a:defRPr sz="900" b="1">
                          <a:latin typeface="Nexa (Headings)"/>
                        </a:defRPr>
                      </a:pPr>
                      <a: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Nicolas</a:t>
                      </a:r>
                    </a:p>
                    <a:p>
                      <a:pPr algn="ctr">
                        <a:defRPr sz="900" b="1">
                          <a:latin typeface="Nexa (Headings)"/>
                        </a:defRPr>
                      </a:pPr>
                      <a: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277134">
                <a:tc>
                  <a:txBody>
                    <a:bodyPr/>
                    <a:lstStyle/>
                    <a:p>
                      <a:pPr algn="ctr">
                        <a:defRPr sz="800" b="1">
                          <a:latin typeface="Nexa (Headings)"/>
                        </a:defRPr>
                      </a:pPr>
                      <a:r>
                        <a:t>Grand Total</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11</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8</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65%</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36%</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4</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277134">
                <a:tc>
                  <a:txBody>
                    <a:bodyPr/>
                    <a:lstStyle/>
                    <a:p>
                      <a:pPr algn="ctr">
                        <a:defRPr sz="800" b="1">
                          <a:latin typeface="Nexa (Headings)"/>
                        </a:defRPr>
                      </a:pPr>
                      <a:r>
                        <a:t>Mousseux Italiens</a:t>
                      </a:r>
                    </a:p>
                  </a:txBody>
                  <a:tcPr marL="3810" marR="3810" marT="3810" marB="0" anchor="ctr">
                    <a:noFill/>
                  </a:tcPr>
                </a:tc>
                <a:tc>
                  <a:txBody>
                    <a:bodyPr/>
                    <a:lstStyle/>
                    <a:p>
                      <a:pPr algn="ctr">
                        <a:defRPr sz="800">
                          <a:latin typeface="Nexa Book"/>
                        </a:defRPr>
                      </a:pPr>
                      <a:r>
                        <a:t>5</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3161381"/>
                  </a:ext>
                </a:extLst>
              </a:tr>
              <a:tr h="277134">
                <a:tc>
                  <a:txBody>
                    <a:bodyPr/>
                    <a:lstStyle/>
                    <a:p>
                      <a:pPr algn="ctr">
                        <a:defRPr sz="800" b="1">
                          <a:latin typeface="Nexa (Headings)"/>
                        </a:defRPr>
                      </a:pPr>
                      <a:r>
                        <a:t>Mousseux Val De Loire</a:t>
                      </a:r>
                    </a:p>
                  </a:txBody>
                  <a:tcPr marL="3810" marR="3810" marT="3810" marB="0" anchor="ctr">
                    <a:noFill/>
                  </a:tcPr>
                </a:tc>
                <a:tc>
                  <a:txBody>
                    <a:bodyPr/>
                    <a:lstStyle/>
                    <a:p>
                      <a:pPr algn="ctr">
                        <a:defRPr sz="800">
                          <a:latin typeface="Nexa Book"/>
                        </a:defRPr>
                      </a:pPr>
                      <a:r>
                        <a:t>4</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1752397169"/>
                  </a:ext>
                </a:extLst>
              </a:tr>
              <a:tr h="277134">
                <a:tc>
                  <a:txBody>
                    <a:bodyPr/>
                    <a:lstStyle/>
                    <a:p>
                      <a:pPr algn="ctr">
                        <a:defRPr sz="800" b="1">
                          <a:latin typeface="Nexa (Headings)"/>
                        </a:defRPr>
                      </a:pPr>
                      <a:r>
                        <a:t>Mousseux Bordelais</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3712364869"/>
                  </a:ext>
                </a:extLst>
              </a:tr>
              <a:tr h="277134">
                <a:tc>
                  <a:txBody>
                    <a:bodyPr/>
                    <a:lstStyle/>
                    <a:p>
                      <a:pPr algn="ctr">
                        <a:defRPr sz="800" b="1">
                          <a:latin typeface="Nexa (Headings)"/>
                        </a:defRPr>
                      </a:pPr>
                      <a:r>
                        <a:t>Mousseux Bourgogne</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98998524"/>
                  </a:ext>
                </a:extLst>
              </a:tr>
              <a:tr h="277134">
                <a:tc>
                  <a:txBody>
                    <a:bodyPr/>
                    <a:lstStyle/>
                    <a:p>
                      <a:pPr algn="ctr">
                        <a:defRPr sz="800" b="1">
                          <a:latin typeface="Nexa (Headings)"/>
                        </a:defRPr>
                      </a:pPr>
                      <a:r>
                        <a:t>Mousseux Alsace</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4143210105"/>
                  </a:ext>
                </a:extLst>
              </a:tr>
              <a:tr h="277134">
                <a:tc>
                  <a:txBody>
                    <a:bodyPr/>
                    <a:lstStyle/>
                    <a:p>
                      <a:pPr algn="ctr">
                        <a:defRPr sz="800" b="1">
                          <a:latin typeface="Nexa (Headings)"/>
                        </a:defRPr>
                      </a:pPr>
                      <a:r>
                        <a:t>Rosés</a:t>
                      </a:r>
                    </a:p>
                  </a:txBody>
                  <a:tcPr marL="3810" marR="3810" marT="3810" marB="0" anchor="ctr">
                    <a:noFill/>
                  </a:tcPr>
                </a:tc>
                <a:tc>
                  <a:txBody>
                    <a:bodyPr/>
                    <a:lstStyle/>
                    <a:p>
                      <a:pPr algn="ctr">
                        <a:defRPr sz="800">
                          <a:latin typeface="Nexa Book"/>
                        </a:defRPr>
                      </a:pPr>
                      <a:r>
                        <a:t>13</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15%</a:t>
                      </a:r>
                    </a:p>
                  </a:txBody>
                  <a:tcPr marL="3810" marR="3810" marT="3810" marB="0" anchor="ctr">
                    <a:noFill/>
                  </a:tcPr>
                </a:tc>
                <a:tc>
                  <a:txBody>
                    <a:bodyPr/>
                    <a:lstStyle/>
                    <a:p>
                      <a:pPr algn="ctr">
                        <a:defRPr sz="800">
                          <a:latin typeface="Nexa Book"/>
                        </a:defRPr>
                      </a:pPr>
                      <a:r>
                        <a:t>8%</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3374402097"/>
                  </a:ext>
                </a:extLst>
              </a:tr>
              <a:tr h="277134">
                <a:tc>
                  <a:txBody>
                    <a:bodyPr/>
                    <a:lstStyle/>
                    <a:p>
                      <a:pPr algn="ctr">
                        <a:defRPr sz="800" b="1">
                          <a:latin typeface="Nexa (Headings)"/>
                        </a:defRPr>
                      </a:pPr>
                      <a:r>
                        <a:t>Bruts</a:t>
                      </a:r>
                    </a:p>
                  </a:txBody>
                  <a:tcPr marL="3810" marR="3810" marT="3810" marB="0" anchor="ctr">
                    <a:noFill/>
                  </a:tcPr>
                </a:tc>
                <a:tc>
                  <a:txBody>
                    <a:bodyPr/>
                    <a:lstStyle/>
                    <a:p>
                      <a:pPr algn="ctr">
                        <a:defRPr sz="800">
                          <a:latin typeface="Nexa Book"/>
                        </a:defRPr>
                      </a:pPr>
                      <a:r>
                        <a:t>46</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7%</a:t>
                      </a:r>
                    </a:p>
                  </a:txBody>
                  <a:tcPr marL="3810" marR="3810" marT="3810" marB="0" anchor="ctr">
                    <a:noFill/>
                  </a:tcPr>
                </a:tc>
                <a:tc>
                  <a:txBody>
                    <a:bodyPr/>
                    <a:lstStyle/>
                    <a:p>
                      <a:pPr algn="ctr">
                        <a:defRPr sz="800">
                          <a:latin typeface="Nexa Book"/>
                        </a:defRPr>
                      </a:pPr>
                      <a:r>
                        <a:t>10%</a:t>
                      </a:r>
                    </a:p>
                  </a:txBody>
                  <a:tcPr marL="3810" marR="3810" marT="3810" marB="0" anchor="ctr">
                    <a:noFill/>
                  </a:tcPr>
                </a:tc>
                <a:tc>
                  <a:txBody>
                    <a:bodyPr/>
                    <a:lstStyle/>
                    <a:p>
                      <a:pPr algn="ctr">
                        <a:defRPr sz="800">
                          <a:latin typeface="Nexa Book"/>
                        </a:defRPr>
                      </a:pPr>
                      <a:r>
                        <a:t>5</a:t>
                      </a:r>
                    </a:p>
                  </a:txBody>
                  <a:tcPr marL="3810" marR="3810" marT="3810" marB="0" anchor="ctr">
                    <a:noFill/>
                  </a:tcPr>
                </a:tc>
                <a:tc>
                  <a:txBody>
                    <a:bodyPr/>
                    <a:lstStyle/>
                    <a:p>
                      <a:pPr algn="ctr">
                        <a:defRPr sz="800">
                          <a:latin typeface="Nexa Book"/>
                        </a:defRPr>
                      </a:pPr>
                      <a:r>
                        <a:t>2</a:t>
                      </a:r>
                    </a:p>
                  </a:txBody>
                  <a:tcPr marL="3810" marR="3810" marT="3810" marB="0" anchor="ctr">
                    <a:noFill/>
                  </a:tcPr>
                </a:tc>
                <a:extLst>
                  <a:ext uri="{0D108BD9-81ED-4DB2-BD59-A6C34878D82A}">
                    <a16:rowId xmlns:a16="http://schemas.microsoft.com/office/drawing/2014/main" val="2061534110"/>
                  </a:ext>
                </a:extLst>
              </a:tr>
              <a:tr h="277134">
                <a:tc>
                  <a:txBody>
                    <a:bodyPr/>
                    <a:lstStyle/>
                    <a:p>
                      <a:pPr algn="ctr">
                        <a:defRPr sz="800" b="1">
                          <a:latin typeface="Nexa (Headings)"/>
                        </a:defRPr>
                      </a:pPr>
                      <a:r>
                        <a:t>Blanc De Blancs</a:t>
                      </a:r>
                    </a:p>
                  </a:txBody>
                  <a:tcPr marL="3810" marR="3810" marT="3810" marB="0" anchor="ctr">
                    <a:noFill/>
                  </a:tcPr>
                </a:tc>
                <a:tc>
                  <a:txBody>
                    <a:bodyPr/>
                    <a:lstStyle/>
                    <a:p>
                      <a:pPr algn="ctr">
                        <a:defRPr sz="800">
                          <a:latin typeface="Nexa Book"/>
                        </a:defRPr>
                      </a:pPr>
                      <a:r>
                        <a:t>13</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12%</a:t>
                      </a:r>
                    </a:p>
                  </a:txBody>
                  <a:tcPr marL="3810" marR="3810" marT="3810" marB="0" anchor="ctr">
                    <a:noFill/>
                  </a:tcPr>
                </a:tc>
                <a:tc>
                  <a:txBody>
                    <a:bodyPr/>
                    <a:lstStyle/>
                    <a:p>
                      <a:pPr algn="ctr">
                        <a:defRPr sz="800">
                          <a:latin typeface="Nexa Book"/>
                        </a:defRPr>
                      </a:pPr>
                      <a:r>
                        <a:t>4%</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04386257"/>
                  </a:ext>
                </a:extLst>
              </a:tr>
              <a:tr h="277134">
                <a:tc>
                  <a:txBody>
                    <a:bodyPr/>
                    <a:lstStyle/>
                    <a:p>
                      <a:pPr algn="ctr">
                        <a:defRPr sz="800" b="1">
                          <a:latin typeface="Nexa (Headings)"/>
                        </a:defRPr>
                      </a:pPr>
                      <a:r>
                        <a:t>Millesimes</a:t>
                      </a:r>
                    </a:p>
                  </a:txBody>
                  <a:tcPr marL="3810" marR="3810" marT="3810" marB="0" anchor="ctr">
                    <a:noFill/>
                  </a:tcPr>
                </a:tc>
                <a:tc>
                  <a:txBody>
                    <a:bodyPr/>
                    <a:lstStyle/>
                    <a:p>
                      <a:pPr algn="ctr">
                        <a:defRPr sz="800">
                          <a:latin typeface="Nexa Book"/>
                        </a:defRPr>
                      </a:pPr>
                      <a:r>
                        <a:t>1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071136303"/>
                  </a:ext>
                </a:extLst>
              </a:tr>
              <a:tr h="277134">
                <a:tc>
                  <a:txBody>
                    <a:bodyPr/>
                    <a:lstStyle/>
                    <a:p>
                      <a:pPr algn="ctr">
                        <a:defRPr sz="800" b="1">
                          <a:latin typeface="Nexa (Headings)"/>
                        </a:defRPr>
                      </a:pPr>
                      <a:r>
                        <a:t>Extra Brut</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478226403"/>
                  </a:ext>
                </a:extLst>
              </a:tr>
              <a:tr h="277134">
                <a:tc>
                  <a:txBody>
                    <a:bodyPr/>
                    <a:lstStyle/>
                    <a:p>
                      <a:pPr algn="ctr">
                        <a:defRPr sz="800" b="1">
                          <a:latin typeface="Nexa (Headings)"/>
                        </a:defRPr>
                      </a:pPr>
                      <a:r>
                        <a:t>Crus</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16%</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116474470"/>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1153</a:t>
            </a:fld>
            <a:endParaRPr lang="en-US"/>
          </a:p>
        </p:txBody>
      </p:sp>
    </p:spTree>
    <p:extLst>
      <p:ext uri="{BB962C8B-B14F-4D97-AF65-F5344CB8AC3E}">
        <p14:creationId xmlns:p14="http://schemas.microsoft.com/office/powerpoint/2010/main" val="451816327"/>
      </p:ext>
    </p:extLst>
  </p:cSld>
  <p:clrMapOvr>
    <a:masterClrMapping/>
  </p:clrMapOvr>
</p:sld>
</file>

<file path=ppt/slides/slide11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8/27/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pPr>
              <a:defRPr sz="1200">
                <a:latin typeface="Nexa Bold (Headings)"/>
              </a:defRPr>
            </a:pPr>
            <a:r>
              <a:t>Segment fair share | Effervescents | Nicolas | NICOLAS QCN | P12M</a:t>
            </a:r>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pPr>
              <a:defRPr sz="1600">
                <a:latin typeface="Nexa Bold (Headings)"/>
              </a:defRPr>
            </a:pPr>
            <a:r>
              <a:rPr lang="en-GB" dirty="0">
                <a:highlight>
                  <a:srgbClr val="FFFF00"/>
                </a:highlight>
              </a:rPr>
              <a:t>Segment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Nicolas </a:t>
                      </a:r>
                    </a:p>
                    <a:p>
                      <a:pPr algn="ctr">
                        <a:defRPr sz="900" b="1">
                          <a:latin typeface="Nexa (Headings)"/>
                        </a:defRPr>
                      </a:pPr>
                      <a: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Nicolas </a:t>
                      </a:r>
                    </a:p>
                    <a:p>
                      <a:pPr algn="ctr">
                        <a:defRPr sz="900" b="1">
                          <a:latin typeface="Nexa (Headings)"/>
                        </a:defRPr>
                      </a:pPr>
                      <a: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Nicolas </a:t>
                      </a:r>
                    </a:p>
                    <a:p>
                      <a:pPr algn="ctr">
                        <a:defRPr sz="900" b="1">
                          <a:latin typeface="Nexa (Headings)"/>
                        </a:defRPr>
                      </a:pPr>
                      <a: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Nicolas </a:t>
                      </a:r>
                    </a:p>
                    <a:p>
                      <a:pPr algn="ctr">
                        <a:defRPr sz="900" b="1">
                          <a:latin typeface="Nexa (Headings)"/>
                        </a:defRPr>
                      </a:pPr>
                      <a: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Nicolas</a:t>
                      </a:r>
                    </a:p>
                    <a:p>
                      <a:pPr algn="ctr">
                        <a:defRPr sz="900" b="1">
                          <a:latin typeface="Nexa (Headings)"/>
                        </a:defRPr>
                      </a:pPr>
                      <a: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277134">
                <a:tc>
                  <a:txBody>
                    <a:bodyPr/>
                    <a:lstStyle/>
                    <a:p>
                      <a:pPr algn="ctr">
                        <a:defRPr sz="800" b="1">
                          <a:latin typeface="Nexa (Headings)"/>
                        </a:defRPr>
                      </a:pPr>
                      <a:r>
                        <a:t>Grand Total</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81</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6</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72%</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42%</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3</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277134">
                <a:tc>
                  <a:txBody>
                    <a:bodyPr/>
                    <a:lstStyle/>
                    <a:p>
                      <a:pPr algn="ctr">
                        <a:defRPr sz="800" b="1">
                          <a:latin typeface="Nexa (Headings)"/>
                        </a:defRPr>
                      </a:pPr>
                      <a:r>
                        <a:t>Mousseux Italiens</a:t>
                      </a:r>
                    </a:p>
                  </a:txBody>
                  <a:tcPr marL="3810" marR="3810" marT="3810" marB="0" anchor="ctr">
                    <a:noFill/>
                  </a:tcPr>
                </a:tc>
                <a:tc>
                  <a:txBody>
                    <a:bodyPr/>
                    <a:lstStyle/>
                    <a:p>
                      <a:pPr algn="ctr">
                        <a:defRPr sz="800">
                          <a:latin typeface="Nexa Book"/>
                        </a:defRPr>
                      </a:pPr>
                      <a:r>
                        <a:t>4</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3161381"/>
                  </a:ext>
                </a:extLst>
              </a:tr>
              <a:tr h="277134">
                <a:tc>
                  <a:txBody>
                    <a:bodyPr/>
                    <a:lstStyle/>
                    <a:p>
                      <a:pPr algn="ctr">
                        <a:defRPr sz="800" b="1">
                          <a:latin typeface="Nexa (Headings)"/>
                        </a:defRPr>
                      </a:pPr>
                      <a:r>
                        <a:t>Mousseux Val De Loire</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1752397169"/>
                  </a:ext>
                </a:extLst>
              </a:tr>
              <a:tr h="277134">
                <a:tc>
                  <a:txBody>
                    <a:bodyPr/>
                    <a:lstStyle/>
                    <a:p>
                      <a:pPr algn="ctr">
                        <a:defRPr sz="800" b="1">
                          <a:latin typeface="Nexa (Headings)"/>
                        </a:defRPr>
                      </a:pPr>
                      <a:r>
                        <a:t>Mousseux Bordelais</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3712364869"/>
                  </a:ext>
                </a:extLst>
              </a:tr>
              <a:tr h="277134">
                <a:tc>
                  <a:txBody>
                    <a:bodyPr/>
                    <a:lstStyle/>
                    <a:p>
                      <a:pPr algn="ctr">
                        <a:defRPr sz="800" b="1">
                          <a:latin typeface="Nexa (Headings)"/>
                        </a:defRPr>
                      </a:pPr>
                      <a:r>
                        <a:t>Mousseux Bourgogne</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98998524"/>
                  </a:ext>
                </a:extLst>
              </a:tr>
              <a:tr h="277134">
                <a:tc>
                  <a:txBody>
                    <a:bodyPr/>
                    <a:lstStyle/>
                    <a:p>
                      <a:pPr algn="ctr">
                        <a:defRPr sz="800" b="1">
                          <a:latin typeface="Nexa (Headings)"/>
                        </a:defRPr>
                      </a:pPr>
                      <a:r>
                        <a:t>Mousseux Alsace</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4143210105"/>
                  </a:ext>
                </a:extLst>
              </a:tr>
              <a:tr h="277134">
                <a:tc>
                  <a:txBody>
                    <a:bodyPr/>
                    <a:lstStyle/>
                    <a:p>
                      <a:pPr algn="ctr">
                        <a:defRPr sz="800" b="1">
                          <a:latin typeface="Nexa (Headings)"/>
                        </a:defRPr>
                      </a:pPr>
                      <a:r>
                        <a:t>Rosés</a:t>
                      </a:r>
                    </a:p>
                  </a:txBody>
                  <a:tcPr marL="3810" marR="3810" marT="3810" marB="0" anchor="ctr">
                    <a:noFill/>
                  </a:tcPr>
                </a:tc>
                <a:tc>
                  <a:txBody>
                    <a:bodyPr/>
                    <a:lstStyle/>
                    <a:p>
                      <a:pPr algn="ctr">
                        <a:defRPr sz="800">
                          <a:latin typeface="Nexa Book"/>
                        </a:defRPr>
                      </a:pPr>
                      <a:r>
                        <a:t>9</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15%</a:t>
                      </a:r>
                    </a:p>
                  </a:txBody>
                  <a:tcPr marL="3810" marR="3810" marT="3810" marB="0" anchor="ctr">
                    <a:noFill/>
                  </a:tcPr>
                </a:tc>
                <a:tc>
                  <a:txBody>
                    <a:bodyPr/>
                    <a:lstStyle/>
                    <a:p>
                      <a:pPr algn="ctr">
                        <a:defRPr sz="800">
                          <a:latin typeface="Nexa Book"/>
                        </a:defRPr>
                      </a:pPr>
                      <a:r>
                        <a:t>10%</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3374402097"/>
                  </a:ext>
                </a:extLst>
              </a:tr>
              <a:tr h="277134">
                <a:tc>
                  <a:txBody>
                    <a:bodyPr/>
                    <a:lstStyle/>
                    <a:p>
                      <a:pPr algn="ctr">
                        <a:defRPr sz="800" b="1">
                          <a:latin typeface="Nexa (Headings)"/>
                        </a:defRPr>
                      </a:pPr>
                      <a:r>
                        <a:t>Bruts</a:t>
                      </a:r>
                    </a:p>
                  </a:txBody>
                  <a:tcPr marL="3810" marR="3810" marT="3810" marB="0" anchor="ctr">
                    <a:noFill/>
                  </a:tcPr>
                </a:tc>
                <a:tc>
                  <a:txBody>
                    <a:bodyPr/>
                    <a:lstStyle/>
                    <a:p>
                      <a:pPr algn="ctr">
                        <a:defRPr sz="800">
                          <a:latin typeface="Nexa Book"/>
                        </a:defRPr>
                      </a:pPr>
                      <a:r>
                        <a:t>37</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8%</a:t>
                      </a:r>
                    </a:p>
                  </a:txBody>
                  <a:tcPr marL="3810" marR="3810" marT="3810" marB="0" anchor="ctr">
                    <a:noFill/>
                  </a:tcPr>
                </a:tc>
                <a:tc>
                  <a:txBody>
                    <a:bodyPr/>
                    <a:lstStyle/>
                    <a:p>
                      <a:pPr algn="ctr">
                        <a:defRPr sz="800">
                          <a:latin typeface="Nexa Book"/>
                        </a:defRPr>
                      </a:pPr>
                      <a:r>
                        <a:t>11%</a:t>
                      </a:r>
                    </a:p>
                  </a:txBody>
                  <a:tcPr marL="3810" marR="3810" marT="3810" marB="0" anchor="ctr">
                    <a:noFill/>
                  </a:tcPr>
                </a:tc>
                <a:tc>
                  <a:txBody>
                    <a:bodyPr/>
                    <a:lstStyle/>
                    <a:p>
                      <a:pPr algn="ctr">
                        <a:defRPr sz="800">
                          <a:latin typeface="Nexa Book"/>
                        </a:defRPr>
                      </a:pPr>
                      <a:r>
                        <a:t>4</a:t>
                      </a:r>
                    </a:p>
                  </a:txBody>
                  <a:tcPr marL="3810" marR="3810" marT="3810" marB="0" anchor="ctr">
                    <a:noFill/>
                  </a:tcPr>
                </a:tc>
                <a:tc>
                  <a:txBody>
                    <a:bodyPr/>
                    <a:lstStyle/>
                    <a:p>
                      <a:pPr algn="ctr">
                        <a:defRPr sz="800">
                          <a:latin typeface="Nexa Book"/>
                        </a:defRPr>
                      </a:pPr>
                      <a:r>
                        <a:t>1</a:t>
                      </a:r>
                    </a:p>
                  </a:txBody>
                  <a:tcPr marL="3810" marR="3810" marT="3810" marB="0" anchor="ctr">
                    <a:noFill/>
                  </a:tcPr>
                </a:tc>
                <a:extLst>
                  <a:ext uri="{0D108BD9-81ED-4DB2-BD59-A6C34878D82A}">
                    <a16:rowId xmlns:a16="http://schemas.microsoft.com/office/drawing/2014/main" val="2061534110"/>
                  </a:ext>
                </a:extLst>
              </a:tr>
              <a:tr h="277134">
                <a:tc>
                  <a:txBody>
                    <a:bodyPr/>
                    <a:lstStyle/>
                    <a:p>
                      <a:pPr algn="ctr">
                        <a:defRPr sz="800" b="1">
                          <a:latin typeface="Nexa (Headings)"/>
                        </a:defRPr>
                      </a:pPr>
                      <a:r>
                        <a:t>Blanc De Blancs</a:t>
                      </a:r>
                    </a:p>
                  </a:txBody>
                  <a:tcPr marL="3810" marR="3810" marT="3810" marB="0" anchor="ctr">
                    <a:noFill/>
                  </a:tcPr>
                </a:tc>
                <a:tc>
                  <a:txBody>
                    <a:bodyPr/>
                    <a:lstStyle/>
                    <a:p>
                      <a:pPr algn="ctr">
                        <a:defRPr sz="800">
                          <a:latin typeface="Nexa Book"/>
                        </a:defRPr>
                      </a:pPr>
                      <a:r>
                        <a:t>7</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13%</a:t>
                      </a:r>
                    </a:p>
                  </a:txBody>
                  <a:tcPr marL="3810" marR="3810" marT="3810" marB="0" anchor="ctr">
                    <a:noFill/>
                  </a:tcPr>
                </a:tc>
                <a:tc>
                  <a:txBody>
                    <a:bodyPr/>
                    <a:lstStyle/>
                    <a:p>
                      <a:pPr algn="ctr">
                        <a:defRPr sz="800">
                          <a:latin typeface="Nexa Book"/>
                        </a:defRPr>
                      </a:pPr>
                      <a:r>
                        <a:t>8%</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04386257"/>
                  </a:ext>
                </a:extLst>
              </a:tr>
              <a:tr h="277134">
                <a:tc>
                  <a:txBody>
                    <a:bodyPr/>
                    <a:lstStyle/>
                    <a:p>
                      <a:pPr algn="ctr">
                        <a:defRPr sz="800" b="1">
                          <a:latin typeface="Nexa (Headings)"/>
                        </a:defRPr>
                      </a:pPr>
                      <a:r>
                        <a:t>Millesimes</a:t>
                      </a:r>
                    </a:p>
                  </a:txBody>
                  <a:tcPr marL="3810" marR="3810" marT="3810" marB="0" anchor="ctr">
                    <a:noFill/>
                  </a:tcPr>
                </a:tc>
                <a:tc>
                  <a:txBody>
                    <a:bodyPr/>
                    <a:lstStyle/>
                    <a:p>
                      <a:pPr algn="ctr">
                        <a:defRPr sz="800">
                          <a:latin typeface="Nexa Book"/>
                        </a:defRPr>
                      </a:pPr>
                      <a:r>
                        <a:t>4</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071136303"/>
                  </a:ext>
                </a:extLst>
              </a:tr>
              <a:tr h="277134">
                <a:tc>
                  <a:txBody>
                    <a:bodyPr/>
                    <a:lstStyle/>
                    <a:p>
                      <a:pPr algn="ctr">
                        <a:defRPr sz="800" b="1">
                          <a:latin typeface="Nexa (Headings)"/>
                        </a:defRPr>
                      </a:pPr>
                      <a:r>
                        <a:t>Extra Brut</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478226403"/>
                  </a:ext>
                </a:extLst>
              </a:tr>
              <a:tr h="277134">
                <a:tc>
                  <a:txBody>
                    <a:bodyPr/>
                    <a:lstStyle/>
                    <a:p>
                      <a:pPr algn="ctr">
                        <a:defRPr sz="800" b="1">
                          <a:latin typeface="Nexa (Headings)"/>
                        </a:defRPr>
                      </a:pPr>
                      <a:r>
                        <a:t>Crus</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18%</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116474470"/>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1154</a:t>
            </a:fld>
            <a:endParaRPr lang="en-US"/>
          </a:p>
        </p:txBody>
      </p:sp>
    </p:spTree>
    <p:extLst>
      <p:ext uri="{BB962C8B-B14F-4D97-AF65-F5344CB8AC3E}">
        <p14:creationId xmlns:p14="http://schemas.microsoft.com/office/powerpoint/2010/main" val="3948160562"/>
      </p:ext>
    </p:extLst>
  </p:cSld>
  <p:clrMapOvr>
    <a:masterClrMapping/>
  </p:clrMapOvr>
</p:sld>
</file>

<file path=ppt/slides/slide11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8/27/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pPr>
              <a:defRPr sz="1200">
                <a:latin typeface="Nexa Bold (Headings)"/>
              </a:defRPr>
            </a:pPr>
            <a:r>
              <a:t>Segment fair share | Effervescents | Nicolas | NICOLAS | P12M</a:t>
            </a:r>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pPr>
              <a:defRPr sz="1600">
                <a:latin typeface="Nexa Bold (Headings)"/>
              </a:defRPr>
            </a:pPr>
            <a:r>
              <a:rPr lang="en-GB" dirty="0">
                <a:highlight>
                  <a:srgbClr val="FFFF00"/>
                </a:highlight>
              </a:rPr>
              <a:t>Segment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Nicolas </a:t>
                      </a:r>
                    </a:p>
                    <a:p>
                      <a:pPr algn="ctr">
                        <a:defRPr sz="900" b="1">
                          <a:latin typeface="Nexa (Headings)"/>
                        </a:defRPr>
                      </a:pPr>
                      <a: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Nicolas </a:t>
                      </a:r>
                    </a:p>
                    <a:p>
                      <a:pPr algn="ctr">
                        <a:defRPr sz="900" b="1">
                          <a:latin typeface="Nexa (Headings)"/>
                        </a:defRPr>
                      </a:pPr>
                      <a: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Nicolas </a:t>
                      </a:r>
                    </a:p>
                    <a:p>
                      <a:pPr algn="ctr">
                        <a:defRPr sz="900" b="1">
                          <a:latin typeface="Nexa (Headings)"/>
                        </a:defRPr>
                      </a:pPr>
                      <a: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Nicolas </a:t>
                      </a:r>
                    </a:p>
                    <a:p>
                      <a:pPr algn="ctr">
                        <a:defRPr sz="900" b="1">
                          <a:latin typeface="Nexa (Headings)"/>
                        </a:defRPr>
                      </a:pPr>
                      <a: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Nicolas</a:t>
                      </a:r>
                    </a:p>
                    <a:p>
                      <a:pPr algn="ctr">
                        <a:defRPr sz="900" b="1">
                          <a:latin typeface="Nexa (Headings)"/>
                        </a:defRPr>
                      </a:pPr>
                      <a: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277134">
                <a:tc>
                  <a:txBody>
                    <a:bodyPr/>
                    <a:lstStyle/>
                    <a:p>
                      <a:pPr algn="ctr">
                        <a:defRPr sz="800" b="1">
                          <a:latin typeface="Nexa (Headings)"/>
                        </a:defRPr>
                      </a:pPr>
                      <a:r>
                        <a:t>Grand Total</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8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6</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72%</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3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3</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277134">
                <a:tc>
                  <a:txBody>
                    <a:bodyPr/>
                    <a:lstStyle/>
                    <a:p>
                      <a:pPr algn="ctr">
                        <a:defRPr sz="800" b="1">
                          <a:latin typeface="Nexa (Headings)"/>
                        </a:defRPr>
                      </a:pPr>
                      <a:r>
                        <a:t>Mousseux Italiens</a:t>
                      </a:r>
                    </a:p>
                  </a:txBody>
                  <a:tcPr marL="3810" marR="3810" marT="3810" marB="0" anchor="ctr">
                    <a:noFill/>
                  </a:tcPr>
                </a:tc>
                <a:tc>
                  <a:txBody>
                    <a:bodyPr/>
                    <a:lstStyle/>
                    <a:p>
                      <a:pPr algn="ctr">
                        <a:defRPr sz="800">
                          <a:latin typeface="Nexa Book"/>
                        </a:defRPr>
                      </a:pPr>
                      <a:r>
                        <a:t>4</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3161381"/>
                  </a:ext>
                </a:extLst>
              </a:tr>
              <a:tr h="277134">
                <a:tc>
                  <a:txBody>
                    <a:bodyPr/>
                    <a:lstStyle/>
                    <a:p>
                      <a:pPr algn="ctr">
                        <a:defRPr sz="800" b="1">
                          <a:latin typeface="Nexa (Headings)"/>
                        </a:defRPr>
                      </a:pPr>
                      <a:r>
                        <a:t>Mousseux Val De Loire</a:t>
                      </a:r>
                    </a:p>
                  </a:txBody>
                  <a:tcPr marL="3810" marR="3810" marT="3810" marB="0" anchor="ctr">
                    <a:noFill/>
                  </a:tcPr>
                </a:tc>
                <a:tc>
                  <a:txBody>
                    <a:bodyPr/>
                    <a:lstStyle/>
                    <a:p>
                      <a:pPr algn="ctr">
                        <a:defRPr sz="800">
                          <a:latin typeface="Nexa Book"/>
                        </a:defRPr>
                      </a:pPr>
                      <a:r>
                        <a:t>4</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1752397169"/>
                  </a:ext>
                </a:extLst>
              </a:tr>
              <a:tr h="277134">
                <a:tc>
                  <a:txBody>
                    <a:bodyPr/>
                    <a:lstStyle/>
                    <a:p>
                      <a:pPr algn="ctr">
                        <a:defRPr sz="800" b="1">
                          <a:latin typeface="Nexa (Headings)"/>
                        </a:defRPr>
                      </a:pPr>
                      <a:r>
                        <a:t>Mousseux Bordelais</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3712364869"/>
                  </a:ext>
                </a:extLst>
              </a:tr>
              <a:tr h="277134">
                <a:tc>
                  <a:txBody>
                    <a:bodyPr/>
                    <a:lstStyle/>
                    <a:p>
                      <a:pPr algn="ctr">
                        <a:defRPr sz="800" b="1">
                          <a:latin typeface="Nexa (Headings)"/>
                        </a:defRPr>
                      </a:pPr>
                      <a:r>
                        <a:t>Mousseux Bourgogne</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98998524"/>
                  </a:ext>
                </a:extLst>
              </a:tr>
              <a:tr h="277134">
                <a:tc>
                  <a:txBody>
                    <a:bodyPr/>
                    <a:lstStyle/>
                    <a:p>
                      <a:pPr algn="ctr">
                        <a:defRPr sz="800" b="1">
                          <a:latin typeface="Nexa (Headings)"/>
                        </a:defRPr>
                      </a:pPr>
                      <a:r>
                        <a:t>Mousseux Alsace</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4143210105"/>
                  </a:ext>
                </a:extLst>
              </a:tr>
              <a:tr h="277134">
                <a:tc>
                  <a:txBody>
                    <a:bodyPr/>
                    <a:lstStyle/>
                    <a:p>
                      <a:pPr algn="ctr">
                        <a:defRPr sz="800" b="1">
                          <a:latin typeface="Nexa (Headings)"/>
                        </a:defRPr>
                      </a:pPr>
                      <a:r>
                        <a:t>Rosés</a:t>
                      </a:r>
                    </a:p>
                  </a:txBody>
                  <a:tcPr marL="3810" marR="3810" marT="3810" marB="0" anchor="ctr">
                    <a:noFill/>
                  </a:tcPr>
                </a:tc>
                <a:tc>
                  <a:txBody>
                    <a:bodyPr/>
                    <a:lstStyle/>
                    <a:p>
                      <a:pPr algn="ctr">
                        <a:defRPr sz="800">
                          <a:latin typeface="Nexa Book"/>
                        </a:defRPr>
                      </a:pPr>
                      <a:r>
                        <a:t>10</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15%</a:t>
                      </a:r>
                    </a:p>
                  </a:txBody>
                  <a:tcPr marL="3810" marR="3810" marT="3810" marB="0" anchor="ctr">
                    <a:noFill/>
                  </a:tcPr>
                </a:tc>
                <a:tc>
                  <a:txBody>
                    <a:bodyPr/>
                    <a:lstStyle/>
                    <a:p>
                      <a:pPr algn="ctr">
                        <a:defRPr sz="800">
                          <a:latin typeface="Nexa Book"/>
                        </a:defRPr>
                      </a:pPr>
                      <a:r>
                        <a:t>10%</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3374402097"/>
                  </a:ext>
                </a:extLst>
              </a:tr>
              <a:tr h="277134">
                <a:tc>
                  <a:txBody>
                    <a:bodyPr/>
                    <a:lstStyle/>
                    <a:p>
                      <a:pPr algn="ctr">
                        <a:defRPr sz="800" b="1">
                          <a:latin typeface="Nexa (Headings)"/>
                        </a:defRPr>
                      </a:pPr>
                      <a:r>
                        <a:t>Bruts</a:t>
                      </a:r>
                    </a:p>
                  </a:txBody>
                  <a:tcPr marL="3810" marR="3810" marT="3810" marB="0" anchor="ctr">
                    <a:noFill/>
                  </a:tcPr>
                </a:tc>
                <a:tc>
                  <a:txBody>
                    <a:bodyPr/>
                    <a:lstStyle/>
                    <a:p>
                      <a:pPr algn="ctr">
                        <a:defRPr sz="800">
                          <a:latin typeface="Nexa Book"/>
                        </a:defRPr>
                      </a:pPr>
                      <a:r>
                        <a:t>40</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8%</a:t>
                      </a:r>
                    </a:p>
                  </a:txBody>
                  <a:tcPr marL="3810" marR="3810" marT="3810" marB="0" anchor="ctr">
                    <a:noFill/>
                  </a:tcPr>
                </a:tc>
                <a:tc>
                  <a:txBody>
                    <a:bodyPr/>
                    <a:lstStyle/>
                    <a:p>
                      <a:pPr algn="ctr">
                        <a:defRPr sz="800">
                          <a:latin typeface="Nexa Book"/>
                        </a:defRPr>
                      </a:pPr>
                      <a:r>
                        <a:t>11%</a:t>
                      </a:r>
                    </a:p>
                  </a:txBody>
                  <a:tcPr marL="3810" marR="3810" marT="3810" marB="0" anchor="ctr">
                    <a:noFill/>
                  </a:tcPr>
                </a:tc>
                <a:tc>
                  <a:txBody>
                    <a:bodyPr/>
                    <a:lstStyle/>
                    <a:p>
                      <a:pPr algn="ctr">
                        <a:defRPr sz="800">
                          <a:latin typeface="Nexa Book"/>
                        </a:defRPr>
                      </a:pPr>
                      <a:r>
                        <a:t>4</a:t>
                      </a:r>
                    </a:p>
                  </a:txBody>
                  <a:tcPr marL="3810" marR="3810" marT="3810" marB="0" anchor="ctr">
                    <a:noFill/>
                  </a:tcPr>
                </a:tc>
                <a:tc>
                  <a:txBody>
                    <a:bodyPr/>
                    <a:lstStyle/>
                    <a:p>
                      <a:pPr algn="ctr">
                        <a:defRPr sz="800">
                          <a:latin typeface="Nexa Book"/>
                        </a:defRPr>
                      </a:pPr>
                      <a:r>
                        <a:t>1</a:t>
                      </a:r>
                    </a:p>
                  </a:txBody>
                  <a:tcPr marL="3810" marR="3810" marT="3810" marB="0" anchor="ctr">
                    <a:noFill/>
                  </a:tcPr>
                </a:tc>
                <a:extLst>
                  <a:ext uri="{0D108BD9-81ED-4DB2-BD59-A6C34878D82A}">
                    <a16:rowId xmlns:a16="http://schemas.microsoft.com/office/drawing/2014/main" val="2061534110"/>
                  </a:ext>
                </a:extLst>
              </a:tr>
              <a:tr h="277134">
                <a:tc>
                  <a:txBody>
                    <a:bodyPr/>
                    <a:lstStyle/>
                    <a:p>
                      <a:pPr algn="ctr">
                        <a:defRPr sz="800" b="1">
                          <a:latin typeface="Nexa (Headings)"/>
                        </a:defRPr>
                      </a:pPr>
                      <a:r>
                        <a:t>Blanc De Blancs</a:t>
                      </a:r>
                    </a:p>
                  </a:txBody>
                  <a:tcPr marL="3810" marR="3810" marT="3810" marB="0" anchor="ctr">
                    <a:noFill/>
                  </a:tcPr>
                </a:tc>
                <a:tc>
                  <a:txBody>
                    <a:bodyPr/>
                    <a:lstStyle/>
                    <a:p>
                      <a:pPr algn="ctr">
                        <a:defRPr sz="800">
                          <a:latin typeface="Nexa Book"/>
                        </a:defRPr>
                      </a:pPr>
                      <a:r>
                        <a:t>9</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12%</a:t>
                      </a:r>
                    </a:p>
                  </a:txBody>
                  <a:tcPr marL="3810" marR="3810" marT="3810" marB="0" anchor="ctr">
                    <a:noFill/>
                  </a:tcPr>
                </a:tc>
                <a:tc>
                  <a:txBody>
                    <a:bodyPr/>
                    <a:lstStyle/>
                    <a:p>
                      <a:pPr algn="ctr">
                        <a:defRPr sz="800">
                          <a:latin typeface="Nexa Book"/>
                        </a:defRPr>
                      </a:pPr>
                      <a:r>
                        <a:t>6%</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04386257"/>
                  </a:ext>
                </a:extLst>
              </a:tr>
              <a:tr h="277134">
                <a:tc>
                  <a:txBody>
                    <a:bodyPr/>
                    <a:lstStyle/>
                    <a:p>
                      <a:pPr algn="ctr">
                        <a:defRPr sz="800" b="1">
                          <a:latin typeface="Nexa (Headings)"/>
                        </a:defRPr>
                      </a:pPr>
                      <a:r>
                        <a:t>Millesimes</a:t>
                      </a:r>
                    </a:p>
                  </a:txBody>
                  <a:tcPr marL="3810" marR="3810" marT="3810" marB="0" anchor="ctr">
                    <a:noFill/>
                  </a:tcPr>
                </a:tc>
                <a:tc>
                  <a:txBody>
                    <a:bodyPr/>
                    <a:lstStyle/>
                    <a:p>
                      <a:pPr algn="ctr">
                        <a:defRPr sz="800">
                          <a:latin typeface="Nexa Book"/>
                        </a:defRPr>
                      </a:pPr>
                      <a:r>
                        <a:t>5</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071136303"/>
                  </a:ext>
                </a:extLst>
              </a:tr>
              <a:tr h="277134">
                <a:tc>
                  <a:txBody>
                    <a:bodyPr/>
                    <a:lstStyle/>
                    <a:p>
                      <a:pPr algn="ctr">
                        <a:defRPr sz="800" b="1">
                          <a:latin typeface="Nexa (Headings)"/>
                        </a:defRPr>
                      </a:pPr>
                      <a:r>
                        <a:t>Extra Brut</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478226403"/>
                  </a:ext>
                </a:extLst>
              </a:tr>
              <a:tr h="277134">
                <a:tc>
                  <a:txBody>
                    <a:bodyPr/>
                    <a:lstStyle/>
                    <a:p>
                      <a:pPr algn="ctr">
                        <a:defRPr sz="800" b="1">
                          <a:latin typeface="Nexa (Headings)"/>
                        </a:defRPr>
                      </a:pPr>
                      <a:r>
                        <a:t>Crus</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20%</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116474470"/>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1155</a:t>
            </a:fld>
            <a:endParaRPr lang="en-US"/>
          </a:p>
        </p:txBody>
      </p:sp>
    </p:spTree>
    <p:extLst>
      <p:ext uri="{BB962C8B-B14F-4D97-AF65-F5344CB8AC3E}">
        <p14:creationId xmlns:p14="http://schemas.microsoft.com/office/powerpoint/2010/main" val="1298021005"/>
      </p:ext>
    </p:extLst>
  </p:cSld>
  <p:clrMapOvr>
    <a:masterClrMapping/>
  </p:clrMapOvr>
</p:sld>
</file>

<file path=ppt/slides/slide11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8/27/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pPr>
              <a:defRPr sz="1200">
                <a:latin typeface="Nexa Bold (Headings)"/>
              </a:defRPr>
            </a:pPr>
            <a:r>
              <a:t>Segment fair share | Effervescents | Nicolas | NICOLAS QCA | P12M</a:t>
            </a:r>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pPr>
              <a:defRPr sz="1600">
                <a:latin typeface="Nexa Bold (Headings)"/>
              </a:defRPr>
            </a:pPr>
            <a:r>
              <a:rPr lang="en-GB" dirty="0">
                <a:highlight>
                  <a:srgbClr val="FFFF00"/>
                </a:highlight>
              </a:rPr>
              <a:t>Segment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Nicolas </a:t>
                      </a:r>
                    </a:p>
                    <a:p>
                      <a:pPr algn="ctr">
                        <a:defRPr sz="900" b="1">
                          <a:latin typeface="Nexa (Headings)"/>
                        </a:defRPr>
                      </a:pPr>
                      <a: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Nicolas </a:t>
                      </a:r>
                    </a:p>
                    <a:p>
                      <a:pPr algn="ctr">
                        <a:defRPr sz="900" b="1">
                          <a:latin typeface="Nexa (Headings)"/>
                        </a:defRPr>
                      </a:pPr>
                      <a: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Nicolas </a:t>
                      </a:r>
                    </a:p>
                    <a:p>
                      <a:pPr algn="ctr">
                        <a:defRPr sz="900" b="1">
                          <a:latin typeface="Nexa (Headings)"/>
                        </a:defRPr>
                      </a:pPr>
                      <a: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Nicolas </a:t>
                      </a:r>
                    </a:p>
                    <a:p>
                      <a:pPr algn="ctr">
                        <a:defRPr sz="900" b="1">
                          <a:latin typeface="Nexa (Headings)"/>
                        </a:defRPr>
                      </a:pPr>
                      <a: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Nicolas</a:t>
                      </a:r>
                    </a:p>
                    <a:p>
                      <a:pPr algn="ctr">
                        <a:defRPr sz="900" b="1">
                          <a:latin typeface="Nexa (Headings)"/>
                        </a:defRPr>
                      </a:pPr>
                      <a: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277134">
                <a:tc>
                  <a:txBody>
                    <a:bodyPr/>
                    <a:lstStyle/>
                    <a:p>
                      <a:pPr algn="ctr">
                        <a:defRPr sz="800" b="1">
                          <a:latin typeface="Nexa (Headings)"/>
                        </a:defRPr>
                      </a:pPr>
                      <a:r>
                        <a:t>Grand Total</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08</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7</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65%</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33%</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3</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277134">
                <a:tc>
                  <a:txBody>
                    <a:bodyPr/>
                    <a:lstStyle/>
                    <a:p>
                      <a:pPr algn="ctr">
                        <a:defRPr sz="800" b="1">
                          <a:latin typeface="Nexa (Headings)"/>
                        </a:defRPr>
                      </a:pPr>
                      <a:r>
                        <a:t>Mousseux Italiens</a:t>
                      </a:r>
                    </a:p>
                  </a:txBody>
                  <a:tcPr marL="3810" marR="3810" marT="3810" marB="0" anchor="ctr">
                    <a:noFill/>
                  </a:tcPr>
                </a:tc>
                <a:tc>
                  <a:txBody>
                    <a:bodyPr/>
                    <a:lstStyle/>
                    <a:p>
                      <a:pPr algn="ctr">
                        <a:defRPr sz="800">
                          <a:latin typeface="Nexa Book"/>
                        </a:defRPr>
                      </a:pPr>
                      <a:r>
                        <a:t>4</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3161381"/>
                  </a:ext>
                </a:extLst>
              </a:tr>
              <a:tr h="277134">
                <a:tc>
                  <a:txBody>
                    <a:bodyPr/>
                    <a:lstStyle/>
                    <a:p>
                      <a:pPr algn="ctr">
                        <a:defRPr sz="800" b="1">
                          <a:latin typeface="Nexa (Headings)"/>
                        </a:defRPr>
                      </a:pPr>
                      <a:r>
                        <a:t>Mousseux Val De Loire</a:t>
                      </a:r>
                    </a:p>
                  </a:txBody>
                  <a:tcPr marL="3810" marR="3810" marT="3810" marB="0" anchor="ctr">
                    <a:noFill/>
                  </a:tcPr>
                </a:tc>
                <a:tc>
                  <a:txBody>
                    <a:bodyPr/>
                    <a:lstStyle/>
                    <a:p>
                      <a:pPr algn="ctr">
                        <a:defRPr sz="800">
                          <a:latin typeface="Nexa Book"/>
                        </a:defRPr>
                      </a:pPr>
                      <a:r>
                        <a:t>4</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1752397169"/>
                  </a:ext>
                </a:extLst>
              </a:tr>
              <a:tr h="277134">
                <a:tc>
                  <a:txBody>
                    <a:bodyPr/>
                    <a:lstStyle/>
                    <a:p>
                      <a:pPr algn="ctr">
                        <a:defRPr sz="800" b="1">
                          <a:latin typeface="Nexa (Headings)"/>
                        </a:defRPr>
                      </a:pPr>
                      <a:r>
                        <a:t>Mousseux Bordelais</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3712364869"/>
                  </a:ext>
                </a:extLst>
              </a:tr>
              <a:tr h="277134">
                <a:tc>
                  <a:txBody>
                    <a:bodyPr/>
                    <a:lstStyle/>
                    <a:p>
                      <a:pPr algn="ctr">
                        <a:defRPr sz="800" b="1">
                          <a:latin typeface="Nexa (Headings)"/>
                        </a:defRPr>
                      </a:pPr>
                      <a:r>
                        <a:t>Mousseux Bourgogne</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98998524"/>
                  </a:ext>
                </a:extLst>
              </a:tr>
              <a:tr h="277134">
                <a:tc>
                  <a:txBody>
                    <a:bodyPr/>
                    <a:lstStyle/>
                    <a:p>
                      <a:pPr algn="ctr">
                        <a:defRPr sz="800" b="1">
                          <a:latin typeface="Nexa (Headings)"/>
                        </a:defRPr>
                      </a:pPr>
                      <a:r>
                        <a:t>Mousseux Alsace</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4143210105"/>
                  </a:ext>
                </a:extLst>
              </a:tr>
              <a:tr h="277134">
                <a:tc>
                  <a:txBody>
                    <a:bodyPr/>
                    <a:lstStyle/>
                    <a:p>
                      <a:pPr algn="ctr">
                        <a:defRPr sz="800" b="1">
                          <a:latin typeface="Nexa (Headings)"/>
                        </a:defRPr>
                      </a:pPr>
                      <a:r>
                        <a:t>Rosés</a:t>
                      </a:r>
                    </a:p>
                  </a:txBody>
                  <a:tcPr marL="3810" marR="3810" marT="3810" marB="0" anchor="ctr">
                    <a:noFill/>
                  </a:tcPr>
                </a:tc>
                <a:tc>
                  <a:txBody>
                    <a:bodyPr/>
                    <a:lstStyle/>
                    <a:p>
                      <a:pPr algn="ctr">
                        <a:defRPr sz="800">
                          <a:latin typeface="Nexa Book"/>
                        </a:defRPr>
                      </a:pPr>
                      <a:r>
                        <a:t>13</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14%</a:t>
                      </a:r>
                    </a:p>
                  </a:txBody>
                  <a:tcPr marL="3810" marR="3810" marT="3810" marB="0" anchor="ctr">
                    <a:noFill/>
                  </a:tcPr>
                </a:tc>
                <a:tc>
                  <a:txBody>
                    <a:bodyPr/>
                    <a:lstStyle/>
                    <a:p>
                      <a:pPr algn="ctr">
                        <a:defRPr sz="800">
                          <a:latin typeface="Nexa Book"/>
                        </a:defRPr>
                      </a:pPr>
                      <a:r>
                        <a:t>7%</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3374402097"/>
                  </a:ext>
                </a:extLst>
              </a:tr>
              <a:tr h="277134">
                <a:tc>
                  <a:txBody>
                    <a:bodyPr/>
                    <a:lstStyle/>
                    <a:p>
                      <a:pPr algn="ctr">
                        <a:defRPr sz="800" b="1">
                          <a:latin typeface="Nexa (Headings)"/>
                        </a:defRPr>
                      </a:pPr>
                      <a:r>
                        <a:t>Bruts</a:t>
                      </a:r>
                    </a:p>
                  </a:txBody>
                  <a:tcPr marL="3810" marR="3810" marT="3810" marB="0" anchor="ctr">
                    <a:noFill/>
                  </a:tcPr>
                </a:tc>
                <a:tc>
                  <a:txBody>
                    <a:bodyPr/>
                    <a:lstStyle/>
                    <a:p>
                      <a:pPr algn="ctr">
                        <a:defRPr sz="800">
                          <a:latin typeface="Nexa Book"/>
                        </a:defRPr>
                      </a:pPr>
                      <a:r>
                        <a:t>48</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6%</a:t>
                      </a:r>
                    </a:p>
                  </a:txBody>
                  <a:tcPr marL="3810" marR="3810" marT="3810" marB="0" anchor="ctr">
                    <a:noFill/>
                  </a:tcPr>
                </a:tc>
                <a:tc>
                  <a:txBody>
                    <a:bodyPr/>
                    <a:lstStyle/>
                    <a:p>
                      <a:pPr algn="ctr">
                        <a:defRPr sz="800">
                          <a:latin typeface="Nexa Book"/>
                        </a:defRPr>
                      </a:pPr>
                      <a:r>
                        <a:t>8%</a:t>
                      </a:r>
                    </a:p>
                  </a:txBody>
                  <a:tcPr marL="3810" marR="3810" marT="3810" marB="0" anchor="ctr">
                    <a:noFill/>
                  </a:tcPr>
                </a:tc>
                <a:tc>
                  <a:txBody>
                    <a:bodyPr/>
                    <a:lstStyle/>
                    <a:p>
                      <a:pPr algn="ctr">
                        <a:defRPr sz="800">
                          <a:latin typeface="Nexa Book"/>
                        </a:defRPr>
                      </a:pPr>
                      <a:r>
                        <a:t>4</a:t>
                      </a:r>
                    </a:p>
                  </a:txBody>
                  <a:tcPr marL="3810" marR="3810" marT="3810" marB="0" anchor="ctr">
                    <a:noFill/>
                  </a:tcPr>
                </a:tc>
                <a:tc>
                  <a:txBody>
                    <a:bodyPr/>
                    <a:lstStyle/>
                    <a:p>
                      <a:pPr algn="ctr">
                        <a:defRPr sz="800">
                          <a:latin typeface="Nexa Book"/>
                        </a:defRPr>
                      </a:pPr>
                      <a:r>
                        <a:t>1</a:t>
                      </a:r>
                    </a:p>
                  </a:txBody>
                  <a:tcPr marL="3810" marR="3810" marT="3810" marB="0" anchor="ctr">
                    <a:noFill/>
                  </a:tcPr>
                </a:tc>
                <a:extLst>
                  <a:ext uri="{0D108BD9-81ED-4DB2-BD59-A6C34878D82A}">
                    <a16:rowId xmlns:a16="http://schemas.microsoft.com/office/drawing/2014/main" val="2061534110"/>
                  </a:ext>
                </a:extLst>
              </a:tr>
              <a:tr h="277134">
                <a:tc>
                  <a:txBody>
                    <a:bodyPr/>
                    <a:lstStyle/>
                    <a:p>
                      <a:pPr algn="ctr">
                        <a:defRPr sz="800" b="1">
                          <a:latin typeface="Nexa (Headings)"/>
                        </a:defRPr>
                      </a:pPr>
                      <a:r>
                        <a:t>Blanc De Blancs</a:t>
                      </a:r>
                    </a:p>
                  </a:txBody>
                  <a:tcPr marL="3810" marR="3810" marT="3810" marB="0" anchor="ctr">
                    <a:noFill/>
                  </a:tcPr>
                </a:tc>
                <a:tc>
                  <a:txBody>
                    <a:bodyPr/>
                    <a:lstStyle/>
                    <a:p>
                      <a:pPr algn="ctr">
                        <a:defRPr sz="800">
                          <a:latin typeface="Nexa Book"/>
                        </a:defRPr>
                      </a:pPr>
                      <a:r>
                        <a:t>12</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10%</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04386257"/>
                  </a:ext>
                </a:extLst>
              </a:tr>
              <a:tr h="277134">
                <a:tc>
                  <a:txBody>
                    <a:bodyPr/>
                    <a:lstStyle/>
                    <a:p>
                      <a:pPr algn="ctr">
                        <a:defRPr sz="800" b="1">
                          <a:latin typeface="Nexa (Headings)"/>
                        </a:defRPr>
                      </a:pPr>
                      <a:r>
                        <a:t>Millesimes</a:t>
                      </a:r>
                    </a:p>
                  </a:txBody>
                  <a:tcPr marL="3810" marR="3810" marT="3810" marB="0" anchor="ctr">
                    <a:noFill/>
                  </a:tcPr>
                </a:tc>
                <a:tc>
                  <a:txBody>
                    <a:bodyPr/>
                    <a:lstStyle/>
                    <a:p>
                      <a:pPr algn="ctr">
                        <a:defRPr sz="800">
                          <a:latin typeface="Nexa Book"/>
                        </a:defRPr>
                      </a:pPr>
                      <a:r>
                        <a:t>9</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071136303"/>
                  </a:ext>
                </a:extLst>
              </a:tr>
              <a:tr h="277134">
                <a:tc>
                  <a:txBody>
                    <a:bodyPr/>
                    <a:lstStyle/>
                    <a:p>
                      <a:pPr algn="ctr">
                        <a:defRPr sz="800" b="1">
                          <a:latin typeface="Nexa (Headings)"/>
                        </a:defRPr>
                      </a:pPr>
                      <a:r>
                        <a:t>Extra Brut</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478226403"/>
                  </a:ext>
                </a:extLst>
              </a:tr>
              <a:tr h="277134">
                <a:tc>
                  <a:txBody>
                    <a:bodyPr/>
                    <a:lstStyle/>
                    <a:p>
                      <a:pPr algn="ctr">
                        <a:defRPr sz="800" b="1">
                          <a:latin typeface="Nexa (Headings)"/>
                        </a:defRPr>
                      </a:pPr>
                      <a:r>
                        <a:t>Crus</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20%</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116474470"/>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1156</a:t>
            </a:fld>
            <a:endParaRPr lang="en-US"/>
          </a:p>
        </p:txBody>
      </p:sp>
    </p:spTree>
    <p:extLst>
      <p:ext uri="{BB962C8B-B14F-4D97-AF65-F5344CB8AC3E}">
        <p14:creationId xmlns:p14="http://schemas.microsoft.com/office/powerpoint/2010/main" val="152544230"/>
      </p:ext>
    </p:extLst>
  </p:cSld>
  <p:clrMapOvr>
    <a:masterClrMapping/>
  </p:clrMapOvr>
</p:sld>
</file>

<file path=ppt/slides/slide11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8/27/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pPr>
              <a:defRPr sz="1200">
                <a:latin typeface="Nexa Bold (Headings)"/>
              </a:defRPr>
            </a:pPr>
            <a:r>
              <a:t>Segment fair share | Effervescents | Nicolas | NICOLAS RHO | P12M</a:t>
            </a:r>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pPr>
              <a:defRPr sz="1600">
                <a:latin typeface="Nexa Bold (Headings)"/>
              </a:defRPr>
            </a:pPr>
            <a:r>
              <a:rPr lang="en-GB" dirty="0">
                <a:highlight>
                  <a:srgbClr val="FFFF00"/>
                </a:highlight>
              </a:rPr>
              <a:t>Segment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Nicolas </a:t>
                      </a:r>
                    </a:p>
                    <a:p>
                      <a:pPr algn="ctr">
                        <a:defRPr sz="900" b="1">
                          <a:latin typeface="Nexa (Headings)"/>
                        </a:defRPr>
                      </a:pPr>
                      <a: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Nicolas </a:t>
                      </a:r>
                    </a:p>
                    <a:p>
                      <a:pPr algn="ctr">
                        <a:defRPr sz="900" b="1">
                          <a:latin typeface="Nexa (Headings)"/>
                        </a:defRPr>
                      </a:pPr>
                      <a: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Nicolas </a:t>
                      </a:r>
                    </a:p>
                    <a:p>
                      <a:pPr algn="ctr">
                        <a:defRPr sz="900" b="1">
                          <a:latin typeface="Nexa (Headings)"/>
                        </a:defRPr>
                      </a:pPr>
                      <a: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Nicolas </a:t>
                      </a:r>
                    </a:p>
                    <a:p>
                      <a:pPr algn="ctr">
                        <a:defRPr sz="900" b="1">
                          <a:latin typeface="Nexa (Headings)"/>
                        </a:defRPr>
                      </a:pPr>
                      <a: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Nicolas</a:t>
                      </a:r>
                    </a:p>
                    <a:p>
                      <a:pPr algn="ctr">
                        <a:defRPr sz="900" b="1">
                          <a:latin typeface="Nexa (Headings)"/>
                        </a:defRPr>
                      </a:pPr>
                      <a: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277134">
                <a:tc>
                  <a:txBody>
                    <a:bodyPr/>
                    <a:lstStyle/>
                    <a:p>
                      <a:pPr algn="ctr">
                        <a:defRPr sz="800" b="1">
                          <a:latin typeface="Nexa (Headings)"/>
                        </a:defRPr>
                      </a:pPr>
                      <a:r>
                        <a:t>Grand Total</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98</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7</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85%</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45%</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4</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277134">
                <a:tc>
                  <a:txBody>
                    <a:bodyPr/>
                    <a:lstStyle/>
                    <a:p>
                      <a:pPr algn="ctr">
                        <a:defRPr sz="800" b="1">
                          <a:latin typeface="Nexa (Headings)"/>
                        </a:defRPr>
                      </a:pPr>
                      <a:r>
                        <a:t>Mousseux Italiens</a:t>
                      </a:r>
                    </a:p>
                  </a:txBody>
                  <a:tcPr marL="3810" marR="3810" marT="3810" marB="0" anchor="ctr">
                    <a:noFill/>
                  </a:tcPr>
                </a:tc>
                <a:tc>
                  <a:txBody>
                    <a:bodyPr/>
                    <a:lstStyle/>
                    <a:p>
                      <a:pPr algn="ctr">
                        <a:defRPr sz="800">
                          <a:latin typeface="Nexa Book"/>
                        </a:defRPr>
                      </a:pPr>
                      <a:r>
                        <a:t>5</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3161381"/>
                  </a:ext>
                </a:extLst>
              </a:tr>
              <a:tr h="277134">
                <a:tc>
                  <a:txBody>
                    <a:bodyPr/>
                    <a:lstStyle/>
                    <a:p>
                      <a:pPr algn="ctr">
                        <a:defRPr sz="800" b="1">
                          <a:latin typeface="Nexa (Headings)"/>
                        </a:defRPr>
                      </a:pPr>
                      <a:r>
                        <a:t>Mousseux Val De Loire</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1752397169"/>
                  </a:ext>
                </a:extLst>
              </a:tr>
              <a:tr h="277134">
                <a:tc>
                  <a:txBody>
                    <a:bodyPr/>
                    <a:lstStyle/>
                    <a:p>
                      <a:pPr algn="ctr">
                        <a:defRPr sz="800" b="1">
                          <a:latin typeface="Nexa (Headings)"/>
                        </a:defRPr>
                      </a:pPr>
                      <a:r>
                        <a:t>Mousseux Bordelais</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3712364869"/>
                  </a:ext>
                </a:extLst>
              </a:tr>
              <a:tr h="277134">
                <a:tc>
                  <a:txBody>
                    <a:bodyPr/>
                    <a:lstStyle/>
                    <a:p>
                      <a:pPr algn="ctr">
                        <a:defRPr sz="800" b="1">
                          <a:latin typeface="Nexa (Headings)"/>
                        </a:defRPr>
                      </a:pPr>
                      <a:r>
                        <a:t>Mousseux Bourgogne</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98998524"/>
                  </a:ext>
                </a:extLst>
              </a:tr>
              <a:tr h="277134">
                <a:tc>
                  <a:txBody>
                    <a:bodyPr/>
                    <a:lstStyle/>
                    <a:p>
                      <a:pPr algn="ctr">
                        <a:defRPr sz="800" b="1">
                          <a:latin typeface="Nexa (Headings)"/>
                        </a:defRPr>
                      </a:pPr>
                      <a:r>
                        <a:t>Mousseux Alsace</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4143210105"/>
                  </a:ext>
                </a:extLst>
              </a:tr>
              <a:tr h="277134">
                <a:tc>
                  <a:txBody>
                    <a:bodyPr/>
                    <a:lstStyle/>
                    <a:p>
                      <a:pPr algn="ctr">
                        <a:defRPr sz="800" b="1">
                          <a:latin typeface="Nexa (Headings)"/>
                        </a:defRPr>
                      </a:pPr>
                      <a:r>
                        <a:t>Rosés</a:t>
                      </a:r>
                    </a:p>
                  </a:txBody>
                  <a:tcPr marL="3810" marR="3810" marT="3810" marB="0" anchor="ctr">
                    <a:noFill/>
                  </a:tcPr>
                </a:tc>
                <a:tc>
                  <a:txBody>
                    <a:bodyPr/>
                    <a:lstStyle/>
                    <a:p>
                      <a:pPr algn="ctr">
                        <a:defRPr sz="800">
                          <a:latin typeface="Nexa Book"/>
                        </a:defRPr>
                      </a:pPr>
                      <a:r>
                        <a:t>11</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18%</a:t>
                      </a:r>
                    </a:p>
                  </a:txBody>
                  <a:tcPr marL="3810" marR="3810" marT="3810" marB="0" anchor="ctr">
                    <a:noFill/>
                  </a:tcPr>
                </a:tc>
                <a:tc>
                  <a:txBody>
                    <a:bodyPr/>
                    <a:lstStyle/>
                    <a:p>
                      <a:pPr algn="ctr">
                        <a:defRPr sz="800">
                          <a:latin typeface="Nexa Book"/>
                        </a:defRPr>
                      </a:pPr>
                      <a:r>
                        <a:t>11%</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3374402097"/>
                  </a:ext>
                </a:extLst>
              </a:tr>
              <a:tr h="277134">
                <a:tc>
                  <a:txBody>
                    <a:bodyPr/>
                    <a:lstStyle/>
                    <a:p>
                      <a:pPr algn="ctr">
                        <a:defRPr sz="800" b="1">
                          <a:latin typeface="Nexa (Headings)"/>
                        </a:defRPr>
                      </a:pPr>
                      <a:r>
                        <a:t>Bruts</a:t>
                      </a:r>
                    </a:p>
                  </a:txBody>
                  <a:tcPr marL="3810" marR="3810" marT="3810" marB="0" anchor="ctr">
                    <a:noFill/>
                  </a:tcPr>
                </a:tc>
                <a:tc>
                  <a:txBody>
                    <a:bodyPr/>
                    <a:lstStyle/>
                    <a:p>
                      <a:pPr algn="ctr">
                        <a:defRPr sz="800">
                          <a:latin typeface="Nexa Book"/>
                        </a:defRPr>
                      </a:pPr>
                      <a:r>
                        <a:t>44</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7%</a:t>
                      </a:r>
                    </a:p>
                  </a:txBody>
                  <a:tcPr marL="3810" marR="3810" marT="3810" marB="0" anchor="ctr">
                    <a:noFill/>
                  </a:tcPr>
                </a:tc>
                <a:tc>
                  <a:txBody>
                    <a:bodyPr/>
                    <a:lstStyle/>
                    <a:p>
                      <a:pPr algn="ctr">
                        <a:defRPr sz="800">
                          <a:latin typeface="Nexa Book"/>
                        </a:defRPr>
                      </a:pPr>
                      <a:r>
                        <a:t>9%</a:t>
                      </a:r>
                    </a:p>
                  </a:txBody>
                  <a:tcPr marL="3810" marR="3810" marT="3810" marB="0" anchor="ctr">
                    <a:noFill/>
                  </a:tcPr>
                </a:tc>
                <a:tc>
                  <a:txBody>
                    <a:bodyPr/>
                    <a:lstStyle/>
                    <a:p>
                      <a:pPr algn="ctr">
                        <a:defRPr sz="800">
                          <a:latin typeface="Nexa Book"/>
                        </a:defRPr>
                      </a:pPr>
                      <a:r>
                        <a:t>4</a:t>
                      </a:r>
                    </a:p>
                  </a:txBody>
                  <a:tcPr marL="3810" marR="3810" marT="3810" marB="0" anchor="ctr">
                    <a:noFill/>
                  </a:tcPr>
                </a:tc>
                <a:tc>
                  <a:txBody>
                    <a:bodyPr/>
                    <a:lstStyle/>
                    <a:p>
                      <a:pPr algn="ctr">
                        <a:defRPr sz="800">
                          <a:latin typeface="Nexa Book"/>
                        </a:defRPr>
                      </a:pPr>
                      <a:r>
                        <a:t>1</a:t>
                      </a:r>
                    </a:p>
                  </a:txBody>
                  <a:tcPr marL="3810" marR="3810" marT="3810" marB="0" anchor="ctr">
                    <a:noFill/>
                  </a:tcPr>
                </a:tc>
                <a:extLst>
                  <a:ext uri="{0D108BD9-81ED-4DB2-BD59-A6C34878D82A}">
                    <a16:rowId xmlns:a16="http://schemas.microsoft.com/office/drawing/2014/main" val="2061534110"/>
                  </a:ext>
                </a:extLst>
              </a:tr>
              <a:tr h="277134">
                <a:tc>
                  <a:txBody>
                    <a:bodyPr/>
                    <a:lstStyle/>
                    <a:p>
                      <a:pPr algn="ctr">
                        <a:defRPr sz="800" b="1">
                          <a:latin typeface="Nexa (Headings)"/>
                        </a:defRPr>
                      </a:pPr>
                      <a:r>
                        <a:t>Blanc De Blancs</a:t>
                      </a:r>
                    </a:p>
                  </a:txBody>
                  <a:tcPr marL="3810" marR="3810" marT="3810" marB="0" anchor="ctr">
                    <a:noFill/>
                  </a:tcPr>
                </a:tc>
                <a:tc>
                  <a:txBody>
                    <a:bodyPr/>
                    <a:lstStyle/>
                    <a:p>
                      <a:pPr algn="ctr">
                        <a:defRPr sz="800">
                          <a:latin typeface="Nexa Book"/>
                        </a:defRPr>
                      </a:pPr>
                      <a:r>
                        <a:t>11</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12%</a:t>
                      </a:r>
                    </a:p>
                  </a:txBody>
                  <a:tcPr marL="3810" marR="3810" marT="3810" marB="0" anchor="ctr">
                    <a:noFill/>
                  </a:tcPr>
                </a:tc>
                <a:tc>
                  <a:txBody>
                    <a:bodyPr/>
                    <a:lstStyle/>
                    <a:p>
                      <a:pPr algn="ctr">
                        <a:defRPr sz="800">
                          <a:latin typeface="Nexa Book"/>
                        </a:defRPr>
                      </a:pPr>
                      <a:r>
                        <a:t>6%</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04386257"/>
                  </a:ext>
                </a:extLst>
              </a:tr>
              <a:tr h="277134">
                <a:tc>
                  <a:txBody>
                    <a:bodyPr/>
                    <a:lstStyle/>
                    <a:p>
                      <a:pPr algn="ctr">
                        <a:defRPr sz="800" b="1">
                          <a:latin typeface="Nexa (Headings)"/>
                        </a:defRPr>
                      </a:pPr>
                      <a:r>
                        <a:t>Millesimes</a:t>
                      </a:r>
                    </a:p>
                  </a:txBody>
                  <a:tcPr marL="3810" marR="3810" marT="3810" marB="0" anchor="ctr">
                    <a:noFill/>
                  </a:tcPr>
                </a:tc>
                <a:tc>
                  <a:txBody>
                    <a:bodyPr/>
                    <a:lstStyle/>
                    <a:p>
                      <a:pPr algn="ctr">
                        <a:defRPr sz="800">
                          <a:latin typeface="Nexa Book"/>
                        </a:defRPr>
                      </a:pPr>
                      <a:r>
                        <a:t>6</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071136303"/>
                  </a:ext>
                </a:extLst>
              </a:tr>
              <a:tr h="277134">
                <a:tc>
                  <a:txBody>
                    <a:bodyPr/>
                    <a:lstStyle/>
                    <a:p>
                      <a:pPr algn="ctr">
                        <a:defRPr sz="800" b="1">
                          <a:latin typeface="Nexa (Headings)"/>
                        </a:defRPr>
                      </a:pPr>
                      <a:r>
                        <a:t>Extra Brut</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478226403"/>
                  </a:ext>
                </a:extLst>
              </a:tr>
              <a:tr h="277134">
                <a:tc>
                  <a:txBody>
                    <a:bodyPr/>
                    <a:lstStyle/>
                    <a:p>
                      <a:pPr algn="ctr">
                        <a:defRPr sz="800" b="1">
                          <a:latin typeface="Nexa (Headings)"/>
                        </a:defRPr>
                      </a:pPr>
                      <a:r>
                        <a:t>Crus</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23%</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116474470"/>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1157</a:t>
            </a:fld>
            <a:endParaRPr lang="en-US"/>
          </a:p>
        </p:txBody>
      </p:sp>
    </p:spTree>
    <p:extLst>
      <p:ext uri="{BB962C8B-B14F-4D97-AF65-F5344CB8AC3E}">
        <p14:creationId xmlns:p14="http://schemas.microsoft.com/office/powerpoint/2010/main" val="3897558625"/>
      </p:ext>
    </p:extLst>
  </p:cSld>
  <p:clrMapOvr>
    <a:masterClrMapping/>
  </p:clrMapOvr>
</p:sld>
</file>

<file path=ppt/slides/slide11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8/27/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pPr>
              <a:defRPr sz="1200">
                <a:latin typeface="Nexa Bold (Headings)"/>
              </a:defRPr>
            </a:pPr>
            <a:r>
              <a:t>Segment fair share | Effervescents | Nicolas | NICOLAS AQU | P12M</a:t>
            </a:r>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pPr>
              <a:defRPr sz="1600">
                <a:latin typeface="Nexa Bold (Headings)"/>
              </a:defRPr>
            </a:pPr>
            <a:r>
              <a:rPr lang="en-GB" dirty="0">
                <a:highlight>
                  <a:srgbClr val="FFFF00"/>
                </a:highlight>
              </a:rPr>
              <a:t>Segment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Nicolas </a:t>
                      </a:r>
                    </a:p>
                    <a:p>
                      <a:pPr algn="ctr">
                        <a:defRPr sz="900" b="1">
                          <a:latin typeface="Nexa (Headings)"/>
                        </a:defRPr>
                      </a:pPr>
                      <a: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Nicolas </a:t>
                      </a:r>
                    </a:p>
                    <a:p>
                      <a:pPr algn="ctr">
                        <a:defRPr sz="900" b="1">
                          <a:latin typeface="Nexa (Headings)"/>
                        </a:defRPr>
                      </a:pPr>
                      <a: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Nicolas </a:t>
                      </a:r>
                    </a:p>
                    <a:p>
                      <a:pPr algn="ctr">
                        <a:defRPr sz="900" b="1">
                          <a:latin typeface="Nexa (Headings)"/>
                        </a:defRPr>
                      </a:pPr>
                      <a: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Nicolas </a:t>
                      </a:r>
                    </a:p>
                    <a:p>
                      <a:pPr algn="ctr">
                        <a:defRPr sz="900" b="1">
                          <a:latin typeface="Nexa (Headings)"/>
                        </a:defRPr>
                      </a:pPr>
                      <a: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Nicolas</a:t>
                      </a:r>
                    </a:p>
                    <a:p>
                      <a:pPr algn="ctr">
                        <a:defRPr sz="900" b="1">
                          <a:latin typeface="Nexa (Headings)"/>
                        </a:defRPr>
                      </a:pPr>
                      <a: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277134">
                <a:tc>
                  <a:txBody>
                    <a:bodyPr/>
                    <a:lstStyle/>
                    <a:p>
                      <a:pPr algn="ctr">
                        <a:defRPr sz="800" b="1">
                          <a:latin typeface="Nexa (Headings)"/>
                        </a:defRPr>
                      </a:pPr>
                      <a:r>
                        <a:t>Grand Total</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00</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7</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62%</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3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4</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277134">
                <a:tc>
                  <a:txBody>
                    <a:bodyPr/>
                    <a:lstStyle/>
                    <a:p>
                      <a:pPr algn="ctr">
                        <a:defRPr sz="800" b="1">
                          <a:latin typeface="Nexa (Headings)"/>
                        </a:defRPr>
                      </a:pPr>
                      <a:r>
                        <a:t>Mousseux Italiens</a:t>
                      </a:r>
                    </a:p>
                  </a:txBody>
                  <a:tcPr marL="3810" marR="3810" marT="3810" marB="0" anchor="ctr">
                    <a:noFill/>
                  </a:tcPr>
                </a:tc>
                <a:tc>
                  <a:txBody>
                    <a:bodyPr/>
                    <a:lstStyle/>
                    <a:p>
                      <a:pPr algn="ctr">
                        <a:defRPr sz="800">
                          <a:latin typeface="Nexa Book"/>
                        </a:defRPr>
                      </a:pPr>
                      <a:r>
                        <a:t>4</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3161381"/>
                  </a:ext>
                </a:extLst>
              </a:tr>
              <a:tr h="277134">
                <a:tc>
                  <a:txBody>
                    <a:bodyPr/>
                    <a:lstStyle/>
                    <a:p>
                      <a:pPr algn="ctr">
                        <a:defRPr sz="800" b="1">
                          <a:latin typeface="Nexa (Headings)"/>
                        </a:defRPr>
                      </a:pPr>
                      <a:r>
                        <a:t>Mousseux Val De Loire</a:t>
                      </a:r>
                    </a:p>
                  </a:txBody>
                  <a:tcPr marL="3810" marR="3810" marT="3810" marB="0" anchor="ctr">
                    <a:noFill/>
                  </a:tcPr>
                </a:tc>
                <a:tc>
                  <a:txBody>
                    <a:bodyPr/>
                    <a:lstStyle/>
                    <a:p>
                      <a:pPr algn="ctr">
                        <a:defRPr sz="800">
                          <a:latin typeface="Nexa Book"/>
                        </a:defRPr>
                      </a:pPr>
                      <a:r>
                        <a:t>5</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1752397169"/>
                  </a:ext>
                </a:extLst>
              </a:tr>
              <a:tr h="277134">
                <a:tc>
                  <a:txBody>
                    <a:bodyPr/>
                    <a:lstStyle/>
                    <a:p>
                      <a:pPr algn="ctr">
                        <a:defRPr sz="800" b="1">
                          <a:latin typeface="Nexa (Headings)"/>
                        </a:defRPr>
                      </a:pPr>
                      <a:r>
                        <a:t>Mousseux Bordelais</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3712364869"/>
                  </a:ext>
                </a:extLst>
              </a:tr>
              <a:tr h="277134">
                <a:tc>
                  <a:txBody>
                    <a:bodyPr/>
                    <a:lstStyle/>
                    <a:p>
                      <a:pPr algn="ctr">
                        <a:defRPr sz="800" b="1">
                          <a:latin typeface="Nexa (Headings)"/>
                        </a:defRPr>
                      </a:pPr>
                      <a:r>
                        <a:t>Mousseux Bourgogne</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98998524"/>
                  </a:ext>
                </a:extLst>
              </a:tr>
              <a:tr h="277134">
                <a:tc>
                  <a:txBody>
                    <a:bodyPr/>
                    <a:lstStyle/>
                    <a:p>
                      <a:pPr algn="ctr">
                        <a:defRPr sz="800" b="1">
                          <a:latin typeface="Nexa (Headings)"/>
                        </a:defRPr>
                      </a:pPr>
                      <a:r>
                        <a:t>Mousseux Alsace</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4143210105"/>
                  </a:ext>
                </a:extLst>
              </a:tr>
              <a:tr h="277134">
                <a:tc>
                  <a:txBody>
                    <a:bodyPr/>
                    <a:lstStyle/>
                    <a:p>
                      <a:pPr algn="ctr">
                        <a:defRPr sz="800" b="1">
                          <a:latin typeface="Nexa (Headings)"/>
                        </a:defRPr>
                      </a:pPr>
                      <a:r>
                        <a:t>Rosés</a:t>
                      </a:r>
                    </a:p>
                  </a:txBody>
                  <a:tcPr marL="3810" marR="3810" marT="3810" marB="0" anchor="ctr">
                    <a:noFill/>
                  </a:tcPr>
                </a:tc>
                <a:tc>
                  <a:txBody>
                    <a:bodyPr/>
                    <a:lstStyle/>
                    <a:p>
                      <a:pPr algn="ctr">
                        <a:defRPr sz="800">
                          <a:latin typeface="Nexa Book"/>
                        </a:defRPr>
                      </a:pPr>
                      <a:r>
                        <a:t>10</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18%</a:t>
                      </a:r>
                    </a:p>
                  </a:txBody>
                  <a:tcPr marL="3810" marR="3810" marT="3810" marB="0" anchor="ctr">
                    <a:noFill/>
                  </a:tcPr>
                </a:tc>
                <a:tc>
                  <a:txBody>
                    <a:bodyPr/>
                    <a:lstStyle/>
                    <a:p>
                      <a:pPr algn="ctr">
                        <a:defRPr sz="800">
                          <a:latin typeface="Nexa Book"/>
                        </a:defRPr>
                      </a:pPr>
                      <a:r>
                        <a:t>12%</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3374402097"/>
                  </a:ext>
                </a:extLst>
              </a:tr>
              <a:tr h="277134">
                <a:tc>
                  <a:txBody>
                    <a:bodyPr/>
                    <a:lstStyle/>
                    <a:p>
                      <a:pPr algn="ctr">
                        <a:defRPr sz="800" b="1">
                          <a:latin typeface="Nexa (Headings)"/>
                        </a:defRPr>
                      </a:pPr>
                      <a:r>
                        <a:t>Bruts</a:t>
                      </a:r>
                    </a:p>
                  </a:txBody>
                  <a:tcPr marL="3810" marR="3810" marT="3810" marB="0" anchor="ctr">
                    <a:noFill/>
                  </a:tcPr>
                </a:tc>
                <a:tc>
                  <a:txBody>
                    <a:bodyPr/>
                    <a:lstStyle/>
                    <a:p>
                      <a:pPr algn="ctr">
                        <a:defRPr sz="800">
                          <a:latin typeface="Nexa Book"/>
                        </a:defRPr>
                      </a:pPr>
                      <a:r>
                        <a:t>43</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8%</a:t>
                      </a:r>
                    </a:p>
                  </a:txBody>
                  <a:tcPr marL="3810" marR="3810" marT="3810" marB="0" anchor="ctr">
                    <a:noFill/>
                  </a:tcPr>
                </a:tc>
                <a:tc>
                  <a:txBody>
                    <a:bodyPr/>
                    <a:lstStyle/>
                    <a:p>
                      <a:pPr algn="ctr">
                        <a:defRPr sz="800">
                          <a:latin typeface="Nexa Book"/>
                        </a:defRPr>
                      </a:pPr>
                      <a:r>
                        <a:t>14%</a:t>
                      </a:r>
                    </a:p>
                  </a:txBody>
                  <a:tcPr marL="3810" marR="3810" marT="3810" marB="0" anchor="ctr">
                    <a:noFill/>
                  </a:tcPr>
                </a:tc>
                <a:tc>
                  <a:txBody>
                    <a:bodyPr/>
                    <a:lstStyle/>
                    <a:p>
                      <a:pPr algn="ctr">
                        <a:defRPr sz="800">
                          <a:latin typeface="Nexa Book"/>
                        </a:defRPr>
                      </a:pPr>
                      <a:r>
                        <a:t>6</a:t>
                      </a:r>
                    </a:p>
                  </a:txBody>
                  <a:tcPr marL="3810" marR="3810" marT="3810" marB="0" anchor="ctr">
                    <a:noFill/>
                  </a:tcPr>
                </a:tc>
                <a:tc>
                  <a:txBody>
                    <a:bodyPr/>
                    <a:lstStyle/>
                    <a:p>
                      <a:pPr algn="ctr">
                        <a:defRPr sz="800">
                          <a:latin typeface="Nexa Book"/>
                        </a:defRPr>
                      </a:pPr>
                      <a:r>
                        <a:t>3</a:t>
                      </a:r>
                    </a:p>
                  </a:txBody>
                  <a:tcPr marL="3810" marR="3810" marT="3810" marB="0" anchor="ctr">
                    <a:noFill/>
                  </a:tcPr>
                </a:tc>
                <a:extLst>
                  <a:ext uri="{0D108BD9-81ED-4DB2-BD59-A6C34878D82A}">
                    <a16:rowId xmlns:a16="http://schemas.microsoft.com/office/drawing/2014/main" val="2061534110"/>
                  </a:ext>
                </a:extLst>
              </a:tr>
              <a:tr h="277134">
                <a:tc>
                  <a:txBody>
                    <a:bodyPr/>
                    <a:lstStyle/>
                    <a:p>
                      <a:pPr algn="ctr">
                        <a:defRPr sz="800" b="1">
                          <a:latin typeface="Nexa (Headings)"/>
                        </a:defRPr>
                      </a:pPr>
                      <a:r>
                        <a:t>Blanc De Blancs</a:t>
                      </a:r>
                    </a:p>
                  </a:txBody>
                  <a:tcPr marL="3810" marR="3810" marT="3810" marB="0" anchor="ctr">
                    <a:noFill/>
                  </a:tcPr>
                </a:tc>
                <a:tc>
                  <a:txBody>
                    <a:bodyPr/>
                    <a:lstStyle/>
                    <a:p>
                      <a:pPr algn="ctr">
                        <a:defRPr sz="800">
                          <a:latin typeface="Nexa Book"/>
                        </a:defRPr>
                      </a:pPr>
                      <a:r>
                        <a:t>12</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9%</a:t>
                      </a:r>
                    </a:p>
                  </a:txBody>
                  <a:tcPr marL="3810" marR="3810" marT="3810" marB="0" anchor="ctr">
                    <a:noFill/>
                  </a:tcPr>
                </a:tc>
                <a:tc>
                  <a:txBody>
                    <a:bodyPr/>
                    <a:lstStyle/>
                    <a:p>
                      <a:pPr algn="ctr">
                        <a:defRPr sz="800">
                          <a:latin typeface="Nexa Book"/>
                        </a:defRPr>
                      </a:pPr>
                      <a:r>
                        <a:t>6%</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04386257"/>
                  </a:ext>
                </a:extLst>
              </a:tr>
              <a:tr h="277134">
                <a:tc>
                  <a:txBody>
                    <a:bodyPr/>
                    <a:lstStyle/>
                    <a:p>
                      <a:pPr algn="ctr">
                        <a:defRPr sz="800" b="1">
                          <a:latin typeface="Nexa (Headings)"/>
                        </a:defRPr>
                      </a:pPr>
                      <a:r>
                        <a:t>Millesimes</a:t>
                      </a:r>
                    </a:p>
                  </a:txBody>
                  <a:tcPr marL="3810" marR="3810" marT="3810" marB="0" anchor="ctr">
                    <a:noFill/>
                  </a:tcPr>
                </a:tc>
                <a:tc>
                  <a:txBody>
                    <a:bodyPr/>
                    <a:lstStyle/>
                    <a:p>
                      <a:pPr algn="ctr">
                        <a:defRPr sz="800">
                          <a:latin typeface="Nexa Book"/>
                        </a:defRPr>
                      </a:pPr>
                      <a:r>
                        <a:t>6</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071136303"/>
                  </a:ext>
                </a:extLst>
              </a:tr>
              <a:tr h="277134">
                <a:tc>
                  <a:txBody>
                    <a:bodyPr/>
                    <a:lstStyle/>
                    <a:p>
                      <a:pPr algn="ctr">
                        <a:defRPr sz="800" b="1">
                          <a:latin typeface="Nexa (Headings)"/>
                        </a:defRPr>
                      </a:pPr>
                      <a:r>
                        <a:t>Extra Brut</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478226403"/>
                  </a:ext>
                </a:extLst>
              </a:tr>
              <a:tr h="277134">
                <a:tc>
                  <a:txBody>
                    <a:bodyPr/>
                    <a:lstStyle/>
                    <a:p>
                      <a:pPr algn="ctr">
                        <a:defRPr sz="800" b="1">
                          <a:latin typeface="Nexa (Headings)"/>
                        </a:defRPr>
                      </a:pPr>
                      <a:r>
                        <a:t>Crus</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20%</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116474470"/>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1158</a:t>
            </a:fld>
            <a:endParaRPr lang="en-US"/>
          </a:p>
        </p:txBody>
      </p:sp>
    </p:spTree>
    <p:extLst>
      <p:ext uri="{BB962C8B-B14F-4D97-AF65-F5344CB8AC3E}">
        <p14:creationId xmlns:p14="http://schemas.microsoft.com/office/powerpoint/2010/main" val="4012245204"/>
      </p:ext>
    </p:extLst>
  </p:cSld>
  <p:clrMapOvr>
    <a:masterClrMapping/>
  </p:clrMapOvr>
</p:sld>
</file>

<file path=ppt/slides/slide11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8/27/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pPr>
              <a:defRPr sz="1200">
                <a:latin typeface="Nexa Bold (Headings)"/>
              </a:defRPr>
            </a:pPr>
            <a:r>
              <a:t>Segment fair share | Effervescents | Nicolas | CA A | P12M</a:t>
            </a:r>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pPr>
              <a:defRPr sz="1600">
                <a:latin typeface="Nexa Bold (Headings)"/>
              </a:defRPr>
            </a:pPr>
            <a:r>
              <a:rPr lang="en-GB" dirty="0">
                <a:highlight>
                  <a:srgbClr val="FFFF00"/>
                </a:highlight>
              </a:rPr>
              <a:t>Segment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Nicolas </a:t>
                      </a:r>
                    </a:p>
                    <a:p>
                      <a:pPr algn="ctr">
                        <a:defRPr sz="900" b="1">
                          <a:latin typeface="Nexa (Headings)"/>
                        </a:defRPr>
                      </a:pPr>
                      <a: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Nicolas </a:t>
                      </a:r>
                    </a:p>
                    <a:p>
                      <a:pPr algn="ctr">
                        <a:defRPr sz="900" b="1">
                          <a:latin typeface="Nexa (Headings)"/>
                        </a:defRPr>
                      </a:pPr>
                      <a: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Nicolas </a:t>
                      </a:r>
                    </a:p>
                    <a:p>
                      <a:pPr algn="ctr">
                        <a:defRPr sz="900" b="1">
                          <a:latin typeface="Nexa (Headings)"/>
                        </a:defRPr>
                      </a:pPr>
                      <a: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Nicolas </a:t>
                      </a:r>
                    </a:p>
                    <a:p>
                      <a:pPr algn="ctr">
                        <a:defRPr sz="900" b="1">
                          <a:latin typeface="Nexa (Headings)"/>
                        </a:defRPr>
                      </a:pPr>
                      <a: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Nicolas</a:t>
                      </a:r>
                    </a:p>
                    <a:p>
                      <a:pPr algn="ctr">
                        <a:defRPr sz="900" b="1">
                          <a:latin typeface="Nexa (Headings)"/>
                        </a:defRPr>
                      </a:pPr>
                      <a: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277134">
                <a:tc>
                  <a:txBody>
                    <a:bodyPr/>
                    <a:lstStyle/>
                    <a:p>
                      <a:pPr algn="ctr">
                        <a:defRPr sz="800" b="1">
                          <a:latin typeface="Nexa (Headings)"/>
                        </a:defRPr>
                      </a:pPr>
                      <a:r>
                        <a:t>Grand Total</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11</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7</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64%</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33%</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4</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277134">
                <a:tc>
                  <a:txBody>
                    <a:bodyPr/>
                    <a:lstStyle/>
                    <a:p>
                      <a:pPr algn="ctr">
                        <a:defRPr sz="800" b="1">
                          <a:latin typeface="Nexa (Headings)"/>
                        </a:defRPr>
                      </a:pPr>
                      <a:r>
                        <a:t>Mousseux Italiens</a:t>
                      </a:r>
                    </a:p>
                  </a:txBody>
                  <a:tcPr marL="3810" marR="3810" marT="3810" marB="0" anchor="ctr">
                    <a:noFill/>
                  </a:tcPr>
                </a:tc>
                <a:tc>
                  <a:txBody>
                    <a:bodyPr/>
                    <a:lstStyle/>
                    <a:p>
                      <a:pPr algn="ctr">
                        <a:defRPr sz="800">
                          <a:latin typeface="Nexa Book"/>
                        </a:defRPr>
                      </a:pPr>
                      <a:r>
                        <a:t>5</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3161381"/>
                  </a:ext>
                </a:extLst>
              </a:tr>
              <a:tr h="277134">
                <a:tc>
                  <a:txBody>
                    <a:bodyPr/>
                    <a:lstStyle/>
                    <a:p>
                      <a:pPr algn="ctr">
                        <a:defRPr sz="800" b="1">
                          <a:latin typeface="Nexa (Headings)"/>
                        </a:defRPr>
                      </a:pPr>
                      <a:r>
                        <a:t>Mousseux Val De Loire</a:t>
                      </a:r>
                    </a:p>
                  </a:txBody>
                  <a:tcPr marL="3810" marR="3810" marT="3810" marB="0" anchor="ctr">
                    <a:noFill/>
                  </a:tcPr>
                </a:tc>
                <a:tc>
                  <a:txBody>
                    <a:bodyPr/>
                    <a:lstStyle/>
                    <a:p>
                      <a:pPr algn="ctr">
                        <a:defRPr sz="800">
                          <a:latin typeface="Nexa Book"/>
                        </a:defRPr>
                      </a:pPr>
                      <a:r>
                        <a:t>4</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1752397169"/>
                  </a:ext>
                </a:extLst>
              </a:tr>
              <a:tr h="277134">
                <a:tc>
                  <a:txBody>
                    <a:bodyPr/>
                    <a:lstStyle/>
                    <a:p>
                      <a:pPr algn="ctr">
                        <a:defRPr sz="800" b="1">
                          <a:latin typeface="Nexa (Headings)"/>
                        </a:defRPr>
                      </a:pPr>
                      <a:r>
                        <a:t>Mousseux Bordelais</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3712364869"/>
                  </a:ext>
                </a:extLst>
              </a:tr>
              <a:tr h="277134">
                <a:tc>
                  <a:txBody>
                    <a:bodyPr/>
                    <a:lstStyle/>
                    <a:p>
                      <a:pPr algn="ctr">
                        <a:defRPr sz="800" b="1">
                          <a:latin typeface="Nexa (Headings)"/>
                        </a:defRPr>
                      </a:pPr>
                      <a:r>
                        <a:t>Mousseux Bourgogne</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98998524"/>
                  </a:ext>
                </a:extLst>
              </a:tr>
              <a:tr h="277134">
                <a:tc>
                  <a:txBody>
                    <a:bodyPr/>
                    <a:lstStyle/>
                    <a:p>
                      <a:pPr algn="ctr">
                        <a:defRPr sz="800" b="1">
                          <a:latin typeface="Nexa (Headings)"/>
                        </a:defRPr>
                      </a:pPr>
                      <a:r>
                        <a:t>Mousseux Alsace</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4143210105"/>
                  </a:ext>
                </a:extLst>
              </a:tr>
              <a:tr h="277134">
                <a:tc>
                  <a:txBody>
                    <a:bodyPr/>
                    <a:lstStyle/>
                    <a:p>
                      <a:pPr algn="ctr">
                        <a:defRPr sz="800" b="1">
                          <a:latin typeface="Nexa (Headings)"/>
                        </a:defRPr>
                      </a:pPr>
                      <a:r>
                        <a:t>Rosés</a:t>
                      </a:r>
                    </a:p>
                  </a:txBody>
                  <a:tcPr marL="3810" marR="3810" marT="3810" marB="0" anchor="ctr">
                    <a:noFill/>
                  </a:tcPr>
                </a:tc>
                <a:tc>
                  <a:txBody>
                    <a:bodyPr/>
                    <a:lstStyle/>
                    <a:p>
                      <a:pPr algn="ctr">
                        <a:defRPr sz="800">
                          <a:latin typeface="Nexa Book"/>
                        </a:defRPr>
                      </a:pPr>
                      <a:r>
                        <a:t>13</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14%</a:t>
                      </a:r>
                    </a:p>
                  </a:txBody>
                  <a:tcPr marL="3810" marR="3810" marT="3810" marB="0" anchor="ctr">
                    <a:noFill/>
                  </a:tcPr>
                </a:tc>
                <a:tc>
                  <a:txBody>
                    <a:bodyPr/>
                    <a:lstStyle/>
                    <a:p>
                      <a:pPr algn="ctr">
                        <a:defRPr sz="800">
                          <a:latin typeface="Nexa Book"/>
                        </a:defRPr>
                      </a:pPr>
                      <a:r>
                        <a:t>7%</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3374402097"/>
                  </a:ext>
                </a:extLst>
              </a:tr>
              <a:tr h="277134">
                <a:tc>
                  <a:txBody>
                    <a:bodyPr/>
                    <a:lstStyle/>
                    <a:p>
                      <a:pPr algn="ctr">
                        <a:defRPr sz="800" b="1">
                          <a:latin typeface="Nexa (Headings)"/>
                        </a:defRPr>
                      </a:pPr>
                      <a:r>
                        <a:t>Bruts</a:t>
                      </a:r>
                    </a:p>
                  </a:txBody>
                  <a:tcPr marL="3810" marR="3810" marT="3810" marB="0" anchor="ctr">
                    <a:noFill/>
                  </a:tcPr>
                </a:tc>
                <a:tc>
                  <a:txBody>
                    <a:bodyPr/>
                    <a:lstStyle/>
                    <a:p>
                      <a:pPr algn="ctr">
                        <a:defRPr sz="800">
                          <a:latin typeface="Nexa Book"/>
                        </a:defRPr>
                      </a:pPr>
                      <a:r>
                        <a:t>48</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7%</a:t>
                      </a:r>
                    </a:p>
                  </a:txBody>
                  <a:tcPr marL="3810" marR="3810" marT="3810" marB="0" anchor="ctr">
                    <a:noFill/>
                  </a:tcPr>
                </a:tc>
                <a:tc>
                  <a:txBody>
                    <a:bodyPr/>
                    <a:lstStyle/>
                    <a:p>
                      <a:pPr algn="ctr">
                        <a:defRPr sz="800">
                          <a:latin typeface="Nexa Book"/>
                        </a:defRPr>
                      </a:pPr>
                      <a:r>
                        <a:t>10%</a:t>
                      </a:r>
                    </a:p>
                  </a:txBody>
                  <a:tcPr marL="3810" marR="3810" marT="3810" marB="0" anchor="ctr">
                    <a:noFill/>
                  </a:tcPr>
                </a:tc>
                <a:tc>
                  <a:txBody>
                    <a:bodyPr/>
                    <a:lstStyle/>
                    <a:p>
                      <a:pPr algn="ctr">
                        <a:defRPr sz="800">
                          <a:latin typeface="Nexa Book"/>
                        </a:defRPr>
                      </a:pPr>
                      <a:r>
                        <a:t>5</a:t>
                      </a:r>
                    </a:p>
                  </a:txBody>
                  <a:tcPr marL="3810" marR="3810" marT="3810" marB="0" anchor="ctr">
                    <a:noFill/>
                  </a:tcPr>
                </a:tc>
                <a:tc>
                  <a:txBody>
                    <a:bodyPr/>
                    <a:lstStyle/>
                    <a:p>
                      <a:pPr algn="ctr">
                        <a:defRPr sz="800">
                          <a:latin typeface="Nexa Book"/>
                        </a:defRPr>
                      </a:pPr>
                      <a:r>
                        <a:t>2</a:t>
                      </a:r>
                    </a:p>
                  </a:txBody>
                  <a:tcPr marL="3810" marR="3810" marT="3810" marB="0" anchor="ctr">
                    <a:noFill/>
                  </a:tcPr>
                </a:tc>
                <a:extLst>
                  <a:ext uri="{0D108BD9-81ED-4DB2-BD59-A6C34878D82A}">
                    <a16:rowId xmlns:a16="http://schemas.microsoft.com/office/drawing/2014/main" val="2061534110"/>
                  </a:ext>
                </a:extLst>
              </a:tr>
              <a:tr h="277134">
                <a:tc>
                  <a:txBody>
                    <a:bodyPr/>
                    <a:lstStyle/>
                    <a:p>
                      <a:pPr algn="ctr">
                        <a:defRPr sz="800" b="1">
                          <a:latin typeface="Nexa (Headings)"/>
                        </a:defRPr>
                      </a:pPr>
                      <a:r>
                        <a:t>Blanc De Blancs</a:t>
                      </a:r>
                    </a:p>
                  </a:txBody>
                  <a:tcPr marL="3810" marR="3810" marT="3810" marB="0" anchor="ctr">
                    <a:noFill/>
                  </a:tcPr>
                </a:tc>
                <a:tc>
                  <a:txBody>
                    <a:bodyPr/>
                    <a:lstStyle/>
                    <a:p>
                      <a:pPr algn="ctr">
                        <a:defRPr sz="800">
                          <a:latin typeface="Nexa Book"/>
                        </a:defRPr>
                      </a:pPr>
                      <a:r>
                        <a:t>12</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11%</a:t>
                      </a:r>
                    </a:p>
                  </a:txBody>
                  <a:tcPr marL="3810" marR="3810" marT="3810" marB="0" anchor="ctr">
                    <a:noFill/>
                  </a:tcPr>
                </a:tc>
                <a:tc>
                  <a:txBody>
                    <a:bodyPr/>
                    <a:lstStyle/>
                    <a:p>
                      <a:pPr algn="ctr">
                        <a:defRPr sz="800">
                          <a:latin typeface="Nexa Book"/>
                        </a:defRPr>
                      </a:pPr>
                      <a:r>
                        <a:t>5%</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04386257"/>
                  </a:ext>
                </a:extLst>
              </a:tr>
              <a:tr h="277134">
                <a:tc>
                  <a:txBody>
                    <a:bodyPr/>
                    <a:lstStyle/>
                    <a:p>
                      <a:pPr algn="ctr">
                        <a:defRPr sz="800" b="1">
                          <a:latin typeface="Nexa (Headings)"/>
                        </a:defRPr>
                      </a:pPr>
                      <a:r>
                        <a:t>Millesimes</a:t>
                      </a:r>
                    </a:p>
                  </a:txBody>
                  <a:tcPr marL="3810" marR="3810" marT="3810" marB="0" anchor="ctr">
                    <a:noFill/>
                  </a:tcPr>
                </a:tc>
                <a:tc>
                  <a:txBody>
                    <a:bodyPr/>
                    <a:lstStyle/>
                    <a:p>
                      <a:pPr algn="ctr">
                        <a:defRPr sz="800">
                          <a:latin typeface="Nexa Book"/>
                        </a:defRPr>
                      </a:pPr>
                      <a:r>
                        <a:t>8</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071136303"/>
                  </a:ext>
                </a:extLst>
              </a:tr>
              <a:tr h="277134">
                <a:tc>
                  <a:txBody>
                    <a:bodyPr/>
                    <a:lstStyle/>
                    <a:p>
                      <a:pPr algn="ctr">
                        <a:defRPr sz="800" b="1">
                          <a:latin typeface="Nexa (Headings)"/>
                        </a:defRPr>
                      </a:pPr>
                      <a:r>
                        <a:t>Extra Brut</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478226403"/>
                  </a:ext>
                </a:extLst>
              </a:tr>
              <a:tr h="277134">
                <a:tc>
                  <a:txBody>
                    <a:bodyPr/>
                    <a:lstStyle/>
                    <a:p>
                      <a:pPr algn="ctr">
                        <a:defRPr sz="800" b="1">
                          <a:latin typeface="Nexa (Headings)"/>
                        </a:defRPr>
                      </a:pPr>
                      <a:r>
                        <a:t>Crus</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18%</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116474470"/>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1159</a:t>
            </a:fld>
            <a:endParaRPr lang="en-US"/>
          </a:p>
        </p:txBody>
      </p:sp>
    </p:spTree>
    <p:extLst>
      <p:ext uri="{BB962C8B-B14F-4D97-AF65-F5344CB8AC3E}">
        <p14:creationId xmlns:p14="http://schemas.microsoft.com/office/powerpoint/2010/main" val="1228252307"/>
      </p:ext>
    </p:extLst>
  </p:cSld>
  <p:clrMapOvr>
    <a:masterClrMapping/>
  </p:clrMapOvr>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Extra Brut | NICOLAS QCT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16</a:t>
            </a:fld>
            <a:endParaRPr lang="en-US"/>
          </a:p>
        </p:txBody>
      </p:sp>
    </p:spTree>
    <p:extLst>
      <p:ext uri="{BB962C8B-B14F-4D97-AF65-F5344CB8AC3E}">
        <p14:creationId xmlns:p14="http://schemas.microsoft.com/office/powerpoint/2010/main" val="1123831963"/>
      </p:ext>
    </p:extLst>
  </p:cSld>
  <p:clrMapOvr>
    <a:masterClrMapping/>
  </p:clrMapOvr>
</p:sld>
</file>

<file path=ppt/slides/slide11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8/27/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pPr>
              <a:defRPr sz="1200">
                <a:latin typeface="Nexa Bold (Headings)"/>
              </a:defRPr>
            </a:pPr>
            <a:r>
              <a:t>Segment fair share | Effervescents | Nicolas | CA B | P12M</a:t>
            </a:r>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pPr>
              <a:defRPr sz="1600">
                <a:latin typeface="Nexa Bold (Headings)"/>
              </a:defRPr>
            </a:pPr>
            <a:r>
              <a:rPr lang="en-GB" dirty="0">
                <a:highlight>
                  <a:srgbClr val="FFFF00"/>
                </a:highlight>
              </a:rPr>
              <a:t>Segment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Nicolas </a:t>
                      </a:r>
                    </a:p>
                    <a:p>
                      <a:pPr algn="ctr">
                        <a:defRPr sz="900" b="1">
                          <a:latin typeface="Nexa (Headings)"/>
                        </a:defRPr>
                      </a:pPr>
                      <a: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Nicolas </a:t>
                      </a:r>
                    </a:p>
                    <a:p>
                      <a:pPr algn="ctr">
                        <a:defRPr sz="900" b="1">
                          <a:latin typeface="Nexa (Headings)"/>
                        </a:defRPr>
                      </a:pPr>
                      <a: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Nicolas </a:t>
                      </a:r>
                    </a:p>
                    <a:p>
                      <a:pPr algn="ctr">
                        <a:defRPr sz="900" b="1">
                          <a:latin typeface="Nexa (Headings)"/>
                        </a:defRPr>
                      </a:pPr>
                      <a: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Nicolas </a:t>
                      </a:r>
                    </a:p>
                    <a:p>
                      <a:pPr algn="ctr">
                        <a:defRPr sz="900" b="1">
                          <a:latin typeface="Nexa (Headings)"/>
                        </a:defRPr>
                      </a:pPr>
                      <a: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Nicolas</a:t>
                      </a:r>
                    </a:p>
                    <a:p>
                      <a:pPr algn="ctr">
                        <a:defRPr sz="900" b="1">
                          <a:latin typeface="Nexa (Headings)"/>
                        </a:defRPr>
                      </a:pPr>
                      <a: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277134">
                <a:tc>
                  <a:txBody>
                    <a:bodyPr/>
                    <a:lstStyle/>
                    <a:p>
                      <a:pPr algn="ctr">
                        <a:defRPr sz="800" b="1">
                          <a:latin typeface="Nexa (Headings)"/>
                        </a:defRPr>
                      </a:pPr>
                      <a:r>
                        <a:t>Grand Total</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88</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7</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7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41%</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4</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277134">
                <a:tc>
                  <a:txBody>
                    <a:bodyPr/>
                    <a:lstStyle/>
                    <a:p>
                      <a:pPr algn="ctr">
                        <a:defRPr sz="800" b="1">
                          <a:latin typeface="Nexa (Headings)"/>
                        </a:defRPr>
                      </a:pPr>
                      <a:r>
                        <a:t>Mousseux Italiens</a:t>
                      </a:r>
                    </a:p>
                  </a:txBody>
                  <a:tcPr marL="3810" marR="3810" marT="3810" marB="0" anchor="ctr">
                    <a:noFill/>
                  </a:tcPr>
                </a:tc>
                <a:tc>
                  <a:txBody>
                    <a:bodyPr/>
                    <a:lstStyle/>
                    <a:p>
                      <a:pPr algn="ctr">
                        <a:defRPr sz="800">
                          <a:latin typeface="Nexa Book"/>
                        </a:defRPr>
                      </a:pPr>
                      <a:r>
                        <a:t>4</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3161381"/>
                  </a:ext>
                </a:extLst>
              </a:tr>
              <a:tr h="277134">
                <a:tc>
                  <a:txBody>
                    <a:bodyPr/>
                    <a:lstStyle/>
                    <a:p>
                      <a:pPr algn="ctr">
                        <a:defRPr sz="800" b="1">
                          <a:latin typeface="Nexa (Headings)"/>
                        </a:defRPr>
                      </a:pPr>
                      <a:r>
                        <a:t>Mousseux Val De Loire</a:t>
                      </a:r>
                    </a:p>
                  </a:txBody>
                  <a:tcPr marL="3810" marR="3810" marT="3810" marB="0" anchor="ctr">
                    <a:noFill/>
                  </a:tcPr>
                </a:tc>
                <a:tc>
                  <a:txBody>
                    <a:bodyPr/>
                    <a:lstStyle/>
                    <a:p>
                      <a:pPr algn="ctr">
                        <a:defRPr sz="800">
                          <a:latin typeface="Nexa Book"/>
                        </a:defRPr>
                      </a:pPr>
                      <a:r>
                        <a:t>4</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1752397169"/>
                  </a:ext>
                </a:extLst>
              </a:tr>
              <a:tr h="277134">
                <a:tc>
                  <a:txBody>
                    <a:bodyPr/>
                    <a:lstStyle/>
                    <a:p>
                      <a:pPr algn="ctr">
                        <a:defRPr sz="800" b="1">
                          <a:latin typeface="Nexa (Headings)"/>
                        </a:defRPr>
                      </a:pPr>
                      <a:r>
                        <a:t>Mousseux Bordelais</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3712364869"/>
                  </a:ext>
                </a:extLst>
              </a:tr>
              <a:tr h="277134">
                <a:tc>
                  <a:txBody>
                    <a:bodyPr/>
                    <a:lstStyle/>
                    <a:p>
                      <a:pPr algn="ctr">
                        <a:defRPr sz="800" b="1">
                          <a:latin typeface="Nexa (Headings)"/>
                        </a:defRPr>
                      </a:pPr>
                      <a:r>
                        <a:t>Mousseux Bourgogne</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98998524"/>
                  </a:ext>
                </a:extLst>
              </a:tr>
              <a:tr h="277134">
                <a:tc>
                  <a:txBody>
                    <a:bodyPr/>
                    <a:lstStyle/>
                    <a:p>
                      <a:pPr algn="ctr">
                        <a:defRPr sz="800" b="1">
                          <a:latin typeface="Nexa (Headings)"/>
                        </a:defRPr>
                      </a:pPr>
                      <a:r>
                        <a:t>Mousseux Alsace</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4143210105"/>
                  </a:ext>
                </a:extLst>
              </a:tr>
              <a:tr h="277134">
                <a:tc>
                  <a:txBody>
                    <a:bodyPr/>
                    <a:lstStyle/>
                    <a:p>
                      <a:pPr algn="ctr">
                        <a:defRPr sz="800" b="1">
                          <a:latin typeface="Nexa (Headings)"/>
                        </a:defRPr>
                      </a:pPr>
                      <a:r>
                        <a:t>Rosés</a:t>
                      </a:r>
                    </a:p>
                  </a:txBody>
                  <a:tcPr marL="3810" marR="3810" marT="3810" marB="0" anchor="ctr">
                    <a:noFill/>
                  </a:tcPr>
                </a:tc>
                <a:tc>
                  <a:txBody>
                    <a:bodyPr/>
                    <a:lstStyle/>
                    <a:p>
                      <a:pPr algn="ctr">
                        <a:defRPr sz="800">
                          <a:latin typeface="Nexa Book"/>
                        </a:defRPr>
                      </a:pPr>
                      <a:r>
                        <a:t>10</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17%</a:t>
                      </a:r>
                    </a:p>
                  </a:txBody>
                  <a:tcPr marL="3810" marR="3810" marT="3810" marB="0" anchor="ctr">
                    <a:noFill/>
                  </a:tcPr>
                </a:tc>
                <a:tc>
                  <a:txBody>
                    <a:bodyPr/>
                    <a:lstStyle/>
                    <a:p>
                      <a:pPr algn="ctr">
                        <a:defRPr sz="800">
                          <a:latin typeface="Nexa Book"/>
                        </a:defRPr>
                      </a:pPr>
                      <a:r>
                        <a:t>10%</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3374402097"/>
                  </a:ext>
                </a:extLst>
              </a:tr>
              <a:tr h="277134">
                <a:tc>
                  <a:txBody>
                    <a:bodyPr/>
                    <a:lstStyle/>
                    <a:p>
                      <a:pPr algn="ctr">
                        <a:defRPr sz="800" b="1">
                          <a:latin typeface="Nexa (Headings)"/>
                        </a:defRPr>
                      </a:pPr>
                      <a:r>
                        <a:t>Bruts</a:t>
                      </a:r>
                    </a:p>
                  </a:txBody>
                  <a:tcPr marL="3810" marR="3810" marT="3810" marB="0" anchor="ctr">
                    <a:noFill/>
                  </a:tcPr>
                </a:tc>
                <a:tc>
                  <a:txBody>
                    <a:bodyPr/>
                    <a:lstStyle/>
                    <a:p>
                      <a:pPr algn="ctr">
                        <a:defRPr sz="800">
                          <a:latin typeface="Nexa Book"/>
                        </a:defRPr>
                      </a:pPr>
                      <a:r>
                        <a:t>40</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8%</a:t>
                      </a:r>
                    </a:p>
                  </a:txBody>
                  <a:tcPr marL="3810" marR="3810" marT="3810" marB="0" anchor="ctr">
                    <a:noFill/>
                  </a:tcPr>
                </a:tc>
                <a:tc>
                  <a:txBody>
                    <a:bodyPr/>
                    <a:lstStyle/>
                    <a:p>
                      <a:pPr algn="ctr">
                        <a:defRPr sz="800">
                          <a:latin typeface="Nexa Book"/>
                        </a:defRPr>
                      </a:pPr>
                      <a:r>
                        <a:t>11%</a:t>
                      </a:r>
                    </a:p>
                  </a:txBody>
                  <a:tcPr marL="3810" marR="3810" marT="3810" marB="0" anchor="ctr">
                    <a:noFill/>
                  </a:tcPr>
                </a:tc>
                <a:tc>
                  <a:txBody>
                    <a:bodyPr/>
                    <a:lstStyle/>
                    <a:p>
                      <a:pPr algn="ctr">
                        <a:defRPr sz="800">
                          <a:latin typeface="Nexa Book"/>
                        </a:defRPr>
                      </a:pPr>
                      <a:r>
                        <a:t>4</a:t>
                      </a:r>
                    </a:p>
                  </a:txBody>
                  <a:tcPr marL="3810" marR="3810" marT="3810" marB="0" anchor="ctr">
                    <a:noFill/>
                  </a:tcPr>
                </a:tc>
                <a:tc>
                  <a:txBody>
                    <a:bodyPr/>
                    <a:lstStyle/>
                    <a:p>
                      <a:pPr algn="ctr">
                        <a:defRPr sz="800">
                          <a:latin typeface="Nexa Book"/>
                        </a:defRPr>
                      </a:pPr>
                      <a:r>
                        <a:t>1</a:t>
                      </a:r>
                    </a:p>
                  </a:txBody>
                  <a:tcPr marL="3810" marR="3810" marT="3810" marB="0" anchor="ctr">
                    <a:noFill/>
                  </a:tcPr>
                </a:tc>
                <a:extLst>
                  <a:ext uri="{0D108BD9-81ED-4DB2-BD59-A6C34878D82A}">
                    <a16:rowId xmlns:a16="http://schemas.microsoft.com/office/drawing/2014/main" val="2061534110"/>
                  </a:ext>
                </a:extLst>
              </a:tr>
              <a:tr h="277134">
                <a:tc>
                  <a:txBody>
                    <a:bodyPr/>
                    <a:lstStyle/>
                    <a:p>
                      <a:pPr algn="ctr">
                        <a:defRPr sz="800" b="1">
                          <a:latin typeface="Nexa (Headings)"/>
                        </a:defRPr>
                      </a:pPr>
                      <a:r>
                        <a:t>Blanc De Blancs</a:t>
                      </a:r>
                    </a:p>
                  </a:txBody>
                  <a:tcPr marL="3810" marR="3810" marT="3810" marB="0" anchor="ctr">
                    <a:noFill/>
                  </a:tcPr>
                </a:tc>
                <a:tc>
                  <a:txBody>
                    <a:bodyPr/>
                    <a:lstStyle/>
                    <a:p>
                      <a:pPr algn="ctr">
                        <a:defRPr sz="800">
                          <a:latin typeface="Nexa Book"/>
                        </a:defRPr>
                      </a:pPr>
                      <a:r>
                        <a:t>9</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14%</a:t>
                      </a:r>
                    </a:p>
                  </a:txBody>
                  <a:tcPr marL="3810" marR="3810" marT="3810" marB="0" anchor="ctr">
                    <a:noFill/>
                  </a:tcPr>
                </a:tc>
                <a:tc>
                  <a:txBody>
                    <a:bodyPr/>
                    <a:lstStyle/>
                    <a:p>
                      <a:pPr algn="ctr">
                        <a:defRPr sz="800">
                          <a:latin typeface="Nexa Book"/>
                        </a:defRPr>
                      </a:pPr>
                      <a:r>
                        <a:t>7%</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04386257"/>
                  </a:ext>
                </a:extLst>
              </a:tr>
              <a:tr h="277134">
                <a:tc>
                  <a:txBody>
                    <a:bodyPr/>
                    <a:lstStyle/>
                    <a:p>
                      <a:pPr algn="ctr">
                        <a:defRPr sz="800" b="1">
                          <a:latin typeface="Nexa (Headings)"/>
                        </a:defRPr>
                      </a:pPr>
                      <a:r>
                        <a:t>Millesimes</a:t>
                      </a:r>
                    </a:p>
                  </a:txBody>
                  <a:tcPr marL="3810" marR="3810" marT="3810" marB="0" anchor="ctr">
                    <a:noFill/>
                  </a:tcPr>
                </a:tc>
                <a:tc>
                  <a:txBody>
                    <a:bodyPr/>
                    <a:lstStyle/>
                    <a:p>
                      <a:pPr algn="ctr">
                        <a:defRPr sz="800">
                          <a:latin typeface="Nexa Book"/>
                        </a:defRPr>
                      </a:pPr>
                      <a:r>
                        <a:t>4</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071136303"/>
                  </a:ext>
                </a:extLst>
              </a:tr>
              <a:tr h="277134">
                <a:tc>
                  <a:txBody>
                    <a:bodyPr/>
                    <a:lstStyle/>
                    <a:p>
                      <a:pPr algn="ctr">
                        <a:defRPr sz="800" b="1">
                          <a:latin typeface="Nexa (Headings)"/>
                        </a:defRPr>
                      </a:pPr>
                      <a:r>
                        <a:t>Extra Brut</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478226403"/>
                  </a:ext>
                </a:extLst>
              </a:tr>
              <a:tr h="277134">
                <a:tc>
                  <a:txBody>
                    <a:bodyPr/>
                    <a:lstStyle/>
                    <a:p>
                      <a:pPr algn="ctr">
                        <a:defRPr sz="800" b="1">
                          <a:latin typeface="Nexa (Headings)"/>
                        </a:defRPr>
                      </a:pPr>
                      <a:r>
                        <a:t>Crus</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21%</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116474470"/>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1160</a:t>
            </a:fld>
            <a:endParaRPr lang="en-US"/>
          </a:p>
        </p:txBody>
      </p:sp>
    </p:spTree>
    <p:extLst>
      <p:ext uri="{BB962C8B-B14F-4D97-AF65-F5344CB8AC3E}">
        <p14:creationId xmlns:p14="http://schemas.microsoft.com/office/powerpoint/2010/main" val="1979742143"/>
      </p:ext>
    </p:extLst>
  </p:cSld>
  <p:clrMapOvr>
    <a:masterClrMapping/>
  </p:clrMapOvr>
</p:sld>
</file>

<file path=ppt/slides/slide11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8/27/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pPr>
              <a:defRPr sz="1200">
                <a:latin typeface="Nexa Bold (Headings)"/>
              </a:defRPr>
            </a:pPr>
            <a:r>
              <a:t>Segment fair share | Effervescents | Nicolas | NICOLAS EST | P12M</a:t>
            </a:r>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pPr>
              <a:defRPr sz="1600">
                <a:latin typeface="Nexa Bold (Headings)"/>
              </a:defRPr>
            </a:pPr>
            <a:r>
              <a:rPr lang="en-GB" dirty="0">
                <a:highlight>
                  <a:srgbClr val="FFFF00"/>
                </a:highlight>
              </a:rPr>
              <a:t>Segment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Nicolas </a:t>
                      </a:r>
                    </a:p>
                    <a:p>
                      <a:pPr algn="ctr">
                        <a:defRPr sz="900" b="1">
                          <a:latin typeface="Nexa (Headings)"/>
                        </a:defRPr>
                      </a:pPr>
                      <a: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Nicolas </a:t>
                      </a:r>
                    </a:p>
                    <a:p>
                      <a:pPr algn="ctr">
                        <a:defRPr sz="900" b="1">
                          <a:latin typeface="Nexa (Headings)"/>
                        </a:defRPr>
                      </a:pPr>
                      <a: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Nicolas </a:t>
                      </a:r>
                    </a:p>
                    <a:p>
                      <a:pPr algn="ctr">
                        <a:defRPr sz="900" b="1">
                          <a:latin typeface="Nexa (Headings)"/>
                        </a:defRPr>
                      </a:pPr>
                      <a: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Nicolas </a:t>
                      </a:r>
                    </a:p>
                    <a:p>
                      <a:pPr algn="ctr">
                        <a:defRPr sz="900" b="1">
                          <a:latin typeface="Nexa (Headings)"/>
                        </a:defRPr>
                      </a:pPr>
                      <a: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Nicolas</a:t>
                      </a:r>
                    </a:p>
                    <a:p>
                      <a:pPr algn="ctr">
                        <a:defRPr sz="900" b="1">
                          <a:latin typeface="Nexa (Headings)"/>
                        </a:defRPr>
                      </a:pPr>
                      <a: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277134">
                <a:tc>
                  <a:txBody>
                    <a:bodyPr/>
                    <a:lstStyle/>
                    <a:p>
                      <a:pPr algn="ctr">
                        <a:defRPr sz="800" b="1">
                          <a:latin typeface="Nexa (Headings)"/>
                        </a:defRPr>
                      </a:pPr>
                      <a:r>
                        <a:t>Grand Total</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07</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7</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71%</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4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5</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277134">
                <a:tc>
                  <a:txBody>
                    <a:bodyPr/>
                    <a:lstStyle/>
                    <a:p>
                      <a:pPr algn="ctr">
                        <a:defRPr sz="800" b="1">
                          <a:latin typeface="Nexa (Headings)"/>
                        </a:defRPr>
                      </a:pPr>
                      <a:r>
                        <a:t>Mousseux Italiens</a:t>
                      </a:r>
                    </a:p>
                  </a:txBody>
                  <a:tcPr marL="3810" marR="3810" marT="3810" marB="0" anchor="ctr">
                    <a:noFill/>
                  </a:tcPr>
                </a:tc>
                <a:tc>
                  <a:txBody>
                    <a:bodyPr/>
                    <a:lstStyle/>
                    <a:p>
                      <a:pPr algn="ctr">
                        <a:defRPr sz="800">
                          <a:latin typeface="Nexa Book"/>
                        </a:defRPr>
                      </a:pPr>
                      <a:r>
                        <a:t>4</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3161381"/>
                  </a:ext>
                </a:extLst>
              </a:tr>
              <a:tr h="277134">
                <a:tc>
                  <a:txBody>
                    <a:bodyPr/>
                    <a:lstStyle/>
                    <a:p>
                      <a:pPr algn="ctr">
                        <a:defRPr sz="800" b="1">
                          <a:latin typeface="Nexa (Headings)"/>
                        </a:defRPr>
                      </a:pPr>
                      <a:r>
                        <a:t>Mousseux Val De Loire</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1752397169"/>
                  </a:ext>
                </a:extLst>
              </a:tr>
              <a:tr h="277134">
                <a:tc>
                  <a:txBody>
                    <a:bodyPr/>
                    <a:lstStyle/>
                    <a:p>
                      <a:pPr algn="ctr">
                        <a:defRPr sz="800" b="1">
                          <a:latin typeface="Nexa (Headings)"/>
                        </a:defRPr>
                      </a:pPr>
                      <a:r>
                        <a:t>Mousseux Bordelais</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3712364869"/>
                  </a:ext>
                </a:extLst>
              </a:tr>
              <a:tr h="277134">
                <a:tc>
                  <a:txBody>
                    <a:bodyPr/>
                    <a:lstStyle/>
                    <a:p>
                      <a:pPr algn="ctr">
                        <a:defRPr sz="800" b="1">
                          <a:latin typeface="Nexa (Headings)"/>
                        </a:defRPr>
                      </a:pPr>
                      <a:r>
                        <a:t>Mousseux Bourgogne</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98998524"/>
                  </a:ext>
                </a:extLst>
              </a:tr>
              <a:tr h="277134">
                <a:tc>
                  <a:txBody>
                    <a:bodyPr/>
                    <a:lstStyle/>
                    <a:p>
                      <a:pPr algn="ctr">
                        <a:defRPr sz="800" b="1">
                          <a:latin typeface="Nexa (Headings)"/>
                        </a:defRPr>
                      </a:pPr>
                      <a:r>
                        <a:t>Mousseux Alsace</a:t>
                      </a:r>
                    </a:p>
                  </a:txBody>
                  <a:tcPr marL="3810" marR="3810" marT="3810" marB="0" anchor="ctr">
                    <a:noFill/>
                  </a:tcPr>
                </a:tc>
                <a:tc>
                  <a:txBody>
                    <a:bodyPr/>
                    <a:lstStyle/>
                    <a:p>
                      <a:pPr algn="ctr">
                        <a:defRPr sz="800">
                          <a:latin typeface="Nexa Book"/>
                        </a:defRPr>
                      </a:pPr>
                      <a:r>
                        <a:t>5</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4143210105"/>
                  </a:ext>
                </a:extLst>
              </a:tr>
              <a:tr h="277134">
                <a:tc>
                  <a:txBody>
                    <a:bodyPr/>
                    <a:lstStyle/>
                    <a:p>
                      <a:pPr algn="ctr">
                        <a:defRPr sz="800" b="1">
                          <a:latin typeface="Nexa (Headings)"/>
                        </a:defRPr>
                      </a:pPr>
                      <a:r>
                        <a:t>Rosés</a:t>
                      </a:r>
                    </a:p>
                  </a:txBody>
                  <a:tcPr marL="3810" marR="3810" marT="3810" marB="0" anchor="ctr">
                    <a:noFill/>
                  </a:tcPr>
                </a:tc>
                <a:tc>
                  <a:txBody>
                    <a:bodyPr/>
                    <a:lstStyle/>
                    <a:p>
                      <a:pPr algn="ctr">
                        <a:defRPr sz="800">
                          <a:latin typeface="Nexa Book"/>
                        </a:defRPr>
                      </a:pPr>
                      <a:r>
                        <a:t>9</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17%</a:t>
                      </a:r>
                    </a:p>
                  </a:txBody>
                  <a:tcPr marL="3810" marR="3810" marT="3810" marB="0" anchor="ctr">
                    <a:noFill/>
                  </a:tcPr>
                </a:tc>
                <a:tc>
                  <a:txBody>
                    <a:bodyPr/>
                    <a:lstStyle/>
                    <a:p>
                      <a:pPr algn="ctr">
                        <a:defRPr sz="800">
                          <a:latin typeface="Nexa Book"/>
                        </a:defRPr>
                      </a:pPr>
                      <a:r>
                        <a:t>17%</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3374402097"/>
                  </a:ext>
                </a:extLst>
              </a:tr>
              <a:tr h="277134">
                <a:tc>
                  <a:txBody>
                    <a:bodyPr/>
                    <a:lstStyle/>
                    <a:p>
                      <a:pPr algn="ctr">
                        <a:defRPr sz="800" b="1">
                          <a:latin typeface="Nexa (Headings)"/>
                        </a:defRPr>
                      </a:pPr>
                      <a:r>
                        <a:t>Bruts</a:t>
                      </a:r>
                    </a:p>
                  </a:txBody>
                  <a:tcPr marL="3810" marR="3810" marT="3810" marB="0" anchor="ctr">
                    <a:noFill/>
                  </a:tcPr>
                </a:tc>
                <a:tc>
                  <a:txBody>
                    <a:bodyPr/>
                    <a:lstStyle/>
                    <a:p>
                      <a:pPr algn="ctr">
                        <a:defRPr sz="800">
                          <a:latin typeface="Nexa Book"/>
                        </a:defRPr>
                      </a:pPr>
                      <a:r>
                        <a:t>46</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7%</a:t>
                      </a:r>
                    </a:p>
                  </a:txBody>
                  <a:tcPr marL="3810" marR="3810" marT="3810" marB="0" anchor="ctr">
                    <a:noFill/>
                  </a:tcPr>
                </a:tc>
                <a:tc>
                  <a:txBody>
                    <a:bodyPr/>
                    <a:lstStyle/>
                    <a:p>
                      <a:pPr algn="ctr">
                        <a:defRPr sz="800">
                          <a:latin typeface="Nexa Book"/>
                        </a:defRPr>
                      </a:pPr>
                      <a:r>
                        <a:t>11%</a:t>
                      </a:r>
                    </a:p>
                  </a:txBody>
                  <a:tcPr marL="3810" marR="3810" marT="3810" marB="0" anchor="ctr">
                    <a:noFill/>
                  </a:tcPr>
                </a:tc>
                <a:tc>
                  <a:txBody>
                    <a:bodyPr/>
                    <a:lstStyle/>
                    <a:p>
                      <a:pPr algn="ctr">
                        <a:defRPr sz="800">
                          <a:latin typeface="Nexa Book"/>
                        </a:defRPr>
                      </a:pPr>
                      <a:r>
                        <a:t>5</a:t>
                      </a:r>
                    </a:p>
                  </a:txBody>
                  <a:tcPr marL="3810" marR="3810" marT="3810" marB="0" anchor="ctr">
                    <a:noFill/>
                  </a:tcPr>
                </a:tc>
                <a:tc>
                  <a:txBody>
                    <a:bodyPr/>
                    <a:lstStyle/>
                    <a:p>
                      <a:pPr algn="ctr">
                        <a:defRPr sz="800">
                          <a:latin typeface="Nexa Book"/>
                        </a:defRPr>
                      </a:pPr>
                      <a:r>
                        <a:t>2</a:t>
                      </a:r>
                    </a:p>
                  </a:txBody>
                  <a:tcPr marL="3810" marR="3810" marT="3810" marB="0" anchor="ctr">
                    <a:noFill/>
                  </a:tcPr>
                </a:tc>
                <a:extLst>
                  <a:ext uri="{0D108BD9-81ED-4DB2-BD59-A6C34878D82A}">
                    <a16:rowId xmlns:a16="http://schemas.microsoft.com/office/drawing/2014/main" val="2061534110"/>
                  </a:ext>
                </a:extLst>
              </a:tr>
              <a:tr h="277134">
                <a:tc>
                  <a:txBody>
                    <a:bodyPr/>
                    <a:lstStyle/>
                    <a:p>
                      <a:pPr algn="ctr">
                        <a:defRPr sz="800" b="1">
                          <a:latin typeface="Nexa (Headings)"/>
                        </a:defRPr>
                      </a:pPr>
                      <a:r>
                        <a:t>Blanc De Blancs</a:t>
                      </a:r>
                    </a:p>
                  </a:txBody>
                  <a:tcPr marL="3810" marR="3810" marT="3810" marB="0" anchor="ctr">
                    <a:noFill/>
                  </a:tcPr>
                </a:tc>
                <a:tc>
                  <a:txBody>
                    <a:bodyPr/>
                    <a:lstStyle/>
                    <a:p>
                      <a:pPr algn="ctr">
                        <a:defRPr sz="800">
                          <a:latin typeface="Nexa Book"/>
                        </a:defRPr>
                      </a:pPr>
                      <a:r>
                        <a:t>14</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9%</a:t>
                      </a:r>
                    </a:p>
                  </a:txBody>
                  <a:tcPr marL="3810" marR="3810" marT="3810" marB="0" anchor="ctr">
                    <a:noFill/>
                  </a:tcPr>
                </a:tc>
                <a:tc>
                  <a:txBody>
                    <a:bodyPr/>
                    <a:lstStyle/>
                    <a:p>
                      <a:pPr algn="ctr">
                        <a:defRPr sz="800">
                          <a:latin typeface="Nexa Book"/>
                        </a:defRPr>
                      </a:pPr>
                      <a:r>
                        <a:t>5%</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04386257"/>
                  </a:ext>
                </a:extLst>
              </a:tr>
              <a:tr h="277134">
                <a:tc>
                  <a:txBody>
                    <a:bodyPr/>
                    <a:lstStyle/>
                    <a:p>
                      <a:pPr algn="ctr">
                        <a:defRPr sz="800" b="1">
                          <a:latin typeface="Nexa (Headings)"/>
                        </a:defRPr>
                      </a:pPr>
                      <a:r>
                        <a:t>Millesimes</a:t>
                      </a:r>
                    </a:p>
                  </a:txBody>
                  <a:tcPr marL="3810" marR="3810" marT="3810" marB="0" anchor="ctr">
                    <a:noFill/>
                  </a:tcPr>
                </a:tc>
                <a:tc>
                  <a:txBody>
                    <a:bodyPr/>
                    <a:lstStyle/>
                    <a:p>
                      <a:pPr algn="ctr">
                        <a:defRPr sz="800">
                          <a:latin typeface="Nexa Book"/>
                        </a:defRPr>
                      </a:pPr>
                      <a:r>
                        <a:t>8</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071136303"/>
                  </a:ext>
                </a:extLst>
              </a:tr>
              <a:tr h="277134">
                <a:tc>
                  <a:txBody>
                    <a:bodyPr/>
                    <a:lstStyle/>
                    <a:p>
                      <a:pPr algn="ctr">
                        <a:defRPr sz="800" b="1">
                          <a:latin typeface="Nexa (Headings)"/>
                        </a:defRPr>
                      </a:pPr>
                      <a:r>
                        <a:t>Extra Brut</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478226403"/>
                  </a:ext>
                </a:extLst>
              </a:tr>
              <a:tr h="277134">
                <a:tc>
                  <a:txBody>
                    <a:bodyPr/>
                    <a:lstStyle/>
                    <a:p>
                      <a:pPr algn="ctr">
                        <a:defRPr sz="800" b="1">
                          <a:latin typeface="Nexa (Headings)"/>
                        </a:defRPr>
                      </a:pPr>
                      <a:r>
                        <a:t>Crus</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19%</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116474470"/>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1161</a:t>
            </a:fld>
            <a:endParaRPr lang="en-US"/>
          </a:p>
        </p:txBody>
      </p:sp>
    </p:spTree>
    <p:extLst>
      <p:ext uri="{BB962C8B-B14F-4D97-AF65-F5344CB8AC3E}">
        <p14:creationId xmlns:p14="http://schemas.microsoft.com/office/powerpoint/2010/main" val="876147922"/>
      </p:ext>
    </p:extLst>
  </p:cSld>
  <p:clrMapOvr>
    <a:masterClrMapping/>
  </p:clrMapOvr>
</p:sld>
</file>

<file path=ppt/slides/slide11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8/27/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pPr>
              <a:defRPr sz="1200">
                <a:latin typeface="Nexa Bold (Headings)"/>
              </a:defRPr>
            </a:pPr>
            <a:r>
              <a:t>Segment fair share | Effervescents | Nicolas | CA D | P12M</a:t>
            </a:r>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pPr>
              <a:defRPr sz="1600">
                <a:latin typeface="Nexa Bold (Headings)"/>
              </a:defRPr>
            </a:pPr>
            <a:r>
              <a:rPr lang="en-GB" dirty="0">
                <a:highlight>
                  <a:srgbClr val="FFFF00"/>
                </a:highlight>
              </a:rPr>
              <a:t>Segment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Nicolas </a:t>
                      </a:r>
                    </a:p>
                    <a:p>
                      <a:pPr algn="ctr">
                        <a:defRPr sz="900" b="1">
                          <a:latin typeface="Nexa (Headings)"/>
                        </a:defRPr>
                      </a:pPr>
                      <a: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Nicolas </a:t>
                      </a:r>
                    </a:p>
                    <a:p>
                      <a:pPr algn="ctr">
                        <a:defRPr sz="900" b="1">
                          <a:latin typeface="Nexa (Headings)"/>
                        </a:defRPr>
                      </a:pPr>
                      <a: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Nicolas </a:t>
                      </a:r>
                    </a:p>
                    <a:p>
                      <a:pPr algn="ctr">
                        <a:defRPr sz="900" b="1">
                          <a:latin typeface="Nexa (Headings)"/>
                        </a:defRPr>
                      </a:pPr>
                      <a: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Nicolas </a:t>
                      </a:r>
                    </a:p>
                    <a:p>
                      <a:pPr algn="ctr">
                        <a:defRPr sz="900" b="1">
                          <a:latin typeface="Nexa (Headings)"/>
                        </a:defRPr>
                      </a:pPr>
                      <a: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Nicolas</a:t>
                      </a:r>
                    </a:p>
                    <a:p>
                      <a:pPr algn="ctr">
                        <a:defRPr sz="900" b="1">
                          <a:latin typeface="Nexa (Headings)"/>
                        </a:defRPr>
                      </a:pPr>
                      <a: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277134">
                <a:tc>
                  <a:txBody>
                    <a:bodyPr/>
                    <a:lstStyle/>
                    <a:p>
                      <a:pPr algn="ctr">
                        <a:defRPr sz="800" b="1">
                          <a:latin typeface="Nexa (Headings)"/>
                        </a:defRPr>
                      </a:pPr>
                      <a:r>
                        <a:t>Grand Total</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68</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5</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6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40%</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3</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277134">
                <a:tc>
                  <a:txBody>
                    <a:bodyPr/>
                    <a:lstStyle/>
                    <a:p>
                      <a:pPr algn="ctr">
                        <a:defRPr sz="800" b="1">
                          <a:latin typeface="Nexa (Headings)"/>
                        </a:defRPr>
                      </a:pPr>
                      <a:r>
                        <a:t>Mousseux Italiens</a:t>
                      </a:r>
                    </a:p>
                  </a:txBody>
                  <a:tcPr marL="3810" marR="3810" marT="3810" marB="0" anchor="ctr">
                    <a:noFill/>
                  </a:tcPr>
                </a:tc>
                <a:tc>
                  <a:txBody>
                    <a:bodyPr/>
                    <a:lstStyle/>
                    <a:p>
                      <a:pPr algn="ctr">
                        <a:defRPr sz="800">
                          <a:latin typeface="Nexa Book"/>
                        </a:defRPr>
                      </a:pPr>
                      <a:r>
                        <a:t>4</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3161381"/>
                  </a:ext>
                </a:extLst>
              </a:tr>
              <a:tr h="277134">
                <a:tc>
                  <a:txBody>
                    <a:bodyPr/>
                    <a:lstStyle/>
                    <a:p>
                      <a:pPr algn="ctr">
                        <a:defRPr sz="800" b="1">
                          <a:latin typeface="Nexa (Headings)"/>
                        </a:defRPr>
                      </a:pPr>
                      <a:r>
                        <a:t>Mousseux Val De Loire</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1752397169"/>
                  </a:ext>
                </a:extLst>
              </a:tr>
              <a:tr h="277134">
                <a:tc>
                  <a:txBody>
                    <a:bodyPr/>
                    <a:lstStyle/>
                    <a:p>
                      <a:pPr algn="ctr">
                        <a:defRPr sz="800" b="1">
                          <a:latin typeface="Nexa (Headings)"/>
                        </a:defRPr>
                      </a:pPr>
                      <a:r>
                        <a:t>Mousseux Bordelais</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3712364869"/>
                  </a:ext>
                </a:extLst>
              </a:tr>
              <a:tr h="277134">
                <a:tc>
                  <a:txBody>
                    <a:bodyPr/>
                    <a:lstStyle/>
                    <a:p>
                      <a:pPr algn="ctr">
                        <a:defRPr sz="800" b="1">
                          <a:latin typeface="Nexa (Headings)"/>
                        </a:defRPr>
                      </a:pPr>
                      <a:r>
                        <a:t>Mousseux Bourgogne</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98998524"/>
                  </a:ext>
                </a:extLst>
              </a:tr>
              <a:tr h="277134">
                <a:tc>
                  <a:txBody>
                    <a:bodyPr/>
                    <a:lstStyle/>
                    <a:p>
                      <a:pPr algn="ctr">
                        <a:defRPr sz="800" b="1">
                          <a:latin typeface="Nexa (Headings)"/>
                        </a:defRPr>
                      </a:pPr>
                      <a:r>
                        <a:t>Mousseux Alsace</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4143210105"/>
                  </a:ext>
                </a:extLst>
              </a:tr>
              <a:tr h="277134">
                <a:tc>
                  <a:txBody>
                    <a:bodyPr/>
                    <a:lstStyle/>
                    <a:p>
                      <a:pPr algn="ctr">
                        <a:defRPr sz="800" b="1">
                          <a:latin typeface="Nexa (Headings)"/>
                        </a:defRPr>
                      </a:pPr>
                      <a:r>
                        <a:t>Rosés</a:t>
                      </a:r>
                    </a:p>
                  </a:txBody>
                  <a:tcPr marL="3810" marR="3810" marT="3810" marB="0" anchor="ctr">
                    <a:noFill/>
                  </a:tcPr>
                </a:tc>
                <a:tc>
                  <a:txBody>
                    <a:bodyPr/>
                    <a:lstStyle/>
                    <a:p>
                      <a:pPr algn="ctr">
                        <a:defRPr sz="800">
                          <a:latin typeface="Nexa Book"/>
                        </a:defRPr>
                      </a:pPr>
                      <a:r>
                        <a:t>6</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17%</a:t>
                      </a:r>
                    </a:p>
                  </a:txBody>
                  <a:tcPr marL="3810" marR="3810" marT="3810" marB="0" anchor="ctr">
                    <a:noFill/>
                  </a:tcPr>
                </a:tc>
                <a:tc>
                  <a:txBody>
                    <a:bodyPr/>
                    <a:lstStyle/>
                    <a:p>
                      <a:pPr algn="ctr">
                        <a:defRPr sz="800">
                          <a:latin typeface="Nexa Book"/>
                        </a:defRPr>
                      </a:pPr>
                      <a:r>
                        <a:t>12%</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3374402097"/>
                  </a:ext>
                </a:extLst>
              </a:tr>
              <a:tr h="277134">
                <a:tc>
                  <a:txBody>
                    <a:bodyPr/>
                    <a:lstStyle/>
                    <a:p>
                      <a:pPr algn="ctr">
                        <a:defRPr sz="800" b="1">
                          <a:latin typeface="Nexa (Headings)"/>
                        </a:defRPr>
                      </a:pPr>
                      <a:r>
                        <a:t>Bruts</a:t>
                      </a:r>
                    </a:p>
                  </a:txBody>
                  <a:tcPr marL="3810" marR="3810" marT="3810" marB="0" anchor="ctr">
                    <a:noFill/>
                  </a:tcPr>
                </a:tc>
                <a:tc>
                  <a:txBody>
                    <a:bodyPr/>
                    <a:lstStyle/>
                    <a:p>
                      <a:pPr algn="ctr">
                        <a:defRPr sz="800">
                          <a:latin typeface="Nexa Book"/>
                        </a:defRPr>
                      </a:pPr>
                      <a:r>
                        <a:t>32</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8%</a:t>
                      </a:r>
                    </a:p>
                  </a:txBody>
                  <a:tcPr marL="3810" marR="3810" marT="3810" marB="0" anchor="ctr">
                    <a:noFill/>
                  </a:tcPr>
                </a:tc>
                <a:tc>
                  <a:txBody>
                    <a:bodyPr/>
                    <a:lstStyle/>
                    <a:p>
                      <a:pPr algn="ctr">
                        <a:defRPr sz="800">
                          <a:latin typeface="Nexa Book"/>
                        </a:defRPr>
                      </a:pPr>
                      <a:r>
                        <a:t>11%</a:t>
                      </a:r>
                    </a:p>
                  </a:txBody>
                  <a:tcPr marL="3810" marR="3810" marT="3810" marB="0" anchor="ctr">
                    <a:noFill/>
                  </a:tcPr>
                </a:tc>
                <a:tc>
                  <a:txBody>
                    <a:bodyPr/>
                    <a:lstStyle/>
                    <a:p>
                      <a:pPr algn="ctr">
                        <a:defRPr sz="800">
                          <a:latin typeface="Nexa Book"/>
                        </a:defRPr>
                      </a:pPr>
                      <a:r>
                        <a:t>4</a:t>
                      </a:r>
                    </a:p>
                  </a:txBody>
                  <a:tcPr marL="3810" marR="3810" marT="3810" marB="0" anchor="ctr">
                    <a:noFill/>
                  </a:tcPr>
                </a:tc>
                <a:tc>
                  <a:txBody>
                    <a:bodyPr/>
                    <a:lstStyle/>
                    <a:p>
                      <a:pPr algn="ctr">
                        <a:defRPr sz="800">
                          <a:latin typeface="Nexa Book"/>
                        </a:defRPr>
                      </a:pPr>
                      <a:r>
                        <a:t>2</a:t>
                      </a:r>
                    </a:p>
                  </a:txBody>
                  <a:tcPr marL="3810" marR="3810" marT="3810" marB="0" anchor="ctr">
                    <a:noFill/>
                  </a:tcPr>
                </a:tc>
                <a:extLst>
                  <a:ext uri="{0D108BD9-81ED-4DB2-BD59-A6C34878D82A}">
                    <a16:rowId xmlns:a16="http://schemas.microsoft.com/office/drawing/2014/main" val="2061534110"/>
                  </a:ext>
                </a:extLst>
              </a:tr>
              <a:tr h="277134">
                <a:tc>
                  <a:txBody>
                    <a:bodyPr/>
                    <a:lstStyle/>
                    <a:p>
                      <a:pPr algn="ctr">
                        <a:defRPr sz="800" b="1">
                          <a:latin typeface="Nexa (Headings)"/>
                        </a:defRPr>
                      </a:pPr>
                      <a:r>
                        <a:t>Blanc De Blancs</a:t>
                      </a:r>
                    </a:p>
                  </a:txBody>
                  <a:tcPr marL="3810" marR="3810" marT="3810" marB="0" anchor="ctr">
                    <a:noFill/>
                  </a:tcPr>
                </a:tc>
                <a:tc>
                  <a:txBody>
                    <a:bodyPr/>
                    <a:lstStyle/>
                    <a:p>
                      <a:pPr algn="ctr">
                        <a:defRPr sz="800">
                          <a:latin typeface="Nexa Book"/>
                        </a:defRPr>
                      </a:pPr>
                      <a:r>
                        <a:t>6</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12%</a:t>
                      </a:r>
                    </a:p>
                  </a:txBody>
                  <a:tcPr marL="3810" marR="3810" marT="3810" marB="0" anchor="ctr">
                    <a:noFill/>
                  </a:tcPr>
                </a:tc>
                <a:tc>
                  <a:txBody>
                    <a:bodyPr/>
                    <a:lstStyle/>
                    <a:p>
                      <a:pPr algn="ctr">
                        <a:defRPr sz="800">
                          <a:latin typeface="Nexa Book"/>
                        </a:defRPr>
                      </a:pPr>
                      <a:r>
                        <a:t>6%</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04386257"/>
                  </a:ext>
                </a:extLst>
              </a:tr>
              <a:tr h="277134">
                <a:tc>
                  <a:txBody>
                    <a:bodyPr/>
                    <a:lstStyle/>
                    <a:p>
                      <a:pPr algn="ctr">
                        <a:defRPr sz="800" b="1">
                          <a:latin typeface="Nexa (Headings)"/>
                        </a:defRPr>
                      </a:pPr>
                      <a:r>
                        <a:t>Millesimes</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071136303"/>
                  </a:ext>
                </a:extLst>
              </a:tr>
              <a:tr h="277134">
                <a:tc>
                  <a:txBody>
                    <a:bodyPr/>
                    <a:lstStyle/>
                    <a:p>
                      <a:pPr algn="ctr">
                        <a:defRPr sz="800" b="1">
                          <a:latin typeface="Nexa (Headings)"/>
                        </a:defRPr>
                      </a:pPr>
                      <a:r>
                        <a:t>Extra Brut</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478226403"/>
                  </a:ext>
                </a:extLst>
              </a:tr>
              <a:tr h="277134">
                <a:tc>
                  <a:txBody>
                    <a:bodyPr/>
                    <a:lstStyle/>
                    <a:p>
                      <a:pPr algn="ctr">
                        <a:defRPr sz="800" b="1">
                          <a:latin typeface="Nexa (Headings)"/>
                        </a:defRPr>
                      </a:pPr>
                      <a:r>
                        <a:t>Crus</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16%</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116474470"/>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1162</a:t>
            </a:fld>
            <a:endParaRPr lang="en-US"/>
          </a:p>
        </p:txBody>
      </p:sp>
    </p:spTree>
    <p:extLst>
      <p:ext uri="{BB962C8B-B14F-4D97-AF65-F5344CB8AC3E}">
        <p14:creationId xmlns:p14="http://schemas.microsoft.com/office/powerpoint/2010/main" val="3849837088"/>
      </p:ext>
    </p:extLst>
  </p:cSld>
  <p:clrMapOvr>
    <a:masterClrMapping/>
  </p:clrMapOvr>
</p:sld>
</file>

<file path=ppt/slides/slide11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8/27/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pPr>
              <a:defRPr sz="1200">
                <a:latin typeface="Nexa Bold (Headings)"/>
              </a:defRPr>
            </a:pPr>
            <a:r>
              <a:t>Segment fair share | Effervescents | Nicolas | CA C | P12M</a:t>
            </a:r>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pPr>
              <a:defRPr sz="1600">
                <a:latin typeface="Nexa Bold (Headings)"/>
              </a:defRPr>
            </a:pPr>
            <a:r>
              <a:rPr lang="en-GB" dirty="0">
                <a:highlight>
                  <a:srgbClr val="FFFF00"/>
                </a:highlight>
              </a:rPr>
              <a:t>Segment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Nicolas </a:t>
                      </a:r>
                    </a:p>
                    <a:p>
                      <a:pPr algn="ctr">
                        <a:defRPr sz="900" b="1">
                          <a:latin typeface="Nexa (Headings)"/>
                        </a:defRPr>
                      </a:pPr>
                      <a: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Nicolas </a:t>
                      </a:r>
                    </a:p>
                    <a:p>
                      <a:pPr algn="ctr">
                        <a:defRPr sz="900" b="1">
                          <a:latin typeface="Nexa (Headings)"/>
                        </a:defRPr>
                      </a:pPr>
                      <a: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Nicolas </a:t>
                      </a:r>
                    </a:p>
                    <a:p>
                      <a:pPr algn="ctr">
                        <a:defRPr sz="900" b="1">
                          <a:latin typeface="Nexa (Headings)"/>
                        </a:defRPr>
                      </a:pPr>
                      <a: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Nicolas </a:t>
                      </a:r>
                    </a:p>
                    <a:p>
                      <a:pPr algn="ctr">
                        <a:defRPr sz="900" b="1">
                          <a:latin typeface="Nexa (Headings)"/>
                        </a:defRPr>
                      </a:pPr>
                      <a: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Nicolas</a:t>
                      </a:r>
                    </a:p>
                    <a:p>
                      <a:pPr algn="ctr">
                        <a:defRPr sz="900" b="1">
                          <a:latin typeface="Nexa (Headings)"/>
                        </a:defRPr>
                      </a:pPr>
                      <a: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277134">
                <a:tc>
                  <a:txBody>
                    <a:bodyPr/>
                    <a:lstStyle/>
                    <a:p>
                      <a:pPr algn="ctr">
                        <a:defRPr sz="800" b="1">
                          <a:latin typeface="Nexa (Headings)"/>
                        </a:defRPr>
                      </a:pPr>
                      <a:r>
                        <a:t>Grand Total</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77</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6</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71%</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42%</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3</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277134">
                <a:tc>
                  <a:txBody>
                    <a:bodyPr/>
                    <a:lstStyle/>
                    <a:p>
                      <a:pPr algn="ctr">
                        <a:defRPr sz="800" b="1">
                          <a:latin typeface="Nexa (Headings)"/>
                        </a:defRPr>
                      </a:pPr>
                      <a:r>
                        <a:t>Mousseux Italiens</a:t>
                      </a:r>
                    </a:p>
                  </a:txBody>
                  <a:tcPr marL="3810" marR="3810" marT="3810" marB="0" anchor="ctr">
                    <a:noFill/>
                  </a:tcPr>
                </a:tc>
                <a:tc>
                  <a:txBody>
                    <a:bodyPr/>
                    <a:lstStyle/>
                    <a:p>
                      <a:pPr algn="ctr">
                        <a:defRPr sz="800">
                          <a:latin typeface="Nexa Book"/>
                        </a:defRPr>
                      </a:pPr>
                      <a:r>
                        <a:t>4</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3161381"/>
                  </a:ext>
                </a:extLst>
              </a:tr>
              <a:tr h="277134">
                <a:tc>
                  <a:txBody>
                    <a:bodyPr/>
                    <a:lstStyle/>
                    <a:p>
                      <a:pPr algn="ctr">
                        <a:defRPr sz="800" b="1">
                          <a:latin typeface="Nexa (Headings)"/>
                        </a:defRPr>
                      </a:pPr>
                      <a:r>
                        <a:t>Mousseux Val De Loire</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1752397169"/>
                  </a:ext>
                </a:extLst>
              </a:tr>
              <a:tr h="277134">
                <a:tc>
                  <a:txBody>
                    <a:bodyPr/>
                    <a:lstStyle/>
                    <a:p>
                      <a:pPr algn="ctr">
                        <a:defRPr sz="800" b="1">
                          <a:latin typeface="Nexa (Headings)"/>
                        </a:defRPr>
                      </a:pPr>
                      <a:r>
                        <a:t>Mousseux Bordelais</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3712364869"/>
                  </a:ext>
                </a:extLst>
              </a:tr>
              <a:tr h="277134">
                <a:tc>
                  <a:txBody>
                    <a:bodyPr/>
                    <a:lstStyle/>
                    <a:p>
                      <a:pPr algn="ctr">
                        <a:defRPr sz="800" b="1">
                          <a:latin typeface="Nexa (Headings)"/>
                        </a:defRPr>
                      </a:pPr>
                      <a:r>
                        <a:t>Mousseux Bourgogne</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98998524"/>
                  </a:ext>
                </a:extLst>
              </a:tr>
              <a:tr h="277134">
                <a:tc>
                  <a:txBody>
                    <a:bodyPr/>
                    <a:lstStyle/>
                    <a:p>
                      <a:pPr algn="ctr">
                        <a:defRPr sz="800" b="1">
                          <a:latin typeface="Nexa (Headings)"/>
                        </a:defRPr>
                      </a:pPr>
                      <a:r>
                        <a:t>Mousseux Alsace</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4143210105"/>
                  </a:ext>
                </a:extLst>
              </a:tr>
              <a:tr h="277134">
                <a:tc>
                  <a:txBody>
                    <a:bodyPr/>
                    <a:lstStyle/>
                    <a:p>
                      <a:pPr algn="ctr">
                        <a:defRPr sz="800" b="1">
                          <a:latin typeface="Nexa (Headings)"/>
                        </a:defRPr>
                      </a:pPr>
                      <a:r>
                        <a:t>Rosés</a:t>
                      </a:r>
                    </a:p>
                  </a:txBody>
                  <a:tcPr marL="3810" marR="3810" marT="3810" marB="0" anchor="ctr">
                    <a:noFill/>
                  </a:tcPr>
                </a:tc>
                <a:tc>
                  <a:txBody>
                    <a:bodyPr/>
                    <a:lstStyle/>
                    <a:p>
                      <a:pPr algn="ctr">
                        <a:defRPr sz="800">
                          <a:latin typeface="Nexa Book"/>
                        </a:defRPr>
                      </a:pPr>
                      <a:r>
                        <a:t>8</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16%</a:t>
                      </a:r>
                    </a:p>
                  </a:txBody>
                  <a:tcPr marL="3810" marR="3810" marT="3810" marB="0" anchor="ctr">
                    <a:noFill/>
                  </a:tcPr>
                </a:tc>
                <a:tc>
                  <a:txBody>
                    <a:bodyPr/>
                    <a:lstStyle/>
                    <a:p>
                      <a:pPr algn="ctr">
                        <a:defRPr sz="800">
                          <a:latin typeface="Nexa Book"/>
                        </a:defRPr>
                      </a:pPr>
                      <a:r>
                        <a:t>10%</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3374402097"/>
                  </a:ext>
                </a:extLst>
              </a:tr>
              <a:tr h="277134">
                <a:tc>
                  <a:txBody>
                    <a:bodyPr/>
                    <a:lstStyle/>
                    <a:p>
                      <a:pPr algn="ctr">
                        <a:defRPr sz="800" b="1">
                          <a:latin typeface="Nexa (Headings)"/>
                        </a:defRPr>
                      </a:pPr>
                      <a:r>
                        <a:t>Bruts</a:t>
                      </a:r>
                    </a:p>
                  </a:txBody>
                  <a:tcPr marL="3810" marR="3810" marT="3810" marB="0" anchor="ctr">
                    <a:noFill/>
                  </a:tcPr>
                </a:tc>
                <a:tc>
                  <a:txBody>
                    <a:bodyPr/>
                    <a:lstStyle/>
                    <a:p>
                      <a:pPr algn="ctr">
                        <a:defRPr sz="800">
                          <a:latin typeface="Nexa Book"/>
                        </a:defRPr>
                      </a:pPr>
                      <a:r>
                        <a:t>36</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8%</a:t>
                      </a:r>
                    </a:p>
                  </a:txBody>
                  <a:tcPr marL="3810" marR="3810" marT="3810" marB="0" anchor="ctr">
                    <a:noFill/>
                  </a:tcPr>
                </a:tc>
                <a:tc>
                  <a:txBody>
                    <a:bodyPr/>
                    <a:lstStyle/>
                    <a:p>
                      <a:pPr algn="ctr">
                        <a:defRPr sz="800">
                          <a:latin typeface="Nexa Book"/>
                        </a:defRPr>
                      </a:pPr>
                      <a:r>
                        <a:t>11%</a:t>
                      </a:r>
                    </a:p>
                  </a:txBody>
                  <a:tcPr marL="3810" marR="3810" marT="3810" marB="0" anchor="ctr">
                    <a:noFill/>
                  </a:tcPr>
                </a:tc>
                <a:tc>
                  <a:txBody>
                    <a:bodyPr/>
                    <a:lstStyle/>
                    <a:p>
                      <a:pPr algn="ctr">
                        <a:defRPr sz="800">
                          <a:latin typeface="Nexa Book"/>
                        </a:defRPr>
                      </a:pPr>
                      <a:r>
                        <a:t>4</a:t>
                      </a:r>
                    </a:p>
                  </a:txBody>
                  <a:tcPr marL="3810" marR="3810" marT="3810" marB="0" anchor="ctr">
                    <a:noFill/>
                  </a:tcPr>
                </a:tc>
                <a:tc>
                  <a:txBody>
                    <a:bodyPr/>
                    <a:lstStyle/>
                    <a:p>
                      <a:pPr algn="ctr">
                        <a:defRPr sz="800">
                          <a:latin typeface="Nexa Book"/>
                        </a:defRPr>
                      </a:pPr>
                      <a:r>
                        <a:t>1</a:t>
                      </a:r>
                    </a:p>
                  </a:txBody>
                  <a:tcPr marL="3810" marR="3810" marT="3810" marB="0" anchor="ctr">
                    <a:noFill/>
                  </a:tcPr>
                </a:tc>
                <a:extLst>
                  <a:ext uri="{0D108BD9-81ED-4DB2-BD59-A6C34878D82A}">
                    <a16:rowId xmlns:a16="http://schemas.microsoft.com/office/drawing/2014/main" val="2061534110"/>
                  </a:ext>
                </a:extLst>
              </a:tr>
              <a:tr h="277134">
                <a:tc>
                  <a:txBody>
                    <a:bodyPr/>
                    <a:lstStyle/>
                    <a:p>
                      <a:pPr algn="ctr">
                        <a:defRPr sz="800" b="1">
                          <a:latin typeface="Nexa (Headings)"/>
                        </a:defRPr>
                      </a:pPr>
                      <a:r>
                        <a:t>Blanc De Blancs</a:t>
                      </a:r>
                    </a:p>
                  </a:txBody>
                  <a:tcPr marL="3810" marR="3810" marT="3810" marB="0" anchor="ctr">
                    <a:noFill/>
                  </a:tcPr>
                </a:tc>
                <a:tc>
                  <a:txBody>
                    <a:bodyPr/>
                    <a:lstStyle/>
                    <a:p>
                      <a:pPr algn="ctr">
                        <a:defRPr sz="800">
                          <a:latin typeface="Nexa Book"/>
                        </a:defRPr>
                      </a:pPr>
                      <a:r>
                        <a:t>8</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12%</a:t>
                      </a:r>
                    </a:p>
                  </a:txBody>
                  <a:tcPr marL="3810" marR="3810" marT="3810" marB="0" anchor="ctr">
                    <a:noFill/>
                  </a:tcPr>
                </a:tc>
                <a:tc>
                  <a:txBody>
                    <a:bodyPr/>
                    <a:lstStyle/>
                    <a:p>
                      <a:pPr algn="ctr">
                        <a:defRPr sz="800">
                          <a:latin typeface="Nexa Book"/>
                        </a:defRPr>
                      </a:pPr>
                      <a:r>
                        <a:t>7%</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04386257"/>
                  </a:ext>
                </a:extLst>
              </a:tr>
              <a:tr h="277134">
                <a:tc>
                  <a:txBody>
                    <a:bodyPr/>
                    <a:lstStyle/>
                    <a:p>
                      <a:pPr algn="ctr">
                        <a:defRPr sz="800" b="1">
                          <a:latin typeface="Nexa (Headings)"/>
                        </a:defRPr>
                      </a:pPr>
                      <a:r>
                        <a:t>Millesimes</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071136303"/>
                  </a:ext>
                </a:extLst>
              </a:tr>
              <a:tr h="277134">
                <a:tc>
                  <a:txBody>
                    <a:bodyPr/>
                    <a:lstStyle/>
                    <a:p>
                      <a:pPr algn="ctr">
                        <a:defRPr sz="800" b="1">
                          <a:latin typeface="Nexa (Headings)"/>
                        </a:defRPr>
                      </a:pPr>
                      <a:r>
                        <a:t>Extra Brut</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478226403"/>
                  </a:ext>
                </a:extLst>
              </a:tr>
              <a:tr h="277134">
                <a:tc>
                  <a:txBody>
                    <a:bodyPr/>
                    <a:lstStyle/>
                    <a:p>
                      <a:pPr algn="ctr">
                        <a:defRPr sz="800" b="1">
                          <a:latin typeface="Nexa (Headings)"/>
                        </a:defRPr>
                      </a:pPr>
                      <a:r>
                        <a:t>Crus</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18%</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116474470"/>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1163</a:t>
            </a:fld>
            <a:endParaRPr lang="en-US"/>
          </a:p>
        </p:txBody>
      </p:sp>
    </p:spTree>
    <p:extLst>
      <p:ext uri="{BB962C8B-B14F-4D97-AF65-F5344CB8AC3E}">
        <p14:creationId xmlns:p14="http://schemas.microsoft.com/office/powerpoint/2010/main" val="3107997"/>
      </p:ext>
    </p:extLst>
  </p:cSld>
  <p:clrMapOvr>
    <a:masterClrMapping/>
  </p:clrMapOvr>
</p:sld>
</file>

<file path=ppt/slides/slide11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8/27/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pPr>
              <a:defRPr sz="1200">
                <a:latin typeface="Nexa Bold (Headings)"/>
              </a:defRPr>
            </a:pPr>
            <a:r>
              <a:t>Segment fair share | Effervescents | Nicolas | CA E | P12M</a:t>
            </a:r>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pPr>
              <a:defRPr sz="1600">
                <a:latin typeface="Nexa Bold (Headings)"/>
              </a:defRPr>
            </a:pPr>
            <a:r>
              <a:rPr lang="en-GB" dirty="0">
                <a:highlight>
                  <a:srgbClr val="FFFF00"/>
                </a:highlight>
              </a:rPr>
              <a:t>Segment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Nicolas </a:t>
                      </a:r>
                    </a:p>
                    <a:p>
                      <a:pPr algn="ctr">
                        <a:defRPr sz="900" b="1">
                          <a:latin typeface="Nexa (Headings)"/>
                        </a:defRPr>
                      </a:pPr>
                      <a: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Nicolas </a:t>
                      </a:r>
                    </a:p>
                    <a:p>
                      <a:pPr algn="ctr">
                        <a:defRPr sz="900" b="1">
                          <a:latin typeface="Nexa (Headings)"/>
                        </a:defRPr>
                      </a:pPr>
                      <a: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Nicolas </a:t>
                      </a:r>
                    </a:p>
                    <a:p>
                      <a:pPr algn="ctr">
                        <a:defRPr sz="900" b="1">
                          <a:latin typeface="Nexa (Headings)"/>
                        </a:defRPr>
                      </a:pPr>
                      <a: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Nicolas </a:t>
                      </a:r>
                    </a:p>
                    <a:p>
                      <a:pPr algn="ctr">
                        <a:defRPr sz="900" b="1">
                          <a:latin typeface="Nexa (Headings)"/>
                        </a:defRPr>
                      </a:pPr>
                      <a: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Nicolas</a:t>
                      </a:r>
                    </a:p>
                    <a:p>
                      <a:pPr algn="ctr">
                        <a:defRPr sz="900" b="1">
                          <a:latin typeface="Nexa (Headings)"/>
                        </a:defRPr>
                      </a:pPr>
                      <a: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277134">
                <a:tc>
                  <a:txBody>
                    <a:bodyPr/>
                    <a:lstStyle/>
                    <a:p>
                      <a:pPr algn="ctr">
                        <a:defRPr sz="800" b="1">
                          <a:latin typeface="Nexa (Headings)"/>
                        </a:defRPr>
                      </a:pPr>
                      <a:r>
                        <a:t>Grand Total</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56</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4</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73%</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45%</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3</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277134">
                <a:tc>
                  <a:txBody>
                    <a:bodyPr/>
                    <a:lstStyle/>
                    <a:p>
                      <a:pPr algn="ctr">
                        <a:defRPr sz="800" b="1">
                          <a:latin typeface="Nexa (Headings)"/>
                        </a:defRPr>
                      </a:pPr>
                      <a:r>
                        <a:t>Mousseux Italiens</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3161381"/>
                  </a:ext>
                </a:extLst>
              </a:tr>
              <a:tr h="277134">
                <a:tc>
                  <a:txBody>
                    <a:bodyPr/>
                    <a:lstStyle/>
                    <a:p>
                      <a:pPr algn="ctr">
                        <a:defRPr sz="800" b="1">
                          <a:latin typeface="Nexa (Headings)"/>
                        </a:defRPr>
                      </a:pPr>
                      <a:r>
                        <a:t>Mousseux Val De Loire</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1752397169"/>
                  </a:ext>
                </a:extLst>
              </a:tr>
              <a:tr h="277134">
                <a:tc>
                  <a:txBody>
                    <a:bodyPr/>
                    <a:lstStyle/>
                    <a:p>
                      <a:pPr algn="ctr">
                        <a:defRPr sz="800" b="1">
                          <a:latin typeface="Nexa (Headings)"/>
                        </a:defRPr>
                      </a:pPr>
                      <a:r>
                        <a:t>Mousseux Bordelais</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3712364869"/>
                  </a:ext>
                </a:extLst>
              </a:tr>
              <a:tr h="277134">
                <a:tc>
                  <a:txBody>
                    <a:bodyPr/>
                    <a:lstStyle/>
                    <a:p>
                      <a:pPr algn="ctr">
                        <a:defRPr sz="800" b="1">
                          <a:latin typeface="Nexa (Headings)"/>
                        </a:defRPr>
                      </a:pPr>
                      <a:r>
                        <a:t>Mousseux Bourgogne</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98998524"/>
                  </a:ext>
                </a:extLst>
              </a:tr>
              <a:tr h="277134">
                <a:tc>
                  <a:txBody>
                    <a:bodyPr/>
                    <a:lstStyle/>
                    <a:p>
                      <a:pPr algn="ctr">
                        <a:defRPr sz="800" b="1">
                          <a:latin typeface="Nexa (Headings)"/>
                        </a:defRPr>
                      </a:pPr>
                      <a:r>
                        <a:t>Mousseux Alsace</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4143210105"/>
                  </a:ext>
                </a:extLst>
              </a:tr>
              <a:tr h="277134">
                <a:tc>
                  <a:txBody>
                    <a:bodyPr/>
                    <a:lstStyle/>
                    <a:p>
                      <a:pPr algn="ctr">
                        <a:defRPr sz="800" b="1">
                          <a:latin typeface="Nexa (Headings)"/>
                        </a:defRPr>
                      </a:pPr>
                      <a:r>
                        <a:t>Rosés</a:t>
                      </a:r>
                    </a:p>
                  </a:txBody>
                  <a:tcPr marL="3810" marR="3810" marT="3810" marB="0" anchor="ctr">
                    <a:noFill/>
                  </a:tcPr>
                </a:tc>
                <a:tc>
                  <a:txBody>
                    <a:bodyPr/>
                    <a:lstStyle/>
                    <a:p>
                      <a:pPr algn="ctr">
                        <a:defRPr sz="800">
                          <a:latin typeface="Nexa Book"/>
                        </a:defRPr>
                      </a:pPr>
                      <a:r>
                        <a:t>5</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18%</a:t>
                      </a:r>
                    </a:p>
                  </a:txBody>
                  <a:tcPr marL="3810" marR="3810" marT="3810" marB="0" anchor="ctr">
                    <a:noFill/>
                  </a:tcPr>
                </a:tc>
                <a:tc>
                  <a:txBody>
                    <a:bodyPr/>
                    <a:lstStyle/>
                    <a:p>
                      <a:pPr algn="ctr">
                        <a:defRPr sz="800">
                          <a:latin typeface="Nexa Book"/>
                        </a:defRPr>
                      </a:pPr>
                      <a:r>
                        <a:t>12%</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3374402097"/>
                  </a:ext>
                </a:extLst>
              </a:tr>
              <a:tr h="277134">
                <a:tc>
                  <a:txBody>
                    <a:bodyPr/>
                    <a:lstStyle/>
                    <a:p>
                      <a:pPr algn="ctr">
                        <a:defRPr sz="800" b="1">
                          <a:latin typeface="Nexa (Headings)"/>
                        </a:defRPr>
                      </a:pPr>
                      <a:r>
                        <a:t>Bruts</a:t>
                      </a:r>
                    </a:p>
                  </a:txBody>
                  <a:tcPr marL="3810" marR="3810" marT="3810" marB="0" anchor="ctr">
                    <a:noFill/>
                  </a:tcPr>
                </a:tc>
                <a:tc>
                  <a:txBody>
                    <a:bodyPr/>
                    <a:lstStyle/>
                    <a:p>
                      <a:pPr algn="ctr">
                        <a:defRPr sz="800">
                          <a:latin typeface="Nexa Book"/>
                        </a:defRPr>
                      </a:pPr>
                      <a:r>
                        <a:t>27</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8%</a:t>
                      </a:r>
                    </a:p>
                  </a:txBody>
                  <a:tcPr marL="3810" marR="3810" marT="3810" marB="0" anchor="ctr">
                    <a:noFill/>
                  </a:tcPr>
                </a:tc>
                <a:tc>
                  <a:txBody>
                    <a:bodyPr/>
                    <a:lstStyle/>
                    <a:p>
                      <a:pPr algn="ctr">
                        <a:defRPr sz="800">
                          <a:latin typeface="Nexa Book"/>
                        </a:defRPr>
                      </a:pPr>
                      <a:r>
                        <a:t>12%</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1</a:t>
                      </a:r>
                    </a:p>
                  </a:txBody>
                  <a:tcPr marL="3810" marR="3810" marT="3810" marB="0" anchor="ctr">
                    <a:noFill/>
                  </a:tcPr>
                </a:tc>
                <a:extLst>
                  <a:ext uri="{0D108BD9-81ED-4DB2-BD59-A6C34878D82A}">
                    <a16:rowId xmlns:a16="http://schemas.microsoft.com/office/drawing/2014/main" val="2061534110"/>
                  </a:ext>
                </a:extLst>
              </a:tr>
              <a:tr h="277134">
                <a:tc>
                  <a:txBody>
                    <a:bodyPr/>
                    <a:lstStyle/>
                    <a:p>
                      <a:pPr algn="ctr">
                        <a:defRPr sz="800" b="1">
                          <a:latin typeface="Nexa (Headings)"/>
                        </a:defRPr>
                      </a:pPr>
                      <a:r>
                        <a:t>Blanc De Blancs</a:t>
                      </a:r>
                    </a:p>
                  </a:txBody>
                  <a:tcPr marL="3810" marR="3810" marT="3810" marB="0" anchor="ctr">
                    <a:noFill/>
                  </a:tcPr>
                </a:tc>
                <a:tc>
                  <a:txBody>
                    <a:bodyPr/>
                    <a:lstStyle/>
                    <a:p>
                      <a:pPr algn="ctr">
                        <a:defRPr sz="800">
                          <a:latin typeface="Nexa Book"/>
                        </a:defRPr>
                      </a:pPr>
                      <a:r>
                        <a:t>5</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13%</a:t>
                      </a:r>
                    </a:p>
                  </a:txBody>
                  <a:tcPr marL="3810" marR="3810" marT="3810" marB="0" anchor="ctr">
                    <a:noFill/>
                  </a:tcPr>
                </a:tc>
                <a:tc>
                  <a:txBody>
                    <a:bodyPr/>
                    <a:lstStyle/>
                    <a:p>
                      <a:pPr algn="ctr">
                        <a:defRPr sz="800">
                          <a:latin typeface="Nexa Book"/>
                        </a:defRPr>
                      </a:pPr>
                      <a:r>
                        <a:t>8%</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04386257"/>
                  </a:ext>
                </a:extLst>
              </a:tr>
              <a:tr h="277134">
                <a:tc>
                  <a:txBody>
                    <a:bodyPr/>
                    <a:lstStyle/>
                    <a:p>
                      <a:pPr algn="ctr">
                        <a:defRPr sz="800" b="1">
                          <a:latin typeface="Nexa (Headings)"/>
                        </a:defRPr>
                      </a:pPr>
                      <a:r>
                        <a:t>Millesimes</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071136303"/>
                  </a:ext>
                </a:extLst>
              </a:tr>
              <a:tr h="277134">
                <a:tc>
                  <a:txBody>
                    <a:bodyPr/>
                    <a:lstStyle/>
                    <a:p>
                      <a:pPr algn="ctr">
                        <a:defRPr sz="800" b="1">
                          <a:latin typeface="Nexa (Headings)"/>
                        </a:defRPr>
                      </a:pPr>
                      <a:r>
                        <a:t>Extra Brut</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478226403"/>
                  </a:ext>
                </a:extLst>
              </a:tr>
              <a:tr h="277134">
                <a:tc>
                  <a:txBody>
                    <a:bodyPr/>
                    <a:lstStyle/>
                    <a:p>
                      <a:pPr algn="ctr">
                        <a:defRPr sz="800" b="1">
                          <a:latin typeface="Nexa (Headings)"/>
                        </a:defRPr>
                      </a:pPr>
                      <a:r>
                        <a:t>Crus</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22%</a:t>
                      </a:r>
                    </a:p>
                  </a:txBody>
                  <a:tcPr marL="3810" marR="3810" marT="3810" marB="0" anchor="ctr">
                    <a:noFill/>
                  </a:tcPr>
                </a:tc>
                <a:tc>
                  <a:txBody>
                    <a:bodyPr/>
                    <a:lstStyle/>
                    <a:p>
                      <a:pPr algn="ctr">
                        <a:defRPr sz="800">
                          <a:latin typeface="Nexa Book"/>
                        </a:defRPr>
                      </a:pPr>
                      <a:r>
                        <a:t>4%</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116474470"/>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1164</a:t>
            </a:fld>
            <a:endParaRPr lang="en-US"/>
          </a:p>
        </p:txBody>
      </p:sp>
    </p:spTree>
    <p:extLst>
      <p:ext uri="{BB962C8B-B14F-4D97-AF65-F5344CB8AC3E}">
        <p14:creationId xmlns:p14="http://schemas.microsoft.com/office/powerpoint/2010/main" val="1453048973"/>
      </p:ext>
    </p:extLst>
  </p:cSld>
  <p:clrMapOvr>
    <a:masterClrMapping/>
  </p:clrMapOvr>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Extra Brut | NICOLAS QCA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17</a:t>
            </a:fld>
            <a:endParaRPr lang="en-US"/>
          </a:p>
        </p:txBody>
      </p:sp>
    </p:spTree>
    <p:extLst>
      <p:ext uri="{BB962C8B-B14F-4D97-AF65-F5344CB8AC3E}">
        <p14:creationId xmlns:p14="http://schemas.microsoft.com/office/powerpoint/2010/main" val="2946767112"/>
      </p:ext>
    </p:extLst>
  </p:cSld>
  <p:clrMapOvr>
    <a:masterClrMapping/>
  </p:clrMapOvr>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Extra Brut | NICOLAS CCP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18</a:t>
            </a:fld>
            <a:endParaRPr lang="en-US"/>
          </a:p>
        </p:txBody>
      </p:sp>
    </p:spTree>
    <p:extLst>
      <p:ext uri="{BB962C8B-B14F-4D97-AF65-F5344CB8AC3E}">
        <p14:creationId xmlns:p14="http://schemas.microsoft.com/office/powerpoint/2010/main" val="4068559211"/>
      </p:ext>
    </p:extLst>
  </p:cSld>
  <p:clrMapOvr>
    <a:masterClrMapping/>
  </p:clrMapOvr>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Extra Brut | NICOLAS IDF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19</a:t>
            </a:fld>
            <a:endParaRPr lang="en-US"/>
          </a:p>
        </p:txBody>
      </p:sp>
    </p:spTree>
    <p:extLst>
      <p:ext uri="{BB962C8B-B14F-4D97-AF65-F5344CB8AC3E}">
        <p14:creationId xmlns:p14="http://schemas.microsoft.com/office/powerpoint/2010/main" val="341171305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Effervescents | CA A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2</a:t>
            </a:fld>
            <a:endParaRPr lang="en-US"/>
          </a:p>
        </p:txBody>
      </p:sp>
    </p:spTree>
    <p:extLst>
      <p:ext uri="{BB962C8B-B14F-4D97-AF65-F5344CB8AC3E}">
        <p14:creationId xmlns:p14="http://schemas.microsoft.com/office/powerpoint/2010/main" val="3120797487"/>
      </p:ext>
    </p:extLst>
  </p:cSld>
  <p:clrMapOvr>
    <a:masterClrMapping/>
  </p:clrMapOvr>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Extra Brut | NICOLAS PAC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20</a:t>
            </a:fld>
            <a:endParaRPr lang="en-US"/>
          </a:p>
        </p:txBody>
      </p:sp>
    </p:spTree>
    <p:extLst>
      <p:ext uri="{BB962C8B-B14F-4D97-AF65-F5344CB8AC3E}">
        <p14:creationId xmlns:p14="http://schemas.microsoft.com/office/powerpoint/2010/main" val="1231184841"/>
      </p:ext>
    </p:extLst>
  </p:cSld>
  <p:clrMapOvr>
    <a:masterClrMapping/>
  </p:clrMapOvr>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Extra Brut | NICOLAS RHO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21</a:t>
            </a:fld>
            <a:endParaRPr lang="en-US"/>
          </a:p>
        </p:txBody>
      </p:sp>
    </p:spTree>
    <p:extLst>
      <p:ext uri="{BB962C8B-B14F-4D97-AF65-F5344CB8AC3E}">
        <p14:creationId xmlns:p14="http://schemas.microsoft.com/office/powerpoint/2010/main" val="327786906"/>
      </p:ext>
    </p:extLst>
  </p:cSld>
  <p:clrMapOvr>
    <a:masterClrMapping/>
  </p:clrMapOvr>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Extra Brut | NICOLAS AQU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22</a:t>
            </a:fld>
            <a:endParaRPr lang="en-US"/>
          </a:p>
        </p:txBody>
      </p:sp>
    </p:spTree>
    <p:extLst>
      <p:ext uri="{BB962C8B-B14F-4D97-AF65-F5344CB8AC3E}">
        <p14:creationId xmlns:p14="http://schemas.microsoft.com/office/powerpoint/2010/main" val="1571732382"/>
      </p:ext>
    </p:extLst>
  </p:cSld>
  <p:clrMapOvr>
    <a:masterClrMapping/>
  </p:clrMapOvr>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Extra Brut | NICOLAS EST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23</a:t>
            </a:fld>
            <a:endParaRPr lang="en-US"/>
          </a:p>
        </p:txBody>
      </p:sp>
    </p:spTree>
    <p:extLst>
      <p:ext uri="{BB962C8B-B14F-4D97-AF65-F5344CB8AC3E}">
        <p14:creationId xmlns:p14="http://schemas.microsoft.com/office/powerpoint/2010/main" val="3858282512"/>
      </p:ext>
    </p:extLst>
  </p:cSld>
  <p:clrMapOvr>
    <a:masterClrMapping/>
  </p:clrMapOvr>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Extra Brut | CA A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24</a:t>
            </a:fld>
            <a:endParaRPr lang="en-US"/>
          </a:p>
        </p:txBody>
      </p:sp>
    </p:spTree>
    <p:extLst>
      <p:ext uri="{BB962C8B-B14F-4D97-AF65-F5344CB8AC3E}">
        <p14:creationId xmlns:p14="http://schemas.microsoft.com/office/powerpoint/2010/main" val="4161919568"/>
      </p:ext>
    </p:extLst>
  </p:cSld>
  <p:clrMapOvr>
    <a:masterClrMapping/>
  </p:clrMapOvr>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Extra Brut | CA B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25</a:t>
            </a:fld>
            <a:endParaRPr lang="en-US"/>
          </a:p>
        </p:txBody>
      </p:sp>
    </p:spTree>
    <p:extLst>
      <p:ext uri="{BB962C8B-B14F-4D97-AF65-F5344CB8AC3E}">
        <p14:creationId xmlns:p14="http://schemas.microsoft.com/office/powerpoint/2010/main" val="48312364"/>
      </p:ext>
    </p:extLst>
  </p:cSld>
  <p:clrMapOvr>
    <a:masterClrMapping/>
  </p:clrMapOvr>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Extra Brut | CA C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26</a:t>
            </a:fld>
            <a:endParaRPr lang="en-US"/>
          </a:p>
        </p:txBody>
      </p:sp>
    </p:spTree>
    <p:extLst>
      <p:ext uri="{BB962C8B-B14F-4D97-AF65-F5344CB8AC3E}">
        <p14:creationId xmlns:p14="http://schemas.microsoft.com/office/powerpoint/2010/main" val="3707427350"/>
      </p:ext>
    </p:extLst>
  </p:cSld>
  <p:clrMapOvr>
    <a:masterClrMapping/>
  </p:clrMapOvr>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Extra Brut | CA D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27</a:t>
            </a:fld>
            <a:endParaRPr lang="en-US"/>
          </a:p>
        </p:txBody>
      </p:sp>
    </p:spTree>
    <p:extLst>
      <p:ext uri="{BB962C8B-B14F-4D97-AF65-F5344CB8AC3E}">
        <p14:creationId xmlns:p14="http://schemas.microsoft.com/office/powerpoint/2010/main" val="1371341375"/>
      </p:ext>
    </p:extLst>
  </p:cSld>
  <p:clrMapOvr>
    <a:masterClrMapping/>
  </p:clrMapOvr>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Extra Brut | CA E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28</a:t>
            </a:fld>
            <a:endParaRPr lang="en-US"/>
          </a:p>
        </p:txBody>
      </p:sp>
    </p:spTree>
    <p:extLst>
      <p:ext uri="{BB962C8B-B14F-4D97-AF65-F5344CB8AC3E}">
        <p14:creationId xmlns:p14="http://schemas.microsoft.com/office/powerpoint/2010/main" val="990200475"/>
      </p:ext>
    </p:extLst>
  </p:cSld>
  <p:clrMapOvr>
    <a:masterClrMapping/>
  </p:clrMapOvr>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Millesimes | NICOLAS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29</a:t>
            </a:fld>
            <a:endParaRPr lang="en-US"/>
          </a:p>
        </p:txBody>
      </p:sp>
    </p:spTree>
    <p:extLst>
      <p:ext uri="{BB962C8B-B14F-4D97-AF65-F5344CB8AC3E}">
        <p14:creationId xmlns:p14="http://schemas.microsoft.com/office/powerpoint/2010/main" val="326380572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Effervescents | CA B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3</a:t>
            </a:fld>
            <a:endParaRPr lang="en-US"/>
          </a:p>
        </p:txBody>
      </p:sp>
    </p:spTree>
    <p:extLst>
      <p:ext uri="{BB962C8B-B14F-4D97-AF65-F5344CB8AC3E}">
        <p14:creationId xmlns:p14="http://schemas.microsoft.com/office/powerpoint/2010/main" val="2993490421"/>
      </p:ext>
    </p:extLst>
  </p:cSld>
  <p:clrMapOvr>
    <a:masterClrMapping/>
  </p:clrMapOvr>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Millesimes | NICOLAS QCN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30</a:t>
            </a:fld>
            <a:endParaRPr lang="en-US"/>
          </a:p>
        </p:txBody>
      </p:sp>
    </p:spTree>
    <p:extLst>
      <p:ext uri="{BB962C8B-B14F-4D97-AF65-F5344CB8AC3E}">
        <p14:creationId xmlns:p14="http://schemas.microsoft.com/office/powerpoint/2010/main" val="1071051769"/>
      </p:ext>
    </p:extLst>
  </p:cSld>
  <p:clrMapOvr>
    <a:masterClrMapping/>
  </p:clrMapOvr>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Millesimes | NICOLAS VCN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31</a:t>
            </a:fld>
            <a:endParaRPr lang="en-US"/>
          </a:p>
        </p:txBody>
      </p:sp>
    </p:spTree>
    <p:extLst>
      <p:ext uri="{BB962C8B-B14F-4D97-AF65-F5344CB8AC3E}">
        <p14:creationId xmlns:p14="http://schemas.microsoft.com/office/powerpoint/2010/main" val="2519076718"/>
      </p:ext>
    </p:extLst>
  </p:cSld>
  <p:clrMapOvr>
    <a:masterClrMapping/>
  </p:clrMapOvr>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Millesimes | NICOLAS QCT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32</a:t>
            </a:fld>
            <a:endParaRPr lang="en-US"/>
          </a:p>
        </p:txBody>
      </p:sp>
    </p:spTree>
    <p:extLst>
      <p:ext uri="{BB962C8B-B14F-4D97-AF65-F5344CB8AC3E}">
        <p14:creationId xmlns:p14="http://schemas.microsoft.com/office/powerpoint/2010/main" val="782652674"/>
      </p:ext>
    </p:extLst>
  </p:cSld>
  <p:clrMapOvr>
    <a:masterClrMapping/>
  </p:clrMapOvr>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Millesimes | NICOLAS QCA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33</a:t>
            </a:fld>
            <a:endParaRPr lang="en-US"/>
          </a:p>
        </p:txBody>
      </p:sp>
    </p:spTree>
    <p:extLst>
      <p:ext uri="{BB962C8B-B14F-4D97-AF65-F5344CB8AC3E}">
        <p14:creationId xmlns:p14="http://schemas.microsoft.com/office/powerpoint/2010/main" val="1738754678"/>
      </p:ext>
    </p:extLst>
  </p:cSld>
  <p:clrMapOvr>
    <a:masterClrMapping/>
  </p:clrMapOvr>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Millesimes | NICOLAS CCP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34</a:t>
            </a:fld>
            <a:endParaRPr lang="en-US"/>
          </a:p>
        </p:txBody>
      </p:sp>
    </p:spTree>
    <p:extLst>
      <p:ext uri="{BB962C8B-B14F-4D97-AF65-F5344CB8AC3E}">
        <p14:creationId xmlns:p14="http://schemas.microsoft.com/office/powerpoint/2010/main" val="3432709076"/>
      </p:ext>
    </p:extLst>
  </p:cSld>
  <p:clrMapOvr>
    <a:masterClrMapping/>
  </p:clrMapOvr>
</p:sld>
</file>

<file path=ppt/slides/slide1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Millesimes | NICOLAS IDF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35</a:t>
            </a:fld>
            <a:endParaRPr lang="en-US"/>
          </a:p>
        </p:txBody>
      </p:sp>
    </p:spTree>
    <p:extLst>
      <p:ext uri="{BB962C8B-B14F-4D97-AF65-F5344CB8AC3E}">
        <p14:creationId xmlns:p14="http://schemas.microsoft.com/office/powerpoint/2010/main" val="1639808971"/>
      </p:ext>
    </p:extLst>
  </p:cSld>
  <p:clrMapOvr>
    <a:masterClrMapping/>
  </p:clrMapOvr>
</p:sld>
</file>

<file path=ppt/slides/slide1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Millesimes | NICOLAS PAC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36</a:t>
            </a:fld>
            <a:endParaRPr lang="en-US"/>
          </a:p>
        </p:txBody>
      </p:sp>
    </p:spTree>
    <p:extLst>
      <p:ext uri="{BB962C8B-B14F-4D97-AF65-F5344CB8AC3E}">
        <p14:creationId xmlns:p14="http://schemas.microsoft.com/office/powerpoint/2010/main" val="2590978102"/>
      </p:ext>
    </p:extLst>
  </p:cSld>
  <p:clrMapOvr>
    <a:masterClrMapping/>
  </p:clrMapOvr>
</p:sld>
</file>

<file path=ppt/slides/slide1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Millesimes | NICOLAS RHO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37</a:t>
            </a:fld>
            <a:endParaRPr lang="en-US"/>
          </a:p>
        </p:txBody>
      </p:sp>
    </p:spTree>
    <p:extLst>
      <p:ext uri="{BB962C8B-B14F-4D97-AF65-F5344CB8AC3E}">
        <p14:creationId xmlns:p14="http://schemas.microsoft.com/office/powerpoint/2010/main" val="3382967154"/>
      </p:ext>
    </p:extLst>
  </p:cSld>
  <p:clrMapOvr>
    <a:masterClrMapping/>
  </p:clrMapOvr>
</p:sld>
</file>

<file path=ppt/slides/slide1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Millesimes | NICOLAS AQU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38</a:t>
            </a:fld>
            <a:endParaRPr lang="en-US"/>
          </a:p>
        </p:txBody>
      </p:sp>
    </p:spTree>
    <p:extLst>
      <p:ext uri="{BB962C8B-B14F-4D97-AF65-F5344CB8AC3E}">
        <p14:creationId xmlns:p14="http://schemas.microsoft.com/office/powerpoint/2010/main" val="1012897314"/>
      </p:ext>
    </p:extLst>
  </p:cSld>
  <p:clrMapOvr>
    <a:masterClrMapping/>
  </p:clrMapOvr>
</p:sld>
</file>

<file path=ppt/slides/slide1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Millesimes | NICOLAS EST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39</a:t>
            </a:fld>
            <a:endParaRPr lang="en-US"/>
          </a:p>
        </p:txBody>
      </p:sp>
    </p:spTree>
    <p:extLst>
      <p:ext uri="{BB962C8B-B14F-4D97-AF65-F5344CB8AC3E}">
        <p14:creationId xmlns:p14="http://schemas.microsoft.com/office/powerpoint/2010/main" val="424895723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Effervescents | CA C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4</a:t>
            </a:fld>
            <a:endParaRPr lang="en-US"/>
          </a:p>
        </p:txBody>
      </p:sp>
    </p:spTree>
    <p:extLst>
      <p:ext uri="{BB962C8B-B14F-4D97-AF65-F5344CB8AC3E}">
        <p14:creationId xmlns:p14="http://schemas.microsoft.com/office/powerpoint/2010/main" val="2895358155"/>
      </p:ext>
    </p:extLst>
  </p:cSld>
  <p:clrMapOvr>
    <a:masterClrMapping/>
  </p:clrMapOvr>
</p:sld>
</file>

<file path=ppt/slides/slide1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Millesimes | CA A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40</a:t>
            </a:fld>
            <a:endParaRPr lang="en-US"/>
          </a:p>
        </p:txBody>
      </p:sp>
    </p:spTree>
    <p:extLst>
      <p:ext uri="{BB962C8B-B14F-4D97-AF65-F5344CB8AC3E}">
        <p14:creationId xmlns:p14="http://schemas.microsoft.com/office/powerpoint/2010/main" val="1892581063"/>
      </p:ext>
    </p:extLst>
  </p:cSld>
  <p:clrMapOvr>
    <a:masterClrMapping/>
  </p:clrMapOvr>
</p:sld>
</file>

<file path=ppt/slides/slide1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Millesimes | CA B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41</a:t>
            </a:fld>
            <a:endParaRPr lang="en-US"/>
          </a:p>
        </p:txBody>
      </p:sp>
    </p:spTree>
    <p:extLst>
      <p:ext uri="{BB962C8B-B14F-4D97-AF65-F5344CB8AC3E}">
        <p14:creationId xmlns:p14="http://schemas.microsoft.com/office/powerpoint/2010/main" val="1854700029"/>
      </p:ext>
    </p:extLst>
  </p:cSld>
  <p:clrMapOvr>
    <a:masterClrMapping/>
  </p:clrMapOvr>
</p:sld>
</file>

<file path=ppt/slides/slide1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Millesimes | CA C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42</a:t>
            </a:fld>
            <a:endParaRPr lang="en-US"/>
          </a:p>
        </p:txBody>
      </p:sp>
    </p:spTree>
    <p:extLst>
      <p:ext uri="{BB962C8B-B14F-4D97-AF65-F5344CB8AC3E}">
        <p14:creationId xmlns:p14="http://schemas.microsoft.com/office/powerpoint/2010/main" val="206744091"/>
      </p:ext>
    </p:extLst>
  </p:cSld>
  <p:clrMapOvr>
    <a:masterClrMapping/>
  </p:clrMapOvr>
</p:sld>
</file>

<file path=ppt/slides/slide1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Millesimes | CA D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43</a:t>
            </a:fld>
            <a:endParaRPr lang="en-US"/>
          </a:p>
        </p:txBody>
      </p:sp>
    </p:spTree>
    <p:extLst>
      <p:ext uri="{BB962C8B-B14F-4D97-AF65-F5344CB8AC3E}">
        <p14:creationId xmlns:p14="http://schemas.microsoft.com/office/powerpoint/2010/main" val="1635263065"/>
      </p:ext>
    </p:extLst>
  </p:cSld>
  <p:clrMapOvr>
    <a:masterClrMapping/>
  </p:clrMapOvr>
</p:sld>
</file>

<file path=ppt/slides/slide1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Millesimes | CA E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44</a:t>
            </a:fld>
            <a:endParaRPr lang="en-US"/>
          </a:p>
        </p:txBody>
      </p:sp>
    </p:spTree>
    <p:extLst>
      <p:ext uri="{BB962C8B-B14F-4D97-AF65-F5344CB8AC3E}">
        <p14:creationId xmlns:p14="http://schemas.microsoft.com/office/powerpoint/2010/main" val="2206044024"/>
      </p:ext>
    </p:extLst>
  </p:cSld>
  <p:clrMapOvr>
    <a:masterClrMapping/>
  </p:clrMapOvr>
</p:sld>
</file>

<file path=ppt/slides/slide1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Rosés | NICOLAS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45</a:t>
            </a:fld>
            <a:endParaRPr lang="en-US"/>
          </a:p>
        </p:txBody>
      </p:sp>
    </p:spTree>
    <p:extLst>
      <p:ext uri="{BB962C8B-B14F-4D97-AF65-F5344CB8AC3E}">
        <p14:creationId xmlns:p14="http://schemas.microsoft.com/office/powerpoint/2010/main" val="2186033264"/>
      </p:ext>
    </p:extLst>
  </p:cSld>
  <p:clrMapOvr>
    <a:masterClrMapping/>
  </p:clrMapOvr>
</p:sld>
</file>

<file path=ppt/slides/slide1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Rosés | NICOLAS QCN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46</a:t>
            </a:fld>
            <a:endParaRPr lang="en-US"/>
          </a:p>
        </p:txBody>
      </p:sp>
    </p:spTree>
    <p:extLst>
      <p:ext uri="{BB962C8B-B14F-4D97-AF65-F5344CB8AC3E}">
        <p14:creationId xmlns:p14="http://schemas.microsoft.com/office/powerpoint/2010/main" val="1156896077"/>
      </p:ext>
    </p:extLst>
  </p:cSld>
  <p:clrMapOvr>
    <a:masterClrMapping/>
  </p:clrMapOvr>
</p:sld>
</file>

<file path=ppt/slides/slide1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Rosés | NICOLAS VCN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47</a:t>
            </a:fld>
            <a:endParaRPr lang="en-US"/>
          </a:p>
        </p:txBody>
      </p:sp>
    </p:spTree>
    <p:extLst>
      <p:ext uri="{BB962C8B-B14F-4D97-AF65-F5344CB8AC3E}">
        <p14:creationId xmlns:p14="http://schemas.microsoft.com/office/powerpoint/2010/main" val="2073774421"/>
      </p:ext>
    </p:extLst>
  </p:cSld>
  <p:clrMapOvr>
    <a:masterClrMapping/>
  </p:clrMapOvr>
</p:sld>
</file>

<file path=ppt/slides/slide1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Rosés | NICOLAS QCT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48</a:t>
            </a:fld>
            <a:endParaRPr lang="en-US"/>
          </a:p>
        </p:txBody>
      </p:sp>
    </p:spTree>
    <p:extLst>
      <p:ext uri="{BB962C8B-B14F-4D97-AF65-F5344CB8AC3E}">
        <p14:creationId xmlns:p14="http://schemas.microsoft.com/office/powerpoint/2010/main" val="3055518408"/>
      </p:ext>
    </p:extLst>
  </p:cSld>
  <p:clrMapOvr>
    <a:masterClrMapping/>
  </p:clrMapOvr>
</p:sld>
</file>

<file path=ppt/slides/slide1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Rosés | NICOLAS QCA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49</a:t>
            </a:fld>
            <a:endParaRPr lang="en-US"/>
          </a:p>
        </p:txBody>
      </p:sp>
    </p:spTree>
    <p:extLst>
      <p:ext uri="{BB962C8B-B14F-4D97-AF65-F5344CB8AC3E}">
        <p14:creationId xmlns:p14="http://schemas.microsoft.com/office/powerpoint/2010/main" val="82357315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Effervescents | CA D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5</a:t>
            </a:fld>
            <a:endParaRPr lang="en-US"/>
          </a:p>
        </p:txBody>
      </p:sp>
    </p:spTree>
    <p:extLst>
      <p:ext uri="{BB962C8B-B14F-4D97-AF65-F5344CB8AC3E}">
        <p14:creationId xmlns:p14="http://schemas.microsoft.com/office/powerpoint/2010/main" val="1650828578"/>
      </p:ext>
    </p:extLst>
  </p:cSld>
  <p:clrMapOvr>
    <a:masterClrMapping/>
  </p:clrMapOvr>
</p:sld>
</file>

<file path=ppt/slides/slide1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Rosés | NICOLAS CCP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50</a:t>
            </a:fld>
            <a:endParaRPr lang="en-US"/>
          </a:p>
        </p:txBody>
      </p:sp>
    </p:spTree>
    <p:extLst>
      <p:ext uri="{BB962C8B-B14F-4D97-AF65-F5344CB8AC3E}">
        <p14:creationId xmlns:p14="http://schemas.microsoft.com/office/powerpoint/2010/main" val="3702139881"/>
      </p:ext>
    </p:extLst>
  </p:cSld>
  <p:clrMapOvr>
    <a:masterClrMapping/>
  </p:clrMapOvr>
</p:sld>
</file>

<file path=ppt/slides/slide1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Rosés | NICOLAS IDF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51</a:t>
            </a:fld>
            <a:endParaRPr lang="en-US"/>
          </a:p>
        </p:txBody>
      </p:sp>
    </p:spTree>
    <p:extLst>
      <p:ext uri="{BB962C8B-B14F-4D97-AF65-F5344CB8AC3E}">
        <p14:creationId xmlns:p14="http://schemas.microsoft.com/office/powerpoint/2010/main" val="1536830258"/>
      </p:ext>
    </p:extLst>
  </p:cSld>
  <p:clrMapOvr>
    <a:masterClrMapping/>
  </p:clrMapOvr>
</p:sld>
</file>

<file path=ppt/slides/slide1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Rosés | NICOLAS PAC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52</a:t>
            </a:fld>
            <a:endParaRPr lang="en-US"/>
          </a:p>
        </p:txBody>
      </p:sp>
    </p:spTree>
    <p:extLst>
      <p:ext uri="{BB962C8B-B14F-4D97-AF65-F5344CB8AC3E}">
        <p14:creationId xmlns:p14="http://schemas.microsoft.com/office/powerpoint/2010/main" val="2984586621"/>
      </p:ext>
    </p:extLst>
  </p:cSld>
  <p:clrMapOvr>
    <a:masterClrMapping/>
  </p:clrMapOvr>
</p:sld>
</file>

<file path=ppt/slides/slide1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Rosés | NICOLAS RHO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53</a:t>
            </a:fld>
            <a:endParaRPr lang="en-US"/>
          </a:p>
        </p:txBody>
      </p:sp>
    </p:spTree>
    <p:extLst>
      <p:ext uri="{BB962C8B-B14F-4D97-AF65-F5344CB8AC3E}">
        <p14:creationId xmlns:p14="http://schemas.microsoft.com/office/powerpoint/2010/main" val="2914853159"/>
      </p:ext>
    </p:extLst>
  </p:cSld>
  <p:clrMapOvr>
    <a:masterClrMapping/>
  </p:clrMapOvr>
</p:sld>
</file>

<file path=ppt/slides/slide1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Rosés | NICOLAS AQU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54</a:t>
            </a:fld>
            <a:endParaRPr lang="en-US"/>
          </a:p>
        </p:txBody>
      </p:sp>
    </p:spTree>
    <p:extLst>
      <p:ext uri="{BB962C8B-B14F-4D97-AF65-F5344CB8AC3E}">
        <p14:creationId xmlns:p14="http://schemas.microsoft.com/office/powerpoint/2010/main" val="2312919763"/>
      </p:ext>
    </p:extLst>
  </p:cSld>
  <p:clrMapOvr>
    <a:masterClrMapping/>
  </p:clrMapOvr>
</p:sld>
</file>

<file path=ppt/slides/slide1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Rosés | NICOLAS EST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55</a:t>
            </a:fld>
            <a:endParaRPr lang="en-US"/>
          </a:p>
        </p:txBody>
      </p:sp>
    </p:spTree>
    <p:extLst>
      <p:ext uri="{BB962C8B-B14F-4D97-AF65-F5344CB8AC3E}">
        <p14:creationId xmlns:p14="http://schemas.microsoft.com/office/powerpoint/2010/main" val="2962135366"/>
      </p:ext>
    </p:extLst>
  </p:cSld>
  <p:clrMapOvr>
    <a:masterClrMapping/>
  </p:clrMapOvr>
</p:sld>
</file>

<file path=ppt/slides/slide1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Rosés | CA A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56</a:t>
            </a:fld>
            <a:endParaRPr lang="en-US"/>
          </a:p>
        </p:txBody>
      </p:sp>
    </p:spTree>
    <p:extLst>
      <p:ext uri="{BB962C8B-B14F-4D97-AF65-F5344CB8AC3E}">
        <p14:creationId xmlns:p14="http://schemas.microsoft.com/office/powerpoint/2010/main" val="3794670067"/>
      </p:ext>
    </p:extLst>
  </p:cSld>
  <p:clrMapOvr>
    <a:masterClrMapping/>
  </p:clrMapOvr>
</p:sld>
</file>

<file path=ppt/slides/slide1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Rosés | CA B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57</a:t>
            </a:fld>
            <a:endParaRPr lang="en-US"/>
          </a:p>
        </p:txBody>
      </p:sp>
    </p:spTree>
    <p:extLst>
      <p:ext uri="{BB962C8B-B14F-4D97-AF65-F5344CB8AC3E}">
        <p14:creationId xmlns:p14="http://schemas.microsoft.com/office/powerpoint/2010/main" val="521514053"/>
      </p:ext>
    </p:extLst>
  </p:cSld>
  <p:clrMapOvr>
    <a:masterClrMapping/>
  </p:clrMapOvr>
</p:sld>
</file>

<file path=ppt/slides/slide1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Rosés | CA C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58</a:t>
            </a:fld>
            <a:endParaRPr lang="en-US"/>
          </a:p>
        </p:txBody>
      </p:sp>
    </p:spTree>
    <p:extLst>
      <p:ext uri="{BB962C8B-B14F-4D97-AF65-F5344CB8AC3E}">
        <p14:creationId xmlns:p14="http://schemas.microsoft.com/office/powerpoint/2010/main" val="3978525955"/>
      </p:ext>
    </p:extLst>
  </p:cSld>
  <p:clrMapOvr>
    <a:masterClrMapping/>
  </p:clrMapOvr>
</p:sld>
</file>

<file path=ppt/slides/slide1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Rosés | CA D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59</a:t>
            </a:fld>
            <a:endParaRPr lang="en-US"/>
          </a:p>
        </p:txBody>
      </p:sp>
    </p:spTree>
    <p:extLst>
      <p:ext uri="{BB962C8B-B14F-4D97-AF65-F5344CB8AC3E}">
        <p14:creationId xmlns:p14="http://schemas.microsoft.com/office/powerpoint/2010/main" val="129867303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Effervescents | CA E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6</a:t>
            </a:fld>
            <a:endParaRPr lang="en-US"/>
          </a:p>
        </p:txBody>
      </p:sp>
    </p:spTree>
    <p:extLst>
      <p:ext uri="{BB962C8B-B14F-4D97-AF65-F5344CB8AC3E}">
        <p14:creationId xmlns:p14="http://schemas.microsoft.com/office/powerpoint/2010/main" val="2880398195"/>
      </p:ext>
    </p:extLst>
  </p:cSld>
  <p:clrMapOvr>
    <a:masterClrMapping/>
  </p:clrMapOvr>
</p:sld>
</file>

<file path=ppt/slides/slide1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Rosés | CA E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60</a:t>
            </a:fld>
            <a:endParaRPr lang="en-US"/>
          </a:p>
        </p:txBody>
      </p:sp>
    </p:spTree>
    <p:extLst>
      <p:ext uri="{BB962C8B-B14F-4D97-AF65-F5344CB8AC3E}">
        <p14:creationId xmlns:p14="http://schemas.microsoft.com/office/powerpoint/2010/main" val="641119781"/>
      </p:ext>
    </p:extLst>
  </p:cSld>
  <p:clrMapOvr>
    <a:masterClrMapping/>
  </p:clrMapOvr>
</p:sld>
</file>

<file path=ppt/slides/slide1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Mousseux Bourgogne | NICOLAS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61</a:t>
            </a:fld>
            <a:endParaRPr lang="en-US"/>
          </a:p>
        </p:txBody>
      </p:sp>
    </p:spTree>
    <p:extLst>
      <p:ext uri="{BB962C8B-B14F-4D97-AF65-F5344CB8AC3E}">
        <p14:creationId xmlns:p14="http://schemas.microsoft.com/office/powerpoint/2010/main" val="828486062"/>
      </p:ext>
    </p:extLst>
  </p:cSld>
  <p:clrMapOvr>
    <a:masterClrMapping/>
  </p:clrMapOvr>
</p:sld>
</file>

<file path=ppt/slides/slide1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Mousseux Bourgogne | NICOLAS QCN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62</a:t>
            </a:fld>
            <a:endParaRPr lang="en-US"/>
          </a:p>
        </p:txBody>
      </p:sp>
    </p:spTree>
    <p:extLst>
      <p:ext uri="{BB962C8B-B14F-4D97-AF65-F5344CB8AC3E}">
        <p14:creationId xmlns:p14="http://schemas.microsoft.com/office/powerpoint/2010/main" val="2965116363"/>
      </p:ext>
    </p:extLst>
  </p:cSld>
  <p:clrMapOvr>
    <a:masterClrMapping/>
  </p:clrMapOvr>
</p:sld>
</file>

<file path=ppt/slides/slide1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Mousseux Bourgogne | NICOLAS VCN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63</a:t>
            </a:fld>
            <a:endParaRPr lang="en-US"/>
          </a:p>
        </p:txBody>
      </p:sp>
    </p:spTree>
    <p:extLst>
      <p:ext uri="{BB962C8B-B14F-4D97-AF65-F5344CB8AC3E}">
        <p14:creationId xmlns:p14="http://schemas.microsoft.com/office/powerpoint/2010/main" val="1756262265"/>
      </p:ext>
    </p:extLst>
  </p:cSld>
  <p:clrMapOvr>
    <a:masterClrMapping/>
  </p:clrMapOvr>
</p:sld>
</file>

<file path=ppt/slides/slide1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Mousseux Bourgogne | NICOLAS QCT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64</a:t>
            </a:fld>
            <a:endParaRPr lang="en-US"/>
          </a:p>
        </p:txBody>
      </p:sp>
    </p:spTree>
    <p:extLst>
      <p:ext uri="{BB962C8B-B14F-4D97-AF65-F5344CB8AC3E}">
        <p14:creationId xmlns:p14="http://schemas.microsoft.com/office/powerpoint/2010/main" val="3881646298"/>
      </p:ext>
    </p:extLst>
  </p:cSld>
  <p:clrMapOvr>
    <a:masterClrMapping/>
  </p:clrMapOvr>
</p:sld>
</file>

<file path=ppt/slides/slide1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Mousseux Bourgogne | NICOLAS QCA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65</a:t>
            </a:fld>
            <a:endParaRPr lang="en-US"/>
          </a:p>
        </p:txBody>
      </p:sp>
    </p:spTree>
    <p:extLst>
      <p:ext uri="{BB962C8B-B14F-4D97-AF65-F5344CB8AC3E}">
        <p14:creationId xmlns:p14="http://schemas.microsoft.com/office/powerpoint/2010/main" val="664177995"/>
      </p:ext>
    </p:extLst>
  </p:cSld>
  <p:clrMapOvr>
    <a:masterClrMapping/>
  </p:clrMapOvr>
</p:sld>
</file>

<file path=ppt/slides/slide1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Mousseux Bourgogne | NICOLAS CCP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66</a:t>
            </a:fld>
            <a:endParaRPr lang="en-US"/>
          </a:p>
        </p:txBody>
      </p:sp>
    </p:spTree>
    <p:extLst>
      <p:ext uri="{BB962C8B-B14F-4D97-AF65-F5344CB8AC3E}">
        <p14:creationId xmlns:p14="http://schemas.microsoft.com/office/powerpoint/2010/main" val="65968712"/>
      </p:ext>
    </p:extLst>
  </p:cSld>
  <p:clrMapOvr>
    <a:masterClrMapping/>
  </p:clrMapOvr>
</p:sld>
</file>

<file path=ppt/slides/slide1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Mousseux Bourgogne | NICOLAS IDF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67</a:t>
            </a:fld>
            <a:endParaRPr lang="en-US"/>
          </a:p>
        </p:txBody>
      </p:sp>
    </p:spTree>
    <p:extLst>
      <p:ext uri="{BB962C8B-B14F-4D97-AF65-F5344CB8AC3E}">
        <p14:creationId xmlns:p14="http://schemas.microsoft.com/office/powerpoint/2010/main" val="2675437173"/>
      </p:ext>
    </p:extLst>
  </p:cSld>
  <p:clrMapOvr>
    <a:masterClrMapping/>
  </p:clrMapOvr>
</p:sld>
</file>

<file path=ppt/slides/slide1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Mousseux Bourgogne | NICOLAS PAC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68</a:t>
            </a:fld>
            <a:endParaRPr lang="en-US"/>
          </a:p>
        </p:txBody>
      </p:sp>
    </p:spTree>
    <p:extLst>
      <p:ext uri="{BB962C8B-B14F-4D97-AF65-F5344CB8AC3E}">
        <p14:creationId xmlns:p14="http://schemas.microsoft.com/office/powerpoint/2010/main" val="1157204515"/>
      </p:ext>
    </p:extLst>
  </p:cSld>
  <p:clrMapOvr>
    <a:masterClrMapping/>
  </p:clrMapOvr>
</p:sld>
</file>

<file path=ppt/slides/slide1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Mousseux Bourgogne | NICOLAS RHO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69</a:t>
            </a:fld>
            <a:endParaRPr lang="en-US"/>
          </a:p>
        </p:txBody>
      </p:sp>
    </p:spTree>
    <p:extLst>
      <p:ext uri="{BB962C8B-B14F-4D97-AF65-F5344CB8AC3E}">
        <p14:creationId xmlns:p14="http://schemas.microsoft.com/office/powerpoint/2010/main" val="234370932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Champagnes | NICOLAS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7</a:t>
            </a:fld>
            <a:endParaRPr lang="en-US"/>
          </a:p>
        </p:txBody>
      </p:sp>
    </p:spTree>
    <p:extLst>
      <p:ext uri="{BB962C8B-B14F-4D97-AF65-F5344CB8AC3E}">
        <p14:creationId xmlns:p14="http://schemas.microsoft.com/office/powerpoint/2010/main" val="491188825"/>
      </p:ext>
    </p:extLst>
  </p:cSld>
  <p:clrMapOvr>
    <a:masterClrMapping/>
  </p:clrMapOvr>
</p:sld>
</file>

<file path=ppt/slides/slide1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Mousseux Bourgogne | NICOLAS AQU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70</a:t>
            </a:fld>
            <a:endParaRPr lang="en-US"/>
          </a:p>
        </p:txBody>
      </p:sp>
    </p:spTree>
    <p:extLst>
      <p:ext uri="{BB962C8B-B14F-4D97-AF65-F5344CB8AC3E}">
        <p14:creationId xmlns:p14="http://schemas.microsoft.com/office/powerpoint/2010/main" val="1639241626"/>
      </p:ext>
    </p:extLst>
  </p:cSld>
  <p:clrMapOvr>
    <a:masterClrMapping/>
  </p:clrMapOvr>
</p:sld>
</file>

<file path=ppt/slides/slide1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Mousseux Bourgogne | NICOLAS EST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71</a:t>
            </a:fld>
            <a:endParaRPr lang="en-US"/>
          </a:p>
        </p:txBody>
      </p:sp>
    </p:spTree>
    <p:extLst>
      <p:ext uri="{BB962C8B-B14F-4D97-AF65-F5344CB8AC3E}">
        <p14:creationId xmlns:p14="http://schemas.microsoft.com/office/powerpoint/2010/main" val="1746430692"/>
      </p:ext>
    </p:extLst>
  </p:cSld>
  <p:clrMapOvr>
    <a:masterClrMapping/>
  </p:clrMapOvr>
</p:sld>
</file>

<file path=ppt/slides/slide1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Mousseux Bourgogne | CA A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72</a:t>
            </a:fld>
            <a:endParaRPr lang="en-US"/>
          </a:p>
        </p:txBody>
      </p:sp>
    </p:spTree>
    <p:extLst>
      <p:ext uri="{BB962C8B-B14F-4D97-AF65-F5344CB8AC3E}">
        <p14:creationId xmlns:p14="http://schemas.microsoft.com/office/powerpoint/2010/main" val="853730377"/>
      </p:ext>
    </p:extLst>
  </p:cSld>
  <p:clrMapOvr>
    <a:masterClrMapping/>
  </p:clrMapOvr>
</p:sld>
</file>

<file path=ppt/slides/slide1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Mousseux Bourgogne | CA B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73</a:t>
            </a:fld>
            <a:endParaRPr lang="en-US"/>
          </a:p>
        </p:txBody>
      </p:sp>
    </p:spTree>
    <p:extLst>
      <p:ext uri="{BB962C8B-B14F-4D97-AF65-F5344CB8AC3E}">
        <p14:creationId xmlns:p14="http://schemas.microsoft.com/office/powerpoint/2010/main" val="271770489"/>
      </p:ext>
    </p:extLst>
  </p:cSld>
  <p:clrMapOvr>
    <a:masterClrMapping/>
  </p:clrMapOvr>
</p:sld>
</file>

<file path=ppt/slides/slide1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Mousseux Bourgogne | CA C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74</a:t>
            </a:fld>
            <a:endParaRPr lang="en-US"/>
          </a:p>
        </p:txBody>
      </p:sp>
    </p:spTree>
    <p:extLst>
      <p:ext uri="{BB962C8B-B14F-4D97-AF65-F5344CB8AC3E}">
        <p14:creationId xmlns:p14="http://schemas.microsoft.com/office/powerpoint/2010/main" val="1967254116"/>
      </p:ext>
    </p:extLst>
  </p:cSld>
  <p:clrMapOvr>
    <a:masterClrMapping/>
  </p:clrMapOvr>
</p:sld>
</file>

<file path=ppt/slides/slide1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Mousseux Bourgogne | CA D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75</a:t>
            </a:fld>
            <a:endParaRPr lang="en-US"/>
          </a:p>
        </p:txBody>
      </p:sp>
    </p:spTree>
    <p:extLst>
      <p:ext uri="{BB962C8B-B14F-4D97-AF65-F5344CB8AC3E}">
        <p14:creationId xmlns:p14="http://schemas.microsoft.com/office/powerpoint/2010/main" val="514328956"/>
      </p:ext>
    </p:extLst>
  </p:cSld>
  <p:clrMapOvr>
    <a:masterClrMapping/>
  </p:clrMapOvr>
</p:sld>
</file>

<file path=ppt/slides/slide1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Mousseux Bourgogne | CA E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76</a:t>
            </a:fld>
            <a:endParaRPr lang="en-US"/>
          </a:p>
        </p:txBody>
      </p:sp>
    </p:spTree>
    <p:extLst>
      <p:ext uri="{BB962C8B-B14F-4D97-AF65-F5344CB8AC3E}">
        <p14:creationId xmlns:p14="http://schemas.microsoft.com/office/powerpoint/2010/main" val="3378049577"/>
      </p:ext>
    </p:extLst>
  </p:cSld>
  <p:clrMapOvr>
    <a:masterClrMapping/>
  </p:clrMapOvr>
</p:sld>
</file>

<file path=ppt/slides/slide1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Mousseux Italiens | NICOLAS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77</a:t>
            </a:fld>
            <a:endParaRPr lang="en-US"/>
          </a:p>
        </p:txBody>
      </p:sp>
    </p:spTree>
    <p:extLst>
      <p:ext uri="{BB962C8B-B14F-4D97-AF65-F5344CB8AC3E}">
        <p14:creationId xmlns:p14="http://schemas.microsoft.com/office/powerpoint/2010/main" val="41792933"/>
      </p:ext>
    </p:extLst>
  </p:cSld>
  <p:clrMapOvr>
    <a:masterClrMapping/>
  </p:clrMapOvr>
</p:sld>
</file>

<file path=ppt/slides/slide1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Mousseux Italiens | NICOLAS QCN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78</a:t>
            </a:fld>
            <a:endParaRPr lang="en-US"/>
          </a:p>
        </p:txBody>
      </p:sp>
    </p:spTree>
    <p:extLst>
      <p:ext uri="{BB962C8B-B14F-4D97-AF65-F5344CB8AC3E}">
        <p14:creationId xmlns:p14="http://schemas.microsoft.com/office/powerpoint/2010/main" val="2571565939"/>
      </p:ext>
    </p:extLst>
  </p:cSld>
  <p:clrMapOvr>
    <a:masterClrMapping/>
  </p:clrMapOvr>
</p:sld>
</file>

<file path=ppt/slides/slide1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Mousseux Italiens | NICOLAS VCN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79</a:t>
            </a:fld>
            <a:endParaRPr lang="en-US"/>
          </a:p>
        </p:txBody>
      </p:sp>
    </p:spTree>
    <p:extLst>
      <p:ext uri="{BB962C8B-B14F-4D97-AF65-F5344CB8AC3E}">
        <p14:creationId xmlns:p14="http://schemas.microsoft.com/office/powerpoint/2010/main" val="249920775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Champagnes | NICOLAS QCN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8</a:t>
            </a:fld>
            <a:endParaRPr lang="en-US"/>
          </a:p>
        </p:txBody>
      </p:sp>
    </p:spTree>
    <p:extLst>
      <p:ext uri="{BB962C8B-B14F-4D97-AF65-F5344CB8AC3E}">
        <p14:creationId xmlns:p14="http://schemas.microsoft.com/office/powerpoint/2010/main" val="2226830551"/>
      </p:ext>
    </p:extLst>
  </p:cSld>
  <p:clrMapOvr>
    <a:masterClrMapping/>
  </p:clrMapOvr>
</p:sld>
</file>

<file path=ppt/slides/slide1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Mousseux Italiens | NICOLAS QCT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80</a:t>
            </a:fld>
            <a:endParaRPr lang="en-US"/>
          </a:p>
        </p:txBody>
      </p:sp>
    </p:spTree>
    <p:extLst>
      <p:ext uri="{BB962C8B-B14F-4D97-AF65-F5344CB8AC3E}">
        <p14:creationId xmlns:p14="http://schemas.microsoft.com/office/powerpoint/2010/main" val="295893310"/>
      </p:ext>
    </p:extLst>
  </p:cSld>
  <p:clrMapOvr>
    <a:masterClrMapping/>
  </p:clrMapOvr>
</p:sld>
</file>

<file path=ppt/slides/slide1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Mousseux Italiens | NICOLAS QCA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81</a:t>
            </a:fld>
            <a:endParaRPr lang="en-US"/>
          </a:p>
        </p:txBody>
      </p:sp>
    </p:spTree>
    <p:extLst>
      <p:ext uri="{BB962C8B-B14F-4D97-AF65-F5344CB8AC3E}">
        <p14:creationId xmlns:p14="http://schemas.microsoft.com/office/powerpoint/2010/main" val="1960756173"/>
      </p:ext>
    </p:extLst>
  </p:cSld>
  <p:clrMapOvr>
    <a:masterClrMapping/>
  </p:clrMapOvr>
</p:sld>
</file>

<file path=ppt/slides/slide1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Mousseux Italiens | NICOLAS CCP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82</a:t>
            </a:fld>
            <a:endParaRPr lang="en-US"/>
          </a:p>
        </p:txBody>
      </p:sp>
    </p:spTree>
    <p:extLst>
      <p:ext uri="{BB962C8B-B14F-4D97-AF65-F5344CB8AC3E}">
        <p14:creationId xmlns:p14="http://schemas.microsoft.com/office/powerpoint/2010/main" val="1413521434"/>
      </p:ext>
    </p:extLst>
  </p:cSld>
  <p:clrMapOvr>
    <a:masterClrMapping/>
  </p:clrMapOvr>
</p:sld>
</file>

<file path=ppt/slides/slide1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Mousseux Italiens | NICOLAS IDF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83</a:t>
            </a:fld>
            <a:endParaRPr lang="en-US"/>
          </a:p>
        </p:txBody>
      </p:sp>
    </p:spTree>
    <p:extLst>
      <p:ext uri="{BB962C8B-B14F-4D97-AF65-F5344CB8AC3E}">
        <p14:creationId xmlns:p14="http://schemas.microsoft.com/office/powerpoint/2010/main" val="385134116"/>
      </p:ext>
    </p:extLst>
  </p:cSld>
  <p:clrMapOvr>
    <a:masterClrMapping/>
  </p:clrMapOvr>
</p:sld>
</file>

<file path=ppt/slides/slide1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Mousseux Italiens | NICOLAS PAC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84</a:t>
            </a:fld>
            <a:endParaRPr lang="en-US"/>
          </a:p>
        </p:txBody>
      </p:sp>
    </p:spTree>
    <p:extLst>
      <p:ext uri="{BB962C8B-B14F-4D97-AF65-F5344CB8AC3E}">
        <p14:creationId xmlns:p14="http://schemas.microsoft.com/office/powerpoint/2010/main" val="1821017402"/>
      </p:ext>
    </p:extLst>
  </p:cSld>
  <p:clrMapOvr>
    <a:masterClrMapping/>
  </p:clrMapOvr>
</p:sld>
</file>

<file path=ppt/slides/slide1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Mousseux Italiens | NICOLAS RHO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85</a:t>
            </a:fld>
            <a:endParaRPr lang="en-US"/>
          </a:p>
        </p:txBody>
      </p:sp>
    </p:spTree>
    <p:extLst>
      <p:ext uri="{BB962C8B-B14F-4D97-AF65-F5344CB8AC3E}">
        <p14:creationId xmlns:p14="http://schemas.microsoft.com/office/powerpoint/2010/main" val="36167500"/>
      </p:ext>
    </p:extLst>
  </p:cSld>
  <p:clrMapOvr>
    <a:masterClrMapping/>
  </p:clrMapOvr>
</p:sld>
</file>

<file path=ppt/slides/slide1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Mousseux Italiens | NICOLAS AQU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86</a:t>
            </a:fld>
            <a:endParaRPr lang="en-US"/>
          </a:p>
        </p:txBody>
      </p:sp>
    </p:spTree>
    <p:extLst>
      <p:ext uri="{BB962C8B-B14F-4D97-AF65-F5344CB8AC3E}">
        <p14:creationId xmlns:p14="http://schemas.microsoft.com/office/powerpoint/2010/main" val="78707975"/>
      </p:ext>
    </p:extLst>
  </p:cSld>
  <p:clrMapOvr>
    <a:masterClrMapping/>
  </p:clrMapOvr>
</p:sld>
</file>

<file path=ppt/slides/slide1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Mousseux Italiens | NICOLAS EST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87</a:t>
            </a:fld>
            <a:endParaRPr lang="en-US"/>
          </a:p>
        </p:txBody>
      </p:sp>
    </p:spTree>
    <p:extLst>
      <p:ext uri="{BB962C8B-B14F-4D97-AF65-F5344CB8AC3E}">
        <p14:creationId xmlns:p14="http://schemas.microsoft.com/office/powerpoint/2010/main" val="2972117063"/>
      </p:ext>
    </p:extLst>
  </p:cSld>
  <p:clrMapOvr>
    <a:masterClrMapping/>
  </p:clrMapOvr>
</p:sld>
</file>

<file path=ppt/slides/slide1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Mousseux Italiens | CA A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88</a:t>
            </a:fld>
            <a:endParaRPr lang="en-US"/>
          </a:p>
        </p:txBody>
      </p:sp>
    </p:spTree>
    <p:extLst>
      <p:ext uri="{BB962C8B-B14F-4D97-AF65-F5344CB8AC3E}">
        <p14:creationId xmlns:p14="http://schemas.microsoft.com/office/powerpoint/2010/main" val="586687012"/>
      </p:ext>
    </p:extLst>
  </p:cSld>
  <p:clrMapOvr>
    <a:masterClrMapping/>
  </p:clrMapOvr>
</p:sld>
</file>

<file path=ppt/slides/slide1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Mousseux Italiens | CA B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89</a:t>
            </a:fld>
            <a:endParaRPr lang="en-US"/>
          </a:p>
        </p:txBody>
      </p:sp>
    </p:spTree>
    <p:extLst>
      <p:ext uri="{BB962C8B-B14F-4D97-AF65-F5344CB8AC3E}">
        <p14:creationId xmlns:p14="http://schemas.microsoft.com/office/powerpoint/2010/main" val="213648055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Champagnes | NICOLAS VCN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9</a:t>
            </a:fld>
            <a:endParaRPr lang="en-US"/>
          </a:p>
        </p:txBody>
      </p:sp>
    </p:spTree>
    <p:extLst>
      <p:ext uri="{BB962C8B-B14F-4D97-AF65-F5344CB8AC3E}">
        <p14:creationId xmlns:p14="http://schemas.microsoft.com/office/powerpoint/2010/main" val="3245363298"/>
      </p:ext>
    </p:extLst>
  </p:cSld>
  <p:clrMapOvr>
    <a:masterClrMapping/>
  </p:clrMapOvr>
</p:sld>
</file>

<file path=ppt/slides/slide1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Mousseux Italiens | CA C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90</a:t>
            </a:fld>
            <a:endParaRPr lang="en-US"/>
          </a:p>
        </p:txBody>
      </p:sp>
    </p:spTree>
    <p:extLst>
      <p:ext uri="{BB962C8B-B14F-4D97-AF65-F5344CB8AC3E}">
        <p14:creationId xmlns:p14="http://schemas.microsoft.com/office/powerpoint/2010/main" val="115083149"/>
      </p:ext>
    </p:extLst>
  </p:cSld>
  <p:clrMapOvr>
    <a:masterClrMapping/>
  </p:clrMapOvr>
</p:sld>
</file>

<file path=ppt/slides/slide1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Mousseux Italiens | CA D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91</a:t>
            </a:fld>
            <a:endParaRPr lang="en-US"/>
          </a:p>
        </p:txBody>
      </p:sp>
    </p:spTree>
    <p:extLst>
      <p:ext uri="{BB962C8B-B14F-4D97-AF65-F5344CB8AC3E}">
        <p14:creationId xmlns:p14="http://schemas.microsoft.com/office/powerpoint/2010/main" val="3456374145"/>
      </p:ext>
    </p:extLst>
  </p:cSld>
  <p:clrMapOvr>
    <a:masterClrMapping/>
  </p:clrMapOvr>
</p:sld>
</file>

<file path=ppt/slides/slide1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Mousseux Italiens | CA E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92</a:t>
            </a:fld>
            <a:endParaRPr lang="en-US"/>
          </a:p>
        </p:txBody>
      </p:sp>
    </p:spTree>
    <p:extLst>
      <p:ext uri="{BB962C8B-B14F-4D97-AF65-F5344CB8AC3E}">
        <p14:creationId xmlns:p14="http://schemas.microsoft.com/office/powerpoint/2010/main" val="416165380"/>
      </p:ext>
    </p:extLst>
  </p:cSld>
  <p:clrMapOvr>
    <a:masterClrMapping/>
  </p:clrMapOvr>
</p:sld>
</file>

<file path=ppt/slides/slide1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Mousseux Val De Loire | NICOLAS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93</a:t>
            </a:fld>
            <a:endParaRPr lang="en-US"/>
          </a:p>
        </p:txBody>
      </p:sp>
    </p:spTree>
    <p:extLst>
      <p:ext uri="{BB962C8B-B14F-4D97-AF65-F5344CB8AC3E}">
        <p14:creationId xmlns:p14="http://schemas.microsoft.com/office/powerpoint/2010/main" val="1032114528"/>
      </p:ext>
    </p:extLst>
  </p:cSld>
  <p:clrMapOvr>
    <a:masterClrMapping/>
  </p:clrMapOvr>
</p:sld>
</file>

<file path=ppt/slides/slide1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Mousseux Val De Loire | NICOLAS QCN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94</a:t>
            </a:fld>
            <a:endParaRPr lang="en-US"/>
          </a:p>
        </p:txBody>
      </p:sp>
    </p:spTree>
    <p:extLst>
      <p:ext uri="{BB962C8B-B14F-4D97-AF65-F5344CB8AC3E}">
        <p14:creationId xmlns:p14="http://schemas.microsoft.com/office/powerpoint/2010/main" val="998621404"/>
      </p:ext>
    </p:extLst>
  </p:cSld>
  <p:clrMapOvr>
    <a:masterClrMapping/>
  </p:clrMapOvr>
</p:sld>
</file>

<file path=ppt/slides/slide1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Mousseux Val De Loire | NICOLAS VCN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95</a:t>
            </a:fld>
            <a:endParaRPr lang="en-US"/>
          </a:p>
        </p:txBody>
      </p:sp>
    </p:spTree>
    <p:extLst>
      <p:ext uri="{BB962C8B-B14F-4D97-AF65-F5344CB8AC3E}">
        <p14:creationId xmlns:p14="http://schemas.microsoft.com/office/powerpoint/2010/main" val="1711182477"/>
      </p:ext>
    </p:extLst>
  </p:cSld>
  <p:clrMapOvr>
    <a:masterClrMapping/>
  </p:clrMapOvr>
</p:sld>
</file>

<file path=ppt/slides/slide1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Mousseux Val De Loire | NICOLAS QCT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96</a:t>
            </a:fld>
            <a:endParaRPr lang="en-US"/>
          </a:p>
        </p:txBody>
      </p:sp>
    </p:spTree>
    <p:extLst>
      <p:ext uri="{BB962C8B-B14F-4D97-AF65-F5344CB8AC3E}">
        <p14:creationId xmlns:p14="http://schemas.microsoft.com/office/powerpoint/2010/main" val="66122914"/>
      </p:ext>
    </p:extLst>
  </p:cSld>
  <p:clrMapOvr>
    <a:masterClrMapping/>
  </p:clrMapOvr>
</p:sld>
</file>

<file path=ppt/slides/slide1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Mousseux Val De Loire | NICOLAS QCA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97</a:t>
            </a:fld>
            <a:endParaRPr lang="en-US"/>
          </a:p>
        </p:txBody>
      </p:sp>
    </p:spTree>
    <p:extLst>
      <p:ext uri="{BB962C8B-B14F-4D97-AF65-F5344CB8AC3E}">
        <p14:creationId xmlns:p14="http://schemas.microsoft.com/office/powerpoint/2010/main" val="2366746440"/>
      </p:ext>
    </p:extLst>
  </p:cSld>
  <p:clrMapOvr>
    <a:masterClrMapping/>
  </p:clrMapOvr>
</p:sld>
</file>

<file path=ppt/slides/slide1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Mousseux Val De Loire | NICOLAS CCP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98</a:t>
            </a:fld>
            <a:endParaRPr lang="en-US"/>
          </a:p>
        </p:txBody>
      </p:sp>
    </p:spTree>
    <p:extLst>
      <p:ext uri="{BB962C8B-B14F-4D97-AF65-F5344CB8AC3E}">
        <p14:creationId xmlns:p14="http://schemas.microsoft.com/office/powerpoint/2010/main" val="805575406"/>
      </p:ext>
    </p:extLst>
  </p:cSld>
  <p:clrMapOvr>
    <a:masterClrMapping/>
  </p:clrMapOvr>
</p:sld>
</file>

<file path=ppt/slides/slide1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Mousseux Val De Loire | NICOLAS IDF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99</a:t>
            </a:fld>
            <a:endParaRPr lang="en-US"/>
          </a:p>
        </p:txBody>
      </p:sp>
    </p:spTree>
    <p:extLst>
      <p:ext uri="{BB962C8B-B14F-4D97-AF65-F5344CB8AC3E}">
        <p14:creationId xmlns:p14="http://schemas.microsoft.com/office/powerpoint/2010/main" val="168782687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Effervescents | NICOLAS QCN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2</a:t>
            </a:fld>
            <a:endParaRPr lang="en-US"/>
          </a:p>
        </p:txBody>
      </p:sp>
    </p:spTree>
    <p:extLst>
      <p:ext uri="{BB962C8B-B14F-4D97-AF65-F5344CB8AC3E}">
        <p14:creationId xmlns:p14="http://schemas.microsoft.com/office/powerpoint/2010/main" val="38432173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Champagnes | NICOLAS QCT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20</a:t>
            </a:fld>
            <a:endParaRPr lang="en-US"/>
          </a:p>
        </p:txBody>
      </p:sp>
    </p:spTree>
    <p:extLst>
      <p:ext uri="{BB962C8B-B14F-4D97-AF65-F5344CB8AC3E}">
        <p14:creationId xmlns:p14="http://schemas.microsoft.com/office/powerpoint/2010/main" val="2965326238"/>
      </p:ext>
    </p:extLst>
  </p:cSld>
  <p:clrMapOvr>
    <a:masterClrMapping/>
  </p:clrMapOvr>
</p:sld>
</file>

<file path=ppt/slides/slide2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Mousseux Val De Loire | NICOLAS PAC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200</a:t>
            </a:fld>
            <a:endParaRPr lang="en-US"/>
          </a:p>
        </p:txBody>
      </p:sp>
    </p:spTree>
    <p:extLst>
      <p:ext uri="{BB962C8B-B14F-4D97-AF65-F5344CB8AC3E}">
        <p14:creationId xmlns:p14="http://schemas.microsoft.com/office/powerpoint/2010/main" val="547669877"/>
      </p:ext>
    </p:extLst>
  </p:cSld>
  <p:clrMapOvr>
    <a:masterClrMapping/>
  </p:clrMapOvr>
</p:sld>
</file>

<file path=ppt/slides/slide2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Mousseux Val De Loire | NICOLAS RHO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201</a:t>
            </a:fld>
            <a:endParaRPr lang="en-US"/>
          </a:p>
        </p:txBody>
      </p:sp>
    </p:spTree>
    <p:extLst>
      <p:ext uri="{BB962C8B-B14F-4D97-AF65-F5344CB8AC3E}">
        <p14:creationId xmlns:p14="http://schemas.microsoft.com/office/powerpoint/2010/main" val="3382803875"/>
      </p:ext>
    </p:extLst>
  </p:cSld>
  <p:clrMapOvr>
    <a:masterClrMapping/>
  </p:clrMapOvr>
</p:sld>
</file>

<file path=ppt/slides/slide2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Mousseux Val De Loire | NICOLAS AQU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202</a:t>
            </a:fld>
            <a:endParaRPr lang="en-US"/>
          </a:p>
        </p:txBody>
      </p:sp>
    </p:spTree>
    <p:extLst>
      <p:ext uri="{BB962C8B-B14F-4D97-AF65-F5344CB8AC3E}">
        <p14:creationId xmlns:p14="http://schemas.microsoft.com/office/powerpoint/2010/main" val="2450729657"/>
      </p:ext>
    </p:extLst>
  </p:cSld>
  <p:clrMapOvr>
    <a:masterClrMapping/>
  </p:clrMapOvr>
</p:sld>
</file>

<file path=ppt/slides/slide2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Mousseux Val De Loire | NICOLAS EST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203</a:t>
            </a:fld>
            <a:endParaRPr lang="en-US"/>
          </a:p>
        </p:txBody>
      </p:sp>
    </p:spTree>
    <p:extLst>
      <p:ext uri="{BB962C8B-B14F-4D97-AF65-F5344CB8AC3E}">
        <p14:creationId xmlns:p14="http://schemas.microsoft.com/office/powerpoint/2010/main" val="4080622625"/>
      </p:ext>
    </p:extLst>
  </p:cSld>
  <p:clrMapOvr>
    <a:masterClrMapping/>
  </p:clrMapOvr>
</p:sld>
</file>

<file path=ppt/slides/slide2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Mousseux Val De Loire | CA A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204</a:t>
            </a:fld>
            <a:endParaRPr lang="en-US"/>
          </a:p>
        </p:txBody>
      </p:sp>
    </p:spTree>
    <p:extLst>
      <p:ext uri="{BB962C8B-B14F-4D97-AF65-F5344CB8AC3E}">
        <p14:creationId xmlns:p14="http://schemas.microsoft.com/office/powerpoint/2010/main" val="1358176885"/>
      </p:ext>
    </p:extLst>
  </p:cSld>
  <p:clrMapOvr>
    <a:masterClrMapping/>
  </p:clrMapOvr>
</p:sld>
</file>

<file path=ppt/slides/slide2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Mousseux Val De Loire | CA B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205</a:t>
            </a:fld>
            <a:endParaRPr lang="en-US"/>
          </a:p>
        </p:txBody>
      </p:sp>
    </p:spTree>
    <p:extLst>
      <p:ext uri="{BB962C8B-B14F-4D97-AF65-F5344CB8AC3E}">
        <p14:creationId xmlns:p14="http://schemas.microsoft.com/office/powerpoint/2010/main" val="1380757470"/>
      </p:ext>
    </p:extLst>
  </p:cSld>
  <p:clrMapOvr>
    <a:masterClrMapping/>
  </p:clrMapOvr>
</p:sld>
</file>

<file path=ppt/slides/slide2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Mousseux Val De Loire | CA C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206</a:t>
            </a:fld>
            <a:endParaRPr lang="en-US"/>
          </a:p>
        </p:txBody>
      </p:sp>
    </p:spTree>
    <p:extLst>
      <p:ext uri="{BB962C8B-B14F-4D97-AF65-F5344CB8AC3E}">
        <p14:creationId xmlns:p14="http://schemas.microsoft.com/office/powerpoint/2010/main" val="3713752436"/>
      </p:ext>
    </p:extLst>
  </p:cSld>
  <p:clrMapOvr>
    <a:masterClrMapping/>
  </p:clrMapOvr>
</p:sld>
</file>

<file path=ppt/slides/slide2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Mousseux Val De Loire | CA D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207</a:t>
            </a:fld>
            <a:endParaRPr lang="en-US"/>
          </a:p>
        </p:txBody>
      </p:sp>
    </p:spTree>
    <p:extLst>
      <p:ext uri="{BB962C8B-B14F-4D97-AF65-F5344CB8AC3E}">
        <p14:creationId xmlns:p14="http://schemas.microsoft.com/office/powerpoint/2010/main" val="3625854708"/>
      </p:ext>
    </p:extLst>
  </p:cSld>
  <p:clrMapOvr>
    <a:masterClrMapping/>
  </p:clrMapOvr>
</p:sld>
</file>

<file path=ppt/slides/slide2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Mousseux Val De Loire | CA E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208</a:t>
            </a:fld>
            <a:endParaRPr lang="en-US"/>
          </a:p>
        </p:txBody>
      </p:sp>
    </p:spTree>
    <p:extLst>
      <p:ext uri="{BB962C8B-B14F-4D97-AF65-F5344CB8AC3E}">
        <p14:creationId xmlns:p14="http://schemas.microsoft.com/office/powerpoint/2010/main" val="2383588686"/>
      </p:ext>
    </p:extLst>
  </p:cSld>
  <p:clrMapOvr>
    <a:masterClrMapping/>
  </p:clrMapOvr>
</p:sld>
</file>

<file path=ppt/slides/slide2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Mousseux Alsace | NICOLAS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209</a:t>
            </a:fld>
            <a:endParaRPr lang="en-US"/>
          </a:p>
        </p:txBody>
      </p:sp>
    </p:spTree>
    <p:extLst>
      <p:ext uri="{BB962C8B-B14F-4D97-AF65-F5344CB8AC3E}">
        <p14:creationId xmlns:p14="http://schemas.microsoft.com/office/powerpoint/2010/main" val="316877586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Champagnes | NICOLAS QCA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21</a:t>
            </a:fld>
            <a:endParaRPr lang="en-US"/>
          </a:p>
        </p:txBody>
      </p:sp>
    </p:spTree>
    <p:extLst>
      <p:ext uri="{BB962C8B-B14F-4D97-AF65-F5344CB8AC3E}">
        <p14:creationId xmlns:p14="http://schemas.microsoft.com/office/powerpoint/2010/main" val="4204015864"/>
      </p:ext>
    </p:extLst>
  </p:cSld>
  <p:clrMapOvr>
    <a:masterClrMapping/>
  </p:clrMapOvr>
</p:sld>
</file>

<file path=ppt/slides/slide2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Mousseux Alsace | NICOLAS QCN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210</a:t>
            </a:fld>
            <a:endParaRPr lang="en-US"/>
          </a:p>
        </p:txBody>
      </p:sp>
    </p:spTree>
    <p:extLst>
      <p:ext uri="{BB962C8B-B14F-4D97-AF65-F5344CB8AC3E}">
        <p14:creationId xmlns:p14="http://schemas.microsoft.com/office/powerpoint/2010/main" val="1553926629"/>
      </p:ext>
    </p:extLst>
  </p:cSld>
  <p:clrMapOvr>
    <a:masterClrMapping/>
  </p:clrMapOvr>
</p:sld>
</file>

<file path=ppt/slides/slide2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Mousseux Alsace | NICOLAS VCN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211</a:t>
            </a:fld>
            <a:endParaRPr lang="en-US"/>
          </a:p>
        </p:txBody>
      </p:sp>
    </p:spTree>
    <p:extLst>
      <p:ext uri="{BB962C8B-B14F-4D97-AF65-F5344CB8AC3E}">
        <p14:creationId xmlns:p14="http://schemas.microsoft.com/office/powerpoint/2010/main" val="3062465284"/>
      </p:ext>
    </p:extLst>
  </p:cSld>
  <p:clrMapOvr>
    <a:masterClrMapping/>
  </p:clrMapOvr>
</p:sld>
</file>

<file path=ppt/slides/slide2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Mousseux Alsace | NICOLAS QCT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212</a:t>
            </a:fld>
            <a:endParaRPr lang="en-US"/>
          </a:p>
        </p:txBody>
      </p:sp>
    </p:spTree>
    <p:extLst>
      <p:ext uri="{BB962C8B-B14F-4D97-AF65-F5344CB8AC3E}">
        <p14:creationId xmlns:p14="http://schemas.microsoft.com/office/powerpoint/2010/main" val="4123493511"/>
      </p:ext>
    </p:extLst>
  </p:cSld>
  <p:clrMapOvr>
    <a:masterClrMapping/>
  </p:clrMapOvr>
</p:sld>
</file>

<file path=ppt/slides/slide2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Mousseux Alsace | NICOLAS QCA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213</a:t>
            </a:fld>
            <a:endParaRPr lang="en-US"/>
          </a:p>
        </p:txBody>
      </p:sp>
    </p:spTree>
    <p:extLst>
      <p:ext uri="{BB962C8B-B14F-4D97-AF65-F5344CB8AC3E}">
        <p14:creationId xmlns:p14="http://schemas.microsoft.com/office/powerpoint/2010/main" val="1991730179"/>
      </p:ext>
    </p:extLst>
  </p:cSld>
  <p:clrMapOvr>
    <a:masterClrMapping/>
  </p:clrMapOvr>
</p:sld>
</file>

<file path=ppt/slides/slide2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Mousseux Alsace | NICOLAS CCP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214</a:t>
            </a:fld>
            <a:endParaRPr lang="en-US"/>
          </a:p>
        </p:txBody>
      </p:sp>
    </p:spTree>
    <p:extLst>
      <p:ext uri="{BB962C8B-B14F-4D97-AF65-F5344CB8AC3E}">
        <p14:creationId xmlns:p14="http://schemas.microsoft.com/office/powerpoint/2010/main" val="285668723"/>
      </p:ext>
    </p:extLst>
  </p:cSld>
  <p:clrMapOvr>
    <a:masterClrMapping/>
  </p:clrMapOvr>
</p:sld>
</file>

<file path=ppt/slides/slide2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Mousseux Alsace | NICOLAS IDF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215</a:t>
            </a:fld>
            <a:endParaRPr lang="en-US"/>
          </a:p>
        </p:txBody>
      </p:sp>
    </p:spTree>
    <p:extLst>
      <p:ext uri="{BB962C8B-B14F-4D97-AF65-F5344CB8AC3E}">
        <p14:creationId xmlns:p14="http://schemas.microsoft.com/office/powerpoint/2010/main" val="3840020634"/>
      </p:ext>
    </p:extLst>
  </p:cSld>
  <p:clrMapOvr>
    <a:masterClrMapping/>
  </p:clrMapOvr>
</p:sld>
</file>

<file path=ppt/slides/slide2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Mousseux Alsace | NICOLAS PAC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216</a:t>
            </a:fld>
            <a:endParaRPr lang="en-US"/>
          </a:p>
        </p:txBody>
      </p:sp>
    </p:spTree>
    <p:extLst>
      <p:ext uri="{BB962C8B-B14F-4D97-AF65-F5344CB8AC3E}">
        <p14:creationId xmlns:p14="http://schemas.microsoft.com/office/powerpoint/2010/main" val="743103429"/>
      </p:ext>
    </p:extLst>
  </p:cSld>
  <p:clrMapOvr>
    <a:masterClrMapping/>
  </p:clrMapOvr>
</p:sld>
</file>

<file path=ppt/slides/slide2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Mousseux Alsace | NICOLAS RHO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217</a:t>
            </a:fld>
            <a:endParaRPr lang="en-US"/>
          </a:p>
        </p:txBody>
      </p:sp>
    </p:spTree>
    <p:extLst>
      <p:ext uri="{BB962C8B-B14F-4D97-AF65-F5344CB8AC3E}">
        <p14:creationId xmlns:p14="http://schemas.microsoft.com/office/powerpoint/2010/main" val="2615016368"/>
      </p:ext>
    </p:extLst>
  </p:cSld>
  <p:clrMapOvr>
    <a:masterClrMapping/>
  </p:clrMapOvr>
</p:sld>
</file>

<file path=ppt/slides/slide2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Mousseux Alsace | NICOLAS AQU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218</a:t>
            </a:fld>
            <a:endParaRPr lang="en-US"/>
          </a:p>
        </p:txBody>
      </p:sp>
    </p:spTree>
    <p:extLst>
      <p:ext uri="{BB962C8B-B14F-4D97-AF65-F5344CB8AC3E}">
        <p14:creationId xmlns:p14="http://schemas.microsoft.com/office/powerpoint/2010/main" val="2278035885"/>
      </p:ext>
    </p:extLst>
  </p:cSld>
  <p:clrMapOvr>
    <a:masterClrMapping/>
  </p:clrMapOvr>
</p:sld>
</file>

<file path=ppt/slides/slide2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Mousseux Alsace | NICOLAS EST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219</a:t>
            </a:fld>
            <a:endParaRPr lang="en-US"/>
          </a:p>
        </p:txBody>
      </p:sp>
    </p:spTree>
    <p:extLst>
      <p:ext uri="{BB962C8B-B14F-4D97-AF65-F5344CB8AC3E}">
        <p14:creationId xmlns:p14="http://schemas.microsoft.com/office/powerpoint/2010/main" val="125119016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Champagnes | NICOLAS CCP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22</a:t>
            </a:fld>
            <a:endParaRPr lang="en-US"/>
          </a:p>
        </p:txBody>
      </p:sp>
    </p:spTree>
    <p:extLst>
      <p:ext uri="{BB962C8B-B14F-4D97-AF65-F5344CB8AC3E}">
        <p14:creationId xmlns:p14="http://schemas.microsoft.com/office/powerpoint/2010/main" val="151455340"/>
      </p:ext>
    </p:extLst>
  </p:cSld>
  <p:clrMapOvr>
    <a:masterClrMapping/>
  </p:clrMapOvr>
</p:sld>
</file>

<file path=ppt/slides/slide2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Mousseux Alsace | CA A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220</a:t>
            </a:fld>
            <a:endParaRPr lang="en-US"/>
          </a:p>
        </p:txBody>
      </p:sp>
    </p:spTree>
    <p:extLst>
      <p:ext uri="{BB962C8B-B14F-4D97-AF65-F5344CB8AC3E}">
        <p14:creationId xmlns:p14="http://schemas.microsoft.com/office/powerpoint/2010/main" val="941875883"/>
      </p:ext>
    </p:extLst>
  </p:cSld>
  <p:clrMapOvr>
    <a:masterClrMapping/>
  </p:clrMapOvr>
</p:sld>
</file>

<file path=ppt/slides/slide2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Mousseux Alsace | CA B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221</a:t>
            </a:fld>
            <a:endParaRPr lang="en-US"/>
          </a:p>
        </p:txBody>
      </p:sp>
    </p:spTree>
    <p:extLst>
      <p:ext uri="{BB962C8B-B14F-4D97-AF65-F5344CB8AC3E}">
        <p14:creationId xmlns:p14="http://schemas.microsoft.com/office/powerpoint/2010/main" val="2525243353"/>
      </p:ext>
    </p:extLst>
  </p:cSld>
  <p:clrMapOvr>
    <a:masterClrMapping/>
  </p:clrMapOvr>
</p:sld>
</file>

<file path=ppt/slides/slide2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Mousseux Alsace | CA C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222</a:t>
            </a:fld>
            <a:endParaRPr lang="en-US"/>
          </a:p>
        </p:txBody>
      </p:sp>
    </p:spTree>
    <p:extLst>
      <p:ext uri="{BB962C8B-B14F-4D97-AF65-F5344CB8AC3E}">
        <p14:creationId xmlns:p14="http://schemas.microsoft.com/office/powerpoint/2010/main" val="2733120335"/>
      </p:ext>
    </p:extLst>
  </p:cSld>
  <p:clrMapOvr>
    <a:masterClrMapping/>
  </p:clrMapOvr>
</p:sld>
</file>

<file path=ppt/slides/slide2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Mousseux Alsace | CA D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223</a:t>
            </a:fld>
            <a:endParaRPr lang="en-US"/>
          </a:p>
        </p:txBody>
      </p:sp>
    </p:spTree>
    <p:extLst>
      <p:ext uri="{BB962C8B-B14F-4D97-AF65-F5344CB8AC3E}">
        <p14:creationId xmlns:p14="http://schemas.microsoft.com/office/powerpoint/2010/main" val="226638568"/>
      </p:ext>
    </p:extLst>
  </p:cSld>
  <p:clrMapOvr>
    <a:masterClrMapping/>
  </p:clrMapOvr>
</p:sld>
</file>

<file path=ppt/slides/slide2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Mousseux Alsace | CA E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224</a:t>
            </a:fld>
            <a:endParaRPr lang="en-US"/>
          </a:p>
        </p:txBody>
      </p:sp>
    </p:spTree>
    <p:extLst>
      <p:ext uri="{BB962C8B-B14F-4D97-AF65-F5344CB8AC3E}">
        <p14:creationId xmlns:p14="http://schemas.microsoft.com/office/powerpoint/2010/main" val="1225805838"/>
      </p:ext>
    </p:extLst>
  </p:cSld>
  <p:clrMapOvr>
    <a:masterClrMapping/>
  </p:clrMapOvr>
</p:sld>
</file>

<file path=ppt/slides/slide2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Mousseux Bordelais | NICOLAS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225</a:t>
            </a:fld>
            <a:endParaRPr lang="en-US"/>
          </a:p>
        </p:txBody>
      </p:sp>
    </p:spTree>
    <p:extLst>
      <p:ext uri="{BB962C8B-B14F-4D97-AF65-F5344CB8AC3E}">
        <p14:creationId xmlns:p14="http://schemas.microsoft.com/office/powerpoint/2010/main" val="3484318145"/>
      </p:ext>
    </p:extLst>
  </p:cSld>
  <p:clrMapOvr>
    <a:masterClrMapping/>
  </p:clrMapOvr>
</p:sld>
</file>

<file path=ppt/slides/slide2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Mousseux Bordelais | NICOLAS QCN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226</a:t>
            </a:fld>
            <a:endParaRPr lang="en-US"/>
          </a:p>
        </p:txBody>
      </p:sp>
    </p:spTree>
    <p:extLst>
      <p:ext uri="{BB962C8B-B14F-4D97-AF65-F5344CB8AC3E}">
        <p14:creationId xmlns:p14="http://schemas.microsoft.com/office/powerpoint/2010/main" val="3214286302"/>
      </p:ext>
    </p:extLst>
  </p:cSld>
  <p:clrMapOvr>
    <a:masterClrMapping/>
  </p:clrMapOvr>
</p:sld>
</file>

<file path=ppt/slides/slide2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Mousseux Bordelais | NICOLAS VCN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227</a:t>
            </a:fld>
            <a:endParaRPr lang="en-US"/>
          </a:p>
        </p:txBody>
      </p:sp>
    </p:spTree>
    <p:extLst>
      <p:ext uri="{BB962C8B-B14F-4D97-AF65-F5344CB8AC3E}">
        <p14:creationId xmlns:p14="http://schemas.microsoft.com/office/powerpoint/2010/main" val="69185832"/>
      </p:ext>
    </p:extLst>
  </p:cSld>
  <p:clrMapOvr>
    <a:masterClrMapping/>
  </p:clrMapOvr>
</p:sld>
</file>

<file path=ppt/slides/slide2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Mousseux Bordelais | NICOLAS QCT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228</a:t>
            </a:fld>
            <a:endParaRPr lang="en-US"/>
          </a:p>
        </p:txBody>
      </p:sp>
    </p:spTree>
    <p:extLst>
      <p:ext uri="{BB962C8B-B14F-4D97-AF65-F5344CB8AC3E}">
        <p14:creationId xmlns:p14="http://schemas.microsoft.com/office/powerpoint/2010/main" val="2233913998"/>
      </p:ext>
    </p:extLst>
  </p:cSld>
  <p:clrMapOvr>
    <a:masterClrMapping/>
  </p:clrMapOvr>
</p:sld>
</file>

<file path=ppt/slides/slide2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Mousseux Bordelais | NICOLAS QCA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229</a:t>
            </a:fld>
            <a:endParaRPr lang="en-US"/>
          </a:p>
        </p:txBody>
      </p:sp>
    </p:spTree>
    <p:extLst>
      <p:ext uri="{BB962C8B-B14F-4D97-AF65-F5344CB8AC3E}">
        <p14:creationId xmlns:p14="http://schemas.microsoft.com/office/powerpoint/2010/main" val="388825699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Champagnes | NICOLAS IDF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23</a:t>
            </a:fld>
            <a:endParaRPr lang="en-US"/>
          </a:p>
        </p:txBody>
      </p:sp>
    </p:spTree>
    <p:extLst>
      <p:ext uri="{BB962C8B-B14F-4D97-AF65-F5344CB8AC3E}">
        <p14:creationId xmlns:p14="http://schemas.microsoft.com/office/powerpoint/2010/main" val="3230377270"/>
      </p:ext>
    </p:extLst>
  </p:cSld>
  <p:clrMapOvr>
    <a:masterClrMapping/>
  </p:clrMapOvr>
</p:sld>
</file>

<file path=ppt/slides/slide2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Mousseux Bordelais | NICOLAS CCP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230</a:t>
            </a:fld>
            <a:endParaRPr lang="en-US"/>
          </a:p>
        </p:txBody>
      </p:sp>
    </p:spTree>
    <p:extLst>
      <p:ext uri="{BB962C8B-B14F-4D97-AF65-F5344CB8AC3E}">
        <p14:creationId xmlns:p14="http://schemas.microsoft.com/office/powerpoint/2010/main" val="2232544780"/>
      </p:ext>
    </p:extLst>
  </p:cSld>
  <p:clrMapOvr>
    <a:masterClrMapping/>
  </p:clrMapOvr>
</p:sld>
</file>

<file path=ppt/slides/slide2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Mousseux Bordelais | NICOLAS IDF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231</a:t>
            </a:fld>
            <a:endParaRPr lang="en-US"/>
          </a:p>
        </p:txBody>
      </p:sp>
    </p:spTree>
    <p:extLst>
      <p:ext uri="{BB962C8B-B14F-4D97-AF65-F5344CB8AC3E}">
        <p14:creationId xmlns:p14="http://schemas.microsoft.com/office/powerpoint/2010/main" val="4045476078"/>
      </p:ext>
    </p:extLst>
  </p:cSld>
  <p:clrMapOvr>
    <a:masterClrMapping/>
  </p:clrMapOvr>
</p:sld>
</file>

<file path=ppt/slides/slide2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Mousseux Bordelais | NICOLAS PAC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232</a:t>
            </a:fld>
            <a:endParaRPr lang="en-US"/>
          </a:p>
        </p:txBody>
      </p:sp>
    </p:spTree>
    <p:extLst>
      <p:ext uri="{BB962C8B-B14F-4D97-AF65-F5344CB8AC3E}">
        <p14:creationId xmlns:p14="http://schemas.microsoft.com/office/powerpoint/2010/main" val="2936557357"/>
      </p:ext>
    </p:extLst>
  </p:cSld>
  <p:clrMapOvr>
    <a:masterClrMapping/>
  </p:clrMapOvr>
</p:sld>
</file>

<file path=ppt/slides/slide2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Mousseux Bordelais | NICOLAS RHO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233</a:t>
            </a:fld>
            <a:endParaRPr lang="en-US"/>
          </a:p>
        </p:txBody>
      </p:sp>
    </p:spTree>
    <p:extLst>
      <p:ext uri="{BB962C8B-B14F-4D97-AF65-F5344CB8AC3E}">
        <p14:creationId xmlns:p14="http://schemas.microsoft.com/office/powerpoint/2010/main" val="1239993340"/>
      </p:ext>
    </p:extLst>
  </p:cSld>
  <p:clrMapOvr>
    <a:masterClrMapping/>
  </p:clrMapOvr>
</p:sld>
</file>

<file path=ppt/slides/slide2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Mousseux Bordelais | NICOLAS AQU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234</a:t>
            </a:fld>
            <a:endParaRPr lang="en-US"/>
          </a:p>
        </p:txBody>
      </p:sp>
    </p:spTree>
    <p:extLst>
      <p:ext uri="{BB962C8B-B14F-4D97-AF65-F5344CB8AC3E}">
        <p14:creationId xmlns:p14="http://schemas.microsoft.com/office/powerpoint/2010/main" val="2360431643"/>
      </p:ext>
    </p:extLst>
  </p:cSld>
  <p:clrMapOvr>
    <a:masterClrMapping/>
  </p:clrMapOvr>
</p:sld>
</file>

<file path=ppt/slides/slide2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Mousseux Bordelais | NICOLAS EST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235</a:t>
            </a:fld>
            <a:endParaRPr lang="en-US"/>
          </a:p>
        </p:txBody>
      </p:sp>
    </p:spTree>
    <p:extLst>
      <p:ext uri="{BB962C8B-B14F-4D97-AF65-F5344CB8AC3E}">
        <p14:creationId xmlns:p14="http://schemas.microsoft.com/office/powerpoint/2010/main" val="1588591967"/>
      </p:ext>
    </p:extLst>
  </p:cSld>
  <p:clrMapOvr>
    <a:masterClrMapping/>
  </p:clrMapOvr>
</p:sld>
</file>

<file path=ppt/slides/slide2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Mousseux Bordelais | CA A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236</a:t>
            </a:fld>
            <a:endParaRPr lang="en-US"/>
          </a:p>
        </p:txBody>
      </p:sp>
    </p:spTree>
    <p:extLst>
      <p:ext uri="{BB962C8B-B14F-4D97-AF65-F5344CB8AC3E}">
        <p14:creationId xmlns:p14="http://schemas.microsoft.com/office/powerpoint/2010/main" val="3304152888"/>
      </p:ext>
    </p:extLst>
  </p:cSld>
  <p:clrMapOvr>
    <a:masterClrMapping/>
  </p:clrMapOvr>
</p:sld>
</file>

<file path=ppt/slides/slide2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Mousseux Bordelais | CA B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237</a:t>
            </a:fld>
            <a:endParaRPr lang="en-US"/>
          </a:p>
        </p:txBody>
      </p:sp>
    </p:spTree>
    <p:extLst>
      <p:ext uri="{BB962C8B-B14F-4D97-AF65-F5344CB8AC3E}">
        <p14:creationId xmlns:p14="http://schemas.microsoft.com/office/powerpoint/2010/main" val="3341854783"/>
      </p:ext>
    </p:extLst>
  </p:cSld>
  <p:clrMapOvr>
    <a:masterClrMapping/>
  </p:clrMapOvr>
</p:sld>
</file>

<file path=ppt/slides/slide2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Mousseux Bordelais | CA C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238</a:t>
            </a:fld>
            <a:endParaRPr lang="en-US"/>
          </a:p>
        </p:txBody>
      </p:sp>
    </p:spTree>
    <p:extLst>
      <p:ext uri="{BB962C8B-B14F-4D97-AF65-F5344CB8AC3E}">
        <p14:creationId xmlns:p14="http://schemas.microsoft.com/office/powerpoint/2010/main" val="2244237923"/>
      </p:ext>
    </p:extLst>
  </p:cSld>
  <p:clrMapOvr>
    <a:masterClrMapping/>
  </p:clrMapOvr>
</p:sld>
</file>

<file path=ppt/slides/slide2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Mousseux Bordelais | CA D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239</a:t>
            </a:fld>
            <a:endParaRPr lang="en-US"/>
          </a:p>
        </p:txBody>
      </p:sp>
    </p:spTree>
    <p:extLst>
      <p:ext uri="{BB962C8B-B14F-4D97-AF65-F5344CB8AC3E}">
        <p14:creationId xmlns:p14="http://schemas.microsoft.com/office/powerpoint/2010/main" val="5761779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Champagnes | NICOLAS PAC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24</a:t>
            </a:fld>
            <a:endParaRPr lang="en-US"/>
          </a:p>
        </p:txBody>
      </p:sp>
    </p:spTree>
    <p:extLst>
      <p:ext uri="{BB962C8B-B14F-4D97-AF65-F5344CB8AC3E}">
        <p14:creationId xmlns:p14="http://schemas.microsoft.com/office/powerpoint/2010/main" val="968708048"/>
      </p:ext>
    </p:extLst>
  </p:cSld>
  <p:clrMapOvr>
    <a:masterClrMapping/>
  </p:clrMapOvr>
</p:sld>
</file>

<file path=ppt/slides/slide2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Mousseux Bordelais | CA E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240</a:t>
            </a:fld>
            <a:endParaRPr lang="en-US"/>
          </a:p>
        </p:txBody>
      </p:sp>
    </p:spTree>
    <p:extLst>
      <p:ext uri="{BB962C8B-B14F-4D97-AF65-F5344CB8AC3E}">
        <p14:creationId xmlns:p14="http://schemas.microsoft.com/office/powerpoint/2010/main" val="1077572333"/>
      </p:ext>
    </p:extLst>
  </p:cSld>
  <p:clrMapOvr>
    <a:masterClrMapping/>
  </p:clrMapOvr>
</p:sld>
</file>

<file path=ppt/slides/slide2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Effervescents | NICOLAS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58</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15</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3</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241</a:t>
            </a:fld>
            <a:endParaRPr lang="en-US"/>
          </a:p>
        </p:txBody>
      </p:sp>
    </p:spTree>
    <p:extLst>
      <p:ext uri="{BB962C8B-B14F-4D97-AF65-F5344CB8AC3E}">
        <p14:creationId xmlns:p14="http://schemas.microsoft.com/office/powerpoint/2010/main" val="2986081510"/>
      </p:ext>
    </p:extLst>
  </p:cSld>
  <p:clrMapOvr>
    <a:masterClrMapping/>
  </p:clrMapOvr>
</p:sld>
</file>

<file path=ppt/slides/slide2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Effervescents | NICOLAS QCN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56</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15</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3</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242</a:t>
            </a:fld>
            <a:endParaRPr lang="en-US"/>
          </a:p>
        </p:txBody>
      </p:sp>
    </p:spTree>
    <p:extLst>
      <p:ext uri="{BB962C8B-B14F-4D97-AF65-F5344CB8AC3E}">
        <p14:creationId xmlns:p14="http://schemas.microsoft.com/office/powerpoint/2010/main" val="1495863182"/>
      </p:ext>
    </p:extLst>
  </p:cSld>
  <p:clrMapOvr>
    <a:masterClrMapping/>
  </p:clrMapOvr>
</p:sld>
</file>

<file path=ppt/slides/slide2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Effervescents | NICOLAS VCN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59</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15</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3</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243</a:t>
            </a:fld>
            <a:endParaRPr lang="en-US"/>
          </a:p>
        </p:txBody>
      </p:sp>
    </p:spTree>
    <p:extLst>
      <p:ext uri="{BB962C8B-B14F-4D97-AF65-F5344CB8AC3E}">
        <p14:creationId xmlns:p14="http://schemas.microsoft.com/office/powerpoint/2010/main" val="272102986"/>
      </p:ext>
    </p:extLst>
  </p:cSld>
  <p:clrMapOvr>
    <a:masterClrMapping/>
  </p:clrMapOvr>
</p:sld>
</file>

<file path=ppt/slides/slide2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Effervescents | NICOLAS QCT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60</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16</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4</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244</a:t>
            </a:fld>
            <a:endParaRPr lang="en-US"/>
          </a:p>
        </p:txBody>
      </p:sp>
    </p:spTree>
    <p:extLst>
      <p:ext uri="{BB962C8B-B14F-4D97-AF65-F5344CB8AC3E}">
        <p14:creationId xmlns:p14="http://schemas.microsoft.com/office/powerpoint/2010/main" val="2209208389"/>
      </p:ext>
    </p:extLst>
  </p:cSld>
  <p:clrMapOvr>
    <a:masterClrMapping/>
  </p:clrMapOvr>
</p:sld>
</file>

<file path=ppt/slides/slide2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Effervescents | NICOLAS QCA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54</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14</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3</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245</a:t>
            </a:fld>
            <a:endParaRPr lang="en-US"/>
          </a:p>
        </p:txBody>
      </p:sp>
    </p:spTree>
    <p:extLst>
      <p:ext uri="{BB962C8B-B14F-4D97-AF65-F5344CB8AC3E}">
        <p14:creationId xmlns:p14="http://schemas.microsoft.com/office/powerpoint/2010/main" val="1628350027"/>
      </p:ext>
    </p:extLst>
  </p:cSld>
  <p:clrMapOvr>
    <a:masterClrMapping/>
  </p:clrMapOvr>
</p:sld>
</file>

<file path=ppt/slides/slide2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Effervescents | NICOLAS CCP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57</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16</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3</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246</a:t>
            </a:fld>
            <a:endParaRPr lang="en-US"/>
          </a:p>
        </p:txBody>
      </p:sp>
    </p:spTree>
    <p:extLst>
      <p:ext uri="{BB962C8B-B14F-4D97-AF65-F5344CB8AC3E}">
        <p14:creationId xmlns:p14="http://schemas.microsoft.com/office/powerpoint/2010/main" val="742597686"/>
      </p:ext>
    </p:extLst>
  </p:cSld>
  <p:clrMapOvr>
    <a:masterClrMapping/>
  </p:clrMapOvr>
</p:sld>
</file>

<file path=ppt/slides/slide2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Effervescents | NICOLAS IDF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56</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15</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3</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247</a:t>
            </a:fld>
            <a:endParaRPr lang="en-US"/>
          </a:p>
        </p:txBody>
      </p:sp>
    </p:spTree>
    <p:extLst>
      <p:ext uri="{BB962C8B-B14F-4D97-AF65-F5344CB8AC3E}">
        <p14:creationId xmlns:p14="http://schemas.microsoft.com/office/powerpoint/2010/main" val="168904516"/>
      </p:ext>
    </p:extLst>
  </p:cSld>
  <p:clrMapOvr>
    <a:masterClrMapping/>
  </p:clrMapOvr>
</p:sld>
</file>

<file path=ppt/slides/slide2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Effervescents | NICOLAS PAC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50</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14</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3</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248</a:t>
            </a:fld>
            <a:endParaRPr lang="en-US"/>
          </a:p>
        </p:txBody>
      </p:sp>
    </p:spTree>
    <p:extLst>
      <p:ext uri="{BB962C8B-B14F-4D97-AF65-F5344CB8AC3E}">
        <p14:creationId xmlns:p14="http://schemas.microsoft.com/office/powerpoint/2010/main" val="1996897914"/>
      </p:ext>
    </p:extLst>
  </p:cSld>
  <p:clrMapOvr>
    <a:masterClrMapping/>
  </p:clrMapOvr>
</p:sld>
</file>

<file path=ppt/slides/slide2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Effervescents | NICOLAS RHO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58</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17</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4</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249</a:t>
            </a:fld>
            <a:endParaRPr lang="en-US"/>
          </a:p>
        </p:txBody>
      </p:sp>
    </p:spTree>
    <p:extLst>
      <p:ext uri="{BB962C8B-B14F-4D97-AF65-F5344CB8AC3E}">
        <p14:creationId xmlns:p14="http://schemas.microsoft.com/office/powerpoint/2010/main" val="276866974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Champagnes | NICOLAS RHO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25</a:t>
            </a:fld>
            <a:endParaRPr lang="en-US"/>
          </a:p>
        </p:txBody>
      </p:sp>
    </p:spTree>
    <p:extLst>
      <p:ext uri="{BB962C8B-B14F-4D97-AF65-F5344CB8AC3E}">
        <p14:creationId xmlns:p14="http://schemas.microsoft.com/office/powerpoint/2010/main" val="3476095542"/>
      </p:ext>
    </p:extLst>
  </p:cSld>
  <p:clrMapOvr>
    <a:masterClrMapping/>
  </p:clrMapOvr>
</p:sld>
</file>

<file path=ppt/slides/slide2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Effervescents | NICOLAS AQU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53</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15</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3</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250</a:t>
            </a:fld>
            <a:endParaRPr lang="en-US"/>
          </a:p>
        </p:txBody>
      </p:sp>
    </p:spTree>
    <p:extLst>
      <p:ext uri="{BB962C8B-B14F-4D97-AF65-F5344CB8AC3E}">
        <p14:creationId xmlns:p14="http://schemas.microsoft.com/office/powerpoint/2010/main" val="4022534887"/>
      </p:ext>
    </p:extLst>
  </p:cSld>
  <p:clrMapOvr>
    <a:masterClrMapping/>
  </p:clrMapOvr>
</p:sld>
</file>

<file path=ppt/slides/slide2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Effervescents | NICOLAS EST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72</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22</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5</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251</a:t>
            </a:fld>
            <a:endParaRPr lang="en-US"/>
          </a:p>
        </p:txBody>
      </p:sp>
    </p:spTree>
    <p:extLst>
      <p:ext uri="{BB962C8B-B14F-4D97-AF65-F5344CB8AC3E}">
        <p14:creationId xmlns:p14="http://schemas.microsoft.com/office/powerpoint/2010/main" val="1751390636"/>
      </p:ext>
    </p:extLst>
  </p:cSld>
  <p:clrMapOvr>
    <a:masterClrMapping/>
  </p:clrMapOvr>
</p:sld>
</file>

<file path=ppt/slides/slide2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Effervescents | CA A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62</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17</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4</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252</a:t>
            </a:fld>
            <a:endParaRPr lang="en-US"/>
          </a:p>
        </p:txBody>
      </p:sp>
    </p:spTree>
    <p:extLst>
      <p:ext uri="{BB962C8B-B14F-4D97-AF65-F5344CB8AC3E}">
        <p14:creationId xmlns:p14="http://schemas.microsoft.com/office/powerpoint/2010/main" val="2696166198"/>
      </p:ext>
    </p:extLst>
  </p:cSld>
  <p:clrMapOvr>
    <a:masterClrMapping/>
  </p:clrMapOvr>
</p:sld>
</file>

<file path=ppt/slides/slide2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Effervescents | CA B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55</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15</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3</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253</a:t>
            </a:fld>
            <a:endParaRPr lang="en-US"/>
          </a:p>
        </p:txBody>
      </p:sp>
    </p:spTree>
    <p:extLst>
      <p:ext uri="{BB962C8B-B14F-4D97-AF65-F5344CB8AC3E}">
        <p14:creationId xmlns:p14="http://schemas.microsoft.com/office/powerpoint/2010/main" val="3831393704"/>
      </p:ext>
    </p:extLst>
  </p:cSld>
  <p:clrMapOvr>
    <a:masterClrMapping/>
  </p:clrMapOvr>
</p:sld>
</file>

<file path=ppt/slides/slide2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Effervescents | CA C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55</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15</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3</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254</a:t>
            </a:fld>
            <a:endParaRPr lang="en-US"/>
          </a:p>
        </p:txBody>
      </p:sp>
    </p:spTree>
    <p:extLst>
      <p:ext uri="{BB962C8B-B14F-4D97-AF65-F5344CB8AC3E}">
        <p14:creationId xmlns:p14="http://schemas.microsoft.com/office/powerpoint/2010/main" val="3267110901"/>
      </p:ext>
    </p:extLst>
  </p:cSld>
  <p:clrMapOvr>
    <a:masterClrMapping/>
  </p:clrMapOvr>
</p:sld>
</file>

<file path=ppt/slides/slide2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Effervescents | CA D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56</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14</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3</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255</a:t>
            </a:fld>
            <a:endParaRPr lang="en-US"/>
          </a:p>
        </p:txBody>
      </p:sp>
    </p:spTree>
    <p:extLst>
      <p:ext uri="{BB962C8B-B14F-4D97-AF65-F5344CB8AC3E}">
        <p14:creationId xmlns:p14="http://schemas.microsoft.com/office/powerpoint/2010/main" val="2606222196"/>
      </p:ext>
    </p:extLst>
  </p:cSld>
  <p:clrMapOvr>
    <a:masterClrMapping/>
  </p:clrMapOvr>
</p:sld>
</file>

<file path=ppt/slides/slide2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Effervescents | CA E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57</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15</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3</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256</a:t>
            </a:fld>
            <a:endParaRPr lang="en-US"/>
          </a:p>
        </p:txBody>
      </p:sp>
    </p:spTree>
    <p:extLst>
      <p:ext uri="{BB962C8B-B14F-4D97-AF65-F5344CB8AC3E}">
        <p14:creationId xmlns:p14="http://schemas.microsoft.com/office/powerpoint/2010/main" val="2450671213"/>
      </p:ext>
    </p:extLst>
  </p:cSld>
  <p:clrMapOvr>
    <a:masterClrMapping/>
  </p:clrMapOvr>
</p:sld>
</file>

<file path=ppt/slides/slide2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Champagnes | NICOLAS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47</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13</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3</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257</a:t>
            </a:fld>
            <a:endParaRPr lang="en-US"/>
          </a:p>
        </p:txBody>
      </p:sp>
    </p:spTree>
    <p:extLst>
      <p:ext uri="{BB962C8B-B14F-4D97-AF65-F5344CB8AC3E}">
        <p14:creationId xmlns:p14="http://schemas.microsoft.com/office/powerpoint/2010/main" val="3860596710"/>
      </p:ext>
    </p:extLst>
  </p:cSld>
  <p:clrMapOvr>
    <a:masterClrMapping/>
  </p:clrMapOvr>
</p:sld>
</file>

<file path=ppt/slides/slide2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Champagnes | NICOLAS QCN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45</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13</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3</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258</a:t>
            </a:fld>
            <a:endParaRPr lang="en-US"/>
          </a:p>
        </p:txBody>
      </p:sp>
    </p:spTree>
    <p:extLst>
      <p:ext uri="{BB962C8B-B14F-4D97-AF65-F5344CB8AC3E}">
        <p14:creationId xmlns:p14="http://schemas.microsoft.com/office/powerpoint/2010/main" val="2615231398"/>
      </p:ext>
    </p:extLst>
  </p:cSld>
  <p:clrMapOvr>
    <a:masterClrMapping/>
  </p:clrMapOvr>
</p:sld>
</file>

<file path=ppt/slides/slide2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Champagnes | NICOLAS VCN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48</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13</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3</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259</a:t>
            </a:fld>
            <a:endParaRPr lang="en-US"/>
          </a:p>
        </p:txBody>
      </p:sp>
    </p:spTree>
    <p:extLst>
      <p:ext uri="{BB962C8B-B14F-4D97-AF65-F5344CB8AC3E}">
        <p14:creationId xmlns:p14="http://schemas.microsoft.com/office/powerpoint/2010/main" val="324099562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Champagnes | NICOLAS AQU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26</a:t>
            </a:fld>
            <a:endParaRPr lang="en-US"/>
          </a:p>
        </p:txBody>
      </p:sp>
    </p:spTree>
    <p:extLst>
      <p:ext uri="{BB962C8B-B14F-4D97-AF65-F5344CB8AC3E}">
        <p14:creationId xmlns:p14="http://schemas.microsoft.com/office/powerpoint/2010/main" val="440928800"/>
      </p:ext>
    </p:extLst>
  </p:cSld>
  <p:clrMapOvr>
    <a:masterClrMapping/>
  </p:clrMapOvr>
</p:sld>
</file>

<file path=ppt/slides/slide2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Champagnes | NICOLAS QCT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50</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14</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3</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260</a:t>
            </a:fld>
            <a:endParaRPr lang="en-US"/>
          </a:p>
        </p:txBody>
      </p:sp>
    </p:spTree>
    <p:extLst>
      <p:ext uri="{BB962C8B-B14F-4D97-AF65-F5344CB8AC3E}">
        <p14:creationId xmlns:p14="http://schemas.microsoft.com/office/powerpoint/2010/main" val="1358464961"/>
      </p:ext>
    </p:extLst>
  </p:cSld>
  <p:clrMapOvr>
    <a:masterClrMapping/>
  </p:clrMapOvr>
</p:sld>
</file>

<file path=ppt/slides/slide2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Champagnes | NICOLAS QCA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46</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13</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3</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261</a:t>
            </a:fld>
            <a:endParaRPr lang="en-US"/>
          </a:p>
        </p:txBody>
      </p:sp>
    </p:spTree>
    <p:extLst>
      <p:ext uri="{BB962C8B-B14F-4D97-AF65-F5344CB8AC3E}">
        <p14:creationId xmlns:p14="http://schemas.microsoft.com/office/powerpoint/2010/main" val="1577740682"/>
      </p:ext>
    </p:extLst>
  </p:cSld>
  <p:clrMapOvr>
    <a:masterClrMapping/>
  </p:clrMapOvr>
</p:sld>
</file>

<file path=ppt/slides/slide2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Champagnes | NICOLAS CCP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45</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13</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3</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262</a:t>
            </a:fld>
            <a:endParaRPr lang="en-US"/>
          </a:p>
        </p:txBody>
      </p:sp>
    </p:spTree>
    <p:extLst>
      <p:ext uri="{BB962C8B-B14F-4D97-AF65-F5344CB8AC3E}">
        <p14:creationId xmlns:p14="http://schemas.microsoft.com/office/powerpoint/2010/main" val="2339347969"/>
      </p:ext>
    </p:extLst>
  </p:cSld>
  <p:clrMapOvr>
    <a:masterClrMapping/>
  </p:clrMapOvr>
</p:sld>
</file>

<file path=ppt/slides/slide2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Champagnes | NICOLAS IDF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47</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13</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3</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263</a:t>
            </a:fld>
            <a:endParaRPr lang="en-US"/>
          </a:p>
        </p:txBody>
      </p:sp>
    </p:spTree>
    <p:extLst>
      <p:ext uri="{BB962C8B-B14F-4D97-AF65-F5344CB8AC3E}">
        <p14:creationId xmlns:p14="http://schemas.microsoft.com/office/powerpoint/2010/main" val="1835050342"/>
      </p:ext>
    </p:extLst>
  </p:cSld>
  <p:clrMapOvr>
    <a:masterClrMapping/>
  </p:clrMapOvr>
</p:sld>
</file>

<file path=ppt/slides/slide2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Champagnes | NICOLAS PAC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42</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12</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3</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264</a:t>
            </a:fld>
            <a:endParaRPr lang="en-US"/>
          </a:p>
        </p:txBody>
      </p:sp>
    </p:spTree>
    <p:extLst>
      <p:ext uri="{BB962C8B-B14F-4D97-AF65-F5344CB8AC3E}">
        <p14:creationId xmlns:p14="http://schemas.microsoft.com/office/powerpoint/2010/main" val="307977308"/>
      </p:ext>
    </p:extLst>
  </p:cSld>
  <p:clrMapOvr>
    <a:masterClrMapping/>
  </p:clrMapOvr>
</p:sld>
</file>

<file path=ppt/slides/slide2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Champagnes | NICOLAS RHO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47</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14</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3</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265</a:t>
            </a:fld>
            <a:endParaRPr lang="en-US"/>
          </a:p>
        </p:txBody>
      </p:sp>
    </p:spTree>
    <p:extLst>
      <p:ext uri="{BB962C8B-B14F-4D97-AF65-F5344CB8AC3E}">
        <p14:creationId xmlns:p14="http://schemas.microsoft.com/office/powerpoint/2010/main" val="586564156"/>
      </p:ext>
    </p:extLst>
  </p:cSld>
  <p:clrMapOvr>
    <a:masterClrMapping/>
  </p:clrMapOvr>
</p:sld>
</file>

<file path=ppt/slides/slide2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Champagnes | NICOLAS AQU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42</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12</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3</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266</a:t>
            </a:fld>
            <a:endParaRPr lang="en-US"/>
          </a:p>
        </p:txBody>
      </p:sp>
    </p:spTree>
    <p:extLst>
      <p:ext uri="{BB962C8B-B14F-4D97-AF65-F5344CB8AC3E}">
        <p14:creationId xmlns:p14="http://schemas.microsoft.com/office/powerpoint/2010/main" val="1717963269"/>
      </p:ext>
    </p:extLst>
  </p:cSld>
  <p:clrMapOvr>
    <a:masterClrMapping/>
  </p:clrMapOvr>
</p:sld>
</file>

<file path=ppt/slides/slide2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Champagnes | NICOLAS EST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63</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19</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4</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267</a:t>
            </a:fld>
            <a:endParaRPr lang="en-US"/>
          </a:p>
        </p:txBody>
      </p:sp>
    </p:spTree>
    <p:extLst>
      <p:ext uri="{BB962C8B-B14F-4D97-AF65-F5344CB8AC3E}">
        <p14:creationId xmlns:p14="http://schemas.microsoft.com/office/powerpoint/2010/main" val="4055161777"/>
      </p:ext>
    </p:extLst>
  </p:cSld>
  <p:clrMapOvr>
    <a:masterClrMapping/>
  </p:clrMapOvr>
</p:sld>
</file>

<file path=ppt/slides/slide2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Champagnes | CA A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52</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15</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3</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268</a:t>
            </a:fld>
            <a:endParaRPr lang="en-US"/>
          </a:p>
        </p:txBody>
      </p:sp>
    </p:spTree>
    <p:extLst>
      <p:ext uri="{BB962C8B-B14F-4D97-AF65-F5344CB8AC3E}">
        <p14:creationId xmlns:p14="http://schemas.microsoft.com/office/powerpoint/2010/main" val="4223017878"/>
      </p:ext>
    </p:extLst>
  </p:cSld>
  <p:clrMapOvr>
    <a:masterClrMapping/>
  </p:clrMapOvr>
</p:sld>
</file>

<file path=ppt/slides/slide2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Champagnes | CA B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44</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13</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3</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269</a:t>
            </a:fld>
            <a:endParaRPr lang="en-US"/>
          </a:p>
        </p:txBody>
      </p:sp>
    </p:spTree>
    <p:extLst>
      <p:ext uri="{BB962C8B-B14F-4D97-AF65-F5344CB8AC3E}">
        <p14:creationId xmlns:p14="http://schemas.microsoft.com/office/powerpoint/2010/main" val="2773461435"/>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Champagnes | NICOLAS EST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27</a:t>
            </a:fld>
            <a:endParaRPr lang="en-US"/>
          </a:p>
        </p:txBody>
      </p:sp>
    </p:spTree>
    <p:extLst>
      <p:ext uri="{BB962C8B-B14F-4D97-AF65-F5344CB8AC3E}">
        <p14:creationId xmlns:p14="http://schemas.microsoft.com/office/powerpoint/2010/main" val="1271936480"/>
      </p:ext>
    </p:extLst>
  </p:cSld>
  <p:clrMapOvr>
    <a:masterClrMapping/>
  </p:clrMapOvr>
</p:sld>
</file>

<file path=ppt/slides/slide2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Champagnes | CA C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45</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13</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3</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270</a:t>
            </a:fld>
            <a:endParaRPr lang="en-US"/>
          </a:p>
        </p:txBody>
      </p:sp>
    </p:spTree>
    <p:extLst>
      <p:ext uri="{BB962C8B-B14F-4D97-AF65-F5344CB8AC3E}">
        <p14:creationId xmlns:p14="http://schemas.microsoft.com/office/powerpoint/2010/main" val="1571730794"/>
      </p:ext>
    </p:extLst>
  </p:cSld>
  <p:clrMapOvr>
    <a:masterClrMapping/>
  </p:clrMapOvr>
</p:sld>
</file>

<file path=ppt/slides/slide2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Champagnes | CA D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44</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12</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3</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271</a:t>
            </a:fld>
            <a:endParaRPr lang="en-US"/>
          </a:p>
        </p:txBody>
      </p:sp>
    </p:spTree>
    <p:extLst>
      <p:ext uri="{BB962C8B-B14F-4D97-AF65-F5344CB8AC3E}">
        <p14:creationId xmlns:p14="http://schemas.microsoft.com/office/powerpoint/2010/main" val="1875185524"/>
      </p:ext>
    </p:extLst>
  </p:cSld>
  <p:clrMapOvr>
    <a:masterClrMapping/>
  </p:clrMapOvr>
</p:sld>
</file>

<file path=ppt/slides/slide2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Champagnes | CA E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45</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12</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3</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272</a:t>
            </a:fld>
            <a:endParaRPr lang="en-US"/>
          </a:p>
        </p:txBody>
      </p:sp>
    </p:spTree>
    <p:extLst>
      <p:ext uri="{BB962C8B-B14F-4D97-AF65-F5344CB8AC3E}">
        <p14:creationId xmlns:p14="http://schemas.microsoft.com/office/powerpoint/2010/main" val="1458117042"/>
      </p:ext>
    </p:extLst>
  </p:cSld>
  <p:clrMapOvr>
    <a:masterClrMapping/>
  </p:clrMapOvr>
</p:sld>
</file>

<file path=ppt/slides/slide2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Mousseux | NICOLAS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13</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5</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273</a:t>
            </a:fld>
            <a:endParaRPr lang="en-US"/>
          </a:p>
        </p:txBody>
      </p:sp>
    </p:spTree>
    <p:extLst>
      <p:ext uri="{BB962C8B-B14F-4D97-AF65-F5344CB8AC3E}">
        <p14:creationId xmlns:p14="http://schemas.microsoft.com/office/powerpoint/2010/main" val="3088017862"/>
      </p:ext>
    </p:extLst>
  </p:cSld>
  <p:clrMapOvr>
    <a:masterClrMapping/>
  </p:clrMapOvr>
</p:sld>
</file>

<file path=ppt/slides/slide2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Mousseux | NICOLAS QCN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11</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5</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274</a:t>
            </a:fld>
            <a:endParaRPr lang="en-US"/>
          </a:p>
        </p:txBody>
      </p:sp>
    </p:spTree>
    <p:extLst>
      <p:ext uri="{BB962C8B-B14F-4D97-AF65-F5344CB8AC3E}">
        <p14:creationId xmlns:p14="http://schemas.microsoft.com/office/powerpoint/2010/main" val="1845955978"/>
      </p:ext>
    </p:extLst>
  </p:cSld>
  <p:clrMapOvr>
    <a:masterClrMapping/>
  </p:clrMapOvr>
</p:sld>
</file>

<file path=ppt/slides/slide2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Mousseux | NICOLAS VCN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13</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5</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275</a:t>
            </a:fld>
            <a:endParaRPr lang="en-US"/>
          </a:p>
        </p:txBody>
      </p:sp>
    </p:spTree>
    <p:extLst>
      <p:ext uri="{BB962C8B-B14F-4D97-AF65-F5344CB8AC3E}">
        <p14:creationId xmlns:p14="http://schemas.microsoft.com/office/powerpoint/2010/main" val="62542602"/>
      </p:ext>
    </p:extLst>
  </p:cSld>
  <p:clrMapOvr>
    <a:masterClrMapping/>
  </p:clrMapOvr>
</p:sld>
</file>

<file path=ppt/slides/slide2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Mousseux | NICOLAS QCT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12</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5</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276</a:t>
            </a:fld>
            <a:endParaRPr lang="en-US"/>
          </a:p>
        </p:txBody>
      </p:sp>
    </p:spTree>
    <p:extLst>
      <p:ext uri="{BB962C8B-B14F-4D97-AF65-F5344CB8AC3E}">
        <p14:creationId xmlns:p14="http://schemas.microsoft.com/office/powerpoint/2010/main" val="4100884367"/>
      </p:ext>
    </p:extLst>
  </p:cSld>
  <p:clrMapOvr>
    <a:masterClrMapping/>
  </p:clrMapOvr>
</p:sld>
</file>

<file path=ppt/slides/slide2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Mousseux | NICOLAS QCA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9</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4</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277</a:t>
            </a:fld>
            <a:endParaRPr lang="en-US"/>
          </a:p>
        </p:txBody>
      </p:sp>
    </p:spTree>
    <p:extLst>
      <p:ext uri="{BB962C8B-B14F-4D97-AF65-F5344CB8AC3E}">
        <p14:creationId xmlns:p14="http://schemas.microsoft.com/office/powerpoint/2010/main" val="660134966"/>
      </p:ext>
    </p:extLst>
  </p:cSld>
  <p:clrMapOvr>
    <a:masterClrMapping/>
  </p:clrMapOvr>
</p:sld>
</file>

<file path=ppt/slides/slide2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Mousseux | NICOLAS CCP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16</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6</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278</a:t>
            </a:fld>
            <a:endParaRPr lang="en-US"/>
          </a:p>
        </p:txBody>
      </p:sp>
    </p:spTree>
    <p:extLst>
      <p:ext uri="{BB962C8B-B14F-4D97-AF65-F5344CB8AC3E}">
        <p14:creationId xmlns:p14="http://schemas.microsoft.com/office/powerpoint/2010/main" val="1267707160"/>
      </p:ext>
    </p:extLst>
  </p:cSld>
  <p:clrMapOvr>
    <a:masterClrMapping/>
  </p:clrMapOvr>
</p:sld>
</file>

<file path=ppt/slides/slide2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Mousseux | NICOLAS IDF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9</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5</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279</a:t>
            </a:fld>
            <a:endParaRPr lang="en-US"/>
          </a:p>
        </p:txBody>
      </p:sp>
    </p:spTree>
    <p:extLst>
      <p:ext uri="{BB962C8B-B14F-4D97-AF65-F5344CB8AC3E}">
        <p14:creationId xmlns:p14="http://schemas.microsoft.com/office/powerpoint/2010/main" val="3787882138"/>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Champagnes | CA A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28</a:t>
            </a:fld>
            <a:endParaRPr lang="en-US"/>
          </a:p>
        </p:txBody>
      </p:sp>
    </p:spTree>
    <p:extLst>
      <p:ext uri="{BB962C8B-B14F-4D97-AF65-F5344CB8AC3E}">
        <p14:creationId xmlns:p14="http://schemas.microsoft.com/office/powerpoint/2010/main" val="1148037506"/>
      </p:ext>
    </p:extLst>
  </p:cSld>
  <p:clrMapOvr>
    <a:masterClrMapping/>
  </p:clrMapOvr>
</p:sld>
</file>

<file path=ppt/slides/slide2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Mousseux | NICOLAS PAC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10</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3</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280</a:t>
            </a:fld>
            <a:endParaRPr lang="en-US"/>
          </a:p>
        </p:txBody>
      </p:sp>
    </p:spTree>
    <p:extLst>
      <p:ext uri="{BB962C8B-B14F-4D97-AF65-F5344CB8AC3E}">
        <p14:creationId xmlns:p14="http://schemas.microsoft.com/office/powerpoint/2010/main" val="444598844"/>
      </p:ext>
    </p:extLst>
  </p:cSld>
  <p:clrMapOvr>
    <a:masterClrMapping/>
  </p:clrMapOvr>
</p:sld>
</file>

<file path=ppt/slides/slide2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Mousseux | NICOLAS RHO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13</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5</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281</a:t>
            </a:fld>
            <a:endParaRPr lang="en-US"/>
          </a:p>
        </p:txBody>
      </p:sp>
    </p:spTree>
    <p:extLst>
      <p:ext uri="{BB962C8B-B14F-4D97-AF65-F5344CB8AC3E}">
        <p14:creationId xmlns:p14="http://schemas.microsoft.com/office/powerpoint/2010/main" val="1522268783"/>
      </p:ext>
    </p:extLst>
  </p:cSld>
  <p:clrMapOvr>
    <a:masterClrMapping/>
  </p:clrMapOvr>
</p:sld>
</file>

<file path=ppt/slides/slide2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Mousseux | NICOLAS AQU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14</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6</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282</a:t>
            </a:fld>
            <a:endParaRPr lang="en-US"/>
          </a:p>
        </p:txBody>
      </p:sp>
    </p:spTree>
    <p:extLst>
      <p:ext uri="{BB962C8B-B14F-4D97-AF65-F5344CB8AC3E}">
        <p14:creationId xmlns:p14="http://schemas.microsoft.com/office/powerpoint/2010/main" val="2096603454"/>
      </p:ext>
    </p:extLst>
  </p:cSld>
  <p:clrMapOvr>
    <a:masterClrMapping/>
  </p:clrMapOvr>
</p:sld>
</file>

<file path=ppt/slides/slide2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Mousseux | NICOLAS EST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8</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3</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283</a:t>
            </a:fld>
            <a:endParaRPr lang="en-US"/>
          </a:p>
        </p:txBody>
      </p:sp>
    </p:spTree>
    <p:extLst>
      <p:ext uri="{BB962C8B-B14F-4D97-AF65-F5344CB8AC3E}">
        <p14:creationId xmlns:p14="http://schemas.microsoft.com/office/powerpoint/2010/main" val="1407016679"/>
      </p:ext>
    </p:extLst>
  </p:cSld>
  <p:clrMapOvr>
    <a:masterClrMapping/>
  </p:clrMapOvr>
</p:sld>
</file>

<file path=ppt/slides/slide2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Mousseux | CA A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10</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4</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284</a:t>
            </a:fld>
            <a:endParaRPr lang="en-US"/>
          </a:p>
        </p:txBody>
      </p:sp>
    </p:spTree>
    <p:extLst>
      <p:ext uri="{BB962C8B-B14F-4D97-AF65-F5344CB8AC3E}">
        <p14:creationId xmlns:p14="http://schemas.microsoft.com/office/powerpoint/2010/main" val="2045890214"/>
      </p:ext>
    </p:extLst>
  </p:cSld>
  <p:clrMapOvr>
    <a:masterClrMapping/>
  </p:clrMapOvr>
</p:sld>
</file>

<file path=ppt/slides/slide2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Mousseux | CA B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13</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5</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285</a:t>
            </a:fld>
            <a:endParaRPr lang="en-US"/>
          </a:p>
        </p:txBody>
      </p:sp>
    </p:spTree>
    <p:extLst>
      <p:ext uri="{BB962C8B-B14F-4D97-AF65-F5344CB8AC3E}">
        <p14:creationId xmlns:p14="http://schemas.microsoft.com/office/powerpoint/2010/main" val="1332493001"/>
      </p:ext>
    </p:extLst>
  </p:cSld>
  <p:clrMapOvr>
    <a:masterClrMapping/>
  </p:clrMapOvr>
</p:sld>
</file>

<file path=ppt/slides/slide2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Mousseux | CA C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11</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5</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286</a:t>
            </a:fld>
            <a:endParaRPr lang="en-US"/>
          </a:p>
        </p:txBody>
      </p:sp>
    </p:spTree>
    <p:extLst>
      <p:ext uri="{BB962C8B-B14F-4D97-AF65-F5344CB8AC3E}">
        <p14:creationId xmlns:p14="http://schemas.microsoft.com/office/powerpoint/2010/main" val="2122382566"/>
      </p:ext>
    </p:extLst>
  </p:cSld>
  <p:clrMapOvr>
    <a:masterClrMapping/>
  </p:clrMapOvr>
</p:sld>
</file>

<file path=ppt/slides/slide2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Mousseux | CA D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16</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6</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287</a:t>
            </a:fld>
            <a:endParaRPr lang="en-US"/>
          </a:p>
        </p:txBody>
      </p:sp>
    </p:spTree>
    <p:extLst>
      <p:ext uri="{BB962C8B-B14F-4D97-AF65-F5344CB8AC3E}">
        <p14:creationId xmlns:p14="http://schemas.microsoft.com/office/powerpoint/2010/main" val="3094683480"/>
      </p:ext>
    </p:extLst>
  </p:cSld>
  <p:clrMapOvr>
    <a:masterClrMapping/>
  </p:clrMapOvr>
</p:sld>
</file>

<file path=ppt/slides/slide2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Mousseux | CA E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17</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6</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288</a:t>
            </a:fld>
            <a:endParaRPr lang="en-US"/>
          </a:p>
        </p:txBody>
      </p:sp>
    </p:spTree>
    <p:extLst>
      <p:ext uri="{BB962C8B-B14F-4D97-AF65-F5344CB8AC3E}">
        <p14:creationId xmlns:p14="http://schemas.microsoft.com/office/powerpoint/2010/main" val="1028419734"/>
      </p:ext>
    </p:extLst>
  </p:cSld>
  <p:clrMapOvr>
    <a:masterClrMapping/>
  </p:clrMapOvr>
</p:sld>
</file>

<file path=ppt/slides/slide2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Effervescents Sans Alcool | NICOLAS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3</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2</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289</a:t>
            </a:fld>
            <a:endParaRPr lang="en-US"/>
          </a:p>
        </p:txBody>
      </p:sp>
    </p:spTree>
    <p:extLst>
      <p:ext uri="{BB962C8B-B14F-4D97-AF65-F5344CB8AC3E}">
        <p14:creationId xmlns:p14="http://schemas.microsoft.com/office/powerpoint/2010/main" val="1718247600"/>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Champagnes | CA B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29</a:t>
            </a:fld>
            <a:endParaRPr lang="en-US"/>
          </a:p>
        </p:txBody>
      </p:sp>
    </p:spTree>
    <p:extLst>
      <p:ext uri="{BB962C8B-B14F-4D97-AF65-F5344CB8AC3E}">
        <p14:creationId xmlns:p14="http://schemas.microsoft.com/office/powerpoint/2010/main" val="479103387"/>
      </p:ext>
    </p:extLst>
  </p:cSld>
  <p:clrMapOvr>
    <a:masterClrMapping/>
  </p:clrMapOvr>
</p:sld>
</file>

<file path=ppt/slides/slide2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Effervescents Sans Alcool | NICOLAS QCN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2</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2</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290</a:t>
            </a:fld>
            <a:endParaRPr lang="en-US"/>
          </a:p>
        </p:txBody>
      </p:sp>
    </p:spTree>
    <p:extLst>
      <p:ext uri="{BB962C8B-B14F-4D97-AF65-F5344CB8AC3E}">
        <p14:creationId xmlns:p14="http://schemas.microsoft.com/office/powerpoint/2010/main" val="2700728464"/>
      </p:ext>
    </p:extLst>
  </p:cSld>
  <p:clrMapOvr>
    <a:masterClrMapping/>
  </p:clrMapOvr>
</p:sld>
</file>

<file path=ppt/slides/slide2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Effervescents Sans Alcool | NICOLAS VCN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3</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2</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291</a:t>
            </a:fld>
            <a:endParaRPr lang="en-US"/>
          </a:p>
        </p:txBody>
      </p:sp>
    </p:spTree>
    <p:extLst>
      <p:ext uri="{BB962C8B-B14F-4D97-AF65-F5344CB8AC3E}">
        <p14:creationId xmlns:p14="http://schemas.microsoft.com/office/powerpoint/2010/main" val="2402606350"/>
      </p:ext>
    </p:extLst>
  </p:cSld>
  <p:clrMapOvr>
    <a:masterClrMapping/>
  </p:clrMapOvr>
</p:sld>
</file>

<file path=ppt/slides/slide2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Effervescents Sans Alcool | NICOLAS QCT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3</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2</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292</a:t>
            </a:fld>
            <a:endParaRPr lang="en-US"/>
          </a:p>
        </p:txBody>
      </p:sp>
    </p:spTree>
    <p:extLst>
      <p:ext uri="{BB962C8B-B14F-4D97-AF65-F5344CB8AC3E}">
        <p14:creationId xmlns:p14="http://schemas.microsoft.com/office/powerpoint/2010/main" val="1139563045"/>
      </p:ext>
    </p:extLst>
  </p:cSld>
  <p:clrMapOvr>
    <a:masterClrMapping/>
  </p:clrMapOvr>
</p:sld>
</file>

<file path=ppt/slides/slide2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Effervescents Sans Alcool | NICOLAS QCA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3</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1</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293</a:t>
            </a:fld>
            <a:endParaRPr lang="en-US"/>
          </a:p>
        </p:txBody>
      </p:sp>
    </p:spTree>
    <p:extLst>
      <p:ext uri="{BB962C8B-B14F-4D97-AF65-F5344CB8AC3E}">
        <p14:creationId xmlns:p14="http://schemas.microsoft.com/office/powerpoint/2010/main" val="4035830571"/>
      </p:ext>
    </p:extLst>
  </p:cSld>
  <p:clrMapOvr>
    <a:masterClrMapping/>
  </p:clrMapOvr>
</p:sld>
</file>

<file path=ppt/slides/slide2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Effervescents Sans Alcool | NICOLAS CCP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2</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1</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294</a:t>
            </a:fld>
            <a:endParaRPr lang="en-US"/>
          </a:p>
        </p:txBody>
      </p:sp>
    </p:spTree>
    <p:extLst>
      <p:ext uri="{BB962C8B-B14F-4D97-AF65-F5344CB8AC3E}">
        <p14:creationId xmlns:p14="http://schemas.microsoft.com/office/powerpoint/2010/main" val="1021425708"/>
      </p:ext>
    </p:extLst>
  </p:cSld>
  <p:clrMapOvr>
    <a:masterClrMapping/>
  </p:clrMapOvr>
</p:sld>
</file>

<file path=ppt/slides/slide2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Effervescents Sans Alcool | NICOLAS IDF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3</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2</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295</a:t>
            </a:fld>
            <a:endParaRPr lang="en-US"/>
          </a:p>
        </p:txBody>
      </p:sp>
    </p:spTree>
    <p:extLst>
      <p:ext uri="{BB962C8B-B14F-4D97-AF65-F5344CB8AC3E}">
        <p14:creationId xmlns:p14="http://schemas.microsoft.com/office/powerpoint/2010/main" val="1550474115"/>
      </p:ext>
    </p:extLst>
  </p:cSld>
  <p:clrMapOvr>
    <a:masterClrMapping/>
  </p:clrMapOvr>
</p:sld>
</file>

<file path=ppt/slides/slide2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Effervescents Sans Alcool | NICOLAS PAC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3</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2</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296</a:t>
            </a:fld>
            <a:endParaRPr lang="en-US"/>
          </a:p>
        </p:txBody>
      </p:sp>
    </p:spTree>
    <p:extLst>
      <p:ext uri="{BB962C8B-B14F-4D97-AF65-F5344CB8AC3E}">
        <p14:creationId xmlns:p14="http://schemas.microsoft.com/office/powerpoint/2010/main" val="3945584144"/>
      </p:ext>
    </p:extLst>
  </p:cSld>
  <p:clrMapOvr>
    <a:masterClrMapping/>
  </p:clrMapOvr>
</p:sld>
</file>

<file path=ppt/slides/slide2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Effervescents Sans Alcool | NICOLAS RHO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3</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2</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297</a:t>
            </a:fld>
            <a:endParaRPr lang="en-US"/>
          </a:p>
        </p:txBody>
      </p:sp>
    </p:spTree>
    <p:extLst>
      <p:ext uri="{BB962C8B-B14F-4D97-AF65-F5344CB8AC3E}">
        <p14:creationId xmlns:p14="http://schemas.microsoft.com/office/powerpoint/2010/main" val="699682521"/>
      </p:ext>
    </p:extLst>
  </p:cSld>
  <p:clrMapOvr>
    <a:masterClrMapping/>
  </p:clrMapOvr>
</p:sld>
</file>

<file path=ppt/slides/slide2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Effervescents Sans Alcool | NICOLAS AQU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2</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2</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298</a:t>
            </a:fld>
            <a:endParaRPr lang="en-US"/>
          </a:p>
        </p:txBody>
      </p:sp>
    </p:spTree>
    <p:extLst>
      <p:ext uri="{BB962C8B-B14F-4D97-AF65-F5344CB8AC3E}">
        <p14:creationId xmlns:p14="http://schemas.microsoft.com/office/powerpoint/2010/main" val="4132070231"/>
      </p:ext>
    </p:extLst>
  </p:cSld>
  <p:clrMapOvr>
    <a:masterClrMapping/>
  </p:clrMapOvr>
</p:sld>
</file>

<file path=ppt/slides/slide2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Effervescents Sans Alcool | NICOLAS EST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3</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2</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299</a:t>
            </a:fld>
            <a:endParaRPr lang="en-US"/>
          </a:p>
        </p:txBody>
      </p:sp>
    </p:spTree>
    <p:extLst>
      <p:ext uri="{BB962C8B-B14F-4D97-AF65-F5344CB8AC3E}">
        <p14:creationId xmlns:p14="http://schemas.microsoft.com/office/powerpoint/2010/main" val="206042483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Effervescents | NICOLAS VCN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3</a:t>
            </a:fld>
            <a:endParaRPr lang="en-US"/>
          </a:p>
        </p:txBody>
      </p:sp>
    </p:spTree>
    <p:extLst>
      <p:ext uri="{BB962C8B-B14F-4D97-AF65-F5344CB8AC3E}">
        <p14:creationId xmlns:p14="http://schemas.microsoft.com/office/powerpoint/2010/main" val="1801622027"/>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Champagnes | CA C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30</a:t>
            </a:fld>
            <a:endParaRPr lang="en-US"/>
          </a:p>
        </p:txBody>
      </p:sp>
    </p:spTree>
    <p:extLst>
      <p:ext uri="{BB962C8B-B14F-4D97-AF65-F5344CB8AC3E}">
        <p14:creationId xmlns:p14="http://schemas.microsoft.com/office/powerpoint/2010/main" val="1863837339"/>
      </p:ext>
    </p:extLst>
  </p:cSld>
  <p:clrMapOvr>
    <a:masterClrMapping/>
  </p:clrMapOvr>
</p:sld>
</file>

<file path=ppt/slides/slide3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Effervescents Sans Alcool | CA A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3</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1</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300</a:t>
            </a:fld>
            <a:endParaRPr lang="en-US"/>
          </a:p>
        </p:txBody>
      </p:sp>
    </p:spTree>
    <p:extLst>
      <p:ext uri="{BB962C8B-B14F-4D97-AF65-F5344CB8AC3E}">
        <p14:creationId xmlns:p14="http://schemas.microsoft.com/office/powerpoint/2010/main" val="1828548274"/>
      </p:ext>
    </p:extLst>
  </p:cSld>
  <p:clrMapOvr>
    <a:masterClrMapping/>
  </p:clrMapOvr>
</p:sld>
</file>

<file path=ppt/slides/slide3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Effervescents Sans Alcool | CA B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3</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2</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301</a:t>
            </a:fld>
            <a:endParaRPr lang="en-US"/>
          </a:p>
        </p:txBody>
      </p:sp>
    </p:spTree>
    <p:extLst>
      <p:ext uri="{BB962C8B-B14F-4D97-AF65-F5344CB8AC3E}">
        <p14:creationId xmlns:p14="http://schemas.microsoft.com/office/powerpoint/2010/main" val="574060806"/>
      </p:ext>
    </p:extLst>
  </p:cSld>
  <p:clrMapOvr>
    <a:masterClrMapping/>
  </p:clrMapOvr>
</p:sld>
</file>

<file path=ppt/slides/slide3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Effervescents Sans Alcool | CA C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3</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2</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302</a:t>
            </a:fld>
            <a:endParaRPr lang="en-US"/>
          </a:p>
        </p:txBody>
      </p:sp>
    </p:spTree>
    <p:extLst>
      <p:ext uri="{BB962C8B-B14F-4D97-AF65-F5344CB8AC3E}">
        <p14:creationId xmlns:p14="http://schemas.microsoft.com/office/powerpoint/2010/main" val="1777171077"/>
      </p:ext>
    </p:extLst>
  </p:cSld>
  <p:clrMapOvr>
    <a:masterClrMapping/>
  </p:clrMapOvr>
</p:sld>
</file>

<file path=ppt/slides/slide3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Effervescents Sans Alcool | CA D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2</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2</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303</a:t>
            </a:fld>
            <a:endParaRPr lang="en-US"/>
          </a:p>
        </p:txBody>
      </p:sp>
    </p:spTree>
    <p:extLst>
      <p:ext uri="{BB962C8B-B14F-4D97-AF65-F5344CB8AC3E}">
        <p14:creationId xmlns:p14="http://schemas.microsoft.com/office/powerpoint/2010/main" val="4099824308"/>
      </p:ext>
    </p:extLst>
  </p:cSld>
  <p:clrMapOvr>
    <a:masterClrMapping/>
  </p:clrMapOvr>
</p:sld>
</file>

<file path=ppt/slides/slide3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Effervescents Sans Alcool | CA E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2</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2</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304</a:t>
            </a:fld>
            <a:endParaRPr lang="en-US"/>
          </a:p>
        </p:txBody>
      </p:sp>
    </p:spTree>
    <p:extLst>
      <p:ext uri="{BB962C8B-B14F-4D97-AF65-F5344CB8AC3E}">
        <p14:creationId xmlns:p14="http://schemas.microsoft.com/office/powerpoint/2010/main" val="2554039109"/>
      </p:ext>
    </p:extLst>
  </p:cSld>
  <p:clrMapOvr>
    <a:masterClrMapping/>
  </p:clrMapOvr>
</p:sld>
</file>

<file path=ppt/slides/slide3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Blanc De Blancs | NICOLAS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8</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2</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305</a:t>
            </a:fld>
            <a:endParaRPr lang="en-US"/>
          </a:p>
        </p:txBody>
      </p:sp>
    </p:spTree>
    <p:extLst>
      <p:ext uri="{BB962C8B-B14F-4D97-AF65-F5344CB8AC3E}">
        <p14:creationId xmlns:p14="http://schemas.microsoft.com/office/powerpoint/2010/main" val="4253724718"/>
      </p:ext>
    </p:extLst>
  </p:cSld>
  <p:clrMapOvr>
    <a:masterClrMapping/>
  </p:clrMapOvr>
</p:sld>
</file>

<file path=ppt/slides/slide3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Blanc De Blancs | NICOLAS QCN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8</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2</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306</a:t>
            </a:fld>
            <a:endParaRPr lang="en-US"/>
          </a:p>
        </p:txBody>
      </p:sp>
    </p:spTree>
    <p:extLst>
      <p:ext uri="{BB962C8B-B14F-4D97-AF65-F5344CB8AC3E}">
        <p14:creationId xmlns:p14="http://schemas.microsoft.com/office/powerpoint/2010/main" val="1231988749"/>
      </p:ext>
    </p:extLst>
  </p:cSld>
  <p:clrMapOvr>
    <a:masterClrMapping/>
  </p:clrMapOvr>
</p:sld>
</file>

<file path=ppt/slides/slide3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Blanc De Blancs | NICOLAS VCN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8</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2</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307</a:t>
            </a:fld>
            <a:endParaRPr lang="en-US"/>
          </a:p>
        </p:txBody>
      </p:sp>
    </p:spTree>
    <p:extLst>
      <p:ext uri="{BB962C8B-B14F-4D97-AF65-F5344CB8AC3E}">
        <p14:creationId xmlns:p14="http://schemas.microsoft.com/office/powerpoint/2010/main" val="2174123154"/>
      </p:ext>
    </p:extLst>
  </p:cSld>
  <p:clrMapOvr>
    <a:masterClrMapping/>
  </p:clrMapOvr>
</p:sld>
</file>

<file path=ppt/slides/slide3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Blanc De Blancs | NICOLAS QCT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9</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2</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308</a:t>
            </a:fld>
            <a:endParaRPr lang="en-US"/>
          </a:p>
        </p:txBody>
      </p:sp>
    </p:spTree>
    <p:extLst>
      <p:ext uri="{BB962C8B-B14F-4D97-AF65-F5344CB8AC3E}">
        <p14:creationId xmlns:p14="http://schemas.microsoft.com/office/powerpoint/2010/main" val="856132752"/>
      </p:ext>
    </p:extLst>
  </p:cSld>
  <p:clrMapOvr>
    <a:masterClrMapping/>
  </p:clrMapOvr>
</p:sld>
</file>

<file path=ppt/slides/slide3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Blanc De Blancs | NICOLAS QCA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6</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1</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309</a:t>
            </a:fld>
            <a:endParaRPr lang="en-US"/>
          </a:p>
        </p:txBody>
      </p:sp>
    </p:spTree>
    <p:extLst>
      <p:ext uri="{BB962C8B-B14F-4D97-AF65-F5344CB8AC3E}">
        <p14:creationId xmlns:p14="http://schemas.microsoft.com/office/powerpoint/2010/main" val="2781967457"/>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Champagnes | CA D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31</a:t>
            </a:fld>
            <a:endParaRPr lang="en-US"/>
          </a:p>
        </p:txBody>
      </p:sp>
    </p:spTree>
    <p:extLst>
      <p:ext uri="{BB962C8B-B14F-4D97-AF65-F5344CB8AC3E}">
        <p14:creationId xmlns:p14="http://schemas.microsoft.com/office/powerpoint/2010/main" val="2535850290"/>
      </p:ext>
    </p:extLst>
  </p:cSld>
  <p:clrMapOvr>
    <a:masterClrMapping/>
  </p:clrMapOvr>
</p:sld>
</file>

<file path=ppt/slides/slide3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Blanc De Blancs | NICOLAS CCP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7</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2</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310</a:t>
            </a:fld>
            <a:endParaRPr lang="en-US"/>
          </a:p>
        </p:txBody>
      </p:sp>
    </p:spTree>
    <p:extLst>
      <p:ext uri="{BB962C8B-B14F-4D97-AF65-F5344CB8AC3E}">
        <p14:creationId xmlns:p14="http://schemas.microsoft.com/office/powerpoint/2010/main" val="1500526763"/>
      </p:ext>
    </p:extLst>
  </p:cSld>
  <p:clrMapOvr>
    <a:masterClrMapping/>
  </p:clrMapOvr>
</p:sld>
</file>

<file path=ppt/slides/slide3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Blanc De Blancs | NICOLAS IDF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8</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2</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311</a:t>
            </a:fld>
            <a:endParaRPr lang="en-US"/>
          </a:p>
        </p:txBody>
      </p:sp>
    </p:spTree>
    <p:extLst>
      <p:ext uri="{BB962C8B-B14F-4D97-AF65-F5344CB8AC3E}">
        <p14:creationId xmlns:p14="http://schemas.microsoft.com/office/powerpoint/2010/main" val="1810962371"/>
      </p:ext>
    </p:extLst>
  </p:cSld>
  <p:clrMapOvr>
    <a:masterClrMapping/>
  </p:clrMapOvr>
</p:sld>
</file>

<file path=ppt/slides/slide3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Blanc De Blancs | NICOLAS PAC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6</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2</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312</a:t>
            </a:fld>
            <a:endParaRPr lang="en-US"/>
          </a:p>
        </p:txBody>
      </p:sp>
    </p:spTree>
    <p:extLst>
      <p:ext uri="{BB962C8B-B14F-4D97-AF65-F5344CB8AC3E}">
        <p14:creationId xmlns:p14="http://schemas.microsoft.com/office/powerpoint/2010/main" val="3385810215"/>
      </p:ext>
    </p:extLst>
  </p:cSld>
  <p:clrMapOvr>
    <a:masterClrMapping/>
  </p:clrMapOvr>
</p:sld>
</file>

<file path=ppt/slides/slide3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Blanc De Blancs | NICOLAS RHO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8</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2</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313</a:t>
            </a:fld>
            <a:endParaRPr lang="en-US"/>
          </a:p>
        </p:txBody>
      </p:sp>
    </p:spTree>
    <p:extLst>
      <p:ext uri="{BB962C8B-B14F-4D97-AF65-F5344CB8AC3E}">
        <p14:creationId xmlns:p14="http://schemas.microsoft.com/office/powerpoint/2010/main" val="2128572471"/>
      </p:ext>
    </p:extLst>
  </p:cSld>
  <p:clrMapOvr>
    <a:masterClrMapping/>
  </p:clrMapOvr>
</p:sld>
</file>

<file path=ppt/slides/slide3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Blanc De Blancs | NICOLAS AQU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9</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3</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314</a:t>
            </a:fld>
            <a:endParaRPr lang="en-US"/>
          </a:p>
        </p:txBody>
      </p:sp>
    </p:spTree>
    <p:extLst>
      <p:ext uri="{BB962C8B-B14F-4D97-AF65-F5344CB8AC3E}">
        <p14:creationId xmlns:p14="http://schemas.microsoft.com/office/powerpoint/2010/main" val="2477375725"/>
      </p:ext>
    </p:extLst>
  </p:cSld>
  <p:clrMapOvr>
    <a:masterClrMapping/>
  </p:clrMapOvr>
</p:sld>
</file>

<file path=ppt/slides/slide3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Blanc De Blancs | NICOLAS EST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12</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3</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315</a:t>
            </a:fld>
            <a:endParaRPr lang="en-US"/>
          </a:p>
        </p:txBody>
      </p:sp>
    </p:spTree>
    <p:extLst>
      <p:ext uri="{BB962C8B-B14F-4D97-AF65-F5344CB8AC3E}">
        <p14:creationId xmlns:p14="http://schemas.microsoft.com/office/powerpoint/2010/main" val="2441021575"/>
      </p:ext>
    </p:extLst>
  </p:cSld>
  <p:clrMapOvr>
    <a:masterClrMapping/>
  </p:clrMapOvr>
</p:sld>
</file>

<file path=ppt/slides/slide3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Blanc De Blancs | CA A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9</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2</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316</a:t>
            </a:fld>
            <a:endParaRPr lang="en-US"/>
          </a:p>
        </p:txBody>
      </p:sp>
    </p:spTree>
    <p:extLst>
      <p:ext uri="{BB962C8B-B14F-4D97-AF65-F5344CB8AC3E}">
        <p14:creationId xmlns:p14="http://schemas.microsoft.com/office/powerpoint/2010/main" val="2797417842"/>
      </p:ext>
    </p:extLst>
  </p:cSld>
  <p:clrMapOvr>
    <a:masterClrMapping/>
  </p:clrMapOvr>
</p:sld>
</file>

<file path=ppt/slides/slide3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Blanc De Blancs | CA B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8</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2</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317</a:t>
            </a:fld>
            <a:endParaRPr lang="en-US"/>
          </a:p>
        </p:txBody>
      </p:sp>
    </p:spTree>
    <p:extLst>
      <p:ext uri="{BB962C8B-B14F-4D97-AF65-F5344CB8AC3E}">
        <p14:creationId xmlns:p14="http://schemas.microsoft.com/office/powerpoint/2010/main" val="2878370876"/>
      </p:ext>
    </p:extLst>
  </p:cSld>
  <p:clrMapOvr>
    <a:masterClrMapping/>
  </p:clrMapOvr>
</p:sld>
</file>

<file path=ppt/slides/slide3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Blanc De Blancs | CA C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8</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2</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318</a:t>
            </a:fld>
            <a:endParaRPr lang="en-US"/>
          </a:p>
        </p:txBody>
      </p:sp>
    </p:spTree>
    <p:extLst>
      <p:ext uri="{BB962C8B-B14F-4D97-AF65-F5344CB8AC3E}">
        <p14:creationId xmlns:p14="http://schemas.microsoft.com/office/powerpoint/2010/main" val="413238330"/>
      </p:ext>
    </p:extLst>
  </p:cSld>
  <p:clrMapOvr>
    <a:masterClrMapping/>
  </p:clrMapOvr>
</p:sld>
</file>

<file path=ppt/slides/slide3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Blanc De Blancs | CA D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7</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2</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319</a:t>
            </a:fld>
            <a:endParaRPr lang="en-US"/>
          </a:p>
        </p:txBody>
      </p:sp>
    </p:spTree>
    <p:extLst>
      <p:ext uri="{BB962C8B-B14F-4D97-AF65-F5344CB8AC3E}">
        <p14:creationId xmlns:p14="http://schemas.microsoft.com/office/powerpoint/2010/main" val="4104564341"/>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Champagnes | CA E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32</a:t>
            </a:fld>
            <a:endParaRPr lang="en-US"/>
          </a:p>
        </p:txBody>
      </p:sp>
    </p:spTree>
    <p:extLst>
      <p:ext uri="{BB962C8B-B14F-4D97-AF65-F5344CB8AC3E}">
        <p14:creationId xmlns:p14="http://schemas.microsoft.com/office/powerpoint/2010/main" val="1150859594"/>
      </p:ext>
    </p:extLst>
  </p:cSld>
  <p:clrMapOvr>
    <a:masterClrMapping/>
  </p:clrMapOvr>
</p:sld>
</file>

<file path=ppt/slides/slide3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Blanc De Blancs | CA E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8</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2</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320</a:t>
            </a:fld>
            <a:endParaRPr lang="en-US"/>
          </a:p>
        </p:txBody>
      </p:sp>
    </p:spTree>
    <p:extLst>
      <p:ext uri="{BB962C8B-B14F-4D97-AF65-F5344CB8AC3E}">
        <p14:creationId xmlns:p14="http://schemas.microsoft.com/office/powerpoint/2010/main" val="571476842"/>
      </p:ext>
    </p:extLst>
  </p:cSld>
  <p:clrMapOvr>
    <a:masterClrMapping/>
  </p:clrMapOvr>
</p:sld>
</file>

<file path=ppt/slides/slide3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Bruts | NICOLAS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23</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7</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321</a:t>
            </a:fld>
            <a:endParaRPr lang="en-US"/>
          </a:p>
        </p:txBody>
      </p:sp>
    </p:spTree>
    <p:extLst>
      <p:ext uri="{BB962C8B-B14F-4D97-AF65-F5344CB8AC3E}">
        <p14:creationId xmlns:p14="http://schemas.microsoft.com/office/powerpoint/2010/main" val="3359113487"/>
      </p:ext>
    </p:extLst>
  </p:cSld>
  <p:clrMapOvr>
    <a:masterClrMapping/>
  </p:clrMapOvr>
</p:sld>
</file>

<file path=ppt/slides/slide3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Bruts | NICOLAS QCN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22</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7</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322</a:t>
            </a:fld>
            <a:endParaRPr lang="en-US"/>
          </a:p>
        </p:txBody>
      </p:sp>
    </p:spTree>
    <p:extLst>
      <p:ext uri="{BB962C8B-B14F-4D97-AF65-F5344CB8AC3E}">
        <p14:creationId xmlns:p14="http://schemas.microsoft.com/office/powerpoint/2010/main" val="45631875"/>
      </p:ext>
    </p:extLst>
  </p:cSld>
  <p:clrMapOvr>
    <a:masterClrMapping/>
  </p:clrMapOvr>
</p:sld>
</file>

<file path=ppt/slides/slide3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Bruts | NICOLAS VCN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23</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7</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323</a:t>
            </a:fld>
            <a:endParaRPr lang="en-US"/>
          </a:p>
        </p:txBody>
      </p:sp>
    </p:spTree>
    <p:extLst>
      <p:ext uri="{BB962C8B-B14F-4D97-AF65-F5344CB8AC3E}">
        <p14:creationId xmlns:p14="http://schemas.microsoft.com/office/powerpoint/2010/main" val="1500611964"/>
      </p:ext>
    </p:extLst>
  </p:cSld>
  <p:clrMapOvr>
    <a:masterClrMapping/>
  </p:clrMapOvr>
</p:sld>
</file>

<file path=ppt/slides/slide3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Bruts | NICOLAS QCT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24</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8</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324</a:t>
            </a:fld>
            <a:endParaRPr lang="en-US"/>
          </a:p>
        </p:txBody>
      </p:sp>
    </p:spTree>
    <p:extLst>
      <p:ext uri="{BB962C8B-B14F-4D97-AF65-F5344CB8AC3E}">
        <p14:creationId xmlns:p14="http://schemas.microsoft.com/office/powerpoint/2010/main" val="1246625180"/>
      </p:ext>
    </p:extLst>
  </p:cSld>
  <p:clrMapOvr>
    <a:masterClrMapping/>
  </p:clrMapOvr>
</p:sld>
</file>

<file path=ppt/slides/slide3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Bruts | NICOLAS QCA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22</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8</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325</a:t>
            </a:fld>
            <a:endParaRPr lang="en-US"/>
          </a:p>
        </p:txBody>
      </p:sp>
    </p:spTree>
    <p:extLst>
      <p:ext uri="{BB962C8B-B14F-4D97-AF65-F5344CB8AC3E}">
        <p14:creationId xmlns:p14="http://schemas.microsoft.com/office/powerpoint/2010/main" val="1480075805"/>
      </p:ext>
    </p:extLst>
  </p:cSld>
  <p:clrMapOvr>
    <a:masterClrMapping/>
  </p:clrMapOvr>
</p:sld>
</file>

<file path=ppt/slides/slide3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Bruts | NICOLAS CCP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21</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7</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326</a:t>
            </a:fld>
            <a:endParaRPr lang="en-US"/>
          </a:p>
        </p:txBody>
      </p:sp>
    </p:spTree>
    <p:extLst>
      <p:ext uri="{BB962C8B-B14F-4D97-AF65-F5344CB8AC3E}">
        <p14:creationId xmlns:p14="http://schemas.microsoft.com/office/powerpoint/2010/main" val="2612421932"/>
      </p:ext>
    </p:extLst>
  </p:cSld>
  <p:clrMapOvr>
    <a:masterClrMapping/>
  </p:clrMapOvr>
</p:sld>
</file>

<file path=ppt/slides/slide3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Bruts | NICOLAS IDF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22</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7</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327</a:t>
            </a:fld>
            <a:endParaRPr lang="en-US"/>
          </a:p>
        </p:txBody>
      </p:sp>
    </p:spTree>
    <p:extLst>
      <p:ext uri="{BB962C8B-B14F-4D97-AF65-F5344CB8AC3E}">
        <p14:creationId xmlns:p14="http://schemas.microsoft.com/office/powerpoint/2010/main" val="2732249019"/>
      </p:ext>
    </p:extLst>
  </p:cSld>
  <p:clrMapOvr>
    <a:masterClrMapping/>
  </p:clrMapOvr>
</p:sld>
</file>

<file path=ppt/slides/slide3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Bruts | NICOLAS PAC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21</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7</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328</a:t>
            </a:fld>
            <a:endParaRPr lang="en-US"/>
          </a:p>
        </p:txBody>
      </p:sp>
    </p:spTree>
    <p:extLst>
      <p:ext uri="{BB962C8B-B14F-4D97-AF65-F5344CB8AC3E}">
        <p14:creationId xmlns:p14="http://schemas.microsoft.com/office/powerpoint/2010/main" val="2139147732"/>
      </p:ext>
    </p:extLst>
  </p:cSld>
  <p:clrMapOvr>
    <a:masterClrMapping/>
  </p:clrMapOvr>
</p:sld>
</file>

<file path=ppt/slides/slide3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Bruts | NICOLAS RHO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22</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8</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329</a:t>
            </a:fld>
            <a:endParaRPr lang="en-US"/>
          </a:p>
        </p:txBody>
      </p:sp>
    </p:spTree>
    <p:extLst>
      <p:ext uri="{BB962C8B-B14F-4D97-AF65-F5344CB8AC3E}">
        <p14:creationId xmlns:p14="http://schemas.microsoft.com/office/powerpoint/2010/main" val="203407243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Mousseux | NICOLAS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33</a:t>
            </a:fld>
            <a:endParaRPr lang="en-US"/>
          </a:p>
        </p:txBody>
      </p:sp>
    </p:spTree>
    <p:extLst>
      <p:ext uri="{BB962C8B-B14F-4D97-AF65-F5344CB8AC3E}">
        <p14:creationId xmlns:p14="http://schemas.microsoft.com/office/powerpoint/2010/main" val="1490393684"/>
      </p:ext>
    </p:extLst>
  </p:cSld>
  <p:clrMapOvr>
    <a:masterClrMapping/>
  </p:clrMapOvr>
</p:sld>
</file>

<file path=ppt/slides/slide3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Bruts | NICOLAS AQU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20</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6</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330</a:t>
            </a:fld>
            <a:endParaRPr lang="en-US"/>
          </a:p>
        </p:txBody>
      </p:sp>
    </p:spTree>
    <p:extLst>
      <p:ext uri="{BB962C8B-B14F-4D97-AF65-F5344CB8AC3E}">
        <p14:creationId xmlns:p14="http://schemas.microsoft.com/office/powerpoint/2010/main" val="2104474675"/>
      </p:ext>
    </p:extLst>
  </p:cSld>
  <p:clrMapOvr>
    <a:masterClrMapping/>
  </p:clrMapOvr>
</p:sld>
</file>

<file path=ppt/slides/slide3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Bruts | NICOLAS EST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30</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11</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331</a:t>
            </a:fld>
            <a:endParaRPr lang="en-US"/>
          </a:p>
        </p:txBody>
      </p:sp>
    </p:spTree>
    <p:extLst>
      <p:ext uri="{BB962C8B-B14F-4D97-AF65-F5344CB8AC3E}">
        <p14:creationId xmlns:p14="http://schemas.microsoft.com/office/powerpoint/2010/main" val="929822935"/>
      </p:ext>
    </p:extLst>
  </p:cSld>
  <p:clrMapOvr>
    <a:masterClrMapping/>
  </p:clrMapOvr>
</p:sld>
</file>

<file path=ppt/slides/slide3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Bruts | CA A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24</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8</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332</a:t>
            </a:fld>
            <a:endParaRPr lang="en-US"/>
          </a:p>
        </p:txBody>
      </p:sp>
    </p:spTree>
    <p:extLst>
      <p:ext uri="{BB962C8B-B14F-4D97-AF65-F5344CB8AC3E}">
        <p14:creationId xmlns:p14="http://schemas.microsoft.com/office/powerpoint/2010/main" val="3613676274"/>
      </p:ext>
    </p:extLst>
  </p:cSld>
  <p:clrMapOvr>
    <a:masterClrMapping/>
  </p:clrMapOvr>
</p:sld>
</file>

<file path=ppt/slides/slide3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Bruts | CA B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22</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7</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333</a:t>
            </a:fld>
            <a:endParaRPr lang="en-US"/>
          </a:p>
        </p:txBody>
      </p:sp>
    </p:spTree>
    <p:extLst>
      <p:ext uri="{BB962C8B-B14F-4D97-AF65-F5344CB8AC3E}">
        <p14:creationId xmlns:p14="http://schemas.microsoft.com/office/powerpoint/2010/main" val="3348470070"/>
      </p:ext>
    </p:extLst>
  </p:cSld>
  <p:clrMapOvr>
    <a:masterClrMapping/>
  </p:clrMapOvr>
</p:sld>
</file>

<file path=ppt/slides/slide3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Bruts | CA C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22</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7</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334</a:t>
            </a:fld>
            <a:endParaRPr lang="en-US"/>
          </a:p>
        </p:txBody>
      </p:sp>
    </p:spTree>
    <p:extLst>
      <p:ext uri="{BB962C8B-B14F-4D97-AF65-F5344CB8AC3E}">
        <p14:creationId xmlns:p14="http://schemas.microsoft.com/office/powerpoint/2010/main" val="2887081890"/>
      </p:ext>
    </p:extLst>
  </p:cSld>
  <p:clrMapOvr>
    <a:masterClrMapping/>
  </p:clrMapOvr>
</p:sld>
</file>

<file path=ppt/slides/slide3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Bruts | CA D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22</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7</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335</a:t>
            </a:fld>
            <a:endParaRPr lang="en-US"/>
          </a:p>
        </p:txBody>
      </p:sp>
    </p:spTree>
    <p:extLst>
      <p:ext uri="{BB962C8B-B14F-4D97-AF65-F5344CB8AC3E}">
        <p14:creationId xmlns:p14="http://schemas.microsoft.com/office/powerpoint/2010/main" val="1701180556"/>
      </p:ext>
    </p:extLst>
  </p:cSld>
  <p:clrMapOvr>
    <a:masterClrMapping/>
  </p:clrMapOvr>
</p:sld>
</file>

<file path=ppt/slides/slide3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Bruts | CA E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21</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7</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336</a:t>
            </a:fld>
            <a:endParaRPr lang="en-US"/>
          </a:p>
        </p:txBody>
      </p:sp>
    </p:spTree>
    <p:extLst>
      <p:ext uri="{BB962C8B-B14F-4D97-AF65-F5344CB8AC3E}">
        <p14:creationId xmlns:p14="http://schemas.microsoft.com/office/powerpoint/2010/main" val="3956362796"/>
      </p:ext>
    </p:extLst>
  </p:cSld>
  <p:clrMapOvr>
    <a:masterClrMapping/>
  </p:clrMapOvr>
</p:sld>
</file>

<file path=ppt/slides/slide3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Crus | NICOLAS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2</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1</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337</a:t>
            </a:fld>
            <a:endParaRPr lang="en-US"/>
          </a:p>
        </p:txBody>
      </p:sp>
    </p:spTree>
    <p:extLst>
      <p:ext uri="{BB962C8B-B14F-4D97-AF65-F5344CB8AC3E}">
        <p14:creationId xmlns:p14="http://schemas.microsoft.com/office/powerpoint/2010/main" val="2615459907"/>
      </p:ext>
    </p:extLst>
  </p:cSld>
  <p:clrMapOvr>
    <a:masterClrMapping/>
  </p:clrMapOvr>
</p:sld>
</file>

<file path=ppt/slides/slide3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Crus | NICOLAS QCN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2</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1</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338</a:t>
            </a:fld>
            <a:endParaRPr lang="en-US"/>
          </a:p>
        </p:txBody>
      </p:sp>
    </p:spTree>
    <p:extLst>
      <p:ext uri="{BB962C8B-B14F-4D97-AF65-F5344CB8AC3E}">
        <p14:creationId xmlns:p14="http://schemas.microsoft.com/office/powerpoint/2010/main" val="2804007667"/>
      </p:ext>
    </p:extLst>
  </p:cSld>
  <p:clrMapOvr>
    <a:masterClrMapping/>
  </p:clrMapOvr>
</p:sld>
</file>

<file path=ppt/slides/slide3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Crus | NICOLAS VCN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2</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1</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339</a:t>
            </a:fld>
            <a:endParaRPr lang="en-US"/>
          </a:p>
        </p:txBody>
      </p:sp>
    </p:spTree>
    <p:extLst>
      <p:ext uri="{BB962C8B-B14F-4D97-AF65-F5344CB8AC3E}">
        <p14:creationId xmlns:p14="http://schemas.microsoft.com/office/powerpoint/2010/main" val="1267359428"/>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Mousseux | NICOLAS QCN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34</a:t>
            </a:fld>
            <a:endParaRPr lang="en-US"/>
          </a:p>
        </p:txBody>
      </p:sp>
    </p:spTree>
    <p:extLst>
      <p:ext uri="{BB962C8B-B14F-4D97-AF65-F5344CB8AC3E}">
        <p14:creationId xmlns:p14="http://schemas.microsoft.com/office/powerpoint/2010/main" val="2335453258"/>
      </p:ext>
    </p:extLst>
  </p:cSld>
  <p:clrMapOvr>
    <a:masterClrMapping/>
  </p:clrMapOvr>
</p:sld>
</file>

<file path=ppt/slides/slide3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Crus | NICOLAS QCT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2</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1</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340</a:t>
            </a:fld>
            <a:endParaRPr lang="en-US"/>
          </a:p>
        </p:txBody>
      </p:sp>
    </p:spTree>
    <p:extLst>
      <p:ext uri="{BB962C8B-B14F-4D97-AF65-F5344CB8AC3E}">
        <p14:creationId xmlns:p14="http://schemas.microsoft.com/office/powerpoint/2010/main" val="1782905467"/>
      </p:ext>
    </p:extLst>
  </p:cSld>
  <p:clrMapOvr>
    <a:masterClrMapping/>
  </p:clrMapOvr>
</p:sld>
</file>

<file path=ppt/slides/slide3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Crus | NICOLAS QCA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2</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1</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341</a:t>
            </a:fld>
            <a:endParaRPr lang="en-US"/>
          </a:p>
        </p:txBody>
      </p:sp>
    </p:spTree>
    <p:extLst>
      <p:ext uri="{BB962C8B-B14F-4D97-AF65-F5344CB8AC3E}">
        <p14:creationId xmlns:p14="http://schemas.microsoft.com/office/powerpoint/2010/main" val="1982372828"/>
      </p:ext>
    </p:extLst>
  </p:cSld>
  <p:clrMapOvr>
    <a:masterClrMapping/>
  </p:clrMapOvr>
</p:sld>
</file>

<file path=ppt/slides/slide3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Crus | NICOLAS CCP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2</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1</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342</a:t>
            </a:fld>
            <a:endParaRPr lang="en-US"/>
          </a:p>
        </p:txBody>
      </p:sp>
    </p:spTree>
    <p:extLst>
      <p:ext uri="{BB962C8B-B14F-4D97-AF65-F5344CB8AC3E}">
        <p14:creationId xmlns:p14="http://schemas.microsoft.com/office/powerpoint/2010/main" val="4244888373"/>
      </p:ext>
    </p:extLst>
  </p:cSld>
  <p:clrMapOvr>
    <a:masterClrMapping/>
  </p:clrMapOvr>
</p:sld>
</file>

<file path=ppt/slides/slide3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Crus | NICOLAS IDF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2</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1</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343</a:t>
            </a:fld>
            <a:endParaRPr lang="en-US"/>
          </a:p>
        </p:txBody>
      </p:sp>
    </p:spTree>
    <p:extLst>
      <p:ext uri="{BB962C8B-B14F-4D97-AF65-F5344CB8AC3E}">
        <p14:creationId xmlns:p14="http://schemas.microsoft.com/office/powerpoint/2010/main" val="1129308619"/>
      </p:ext>
    </p:extLst>
  </p:cSld>
  <p:clrMapOvr>
    <a:masterClrMapping/>
  </p:clrMapOvr>
</p:sld>
</file>

<file path=ppt/slides/slide3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Crus | NICOLAS PAC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2</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1</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344</a:t>
            </a:fld>
            <a:endParaRPr lang="en-US"/>
          </a:p>
        </p:txBody>
      </p:sp>
    </p:spTree>
    <p:extLst>
      <p:ext uri="{BB962C8B-B14F-4D97-AF65-F5344CB8AC3E}">
        <p14:creationId xmlns:p14="http://schemas.microsoft.com/office/powerpoint/2010/main" val="170552510"/>
      </p:ext>
    </p:extLst>
  </p:cSld>
  <p:clrMapOvr>
    <a:masterClrMapping/>
  </p:clrMapOvr>
</p:sld>
</file>

<file path=ppt/slides/slide3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Crus | NICOLAS RHO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2</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1</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345</a:t>
            </a:fld>
            <a:endParaRPr lang="en-US"/>
          </a:p>
        </p:txBody>
      </p:sp>
    </p:spTree>
    <p:extLst>
      <p:ext uri="{BB962C8B-B14F-4D97-AF65-F5344CB8AC3E}">
        <p14:creationId xmlns:p14="http://schemas.microsoft.com/office/powerpoint/2010/main" val="2533410477"/>
      </p:ext>
    </p:extLst>
  </p:cSld>
  <p:clrMapOvr>
    <a:masterClrMapping/>
  </p:clrMapOvr>
</p:sld>
</file>

<file path=ppt/slides/slide3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Crus | NICOLAS AQU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2</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1</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346</a:t>
            </a:fld>
            <a:endParaRPr lang="en-US"/>
          </a:p>
        </p:txBody>
      </p:sp>
    </p:spTree>
    <p:extLst>
      <p:ext uri="{BB962C8B-B14F-4D97-AF65-F5344CB8AC3E}">
        <p14:creationId xmlns:p14="http://schemas.microsoft.com/office/powerpoint/2010/main" val="801271138"/>
      </p:ext>
    </p:extLst>
  </p:cSld>
  <p:clrMapOvr>
    <a:masterClrMapping/>
  </p:clrMapOvr>
</p:sld>
</file>

<file path=ppt/slides/slide3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Crus | NICOLAS EST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2</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1</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347</a:t>
            </a:fld>
            <a:endParaRPr lang="en-US"/>
          </a:p>
        </p:txBody>
      </p:sp>
    </p:spTree>
    <p:extLst>
      <p:ext uri="{BB962C8B-B14F-4D97-AF65-F5344CB8AC3E}">
        <p14:creationId xmlns:p14="http://schemas.microsoft.com/office/powerpoint/2010/main" val="1448435100"/>
      </p:ext>
    </p:extLst>
  </p:cSld>
  <p:clrMapOvr>
    <a:masterClrMapping/>
  </p:clrMapOvr>
</p:sld>
</file>

<file path=ppt/slides/slide3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Crus | CA A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2</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1</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348</a:t>
            </a:fld>
            <a:endParaRPr lang="en-US"/>
          </a:p>
        </p:txBody>
      </p:sp>
    </p:spTree>
    <p:extLst>
      <p:ext uri="{BB962C8B-B14F-4D97-AF65-F5344CB8AC3E}">
        <p14:creationId xmlns:p14="http://schemas.microsoft.com/office/powerpoint/2010/main" val="4071051588"/>
      </p:ext>
    </p:extLst>
  </p:cSld>
  <p:clrMapOvr>
    <a:masterClrMapping/>
  </p:clrMapOvr>
</p:sld>
</file>

<file path=ppt/slides/slide3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Crus | CA B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2</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1</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349</a:t>
            </a:fld>
            <a:endParaRPr lang="en-US"/>
          </a:p>
        </p:txBody>
      </p:sp>
    </p:spTree>
    <p:extLst>
      <p:ext uri="{BB962C8B-B14F-4D97-AF65-F5344CB8AC3E}">
        <p14:creationId xmlns:p14="http://schemas.microsoft.com/office/powerpoint/2010/main" val="3376098638"/>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Mousseux | NICOLAS VCN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35</a:t>
            </a:fld>
            <a:endParaRPr lang="en-US"/>
          </a:p>
        </p:txBody>
      </p:sp>
    </p:spTree>
    <p:extLst>
      <p:ext uri="{BB962C8B-B14F-4D97-AF65-F5344CB8AC3E}">
        <p14:creationId xmlns:p14="http://schemas.microsoft.com/office/powerpoint/2010/main" val="2770115829"/>
      </p:ext>
    </p:extLst>
  </p:cSld>
  <p:clrMapOvr>
    <a:masterClrMapping/>
  </p:clrMapOvr>
</p:sld>
</file>

<file path=ppt/slides/slide3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Crus | CA C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2</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1</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350</a:t>
            </a:fld>
            <a:endParaRPr lang="en-US"/>
          </a:p>
        </p:txBody>
      </p:sp>
    </p:spTree>
    <p:extLst>
      <p:ext uri="{BB962C8B-B14F-4D97-AF65-F5344CB8AC3E}">
        <p14:creationId xmlns:p14="http://schemas.microsoft.com/office/powerpoint/2010/main" val="3767844252"/>
      </p:ext>
    </p:extLst>
  </p:cSld>
  <p:clrMapOvr>
    <a:masterClrMapping/>
  </p:clrMapOvr>
</p:sld>
</file>

<file path=ppt/slides/slide3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Crus | CA D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2</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1</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351</a:t>
            </a:fld>
            <a:endParaRPr lang="en-US"/>
          </a:p>
        </p:txBody>
      </p:sp>
    </p:spTree>
    <p:extLst>
      <p:ext uri="{BB962C8B-B14F-4D97-AF65-F5344CB8AC3E}">
        <p14:creationId xmlns:p14="http://schemas.microsoft.com/office/powerpoint/2010/main" val="2248016876"/>
      </p:ext>
    </p:extLst>
  </p:cSld>
  <p:clrMapOvr>
    <a:masterClrMapping/>
  </p:clrMapOvr>
</p:sld>
</file>

<file path=ppt/slides/slide3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Crus | CA E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2</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1</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352</a:t>
            </a:fld>
            <a:endParaRPr lang="en-US"/>
          </a:p>
        </p:txBody>
      </p:sp>
    </p:spTree>
    <p:extLst>
      <p:ext uri="{BB962C8B-B14F-4D97-AF65-F5344CB8AC3E}">
        <p14:creationId xmlns:p14="http://schemas.microsoft.com/office/powerpoint/2010/main" val="3880629071"/>
      </p:ext>
    </p:extLst>
  </p:cSld>
  <p:clrMapOvr>
    <a:masterClrMapping/>
  </p:clrMapOvr>
</p:sld>
</file>

<file path=ppt/slides/slide3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Extra Brut | NICOLAS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3</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1</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353</a:t>
            </a:fld>
            <a:endParaRPr lang="en-US"/>
          </a:p>
        </p:txBody>
      </p:sp>
    </p:spTree>
    <p:extLst>
      <p:ext uri="{BB962C8B-B14F-4D97-AF65-F5344CB8AC3E}">
        <p14:creationId xmlns:p14="http://schemas.microsoft.com/office/powerpoint/2010/main" val="1670243372"/>
      </p:ext>
    </p:extLst>
  </p:cSld>
  <p:clrMapOvr>
    <a:masterClrMapping/>
  </p:clrMapOvr>
</p:sld>
</file>

<file path=ppt/slides/slide3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Extra Brut | NICOLAS QCN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3</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1</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354</a:t>
            </a:fld>
            <a:endParaRPr lang="en-US"/>
          </a:p>
        </p:txBody>
      </p:sp>
    </p:spTree>
    <p:extLst>
      <p:ext uri="{BB962C8B-B14F-4D97-AF65-F5344CB8AC3E}">
        <p14:creationId xmlns:p14="http://schemas.microsoft.com/office/powerpoint/2010/main" val="688049801"/>
      </p:ext>
    </p:extLst>
  </p:cSld>
  <p:clrMapOvr>
    <a:masterClrMapping/>
  </p:clrMapOvr>
</p:sld>
</file>

<file path=ppt/slides/slide3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Extra Brut | NICOLAS VCN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3</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1</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355</a:t>
            </a:fld>
            <a:endParaRPr lang="en-US"/>
          </a:p>
        </p:txBody>
      </p:sp>
    </p:spTree>
    <p:extLst>
      <p:ext uri="{BB962C8B-B14F-4D97-AF65-F5344CB8AC3E}">
        <p14:creationId xmlns:p14="http://schemas.microsoft.com/office/powerpoint/2010/main" val="1770729688"/>
      </p:ext>
    </p:extLst>
  </p:cSld>
  <p:clrMapOvr>
    <a:masterClrMapping/>
  </p:clrMapOvr>
</p:sld>
</file>

<file path=ppt/slides/slide3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Extra Brut | NICOLAS QCT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3</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1</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356</a:t>
            </a:fld>
            <a:endParaRPr lang="en-US"/>
          </a:p>
        </p:txBody>
      </p:sp>
    </p:spTree>
    <p:extLst>
      <p:ext uri="{BB962C8B-B14F-4D97-AF65-F5344CB8AC3E}">
        <p14:creationId xmlns:p14="http://schemas.microsoft.com/office/powerpoint/2010/main" val="1674003625"/>
      </p:ext>
    </p:extLst>
  </p:cSld>
  <p:clrMapOvr>
    <a:masterClrMapping/>
  </p:clrMapOvr>
</p:sld>
</file>

<file path=ppt/slides/slide3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Extra Brut | NICOLAS QCA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3</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1</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357</a:t>
            </a:fld>
            <a:endParaRPr lang="en-US"/>
          </a:p>
        </p:txBody>
      </p:sp>
    </p:spTree>
    <p:extLst>
      <p:ext uri="{BB962C8B-B14F-4D97-AF65-F5344CB8AC3E}">
        <p14:creationId xmlns:p14="http://schemas.microsoft.com/office/powerpoint/2010/main" val="346408330"/>
      </p:ext>
    </p:extLst>
  </p:cSld>
  <p:clrMapOvr>
    <a:masterClrMapping/>
  </p:clrMapOvr>
</p:sld>
</file>

<file path=ppt/slides/slide3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Extra Brut | NICOLAS CCP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2</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1</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358</a:t>
            </a:fld>
            <a:endParaRPr lang="en-US"/>
          </a:p>
        </p:txBody>
      </p:sp>
    </p:spTree>
    <p:extLst>
      <p:ext uri="{BB962C8B-B14F-4D97-AF65-F5344CB8AC3E}">
        <p14:creationId xmlns:p14="http://schemas.microsoft.com/office/powerpoint/2010/main" val="1550730470"/>
      </p:ext>
    </p:extLst>
  </p:cSld>
  <p:clrMapOvr>
    <a:masterClrMapping/>
  </p:clrMapOvr>
</p:sld>
</file>

<file path=ppt/slides/slide3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Extra Brut | NICOLAS IDF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3</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1</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359</a:t>
            </a:fld>
            <a:endParaRPr lang="en-US"/>
          </a:p>
        </p:txBody>
      </p:sp>
    </p:spTree>
    <p:extLst>
      <p:ext uri="{BB962C8B-B14F-4D97-AF65-F5344CB8AC3E}">
        <p14:creationId xmlns:p14="http://schemas.microsoft.com/office/powerpoint/2010/main" val="3500265118"/>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Mousseux | NICOLAS QCT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36</a:t>
            </a:fld>
            <a:endParaRPr lang="en-US"/>
          </a:p>
        </p:txBody>
      </p:sp>
    </p:spTree>
    <p:extLst>
      <p:ext uri="{BB962C8B-B14F-4D97-AF65-F5344CB8AC3E}">
        <p14:creationId xmlns:p14="http://schemas.microsoft.com/office/powerpoint/2010/main" val="1448401210"/>
      </p:ext>
    </p:extLst>
  </p:cSld>
  <p:clrMapOvr>
    <a:masterClrMapping/>
  </p:clrMapOvr>
</p:sld>
</file>

<file path=ppt/slides/slide3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Extra Brut | NICOLAS PAC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3</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1</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360</a:t>
            </a:fld>
            <a:endParaRPr lang="en-US"/>
          </a:p>
        </p:txBody>
      </p:sp>
    </p:spTree>
    <p:extLst>
      <p:ext uri="{BB962C8B-B14F-4D97-AF65-F5344CB8AC3E}">
        <p14:creationId xmlns:p14="http://schemas.microsoft.com/office/powerpoint/2010/main" val="423843823"/>
      </p:ext>
    </p:extLst>
  </p:cSld>
  <p:clrMapOvr>
    <a:masterClrMapping/>
  </p:clrMapOvr>
</p:sld>
</file>

<file path=ppt/slides/slide3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Extra Brut | NICOLAS RHO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2</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1</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361</a:t>
            </a:fld>
            <a:endParaRPr lang="en-US"/>
          </a:p>
        </p:txBody>
      </p:sp>
    </p:spTree>
    <p:extLst>
      <p:ext uri="{BB962C8B-B14F-4D97-AF65-F5344CB8AC3E}">
        <p14:creationId xmlns:p14="http://schemas.microsoft.com/office/powerpoint/2010/main" val="1451848860"/>
      </p:ext>
    </p:extLst>
  </p:cSld>
  <p:clrMapOvr>
    <a:masterClrMapping/>
  </p:clrMapOvr>
</p:sld>
</file>

<file path=ppt/slides/slide3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Extra Brut | NICOLAS AQU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2</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1</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362</a:t>
            </a:fld>
            <a:endParaRPr lang="en-US"/>
          </a:p>
        </p:txBody>
      </p:sp>
    </p:spTree>
    <p:extLst>
      <p:ext uri="{BB962C8B-B14F-4D97-AF65-F5344CB8AC3E}">
        <p14:creationId xmlns:p14="http://schemas.microsoft.com/office/powerpoint/2010/main" val="109667104"/>
      </p:ext>
    </p:extLst>
  </p:cSld>
  <p:clrMapOvr>
    <a:masterClrMapping/>
  </p:clrMapOvr>
</p:sld>
</file>

<file path=ppt/slides/slide3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Extra Brut | NICOLAS EST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3</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1</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363</a:t>
            </a:fld>
            <a:endParaRPr lang="en-US"/>
          </a:p>
        </p:txBody>
      </p:sp>
    </p:spTree>
    <p:extLst>
      <p:ext uri="{BB962C8B-B14F-4D97-AF65-F5344CB8AC3E}">
        <p14:creationId xmlns:p14="http://schemas.microsoft.com/office/powerpoint/2010/main" val="198189004"/>
      </p:ext>
    </p:extLst>
  </p:cSld>
  <p:clrMapOvr>
    <a:masterClrMapping/>
  </p:clrMapOvr>
</p:sld>
</file>

<file path=ppt/slides/slide3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Extra Brut | CA A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3</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1</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364</a:t>
            </a:fld>
            <a:endParaRPr lang="en-US"/>
          </a:p>
        </p:txBody>
      </p:sp>
    </p:spTree>
    <p:extLst>
      <p:ext uri="{BB962C8B-B14F-4D97-AF65-F5344CB8AC3E}">
        <p14:creationId xmlns:p14="http://schemas.microsoft.com/office/powerpoint/2010/main" val="572676483"/>
      </p:ext>
    </p:extLst>
  </p:cSld>
  <p:clrMapOvr>
    <a:masterClrMapping/>
  </p:clrMapOvr>
</p:sld>
</file>

<file path=ppt/slides/slide3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Extra Brut | CA B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3</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1</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365</a:t>
            </a:fld>
            <a:endParaRPr lang="en-US"/>
          </a:p>
        </p:txBody>
      </p:sp>
    </p:spTree>
    <p:extLst>
      <p:ext uri="{BB962C8B-B14F-4D97-AF65-F5344CB8AC3E}">
        <p14:creationId xmlns:p14="http://schemas.microsoft.com/office/powerpoint/2010/main" val="765906668"/>
      </p:ext>
    </p:extLst>
  </p:cSld>
  <p:clrMapOvr>
    <a:masterClrMapping/>
  </p:clrMapOvr>
</p:sld>
</file>

<file path=ppt/slides/slide3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Extra Brut | CA C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3</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1</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366</a:t>
            </a:fld>
            <a:endParaRPr lang="en-US"/>
          </a:p>
        </p:txBody>
      </p:sp>
    </p:spTree>
    <p:extLst>
      <p:ext uri="{BB962C8B-B14F-4D97-AF65-F5344CB8AC3E}">
        <p14:creationId xmlns:p14="http://schemas.microsoft.com/office/powerpoint/2010/main" val="383373808"/>
      </p:ext>
    </p:extLst>
  </p:cSld>
  <p:clrMapOvr>
    <a:masterClrMapping/>
  </p:clrMapOvr>
</p:sld>
</file>

<file path=ppt/slides/slide3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Extra Brut | CA D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2</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1</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367</a:t>
            </a:fld>
            <a:endParaRPr lang="en-US"/>
          </a:p>
        </p:txBody>
      </p:sp>
    </p:spTree>
    <p:extLst>
      <p:ext uri="{BB962C8B-B14F-4D97-AF65-F5344CB8AC3E}">
        <p14:creationId xmlns:p14="http://schemas.microsoft.com/office/powerpoint/2010/main" val="1609399990"/>
      </p:ext>
    </p:extLst>
  </p:cSld>
  <p:clrMapOvr>
    <a:masterClrMapping/>
  </p:clrMapOvr>
</p:sld>
</file>

<file path=ppt/slides/slide3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Extra Brut | CA E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3</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1</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368</a:t>
            </a:fld>
            <a:endParaRPr lang="en-US"/>
          </a:p>
        </p:txBody>
      </p:sp>
    </p:spTree>
    <p:extLst>
      <p:ext uri="{BB962C8B-B14F-4D97-AF65-F5344CB8AC3E}">
        <p14:creationId xmlns:p14="http://schemas.microsoft.com/office/powerpoint/2010/main" val="3799669937"/>
      </p:ext>
    </p:extLst>
  </p:cSld>
  <p:clrMapOvr>
    <a:masterClrMapping/>
  </p:clrMapOvr>
</p:sld>
</file>

<file path=ppt/slides/slide3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Millesimes | NICOLAS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12</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4</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369</a:t>
            </a:fld>
            <a:endParaRPr lang="en-US"/>
          </a:p>
        </p:txBody>
      </p:sp>
    </p:spTree>
    <p:extLst>
      <p:ext uri="{BB962C8B-B14F-4D97-AF65-F5344CB8AC3E}">
        <p14:creationId xmlns:p14="http://schemas.microsoft.com/office/powerpoint/2010/main" val="4075309235"/>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Mousseux | NICOLAS QCA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37</a:t>
            </a:fld>
            <a:endParaRPr lang="en-US"/>
          </a:p>
        </p:txBody>
      </p:sp>
    </p:spTree>
    <p:extLst>
      <p:ext uri="{BB962C8B-B14F-4D97-AF65-F5344CB8AC3E}">
        <p14:creationId xmlns:p14="http://schemas.microsoft.com/office/powerpoint/2010/main" val="394669734"/>
      </p:ext>
    </p:extLst>
  </p:cSld>
  <p:clrMapOvr>
    <a:masterClrMapping/>
  </p:clrMapOvr>
</p:sld>
</file>

<file path=ppt/slides/slide3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Millesimes | NICOLAS QCN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11</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4</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370</a:t>
            </a:fld>
            <a:endParaRPr lang="en-US"/>
          </a:p>
        </p:txBody>
      </p:sp>
    </p:spTree>
    <p:extLst>
      <p:ext uri="{BB962C8B-B14F-4D97-AF65-F5344CB8AC3E}">
        <p14:creationId xmlns:p14="http://schemas.microsoft.com/office/powerpoint/2010/main" val="3426198132"/>
      </p:ext>
    </p:extLst>
  </p:cSld>
  <p:clrMapOvr>
    <a:masterClrMapping/>
  </p:clrMapOvr>
</p:sld>
</file>

<file path=ppt/slides/slide3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Millesimes | NICOLAS VCN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12</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5</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371</a:t>
            </a:fld>
            <a:endParaRPr lang="en-US"/>
          </a:p>
        </p:txBody>
      </p:sp>
    </p:spTree>
    <p:extLst>
      <p:ext uri="{BB962C8B-B14F-4D97-AF65-F5344CB8AC3E}">
        <p14:creationId xmlns:p14="http://schemas.microsoft.com/office/powerpoint/2010/main" val="508764503"/>
      </p:ext>
    </p:extLst>
  </p:cSld>
  <p:clrMapOvr>
    <a:masterClrMapping/>
  </p:clrMapOvr>
</p:sld>
</file>

<file path=ppt/slides/slide3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Millesimes | NICOLAS QCT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13</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4</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372</a:t>
            </a:fld>
            <a:endParaRPr lang="en-US"/>
          </a:p>
        </p:txBody>
      </p:sp>
    </p:spTree>
    <p:extLst>
      <p:ext uri="{BB962C8B-B14F-4D97-AF65-F5344CB8AC3E}">
        <p14:creationId xmlns:p14="http://schemas.microsoft.com/office/powerpoint/2010/main" val="3332013150"/>
      </p:ext>
    </p:extLst>
  </p:cSld>
  <p:clrMapOvr>
    <a:masterClrMapping/>
  </p:clrMapOvr>
</p:sld>
</file>

<file path=ppt/slides/slide3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Millesimes | NICOLAS QCA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11</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3</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373</a:t>
            </a:fld>
            <a:endParaRPr lang="en-US"/>
          </a:p>
        </p:txBody>
      </p:sp>
    </p:spTree>
    <p:extLst>
      <p:ext uri="{BB962C8B-B14F-4D97-AF65-F5344CB8AC3E}">
        <p14:creationId xmlns:p14="http://schemas.microsoft.com/office/powerpoint/2010/main" val="904889881"/>
      </p:ext>
    </p:extLst>
  </p:cSld>
  <p:clrMapOvr>
    <a:masterClrMapping/>
  </p:clrMapOvr>
</p:sld>
</file>

<file path=ppt/slides/slide3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Millesimes | NICOLAS CCP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12</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3</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374</a:t>
            </a:fld>
            <a:endParaRPr lang="en-US"/>
          </a:p>
        </p:txBody>
      </p:sp>
    </p:spTree>
    <p:extLst>
      <p:ext uri="{BB962C8B-B14F-4D97-AF65-F5344CB8AC3E}">
        <p14:creationId xmlns:p14="http://schemas.microsoft.com/office/powerpoint/2010/main" val="3044621174"/>
      </p:ext>
    </p:extLst>
  </p:cSld>
  <p:clrMapOvr>
    <a:masterClrMapping/>
  </p:clrMapOvr>
</p:sld>
</file>

<file path=ppt/slides/slide3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Millesimes | NICOLAS IDF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12</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4</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375</a:t>
            </a:fld>
            <a:endParaRPr lang="en-US"/>
          </a:p>
        </p:txBody>
      </p:sp>
    </p:spTree>
    <p:extLst>
      <p:ext uri="{BB962C8B-B14F-4D97-AF65-F5344CB8AC3E}">
        <p14:creationId xmlns:p14="http://schemas.microsoft.com/office/powerpoint/2010/main" val="2200624120"/>
      </p:ext>
    </p:extLst>
  </p:cSld>
  <p:clrMapOvr>
    <a:masterClrMapping/>
  </p:clrMapOvr>
</p:sld>
</file>

<file path=ppt/slides/slide3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Millesimes | NICOLAS PAC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10</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3</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376</a:t>
            </a:fld>
            <a:endParaRPr lang="en-US"/>
          </a:p>
        </p:txBody>
      </p:sp>
    </p:spTree>
    <p:extLst>
      <p:ext uri="{BB962C8B-B14F-4D97-AF65-F5344CB8AC3E}">
        <p14:creationId xmlns:p14="http://schemas.microsoft.com/office/powerpoint/2010/main" val="3050313656"/>
      </p:ext>
    </p:extLst>
  </p:cSld>
  <p:clrMapOvr>
    <a:masterClrMapping/>
  </p:clrMapOvr>
</p:sld>
</file>

<file path=ppt/slides/slide3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Millesimes | NICOLAS RHO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10</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3</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377</a:t>
            </a:fld>
            <a:endParaRPr lang="en-US"/>
          </a:p>
        </p:txBody>
      </p:sp>
    </p:spTree>
    <p:extLst>
      <p:ext uri="{BB962C8B-B14F-4D97-AF65-F5344CB8AC3E}">
        <p14:creationId xmlns:p14="http://schemas.microsoft.com/office/powerpoint/2010/main" val="1014533654"/>
      </p:ext>
    </p:extLst>
  </p:cSld>
  <p:clrMapOvr>
    <a:masterClrMapping/>
  </p:clrMapOvr>
</p:sld>
</file>

<file path=ppt/slides/slide3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Millesimes | NICOLAS AQU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10</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3</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378</a:t>
            </a:fld>
            <a:endParaRPr lang="en-US"/>
          </a:p>
        </p:txBody>
      </p:sp>
    </p:spTree>
    <p:extLst>
      <p:ext uri="{BB962C8B-B14F-4D97-AF65-F5344CB8AC3E}">
        <p14:creationId xmlns:p14="http://schemas.microsoft.com/office/powerpoint/2010/main" val="1625797112"/>
      </p:ext>
    </p:extLst>
  </p:cSld>
  <p:clrMapOvr>
    <a:masterClrMapping/>
  </p:clrMapOvr>
</p:sld>
</file>

<file path=ppt/slides/slide3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Millesimes | NICOLAS EST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14</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6</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379</a:t>
            </a:fld>
            <a:endParaRPr lang="en-US"/>
          </a:p>
        </p:txBody>
      </p:sp>
    </p:spTree>
    <p:extLst>
      <p:ext uri="{BB962C8B-B14F-4D97-AF65-F5344CB8AC3E}">
        <p14:creationId xmlns:p14="http://schemas.microsoft.com/office/powerpoint/2010/main" val="129525087"/>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Mousseux | NICOLAS CCP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38</a:t>
            </a:fld>
            <a:endParaRPr lang="en-US"/>
          </a:p>
        </p:txBody>
      </p:sp>
    </p:spTree>
    <p:extLst>
      <p:ext uri="{BB962C8B-B14F-4D97-AF65-F5344CB8AC3E}">
        <p14:creationId xmlns:p14="http://schemas.microsoft.com/office/powerpoint/2010/main" val="77745072"/>
      </p:ext>
    </p:extLst>
  </p:cSld>
  <p:clrMapOvr>
    <a:masterClrMapping/>
  </p:clrMapOvr>
</p:sld>
</file>

<file path=ppt/slides/slide3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Millesimes | CA A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12</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4</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380</a:t>
            </a:fld>
            <a:endParaRPr lang="en-US"/>
          </a:p>
        </p:txBody>
      </p:sp>
    </p:spTree>
    <p:extLst>
      <p:ext uri="{BB962C8B-B14F-4D97-AF65-F5344CB8AC3E}">
        <p14:creationId xmlns:p14="http://schemas.microsoft.com/office/powerpoint/2010/main" val="2480428419"/>
      </p:ext>
    </p:extLst>
  </p:cSld>
  <p:clrMapOvr>
    <a:masterClrMapping/>
  </p:clrMapOvr>
</p:sld>
</file>

<file path=ppt/slides/slide3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Millesimes | CA B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10</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4</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381</a:t>
            </a:fld>
            <a:endParaRPr lang="en-US"/>
          </a:p>
        </p:txBody>
      </p:sp>
    </p:spTree>
    <p:extLst>
      <p:ext uri="{BB962C8B-B14F-4D97-AF65-F5344CB8AC3E}">
        <p14:creationId xmlns:p14="http://schemas.microsoft.com/office/powerpoint/2010/main" val="1296708941"/>
      </p:ext>
    </p:extLst>
  </p:cSld>
  <p:clrMapOvr>
    <a:masterClrMapping/>
  </p:clrMapOvr>
</p:sld>
</file>

<file path=ppt/slides/slide3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Millesimes | CA C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10</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4</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382</a:t>
            </a:fld>
            <a:endParaRPr lang="en-US"/>
          </a:p>
        </p:txBody>
      </p:sp>
    </p:spTree>
    <p:extLst>
      <p:ext uri="{BB962C8B-B14F-4D97-AF65-F5344CB8AC3E}">
        <p14:creationId xmlns:p14="http://schemas.microsoft.com/office/powerpoint/2010/main" val="1680044632"/>
      </p:ext>
    </p:extLst>
  </p:cSld>
  <p:clrMapOvr>
    <a:masterClrMapping/>
  </p:clrMapOvr>
</p:sld>
</file>

<file path=ppt/slides/slide3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Millesimes | CA D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12</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4</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383</a:t>
            </a:fld>
            <a:endParaRPr lang="en-US"/>
          </a:p>
        </p:txBody>
      </p:sp>
    </p:spTree>
    <p:extLst>
      <p:ext uri="{BB962C8B-B14F-4D97-AF65-F5344CB8AC3E}">
        <p14:creationId xmlns:p14="http://schemas.microsoft.com/office/powerpoint/2010/main" val="567487258"/>
      </p:ext>
    </p:extLst>
  </p:cSld>
  <p:clrMapOvr>
    <a:masterClrMapping/>
  </p:clrMapOvr>
</p:sld>
</file>

<file path=ppt/slides/slide3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Millesimes | CA E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12</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4</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384</a:t>
            </a:fld>
            <a:endParaRPr lang="en-US"/>
          </a:p>
        </p:txBody>
      </p:sp>
    </p:spTree>
    <p:extLst>
      <p:ext uri="{BB962C8B-B14F-4D97-AF65-F5344CB8AC3E}">
        <p14:creationId xmlns:p14="http://schemas.microsoft.com/office/powerpoint/2010/main" val="4178039032"/>
      </p:ext>
    </p:extLst>
  </p:cSld>
  <p:clrMapOvr>
    <a:masterClrMapping/>
  </p:clrMapOvr>
</p:sld>
</file>

<file path=ppt/slides/slide3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Rosés | NICOLAS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11</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5</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385</a:t>
            </a:fld>
            <a:endParaRPr lang="en-US"/>
          </a:p>
        </p:txBody>
      </p:sp>
    </p:spTree>
    <p:extLst>
      <p:ext uri="{BB962C8B-B14F-4D97-AF65-F5344CB8AC3E}">
        <p14:creationId xmlns:p14="http://schemas.microsoft.com/office/powerpoint/2010/main" val="1183426894"/>
      </p:ext>
    </p:extLst>
  </p:cSld>
  <p:clrMapOvr>
    <a:masterClrMapping/>
  </p:clrMapOvr>
</p:sld>
</file>

<file path=ppt/slides/slide3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Rosés | NICOLAS QCN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12</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5</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386</a:t>
            </a:fld>
            <a:endParaRPr lang="en-US"/>
          </a:p>
        </p:txBody>
      </p:sp>
    </p:spTree>
    <p:extLst>
      <p:ext uri="{BB962C8B-B14F-4D97-AF65-F5344CB8AC3E}">
        <p14:creationId xmlns:p14="http://schemas.microsoft.com/office/powerpoint/2010/main" val="4036940888"/>
      </p:ext>
    </p:extLst>
  </p:cSld>
  <p:clrMapOvr>
    <a:masterClrMapping/>
  </p:clrMapOvr>
</p:sld>
</file>

<file path=ppt/slides/slide3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Rosés | NICOLAS VCN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9</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4</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387</a:t>
            </a:fld>
            <a:endParaRPr lang="en-US"/>
          </a:p>
        </p:txBody>
      </p:sp>
    </p:spTree>
    <p:extLst>
      <p:ext uri="{BB962C8B-B14F-4D97-AF65-F5344CB8AC3E}">
        <p14:creationId xmlns:p14="http://schemas.microsoft.com/office/powerpoint/2010/main" val="4060660246"/>
      </p:ext>
    </p:extLst>
  </p:cSld>
  <p:clrMapOvr>
    <a:masterClrMapping/>
  </p:clrMapOvr>
</p:sld>
</file>

<file path=ppt/slides/slide3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Rosés | NICOLAS QCT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11</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5</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388</a:t>
            </a:fld>
            <a:endParaRPr lang="en-US"/>
          </a:p>
        </p:txBody>
      </p:sp>
    </p:spTree>
    <p:extLst>
      <p:ext uri="{BB962C8B-B14F-4D97-AF65-F5344CB8AC3E}">
        <p14:creationId xmlns:p14="http://schemas.microsoft.com/office/powerpoint/2010/main" val="198496297"/>
      </p:ext>
    </p:extLst>
  </p:cSld>
  <p:clrMapOvr>
    <a:masterClrMapping/>
  </p:clrMapOvr>
</p:sld>
</file>

<file path=ppt/slides/slide3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Rosés | NICOLAS QCA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12</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5</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389</a:t>
            </a:fld>
            <a:endParaRPr lang="en-US"/>
          </a:p>
        </p:txBody>
      </p:sp>
    </p:spTree>
    <p:extLst>
      <p:ext uri="{BB962C8B-B14F-4D97-AF65-F5344CB8AC3E}">
        <p14:creationId xmlns:p14="http://schemas.microsoft.com/office/powerpoint/2010/main" val="1614707641"/>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Mousseux | NICOLAS IDF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39</a:t>
            </a:fld>
            <a:endParaRPr lang="en-US"/>
          </a:p>
        </p:txBody>
      </p:sp>
    </p:spTree>
    <p:extLst>
      <p:ext uri="{BB962C8B-B14F-4D97-AF65-F5344CB8AC3E}">
        <p14:creationId xmlns:p14="http://schemas.microsoft.com/office/powerpoint/2010/main" val="1579561241"/>
      </p:ext>
    </p:extLst>
  </p:cSld>
  <p:clrMapOvr>
    <a:masterClrMapping/>
  </p:clrMapOvr>
</p:sld>
</file>

<file path=ppt/slides/slide3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Rosés | NICOLAS CCP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10</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4</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390</a:t>
            </a:fld>
            <a:endParaRPr lang="en-US"/>
          </a:p>
        </p:txBody>
      </p:sp>
    </p:spTree>
    <p:extLst>
      <p:ext uri="{BB962C8B-B14F-4D97-AF65-F5344CB8AC3E}">
        <p14:creationId xmlns:p14="http://schemas.microsoft.com/office/powerpoint/2010/main" val="3322828373"/>
      </p:ext>
    </p:extLst>
  </p:cSld>
  <p:clrMapOvr>
    <a:masterClrMapping/>
  </p:clrMapOvr>
</p:sld>
</file>

<file path=ppt/slides/slide3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Rosés | NICOLAS IDF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12</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5</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391</a:t>
            </a:fld>
            <a:endParaRPr lang="en-US"/>
          </a:p>
        </p:txBody>
      </p:sp>
    </p:spTree>
    <p:extLst>
      <p:ext uri="{BB962C8B-B14F-4D97-AF65-F5344CB8AC3E}">
        <p14:creationId xmlns:p14="http://schemas.microsoft.com/office/powerpoint/2010/main" val="3410484726"/>
      </p:ext>
    </p:extLst>
  </p:cSld>
  <p:clrMapOvr>
    <a:masterClrMapping/>
  </p:clrMapOvr>
</p:sld>
</file>

<file path=ppt/slides/slide3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Rosés | NICOLAS PAC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9</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4</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392</a:t>
            </a:fld>
            <a:endParaRPr lang="en-US"/>
          </a:p>
        </p:txBody>
      </p:sp>
    </p:spTree>
    <p:extLst>
      <p:ext uri="{BB962C8B-B14F-4D97-AF65-F5344CB8AC3E}">
        <p14:creationId xmlns:p14="http://schemas.microsoft.com/office/powerpoint/2010/main" val="659176855"/>
      </p:ext>
    </p:extLst>
  </p:cSld>
  <p:clrMapOvr>
    <a:masterClrMapping/>
  </p:clrMapOvr>
</p:sld>
</file>

<file path=ppt/slides/slide3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Rosés | NICOLAS RHO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10</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5</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393</a:t>
            </a:fld>
            <a:endParaRPr lang="en-US"/>
          </a:p>
        </p:txBody>
      </p:sp>
    </p:spTree>
    <p:extLst>
      <p:ext uri="{BB962C8B-B14F-4D97-AF65-F5344CB8AC3E}">
        <p14:creationId xmlns:p14="http://schemas.microsoft.com/office/powerpoint/2010/main" val="3412144869"/>
      </p:ext>
    </p:extLst>
  </p:cSld>
  <p:clrMapOvr>
    <a:masterClrMapping/>
  </p:clrMapOvr>
</p:sld>
</file>

<file path=ppt/slides/slide3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Rosés | NICOLAS AQU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9</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4</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394</a:t>
            </a:fld>
            <a:endParaRPr lang="en-US"/>
          </a:p>
        </p:txBody>
      </p:sp>
    </p:spTree>
    <p:extLst>
      <p:ext uri="{BB962C8B-B14F-4D97-AF65-F5344CB8AC3E}">
        <p14:creationId xmlns:p14="http://schemas.microsoft.com/office/powerpoint/2010/main" val="1713134936"/>
      </p:ext>
    </p:extLst>
  </p:cSld>
  <p:clrMapOvr>
    <a:masterClrMapping/>
  </p:clrMapOvr>
</p:sld>
</file>

<file path=ppt/slides/slide3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Rosés | NICOLAS EST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10</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5</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395</a:t>
            </a:fld>
            <a:endParaRPr lang="en-US"/>
          </a:p>
        </p:txBody>
      </p:sp>
    </p:spTree>
    <p:extLst>
      <p:ext uri="{BB962C8B-B14F-4D97-AF65-F5344CB8AC3E}">
        <p14:creationId xmlns:p14="http://schemas.microsoft.com/office/powerpoint/2010/main" val="3369037046"/>
      </p:ext>
    </p:extLst>
  </p:cSld>
  <p:clrMapOvr>
    <a:masterClrMapping/>
  </p:clrMapOvr>
</p:sld>
</file>

<file path=ppt/slides/slide3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Rosés | CA A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12</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6</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396</a:t>
            </a:fld>
            <a:endParaRPr lang="en-US"/>
          </a:p>
        </p:txBody>
      </p:sp>
    </p:spTree>
    <p:extLst>
      <p:ext uri="{BB962C8B-B14F-4D97-AF65-F5344CB8AC3E}">
        <p14:creationId xmlns:p14="http://schemas.microsoft.com/office/powerpoint/2010/main" val="3634347625"/>
      </p:ext>
    </p:extLst>
  </p:cSld>
  <p:clrMapOvr>
    <a:masterClrMapping/>
  </p:clrMapOvr>
</p:sld>
</file>

<file path=ppt/slides/slide3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Rosés | CA B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9</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4</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397</a:t>
            </a:fld>
            <a:endParaRPr lang="en-US"/>
          </a:p>
        </p:txBody>
      </p:sp>
    </p:spTree>
    <p:extLst>
      <p:ext uri="{BB962C8B-B14F-4D97-AF65-F5344CB8AC3E}">
        <p14:creationId xmlns:p14="http://schemas.microsoft.com/office/powerpoint/2010/main" val="807906258"/>
      </p:ext>
    </p:extLst>
  </p:cSld>
  <p:clrMapOvr>
    <a:masterClrMapping/>
  </p:clrMapOvr>
</p:sld>
</file>

<file path=ppt/slides/slide3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Rosés | CA C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10</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4</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398</a:t>
            </a:fld>
            <a:endParaRPr lang="en-US"/>
          </a:p>
        </p:txBody>
      </p:sp>
    </p:spTree>
    <p:extLst>
      <p:ext uri="{BB962C8B-B14F-4D97-AF65-F5344CB8AC3E}">
        <p14:creationId xmlns:p14="http://schemas.microsoft.com/office/powerpoint/2010/main" val="299521861"/>
      </p:ext>
    </p:extLst>
  </p:cSld>
  <p:clrMapOvr>
    <a:masterClrMapping/>
  </p:clrMapOvr>
</p:sld>
</file>

<file path=ppt/slides/slide3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Rosés | CA D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10</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5</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399</a:t>
            </a:fld>
            <a:endParaRPr lang="en-US"/>
          </a:p>
        </p:txBody>
      </p:sp>
    </p:spTree>
    <p:extLst>
      <p:ext uri="{BB962C8B-B14F-4D97-AF65-F5344CB8AC3E}">
        <p14:creationId xmlns:p14="http://schemas.microsoft.com/office/powerpoint/2010/main" val="282853383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Effervescents | NICOLAS QCT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4</a:t>
            </a:fld>
            <a:endParaRPr lang="en-US"/>
          </a:p>
        </p:txBody>
      </p:sp>
    </p:spTree>
    <p:extLst>
      <p:ext uri="{BB962C8B-B14F-4D97-AF65-F5344CB8AC3E}">
        <p14:creationId xmlns:p14="http://schemas.microsoft.com/office/powerpoint/2010/main" val="3428068642"/>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Mousseux | NICOLAS PAC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40</a:t>
            </a:fld>
            <a:endParaRPr lang="en-US"/>
          </a:p>
        </p:txBody>
      </p:sp>
    </p:spTree>
    <p:extLst>
      <p:ext uri="{BB962C8B-B14F-4D97-AF65-F5344CB8AC3E}">
        <p14:creationId xmlns:p14="http://schemas.microsoft.com/office/powerpoint/2010/main" val="4261613610"/>
      </p:ext>
    </p:extLst>
  </p:cSld>
  <p:clrMapOvr>
    <a:masterClrMapping/>
  </p:clrMapOvr>
</p:sld>
</file>

<file path=ppt/slides/slide4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Rosés | CA E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9</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5</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400</a:t>
            </a:fld>
            <a:endParaRPr lang="en-US"/>
          </a:p>
        </p:txBody>
      </p:sp>
    </p:spTree>
    <p:extLst>
      <p:ext uri="{BB962C8B-B14F-4D97-AF65-F5344CB8AC3E}">
        <p14:creationId xmlns:p14="http://schemas.microsoft.com/office/powerpoint/2010/main" val="3861684331"/>
      </p:ext>
    </p:extLst>
  </p:cSld>
  <p:clrMapOvr>
    <a:masterClrMapping/>
  </p:clrMapOvr>
</p:sld>
</file>

<file path=ppt/slides/slide4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Mousseux Bourgogne | NICOLAS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2</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1</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401</a:t>
            </a:fld>
            <a:endParaRPr lang="en-US"/>
          </a:p>
        </p:txBody>
      </p:sp>
    </p:spTree>
    <p:extLst>
      <p:ext uri="{BB962C8B-B14F-4D97-AF65-F5344CB8AC3E}">
        <p14:creationId xmlns:p14="http://schemas.microsoft.com/office/powerpoint/2010/main" val="2091984597"/>
      </p:ext>
    </p:extLst>
  </p:cSld>
  <p:clrMapOvr>
    <a:masterClrMapping/>
  </p:clrMapOvr>
</p:sld>
</file>

<file path=ppt/slides/slide4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Mousseux Bourgogne | NICOLAS QCN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2</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1</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402</a:t>
            </a:fld>
            <a:endParaRPr lang="en-US"/>
          </a:p>
        </p:txBody>
      </p:sp>
    </p:spTree>
    <p:extLst>
      <p:ext uri="{BB962C8B-B14F-4D97-AF65-F5344CB8AC3E}">
        <p14:creationId xmlns:p14="http://schemas.microsoft.com/office/powerpoint/2010/main" val="309771664"/>
      </p:ext>
    </p:extLst>
  </p:cSld>
  <p:clrMapOvr>
    <a:masterClrMapping/>
  </p:clrMapOvr>
</p:sld>
</file>

<file path=ppt/slides/slide4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Mousseux Bourgogne | NICOLAS VCN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2</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1</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403</a:t>
            </a:fld>
            <a:endParaRPr lang="en-US"/>
          </a:p>
        </p:txBody>
      </p:sp>
    </p:spTree>
    <p:extLst>
      <p:ext uri="{BB962C8B-B14F-4D97-AF65-F5344CB8AC3E}">
        <p14:creationId xmlns:p14="http://schemas.microsoft.com/office/powerpoint/2010/main" val="1387115046"/>
      </p:ext>
    </p:extLst>
  </p:cSld>
  <p:clrMapOvr>
    <a:masterClrMapping/>
  </p:clrMapOvr>
</p:sld>
</file>

<file path=ppt/slides/slide4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Mousseux Bourgogne | NICOLAS QCT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2</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1</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404</a:t>
            </a:fld>
            <a:endParaRPr lang="en-US"/>
          </a:p>
        </p:txBody>
      </p:sp>
    </p:spTree>
    <p:extLst>
      <p:ext uri="{BB962C8B-B14F-4D97-AF65-F5344CB8AC3E}">
        <p14:creationId xmlns:p14="http://schemas.microsoft.com/office/powerpoint/2010/main" val="697139161"/>
      </p:ext>
    </p:extLst>
  </p:cSld>
  <p:clrMapOvr>
    <a:masterClrMapping/>
  </p:clrMapOvr>
</p:sld>
</file>

<file path=ppt/slides/slide4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Mousseux Bourgogne | NICOLAS QCA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1</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1</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405</a:t>
            </a:fld>
            <a:endParaRPr lang="en-US"/>
          </a:p>
        </p:txBody>
      </p:sp>
    </p:spTree>
    <p:extLst>
      <p:ext uri="{BB962C8B-B14F-4D97-AF65-F5344CB8AC3E}">
        <p14:creationId xmlns:p14="http://schemas.microsoft.com/office/powerpoint/2010/main" val="3299319899"/>
      </p:ext>
    </p:extLst>
  </p:cSld>
  <p:clrMapOvr>
    <a:masterClrMapping/>
  </p:clrMapOvr>
</p:sld>
</file>

<file path=ppt/slides/slide4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Mousseux Bourgogne | NICOLAS CCP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2</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1</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406</a:t>
            </a:fld>
            <a:endParaRPr lang="en-US"/>
          </a:p>
        </p:txBody>
      </p:sp>
    </p:spTree>
    <p:extLst>
      <p:ext uri="{BB962C8B-B14F-4D97-AF65-F5344CB8AC3E}">
        <p14:creationId xmlns:p14="http://schemas.microsoft.com/office/powerpoint/2010/main" val="645535947"/>
      </p:ext>
    </p:extLst>
  </p:cSld>
  <p:clrMapOvr>
    <a:masterClrMapping/>
  </p:clrMapOvr>
</p:sld>
</file>

<file path=ppt/slides/slide4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Mousseux Bourgogne | NICOLAS IDF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2</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1</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407</a:t>
            </a:fld>
            <a:endParaRPr lang="en-US"/>
          </a:p>
        </p:txBody>
      </p:sp>
    </p:spTree>
    <p:extLst>
      <p:ext uri="{BB962C8B-B14F-4D97-AF65-F5344CB8AC3E}">
        <p14:creationId xmlns:p14="http://schemas.microsoft.com/office/powerpoint/2010/main" val="3380492971"/>
      </p:ext>
    </p:extLst>
  </p:cSld>
  <p:clrMapOvr>
    <a:masterClrMapping/>
  </p:clrMapOvr>
</p:sld>
</file>

<file path=ppt/slides/slide4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Mousseux Bourgogne | NICOLAS PAC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2</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1</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408</a:t>
            </a:fld>
            <a:endParaRPr lang="en-US"/>
          </a:p>
        </p:txBody>
      </p:sp>
    </p:spTree>
    <p:extLst>
      <p:ext uri="{BB962C8B-B14F-4D97-AF65-F5344CB8AC3E}">
        <p14:creationId xmlns:p14="http://schemas.microsoft.com/office/powerpoint/2010/main" val="3183222375"/>
      </p:ext>
    </p:extLst>
  </p:cSld>
  <p:clrMapOvr>
    <a:masterClrMapping/>
  </p:clrMapOvr>
</p:sld>
</file>

<file path=ppt/slides/slide4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Mousseux Bourgogne | NICOLAS RHO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2</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1</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409</a:t>
            </a:fld>
            <a:endParaRPr lang="en-US"/>
          </a:p>
        </p:txBody>
      </p:sp>
    </p:spTree>
    <p:extLst>
      <p:ext uri="{BB962C8B-B14F-4D97-AF65-F5344CB8AC3E}">
        <p14:creationId xmlns:p14="http://schemas.microsoft.com/office/powerpoint/2010/main" val="4080201145"/>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Mousseux | NICOLAS RHO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41</a:t>
            </a:fld>
            <a:endParaRPr lang="en-US"/>
          </a:p>
        </p:txBody>
      </p:sp>
    </p:spTree>
    <p:extLst>
      <p:ext uri="{BB962C8B-B14F-4D97-AF65-F5344CB8AC3E}">
        <p14:creationId xmlns:p14="http://schemas.microsoft.com/office/powerpoint/2010/main" val="3613939769"/>
      </p:ext>
    </p:extLst>
  </p:cSld>
  <p:clrMapOvr>
    <a:masterClrMapping/>
  </p:clrMapOvr>
</p:sld>
</file>

<file path=ppt/slides/slide4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Mousseux Bourgogne | NICOLAS AQU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2</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1</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410</a:t>
            </a:fld>
            <a:endParaRPr lang="en-US"/>
          </a:p>
        </p:txBody>
      </p:sp>
    </p:spTree>
    <p:extLst>
      <p:ext uri="{BB962C8B-B14F-4D97-AF65-F5344CB8AC3E}">
        <p14:creationId xmlns:p14="http://schemas.microsoft.com/office/powerpoint/2010/main" val="3067638712"/>
      </p:ext>
    </p:extLst>
  </p:cSld>
  <p:clrMapOvr>
    <a:masterClrMapping/>
  </p:clrMapOvr>
</p:sld>
</file>

<file path=ppt/slides/slide4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Mousseux Bourgogne | NICOLAS EST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2</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1</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411</a:t>
            </a:fld>
            <a:endParaRPr lang="en-US"/>
          </a:p>
        </p:txBody>
      </p:sp>
    </p:spTree>
    <p:extLst>
      <p:ext uri="{BB962C8B-B14F-4D97-AF65-F5344CB8AC3E}">
        <p14:creationId xmlns:p14="http://schemas.microsoft.com/office/powerpoint/2010/main" val="2652227323"/>
      </p:ext>
    </p:extLst>
  </p:cSld>
  <p:clrMapOvr>
    <a:masterClrMapping/>
  </p:clrMapOvr>
</p:sld>
</file>

<file path=ppt/slides/slide4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Mousseux Bourgogne | CA A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2</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1</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412</a:t>
            </a:fld>
            <a:endParaRPr lang="en-US"/>
          </a:p>
        </p:txBody>
      </p:sp>
    </p:spTree>
    <p:extLst>
      <p:ext uri="{BB962C8B-B14F-4D97-AF65-F5344CB8AC3E}">
        <p14:creationId xmlns:p14="http://schemas.microsoft.com/office/powerpoint/2010/main" val="2635881799"/>
      </p:ext>
    </p:extLst>
  </p:cSld>
  <p:clrMapOvr>
    <a:masterClrMapping/>
  </p:clrMapOvr>
</p:sld>
</file>

<file path=ppt/slides/slide4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Mousseux Bourgogne | CA B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2</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1</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413</a:t>
            </a:fld>
            <a:endParaRPr lang="en-US"/>
          </a:p>
        </p:txBody>
      </p:sp>
    </p:spTree>
    <p:extLst>
      <p:ext uri="{BB962C8B-B14F-4D97-AF65-F5344CB8AC3E}">
        <p14:creationId xmlns:p14="http://schemas.microsoft.com/office/powerpoint/2010/main" val="1230804125"/>
      </p:ext>
    </p:extLst>
  </p:cSld>
  <p:clrMapOvr>
    <a:masterClrMapping/>
  </p:clrMapOvr>
</p:sld>
</file>

<file path=ppt/slides/slide4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Mousseux Bourgogne | CA C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2</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1</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414</a:t>
            </a:fld>
            <a:endParaRPr lang="en-US"/>
          </a:p>
        </p:txBody>
      </p:sp>
    </p:spTree>
    <p:extLst>
      <p:ext uri="{BB962C8B-B14F-4D97-AF65-F5344CB8AC3E}">
        <p14:creationId xmlns:p14="http://schemas.microsoft.com/office/powerpoint/2010/main" val="3889142513"/>
      </p:ext>
    </p:extLst>
  </p:cSld>
  <p:clrMapOvr>
    <a:masterClrMapping/>
  </p:clrMapOvr>
</p:sld>
</file>

<file path=ppt/slides/slide4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Mousseux Bourgogne | CA D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2</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1</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415</a:t>
            </a:fld>
            <a:endParaRPr lang="en-US"/>
          </a:p>
        </p:txBody>
      </p:sp>
    </p:spTree>
    <p:extLst>
      <p:ext uri="{BB962C8B-B14F-4D97-AF65-F5344CB8AC3E}">
        <p14:creationId xmlns:p14="http://schemas.microsoft.com/office/powerpoint/2010/main" val="3967888253"/>
      </p:ext>
    </p:extLst>
  </p:cSld>
  <p:clrMapOvr>
    <a:masterClrMapping/>
  </p:clrMapOvr>
</p:sld>
</file>

<file path=ppt/slides/slide4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Mousseux Bourgogne | CA E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2</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1</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416</a:t>
            </a:fld>
            <a:endParaRPr lang="en-US"/>
          </a:p>
        </p:txBody>
      </p:sp>
    </p:spTree>
    <p:extLst>
      <p:ext uri="{BB962C8B-B14F-4D97-AF65-F5344CB8AC3E}">
        <p14:creationId xmlns:p14="http://schemas.microsoft.com/office/powerpoint/2010/main" val="2408611922"/>
      </p:ext>
    </p:extLst>
  </p:cSld>
  <p:clrMapOvr>
    <a:masterClrMapping/>
  </p:clrMapOvr>
</p:sld>
</file>

<file path=ppt/slides/slide4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Mousseux Italiens | NICOLAS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3</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2</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417</a:t>
            </a:fld>
            <a:endParaRPr lang="en-US"/>
          </a:p>
        </p:txBody>
      </p:sp>
    </p:spTree>
    <p:extLst>
      <p:ext uri="{BB962C8B-B14F-4D97-AF65-F5344CB8AC3E}">
        <p14:creationId xmlns:p14="http://schemas.microsoft.com/office/powerpoint/2010/main" val="2339852312"/>
      </p:ext>
    </p:extLst>
  </p:cSld>
  <p:clrMapOvr>
    <a:masterClrMapping/>
  </p:clrMapOvr>
</p:sld>
</file>

<file path=ppt/slides/slide4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Mousseux Italiens | NICOLAS QCN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3</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2</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418</a:t>
            </a:fld>
            <a:endParaRPr lang="en-US"/>
          </a:p>
        </p:txBody>
      </p:sp>
    </p:spTree>
    <p:extLst>
      <p:ext uri="{BB962C8B-B14F-4D97-AF65-F5344CB8AC3E}">
        <p14:creationId xmlns:p14="http://schemas.microsoft.com/office/powerpoint/2010/main" val="2652613482"/>
      </p:ext>
    </p:extLst>
  </p:cSld>
  <p:clrMapOvr>
    <a:masterClrMapping/>
  </p:clrMapOvr>
</p:sld>
</file>

<file path=ppt/slides/slide4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Mousseux Italiens | NICOLAS VCN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3</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2</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419</a:t>
            </a:fld>
            <a:endParaRPr lang="en-US"/>
          </a:p>
        </p:txBody>
      </p:sp>
    </p:spTree>
    <p:extLst>
      <p:ext uri="{BB962C8B-B14F-4D97-AF65-F5344CB8AC3E}">
        <p14:creationId xmlns:p14="http://schemas.microsoft.com/office/powerpoint/2010/main" val="1504609716"/>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Mousseux | NICOLAS AQU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42</a:t>
            </a:fld>
            <a:endParaRPr lang="en-US"/>
          </a:p>
        </p:txBody>
      </p:sp>
    </p:spTree>
    <p:extLst>
      <p:ext uri="{BB962C8B-B14F-4D97-AF65-F5344CB8AC3E}">
        <p14:creationId xmlns:p14="http://schemas.microsoft.com/office/powerpoint/2010/main" val="3638823147"/>
      </p:ext>
    </p:extLst>
  </p:cSld>
  <p:clrMapOvr>
    <a:masterClrMapping/>
  </p:clrMapOvr>
</p:sld>
</file>

<file path=ppt/slides/slide4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Mousseux Italiens | NICOLAS QCT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3</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2</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420</a:t>
            </a:fld>
            <a:endParaRPr lang="en-US"/>
          </a:p>
        </p:txBody>
      </p:sp>
    </p:spTree>
    <p:extLst>
      <p:ext uri="{BB962C8B-B14F-4D97-AF65-F5344CB8AC3E}">
        <p14:creationId xmlns:p14="http://schemas.microsoft.com/office/powerpoint/2010/main" val="3022444695"/>
      </p:ext>
    </p:extLst>
  </p:cSld>
  <p:clrMapOvr>
    <a:masterClrMapping/>
  </p:clrMapOvr>
</p:sld>
</file>

<file path=ppt/slides/slide4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Mousseux Italiens | NICOLAS QCA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3</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2</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421</a:t>
            </a:fld>
            <a:endParaRPr lang="en-US"/>
          </a:p>
        </p:txBody>
      </p:sp>
    </p:spTree>
    <p:extLst>
      <p:ext uri="{BB962C8B-B14F-4D97-AF65-F5344CB8AC3E}">
        <p14:creationId xmlns:p14="http://schemas.microsoft.com/office/powerpoint/2010/main" val="160337168"/>
      </p:ext>
    </p:extLst>
  </p:cSld>
  <p:clrMapOvr>
    <a:masterClrMapping/>
  </p:clrMapOvr>
</p:sld>
</file>

<file path=ppt/slides/slide4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Mousseux Italiens | NICOLAS CCP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3</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2</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422</a:t>
            </a:fld>
            <a:endParaRPr lang="en-US"/>
          </a:p>
        </p:txBody>
      </p:sp>
    </p:spTree>
    <p:extLst>
      <p:ext uri="{BB962C8B-B14F-4D97-AF65-F5344CB8AC3E}">
        <p14:creationId xmlns:p14="http://schemas.microsoft.com/office/powerpoint/2010/main" val="3057392487"/>
      </p:ext>
    </p:extLst>
  </p:cSld>
  <p:clrMapOvr>
    <a:masterClrMapping/>
  </p:clrMapOvr>
</p:sld>
</file>

<file path=ppt/slides/slide4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Mousseux Italiens | NICOLAS IDF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3</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2</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423</a:t>
            </a:fld>
            <a:endParaRPr lang="en-US"/>
          </a:p>
        </p:txBody>
      </p:sp>
    </p:spTree>
    <p:extLst>
      <p:ext uri="{BB962C8B-B14F-4D97-AF65-F5344CB8AC3E}">
        <p14:creationId xmlns:p14="http://schemas.microsoft.com/office/powerpoint/2010/main" val="2252775394"/>
      </p:ext>
    </p:extLst>
  </p:cSld>
  <p:clrMapOvr>
    <a:masterClrMapping/>
  </p:clrMapOvr>
</p:sld>
</file>

<file path=ppt/slides/slide4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Mousseux Italiens | NICOLAS PAC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3</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2</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424</a:t>
            </a:fld>
            <a:endParaRPr lang="en-US"/>
          </a:p>
        </p:txBody>
      </p:sp>
    </p:spTree>
    <p:extLst>
      <p:ext uri="{BB962C8B-B14F-4D97-AF65-F5344CB8AC3E}">
        <p14:creationId xmlns:p14="http://schemas.microsoft.com/office/powerpoint/2010/main" val="706958769"/>
      </p:ext>
    </p:extLst>
  </p:cSld>
  <p:clrMapOvr>
    <a:masterClrMapping/>
  </p:clrMapOvr>
</p:sld>
</file>

<file path=ppt/slides/slide4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Mousseux Italiens | NICOLAS RHO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3</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2</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425</a:t>
            </a:fld>
            <a:endParaRPr lang="en-US"/>
          </a:p>
        </p:txBody>
      </p:sp>
    </p:spTree>
    <p:extLst>
      <p:ext uri="{BB962C8B-B14F-4D97-AF65-F5344CB8AC3E}">
        <p14:creationId xmlns:p14="http://schemas.microsoft.com/office/powerpoint/2010/main" val="3305994683"/>
      </p:ext>
    </p:extLst>
  </p:cSld>
  <p:clrMapOvr>
    <a:masterClrMapping/>
  </p:clrMapOvr>
</p:sld>
</file>

<file path=ppt/slides/slide4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Mousseux Italiens | NICOLAS AQU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3</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2</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426</a:t>
            </a:fld>
            <a:endParaRPr lang="en-US"/>
          </a:p>
        </p:txBody>
      </p:sp>
    </p:spTree>
    <p:extLst>
      <p:ext uri="{BB962C8B-B14F-4D97-AF65-F5344CB8AC3E}">
        <p14:creationId xmlns:p14="http://schemas.microsoft.com/office/powerpoint/2010/main" val="874144682"/>
      </p:ext>
    </p:extLst>
  </p:cSld>
  <p:clrMapOvr>
    <a:masterClrMapping/>
  </p:clrMapOvr>
</p:sld>
</file>

<file path=ppt/slides/slide4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Mousseux Italiens | NICOLAS EST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3</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2</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427</a:t>
            </a:fld>
            <a:endParaRPr lang="en-US"/>
          </a:p>
        </p:txBody>
      </p:sp>
    </p:spTree>
    <p:extLst>
      <p:ext uri="{BB962C8B-B14F-4D97-AF65-F5344CB8AC3E}">
        <p14:creationId xmlns:p14="http://schemas.microsoft.com/office/powerpoint/2010/main" val="2178363655"/>
      </p:ext>
    </p:extLst>
  </p:cSld>
  <p:clrMapOvr>
    <a:masterClrMapping/>
  </p:clrMapOvr>
</p:sld>
</file>

<file path=ppt/slides/slide4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Mousseux Italiens | CA A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3</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2</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428</a:t>
            </a:fld>
            <a:endParaRPr lang="en-US"/>
          </a:p>
        </p:txBody>
      </p:sp>
    </p:spTree>
    <p:extLst>
      <p:ext uri="{BB962C8B-B14F-4D97-AF65-F5344CB8AC3E}">
        <p14:creationId xmlns:p14="http://schemas.microsoft.com/office/powerpoint/2010/main" val="258617648"/>
      </p:ext>
    </p:extLst>
  </p:cSld>
  <p:clrMapOvr>
    <a:masterClrMapping/>
  </p:clrMapOvr>
</p:sld>
</file>

<file path=ppt/slides/slide4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Mousseux Italiens | CA B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3</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2</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429</a:t>
            </a:fld>
            <a:endParaRPr lang="en-US"/>
          </a:p>
        </p:txBody>
      </p:sp>
    </p:spTree>
    <p:extLst>
      <p:ext uri="{BB962C8B-B14F-4D97-AF65-F5344CB8AC3E}">
        <p14:creationId xmlns:p14="http://schemas.microsoft.com/office/powerpoint/2010/main" val="386259053"/>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Mousseux | NICOLAS EST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43</a:t>
            </a:fld>
            <a:endParaRPr lang="en-US"/>
          </a:p>
        </p:txBody>
      </p:sp>
    </p:spTree>
    <p:extLst>
      <p:ext uri="{BB962C8B-B14F-4D97-AF65-F5344CB8AC3E}">
        <p14:creationId xmlns:p14="http://schemas.microsoft.com/office/powerpoint/2010/main" val="1485722638"/>
      </p:ext>
    </p:extLst>
  </p:cSld>
  <p:clrMapOvr>
    <a:masterClrMapping/>
  </p:clrMapOvr>
</p:sld>
</file>

<file path=ppt/slides/slide4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Mousseux Italiens | CA C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3</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2</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430</a:t>
            </a:fld>
            <a:endParaRPr lang="en-US"/>
          </a:p>
        </p:txBody>
      </p:sp>
    </p:spTree>
    <p:extLst>
      <p:ext uri="{BB962C8B-B14F-4D97-AF65-F5344CB8AC3E}">
        <p14:creationId xmlns:p14="http://schemas.microsoft.com/office/powerpoint/2010/main" val="1125314019"/>
      </p:ext>
    </p:extLst>
  </p:cSld>
  <p:clrMapOvr>
    <a:masterClrMapping/>
  </p:clrMapOvr>
</p:sld>
</file>

<file path=ppt/slides/slide4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Mousseux Italiens | CA D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3</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2</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431</a:t>
            </a:fld>
            <a:endParaRPr lang="en-US"/>
          </a:p>
        </p:txBody>
      </p:sp>
    </p:spTree>
    <p:extLst>
      <p:ext uri="{BB962C8B-B14F-4D97-AF65-F5344CB8AC3E}">
        <p14:creationId xmlns:p14="http://schemas.microsoft.com/office/powerpoint/2010/main" val="1762531401"/>
      </p:ext>
    </p:extLst>
  </p:cSld>
  <p:clrMapOvr>
    <a:masterClrMapping/>
  </p:clrMapOvr>
</p:sld>
</file>

<file path=ppt/slides/slide4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Mousseux Italiens | CA E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3</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2</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432</a:t>
            </a:fld>
            <a:endParaRPr lang="en-US"/>
          </a:p>
        </p:txBody>
      </p:sp>
    </p:spTree>
    <p:extLst>
      <p:ext uri="{BB962C8B-B14F-4D97-AF65-F5344CB8AC3E}">
        <p14:creationId xmlns:p14="http://schemas.microsoft.com/office/powerpoint/2010/main" val="681994224"/>
      </p:ext>
    </p:extLst>
  </p:cSld>
  <p:clrMapOvr>
    <a:masterClrMapping/>
  </p:clrMapOvr>
</p:sld>
</file>

<file path=ppt/slides/slide4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Mousseux Val De Loire | NICOLAS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5</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2</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433</a:t>
            </a:fld>
            <a:endParaRPr lang="en-US"/>
          </a:p>
        </p:txBody>
      </p:sp>
    </p:spTree>
    <p:extLst>
      <p:ext uri="{BB962C8B-B14F-4D97-AF65-F5344CB8AC3E}">
        <p14:creationId xmlns:p14="http://schemas.microsoft.com/office/powerpoint/2010/main" val="2980586178"/>
      </p:ext>
    </p:extLst>
  </p:cSld>
  <p:clrMapOvr>
    <a:masterClrMapping/>
  </p:clrMapOvr>
</p:sld>
</file>

<file path=ppt/slides/slide4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Mousseux Val De Loire | NICOLAS QCN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5</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2</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434</a:t>
            </a:fld>
            <a:endParaRPr lang="en-US"/>
          </a:p>
        </p:txBody>
      </p:sp>
    </p:spTree>
    <p:extLst>
      <p:ext uri="{BB962C8B-B14F-4D97-AF65-F5344CB8AC3E}">
        <p14:creationId xmlns:p14="http://schemas.microsoft.com/office/powerpoint/2010/main" val="305808887"/>
      </p:ext>
    </p:extLst>
  </p:cSld>
  <p:clrMapOvr>
    <a:masterClrMapping/>
  </p:clrMapOvr>
</p:sld>
</file>

<file path=ppt/slides/slide4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Mousseux Val De Loire | NICOLAS VCN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5</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2</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435</a:t>
            </a:fld>
            <a:endParaRPr lang="en-US"/>
          </a:p>
        </p:txBody>
      </p:sp>
    </p:spTree>
    <p:extLst>
      <p:ext uri="{BB962C8B-B14F-4D97-AF65-F5344CB8AC3E}">
        <p14:creationId xmlns:p14="http://schemas.microsoft.com/office/powerpoint/2010/main" val="3288583140"/>
      </p:ext>
    </p:extLst>
  </p:cSld>
  <p:clrMapOvr>
    <a:masterClrMapping/>
  </p:clrMapOvr>
</p:sld>
</file>

<file path=ppt/slides/slide4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Mousseux Val De Loire | NICOLAS QCT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4</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2</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436</a:t>
            </a:fld>
            <a:endParaRPr lang="en-US"/>
          </a:p>
        </p:txBody>
      </p:sp>
    </p:spTree>
    <p:extLst>
      <p:ext uri="{BB962C8B-B14F-4D97-AF65-F5344CB8AC3E}">
        <p14:creationId xmlns:p14="http://schemas.microsoft.com/office/powerpoint/2010/main" val="3452929467"/>
      </p:ext>
    </p:extLst>
  </p:cSld>
  <p:clrMapOvr>
    <a:masterClrMapping/>
  </p:clrMapOvr>
</p:sld>
</file>

<file path=ppt/slides/slide4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Mousseux Val De Loire | NICOLAS QCA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3</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2</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437</a:t>
            </a:fld>
            <a:endParaRPr lang="en-US"/>
          </a:p>
        </p:txBody>
      </p:sp>
    </p:spTree>
    <p:extLst>
      <p:ext uri="{BB962C8B-B14F-4D97-AF65-F5344CB8AC3E}">
        <p14:creationId xmlns:p14="http://schemas.microsoft.com/office/powerpoint/2010/main" val="2064653793"/>
      </p:ext>
    </p:extLst>
  </p:cSld>
  <p:clrMapOvr>
    <a:masterClrMapping/>
  </p:clrMapOvr>
</p:sld>
</file>

<file path=ppt/slides/slide4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Mousseux Val De Loire | NICOLAS CCP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6</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2</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438</a:t>
            </a:fld>
            <a:endParaRPr lang="en-US"/>
          </a:p>
        </p:txBody>
      </p:sp>
    </p:spTree>
    <p:extLst>
      <p:ext uri="{BB962C8B-B14F-4D97-AF65-F5344CB8AC3E}">
        <p14:creationId xmlns:p14="http://schemas.microsoft.com/office/powerpoint/2010/main" val="30348547"/>
      </p:ext>
    </p:extLst>
  </p:cSld>
  <p:clrMapOvr>
    <a:masterClrMapping/>
  </p:clrMapOvr>
</p:sld>
</file>

<file path=ppt/slides/slide4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Mousseux Val De Loire | NICOLAS IDF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4</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2</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439</a:t>
            </a:fld>
            <a:endParaRPr lang="en-US"/>
          </a:p>
        </p:txBody>
      </p:sp>
    </p:spTree>
    <p:extLst>
      <p:ext uri="{BB962C8B-B14F-4D97-AF65-F5344CB8AC3E}">
        <p14:creationId xmlns:p14="http://schemas.microsoft.com/office/powerpoint/2010/main" val="2611065214"/>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Mousseux | CA A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44</a:t>
            </a:fld>
            <a:endParaRPr lang="en-US"/>
          </a:p>
        </p:txBody>
      </p:sp>
    </p:spTree>
    <p:extLst>
      <p:ext uri="{BB962C8B-B14F-4D97-AF65-F5344CB8AC3E}">
        <p14:creationId xmlns:p14="http://schemas.microsoft.com/office/powerpoint/2010/main" val="1687833956"/>
      </p:ext>
    </p:extLst>
  </p:cSld>
  <p:clrMapOvr>
    <a:masterClrMapping/>
  </p:clrMapOvr>
</p:sld>
</file>

<file path=ppt/slides/slide4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Mousseux Val De Loire | NICOLAS PAC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4</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2</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440</a:t>
            </a:fld>
            <a:endParaRPr lang="en-US"/>
          </a:p>
        </p:txBody>
      </p:sp>
    </p:spTree>
    <p:extLst>
      <p:ext uri="{BB962C8B-B14F-4D97-AF65-F5344CB8AC3E}">
        <p14:creationId xmlns:p14="http://schemas.microsoft.com/office/powerpoint/2010/main" val="322344215"/>
      </p:ext>
    </p:extLst>
  </p:cSld>
  <p:clrMapOvr>
    <a:masterClrMapping/>
  </p:clrMapOvr>
</p:sld>
</file>

<file path=ppt/slides/slide4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Mousseux Val De Loire | NICOLAS RHO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4</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2</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441</a:t>
            </a:fld>
            <a:endParaRPr lang="en-US"/>
          </a:p>
        </p:txBody>
      </p:sp>
    </p:spTree>
    <p:extLst>
      <p:ext uri="{BB962C8B-B14F-4D97-AF65-F5344CB8AC3E}">
        <p14:creationId xmlns:p14="http://schemas.microsoft.com/office/powerpoint/2010/main" val="1932026900"/>
      </p:ext>
    </p:extLst>
  </p:cSld>
  <p:clrMapOvr>
    <a:masterClrMapping/>
  </p:clrMapOvr>
</p:sld>
</file>

<file path=ppt/slides/slide4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Mousseux Val De Loire | NICOLAS AQU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5</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3</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442</a:t>
            </a:fld>
            <a:endParaRPr lang="en-US"/>
          </a:p>
        </p:txBody>
      </p:sp>
    </p:spTree>
    <p:extLst>
      <p:ext uri="{BB962C8B-B14F-4D97-AF65-F5344CB8AC3E}">
        <p14:creationId xmlns:p14="http://schemas.microsoft.com/office/powerpoint/2010/main" val="2331299309"/>
      </p:ext>
    </p:extLst>
  </p:cSld>
  <p:clrMapOvr>
    <a:masterClrMapping/>
  </p:clrMapOvr>
</p:sld>
</file>

<file path=ppt/slides/slide4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Mousseux Val De Loire | NICOLAS EST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5</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3</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443</a:t>
            </a:fld>
            <a:endParaRPr lang="en-US"/>
          </a:p>
        </p:txBody>
      </p:sp>
    </p:spTree>
    <p:extLst>
      <p:ext uri="{BB962C8B-B14F-4D97-AF65-F5344CB8AC3E}">
        <p14:creationId xmlns:p14="http://schemas.microsoft.com/office/powerpoint/2010/main" val="2924457857"/>
      </p:ext>
    </p:extLst>
  </p:cSld>
  <p:clrMapOvr>
    <a:masterClrMapping/>
  </p:clrMapOvr>
</p:sld>
</file>

<file path=ppt/slides/slide4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Mousseux Val De Loire | CA A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4</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2</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444</a:t>
            </a:fld>
            <a:endParaRPr lang="en-US"/>
          </a:p>
        </p:txBody>
      </p:sp>
    </p:spTree>
    <p:extLst>
      <p:ext uri="{BB962C8B-B14F-4D97-AF65-F5344CB8AC3E}">
        <p14:creationId xmlns:p14="http://schemas.microsoft.com/office/powerpoint/2010/main" val="3373635189"/>
      </p:ext>
    </p:extLst>
  </p:cSld>
  <p:clrMapOvr>
    <a:masterClrMapping/>
  </p:clrMapOvr>
</p:sld>
</file>

<file path=ppt/slides/slide4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Mousseux Val De Loire | CA B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5</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3</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445</a:t>
            </a:fld>
            <a:endParaRPr lang="en-US"/>
          </a:p>
        </p:txBody>
      </p:sp>
    </p:spTree>
    <p:extLst>
      <p:ext uri="{BB962C8B-B14F-4D97-AF65-F5344CB8AC3E}">
        <p14:creationId xmlns:p14="http://schemas.microsoft.com/office/powerpoint/2010/main" val="3622216827"/>
      </p:ext>
    </p:extLst>
  </p:cSld>
  <p:clrMapOvr>
    <a:masterClrMapping/>
  </p:clrMapOvr>
</p:sld>
</file>

<file path=ppt/slides/slide4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Mousseux Val De Loire | CA C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4</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2</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446</a:t>
            </a:fld>
            <a:endParaRPr lang="en-US"/>
          </a:p>
        </p:txBody>
      </p:sp>
    </p:spTree>
    <p:extLst>
      <p:ext uri="{BB962C8B-B14F-4D97-AF65-F5344CB8AC3E}">
        <p14:creationId xmlns:p14="http://schemas.microsoft.com/office/powerpoint/2010/main" val="1869843304"/>
      </p:ext>
    </p:extLst>
  </p:cSld>
  <p:clrMapOvr>
    <a:masterClrMapping/>
  </p:clrMapOvr>
</p:sld>
</file>

<file path=ppt/slides/slide4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Mousseux Val De Loire | CA D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5</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2</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447</a:t>
            </a:fld>
            <a:endParaRPr lang="en-US"/>
          </a:p>
        </p:txBody>
      </p:sp>
    </p:spTree>
    <p:extLst>
      <p:ext uri="{BB962C8B-B14F-4D97-AF65-F5344CB8AC3E}">
        <p14:creationId xmlns:p14="http://schemas.microsoft.com/office/powerpoint/2010/main" val="2576089215"/>
      </p:ext>
    </p:extLst>
  </p:cSld>
  <p:clrMapOvr>
    <a:masterClrMapping/>
  </p:clrMapOvr>
</p:sld>
</file>

<file path=ppt/slides/slide4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Mousseux Val De Loire | CA E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7</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3</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448</a:t>
            </a:fld>
            <a:endParaRPr lang="en-US"/>
          </a:p>
        </p:txBody>
      </p:sp>
    </p:spTree>
    <p:extLst>
      <p:ext uri="{BB962C8B-B14F-4D97-AF65-F5344CB8AC3E}">
        <p14:creationId xmlns:p14="http://schemas.microsoft.com/office/powerpoint/2010/main" val="1841985601"/>
      </p:ext>
    </p:extLst>
  </p:cSld>
  <p:clrMapOvr>
    <a:masterClrMapping/>
  </p:clrMapOvr>
</p:sld>
</file>

<file path=ppt/slides/slide4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Mousseux Alsace | NICOLAS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2</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1</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449</a:t>
            </a:fld>
            <a:endParaRPr lang="en-US"/>
          </a:p>
        </p:txBody>
      </p:sp>
    </p:spTree>
    <p:extLst>
      <p:ext uri="{BB962C8B-B14F-4D97-AF65-F5344CB8AC3E}">
        <p14:creationId xmlns:p14="http://schemas.microsoft.com/office/powerpoint/2010/main" val="1267486756"/>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Mousseux | CA B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45</a:t>
            </a:fld>
            <a:endParaRPr lang="en-US"/>
          </a:p>
        </p:txBody>
      </p:sp>
    </p:spTree>
    <p:extLst>
      <p:ext uri="{BB962C8B-B14F-4D97-AF65-F5344CB8AC3E}">
        <p14:creationId xmlns:p14="http://schemas.microsoft.com/office/powerpoint/2010/main" val="2627504368"/>
      </p:ext>
    </p:extLst>
  </p:cSld>
  <p:clrMapOvr>
    <a:masterClrMapping/>
  </p:clrMapOvr>
</p:sld>
</file>

<file path=ppt/slides/slide4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Mousseux Alsace | NICOLAS QCN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1</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1</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450</a:t>
            </a:fld>
            <a:endParaRPr lang="en-US"/>
          </a:p>
        </p:txBody>
      </p:sp>
    </p:spTree>
    <p:extLst>
      <p:ext uri="{BB962C8B-B14F-4D97-AF65-F5344CB8AC3E}">
        <p14:creationId xmlns:p14="http://schemas.microsoft.com/office/powerpoint/2010/main" val="3030917398"/>
      </p:ext>
    </p:extLst>
  </p:cSld>
  <p:clrMapOvr>
    <a:masterClrMapping/>
  </p:clrMapOvr>
</p:sld>
</file>

<file path=ppt/slides/slide4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Mousseux Alsace | NICOLAS VCN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1</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1</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451</a:t>
            </a:fld>
            <a:endParaRPr lang="en-US"/>
          </a:p>
        </p:txBody>
      </p:sp>
    </p:spTree>
    <p:extLst>
      <p:ext uri="{BB962C8B-B14F-4D97-AF65-F5344CB8AC3E}">
        <p14:creationId xmlns:p14="http://schemas.microsoft.com/office/powerpoint/2010/main" val="3716192179"/>
      </p:ext>
    </p:extLst>
  </p:cSld>
  <p:clrMapOvr>
    <a:masterClrMapping/>
  </p:clrMapOvr>
</p:sld>
</file>

<file path=ppt/slides/slide4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Mousseux Alsace | NICOLAS QCT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4</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1</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452</a:t>
            </a:fld>
            <a:endParaRPr lang="en-US"/>
          </a:p>
        </p:txBody>
      </p:sp>
    </p:spTree>
    <p:extLst>
      <p:ext uri="{BB962C8B-B14F-4D97-AF65-F5344CB8AC3E}">
        <p14:creationId xmlns:p14="http://schemas.microsoft.com/office/powerpoint/2010/main" val="4246618886"/>
      </p:ext>
    </p:extLst>
  </p:cSld>
  <p:clrMapOvr>
    <a:masterClrMapping/>
  </p:clrMapOvr>
</p:sld>
</file>

<file path=ppt/slides/slide4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Mousseux Alsace | NICOLAS QCA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1</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1</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453</a:t>
            </a:fld>
            <a:endParaRPr lang="en-US"/>
          </a:p>
        </p:txBody>
      </p:sp>
    </p:spTree>
    <p:extLst>
      <p:ext uri="{BB962C8B-B14F-4D97-AF65-F5344CB8AC3E}">
        <p14:creationId xmlns:p14="http://schemas.microsoft.com/office/powerpoint/2010/main" val="2259738073"/>
      </p:ext>
    </p:extLst>
  </p:cSld>
  <p:clrMapOvr>
    <a:masterClrMapping/>
  </p:clrMapOvr>
</p:sld>
</file>

<file path=ppt/slides/slide4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Mousseux Alsace | NICOLAS CCP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3</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1</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454</a:t>
            </a:fld>
            <a:endParaRPr lang="en-US"/>
          </a:p>
        </p:txBody>
      </p:sp>
    </p:spTree>
    <p:extLst>
      <p:ext uri="{BB962C8B-B14F-4D97-AF65-F5344CB8AC3E}">
        <p14:creationId xmlns:p14="http://schemas.microsoft.com/office/powerpoint/2010/main" val="1161718731"/>
      </p:ext>
    </p:extLst>
  </p:cSld>
  <p:clrMapOvr>
    <a:masterClrMapping/>
  </p:clrMapOvr>
</p:sld>
</file>

<file path=ppt/slides/slide4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Mousseux Alsace | NICOLAS IDF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1</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1</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455</a:t>
            </a:fld>
            <a:endParaRPr lang="en-US"/>
          </a:p>
        </p:txBody>
      </p:sp>
    </p:spTree>
    <p:extLst>
      <p:ext uri="{BB962C8B-B14F-4D97-AF65-F5344CB8AC3E}">
        <p14:creationId xmlns:p14="http://schemas.microsoft.com/office/powerpoint/2010/main" val="2723229699"/>
      </p:ext>
    </p:extLst>
  </p:cSld>
  <p:clrMapOvr>
    <a:masterClrMapping/>
  </p:clrMapOvr>
</p:sld>
</file>

<file path=ppt/slides/slide4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Mousseux Alsace | NICOLAS PAC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1</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1</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456</a:t>
            </a:fld>
            <a:endParaRPr lang="en-US"/>
          </a:p>
        </p:txBody>
      </p:sp>
    </p:spTree>
    <p:extLst>
      <p:ext uri="{BB962C8B-B14F-4D97-AF65-F5344CB8AC3E}">
        <p14:creationId xmlns:p14="http://schemas.microsoft.com/office/powerpoint/2010/main" val="2968727915"/>
      </p:ext>
    </p:extLst>
  </p:cSld>
  <p:clrMapOvr>
    <a:masterClrMapping/>
  </p:clrMapOvr>
</p:sld>
</file>

<file path=ppt/slides/slide4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Mousseux Alsace | NICOLAS RHO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1</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1</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457</a:t>
            </a:fld>
            <a:endParaRPr lang="en-US"/>
          </a:p>
        </p:txBody>
      </p:sp>
    </p:spTree>
    <p:extLst>
      <p:ext uri="{BB962C8B-B14F-4D97-AF65-F5344CB8AC3E}">
        <p14:creationId xmlns:p14="http://schemas.microsoft.com/office/powerpoint/2010/main" val="298250222"/>
      </p:ext>
    </p:extLst>
  </p:cSld>
  <p:clrMapOvr>
    <a:masterClrMapping/>
  </p:clrMapOvr>
</p:sld>
</file>

<file path=ppt/slides/slide4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Mousseux Alsace | NICOLAS AQU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1</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1</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458</a:t>
            </a:fld>
            <a:endParaRPr lang="en-US"/>
          </a:p>
        </p:txBody>
      </p:sp>
    </p:spTree>
    <p:extLst>
      <p:ext uri="{BB962C8B-B14F-4D97-AF65-F5344CB8AC3E}">
        <p14:creationId xmlns:p14="http://schemas.microsoft.com/office/powerpoint/2010/main" val="562295427"/>
      </p:ext>
    </p:extLst>
  </p:cSld>
  <p:clrMapOvr>
    <a:masterClrMapping/>
  </p:clrMapOvr>
</p:sld>
</file>

<file path=ppt/slides/slide4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Mousseux Alsace | NICOLAS EST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5</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2</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459</a:t>
            </a:fld>
            <a:endParaRPr lang="en-US"/>
          </a:p>
        </p:txBody>
      </p:sp>
    </p:spTree>
    <p:extLst>
      <p:ext uri="{BB962C8B-B14F-4D97-AF65-F5344CB8AC3E}">
        <p14:creationId xmlns:p14="http://schemas.microsoft.com/office/powerpoint/2010/main" val="3901896430"/>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Mousseux | CA C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46</a:t>
            </a:fld>
            <a:endParaRPr lang="en-US"/>
          </a:p>
        </p:txBody>
      </p:sp>
    </p:spTree>
    <p:extLst>
      <p:ext uri="{BB962C8B-B14F-4D97-AF65-F5344CB8AC3E}">
        <p14:creationId xmlns:p14="http://schemas.microsoft.com/office/powerpoint/2010/main" val="3455055648"/>
      </p:ext>
    </p:extLst>
  </p:cSld>
  <p:clrMapOvr>
    <a:masterClrMapping/>
  </p:clrMapOvr>
</p:sld>
</file>

<file path=ppt/slides/slide4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Mousseux Alsace | CA A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1</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1</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460</a:t>
            </a:fld>
            <a:endParaRPr lang="en-US"/>
          </a:p>
        </p:txBody>
      </p:sp>
    </p:spTree>
    <p:extLst>
      <p:ext uri="{BB962C8B-B14F-4D97-AF65-F5344CB8AC3E}">
        <p14:creationId xmlns:p14="http://schemas.microsoft.com/office/powerpoint/2010/main" val="4048799285"/>
      </p:ext>
    </p:extLst>
  </p:cSld>
  <p:clrMapOvr>
    <a:masterClrMapping/>
  </p:clrMapOvr>
</p:sld>
</file>

<file path=ppt/slides/slide4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Mousseux Alsace | CA B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2</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1</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461</a:t>
            </a:fld>
            <a:endParaRPr lang="en-US"/>
          </a:p>
        </p:txBody>
      </p:sp>
    </p:spTree>
    <p:extLst>
      <p:ext uri="{BB962C8B-B14F-4D97-AF65-F5344CB8AC3E}">
        <p14:creationId xmlns:p14="http://schemas.microsoft.com/office/powerpoint/2010/main" val="1423635842"/>
      </p:ext>
    </p:extLst>
  </p:cSld>
  <p:clrMapOvr>
    <a:masterClrMapping/>
  </p:clrMapOvr>
</p:sld>
</file>

<file path=ppt/slides/slide4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Mousseux Alsace | CA C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1</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1</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462</a:t>
            </a:fld>
            <a:endParaRPr lang="en-US"/>
          </a:p>
        </p:txBody>
      </p:sp>
    </p:spTree>
    <p:extLst>
      <p:ext uri="{BB962C8B-B14F-4D97-AF65-F5344CB8AC3E}">
        <p14:creationId xmlns:p14="http://schemas.microsoft.com/office/powerpoint/2010/main" val="1553397764"/>
      </p:ext>
    </p:extLst>
  </p:cSld>
  <p:clrMapOvr>
    <a:masterClrMapping/>
  </p:clrMapOvr>
</p:sld>
</file>

<file path=ppt/slides/slide4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Mousseux Alsace | CA D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3</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1</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463</a:t>
            </a:fld>
            <a:endParaRPr lang="en-US"/>
          </a:p>
        </p:txBody>
      </p:sp>
    </p:spTree>
    <p:extLst>
      <p:ext uri="{BB962C8B-B14F-4D97-AF65-F5344CB8AC3E}">
        <p14:creationId xmlns:p14="http://schemas.microsoft.com/office/powerpoint/2010/main" val="3205537122"/>
      </p:ext>
    </p:extLst>
  </p:cSld>
  <p:clrMapOvr>
    <a:masterClrMapping/>
  </p:clrMapOvr>
</p:sld>
</file>

<file path=ppt/slides/slide4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Mousseux Alsace | CA E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3</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1</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464</a:t>
            </a:fld>
            <a:endParaRPr lang="en-US"/>
          </a:p>
        </p:txBody>
      </p:sp>
    </p:spTree>
    <p:extLst>
      <p:ext uri="{BB962C8B-B14F-4D97-AF65-F5344CB8AC3E}">
        <p14:creationId xmlns:p14="http://schemas.microsoft.com/office/powerpoint/2010/main" val="3905848005"/>
      </p:ext>
    </p:extLst>
  </p:cSld>
  <p:clrMapOvr>
    <a:masterClrMapping/>
  </p:clrMapOvr>
</p:sld>
</file>

<file path=ppt/slides/slide4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Mousseux Bordelais | NICOLAS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1</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1</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465</a:t>
            </a:fld>
            <a:endParaRPr lang="en-US"/>
          </a:p>
        </p:txBody>
      </p:sp>
    </p:spTree>
    <p:extLst>
      <p:ext uri="{BB962C8B-B14F-4D97-AF65-F5344CB8AC3E}">
        <p14:creationId xmlns:p14="http://schemas.microsoft.com/office/powerpoint/2010/main" val="1605832177"/>
      </p:ext>
    </p:extLst>
  </p:cSld>
  <p:clrMapOvr>
    <a:masterClrMapping/>
  </p:clrMapOvr>
</p:sld>
</file>

<file path=ppt/slides/slide4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Mousseux Bordelais | NICOLAS QCN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1</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1</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466</a:t>
            </a:fld>
            <a:endParaRPr lang="en-US"/>
          </a:p>
        </p:txBody>
      </p:sp>
    </p:spTree>
    <p:extLst>
      <p:ext uri="{BB962C8B-B14F-4D97-AF65-F5344CB8AC3E}">
        <p14:creationId xmlns:p14="http://schemas.microsoft.com/office/powerpoint/2010/main" val="1132300123"/>
      </p:ext>
    </p:extLst>
  </p:cSld>
  <p:clrMapOvr>
    <a:masterClrMapping/>
  </p:clrMapOvr>
</p:sld>
</file>

<file path=ppt/slides/slide4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Mousseux Bordelais | NICOLAS VCN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1</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1</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467</a:t>
            </a:fld>
            <a:endParaRPr lang="en-US"/>
          </a:p>
        </p:txBody>
      </p:sp>
    </p:spTree>
    <p:extLst>
      <p:ext uri="{BB962C8B-B14F-4D97-AF65-F5344CB8AC3E}">
        <p14:creationId xmlns:p14="http://schemas.microsoft.com/office/powerpoint/2010/main" val="2655205475"/>
      </p:ext>
    </p:extLst>
  </p:cSld>
  <p:clrMapOvr>
    <a:masterClrMapping/>
  </p:clrMapOvr>
</p:sld>
</file>

<file path=ppt/slides/slide4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Mousseux Bordelais | NICOLAS QCT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1</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1</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468</a:t>
            </a:fld>
            <a:endParaRPr lang="en-US"/>
          </a:p>
        </p:txBody>
      </p:sp>
    </p:spTree>
    <p:extLst>
      <p:ext uri="{BB962C8B-B14F-4D97-AF65-F5344CB8AC3E}">
        <p14:creationId xmlns:p14="http://schemas.microsoft.com/office/powerpoint/2010/main" val="750699649"/>
      </p:ext>
    </p:extLst>
  </p:cSld>
  <p:clrMapOvr>
    <a:masterClrMapping/>
  </p:clrMapOvr>
</p:sld>
</file>

<file path=ppt/slides/slide4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Mousseux Bordelais | NICOLAS QCA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1</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1</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469</a:t>
            </a:fld>
            <a:endParaRPr lang="en-US"/>
          </a:p>
        </p:txBody>
      </p:sp>
    </p:spTree>
    <p:extLst>
      <p:ext uri="{BB962C8B-B14F-4D97-AF65-F5344CB8AC3E}">
        <p14:creationId xmlns:p14="http://schemas.microsoft.com/office/powerpoint/2010/main" val="1013866539"/>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Mousseux | CA D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47</a:t>
            </a:fld>
            <a:endParaRPr lang="en-US"/>
          </a:p>
        </p:txBody>
      </p:sp>
    </p:spTree>
    <p:extLst>
      <p:ext uri="{BB962C8B-B14F-4D97-AF65-F5344CB8AC3E}">
        <p14:creationId xmlns:p14="http://schemas.microsoft.com/office/powerpoint/2010/main" val="562926797"/>
      </p:ext>
    </p:extLst>
  </p:cSld>
  <p:clrMapOvr>
    <a:masterClrMapping/>
  </p:clrMapOvr>
</p:sld>
</file>

<file path=ppt/slides/slide4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Mousseux Bordelais | NICOLAS CCP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1</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1</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470</a:t>
            </a:fld>
            <a:endParaRPr lang="en-US"/>
          </a:p>
        </p:txBody>
      </p:sp>
    </p:spTree>
    <p:extLst>
      <p:ext uri="{BB962C8B-B14F-4D97-AF65-F5344CB8AC3E}">
        <p14:creationId xmlns:p14="http://schemas.microsoft.com/office/powerpoint/2010/main" val="2388352943"/>
      </p:ext>
    </p:extLst>
  </p:cSld>
  <p:clrMapOvr>
    <a:masterClrMapping/>
  </p:clrMapOvr>
</p:sld>
</file>

<file path=ppt/slides/slide4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Mousseux Bordelais | NICOLAS IDF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1</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1</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471</a:t>
            </a:fld>
            <a:endParaRPr lang="en-US"/>
          </a:p>
        </p:txBody>
      </p:sp>
    </p:spTree>
    <p:extLst>
      <p:ext uri="{BB962C8B-B14F-4D97-AF65-F5344CB8AC3E}">
        <p14:creationId xmlns:p14="http://schemas.microsoft.com/office/powerpoint/2010/main" val="3292911316"/>
      </p:ext>
    </p:extLst>
  </p:cSld>
  <p:clrMapOvr>
    <a:masterClrMapping/>
  </p:clrMapOvr>
</p:sld>
</file>

<file path=ppt/slides/slide4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Mousseux Bordelais | NICOLAS PAC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1</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1</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472</a:t>
            </a:fld>
            <a:endParaRPr lang="en-US"/>
          </a:p>
        </p:txBody>
      </p:sp>
    </p:spTree>
    <p:extLst>
      <p:ext uri="{BB962C8B-B14F-4D97-AF65-F5344CB8AC3E}">
        <p14:creationId xmlns:p14="http://schemas.microsoft.com/office/powerpoint/2010/main" val="870613450"/>
      </p:ext>
    </p:extLst>
  </p:cSld>
  <p:clrMapOvr>
    <a:masterClrMapping/>
  </p:clrMapOvr>
</p:sld>
</file>

<file path=ppt/slides/slide4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Mousseux Bordelais | NICOLAS RHO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1</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1</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473</a:t>
            </a:fld>
            <a:endParaRPr lang="en-US"/>
          </a:p>
        </p:txBody>
      </p:sp>
    </p:spTree>
    <p:extLst>
      <p:ext uri="{BB962C8B-B14F-4D97-AF65-F5344CB8AC3E}">
        <p14:creationId xmlns:p14="http://schemas.microsoft.com/office/powerpoint/2010/main" val="525067894"/>
      </p:ext>
    </p:extLst>
  </p:cSld>
  <p:clrMapOvr>
    <a:masterClrMapping/>
  </p:clrMapOvr>
</p:sld>
</file>

<file path=ppt/slides/slide4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Mousseux Bordelais | NICOLAS AQU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3</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2</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474</a:t>
            </a:fld>
            <a:endParaRPr lang="en-US"/>
          </a:p>
        </p:txBody>
      </p:sp>
    </p:spTree>
    <p:extLst>
      <p:ext uri="{BB962C8B-B14F-4D97-AF65-F5344CB8AC3E}">
        <p14:creationId xmlns:p14="http://schemas.microsoft.com/office/powerpoint/2010/main" val="3762125253"/>
      </p:ext>
    </p:extLst>
  </p:cSld>
  <p:clrMapOvr>
    <a:masterClrMapping/>
  </p:clrMapOvr>
</p:sld>
</file>

<file path=ppt/slides/slide4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Mousseux Bordelais | NICOLAS EST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2</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1</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475</a:t>
            </a:fld>
            <a:endParaRPr lang="en-US"/>
          </a:p>
        </p:txBody>
      </p:sp>
    </p:spTree>
    <p:extLst>
      <p:ext uri="{BB962C8B-B14F-4D97-AF65-F5344CB8AC3E}">
        <p14:creationId xmlns:p14="http://schemas.microsoft.com/office/powerpoint/2010/main" val="584440356"/>
      </p:ext>
    </p:extLst>
  </p:cSld>
  <p:clrMapOvr>
    <a:masterClrMapping/>
  </p:clrMapOvr>
</p:sld>
</file>

<file path=ppt/slides/slide4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Mousseux Bordelais | CA A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1</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1</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476</a:t>
            </a:fld>
            <a:endParaRPr lang="en-US"/>
          </a:p>
        </p:txBody>
      </p:sp>
    </p:spTree>
    <p:extLst>
      <p:ext uri="{BB962C8B-B14F-4D97-AF65-F5344CB8AC3E}">
        <p14:creationId xmlns:p14="http://schemas.microsoft.com/office/powerpoint/2010/main" val="1808885673"/>
      </p:ext>
    </p:extLst>
  </p:cSld>
  <p:clrMapOvr>
    <a:masterClrMapping/>
  </p:clrMapOvr>
</p:sld>
</file>

<file path=ppt/slides/slide4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Mousseux Bordelais | CA B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1</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1</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477</a:t>
            </a:fld>
            <a:endParaRPr lang="en-US"/>
          </a:p>
        </p:txBody>
      </p:sp>
    </p:spTree>
    <p:extLst>
      <p:ext uri="{BB962C8B-B14F-4D97-AF65-F5344CB8AC3E}">
        <p14:creationId xmlns:p14="http://schemas.microsoft.com/office/powerpoint/2010/main" val="1811778368"/>
      </p:ext>
    </p:extLst>
  </p:cSld>
  <p:clrMapOvr>
    <a:masterClrMapping/>
  </p:clrMapOvr>
</p:sld>
</file>

<file path=ppt/slides/slide4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Mousseux Bordelais | CA C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2</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1</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478</a:t>
            </a:fld>
            <a:endParaRPr lang="en-US"/>
          </a:p>
        </p:txBody>
      </p:sp>
    </p:spTree>
    <p:extLst>
      <p:ext uri="{BB962C8B-B14F-4D97-AF65-F5344CB8AC3E}">
        <p14:creationId xmlns:p14="http://schemas.microsoft.com/office/powerpoint/2010/main" val="1596719418"/>
      </p:ext>
    </p:extLst>
  </p:cSld>
  <p:clrMapOvr>
    <a:masterClrMapping/>
  </p:clrMapOvr>
</p:sld>
</file>

<file path=ppt/slides/slide4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Mousseux Bordelais | CA D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1</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1</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479</a:t>
            </a:fld>
            <a:endParaRPr lang="en-US"/>
          </a:p>
        </p:txBody>
      </p:sp>
    </p:spTree>
    <p:extLst>
      <p:ext uri="{BB962C8B-B14F-4D97-AF65-F5344CB8AC3E}">
        <p14:creationId xmlns:p14="http://schemas.microsoft.com/office/powerpoint/2010/main" val="820579913"/>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Mousseux | CA E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48</a:t>
            </a:fld>
            <a:endParaRPr lang="en-US"/>
          </a:p>
        </p:txBody>
      </p:sp>
    </p:spTree>
    <p:extLst>
      <p:ext uri="{BB962C8B-B14F-4D97-AF65-F5344CB8AC3E}">
        <p14:creationId xmlns:p14="http://schemas.microsoft.com/office/powerpoint/2010/main" val="359076580"/>
      </p:ext>
    </p:extLst>
  </p:cSld>
  <p:clrMapOvr>
    <a:masterClrMapping/>
  </p:clrMapOvr>
</p:sld>
</file>

<file path=ppt/slides/slide4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Mousseux Bordelais | CA E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2</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1</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480</a:t>
            </a:fld>
            <a:endParaRPr lang="en-US"/>
          </a:p>
        </p:txBody>
      </p:sp>
    </p:spTree>
    <p:extLst>
      <p:ext uri="{BB962C8B-B14F-4D97-AF65-F5344CB8AC3E}">
        <p14:creationId xmlns:p14="http://schemas.microsoft.com/office/powerpoint/2010/main" val="3139009919"/>
      </p:ext>
    </p:extLst>
  </p:cSld>
  <p:clrMapOvr>
    <a:masterClrMapping/>
  </p:clrMapOvr>
</p:sld>
</file>

<file path=ppt/slides/slide4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Effervescents | Malard Nicolas | NICOLAS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481</a:t>
            </a:fld>
            <a:endParaRPr lang="en-US"/>
          </a:p>
        </p:txBody>
      </p:sp>
    </p:spTree>
    <p:extLst>
      <p:ext uri="{BB962C8B-B14F-4D97-AF65-F5344CB8AC3E}">
        <p14:creationId xmlns:p14="http://schemas.microsoft.com/office/powerpoint/2010/main" val="634304154"/>
      </p:ext>
    </p:extLst>
  </p:cSld>
  <p:clrMapOvr>
    <a:masterClrMapping/>
  </p:clrMapOvr>
</p:sld>
</file>

<file path=ppt/slides/slide4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Effervescents | Malard Nicolas | NICOLAS QCN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482</a:t>
            </a:fld>
            <a:endParaRPr lang="en-US"/>
          </a:p>
        </p:txBody>
      </p:sp>
    </p:spTree>
    <p:extLst>
      <p:ext uri="{BB962C8B-B14F-4D97-AF65-F5344CB8AC3E}">
        <p14:creationId xmlns:p14="http://schemas.microsoft.com/office/powerpoint/2010/main" val="1575908687"/>
      </p:ext>
    </p:extLst>
  </p:cSld>
  <p:clrMapOvr>
    <a:masterClrMapping/>
  </p:clrMapOvr>
</p:sld>
</file>

<file path=ppt/slides/slide4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Effervescents | Malard Nicolas | NICOLAS VCN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483</a:t>
            </a:fld>
            <a:endParaRPr lang="en-US"/>
          </a:p>
        </p:txBody>
      </p:sp>
    </p:spTree>
    <p:extLst>
      <p:ext uri="{BB962C8B-B14F-4D97-AF65-F5344CB8AC3E}">
        <p14:creationId xmlns:p14="http://schemas.microsoft.com/office/powerpoint/2010/main" val="418448432"/>
      </p:ext>
    </p:extLst>
  </p:cSld>
  <p:clrMapOvr>
    <a:masterClrMapping/>
  </p:clrMapOvr>
</p:sld>
</file>

<file path=ppt/slides/slide4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Effervescents | Malard Nicolas | NICOLAS QCT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484</a:t>
            </a:fld>
            <a:endParaRPr lang="en-US"/>
          </a:p>
        </p:txBody>
      </p:sp>
    </p:spTree>
    <p:extLst>
      <p:ext uri="{BB962C8B-B14F-4D97-AF65-F5344CB8AC3E}">
        <p14:creationId xmlns:p14="http://schemas.microsoft.com/office/powerpoint/2010/main" val="2575676320"/>
      </p:ext>
    </p:extLst>
  </p:cSld>
  <p:clrMapOvr>
    <a:masterClrMapping/>
  </p:clrMapOvr>
</p:sld>
</file>

<file path=ppt/slides/slide4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Effervescents | Malard Nicolas | NICOLAS QCA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485</a:t>
            </a:fld>
            <a:endParaRPr lang="en-US"/>
          </a:p>
        </p:txBody>
      </p:sp>
    </p:spTree>
    <p:extLst>
      <p:ext uri="{BB962C8B-B14F-4D97-AF65-F5344CB8AC3E}">
        <p14:creationId xmlns:p14="http://schemas.microsoft.com/office/powerpoint/2010/main" val="2399808003"/>
      </p:ext>
    </p:extLst>
  </p:cSld>
  <p:clrMapOvr>
    <a:masterClrMapping/>
  </p:clrMapOvr>
</p:sld>
</file>

<file path=ppt/slides/slide4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Effervescents | Malard Nicolas | NICOLAS CCP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486</a:t>
            </a:fld>
            <a:endParaRPr lang="en-US"/>
          </a:p>
        </p:txBody>
      </p:sp>
    </p:spTree>
    <p:extLst>
      <p:ext uri="{BB962C8B-B14F-4D97-AF65-F5344CB8AC3E}">
        <p14:creationId xmlns:p14="http://schemas.microsoft.com/office/powerpoint/2010/main" val="2327753624"/>
      </p:ext>
    </p:extLst>
  </p:cSld>
  <p:clrMapOvr>
    <a:masterClrMapping/>
  </p:clrMapOvr>
</p:sld>
</file>

<file path=ppt/slides/slide4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Effervescents | Malard Nicolas | NICOLAS IDF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487</a:t>
            </a:fld>
            <a:endParaRPr lang="en-US"/>
          </a:p>
        </p:txBody>
      </p:sp>
    </p:spTree>
    <p:extLst>
      <p:ext uri="{BB962C8B-B14F-4D97-AF65-F5344CB8AC3E}">
        <p14:creationId xmlns:p14="http://schemas.microsoft.com/office/powerpoint/2010/main" val="196076872"/>
      </p:ext>
    </p:extLst>
  </p:cSld>
  <p:clrMapOvr>
    <a:masterClrMapping/>
  </p:clrMapOvr>
</p:sld>
</file>

<file path=ppt/slides/slide4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Effervescents | Malard Nicolas | NICOLAS PAC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488</a:t>
            </a:fld>
            <a:endParaRPr lang="en-US"/>
          </a:p>
        </p:txBody>
      </p:sp>
    </p:spTree>
    <p:extLst>
      <p:ext uri="{BB962C8B-B14F-4D97-AF65-F5344CB8AC3E}">
        <p14:creationId xmlns:p14="http://schemas.microsoft.com/office/powerpoint/2010/main" val="4061347680"/>
      </p:ext>
    </p:extLst>
  </p:cSld>
  <p:clrMapOvr>
    <a:masterClrMapping/>
  </p:clrMapOvr>
</p:sld>
</file>

<file path=ppt/slides/slide4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Effervescents | Malard Nicolas | NICOLAS RHO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489</a:t>
            </a:fld>
            <a:endParaRPr lang="en-US"/>
          </a:p>
        </p:txBody>
      </p:sp>
    </p:spTree>
    <p:extLst>
      <p:ext uri="{BB962C8B-B14F-4D97-AF65-F5344CB8AC3E}">
        <p14:creationId xmlns:p14="http://schemas.microsoft.com/office/powerpoint/2010/main" val="2458237021"/>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Effervescents Sans Alcool | NICOLAS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49</a:t>
            </a:fld>
            <a:endParaRPr lang="en-US"/>
          </a:p>
        </p:txBody>
      </p:sp>
    </p:spTree>
    <p:extLst>
      <p:ext uri="{BB962C8B-B14F-4D97-AF65-F5344CB8AC3E}">
        <p14:creationId xmlns:p14="http://schemas.microsoft.com/office/powerpoint/2010/main" val="3844506047"/>
      </p:ext>
    </p:extLst>
  </p:cSld>
  <p:clrMapOvr>
    <a:masterClrMapping/>
  </p:clrMapOvr>
</p:sld>
</file>

<file path=ppt/slides/slide4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Effervescents | Malard Nicolas | NICOLAS AQU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490</a:t>
            </a:fld>
            <a:endParaRPr lang="en-US"/>
          </a:p>
        </p:txBody>
      </p:sp>
    </p:spTree>
    <p:extLst>
      <p:ext uri="{BB962C8B-B14F-4D97-AF65-F5344CB8AC3E}">
        <p14:creationId xmlns:p14="http://schemas.microsoft.com/office/powerpoint/2010/main" val="1881438295"/>
      </p:ext>
    </p:extLst>
  </p:cSld>
  <p:clrMapOvr>
    <a:masterClrMapping/>
  </p:clrMapOvr>
</p:sld>
</file>

<file path=ppt/slides/slide4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Effervescents | Malard Nicolas | NICOLAS EST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491</a:t>
            </a:fld>
            <a:endParaRPr lang="en-US"/>
          </a:p>
        </p:txBody>
      </p:sp>
    </p:spTree>
    <p:extLst>
      <p:ext uri="{BB962C8B-B14F-4D97-AF65-F5344CB8AC3E}">
        <p14:creationId xmlns:p14="http://schemas.microsoft.com/office/powerpoint/2010/main" val="20773810"/>
      </p:ext>
    </p:extLst>
  </p:cSld>
  <p:clrMapOvr>
    <a:masterClrMapping/>
  </p:clrMapOvr>
</p:sld>
</file>

<file path=ppt/slides/slide4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Effervescents | Malard Nicolas | CA A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492</a:t>
            </a:fld>
            <a:endParaRPr lang="en-US"/>
          </a:p>
        </p:txBody>
      </p:sp>
    </p:spTree>
    <p:extLst>
      <p:ext uri="{BB962C8B-B14F-4D97-AF65-F5344CB8AC3E}">
        <p14:creationId xmlns:p14="http://schemas.microsoft.com/office/powerpoint/2010/main" val="982657506"/>
      </p:ext>
    </p:extLst>
  </p:cSld>
  <p:clrMapOvr>
    <a:masterClrMapping/>
  </p:clrMapOvr>
</p:sld>
</file>

<file path=ppt/slides/slide4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Effervescents | Malard Nicolas | CA B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493</a:t>
            </a:fld>
            <a:endParaRPr lang="en-US"/>
          </a:p>
        </p:txBody>
      </p:sp>
    </p:spTree>
    <p:extLst>
      <p:ext uri="{BB962C8B-B14F-4D97-AF65-F5344CB8AC3E}">
        <p14:creationId xmlns:p14="http://schemas.microsoft.com/office/powerpoint/2010/main" val="2478160881"/>
      </p:ext>
    </p:extLst>
  </p:cSld>
  <p:clrMapOvr>
    <a:masterClrMapping/>
  </p:clrMapOvr>
</p:sld>
</file>

<file path=ppt/slides/slide4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Effervescents | Malard Nicolas | CA C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494</a:t>
            </a:fld>
            <a:endParaRPr lang="en-US"/>
          </a:p>
        </p:txBody>
      </p:sp>
    </p:spTree>
    <p:extLst>
      <p:ext uri="{BB962C8B-B14F-4D97-AF65-F5344CB8AC3E}">
        <p14:creationId xmlns:p14="http://schemas.microsoft.com/office/powerpoint/2010/main" val="362966478"/>
      </p:ext>
    </p:extLst>
  </p:cSld>
  <p:clrMapOvr>
    <a:masterClrMapping/>
  </p:clrMapOvr>
</p:sld>
</file>

<file path=ppt/slides/slide4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Effervescents | Malard Nicolas | CA D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495</a:t>
            </a:fld>
            <a:endParaRPr lang="en-US"/>
          </a:p>
        </p:txBody>
      </p:sp>
    </p:spTree>
    <p:extLst>
      <p:ext uri="{BB962C8B-B14F-4D97-AF65-F5344CB8AC3E}">
        <p14:creationId xmlns:p14="http://schemas.microsoft.com/office/powerpoint/2010/main" val="1476780042"/>
      </p:ext>
    </p:extLst>
  </p:cSld>
  <p:clrMapOvr>
    <a:masterClrMapping/>
  </p:clrMapOvr>
</p:sld>
</file>

<file path=ppt/slides/slide4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Effervescents | Malard Nicolas | CA E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496</a:t>
            </a:fld>
            <a:endParaRPr lang="en-US"/>
          </a:p>
        </p:txBody>
      </p:sp>
    </p:spTree>
    <p:extLst>
      <p:ext uri="{BB962C8B-B14F-4D97-AF65-F5344CB8AC3E}">
        <p14:creationId xmlns:p14="http://schemas.microsoft.com/office/powerpoint/2010/main" val="18996228"/>
      </p:ext>
    </p:extLst>
  </p:cSld>
  <p:clrMapOvr>
    <a:masterClrMapping/>
  </p:clrMapOvr>
</p:sld>
</file>

<file path=ppt/slides/slide4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Champagnes | Malard Nicolas | NICOLAS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497</a:t>
            </a:fld>
            <a:endParaRPr lang="en-US"/>
          </a:p>
        </p:txBody>
      </p:sp>
    </p:spTree>
    <p:extLst>
      <p:ext uri="{BB962C8B-B14F-4D97-AF65-F5344CB8AC3E}">
        <p14:creationId xmlns:p14="http://schemas.microsoft.com/office/powerpoint/2010/main" val="1567713513"/>
      </p:ext>
    </p:extLst>
  </p:cSld>
  <p:clrMapOvr>
    <a:masterClrMapping/>
  </p:clrMapOvr>
</p:sld>
</file>

<file path=ppt/slides/slide4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Champagnes | Malard Nicolas | NICOLAS QCN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498</a:t>
            </a:fld>
            <a:endParaRPr lang="en-US"/>
          </a:p>
        </p:txBody>
      </p:sp>
    </p:spTree>
    <p:extLst>
      <p:ext uri="{BB962C8B-B14F-4D97-AF65-F5344CB8AC3E}">
        <p14:creationId xmlns:p14="http://schemas.microsoft.com/office/powerpoint/2010/main" val="2293611346"/>
      </p:ext>
    </p:extLst>
  </p:cSld>
  <p:clrMapOvr>
    <a:masterClrMapping/>
  </p:clrMapOvr>
</p:sld>
</file>

<file path=ppt/slides/slide4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Champagnes | Malard Nicolas | NICOLAS VCN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499</a:t>
            </a:fld>
            <a:endParaRPr lang="en-US"/>
          </a:p>
        </p:txBody>
      </p:sp>
    </p:spTree>
    <p:extLst>
      <p:ext uri="{BB962C8B-B14F-4D97-AF65-F5344CB8AC3E}">
        <p14:creationId xmlns:p14="http://schemas.microsoft.com/office/powerpoint/2010/main" val="389862467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Effervescents | NICOLAS QCA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5</a:t>
            </a:fld>
            <a:endParaRPr lang="en-US"/>
          </a:p>
        </p:txBody>
      </p:sp>
    </p:spTree>
    <p:extLst>
      <p:ext uri="{BB962C8B-B14F-4D97-AF65-F5344CB8AC3E}">
        <p14:creationId xmlns:p14="http://schemas.microsoft.com/office/powerpoint/2010/main" val="994319264"/>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Effervescents Sans Alcool | NICOLAS QCN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50</a:t>
            </a:fld>
            <a:endParaRPr lang="en-US"/>
          </a:p>
        </p:txBody>
      </p:sp>
    </p:spTree>
    <p:extLst>
      <p:ext uri="{BB962C8B-B14F-4D97-AF65-F5344CB8AC3E}">
        <p14:creationId xmlns:p14="http://schemas.microsoft.com/office/powerpoint/2010/main" val="3147184939"/>
      </p:ext>
    </p:extLst>
  </p:cSld>
  <p:clrMapOvr>
    <a:masterClrMapping/>
  </p:clrMapOvr>
</p:sld>
</file>

<file path=ppt/slides/slide5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Champagnes | Malard Nicolas | NICOLAS QCT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500</a:t>
            </a:fld>
            <a:endParaRPr lang="en-US"/>
          </a:p>
        </p:txBody>
      </p:sp>
    </p:spTree>
    <p:extLst>
      <p:ext uri="{BB962C8B-B14F-4D97-AF65-F5344CB8AC3E}">
        <p14:creationId xmlns:p14="http://schemas.microsoft.com/office/powerpoint/2010/main" val="1833523785"/>
      </p:ext>
    </p:extLst>
  </p:cSld>
  <p:clrMapOvr>
    <a:masterClrMapping/>
  </p:clrMapOvr>
</p:sld>
</file>

<file path=ppt/slides/slide5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Champagnes | Malard Nicolas | NICOLAS QCA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501</a:t>
            </a:fld>
            <a:endParaRPr lang="en-US"/>
          </a:p>
        </p:txBody>
      </p:sp>
    </p:spTree>
    <p:extLst>
      <p:ext uri="{BB962C8B-B14F-4D97-AF65-F5344CB8AC3E}">
        <p14:creationId xmlns:p14="http://schemas.microsoft.com/office/powerpoint/2010/main" val="4249022583"/>
      </p:ext>
    </p:extLst>
  </p:cSld>
  <p:clrMapOvr>
    <a:masterClrMapping/>
  </p:clrMapOvr>
</p:sld>
</file>

<file path=ppt/slides/slide5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Champagnes | Malard Nicolas | NICOLAS CCP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502</a:t>
            </a:fld>
            <a:endParaRPr lang="en-US"/>
          </a:p>
        </p:txBody>
      </p:sp>
    </p:spTree>
    <p:extLst>
      <p:ext uri="{BB962C8B-B14F-4D97-AF65-F5344CB8AC3E}">
        <p14:creationId xmlns:p14="http://schemas.microsoft.com/office/powerpoint/2010/main" val="4196037960"/>
      </p:ext>
    </p:extLst>
  </p:cSld>
  <p:clrMapOvr>
    <a:masterClrMapping/>
  </p:clrMapOvr>
</p:sld>
</file>

<file path=ppt/slides/slide5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Champagnes | Malard Nicolas | NICOLAS IDF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503</a:t>
            </a:fld>
            <a:endParaRPr lang="en-US"/>
          </a:p>
        </p:txBody>
      </p:sp>
    </p:spTree>
    <p:extLst>
      <p:ext uri="{BB962C8B-B14F-4D97-AF65-F5344CB8AC3E}">
        <p14:creationId xmlns:p14="http://schemas.microsoft.com/office/powerpoint/2010/main" val="1978770623"/>
      </p:ext>
    </p:extLst>
  </p:cSld>
  <p:clrMapOvr>
    <a:masterClrMapping/>
  </p:clrMapOvr>
</p:sld>
</file>

<file path=ppt/slides/slide5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Champagnes | Malard Nicolas | NICOLAS PAC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504</a:t>
            </a:fld>
            <a:endParaRPr lang="en-US"/>
          </a:p>
        </p:txBody>
      </p:sp>
    </p:spTree>
    <p:extLst>
      <p:ext uri="{BB962C8B-B14F-4D97-AF65-F5344CB8AC3E}">
        <p14:creationId xmlns:p14="http://schemas.microsoft.com/office/powerpoint/2010/main" val="3450136435"/>
      </p:ext>
    </p:extLst>
  </p:cSld>
  <p:clrMapOvr>
    <a:masterClrMapping/>
  </p:clrMapOvr>
</p:sld>
</file>

<file path=ppt/slides/slide5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Champagnes | Malard Nicolas | NICOLAS RHO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505</a:t>
            </a:fld>
            <a:endParaRPr lang="en-US"/>
          </a:p>
        </p:txBody>
      </p:sp>
    </p:spTree>
    <p:extLst>
      <p:ext uri="{BB962C8B-B14F-4D97-AF65-F5344CB8AC3E}">
        <p14:creationId xmlns:p14="http://schemas.microsoft.com/office/powerpoint/2010/main" val="771381253"/>
      </p:ext>
    </p:extLst>
  </p:cSld>
  <p:clrMapOvr>
    <a:masterClrMapping/>
  </p:clrMapOvr>
</p:sld>
</file>

<file path=ppt/slides/slide5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Champagnes | Malard Nicolas | NICOLAS AQU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506</a:t>
            </a:fld>
            <a:endParaRPr lang="en-US"/>
          </a:p>
        </p:txBody>
      </p:sp>
    </p:spTree>
    <p:extLst>
      <p:ext uri="{BB962C8B-B14F-4D97-AF65-F5344CB8AC3E}">
        <p14:creationId xmlns:p14="http://schemas.microsoft.com/office/powerpoint/2010/main" val="2326796515"/>
      </p:ext>
    </p:extLst>
  </p:cSld>
  <p:clrMapOvr>
    <a:masterClrMapping/>
  </p:clrMapOvr>
</p:sld>
</file>

<file path=ppt/slides/slide5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Champagnes | Malard Nicolas | NICOLAS EST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507</a:t>
            </a:fld>
            <a:endParaRPr lang="en-US"/>
          </a:p>
        </p:txBody>
      </p:sp>
    </p:spTree>
    <p:extLst>
      <p:ext uri="{BB962C8B-B14F-4D97-AF65-F5344CB8AC3E}">
        <p14:creationId xmlns:p14="http://schemas.microsoft.com/office/powerpoint/2010/main" val="701427395"/>
      </p:ext>
    </p:extLst>
  </p:cSld>
  <p:clrMapOvr>
    <a:masterClrMapping/>
  </p:clrMapOvr>
</p:sld>
</file>

<file path=ppt/slides/slide5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Champagnes | Malard Nicolas | CA A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508</a:t>
            </a:fld>
            <a:endParaRPr lang="en-US"/>
          </a:p>
        </p:txBody>
      </p:sp>
    </p:spTree>
    <p:extLst>
      <p:ext uri="{BB962C8B-B14F-4D97-AF65-F5344CB8AC3E}">
        <p14:creationId xmlns:p14="http://schemas.microsoft.com/office/powerpoint/2010/main" val="4183795405"/>
      </p:ext>
    </p:extLst>
  </p:cSld>
  <p:clrMapOvr>
    <a:masterClrMapping/>
  </p:clrMapOvr>
</p:sld>
</file>

<file path=ppt/slides/slide5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Champagnes | Malard Nicolas | CA B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509</a:t>
            </a:fld>
            <a:endParaRPr lang="en-US"/>
          </a:p>
        </p:txBody>
      </p:sp>
    </p:spTree>
    <p:extLst>
      <p:ext uri="{BB962C8B-B14F-4D97-AF65-F5344CB8AC3E}">
        <p14:creationId xmlns:p14="http://schemas.microsoft.com/office/powerpoint/2010/main" val="572718294"/>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Effervescents Sans Alcool | NICOLAS VCN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51</a:t>
            </a:fld>
            <a:endParaRPr lang="en-US"/>
          </a:p>
        </p:txBody>
      </p:sp>
    </p:spTree>
    <p:extLst>
      <p:ext uri="{BB962C8B-B14F-4D97-AF65-F5344CB8AC3E}">
        <p14:creationId xmlns:p14="http://schemas.microsoft.com/office/powerpoint/2010/main" val="4252454251"/>
      </p:ext>
    </p:extLst>
  </p:cSld>
  <p:clrMapOvr>
    <a:masterClrMapping/>
  </p:clrMapOvr>
</p:sld>
</file>

<file path=ppt/slides/slide5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Champagnes | Malard Nicolas | CA C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510</a:t>
            </a:fld>
            <a:endParaRPr lang="en-US"/>
          </a:p>
        </p:txBody>
      </p:sp>
    </p:spTree>
    <p:extLst>
      <p:ext uri="{BB962C8B-B14F-4D97-AF65-F5344CB8AC3E}">
        <p14:creationId xmlns:p14="http://schemas.microsoft.com/office/powerpoint/2010/main" val="585223650"/>
      </p:ext>
    </p:extLst>
  </p:cSld>
  <p:clrMapOvr>
    <a:masterClrMapping/>
  </p:clrMapOvr>
</p:sld>
</file>

<file path=ppt/slides/slide5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Champagnes | Malard Nicolas | CA D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511</a:t>
            </a:fld>
            <a:endParaRPr lang="en-US"/>
          </a:p>
        </p:txBody>
      </p:sp>
    </p:spTree>
    <p:extLst>
      <p:ext uri="{BB962C8B-B14F-4D97-AF65-F5344CB8AC3E}">
        <p14:creationId xmlns:p14="http://schemas.microsoft.com/office/powerpoint/2010/main" val="2490639571"/>
      </p:ext>
    </p:extLst>
  </p:cSld>
  <p:clrMapOvr>
    <a:masterClrMapping/>
  </p:clrMapOvr>
</p:sld>
</file>

<file path=ppt/slides/slide5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Champagnes | Malard Nicolas | CA E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512</a:t>
            </a:fld>
            <a:endParaRPr lang="en-US"/>
          </a:p>
        </p:txBody>
      </p:sp>
    </p:spTree>
    <p:extLst>
      <p:ext uri="{BB962C8B-B14F-4D97-AF65-F5344CB8AC3E}">
        <p14:creationId xmlns:p14="http://schemas.microsoft.com/office/powerpoint/2010/main" val="2768408324"/>
      </p:ext>
    </p:extLst>
  </p:cSld>
  <p:clrMapOvr>
    <a:masterClrMapping/>
  </p:clrMapOvr>
</p:sld>
</file>

<file path=ppt/slides/slide5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Blanc De Blancs | Malard Nicolas | NICOLAS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513</a:t>
            </a:fld>
            <a:endParaRPr lang="en-US"/>
          </a:p>
        </p:txBody>
      </p:sp>
    </p:spTree>
    <p:extLst>
      <p:ext uri="{BB962C8B-B14F-4D97-AF65-F5344CB8AC3E}">
        <p14:creationId xmlns:p14="http://schemas.microsoft.com/office/powerpoint/2010/main" val="2140504892"/>
      </p:ext>
    </p:extLst>
  </p:cSld>
  <p:clrMapOvr>
    <a:masterClrMapping/>
  </p:clrMapOvr>
</p:sld>
</file>

<file path=ppt/slides/slide5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Blanc De Blancs | Malard Nicolas | NICOLAS QCN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514</a:t>
            </a:fld>
            <a:endParaRPr lang="en-US"/>
          </a:p>
        </p:txBody>
      </p:sp>
    </p:spTree>
    <p:extLst>
      <p:ext uri="{BB962C8B-B14F-4D97-AF65-F5344CB8AC3E}">
        <p14:creationId xmlns:p14="http://schemas.microsoft.com/office/powerpoint/2010/main" val="243266151"/>
      </p:ext>
    </p:extLst>
  </p:cSld>
  <p:clrMapOvr>
    <a:masterClrMapping/>
  </p:clrMapOvr>
</p:sld>
</file>

<file path=ppt/slides/slide5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Blanc De Blancs | Malard Nicolas | NICOLAS VCN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515</a:t>
            </a:fld>
            <a:endParaRPr lang="en-US"/>
          </a:p>
        </p:txBody>
      </p:sp>
    </p:spTree>
    <p:extLst>
      <p:ext uri="{BB962C8B-B14F-4D97-AF65-F5344CB8AC3E}">
        <p14:creationId xmlns:p14="http://schemas.microsoft.com/office/powerpoint/2010/main" val="2735879206"/>
      </p:ext>
    </p:extLst>
  </p:cSld>
  <p:clrMapOvr>
    <a:masterClrMapping/>
  </p:clrMapOvr>
</p:sld>
</file>

<file path=ppt/slides/slide5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Blanc De Blancs | Malard Nicolas | NICOLAS QCT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516</a:t>
            </a:fld>
            <a:endParaRPr lang="en-US"/>
          </a:p>
        </p:txBody>
      </p:sp>
    </p:spTree>
    <p:extLst>
      <p:ext uri="{BB962C8B-B14F-4D97-AF65-F5344CB8AC3E}">
        <p14:creationId xmlns:p14="http://schemas.microsoft.com/office/powerpoint/2010/main" val="2781183869"/>
      </p:ext>
    </p:extLst>
  </p:cSld>
  <p:clrMapOvr>
    <a:masterClrMapping/>
  </p:clrMapOvr>
</p:sld>
</file>

<file path=ppt/slides/slide5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Blanc De Blancs | Malard Nicolas | NICOLAS QCA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517</a:t>
            </a:fld>
            <a:endParaRPr lang="en-US"/>
          </a:p>
        </p:txBody>
      </p:sp>
    </p:spTree>
    <p:extLst>
      <p:ext uri="{BB962C8B-B14F-4D97-AF65-F5344CB8AC3E}">
        <p14:creationId xmlns:p14="http://schemas.microsoft.com/office/powerpoint/2010/main" val="2615028293"/>
      </p:ext>
    </p:extLst>
  </p:cSld>
  <p:clrMapOvr>
    <a:masterClrMapping/>
  </p:clrMapOvr>
</p:sld>
</file>

<file path=ppt/slides/slide5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Blanc De Blancs | Malard Nicolas | NICOLAS CCP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518</a:t>
            </a:fld>
            <a:endParaRPr lang="en-US"/>
          </a:p>
        </p:txBody>
      </p:sp>
    </p:spTree>
    <p:extLst>
      <p:ext uri="{BB962C8B-B14F-4D97-AF65-F5344CB8AC3E}">
        <p14:creationId xmlns:p14="http://schemas.microsoft.com/office/powerpoint/2010/main" val="3752088923"/>
      </p:ext>
    </p:extLst>
  </p:cSld>
  <p:clrMapOvr>
    <a:masterClrMapping/>
  </p:clrMapOvr>
</p:sld>
</file>

<file path=ppt/slides/slide5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Blanc De Blancs | Malard Nicolas | NICOLAS IDF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519</a:t>
            </a:fld>
            <a:endParaRPr lang="en-US"/>
          </a:p>
        </p:txBody>
      </p:sp>
    </p:spTree>
    <p:extLst>
      <p:ext uri="{BB962C8B-B14F-4D97-AF65-F5344CB8AC3E}">
        <p14:creationId xmlns:p14="http://schemas.microsoft.com/office/powerpoint/2010/main" val="297870413"/>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Effervescents Sans Alcool | NICOLAS QCT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52</a:t>
            </a:fld>
            <a:endParaRPr lang="en-US"/>
          </a:p>
        </p:txBody>
      </p:sp>
    </p:spTree>
    <p:extLst>
      <p:ext uri="{BB962C8B-B14F-4D97-AF65-F5344CB8AC3E}">
        <p14:creationId xmlns:p14="http://schemas.microsoft.com/office/powerpoint/2010/main" val="614375553"/>
      </p:ext>
    </p:extLst>
  </p:cSld>
  <p:clrMapOvr>
    <a:masterClrMapping/>
  </p:clrMapOvr>
</p:sld>
</file>

<file path=ppt/slides/slide5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Blanc De Blancs | Malard Nicolas | NICOLAS PAC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520</a:t>
            </a:fld>
            <a:endParaRPr lang="en-US"/>
          </a:p>
        </p:txBody>
      </p:sp>
    </p:spTree>
    <p:extLst>
      <p:ext uri="{BB962C8B-B14F-4D97-AF65-F5344CB8AC3E}">
        <p14:creationId xmlns:p14="http://schemas.microsoft.com/office/powerpoint/2010/main" val="259773452"/>
      </p:ext>
    </p:extLst>
  </p:cSld>
  <p:clrMapOvr>
    <a:masterClrMapping/>
  </p:clrMapOvr>
</p:sld>
</file>

<file path=ppt/slides/slide5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Blanc De Blancs | Malard Nicolas | NICOLAS RHO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521</a:t>
            </a:fld>
            <a:endParaRPr lang="en-US"/>
          </a:p>
        </p:txBody>
      </p:sp>
    </p:spTree>
    <p:extLst>
      <p:ext uri="{BB962C8B-B14F-4D97-AF65-F5344CB8AC3E}">
        <p14:creationId xmlns:p14="http://schemas.microsoft.com/office/powerpoint/2010/main" val="3512247510"/>
      </p:ext>
    </p:extLst>
  </p:cSld>
  <p:clrMapOvr>
    <a:masterClrMapping/>
  </p:clrMapOvr>
</p:sld>
</file>

<file path=ppt/slides/slide5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Blanc De Blancs | Malard Nicolas | NICOLAS AQU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522</a:t>
            </a:fld>
            <a:endParaRPr lang="en-US"/>
          </a:p>
        </p:txBody>
      </p:sp>
    </p:spTree>
    <p:extLst>
      <p:ext uri="{BB962C8B-B14F-4D97-AF65-F5344CB8AC3E}">
        <p14:creationId xmlns:p14="http://schemas.microsoft.com/office/powerpoint/2010/main" val="1739881257"/>
      </p:ext>
    </p:extLst>
  </p:cSld>
  <p:clrMapOvr>
    <a:masterClrMapping/>
  </p:clrMapOvr>
</p:sld>
</file>

<file path=ppt/slides/slide5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Blanc De Blancs | Malard Nicolas | NICOLAS EST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523</a:t>
            </a:fld>
            <a:endParaRPr lang="en-US"/>
          </a:p>
        </p:txBody>
      </p:sp>
    </p:spTree>
    <p:extLst>
      <p:ext uri="{BB962C8B-B14F-4D97-AF65-F5344CB8AC3E}">
        <p14:creationId xmlns:p14="http://schemas.microsoft.com/office/powerpoint/2010/main" val="154537249"/>
      </p:ext>
    </p:extLst>
  </p:cSld>
  <p:clrMapOvr>
    <a:masterClrMapping/>
  </p:clrMapOvr>
</p:sld>
</file>

<file path=ppt/slides/slide5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Blanc De Blancs | Malard Nicolas | CA A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524</a:t>
            </a:fld>
            <a:endParaRPr lang="en-US"/>
          </a:p>
        </p:txBody>
      </p:sp>
    </p:spTree>
    <p:extLst>
      <p:ext uri="{BB962C8B-B14F-4D97-AF65-F5344CB8AC3E}">
        <p14:creationId xmlns:p14="http://schemas.microsoft.com/office/powerpoint/2010/main" val="3764197611"/>
      </p:ext>
    </p:extLst>
  </p:cSld>
  <p:clrMapOvr>
    <a:masterClrMapping/>
  </p:clrMapOvr>
</p:sld>
</file>

<file path=ppt/slides/slide5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Blanc De Blancs | Malard Nicolas | CA B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525</a:t>
            </a:fld>
            <a:endParaRPr lang="en-US"/>
          </a:p>
        </p:txBody>
      </p:sp>
    </p:spTree>
    <p:extLst>
      <p:ext uri="{BB962C8B-B14F-4D97-AF65-F5344CB8AC3E}">
        <p14:creationId xmlns:p14="http://schemas.microsoft.com/office/powerpoint/2010/main" val="886063619"/>
      </p:ext>
    </p:extLst>
  </p:cSld>
  <p:clrMapOvr>
    <a:masterClrMapping/>
  </p:clrMapOvr>
</p:sld>
</file>

<file path=ppt/slides/slide5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Blanc De Blancs | Malard Nicolas | CA C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526</a:t>
            </a:fld>
            <a:endParaRPr lang="en-US"/>
          </a:p>
        </p:txBody>
      </p:sp>
    </p:spTree>
    <p:extLst>
      <p:ext uri="{BB962C8B-B14F-4D97-AF65-F5344CB8AC3E}">
        <p14:creationId xmlns:p14="http://schemas.microsoft.com/office/powerpoint/2010/main" val="2712130593"/>
      </p:ext>
    </p:extLst>
  </p:cSld>
  <p:clrMapOvr>
    <a:masterClrMapping/>
  </p:clrMapOvr>
</p:sld>
</file>

<file path=ppt/slides/slide5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Blanc De Blancs | Malard Nicolas | CA D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527</a:t>
            </a:fld>
            <a:endParaRPr lang="en-US"/>
          </a:p>
        </p:txBody>
      </p:sp>
    </p:spTree>
    <p:extLst>
      <p:ext uri="{BB962C8B-B14F-4D97-AF65-F5344CB8AC3E}">
        <p14:creationId xmlns:p14="http://schemas.microsoft.com/office/powerpoint/2010/main" val="792275362"/>
      </p:ext>
    </p:extLst>
  </p:cSld>
  <p:clrMapOvr>
    <a:masterClrMapping/>
  </p:clrMapOvr>
</p:sld>
</file>

<file path=ppt/slides/slide5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Blanc De Blancs | Malard Nicolas | CA E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528</a:t>
            </a:fld>
            <a:endParaRPr lang="en-US"/>
          </a:p>
        </p:txBody>
      </p:sp>
    </p:spTree>
    <p:extLst>
      <p:ext uri="{BB962C8B-B14F-4D97-AF65-F5344CB8AC3E}">
        <p14:creationId xmlns:p14="http://schemas.microsoft.com/office/powerpoint/2010/main" val="3666618997"/>
      </p:ext>
    </p:extLst>
  </p:cSld>
  <p:clrMapOvr>
    <a:masterClrMapping/>
  </p:clrMapOvr>
</p:sld>
</file>

<file path=ppt/slides/slide5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Bruts | Malard Nicolas | NICOLAS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529</a:t>
            </a:fld>
            <a:endParaRPr lang="en-US"/>
          </a:p>
        </p:txBody>
      </p:sp>
    </p:spTree>
    <p:extLst>
      <p:ext uri="{BB962C8B-B14F-4D97-AF65-F5344CB8AC3E}">
        <p14:creationId xmlns:p14="http://schemas.microsoft.com/office/powerpoint/2010/main" val="3336671949"/>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Effervescents Sans Alcool | NICOLAS QCA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53</a:t>
            </a:fld>
            <a:endParaRPr lang="en-US"/>
          </a:p>
        </p:txBody>
      </p:sp>
    </p:spTree>
    <p:extLst>
      <p:ext uri="{BB962C8B-B14F-4D97-AF65-F5344CB8AC3E}">
        <p14:creationId xmlns:p14="http://schemas.microsoft.com/office/powerpoint/2010/main" val="1110402806"/>
      </p:ext>
    </p:extLst>
  </p:cSld>
  <p:clrMapOvr>
    <a:masterClrMapping/>
  </p:clrMapOvr>
</p:sld>
</file>

<file path=ppt/slides/slide5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Bruts | Malard Nicolas | NICOLAS QCN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530</a:t>
            </a:fld>
            <a:endParaRPr lang="en-US"/>
          </a:p>
        </p:txBody>
      </p:sp>
    </p:spTree>
    <p:extLst>
      <p:ext uri="{BB962C8B-B14F-4D97-AF65-F5344CB8AC3E}">
        <p14:creationId xmlns:p14="http://schemas.microsoft.com/office/powerpoint/2010/main" val="1749776311"/>
      </p:ext>
    </p:extLst>
  </p:cSld>
  <p:clrMapOvr>
    <a:masterClrMapping/>
  </p:clrMapOvr>
</p:sld>
</file>

<file path=ppt/slides/slide5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Bruts | Malard Nicolas | NICOLAS VCN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531</a:t>
            </a:fld>
            <a:endParaRPr lang="en-US"/>
          </a:p>
        </p:txBody>
      </p:sp>
    </p:spTree>
    <p:extLst>
      <p:ext uri="{BB962C8B-B14F-4D97-AF65-F5344CB8AC3E}">
        <p14:creationId xmlns:p14="http://schemas.microsoft.com/office/powerpoint/2010/main" val="1866234829"/>
      </p:ext>
    </p:extLst>
  </p:cSld>
  <p:clrMapOvr>
    <a:masterClrMapping/>
  </p:clrMapOvr>
</p:sld>
</file>

<file path=ppt/slides/slide5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Bruts | Malard Nicolas | NICOLAS QCT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532</a:t>
            </a:fld>
            <a:endParaRPr lang="en-US"/>
          </a:p>
        </p:txBody>
      </p:sp>
    </p:spTree>
    <p:extLst>
      <p:ext uri="{BB962C8B-B14F-4D97-AF65-F5344CB8AC3E}">
        <p14:creationId xmlns:p14="http://schemas.microsoft.com/office/powerpoint/2010/main" val="85266129"/>
      </p:ext>
    </p:extLst>
  </p:cSld>
  <p:clrMapOvr>
    <a:masterClrMapping/>
  </p:clrMapOvr>
</p:sld>
</file>

<file path=ppt/slides/slide5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Bruts | Malard Nicolas | NICOLAS QCA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533</a:t>
            </a:fld>
            <a:endParaRPr lang="en-US"/>
          </a:p>
        </p:txBody>
      </p:sp>
    </p:spTree>
    <p:extLst>
      <p:ext uri="{BB962C8B-B14F-4D97-AF65-F5344CB8AC3E}">
        <p14:creationId xmlns:p14="http://schemas.microsoft.com/office/powerpoint/2010/main" val="867262940"/>
      </p:ext>
    </p:extLst>
  </p:cSld>
  <p:clrMapOvr>
    <a:masterClrMapping/>
  </p:clrMapOvr>
</p:sld>
</file>

<file path=ppt/slides/slide5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Bruts | Malard Nicolas | NICOLAS CCP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534</a:t>
            </a:fld>
            <a:endParaRPr lang="en-US"/>
          </a:p>
        </p:txBody>
      </p:sp>
    </p:spTree>
    <p:extLst>
      <p:ext uri="{BB962C8B-B14F-4D97-AF65-F5344CB8AC3E}">
        <p14:creationId xmlns:p14="http://schemas.microsoft.com/office/powerpoint/2010/main" val="3336609727"/>
      </p:ext>
    </p:extLst>
  </p:cSld>
  <p:clrMapOvr>
    <a:masterClrMapping/>
  </p:clrMapOvr>
</p:sld>
</file>

<file path=ppt/slides/slide5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Bruts | Malard Nicolas | NICOLAS IDF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535</a:t>
            </a:fld>
            <a:endParaRPr lang="en-US"/>
          </a:p>
        </p:txBody>
      </p:sp>
    </p:spTree>
    <p:extLst>
      <p:ext uri="{BB962C8B-B14F-4D97-AF65-F5344CB8AC3E}">
        <p14:creationId xmlns:p14="http://schemas.microsoft.com/office/powerpoint/2010/main" val="352142127"/>
      </p:ext>
    </p:extLst>
  </p:cSld>
  <p:clrMapOvr>
    <a:masterClrMapping/>
  </p:clrMapOvr>
</p:sld>
</file>

<file path=ppt/slides/slide5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Bruts | Malard Nicolas | NICOLAS PAC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536</a:t>
            </a:fld>
            <a:endParaRPr lang="en-US"/>
          </a:p>
        </p:txBody>
      </p:sp>
    </p:spTree>
    <p:extLst>
      <p:ext uri="{BB962C8B-B14F-4D97-AF65-F5344CB8AC3E}">
        <p14:creationId xmlns:p14="http://schemas.microsoft.com/office/powerpoint/2010/main" val="4270962406"/>
      </p:ext>
    </p:extLst>
  </p:cSld>
  <p:clrMapOvr>
    <a:masterClrMapping/>
  </p:clrMapOvr>
</p:sld>
</file>

<file path=ppt/slides/slide5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Bruts | Malard Nicolas | NICOLAS RHO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537</a:t>
            </a:fld>
            <a:endParaRPr lang="en-US"/>
          </a:p>
        </p:txBody>
      </p:sp>
    </p:spTree>
    <p:extLst>
      <p:ext uri="{BB962C8B-B14F-4D97-AF65-F5344CB8AC3E}">
        <p14:creationId xmlns:p14="http://schemas.microsoft.com/office/powerpoint/2010/main" val="3889020663"/>
      </p:ext>
    </p:extLst>
  </p:cSld>
  <p:clrMapOvr>
    <a:masterClrMapping/>
  </p:clrMapOvr>
</p:sld>
</file>

<file path=ppt/slides/slide5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Bruts | Malard Nicolas | NICOLAS AQU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538</a:t>
            </a:fld>
            <a:endParaRPr lang="en-US"/>
          </a:p>
        </p:txBody>
      </p:sp>
    </p:spTree>
    <p:extLst>
      <p:ext uri="{BB962C8B-B14F-4D97-AF65-F5344CB8AC3E}">
        <p14:creationId xmlns:p14="http://schemas.microsoft.com/office/powerpoint/2010/main" val="3273930133"/>
      </p:ext>
    </p:extLst>
  </p:cSld>
  <p:clrMapOvr>
    <a:masterClrMapping/>
  </p:clrMapOvr>
</p:sld>
</file>

<file path=ppt/slides/slide5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Bruts | Malard Nicolas | NICOLAS EST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539</a:t>
            </a:fld>
            <a:endParaRPr lang="en-US"/>
          </a:p>
        </p:txBody>
      </p:sp>
    </p:spTree>
    <p:extLst>
      <p:ext uri="{BB962C8B-B14F-4D97-AF65-F5344CB8AC3E}">
        <p14:creationId xmlns:p14="http://schemas.microsoft.com/office/powerpoint/2010/main" val="2072552718"/>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Effervescents Sans Alcool | NICOLAS CCP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54</a:t>
            </a:fld>
            <a:endParaRPr lang="en-US"/>
          </a:p>
        </p:txBody>
      </p:sp>
    </p:spTree>
    <p:extLst>
      <p:ext uri="{BB962C8B-B14F-4D97-AF65-F5344CB8AC3E}">
        <p14:creationId xmlns:p14="http://schemas.microsoft.com/office/powerpoint/2010/main" val="2160635277"/>
      </p:ext>
    </p:extLst>
  </p:cSld>
  <p:clrMapOvr>
    <a:masterClrMapping/>
  </p:clrMapOvr>
</p:sld>
</file>

<file path=ppt/slides/slide5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Bruts | Malard Nicolas | CA A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540</a:t>
            </a:fld>
            <a:endParaRPr lang="en-US"/>
          </a:p>
        </p:txBody>
      </p:sp>
    </p:spTree>
    <p:extLst>
      <p:ext uri="{BB962C8B-B14F-4D97-AF65-F5344CB8AC3E}">
        <p14:creationId xmlns:p14="http://schemas.microsoft.com/office/powerpoint/2010/main" val="4091900666"/>
      </p:ext>
    </p:extLst>
  </p:cSld>
  <p:clrMapOvr>
    <a:masterClrMapping/>
  </p:clrMapOvr>
</p:sld>
</file>

<file path=ppt/slides/slide5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Bruts | Malard Nicolas | CA B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541</a:t>
            </a:fld>
            <a:endParaRPr lang="en-US"/>
          </a:p>
        </p:txBody>
      </p:sp>
    </p:spTree>
    <p:extLst>
      <p:ext uri="{BB962C8B-B14F-4D97-AF65-F5344CB8AC3E}">
        <p14:creationId xmlns:p14="http://schemas.microsoft.com/office/powerpoint/2010/main" val="25040192"/>
      </p:ext>
    </p:extLst>
  </p:cSld>
  <p:clrMapOvr>
    <a:masterClrMapping/>
  </p:clrMapOvr>
</p:sld>
</file>

<file path=ppt/slides/slide5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Bruts | Malard Nicolas | CA C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542</a:t>
            </a:fld>
            <a:endParaRPr lang="en-US"/>
          </a:p>
        </p:txBody>
      </p:sp>
    </p:spTree>
    <p:extLst>
      <p:ext uri="{BB962C8B-B14F-4D97-AF65-F5344CB8AC3E}">
        <p14:creationId xmlns:p14="http://schemas.microsoft.com/office/powerpoint/2010/main" val="2166553461"/>
      </p:ext>
    </p:extLst>
  </p:cSld>
  <p:clrMapOvr>
    <a:masterClrMapping/>
  </p:clrMapOvr>
</p:sld>
</file>

<file path=ppt/slides/slide5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Bruts | Malard Nicolas | CA D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543</a:t>
            </a:fld>
            <a:endParaRPr lang="en-US"/>
          </a:p>
        </p:txBody>
      </p:sp>
    </p:spTree>
    <p:extLst>
      <p:ext uri="{BB962C8B-B14F-4D97-AF65-F5344CB8AC3E}">
        <p14:creationId xmlns:p14="http://schemas.microsoft.com/office/powerpoint/2010/main" val="3492672004"/>
      </p:ext>
    </p:extLst>
  </p:cSld>
  <p:clrMapOvr>
    <a:masterClrMapping/>
  </p:clrMapOvr>
</p:sld>
</file>

<file path=ppt/slides/slide5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Bruts | Malard Nicolas | CA E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544</a:t>
            </a:fld>
            <a:endParaRPr lang="en-US"/>
          </a:p>
        </p:txBody>
      </p:sp>
    </p:spTree>
    <p:extLst>
      <p:ext uri="{BB962C8B-B14F-4D97-AF65-F5344CB8AC3E}">
        <p14:creationId xmlns:p14="http://schemas.microsoft.com/office/powerpoint/2010/main" val="2614867139"/>
      </p:ext>
    </p:extLst>
  </p:cSld>
  <p:clrMapOvr>
    <a:masterClrMapping/>
  </p:clrMapOvr>
</p:sld>
</file>

<file path=ppt/slides/slide5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Crus | Malard Nicolas | NICOLAS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545</a:t>
            </a:fld>
            <a:endParaRPr lang="en-US"/>
          </a:p>
        </p:txBody>
      </p:sp>
    </p:spTree>
    <p:extLst>
      <p:ext uri="{BB962C8B-B14F-4D97-AF65-F5344CB8AC3E}">
        <p14:creationId xmlns:p14="http://schemas.microsoft.com/office/powerpoint/2010/main" val="4152309756"/>
      </p:ext>
    </p:extLst>
  </p:cSld>
  <p:clrMapOvr>
    <a:masterClrMapping/>
  </p:clrMapOvr>
</p:sld>
</file>

<file path=ppt/slides/slide5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Crus | Malard Nicolas | NICOLAS QCN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546</a:t>
            </a:fld>
            <a:endParaRPr lang="en-US"/>
          </a:p>
        </p:txBody>
      </p:sp>
    </p:spTree>
    <p:extLst>
      <p:ext uri="{BB962C8B-B14F-4D97-AF65-F5344CB8AC3E}">
        <p14:creationId xmlns:p14="http://schemas.microsoft.com/office/powerpoint/2010/main" val="2167699312"/>
      </p:ext>
    </p:extLst>
  </p:cSld>
  <p:clrMapOvr>
    <a:masterClrMapping/>
  </p:clrMapOvr>
</p:sld>
</file>

<file path=ppt/slides/slide5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Crus | Malard Nicolas | NICOLAS VCN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547</a:t>
            </a:fld>
            <a:endParaRPr lang="en-US"/>
          </a:p>
        </p:txBody>
      </p:sp>
    </p:spTree>
    <p:extLst>
      <p:ext uri="{BB962C8B-B14F-4D97-AF65-F5344CB8AC3E}">
        <p14:creationId xmlns:p14="http://schemas.microsoft.com/office/powerpoint/2010/main" val="410395105"/>
      </p:ext>
    </p:extLst>
  </p:cSld>
  <p:clrMapOvr>
    <a:masterClrMapping/>
  </p:clrMapOvr>
</p:sld>
</file>

<file path=ppt/slides/slide5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Crus | Malard Nicolas | NICOLAS QCT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548</a:t>
            </a:fld>
            <a:endParaRPr lang="en-US"/>
          </a:p>
        </p:txBody>
      </p:sp>
    </p:spTree>
    <p:extLst>
      <p:ext uri="{BB962C8B-B14F-4D97-AF65-F5344CB8AC3E}">
        <p14:creationId xmlns:p14="http://schemas.microsoft.com/office/powerpoint/2010/main" val="1178044090"/>
      </p:ext>
    </p:extLst>
  </p:cSld>
  <p:clrMapOvr>
    <a:masterClrMapping/>
  </p:clrMapOvr>
</p:sld>
</file>

<file path=ppt/slides/slide5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Crus | Malard Nicolas | NICOLAS QCA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549</a:t>
            </a:fld>
            <a:endParaRPr lang="en-US"/>
          </a:p>
        </p:txBody>
      </p:sp>
    </p:spTree>
    <p:extLst>
      <p:ext uri="{BB962C8B-B14F-4D97-AF65-F5344CB8AC3E}">
        <p14:creationId xmlns:p14="http://schemas.microsoft.com/office/powerpoint/2010/main" val="3215815957"/>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Effervescents Sans Alcool | NICOLAS IDF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55</a:t>
            </a:fld>
            <a:endParaRPr lang="en-US"/>
          </a:p>
        </p:txBody>
      </p:sp>
    </p:spTree>
    <p:extLst>
      <p:ext uri="{BB962C8B-B14F-4D97-AF65-F5344CB8AC3E}">
        <p14:creationId xmlns:p14="http://schemas.microsoft.com/office/powerpoint/2010/main" val="1910997536"/>
      </p:ext>
    </p:extLst>
  </p:cSld>
  <p:clrMapOvr>
    <a:masterClrMapping/>
  </p:clrMapOvr>
</p:sld>
</file>

<file path=ppt/slides/slide5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Crus | Malard Nicolas | NICOLAS CCP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550</a:t>
            </a:fld>
            <a:endParaRPr lang="en-US"/>
          </a:p>
        </p:txBody>
      </p:sp>
    </p:spTree>
    <p:extLst>
      <p:ext uri="{BB962C8B-B14F-4D97-AF65-F5344CB8AC3E}">
        <p14:creationId xmlns:p14="http://schemas.microsoft.com/office/powerpoint/2010/main" val="3618436574"/>
      </p:ext>
    </p:extLst>
  </p:cSld>
  <p:clrMapOvr>
    <a:masterClrMapping/>
  </p:clrMapOvr>
</p:sld>
</file>

<file path=ppt/slides/slide5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Crus | Malard Nicolas | NICOLAS IDF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551</a:t>
            </a:fld>
            <a:endParaRPr lang="en-US"/>
          </a:p>
        </p:txBody>
      </p:sp>
    </p:spTree>
    <p:extLst>
      <p:ext uri="{BB962C8B-B14F-4D97-AF65-F5344CB8AC3E}">
        <p14:creationId xmlns:p14="http://schemas.microsoft.com/office/powerpoint/2010/main" val="4165860137"/>
      </p:ext>
    </p:extLst>
  </p:cSld>
  <p:clrMapOvr>
    <a:masterClrMapping/>
  </p:clrMapOvr>
</p:sld>
</file>

<file path=ppt/slides/slide5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Crus | Malard Nicolas | NICOLAS PAC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552</a:t>
            </a:fld>
            <a:endParaRPr lang="en-US"/>
          </a:p>
        </p:txBody>
      </p:sp>
    </p:spTree>
    <p:extLst>
      <p:ext uri="{BB962C8B-B14F-4D97-AF65-F5344CB8AC3E}">
        <p14:creationId xmlns:p14="http://schemas.microsoft.com/office/powerpoint/2010/main" val="2867735955"/>
      </p:ext>
    </p:extLst>
  </p:cSld>
  <p:clrMapOvr>
    <a:masterClrMapping/>
  </p:clrMapOvr>
</p:sld>
</file>

<file path=ppt/slides/slide5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Crus | Malard Nicolas | NICOLAS RHO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553</a:t>
            </a:fld>
            <a:endParaRPr lang="en-US"/>
          </a:p>
        </p:txBody>
      </p:sp>
    </p:spTree>
    <p:extLst>
      <p:ext uri="{BB962C8B-B14F-4D97-AF65-F5344CB8AC3E}">
        <p14:creationId xmlns:p14="http://schemas.microsoft.com/office/powerpoint/2010/main" val="185683443"/>
      </p:ext>
    </p:extLst>
  </p:cSld>
  <p:clrMapOvr>
    <a:masterClrMapping/>
  </p:clrMapOvr>
</p:sld>
</file>

<file path=ppt/slides/slide5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Crus | Malard Nicolas | NICOLAS AQU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554</a:t>
            </a:fld>
            <a:endParaRPr lang="en-US"/>
          </a:p>
        </p:txBody>
      </p:sp>
    </p:spTree>
    <p:extLst>
      <p:ext uri="{BB962C8B-B14F-4D97-AF65-F5344CB8AC3E}">
        <p14:creationId xmlns:p14="http://schemas.microsoft.com/office/powerpoint/2010/main" val="3778926150"/>
      </p:ext>
    </p:extLst>
  </p:cSld>
  <p:clrMapOvr>
    <a:masterClrMapping/>
  </p:clrMapOvr>
</p:sld>
</file>

<file path=ppt/slides/slide5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Crus | Malard Nicolas | NICOLAS EST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555</a:t>
            </a:fld>
            <a:endParaRPr lang="en-US"/>
          </a:p>
        </p:txBody>
      </p:sp>
    </p:spTree>
    <p:extLst>
      <p:ext uri="{BB962C8B-B14F-4D97-AF65-F5344CB8AC3E}">
        <p14:creationId xmlns:p14="http://schemas.microsoft.com/office/powerpoint/2010/main" val="4174652123"/>
      </p:ext>
    </p:extLst>
  </p:cSld>
  <p:clrMapOvr>
    <a:masterClrMapping/>
  </p:clrMapOvr>
</p:sld>
</file>

<file path=ppt/slides/slide5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Crus | Malard Nicolas | CA A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556</a:t>
            </a:fld>
            <a:endParaRPr lang="en-US"/>
          </a:p>
        </p:txBody>
      </p:sp>
    </p:spTree>
    <p:extLst>
      <p:ext uri="{BB962C8B-B14F-4D97-AF65-F5344CB8AC3E}">
        <p14:creationId xmlns:p14="http://schemas.microsoft.com/office/powerpoint/2010/main" val="338761531"/>
      </p:ext>
    </p:extLst>
  </p:cSld>
  <p:clrMapOvr>
    <a:masterClrMapping/>
  </p:clrMapOvr>
</p:sld>
</file>

<file path=ppt/slides/slide5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Crus | Malard Nicolas | CA B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557</a:t>
            </a:fld>
            <a:endParaRPr lang="en-US"/>
          </a:p>
        </p:txBody>
      </p:sp>
    </p:spTree>
    <p:extLst>
      <p:ext uri="{BB962C8B-B14F-4D97-AF65-F5344CB8AC3E}">
        <p14:creationId xmlns:p14="http://schemas.microsoft.com/office/powerpoint/2010/main" val="1492641228"/>
      </p:ext>
    </p:extLst>
  </p:cSld>
  <p:clrMapOvr>
    <a:masterClrMapping/>
  </p:clrMapOvr>
</p:sld>
</file>

<file path=ppt/slides/slide5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Crus | Malard Nicolas | CA C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558</a:t>
            </a:fld>
            <a:endParaRPr lang="en-US"/>
          </a:p>
        </p:txBody>
      </p:sp>
    </p:spTree>
    <p:extLst>
      <p:ext uri="{BB962C8B-B14F-4D97-AF65-F5344CB8AC3E}">
        <p14:creationId xmlns:p14="http://schemas.microsoft.com/office/powerpoint/2010/main" val="2809085123"/>
      </p:ext>
    </p:extLst>
  </p:cSld>
  <p:clrMapOvr>
    <a:masterClrMapping/>
  </p:clrMapOvr>
</p:sld>
</file>

<file path=ppt/slides/slide5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Crus | Malard Nicolas | CA D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559</a:t>
            </a:fld>
            <a:endParaRPr lang="en-US"/>
          </a:p>
        </p:txBody>
      </p:sp>
    </p:spTree>
    <p:extLst>
      <p:ext uri="{BB962C8B-B14F-4D97-AF65-F5344CB8AC3E}">
        <p14:creationId xmlns:p14="http://schemas.microsoft.com/office/powerpoint/2010/main" val="2014427563"/>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Effervescents Sans Alcool | NICOLAS PAC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56</a:t>
            </a:fld>
            <a:endParaRPr lang="en-US"/>
          </a:p>
        </p:txBody>
      </p:sp>
    </p:spTree>
    <p:extLst>
      <p:ext uri="{BB962C8B-B14F-4D97-AF65-F5344CB8AC3E}">
        <p14:creationId xmlns:p14="http://schemas.microsoft.com/office/powerpoint/2010/main" val="1282330194"/>
      </p:ext>
    </p:extLst>
  </p:cSld>
  <p:clrMapOvr>
    <a:masterClrMapping/>
  </p:clrMapOvr>
</p:sld>
</file>

<file path=ppt/slides/slide5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Crus | Malard Nicolas | CA E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560</a:t>
            </a:fld>
            <a:endParaRPr lang="en-US"/>
          </a:p>
        </p:txBody>
      </p:sp>
    </p:spTree>
    <p:extLst>
      <p:ext uri="{BB962C8B-B14F-4D97-AF65-F5344CB8AC3E}">
        <p14:creationId xmlns:p14="http://schemas.microsoft.com/office/powerpoint/2010/main" val="1694678148"/>
      </p:ext>
    </p:extLst>
  </p:cSld>
  <p:clrMapOvr>
    <a:masterClrMapping/>
  </p:clrMapOvr>
</p:sld>
</file>

<file path=ppt/slides/slide5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Rosés | Malard Nicolas | NICOLAS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561</a:t>
            </a:fld>
            <a:endParaRPr lang="en-US"/>
          </a:p>
        </p:txBody>
      </p:sp>
    </p:spTree>
    <p:extLst>
      <p:ext uri="{BB962C8B-B14F-4D97-AF65-F5344CB8AC3E}">
        <p14:creationId xmlns:p14="http://schemas.microsoft.com/office/powerpoint/2010/main" val="2172467497"/>
      </p:ext>
    </p:extLst>
  </p:cSld>
  <p:clrMapOvr>
    <a:masterClrMapping/>
  </p:clrMapOvr>
</p:sld>
</file>

<file path=ppt/slides/slide5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Rosés | Malard Nicolas | NICOLAS QCN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562</a:t>
            </a:fld>
            <a:endParaRPr lang="en-US"/>
          </a:p>
        </p:txBody>
      </p:sp>
    </p:spTree>
    <p:extLst>
      <p:ext uri="{BB962C8B-B14F-4D97-AF65-F5344CB8AC3E}">
        <p14:creationId xmlns:p14="http://schemas.microsoft.com/office/powerpoint/2010/main" val="1627660664"/>
      </p:ext>
    </p:extLst>
  </p:cSld>
  <p:clrMapOvr>
    <a:masterClrMapping/>
  </p:clrMapOvr>
</p:sld>
</file>

<file path=ppt/slides/slide5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Rosés | Malard Nicolas | NICOLAS VCN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563</a:t>
            </a:fld>
            <a:endParaRPr lang="en-US"/>
          </a:p>
        </p:txBody>
      </p:sp>
    </p:spTree>
    <p:extLst>
      <p:ext uri="{BB962C8B-B14F-4D97-AF65-F5344CB8AC3E}">
        <p14:creationId xmlns:p14="http://schemas.microsoft.com/office/powerpoint/2010/main" val="3349430813"/>
      </p:ext>
    </p:extLst>
  </p:cSld>
  <p:clrMapOvr>
    <a:masterClrMapping/>
  </p:clrMapOvr>
</p:sld>
</file>

<file path=ppt/slides/slide5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Rosés | Malard Nicolas | NICOLAS QCT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564</a:t>
            </a:fld>
            <a:endParaRPr lang="en-US"/>
          </a:p>
        </p:txBody>
      </p:sp>
    </p:spTree>
    <p:extLst>
      <p:ext uri="{BB962C8B-B14F-4D97-AF65-F5344CB8AC3E}">
        <p14:creationId xmlns:p14="http://schemas.microsoft.com/office/powerpoint/2010/main" val="2698032285"/>
      </p:ext>
    </p:extLst>
  </p:cSld>
  <p:clrMapOvr>
    <a:masterClrMapping/>
  </p:clrMapOvr>
</p:sld>
</file>

<file path=ppt/slides/slide5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Rosés | Malard Nicolas | NICOLAS QCA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565</a:t>
            </a:fld>
            <a:endParaRPr lang="en-US"/>
          </a:p>
        </p:txBody>
      </p:sp>
    </p:spTree>
    <p:extLst>
      <p:ext uri="{BB962C8B-B14F-4D97-AF65-F5344CB8AC3E}">
        <p14:creationId xmlns:p14="http://schemas.microsoft.com/office/powerpoint/2010/main" val="835473336"/>
      </p:ext>
    </p:extLst>
  </p:cSld>
  <p:clrMapOvr>
    <a:masterClrMapping/>
  </p:clrMapOvr>
</p:sld>
</file>

<file path=ppt/slides/slide5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Rosés | Malard Nicolas | NICOLAS CCP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566</a:t>
            </a:fld>
            <a:endParaRPr lang="en-US"/>
          </a:p>
        </p:txBody>
      </p:sp>
    </p:spTree>
    <p:extLst>
      <p:ext uri="{BB962C8B-B14F-4D97-AF65-F5344CB8AC3E}">
        <p14:creationId xmlns:p14="http://schemas.microsoft.com/office/powerpoint/2010/main" val="1822457387"/>
      </p:ext>
    </p:extLst>
  </p:cSld>
  <p:clrMapOvr>
    <a:masterClrMapping/>
  </p:clrMapOvr>
</p:sld>
</file>

<file path=ppt/slides/slide5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Rosés | Malard Nicolas | NICOLAS IDF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567</a:t>
            </a:fld>
            <a:endParaRPr lang="en-US"/>
          </a:p>
        </p:txBody>
      </p:sp>
    </p:spTree>
    <p:extLst>
      <p:ext uri="{BB962C8B-B14F-4D97-AF65-F5344CB8AC3E}">
        <p14:creationId xmlns:p14="http://schemas.microsoft.com/office/powerpoint/2010/main" val="191025438"/>
      </p:ext>
    </p:extLst>
  </p:cSld>
  <p:clrMapOvr>
    <a:masterClrMapping/>
  </p:clrMapOvr>
</p:sld>
</file>

<file path=ppt/slides/slide5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Rosés | Malard Nicolas | NICOLAS PAC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568</a:t>
            </a:fld>
            <a:endParaRPr lang="en-US"/>
          </a:p>
        </p:txBody>
      </p:sp>
    </p:spTree>
    <p:extLst>
      <p:ext uri="{BB962C8B-B14F-4D97-AF65-F5344CB8AC3E}">
        <p14:creationId xmlns:p14="http://schemas.microsoft.com/office/powerpoint/2010/main" val="1186683724"/>
      </p:ext>
    </p:extLst>
  </p:cSld>
  <p:clrMapOvr>
    <a:masterClrMapping/>
  </p:clrMapOvr>
</p:sld>
</file>

<file path=ppt/slides/slide5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Rosés | Malard Nicolas | NICOLAS RHO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569</a:t>
            </a:fld>
            <a:endParaRPr lang="en-US"/>
          </a:p>
        </p:txBody>
      </p:sp>
    </p:spTree>
    <p:extLst>
      <p:ext uri="{BB962C8B-B14F-4D97-AF65-F5344CB8AC3E}">
        <p14:creationId xmlns:p14="http://schemas.microsoft.com/office/powerpoint/2010/main" val="1597539466"/>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Effervescents Sans Alcool | NICOLAS RHO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57</a:t>
            </a:fld>
            <a:endParaRPr lang="en-US"/>
          </a:p>
        </p:txBody>
      </p:sp>
    </p:spTree>
    <p:extLst>
      <p:ext uri="{BB962C8B-B14F-4D97-AF65-F5344CB8AC3E}">
        <p14:creationId xmlns:p14="http://schemas.microsoft.com/office/powerpoint/2010/main" val="3471975381"/>
      </p:ext>
    </p:extLst>
  </p:cSld>
  <p:clrMapOvr>
    <a:masterClrMapping/>
  </p:clrMapOvr>
</p:sld>
</file>

<file path=ppt/slides/slide5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Rosés | Malard Nicolas | NICOLAS AQU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570</a:t>
            </a:fld>
            <a:endParaRPr lang="en-US"/>
          </a:p>
        </p:txBody>
      </p:sp>
    </p:spTree>
    <p:extLst>
      <p:ext uri="{BB962C8B-B14F-4D97-AF65-F5344CB8AC3E}">
        <p14:creationId xmlns:p14="http://schemas.microsoft.com/office/powerpoint/2010/main" val="348721671"/>
      </p:ext>
    </p:extLst>
  </p:cSld>
  <p:clrMapOvr>
    <a:masterClrMapping/>
  </p:clrMapOvr>
</p:sld>
</file>

<file path=ppt/slides/slide5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Rosés | Malard Nicolas | NICOLAS EST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571</a:t>
            </a:fld>
            <a:endParaRPr lang="en-US"/>
          </a:p>
        </p:txBody>
      </p:sp>
    </p:spTree>
    <p:extLst>
      <p:ext uri="{BB962C8B-B14F-4D97-AF65-F5344CB8AC3E}">
        <p14:creationId xmlns:p14="http://schemas.microsoft.com/office/powerpoint/2010/main" val="2445648850"/>
      </p:ext>
    </p:extLst>
  </p:cSld>
  <p:clrMapOvr>
    <a:masterClrMapping/>
  </p:clrMapOvr>
</p:sld>
</file>

<file path=ppt/slides/slide5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Rosés | Malard Nicolas | CA A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572</a:t>
            </a:fld>
            <a:endParaRPr lang="en-US"/>
          </a:p>
        </p:txBody>
      </p:sp>
    </p:spTree>
    <p:extLst>
      <p:ext uri="{BB962C8B-B14F-4D97-AF65-F5344CB8AC3E}">
        <p14:creationId xmlns:p14="http://schemas.microsoft.com/office/powerpoint/2010/main" val="3672131351"/>
      </p:ext>
    </p:extLst>
  </p:cSld>
  <p:clrMapOvr>
    <a:masterClrMapping/>
  </p:clrMapOvr>
</p:sld>
</file>

<file path=ppt/slides/slide5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Rosés | Malard Nicolas | CA B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573</a:t>
            </a:fld>
            <a:endParaRPr lang="en-US"/>
          </a:p>
        </p:txBody>
      </p:sp>
    </p:spTree>
    <p:extLst>
      <p:ext uri="{BB962C8B-B14F-4D97-AF65-F5344CB8AC3E}">
        <p14:creationId xmlns:p14="http://schemas.microsoft.com/office/powerpoint/2010/main" val="1988600716"/>
      </p:ext>
    </p:extLst>
  </p:cSld>
  <p:clrMapOvr>
    <a:masterClrMapping/>
  </p:clrMapOvr>
</p:sld>
</file>

<file path=ppt/slides/slide5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Rosés | Malard Nicolas | CA C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574</a:t>
            </a:fld>
            <a:endParaRPr lang="en-US"/>
          </a:p>
        </p:txBody>
      </p:sp>
    </p:spTree>
    <p:extLst>
      <p:ext uri="{BB962C8B-B14F-4D97-AF65-F5344CB8AC3E}">
        <p14:creationId xmlns:p14="http://schemas.microsoft.com/office/powerpoint/2010/main" val="3461992650"/>
      </p:ext>
    </p:extLst>
  </p:cSld>
  <p:clrMapOvr>
    <a:masterClrMapping/>
  </p:clrMapOvr>
</p:sld>
</file>

<file path=ppt/slides/slide5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Rosés | Malard Nicolas | CA D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575</a:t>
            </a:fld>
            <a:endParaRPr lang="en-US"/>
          </a:p>
        </p:txBody>
      </p:sp>
    </p:spTree>
    <p:extLst>
      <p:ext uri="{BB962C8B-B14F-4D97-AF65-F5344CB8AC3E}">
        <p14:creationId xmlns:p14="http://schemas.microsoft.com/office/powerpoint/2010/main" val="1713176413"/>
      </p:ext>
    </p:extLst>
  </p:cSld>
  <p:clrMapOvr>
    <a:masterClrMapping/>
  </p:clrMapOvr>
</p:sld>
</file>

<file path=ppt/slides/slide5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Rosés | Malard Nicolas | CA E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576</a:t>
            </a:fld>
            <a:endParaRPr lang="en-US"/>
          </a:p>
        </p:txBody>
      </p:sp>
    </p:spTree>
    <p:extLst>
      <p:ext uri="{BB962C8B-B14F-4D97-AF65-F5344CB8AC3E}">
        <p14:creationId xmlns:p14="http://schemas.microsoft.com/office/powerpoint/2010/main" val="3919863895"/>
      </p:ext>
    </p:extLst>
  </p:cSld>
  <p:clrMapOvr>
    <a:masterClrMapping/>
  </p:clrMapOvr>
</p:sld>
</file>

<file path=ppt/slides/slide5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Effervescents | Nicolas | NICOLAS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577</a:t>
            </a:fld>
            <a:endParaRPr lang="en-US"/>
          </a:p>
        </p:txBody>
      </p:sp>
    </p:spTree>
    <p:extLst>
      <p:ext uri="{BB962C8B-B14F-4D97-AF65-F5344CB8AC3E}">
        <p14:creationId xmlns:p14="http://schemas.microsoft.com/office/powerpoint/2010/main" val="86039157"/>
      </p:ext>
    </p:extLst>
  </p:cSld>
  <p:clrMapOvr>
    <a:masterClrMapping/>
  </p:clrMapOvr>
</p:sld>
</file>

<file path=ppt/slides/slide5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Effervescents | Nicolas | NICOLAS QCN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578</a:t>
            </a:fld>
            <a:endParaRPr lang="en-US"/>
          </a:p>
        </p:txBody>
      </p:sp>
    </p:spTree>
    <p:extLst>
      <p:ext uri="{BB962C8B-B14F-4D97-AF65-F5344CB8AC3E}">
        <p14:creationId xmlns:p14="http://schemas.microsoft.com/office/powerpoint/2010/main" val="70239894"/>
      </p:ext>
    </p:extLst>
  </p:cSld>
  <p:clrMapOvr>
    <a:masterClrMapping/>
  </p:clrMapOvr>
</p:sld>
</file>

<file path=ppt/slides/slide5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Effervescents | Nicolas | NICOLAS VCN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579</a:t>
            </a:fld>
            <a:endParaRPr lang="en-US"/>
          </a:p>
        </p:txBody>
      </p:sp>
    </p:spTree>
    <p:extLst>
      <p:ext uri="{BB962C8B-B14F-4D97-AF65-F5344CB8AC3E}">
        <p14:creationId xmlns:p14="http://schemas.microsoft.com/office/powerpoint/2010/main" val="2557261612"/>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Effervescents Sans Alcool | NICOLAS AQU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58</a:t>
            </a:fld>
            <a:endParaRPr lang="en-US"/>
          </a:p>
        </p:txBody>
      </p:sp>
    </p:spTree>
    <p:extLst>
      <p:ext uri="{BB962C8B-B14F-4D97-AF65-F5344CB8AC3E}">
        <p14:creationId xmlns:p14="http://schemas.microsoft.com/office/powerpoint/2010/main" val="2848905269"/>
      </p:ext>
    </p:extLst>
  </p:cSld>
  <p:clrMapOvr>
    <a:masterClrMapping/>
  </p:clrMapOvr>
</p:sld>
</file>

<file path=ppt/slides/slide5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Effervescents | Nicolas | NICOLAS QCT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580</a:t>
            </a:fld>
            <a:endParaRPr lang="en-US"/>
          </a:p>
        </p:txBody>
      </p:sp>
    </p:spTree>
    <p:extLst>
      <p:ext uri="{BB962C8B-B14F-4D97-AF65-F5344CB8AC3E}">
        <p14:creationId xmlns:p14="http://schemas.microsoft.com/office/powerpoint/2010/main" val="266201674"/>
      </p:ext>
    </p:extLst>
  </p:cSld>
  <p:clrMapOvr>
    <a:masterClrMapping/>
  </p:clrMapOvr>
</p:sld>
</file>

<file path=ppt/slides/slide5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Effervescents | Nicolas | NICOLAS QCA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581</a:t>
            </a:fld>
            <a:endParaRPr lang="en-US"/>
          </a:p>
        </p:txBody>
      </p:sp>
    </p:spTree>
    <p:extLst>
      <p:ext uri="{BB962C8B-B14F-4D97-AF65-F5344CB8AC3E}">
        <p14:creationId xmlns:p14="http://schemas.microsoft.com/office/powerpoint/2010/main" val="997338374"/>
      </p:ext>
    </p:extLst>
  </p:cSld>
  <p:clrMapOvr>
    <a:masterClrMapping/>
  </p:clrMapOvr>
</p:sld>
</file>

<file path=ppt/slides/slide5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Effervescents | Nicolas | NICOLAS CCP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582</a:t>
            </a:fld>
            <a:endParaRPr lang="en-US"/>
          </a:p>
        </p:txBody>
      </p:sp>
    </p:spTree>
    <p:extLst>
      <p:ext uri="{BB962C8B-B14F-4D97-AF65-F5344CB8AC3E}">
        <p14:creationId xmlns:p14="http://schemas.microsoft.com/office/powerpoint/2010/main" val="1753281803"/>
      </p:ext>
    </p:extLst>
  </p:cSld>
  <p:clrMapOvr>
    <a:masterClrMapping/>
  </p:clrMapOvr>
</p:sld>
</file>

<file path=ppt/slides/slide5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Effervescents | Nicolas | NICOLAS IDF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583</a:t>
            </a:fld>
            <a:endParaRPr lang="en-US"/>
          </a:p>
        </p:txBody>
      </p:sp>
    </p:spTree>
    <p:extLst>
      <p:ext uri="{BB962C8B-B14F-4D97-AF65-F5344CB8AC3E}">
        <p14:creationId xmlns:p14="http://schemas.microsoft.com/office/powerpoint/2010/main" val="2238887010"/>
      </p:ext>
    </p:extLst>
  </p:cSld>
  <p:clrMapOvr>
    <a:masterClrMapping/>
  </p:clrMapOvr>
</p:sld>
</file>

<file path=ppt/slides/slide5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Effervescents | Nicolas | NICOLAS PAC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584</a:t>
            </a:fld>
            <a:endParaRPr lang="en-US"/>
          </a:p>
        </p:txBody>
      </p:sp>
    </p:spTree>
    <p:extLst>
      <p:ext uri="{BB962C8B-B14F-4D97-AF65-F5344CB8AC3E}">
        <p14:creationId xmlns:p14="http://schemas.microsoft.com/office/powerpoint/2010/main" val="720527217"/>
      </p:ext>
    </p:extLst>
  </p:cSld>
  <p:clrMapOvr>
    <a:masterClrMapping/>
  </p:clrMapOvr>
</p:sld>
</file>

<file path=ppt/slides/slide5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Effervescents | Nicolas | NICOLAS RHO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585</a:t>
            </a:fld>
            <a:endParaRPr lang="en-US"/>
          </a:p>
        </p:txBody>
      </p:sp>
    </p:spTree>
    <p:extLst>
      <p:ext uri="{BB962C8B-B14F-4D97-AF65-F5344CB8AC3E}">
        <p14:creationId xmlns:p14="http://schemas.microsoft.com/office/powerpoint/2010/main" val="235731850"/>
      </p:ext>
    </p:extLst>
  </p:cSld>
  <p:clrMapOvr>
    <a:masterClrMapping/>
  </p:clrMapOvr>
</p:sld>
</file>

<file path=ppt/slides/slide5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Effervescents | Nicolas | NICOLAS AQU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586</a:t>
            </a:fld>
            <a:endParaRPr lang="en-US"/>
          </a:p>
        </p:txBody>
      </p:sp>
    </p:spTree>
    <p:extLst>
      <p:ext uri="{BB962C8B-B14F-4D97-AF65-F5344CB8AC3E}">
        <p14:creationId xmlns:p14="http://schemas.microsoft.com/office/powerpoint/2010/main" val="3742324427"/>
      </p:ext>
    </p:extLst>
  </p:cSld>
  <p:clrMapOvr>
    <a:masterClrMapping/>
  </p:clrMapOvr>
</p:sld>
</file>

<file path=ppt/slides/slide5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Effervescents | Nicolas | NICOLAS EST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587</a:t>
            </a:fld>
            <a:endParaRPr lang="en-US"/>
          </a:p>
        </p:txBody>
      </p:sp>
    </p:spTree>
    <p:extLst>
      <p:ext uri="{BB962C8B-B14F-4D97-AF65-F5344CB8AC3E}">
        <p14:creationId xmlns:p14="http://schemas.microsoft.com/office/powerpoint/2010/main" val="577366702"/>
      </p:ext>
    </p:extLst>
  </p:cSld>
  <p:clrMapOvr>
    <a:masterClrMapping/>
  </p:clrMapOvr>
</p:sld>
</file>

<file path=ppt/slides/slide5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Effervescents | Nicolas | CA A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588</a:t>
            </a:fld>
            <a:endParaRPr lang="en-US"/>
          </a:p>
        </p:txBody>
      </p:sp>
    </p:spTree>
    <p:extLst>
      <p:ext uri="{BB962C8B-B14F-4D97-AF65-F5344CB8AC3E}">
        <p14:creationId xmlns:p14="http://schemas.microsoft.com/office/powerpoint/2010/main" val="868012962"/>
      </p:ext>
    </p:extLst>
  </p:cSld>
  <p:clrMapOvr>
    <a:masterClrMapping/>
  </p:clrMapOvr>
</p:sld>
</file>

<file path=ppt/slides/slide5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Effervescents | Nicolas | CA B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589</a:t>
            </a:fld>
            <a:endParaRPr lang="en-US"/>
          </a:p>
        </p:txBody>
      </p:sp>
    </p:spTree>
    <p:extLst>
      <p:ext uri="{BB962C8B-B14F-4D97-AF65-F5344CB8AC3E}">
        <p14:creationId xmlns:p14="http://schemas.microsoft.com/office/powerpoint/2010/main" val="3801438931"/>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Effervescents Sans Alcool | NICOLAS EST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59</a:t>
            </a:fld>
            <a:endParaRPr lang="en-US"/>
          </a:p>
        </p:txBody>
      </p:sp>
    </p:spTree>
    <p:extLst>
      <p:ext uri="{BB962C8B-B14F-4D97-AF65-F5344CB8AC3E}">
        <p14:creationId xmlns:p14="http://schemas.microsoft.com/office/powerpoint/2010/main" val="1313715952"/>
      </p:ext>
    </p:extLst>
  </p:cSld>
  <p:clrMapOvr>
    <a:masterClrMapping/>
  </p:clrMapOvr>
</p:sld>
</file>

<file path=ppt/slides/slide5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Effervescents | Nicolas | CA C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590</a:t>
            </a:fld>
            <a:endParaRPr lang="en-US"/>
          </a:p>
        </p:txBody>
      </p:sp>
    </p:spTree>
    <p:extLst>
      <p:ext uri="{BB962C8B-B14F-4D97-AF65-F5344CB8AC3E}">
        <p14:creationId xmlns:p14="http://schemas.microsoft.com/office/powerpoint/2010/main" val="1243443527"/>
      </p:ext>
    </p:extLst>
  </p:cSld>
  <p:clrMapOvr>
    <a:masterClrMapping/>
  </p:clrMapOvr>
</p:sld>
</file>

<file path=ppt/slides/slide5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Effervescents | Nicolas | CA D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591</a:t>
            </a:fld>
            <a:endParaRPr lang="en-US"/>
          </a:p>
        </p:txBody>
      </p:sp>
    </p:spTree>
    <p:extLst>
      <p:ext uri="{BB962C8B-B14F-4D97-AF65-F5344CB8AC3E}">
        <p14:creationId xmlns:p14="http://schemas.microsoft.com/office/powerpoint/2010/main" val="1888780500"/>
      </p:ext>
    </p:extLst>
  </p:cSld>
  <p:clrMapOvr>
    <a:masterClrMapping/>
  </p:clrMapOvr>
</p:sld>
</file>

<file path=ppt/slides/slide5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Effervescents | Nicolas | CA E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592</a:t>
            </a:fld>
            <a:endParaRPr lang="en-US"/>
          </a:p>
        </p:txBody>
      </p:sp>
    </p:spTree>
    <p:extLst>
      <p:ext uri="{BB962C8B-B14F-4D97-AF65-F5344CB8AC3E}">
        <p14:creationId xmlns:p14="http://schemas.microsoft.com/office/powerpoint/2010/main" val="2003673301"/>
      </p:ext>
    </p:extLst>
  </p:cSld>
  <p:clrMapOvr>
    <a:masterClrMapping/>
  </p:clrMapOvr>
</p:sld>
</file>

<file path=ppt/slides/slide5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Champagnes | Nicolas | NICOLAS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593</a:t>
            </a:fld>
            <a:endParaRPr lang="en-US"/>
          </a:p>
        </p:txBody>
      </p:sp>
    </p:spTree>
    <p:extLst>
      <p:ext uri="{BB962C8B-B14F-4D97-AF65-F5344CB8AC3E}">
        <p14:creationId xmlns:p14="http://schemas.microsoft.com/office/powerpoint/2010/main" val="3504829700"/>
      </p:ext>
    </p:extLst>
  </p:cSld>
  <p:clrMapOvr>
    <a:masterClrMapping/>
  </p:clrMapOvr>
</p:sld>
</file>

<file path=ppt/slides/slide5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Champagnes | Nicolas | NICOLAS QCN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594</a:t>
            </a:fld>
            <a:endParaRPr lang="en-US"/>
          </a:p>
        </p:txBody>
      </p:sp>
    </p:spTree>
    <p:extLst>
      <p:ext uri="{BB962C8B-B14F-4D97-AF65-F5344CB8AC3E}">
        <p14:creationId xmlns:p14="http://schemas.microsoft.com/office/powerpoint/2010/main" val="475071892"/>
      </p:ext>
    </p:extLst>
  </p:cSld>
  <p:clrMapOvr>
    <a:masterClrMapping/>
  </p:clrMapOvr>
</p:sld>
</file>

<file path=ppt/slides/slide5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Champagnes | Nicolas | NICOLAS VCN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595</a:t>
            </a:fld>
            <a:endParaRPr lang="en-US"/>
          </a:p>
        </p:txBody>
      </p:sp>
    </p:spTree>
    <p:extLst>
      <p:ext uri="{BB962C8B-B14F-4D97-AF65-F5344CB8AC3E}">
        <p14:creationId xmlns:p14="http://schemas.microsoft.com/office/powerpoint/2010/main" val="435636397"/>
      </p:ext>
    </p:extLst>
  </p:cSld>
  <p:clrMapOvr>
    <a:masterClrMapping/>
  </p:clrMapOvr>
</p:sld>
</file>

<file path=ppt/slides/slide5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Champagnes | Nicolas | NICOLAS QCT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596</a:t>
            </a:fld>
            <a:endParaRPr lang="en-US"/>
          </a:p>
        </p:txBody>
      </p:sp>
    </p:spTree>
    <p:extLst>
      <p:ext uri="{BB962C8B-B14F-4D97-AF65-F5344CB8AC3E}">
        <p14:creationId xmlns:p14="http://schemas.microsoft.com/office/powerpoint/2010/main" val="1680747762"/>
      </p:ext>
    </p:extLst>
  </p:cSld>
  <p:clrMapOvr>
    <a:masterClrMapping/>
  </p:clrMapOvr>
</p:sld>
</file>

<file path=ppt/slides/slide5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Champagnes | Nicolas | NICOLAS QCA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597</a:t>
            </a:fld>
            <a:endParaRPr lang="en-US"/>
          </a:p>
        </p:txBody>
      </p:sp>
    </p:spTree>
    <p:extLst>
      <p:ext uri="{BB962C8B-B14F-4D97-AF65-F5344CB8AC3E}">
        <p14:creationId xmlns:p14="http://schemas.microsoft.com/office/powerpoint/2010/main" val="718881565"/>
      </p:ext>
    </p:extLst>
  </p:cSld>
  <p:clrMapOvr>
    <a:masterClrMapping/>
  </p:clrMapOvr>
</p:sld>
</file>

<file path=ppt/slides/slide5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Champagnes | Nicolas | NICOLAS CCP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598</a:t>
            </a:fld>
            <a:endParaRPr lang="en-US"/>
          </a:p>
        </p:txBody>
      </p:sp>
    </p:spTree>
    <p:extLst>
      <p:ext uri="{BB962C8B-B14F-4D97-AF65-F5344CB8AC3E}">
        <p14:creationId xmlns:p14="http://schemas.microsoft.com/office/powerpoint/2010/main" val="3239860097"/>
      </p:ext>
    </p:extLst>
  </p:cSld>
  <p:clrMapOvr>
    <a:masterClrMapping/>
  </p:clrMapOvr>
</p:sld>
</file>

<file path=ppt/slides/slide5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Champagnes | Nicolas | NICOLAS IDF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599</a:t>
            </a:fld>
            <a:endParaRPr lang="en-US"/>
          </a:p>
        </p:txBody>
      </p:sp>
    </p:spTree>
    <p:extLst>
      <p:ext uri="{BB962C8B-B14F-4D97-AF65-F5344CB8AC3E}">
        <p14:creationId xmlns:p14="http://schemas.microsoft.com/office/powerpoint/2010/main" val="124274912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Effervescents | NICOLAS CCP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6</a:t>
            </a:fld>
            <a:endParaRPr lang="en-US"/>
          </a:p>
        </p:txBody>
      </p:sp>
    </p:spTree>
    <p:extLst>
      <p:ext uri="{BB962C8B-B14F-4D97-AF65-F5344CB8AC3E}">
        <p14:creationId xmlns:p14="http://schemas.microsoft.com/office/powerpoint/2010/main" val="3584918872"/>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Effervescents Sans Alcool | CA A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60</a:t>
            </a:fld>
            <a:endParaRPr lang="en-US"/>
          </a:p>
        </p:txBody>
      </p:sp>
    </p:spTree>
    <p:extLst>
      <p:ext uri="{BB962C8B-B14F-4D97-AF65-F5344CB8AC3E}">
        <p14:creationId xmlns:p14="http://schemas.microsoft.com/office/powerpoint/2010/main" val="3194246713"/>
      </p:ext>
    </p:extLst>
  </p:cSld>
  <p:clrMapOvr>
    <a:masterClrMapping/>
  </p:clrMapOvr>
</p:sld>
</file>

<file path=ppt/slides/slide6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Champagnes | Nicolas | NICOLAS PAC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600</a:t>
            </a:fld>
            <a:endParaRPr lang="en-US"/>
          </a:p>
        </p:txBody>
      </p:sp>
    </p:spTree>
    <p:extLst>
      <p:ext uri="{BB962C8B-B14F-4D97-AF65-F5344CB8AC3E}">
        <p14:creationId xmlns:p14="http://schemas.microsoft.com/office/powerpoint/2010/main" val="2319304041"/>
      </p:ext>
    </p:extLst>
  </p:cSld>
  <p:clrMapOvr>
    <a:masterClrMapping/>
  </p:clrMapOvr>
</p:sld>
</file>

<file path=ppt/slides/slide6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Champagnes | Nicolas | NICOLAS RHO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601</a:t>
            </a:fld>
            <a:endParaRPr lang="en-US"/>
          </a:p>
        </p:txBody>
      </p:sp>
    </p:spTree>
    <p:extLst>
      <p:ext uri="{BB962C8B-B14F-4D97-AF65-F5344CB8AC3E}">
        <p14:creationId xmlns:p14="http://schemas.microsoft.com/office/powerpoint/2010/main" val="216595730"/>
      </p:ext>
    </p:extLst>
  </p:cSld>
  <p:clrMapOvr>
    <a:masterClrMapping/>
  </p:clrMapOvr>
</p:sld>
</file>

<file path=ppt/slides/slide6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Champagnes | Nicolas | NICOLAS AQU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602</a:t>
            </a:fld>
            <a:endParaRPr lang="en-US"/>
          </a:p>
        </p:txBody>
      </p:sp>
    </p:spTree>
    <p:extLst>
      <p:ext uri="{BB962C8B-B14F-4D97-AF65-F5344CB8AC3E}">
        <p14:creationId xmlns:p14="http://schemas.microsoft.com/office/powerpoint/2010/main" val="2606111619"/>
      </p:ext>
    </p:extLst>
  </p:cSld>
  <p:clrMapOvr>
    <a:masterClrMapping/>
  </p:clrMapOvr>
</p:sld>
</file>

<file path=ppt/slides/slide6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Champagnes | Nicolas | NICOLAS EST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603</a:t>
            </a:fld>
            <a:endParaRPr lang="en-US"/>
          </a:p>
        </p:txBody>
      </p:sp>
    </p:spTree>
    <p:extLst>
      <p:ext uri="{BB962C8B-B14F-4D97-AF65-F5344CB8AC3E}">
        <p14:creationId xmlns:p14="http://schemas.microsoft.com/office/powerpoint/2010/main" val="1667804497"/>
      </p:ext>
    </p:extLst>
  </p:cSld>
  <p:clrMapOvr>
    <a:masterClrMapping/>
  </p:clrMapOvr>
</p:sld>
</file>

<file path=ppt/slides/slide6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Champagnes | Nicolas | CA A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604</a:t>
            </a:fld>
            <a:endParaRPr lang="en-US"/>
          </a:p>
        </p:txBody>
      </p:sp>
    </p:spTree>
    <p:extLst>
      <p:ext uri="{BB962C8B-B14F-4D97-AF65-F5344CB8AC3E}">
        <p14:creationId xmlns:p14="http://schemas.microsoft.com/office/powerpoint/2010/main" val="1450162811"/>
      </p:ext>
    </p:extLst>
  </p:cSld>
  <p:clrMapOvr>
    <a:masterClrMapping/>
  </p:clrMapOvr>
</p:sld>
</file>

<file path=ppt/slides/slide6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Champagnes | Nicolas | CA B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605</a:t>
            </a:fld>
            <a:endParaRPr lang="en-US"/>
          </a:p>
        </p:txBody>
      </p:sp>
    </p:spTree>
    <p:extLst>
      <p:ext uri="{BB962C8B-B14F-4D97-AF65-F5344CB8AC3E}">
        <p14:creationId xmlns:p14="http://schemas.microsoft.com/office/powerpoint/2010/main" val="2570235247"/>
      </p:ext>
    </p:extLst>
  </p:cSld>
  <p:clrMapOvr>
    <a:masterClrMapping/>
  </p:clrMapOvr>
</p:sld>
</file>

<file path=ppt/slides/slide6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Champagnes | Nicolas | CA C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606</a:t>
            </a:fld>
            <a:endParaRPr lang="en-US"/>
          </a:p>
        </p:txBody>
      </p:sp>
    </p:spTree>
    <p:extLst>
      <p:ext uri="{BB962C8B-B14F-4D97-AF65-F5344CB8AC3E}">
        <p14:creationId xmlns:p14="http://schemas.microsoft.com/office/powerpoint/2010/main" val="1542692596"/>
      </p:ext>
    </p:extLst>
  </p:cSld>
  <p:clrMapOvr>
    <a:masterClrMapping/>
  </p:clrMapOvr>
</p:sld>
</file>

<file path=ppt/slides/slide6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Champagnes | Nicolas | CA D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607</a:t>
            </a:fld>
            <a:endParaRPr lang="en-US"/>
          </a:p>
        </p:txBody>
      </p:sp>
    </p:spTree>
    <p:extLst>
      <p:ext uri="{BB962C8B-B14F-4D97-AF65-F5344CB8AC3E}">
        <p14:creationId xmlns:p14="http://schemas.microsoft.com/office/powerpoint/2010/main" val="324496922"/>
      </p:ext>
    </p:extLst>
  </p:cSld>
  <p:clrMapOvr>
    <a:masterClrMapping/>
  </p:clrMapOvr>
</p:sld>
</file>

<file path=ppt/slides/slide6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Champagnes | Nicolas | CA E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608</a:t>
            </a:fld>
            <a:endParaRPr lang="en-US"/>
          </a:p>
        </p:txBody>
      </p:sp>
    </p:spTree>
    <p:extLst>
      <p:ext uri="{BB962C8B-B14F-4D97-AF65-F5344CB8AC3E}">
        <p14:creationId xmlns:p14="http://schemas.microsoft.com/office/powerpoint/2010/main" val="1272667136"/>
      </p:ext>
    </p:extLst>
  </p:cSld>
  <p:clrMapOvr>
    <a:masterClrMapping/>
  </p:clrMapOvr>
</p:sld>
</file>

<file path=ppt/slides/slide6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Blanc De Blancs | Nicolas | NICOLAS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609</a:t>
            </a:fld>
            <a:endParaRPr lang="en-US"/>
          </a:p>
        </p:txBody>
      </p:sp>
    </p:spTree>
    <p:extLst>
      <p:ext uri="{BB962C8B-B14F-4D97-AF65-F5344CB8AC3E}">
        <p14:creationId xmlns:p14="http://schemas.microsoft.com/office/powerpoint/2010/main" val="1546430589"/>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Effervescents Sans Alcool | CA B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61</a:t>
            </a:fld>
            <a:endParaRPr lang="en-US"/>
          </a:p>
        </p:txBody>
      </p:sp>
    </p:spTree>
    <p:extLst>
      <p:ext uri="{BB962C8B-B14F-4D97-AF65-F5344CB8AC3E}">
        <p14:creationId xmlns:p14="http://schemas.microsoft.com/office/powerpoint/2010/main" val="211336144"/>
      </p:ext>
    </p:extLst>
  </p:cSld>
  <p:clrMapOvr>
    <a:masterClrMapping/>
  </p:clrMapOvr>
</p:sld>
</file>

<file path=ppt/slides/slide6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Blanc De Blancs | Nicolas | NICOLAS QCN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610</a:t>
            </a:fld>
            <a:endParaRPr lang="en-US"/>
          </a:p>
        </p:txBody>
      </p:sp>
    </p:spTree>
    <p:extLst>
      <p:ext uri="{BB962C8B-B14F-4D97-AF65-F5344CB8AC3E}">
        <p14:creationId xmlns:p14="http://schemas.microsoft.com/office/powerpoint/2010/main" val="4127225147"/>
      </p:ext>
    </p:extLst>
  </p:cSld>
  <p:clrMapOvr>
    <a:masterClrMapping/>
  </p:clrMapOvr>
</p:sld>
</file>

<file path=ppt/slides/slide6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Blanc De Blancs | Nicolas | NICOLAS VCN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611</a:t>
            </a:fld>
            <a:endParaRPr lang="en-US"/>
          </a:p>
        </p:txBody>
      </p:sp>
    </p:spTree>
    <p:extLst>
      <p:ext uri="{BB962C8B-B14F-4D97-AF65-F5344CB8AC3E}">
        <p14:creationId xmlns:p14="http://schemas.microsoft.com/office/powerpoint/2010/main" val="811128288"/>
      </p:ext>
    </p:extLst>
  </p:cSld>
  <p:clrMapOvr>
    <a:masterClrMapping/>
  </p:clrMapOvr>
</p:sld>
</file>

<file path=ppt/slides/slide6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Blanc De Blancs | Nicolas | NICOLAS QCT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612</a:t>
            </a:fld>
            <a:endParaRPr lang="en-US"/>
          </a:p>
        </p:txBody>
      </p:sp>
    </p:spTree>
    <p:extLst>
      <p:ext uri="{BB962C8B-B14F-4D97-AF65-F5344CB8AC3E}">
        <p14:creationId xmlns:p14="http://schemas.microsoft.com/office/powerpoint/2010/main" val="745917058"/>
      </p:ext>
    </p:extLst>
  </p:cSld>
  <p:clrMapOvr>
    <a:masterClrMapping/>
  </p:clrMapOvr>
</p:sld>
</file>

<file path=ppt/slides/slide6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Blanc De Blancs | Nicolas | NICOLAS QCA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613</a:t>
            </a:fld>
            <a:endParaRPr lang="en-US"/>
          </a:p>
        </p:txBody>
      </p:sp>
    </p:spTree>
    <p:extLst>
      <p:ext uri="{BB962C8B-B14F-4D97-AF65-F5344CB8AC3E}">
        <p14:creationId xmlns:p14="http://schemas.microsoft.com/office/powerpoint/2010/main" val="472283715"/>
      </p:ext>
    </p:extLst>
  </p:cSld>
  <p:clrMapOvr>
    <a:masterClrMapping/>
  </p:clrMapOvr>
</p:sld>
</file>

<file path=ppt/slides/slide6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Blanc De Blancs | Nicolas | NICOLAS CCP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614</a:t>
            </a:fld>
            <a:endParaRPr lang="en-US"/>
          </a:p>
        </p:txBody>
      </p:sp>
    </p:spTree>
    <p:extLst>
      <p:ext uri="{BB962C8B-B14F-4D97-AF65-F5344CB8AC3E}">
        <p14:creationId xmlns:p14="http://schemas.microsoft.com/office/powerpoint/2010/main" val="562282441"/>
      </p:ext>
    </p:extLst>
  </p:cSld>
  <p:clrMapOvr>
    <a:masterClrMapping/>
  </p:clrMapOvr>
</p:sld>
</file>

<file path=ppt/slides/slide6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Blanc De Blancs | Nicolas | NICOLAS IDF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615</a:t>
            </a:fld>
            <a:endParaRPr lang="en-US"/>
          </a:p>
        </p:txBody>
      </p:sp>
    </p:spTree>
    <p:extLst>
      <p:ext uri="{BB962C8B-B14F-4D97-AF65-F5344CB8AC3E}">
        <p14:creationId xmlns:p14="http://schemas.microsoft.com/office/powerpoint/2010/main" val="970590"/>
      </p:ext>
    </p:extLst>
  </p:cSld>
  <p:clrMapOvr>
    <a:masterClrMapping/>
  </p:clrMapOvr>
</p:sld>
</file>

<file path=ppt/slides/slide6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Blanc De Blancs | Nicolas | NICOLAS PAC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616</a:t>
            </a:fld>
            <a:endParaRPr lang="en-US"/>
          </a:p>
        </p:txBody>
      </p:sp>
    </p:spTree>
    <p:extLst>
      <p:ext uri="{BB962C8B-B14F-4D97-AF65-F5344CB8AC3E}">
        <p14:creationId xmlns:p14="http://schemas.microsoft.com/office/powerpoint/2010/main" val="4131505353"/>
      </p:ext>
    </p:extLst>
  </p:cSld>
  <p:clrMapOvr>
    <a:masterClrMapping/>
  </p:clrMapOvr>
</p:sld>
</file>

<file path=ppt/slides/slide6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Blanc De Blancs | Nicolas | NICOLAS RHO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617</a:t>
            </a:fld>
            <a:endParaRPr lang="en-US"/>
          </a:p>
        </p:txBody>
      </p:sp>
    </p:spTree>
    <p:extLst>
      <p:ext uri="{BB962C8B-B14F-4D97-AF65-F5344CB8AC3E}">
        <p14:creationId xmlns:p14="http://schemas.microsoft.com/office/powerpoint/2010/main" val="3371334526"/>
      </p:ext>
    </p:extLst>
  </p:cSld>
  <p:clrMapOvr>
    <a:masterClrMapping/>
  </p:clrMapOvr>
</p:sld>
</file>

<file path=ppt/slides/slide6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Blanc De Blancs | Nicolas | NICOLAS AQU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618</a:t>
            </a:fld>
            <a:endParaRPr lang="en-US"/>
          </a:p>
        </p:txBody>
      </p:sp>
    </p:spTree>
    <p:extLst>
      <p:ext uri="{BB962C8B-B14F-4D97-AF65-F5344CB8AC3E}">
        <p14:creationId xmlns:p14="http://schemas.microsoft.com/office/powerpoint/2010/main" val="3192126204"/>
      </p:ext>
    </p:extLst>
  </p:cSld>
  <p:clrMapOvr>
    <a:masterClrMapping/>
  </p:clrMapOvr>
</p:sld>
</file>

<file path=ppt/slides/slide6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Blanc De Blancs | Nicolas | NICOLAS EST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619</a:t>
            </a:fld>
            <a:endParaRPr lang="en-US"/>
          </a:p>
        </p:txBody>
      </p:sp>
    </p:spTree>
    <p:extLst>
      <p:ext uri="{BB962C8B-B14F-4D97-AF65-F5344CB8AC3E}">
        <p14:creationId xmlns:p14="http://schemas.microsoft.com/office/powerpoint/2010/main" val="986719324"/>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Effervescents Sans Alcool | CA C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62</a:t>
            </a:fld>
            <a:endParaRPr lang="en-US"/>
          </a:p>
        </p:txBody>
      </p:sp>
    </p:spTree>
    <p:extLst>
      <p:ext uri="{BB962C8B-B14F-4D97-AF65-F5344CB8AC3E}">
        <p14:creationId xmlns:p14="http://schemas.microsoft.com/office/powerpoint/2010/main" val="175478712"/>
      </p:ext>
    </p:extLst>
  </p:cSld>
  <p:clrMapOvr>
    <a:masterClrMapping/>
  </p:clrMapOvr>
</p:sld>
</file>

<file path=ppt/slides/slide6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Blanc De Blancs | Nicolas | CA A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620</a:t>
            </a:fld>
            <a:endParaRPr lang="en-US"/>
          </a:p>
        </p:txBody>
      </p:sp>
    </p:spTree>
    <p:extLst>
      <p:ext uri="{BB962C8B-B14F-4D97-AF65-F5344CB8AC3E}">
        <p14:creationId xmlns:p14="http://schemas.microsoft.com/office/powerpoint/2010/main" val="3074219616"/>
      </p:ext>
    </p:extLst>
  </p:cSld>
  <p:clrMapOvr>
    <a:masterClrMapping/>
  </p:clrMapOvr>
</p:sld>
</file>

<file path=ppt/slides/slide6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Blanc De Blancs | Nicolas | CA B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621</a:t>
            </a:fld>
            <a:endParaRPr lang="en-US"/>
          </a:p>
        </p:txBody>
      </p:sp>
    </p:spTree>
    <p:extLst>
      <p:ext uri="{BB962C8B-B14F-4D97-AF65-F5344CB8AC3E}">
        <p14:creationId xmlns:p14="http://schemas.microsoft.com/office/powerpoint/2010/main" val="1524135255"/>
      </p:ext>
    </p:extLst>
  </p:cSld>
  <p:clrMapOvr>
    <a:masterClrMapping/>
  </p:clrMapOvr>
</p:sld>
</file>

<file path=ppt/slides/slide6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Blanc De Blancs | Nicolas | CA C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622</a:t>
            </a:fld>
            <a:endParaRPr lang="en-US"/>
          </a:p>
        </p:txBody>
      </p:sp>
    </p:spTree>
    <p:extLst>
      <p:ext uri="{BB962C8B-B14F-4D97-AF65-F5344CB8AC3E}">
        <p14:creationId xmlns:p14="http://schemas.microsoft.com/office/powerpoint/2010/main" val="4068450838"/>
      </p:ext>
    </p:extLst>
  </p:cSld>
  <p:clrMapOvr>
    <a:masterClrMapping/>
  </p:clrMapOvr>
</p:sld>
</file>

<file path=ppt/slides/slide6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Blanc De Blancs | Nicolas | CA D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623</a:t>
            </a:fld>
            <a:endParaRPr lang="en-US"/>
          </a:p>
        </p:txBody>
      </p:sp>
    </p:spTree>
    <p:extLst>
      <p:ext uri="{BB962C8B-B14F-4D97-AF65-F5344CB8AC3E}">
        <p14:creationId xmlns:p14="http://schemas.microsoft.com/office/powerpoint/2010/main" val="3850880339"/>
      </p:ext>
    </p:extLst>
  </p:cSld>
  <p:clrMapOvr>
    <a:masterClrMapping/>
  </p:clrMapOvr>
</p:sld>
</file>

<file path=ppt/slides/slide6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Blanc De Blancs | Nicolas | CA E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624</a:t>
            </a:fld>
            <a:endParaRPr lang="en-US"/>
          </a:p>
        </p:txBody>
      </p:sp>
    </p:spTree>
    <p:extLst>
      <p:ext uri="{BB962C8B-B14F-4D97-AF65-F5344CB8AC3E}">
        <p14:creationId xmlns:p14="http://schemas.microsoft.com/office/powerpoint/2010/main" val="1257185532"/>
      </p:ext>
    </p:extLst>
  </p:cSld>
  <p:clrMapOvr>
    <a:masterClrMapping/>
  </p:clrMapOvr>
</p:sld>
</file>

<file path=ppt/slides/slide6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Bruts | Nicolas | NICOLAS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625</a:t>
            </a:fld>
            <a:endParaRPr lang="en-US"/>
          </a:p>
        </p:txBody>
      </p:sp>
    </p:spTree>
    <p:extLst>
      <p:ext uri="{BB962C8B-B14F-4D97-AF65-F5344CB8AC3E}">
        <p14:creationId xmlns:p14="http://schemas.microsoft.com/office/powerpoint/2010/main" val="1436861298"/>
      </p:ext>
    </p:extLst>
  </p:cSld>
  <p:clrMapOvr>
    <a:masterClrMapping/>
  </p:clrMapOvr>
</p:sld>
</file>

<file path=ppt/slides/slide6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Bruts | Nicolas | NICOLAS QCN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626</a:t>
            </a:fld>
            <a:endParaRPr lang="en-US"/>
          </a:p>
        </p:txBody>
      </p:sp>
    </p:spTree>
    <p:extLst>
      <p:ext uri="{BB962C8B-B14F-4D97-AF65-F5344CB8AC3E}">
        <p14:creationId xmlns:p14="http://schemas.microsoft.com/office/powerpoint/2010/main" val="2633021263"/>
      </p:ext>
    </p:extLst>
  </p:cSld>
  <p:clrMapOvr>
    <a:masterClrMapping/>
  </p:clrMapOvr>
</p:sld>
</file>

<file path=ppt/slides/slide6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Bruts | Nicolas | NICOLAS VCN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627</a:t>
            </a:fld>
            <a:endParaRPr lang="en-US"/>
          </a:p>
        </p:txBody>
      </p:sp>
    </p:spTree>
    <p:extLst>
      <p:ext uri="{BB962C8B-B14F-4D97-AF65-F5344CB8AC3E}">
        <p14:creationId xmlns:p14="http://schemas.microsoft.com/office/powerpoint/2010/main" val="274775209"/>
      </p:ext>
    </p:extLst>
  </p:cSld>
  <p:clrMapOvr>
    <a:masterClrMapping/>
  </p:clrMapOvr>
</p:sld>
</file>

<file path=ppt/slides/slide6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Bruts | Nicolas | NICOLAS QCT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628</a:t>
            </a:fld>
            <a:endParaRPr lang="en-US"/>
          </a:p>
        </p:txBody>
      </p:sp>
    </p:spTree>
    <p:extLst>
      <p:ext uri="{BB962C8B-B14F-4D97-AF65-F5344CB8AC3E}">
        <p14:creationId xmlns:p14="http://schemas.microsoft.com/office/powerpoint/2010/main" val="2568033426"/>
      </p:ext>
    </p:extLst>
  </p:cSld>
  <p:clrMapOvr>
    <a:masterClrMapping/>
  </p:clrMapOvr>
</p:sld>
</file>

<file path=ppt/slides/slide6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Bruts | Nicolas | NICOLAS QCA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629</a:t>
            </a:fld>
            <a:endParaRPr lang="en-US"/>
          </a:p>
        </p:txBody>
      </p:sp>
    </p:spTree>
    <p:extLst>
      <p:ext uri="{BB962C8B-B14F-4D97-AF65-F5344CB8AC3E}">
        <p14:creationId xmlns:p14="http://schemas.microsoft.com/office/powerpoint/2010/main" val="779153538"/>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Effervescents Sans Alcool | CA D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63</a:t>
            </a:fld>
            <a:endParaRPr lang="en-US"/>
          </a:p>
        </p:txBody>
      </p:sp>
    </p:spTree>
    <p:extLst>
      <p:ext uri="{BB962C8B-B14F-4D97-AF65-F5344CB8AC3E}">
        <p14:creationId xmlns:p14="http://schemas.microsoft.com/office/powerpoint/2010/main" val="3406589388"/>
      </p:ext>
    </p:extLst>
  </p:cSld>
  <p:clrMapOvr>
    <a:masterClrMapping/>
  </p:clrMapOvr>
</p:sld>
</file>

<file path=ppt/slides/slide6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Bruts | Nicolas | NICOLAS CCP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630</a:t>
            </a:fld>
            <a:endParaRPr lang="en-US"/>
          </a:p>
        </p:txBody>
      </p:sp>
    </p:spTree>
    <p:extLst>
      <p:ext uri="{BB962C8B-B14F-4D97-AF65-F5344CB8AC3E}">
        <p14:creationId xmlns:p14="http://schemas.microsoft.com/office/powerpoint/2010/main" val="3177580863"/>
      </p:ext>
    </p:extLst>
  </p:cSld>
  <p:clrMapOvr>
    <a:masterClrMapping/>
  </p:clrMapOvr>
</p:sld>
</file>

<file path=ppt/slides/slide6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Bruts | Nicolas | NICOLAS IDF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631</a:t>
            </a:fld>
            <a:endParaRPr lang="en-US"/>
          </a:p>
        </p:txBody>
      </p:sp>
    </p:spTree>
    <p:extLst>
      <p:ext uri="{BB962C8B-B14F-4D97-AF65-F5344CB8AC3E}">
        <p14:creationId xmlns:p14="http://schemas.microsoft.com/office/powerpoint/2010/main" val="2781892528"/>
      </p:ext>
    </p:extLst>
  </p:cSld>
  <p:clrMapOvr>
    <a:masterClrMapping/>
  </p:clrMapOvr>
</p:sld>
</file>

<file path=ppt/slides/slide6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Bruts | Nicolas | NICOLAS PAC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632</a:t>
            </a:fld>
            <a:endParaRPr lang="en-US"/>
          </a:p>
        </p:txBody>
      </p:sp>
    </p:spTree>
    <p:extLst>
      <p:ext uri="{BB962C8B-B14F-4D97-AF65-F5344CB8AC3E}">
        <p14:creationId xmlns:p14="http://schemas.microsoft.com/office/powerpoint/2010/main" val="649670956"/>
      </p:ext>
    </p:extLst>
  </p:cSld>
  <p:clrMapOvr>
    <a:masterClrMapping/>
  </p:clrMapOvr>
</p:sld>
</file>

<file path=ppt/slides/slide6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Bruts | Nicolas | NICOLAS RHO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633</a:t>
            </a:fld>
            <a:endParaRPr lang="en-US"/>
          </a:p>
        </p:txBody>
      </p:sp>
    </p:spTree>
    <p:extLst>
      <p:ext uri="{BB962C8B-B14F-4D97-AF65-F5344CB8AC3E}">
        <p14:creationId xmlns:p14="http://schemas.microsoft.com/office/powerpoint/2010/main" val="2426214212"/>
      </p:ext>
    </p:extLst>
  </p:cSld>
  <p:clrMapOvr>
    <a:masterClrMapping/>
  </p:clrMapOvr>
</p:sld>
</file>

<file path=ppt/slides/slide6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Bruts | Nicolas | NICOLAS AQU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634</a:t>
            </a:fld>
            <a:endParaRPr lang="en-US"/>
          </a:p>
        </p:txBody>
      </p:sp>
    </p:spTree>
    <p:extLst>
      <p:ext uri="{BB962C8B-B14F-4D97-AF65-F5344CB8AC3E}">
        <p14:creationId xmlns:p14="http://schemas.microsoft.com/office/powerpoint/2010/main" val="2993774613"/>
      </p:ext>
    </p:extLst>
  </p:cSld>
  <p:clrMapOvr>
    <a:masterClrMapping/>
  </p:clrMapOvr>
</p:sld>
</file>

<file path=ppt/slides/slide6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Bruts | Nicolas | NICOLAS EST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635</a:t>
            </a:fld>
            <a:endParaRPr lang="en-US"/>
          </a:p>
        </p:txBody>
      </p:sp>
    </p:spTree>
    <p:extLst>
      <p:ext uri="{BB962C8B-B14F-4D97-AF65-F5344CB8AC3E}">
        <p14:creationId xmlns:p14="http://schemas.microsoft.com/office/powerpoint/2010/main" val="623005755"/>
      </p:ext>
    </p:extLst>
  </p:cSld>
  <p:clrMapOvr>
    <a:masterClrMapping/>
  </p:clrMapOvr>
</p:sld>
</file>

<file path=ppt/slides/slide6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Bruts | Nicolas | CA A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636</a:t>
            </a:fld>
            <a:endParaRPr lang="en-US"/>
          </a:p>
        </p:txBody>
      </p:sp>
    </p:spTree>
    <p:extLst>
      <p:ext uri="{BB962C8B-B14F-4D97-AF65-F5344CB8AC3E}">
        <p14:creationId xmlns:p14="http://schemas.microsoft.com/office/powerpoint/2010/main" val="257111876"/>
      </p:ext>
    </p:extLst>
  </p:cSld>
  <p:clrMapOvr>
    <a:masterClrMapping/>
  </p:clrMapOvr>
</p:sld>
</file>

<file path=ppt/slides/slide6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Bruts | Nicolas | CA B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637</a:t>
            </a:fld>
            <a:endParaRPr lang="en-US"/>
          </a:p>
        </p:txBody>
      </p:sp>
    </p:spTree>
    <p:extLst>
      <p:ext uri="{BB962C8B-B14F-4D97-AF65-F5344CB8AC3E}">
        <p14:creationId xmlns:p14="http://schemas.microsoft.com/office/powerpoint/2010/main" val="182159995"/>
      </p:ext>
    </p:extLst>
  </p:cSld>
  <p:clrMapOvr>
    <a:masterClrMapping/>
  </p:clrMapOvr>
</p:sld>
</file>

<file path=ppt/slides/slide6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Bruts | Nicolas | CA C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638</a:t>
            </a:fld>
            <a:endParaRPr lang="en-US"/>
          </a:p>
        </p:txBody>
      </p:sp>
    </p:spTree>
    <p:extLst>
      <p:ext uri="{BB962C8B-B14F-4D97-AF65-F5344CB8AC3E}">
        <p14:creationId xmlns:p14="http://schemas.microsoft.com/office/powerpoint/2010/main" val="3030529328"/>
      </p:ext>
    </p:extLst>
  </p:cSld>
  <p:clrMapOvr>
    <a:masterClrMapping/>
  </p:clrMapOvr>
</p:sld>
</file>

<file path=ppt/slides/slide6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Bruts | Nicolas | CA D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639</a:t>
            </a:fld>
            <a:endParaRPr lang="en-US"/>
          </a:p>
        </p:txBody>
      </p:sp>
    </p:spTree>
    <p:extLst>
      <p:ext uri="{BB962C8B-B14F-4D97-AF65-F5344CB8AC3E}">
        <p14:creationId xmlns:p14="http://schemas.microsoft.com/office/powerpoint/2010/main" val="1042904282"/>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Effervescents Sans Alcool | CA E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64</a:t>
            </a:fld>
            <a:endParaRPr lang="en-US"/>
          </a:p>
        </p:txBody>
      </p:sp>
    </p:spTree>
    <p:extLst>
      <p:ext uri="{BB962C8B-B14F-4D97-AF65-F5344CB8AC3E}">
        <p14:creationId xmlns:p14="http://schemas.microsoft.com/office/powerpoint/2010/main" val="1472845416"/>
      </p:ext>
    </p:extLst>
  </p:cSld>
  <p:clrMapOvr>
    <a:masterClrMapping/>
  </p:clrMapOvr>
</p:sld>
</file>

<file path=ppt/slides/slide6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Bruts | Nicolas | CA E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640</a:t>
            </a:fld>
            <a:endParaRPr lang="en-US"/>
          </a:p>
        </p:txBody>
      </p:sp>
    </p:spTree>
    <p:extLst>
      <p:ext uri="{BB962C8B-B14F-4D97-AF65-F5344CB8AC3E}">
        <p14:creationId xmlns:p14="http://schemas.microsoft.com/office/powerpoint/2010/main" val="3522966316"/>
      </p:ext>
    </p:extLst>
  </p:cSld>
  <p:clrMapOvr>
    <a:masterClrMapping/>
  </p:clrMapOvr>
</p:sld>
</file>

<file path=ppt/slides/slide6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Crus | Nicolas | NICOLAS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641</a:t>
            </a:fld>
            <a:endParaRPr lang="en-US"/>
          </a:p>
        </p:txBody>
      </p:sp>
    </p:spTree>
    <p:extLst>
      <p:ext uri="{BB962C8B-B14F-4D97-AF65-F5344CB8AC3E}">
        <p14:creationId xmlns:p14="http://schemas.microsoft.com/office/powerpoint/2010/main" val="1372139286"/>
      </p:ext>
    </p:extLst>
  </p:cSld>
  <p:clrMapOvr>
    <a:masterClrMapping/>
  </p:clrMapOvr>
</p:sld>
</file>

<file path=ppt/slides/slide6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Crus | Nicolas | NICOLAS QCN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642</a:t>
            </a:fld>
            <a:endParaRPr lang="en-US"/>
          </a:p>
        </p:txBody>
      </p:sp>
    </p:spTree>
    <p:extLst>
      <p:ext uri="{BB962C8B-B14F-4D97-AF65-F5344CB8AC3E}">
        <p14:creationId xmlns:p14="http://schemas.microsoft.com/office/powerpoint/2010/main" val="3171148084"/>
      </p:ext>
    </p:extLst>
  </p:cSld>
  <p:clrMapOvr>
    <a:masterClrMapping/>
  </p:clrMapOvr>
</p:sld>
</file>

<file path=ppt/slides/slide6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Crus | Nicolas | NICOLAS VCN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643</a:t>
            </a:fld>
            <a:endParaRPr lang="en-US"/>
          </a:p>
        </p:txBody>
      </p:sp>
    </p:spTree>
    <p:extLst>
      <p:ext uri="{BB962C8B-B14F-4D97-AF65-F5344CB8AC3E}">
        <p14:creationId xmlns:p14="http://schemas.microsoft.com/office/powerpoint/2010/main" val="1758259959"/>
      </p:ext>
    </p:extLst>
  </p:cSld>
  <p:clrMapOvr>
    <a:masterClrMapping/>
  </p:clrMapOvr>
</p:sld>
</file>

<file path=ppt/slides/slide6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Crus | Nicolas | NICOLAS QCT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644</a:t>
            </a:fld>
            <a:endParaRPr lang="en-US"/>
          </a:p>
        </p:txBody>
      </p:sp>
    </p:spTree>
    <p:extLst>
      <p:ext uri="{BB962C8B-B14F-4D97-AF65-F5344CB8AC3E}">
        <p14:creationId xmlns:p14="http://schemas.microsoft.com/office/powerpoint/2010/main" val="1428660332"/>
      </p:ext>
    </p:extLst>
  </p:cSld>
  <p:clrMapOvr>
    <a:masterClrMapping/>
  </p:clrMapOvr>
</p:sld>
</file>

<file path=ppt/slides/slide6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Crus | Nicolas | NICOLAS QCA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645</a:t>
            </a:fld>
            <a:endParaRPr lang="en-US"/>
          </a:p>
        </p:txBody>
      </p:sp>
    </p:spTree>
    <p:extLst>
      <p:ext uri="{BB962C8B-B14F-4D97-AF65-F5344CB8AC3E}">
        <p14:creationId xmlns:p14="http://schemas.microsoft.com/office/powerpoint/2010/main" val="216264072"/>
      </p:ext>
    </p:extLst>
  </p:cSld>
  <p:clrMapOvr>
    <a:masterClrMapping/>
  </p:clrMapOvr>
</p:sld>
</file>

<file path=ppt/slides/slide6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Crus | Nicolas | NICOLAS CCP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646</a:t>
            </a:fld>
            <a:endParaRPr lang="en-US"/>
          </a:p>
        </p:txBody>
      </p:sp>
    </p:spTree>
    <p:extLst>
      <p:ext uri="{BB962C8B-B14F-4D97-AF65-F5344CB8AC3E}">
        <p14:creationId xmlns:p14="http://schemas.microsoft.com/office/powerpoint/2010/main" val="3809263015"/>
      </p:ext>
    </p:extLst>
  </p:cSld>
  <p:clrMapOvr>
    <a:masterClrMapping/>
  </p:clrMapOvr>
</p:sld>
</file>

<file path=ppt/slides/slide6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Crus | Nicolas | NICOLAS IDF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647</a:t>
            </a:fld>
            <a:endParaRPr lang="en-US"/>
          </a:p>
        </p:txBody>
      </p:sp>
    </p:spTree>
    <p:extLst>
      <p:ext uri="{BB962C8B-B14F-4D97-AF65-F5344CB8AC3E}">
        <p14:creationId xmlns:p14="http://schemas.microsoft.com/office/powerpoint/2010/main" val="2692039051"/>
      </p:ext>
    </p:extLst>
  </p:cSld>
  <p:clrMapOvr>
    <a:masterClrMapping/>
  </p:clrMapOvr>
</p:sld>
</file>

<file path=ppt/slides/slide6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Crus | Nicolas | NICOLAS PAC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648</a:t>
            </a:fld>
            <a:endParaRPr lang="en-US"/>
          </a:p>
        </p:txBody>
      </p:sp>
    </p:spTree>
    <p:extLst>
      <p:ext uri="{BB962C8B-B14F-4D97-AF65-F5344CB8AC3E}">
        <p14:creationId xmlns:p14="http://schemas.microsoft.com/office/powerpoint/2010/main" val="2070504791"/>
      </p:ext>
    </p:extLst>
  </p:cSld>
  <p:clrMapOvr>
    <a:masterClrMapping/>
  </p:clrMapOvr>
</p:sld>
</file>

<file path=ppt/slides/slide6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Crus | Nicolas | NICOLAS RHO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649</a:t>
            </a:fld>
            <a:endParaRPr lang="en-US"/>
          </a:p>
        </p:txBody>
      </p:sp>
    </p:spTree>
    <p:extLst>
      <p:ext uri="{BB962C8B-B14F-4D97-AF65-F5344CB8AC3E}">
        <p14:creationId xmlns:p14="http://schemas.microsoft.com/office/powerpoint/2010/main" val="1892603100"/>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Blanc De Blancs | NICOLAS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65</a:t>
            </a:fld>
            <a:endParaRPr lang="en-US"/>
          </a:p>
        </p:txBody>
      </p:sp>
    </p:spTree>
    <p:extLst>
      <p:ext uri="{BB962C8B-B14F-4D97-AF65-F5344CB8AC3E}">
        <p14:creationId xmlns:p14="http://schemas.microsoft.com/office/powerpoint/2010/main" val="2083856473"/>
      </p:ext>
    </p:extLst>
  </p:cSld>
  <p:clrMapOvr>
    <a:masterClrMapping/>
  </p:clrMapOvr>
</p:sld>
</file>

<file path=ppt/slides/slide6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Crus | Nicolas | NICOLAS AQU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650</a:t>
            </a:fld>
            <a:endParaRPr lang="en-US"/>
          </a:p>
        </p:txBody>
      </p:sp>
    </p:spTree>
    <p:extLst>
      <p:ext uri="{BB962C8B-B14F-4D97-AF65-F5344CB8AC3E}">
        <p14:creationId xmlns:p14="http://schemas.microsoft.com/office/powerpoint/2010/main" val="3135244736"/>
      </p:ext>
    </p:extLst>
  </p:cSld>
  <p:clrMapOvr>
    <a:masterClrMapping/>
  </p:clrMapOvr>
</p:sld>
</file>

<file path=ppt/slides/slide6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Crus | Nicolas | NICOLAS EST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651</a:t>
            </a:fld>
            <a:endParaRPr lang="en-US"/>
          </a:p>
        </p:txBody>
      </p:sp>
    </p:spTree>
    <p:extLst>
      <p:ext uri="{BB962C8B-B14F-4D97-AF65-F5344CB8AC3E}">
        <p14:creationId xmlns:p14="http://schemas.microsoft.com/office/powerpoint/2010/main" val="1570330279"/>
      </p:ext>
    </p:extLst>
  </p:cSld>
  <p:clrMapOvr>
    <a:masterClrMapping/>
  </p:clrMapOvr>
</p:sld>
</file>

<file path=ppt/slides/slide6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Crus | Nicolas | CA A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652</a:t>
            </a:fld>
            <a:endParaRPr lang="en-US"/>
          </a:p>
        </p:txBody>
      </p:sp>
    </p:spTree>
    <p:extLst>
      <p:ext uri="{BB962C8B-B14F-4D97-AF65-F5344CB8AC3E}">
        <p14:creationId xmlns:p14="http://schemas.microsoft.com/office/powerpoint/2010/main" val="2794400681"/>
      </p:ext>
    </p:extLst>
  </p:cSld>
  <p:clrMapOvr>
    <a:masterClrMapping/>
  </p:clrMapOvr>
</p:sld>
</file>

<file path=ppt/slides/slide6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Crus | Nicolas | CA B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653</a:t>
            </a:fld>
            <a:endParaRPr lang="en-US"/>
          </a:p>
        </p:txBody>
      </p:sp>
    </p:spTree>
    <p:extLst>
      <p:ext uri="{BB962C8B-B14F-4D97-AF65-F5344CB8AC3E}">
        <p14:creationId xmlns:p14="http://schemas.microsoft.com/office/powerpoint/2010/main" val="724879835"/>
      </p:ext>
    </p:extLst>
  </p:cSld>
  <p:clrMapOvr>
    <a:masterClrMapping/>
  </p:clrMapOvr>
</p:sld>
</file>

<file path=ppt/slides/slide6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Crus | Nicolas | CA C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654</a:t>
            </a:fld>
            <a:endParaRPr lang="en-US"/>
          </a:p>
        </p:txBody>
      </p:sp>
    </p:spTree>
    <p:extLst>
      <p:ext uri="{BB962C8B-B14F-4D97-AF65-F5344CB8AC3E}">
        <p14:creationId xmlns:p14="http://schemas.microsoft.com/office/powerpoint/2010/main" val="262911910"/>
      </p:ext>
    </p:extLst>
  </p:cSld>
  <p:clrMapOvr>
    <a:masterClrMapping/>
  </p:clrMapOvr>
</p:sld>
</file>

<file path=ppt/slides/slide6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Crus | Nicolas | CA D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655</a:t>
            </a:fld>
            <a:endParaRPr lang="en-US"/>
          </a:p>
        </p:txBody>
      </p:sp>
    </p:spTree>
    <p:extLst>
      <p:ext uri="{BB962C8B-B14F-4D97-AF65-F5344CB8AC3E}">
        <p14:creationId xmlns:p14="http://schemas.microsoft.com/office/powerpoint/2010/main" val="4196811162"/>
      </p:ext>
    </p:extLst>
  </p:cSld>
  <p:clrMapOvr>
    <a:masterClrMapping/>
  </p:clrMapOvr>
</p:sld>
</file>

<file path=ppt/slides/slide6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Crus | Nicolas | CA E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656</a:t>
            </a:fld>
            <a:endParaRPr lang="en-US"/>
          </a:p>
        </p:txBody>
      </p:sp>
    </p:spTree>
    <p:extLst>
      <p:ext uri="{BB962C8B-B14F-4D97-AF65-F5344CB8AC3E}">
        <p14:creationId xmlns:p14="http://schemas.microsoft.com/office/powerpoint/2010/main" val="1713294941"/>
      </p:ext>
    </p:extLst>
  </p:cSld>
  <p:clrMapOvr>
    <a:masterClrMapping/>
  </p:clrMapOvr>
</p:sld>
</file>

<file path=ppt/slides/slide6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Rosés | Nicolas | NICOLAS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657</a:t>
            </a:fld>
            <a:endParaRPr lang="en-US"/>
          </a:p>
        </p:txBody>
      </p:sp>
    </p:spTree>
    <p:extLst>
      <p:ext uri="{BB962C8B-B14F-4D97-AF65-F5344CB8AC3E}">
        <p14:creationId xmlns:p14="http://schemas.microsoft.com/office/powerpoint/2010/main" val="2557966009"/>
      </p:ext>
    </p:extLst>
  </p:cSld>
  <p:clrMapOvr>
    <a:masterClrMapping/>
  </p:clrMapOvr>
</p:sld>
</file>

<file path=ppt/slides/slide6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Rosés | Nicolas | NICOLAS QCN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658</a:t>
            </a:fld>
            <a:endParaRPr lang="en-US"/>
          </a:p>
        </p:txBody>
      </p:sp>
    </p:spTree>
    <p:extLst>
      <p:ext uri="{BB962C8B-B14F-4D97-AF65-F5344CB8AC3E}">
        <p14:creationId xmlns:p14="http://schemas.microsoft.com/office/powerpoint/2010/main" val="4183656476"/>
      </p:ext>
    </p:extLst>
  </p:cSld>
  <p:clrMapOvr>
    <a:masterClrMapping/>
  </p:clrMapOvr>
</p:sld>
</file>

<file path=ppt/slides/slide6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Rosés | Nicolas | NICOLAS VCN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659</a:t>
            </a:fld>
            <a:endParaRPr lang="en-US"/>
          </a:p>
        </p:txBody>
      </p:sp>
    </p:spTree>
    <p:extLst>
      <p:ext uri="{BB962C8B-B14F-4D97-AF65-F5344CB8AC3E}">
        <p14:creationId xmlns:p14="http://schemas.microsoft.com/office/powerpoint/2010/main" val="1942865909"/>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Blanc De Blancs | NICOLAS QCN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66</a:t>
            </a:fld>
            <a:endParaRPr lang="en-US"/>
          </a:p>
        </p:txBody>
      </p:sp>
    </p:spTree>
    <p:extLst>
      <p:ext uri="{BB962C8B-B14F-4D97-AF65-F5344CB8AC3E}">
        <p14:creationId xmlns:p14="http://schemas.microsoft.com/office/powerpoint/2010/main" val="2133646596"/>
      </p:ext>
    </p:extLst>
  </p:cSld>
  <p:clrMapOvr>
    <a:masterClrMapping/>
  </p:clrMapOvr>
</p:sld>
</file>

<file path=ppt/slides/slide6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Rosés | Nicolas | NICOLAS QCT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660</a:t>
            </a:fld>
            <a:endParaRPr lang="en-US"/>
          </a:p>
        </p:txBody>
      </p:sp>
    </p:spTree>
    <p:extLst>
      <p:ext uri="{BB962C8B-B14F-4D97-AF65-F5344CB8AC3E}">
        <p14:creationId xmlns:p14="http://schemas.microsoft.com/office/powerpoint/2010/main" val="3064040785"/>
      </p:ext>
    </p:extLst>
  </p:cSld>
  <p:clrMapOvr>
    <a:masterClrMapping/>
  </p:clrMapOvr>
</p:sld>
</file>

<file path=ppt/slides/slide6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Rosés | Nicolas | NICOLAS QCA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661</a:t>
            </a:fld>
            <a:endParaRPr lang="en-US"/>
          </a:p>
        </p:txBody>
      </p:sp>
    </p:spTree>
    <p:extLst>
      <p:ext uri="{BB962C8B-B14F-4D97-AF65-F5344CB8AC3E}">
        <p14:creationId xmlns:p14="http://schemas.microsoft.com/office/powerpoint/2010/main" val="639262281"/>
      </p:ext>
    </p:extLst>
  </p:cSld>
  <p:clrMapOvr>
    <a:masterClrMapping/>
  </p:clrMapOvr>
</p:sld>
</file>

<file path=ppt/slides/slide6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Rosés | Nicolas | NICOLAS CCP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662</a:t>
            </a:fld>
            <a:endParaRPr lang="en-US"/>
          </a:p>
        </p:txBody>
      </p:sp>
    </p:spTree>
    <p:extLst>
      <p:ext uri="{BB962C8B-B14F-4D97-AF65-F5344CB8AC3E}">
        <p14:creationId xmlns:p14="http://schemas.microsoft.com/office/powerpoint/2010/main" val="3827645275"/>
      </p:ext>
    </p:extLst>
  </p:cSld>
  <p:clrMapOvr>
    <a:masterClrMapping/>
  </p:clrMapOvr>
</p:sld>
</file>

<file path=ppt/slides/slide6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Rosés | Nicolas | NICOLAS IDF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663</a:t>
            </a:fld>
            <a:endParaRPr lang="en-US"/>
          </a:p>
        </p:txBody>
      </p:sp>
    </p:spTree>
    <p:extLst>
      <p:ext uri="{BB962C8B-B14F-4D97-AF65-F5344CB8AC3E}">
        <p14:creationId xmlns:p14="http://schemas.microsoft.com/office/powerpoint/2010/main" val="1689631976"/>
      </p:ext>
    </p:extLst>
  </p:cSld>
  <p:clrMapOvr>
    <a:masterClrMapping/>
  </p:clrMapOvr>
</p:sld>
</file>

<file path=ppt/slides/slide6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Rosés | Nicolas | NICOLAS PAC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664</a:t>
            </a:fld>
            <a:endParaRPr lang="en-US"/>
          </a:p>
        </p:txBody>
      </p:sp>
    </p:spTree>
    <p:extLst>
      <p:ext uri="{BB962C8B-B14F-4D97-AF65-F5344CB8AC3E}">
        <p14:creationId xmlns:p14="http://schemas.microsoft.com/office/powerpoint/2010/main" val="1356974427"/>
      </p:ext>
    </p:extLst>
  </p:cSld>
  <p:clrMapOvr>
    <a:masterClrMapping/>
  </p:clrMapOvr>
</p:sld>
</file>

<file path=ppt/slides/slide6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Rosés | Nicolas | NICOLAS RHO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665</a:t>
            </a:fld>
            <a:endParaRPr lang="en-US"/>
          </a:p>
        </p:txBody>
      </p:sp>
    </p:spTree>
    <p:extLst>
      <p:ext uri="{BB962C8B-B14F-4D97-AF65-F5344CB8AC3E}">
        <p14:creationId xmlns:p14="http://schemas.microsoft.com/office/powerpoint/2010/main" val="1026103996"/>
      </p:ext>
    </p:extLst>
  </p:cSld>
  <p:clrMapOvr>
    <a:masterClrMapping/>
  </p:clrMapOvr>
</p:sld>
</file>

<file path=ppt/slides/slide6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Rosés | Nicolas | NICOLAS AQU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666</a:t>
            </a:fld>
            <a:endParaRPr lang="en-US"/>
          </a:p>
        </p:txBody>
      </p:sp>
    </p:spTree>
    <p:extLst>
      <p:ext uri="{BB962C8B-B14F-4D97-AF65-F5344CB8AC3E}">
        <p14:creationId xmlns:p14="http://schemas.microsoft.com/office/powerpoint/2010/main" val="2710078058"/>
      </p:ext>
    </p:extLst>
  </p:cSld>
  <p:clrMapOvr>
    <a:masterClrMapping/>
  </p:clrMapOvr>
</p:sld>
</file>

<file path=ppt/slides/slide6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Rosés | Nicolas | NICOLAS EST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667</a:t>
            </a:fld>
            <a:endParaRPr lang="en-US"/>
          </a:p>
        </p:txBody>
      </p:sp>
    </p:spTree>
    <p:extLst>
      <p:ext uri="{BB962C8B-B14F-4D97-AF65-F5344CB8AC3E}">
        <p14:creationId xmlns:p14="http://schemas.microsoft.com/office/powerpoint/2010/main" val="1663459122"/>
      </p:ext>
    </p:extLst>
  </p:cSld>
  <p:clrMapOvr>
    <a:masterClrMapping/>
  </p:clrMapOvr>
</p:sld>
</file>

<file path=ppt/slides/slide6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Rosés | Nicolas | CA A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668</a:t>
            </a:fld>
            <a:endParaRPr lang="en-US"/>
          </a:p>
        </p:txBody>
      </p:sp>
    </p:spTree>
    <p:extLst>
      <p:ext uri="{BB962C8B-B14F-4D97-AF65-F5344CB8AC3E}">
        <p14:creationId xmlns:p14="http://schemas.microsoft.com/office/powerpoint/2010/main" val="4249031109"/>
      </p:ext>
    </p:extLst>
  </p:cSld>
  <p:clrMapOvr>
    <a:masterClrMapping/>
  </p:clrMapOvr>
</p:sld>
</file>

<file path=ppt/slides/slide6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Rosés | Nicolas | CA B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669</a:t>
            </a:fld>
            <a:endParaRPr lang="en-US"/>
          </a:p>
        </p:txBody>
      </p:sp>
    </p:spTree>
    <p:extLst>
      <p:ext uri="{BB962C8B-B14F-4D97-AF65-F5344CB8AC3E}">
        <p14:creationId xmlns:p14="http://schemas.microsoft.com/office/powerpoint/2010/main" val="792708782"/>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Blanc De Blancs | NICOLAS VCN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67</a:t>
            </a:fld>
            <a:endParaRPr lang="en-US"/>
          </a:p>
        </p:txBody>
      </p:sp>
    </p:spTree>
    <p:extLst>
      <p:ext uri="{BB962C8B-B14F-4D97-AF65-F5344CB8AC3E}">
        <p14:creationId xmlns:p14="http://schemas.microsoft.com/office/powerpoint/2010/main" val="2561186336"/>
      </p:ext>
    </p:extLst>
  </p:cSld>
  <p:clrMapOvr>
    <a:masterClrMapping/>
  </p:clrMapOvr>
</p:sld>
</file>

<file path=ppt/slides/slide6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Rosés | Nicolas | CA C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670</a:t>
            </a:fld>
            <a:endParaRPr lang="en-US"/>
          </a:p>
        </p:txBody>
      </p:sp>
    </p:spTree>
    <p:extLst>
      <p:ext uri="{BB962C8B-B14F-4D97-AF65-F5344CB8AC3E}">
        <p14:creationId xmlns:p14="http://schemas.microsoft.com/office/powerpoint/2010/main" val="2776932290"/>
      </p:ext>
    </p:extLst>
  </p:cSld>
  <p:clrMapOvr>
    <a:masterClrMapping/>
  </p:clrMapOvr>
</p:sld>
</file>

<file path=ppt/slides/slide6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Rosés | Nicolas | CA D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671</a:t>
            </a:fld>
            <a:endParaRPr lang="en-US"/>
          </a:p>
        </p:txBody>
      </p:sp>
    </p:spTree>
    <p:extLst>
      <p:ext uri="{BB962C8B-B14F-4D97-AF65-F5344CB8AC3E}">
        <p14:creationId xmlns:p14="http://schemas.microsoft.com/office/powerpoint/2010/main" val="106143621"/>
      </p:ext>
    </p:extLst>
  </p:cSld>
  <p:clrMapOvr>
    <a:masterClrMapping/>
  </p:clrMapOvr>
</p:sld>
</file>

<file path=ppt/slides/slide6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Rosés | Nicolas | CA E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672</a:t>
            </a:fld>
            <a:endParaRPr lang="en-US"/>
          </a:p>
        </p:txBody>
      </p:sp>
    </p:spTree>
    <p:extLst>
      <p:ext uri="{BB962C8B-B14F-4D97-AF65-F5344CB8AC3E}">
        <p14:creationId xmlns:p14="http://schemas.microsoft.com/office/powerpoint/2010/main" val="141120530"/>
      </p:ext>
    </p:extLst>
  </p:cSld>
  <p:clrMapOvr>
    <a:masterClrMapping/>
  </p:clrMapOvr>
</p:sld>
</file>

<file path=ppt/slides/slide6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Effervescents | NICOLAS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87690"/>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RUT (NU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CHAMPAGNE E.NICOLAS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15.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906332058"/>
                  </a:ext>
                </a:extLst>
              </a:tr>
              <a:tr h="164170">
                <a:tc>
                  <a:txBody>
                    <a:bodyPr/>
                    <a:lstStyle/>
                    <a:p>
                      <a:pPr algn="ctr">
                        <a:defRPr sz="800">
                          <a:latin typeface="Nexa Book"/>
                        </a:defRPr>
                      </a:pPr>
                      <a:r>
                        <a:t>Deutz</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EUTZ CLASSIC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LANC DE BLANCS (NU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5.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Heidsieck &amp; Co Monopol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HEIDSIECK MONOPOLE SILVER TOP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8.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Malard</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ALARD PREMIER CRU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Laurent Perri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AURENT PERRIER LA CUVEE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4.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Ayal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YALA BRUT MAJEUR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De Blign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HAMPAGNE CH DE BLIGNY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Nicolas Feuilla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NICOLAS FEUILLATTE RES EX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LANC DE BLANCS SECOND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3.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Canard Duchên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ANARD DUCHENE CUVEE LEONI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4.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Taitting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TAITTINGER PRESTIGE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6.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RUT SECOND SKIN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8.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Bolling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OLLINGER SPECIAL CUVE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Besserat De Bellef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ESSERAT BELLEFON BLEU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a:defRPr sz="800">
                          <a:latin typeface="Nexa Book"/>
                        </a:defRPr>
                      </a:pPr>
                      <a:r>
                        <a:t>Demoisell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EMOISELLE TETE CUVEE BRUT PS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Perrier Joue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ERRIER JOUET GRAND BRUT SHAP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4.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RUINART BRUT SECOND SKIN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5.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Deutz</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DEUTZ CLASSIC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6.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673</a:t>
            </a:fld>
            <a:endParaRPr lang="en-US"/>
          </a:p>
        </p:txBody>
      </p:sp>
    </p:spTree>
    <p:extLst>
      <p:ext uri="{BB962C8B-B14F-4D97-AF65-F5344CB8AC3E}">
        <p14:creationId xmlns:p14="http://schemas.microsoft.com/office/powerpoint/2010/main" val="3350487223"/>
      </p:ext>
    </p:extLst>
  </p:cSld>
  <p:clrMapOvr>
    <a:masterClrMapping/>
  </p:clrMapOvr>
</p:sld>
</file>

<file path=ppt/slides/slide6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Effervescents | NICOLAS QCN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RUT (NU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CHAMPAGNE E.NICOLAS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15.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906332058"/>
                  </a:ext>
                </a:extLst>
              </a:tr>
              <a:tr h="164170">
                <a:tc>
                  <a:txBody>
                    <a:bodyPr/>
                    <a:lstStyle/>
                    <a:p>
                      <a:pPr algn="ctr">
                        <a:defRPr sz="800">
                          <a:latin typeface="Nexa Book"/>
                        </a:defRPr>
                      </a:pPr>
                      <a:r>
                        <a:t>Deutz</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EUTZ CLASSIC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Heidsieck &amp; Co Monopol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HEIDSIECK MONOPOLE SILVER TOP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LANC DE BLANCS (NU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7.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Malard</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ALARD PREMIER CRU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Laurent Perri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AURENT PERRIER LA CUVEE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Ayal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YALA BRUT MAJEUR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7.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De Blign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HAMPAGNE CH DE BLIGNY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Nicolas Feuilla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NICOLAS FEUILLATTE RES EX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Canard Duchên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ANARD DUCHENE CUVEE LEONI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4.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Taitting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TAITTINGER PRESTIGE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5.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Besserat De Bellef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ESSERAT BELLEFON BLEU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Bolling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OLLINGER SPECIAL CUVE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LANC DE BLANCS SECOND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RUT SECOND SKIN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a:defRPr sz="800">
                          <a:latin typeface="Nexa Book"/>
                        </a:defRPr>
                      </a:pPr>
                      <a:r>
                        <a:t>Perrier Joue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ERRIER JOUET GRAND BRUT SHAP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3.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Demoisell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EMOISELLE TETE CUVEE BRUT PS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4.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CARLO V CUVEE DEL ITA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5.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Deutz</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DEUTZ CLASSIC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674</a:t>
            </a:fld>
            <a:endParaRPr lang="en-US"/>
          </a:p>
        </p:txBody>
      </p:sp>
    </p:spTree>
    <p:extLst>
      <p:ext uri="{BB962C8B-B14F-4D97-AF65-F5344CB8AC3E}">
        <p14:creationId xmlns:p14="http://schemas.microsoft.com/office/powerpoint/2010/main" val="4112017160"/>
      </p:ext>
    </p:extLst>
  </p:cSld>
  <p:clrMapOvr>
    <a:masterClrMapping/>
  </p:clrMapOvr>
</p:sld>
</file>

<file path=ppt/slides/slide6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Effervescents | NICOLAS VCN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RUT (NU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CHAMPAGNE E.NICOLAS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16.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906332058"/>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LANC DE BLANCS (NU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Deutz</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EUTZ CLASSIC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5.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Malard</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ALARD PREMIER CRU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De Blign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HAMPAGNE CH DE BLIGNY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Heidsieck &amp; Co Monopol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HEIDSIECK MONOPOLE SILVER TOP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Ayal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YALA BRUT MAJEUR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6.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Canard Duchên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ANARD DUCHENE CUVEE LEONI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LANC DE BLANCS SECOND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Laurent Perri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AURENT PERRIER LA CUVEE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Nicolas Feuilla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NICOLAS FEUILLATTE RES EX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RUT SECOND SKIN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Demoisell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EMOISELLE TETE CUVEE BRUT PS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8.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Taitting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TAITTINGER PRESTIGE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Besserat De Bellef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ESSERAT BELLEFON BLEU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a:defRPr sz="800">
                          <a:latin typeface="Nexa Book"/>
                        </a:defRPr>
                      </a:pPr>
                      <a:r>
                        <a:t>Bolling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OLLINGER SPECIAL CUVE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3.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ROSE (NU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Deutz</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DEUTZ CLASSIC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5.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RUINART BRUT SECOND SKIN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6.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675</a:t>
            </a:fld>
            <a:endParaRPr lang="en-US"/>
          </a:p>
        </p:txBody>
      </p:sp>
    </p:spTree>
    <p:extLst>
      <p:ext uri="{BB962C8B-B14F-4D97-AF65-F5344CB8AC3E}">
        <p14:creationId xmlns:p14="http://schemas.microsoft.com/office/powerpoint/2010/main" val="3985867639"/>
      </p:ext>
    </p:extLst>
  </p:cSld>
  <p:clrMapOvr>
    <a:masterClrMapping/>
  </p:clrMapOvr>
</p:sld>
</file>

<file path=ppt/slides/slide6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Effervescents | NICOLAS QCT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RUT (NU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CHAMPAGNE E.NICOLAS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1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906332058"/>
                  </a:ext>
                </a:extLst>
              </a:tr>
              <a:tr h="164170">
                <a:tc>
                  <a:txBody>
                    <a:bodyPr/>
                    <a:lstStyle/>
                    <a:p>
                      <a:pPr algn="ctr">
                        <a:defRPr sz="800">
                          <a:latin typeface="Nexa Book"/>
                        </a:defRPr>
                      </a:pPr>
                      <a:r>
                        <a:t>Deutz</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EUTZ CLASSIC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LANC DE BLANCS (NU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3.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Laurent Perri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AURENT PERRIER LA CUVEE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6.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Malard</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ALARD PREMIER CRU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LANC DE BLANCS SECOND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Ayal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YALA BRUT MAJEUR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4.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Heidsieck &amp; Co Monopol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HEIDSIECK MONOPOLE SILVER TOP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Nicolas Feuilla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NICOLAS FEUILLATTE RES EX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RUT SECOND SKIN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Taitting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TAITTINGER PRESTIGE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3.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Bolling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OLLINGER SPECIAL CUVE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De Blign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HAMPAGNE CH DE BLIGNY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Canard Duchên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ANARD DUCHENE CUVEE LEONI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8.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Besserat De Bellef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ESSERAT BELLEFON BLEU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HAMPAGNE POL ROGER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Perrier Joue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ERRIER JOUET GRAND BRUT SHAP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Dom Perign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OM PERIGNON 2015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Vessell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EORGES VESSELLE GRD CRU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676</a:t>
            </a:fld>
            <a:endParaRPr lang="en-US"/>
          </a:p>
        </p:txBody>
      </p:sp>
    </p:spTree>
    <p:extLst>
      <p:ext uri="{BB962C8B-B14F-4D97-AF65-F5344CB8AC3E}">
        <p14:creationId xmlns:p14="http://schemas.microsoft.com/office/powerpoint/2010/main" val="1370858328"/>
      </p:ext>
    </p:extLst>
  </p:cSld>
  <p:clrMapOvr>
    <a:masterClrMapping/>
  </p:clrMapOvr>
</p:sld>
</file>

<file path=ppt/slides/slide6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Effervescents | NICOLAS QCA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LANC DE BLANCS (NU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RUT (NU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8.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a:defRPr sz="800">
                          <a:latin typeface="Nexa Book"/>
                        </a:defRPr>
                      </a:pPr>
                      <a:r>
                        <a:t>Deutz</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EUTZ CLASSIC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3.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CHAMPAGNE E.NICOLAS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2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2166894017"/>
                  </a:ext>
                </a:extLst>
              </a:tr>
              <a:tr h="164170">
                <a:tc>
                  <a:txBody>
                    <a:bodyPr/>
                    <a:lstStyle/>
                    <a:p>
                      <a:pPr algn="ctr">
                        <a:defRPr sz="800">
                          <a:latin typeface="Nexa Book"/>
                        </a:defRPr>
                      </a:pPr>
                      <a:r>
                        <a:t>Laurent Perri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AURENT PERRIER LA CUVEE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Nicolas Feuilla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NICOLAS FEUILLATTE RES EX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3.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LANC DE BLANCS SECOND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Ayal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YALA BRUT MAJEUR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Heidsieck &amp; Co Monopol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HEIDSIECK MONOPOLE SILVER TOP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Malard</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ALARD PREMIER CRU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Bolling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OLLINGER SPECIAL CUVE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5.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RUT SECOND SKIN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Taitting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TAITTINGER PRESTIGE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8.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Besserat De Bellef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ESSERAT BELLEFON BLEU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RUINART BRUT SECOND SKIN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Veuve Clicquo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VEUVE CLICQUOT RESERVE CUVE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a:defRPr sz="800">
                          <a:latin typeface="Nexa Book"/>
                        </a:defRPr>
                      </a:pPr>
                      <a:r>
                        <a:t>Dom Perign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OM PERIGNON 2015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3.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HAMPAGNE POL ROGER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4.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Perrier Joue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ERRIER JOUET GRAND BRUT SHAP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Deutz</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DEUTZ CLASSIC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677</a:t>
            </a:fld>
            <a:endParaRPr lang="en-US"/>
          </a:p>
        </p:txBody>
      </p:sp>
    </p:spTree>
    <p:extLst>
      <p:ext uri="{BB962C8B-B14F-4D97-AF65-F5344CB8AC3E}">
        <p14:creationId xmlns:p14="http://schemas.microsoft.com/office/powerpoint/2010/main" val="1213680024"/>
      </p:ext>
    </p:extLst>
  </p:cSld>
  <p:clrMapOvr>
    <a:masterClrMapping/>
  </p:clrMapOvr>
</p:sld>
</file>

<file path=ppt/slides/slide6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Effervescents | NICOLAS CCP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RUT (NU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LANC DE BLANCS (NU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CHAMPAGNE E.NICOLAS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2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377019259"/>
                  </a:ext>
                </a:extLst>
              </a:tr>
              <a:tr h="164170">
                <a:tc>
                  <a:txBody>
                    <a:bodyPr/>
                    <a:lstStyle/>
                    <a:p>
                      <a:pPr algn="ctr">
                        <a:defRPr sz="800">
                          <a:latin typeface="Nexa Book"/>
                        </a:defRPr>
                      </a:pPr>
                      <a:r>
                        <a:t>Deutz</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EUTZ CLASSIC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5.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RUT SECOND SKIN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LANC DE BLANCS SECOND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Heidsieck &amp; Co Monopol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HEIDSIECK MONOPOLE SILVER TOP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5.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De Blign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HAMPAGNE CH DE BLIGNY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7.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Malard</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ALARD PREMIER CRU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Nicolas Feuilla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NICOLAS FEUILLATTE RES EX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Laurent Perri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AURENT PERRIER LA CUVEE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Taitting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TAITTINGER PRESTIGE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5.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Canard Duchên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ANARD DUCHENE CUVEE LEONI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6.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RUINART BRUT SECOND SKIN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8.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1/2 RUINART BLANC DE BLANCS 1CT X 375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Ayal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YALA BRUT MAJEUR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a:defRPr sz="800">
                          <a:latin typeface="Nexa Book"/>
                        </a:defRPr>
                      </a:pPr>
                      <a:r>
                        <a:t>Bolling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OLLINGER SPECIAL CUVE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Dom Perign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OM PERIGNON 2015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3.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Deutz</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DEUTZ CLASSIC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4.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ROSE (NU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678</a:t>
            </a:fld>
            <a:endParaRPr lang="en-US"/>
          </a:p>
        </p:txBody>
      </p:sp>
    </p:spTree>
    <p:extLst>
      <p:ext uri="{BB962C8B-B14F-4D97-AF65-F5344CB8AC3E}">
        <p14:creationId xmlns:p14="http://schemas.microsoft.com/office/powerpoint/2010/main" val="173252302"/>
      </p:ext>
    </p:extLst>
  </p:cSld>
  <p:clrMapOvr>
    <a:masterClrMapping/>
  </p:clrMapOvr>
</p:sld>
</file>

<file path=ppt/slides/slide6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Effervescents | NICOLAS IDF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RUT (NU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CHAMPAGNE E.NICOLAS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15.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906332058"/>
                  </a:ext>
                </a:extLst>
              </a:tr>
              <a:tr h="164170">
                <a:tc>
                  <a:txBody>
                    <a:bodyPr/>
                    <a:lstStyle/>
                    <a:p>
                      <a:pPr algn="ctr">
                        <a:defRPr sz="800">
                          <a:latin typeface="Nexa Book"/>
                        </a:defRPr>
                      </a:pPr>
                      <a:r>
                        <a:t>Deutz</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EUTZ CLASSIC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LANC DE BLANCS (NU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Malard</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ALARD PREMIER CRU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8.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Laurent Perri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AURENT PERRIER LA CUVEE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Heidsieck &amp; Co Monopol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HEIDSIECK MONOPOLE SILVER TOP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4.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Ayal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YALA BRUT MAJEUR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Nicolas Feuilla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NICOLAS FEUILLATTE RES EX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De Blign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HAMPAGNE CH DE BLIGNY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LANC DE BLANCS SECOND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3.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Taitting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TAITTINGER PRESTIGE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5.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Canard Duchên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ANARD DUCHENE CUVEE LEONI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Bolling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OLLINGER SPECIAL CUVE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Besserat De Bellef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ESSERAT BELLEFON BLEU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RUT SECOND SKIN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a:defRPr sz="800">
                          <a:latin typeface="Nexa Book"/>
                        </a:defRPr>
                      </a:pPr>
                      <a:r>
                        <a:t>Demoisell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EMOISELLE TETE CUVEE BRUT PS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3.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Perrier Joue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ERRIER JOUET GRAND BRUT SHAP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4.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RUINART BRUT SECOND SKIN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5.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HAMPAGNE POL ROGER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6.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679</a:t>
            </a:fld>
            <a:endParaRPr lang="en-US"/>
          </a:p>
        </p:txBody>
      </p:sp>
    </p:spTree>
    <p:extLst>
      <p:ext uri="{BB962C8B-B14F-4D97-AF65-F5344CB8AC3E}">
        <p14:creationId xmlns:p14="http://schemas.microsoft.com/office/powerpoint/2010/main" val="653948971"/>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Blanc De Blancs | NICOLAS QCT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68</a:t>
            </a:fld>
            <a:endParaRPr lang="en-US"/>
          </a:p>
        </p:txBody>
      </p:sp>
    </p:spTree>
    <p:extLst>
      <p:ext uri="{BB962C8B-B14F-4D97-AF65-F5344CB8AC3E}">
        <p14:creationId xmlns:p14="http://schemas.microsoft.com/office/powerpoint/2010/main" val="1142177531"/>
      </p:ext>
    </p:extLst>
  </p:cSld>
  <p:clrMapOvr>
    <a:masterClrMapping/>
  </p:clrMapOvr>
</p:sld>
</file>

<file path=ppt/slides/slide6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Effervescents | NICOLAS PAC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RUT (NU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CHAMPAGNE E.NICOLAS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17.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906332058"/>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LANC DE BLANCS (NU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3.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Deutz</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EUTZ CLASSIC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7.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Heidsieck &amp; Co Monopol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HEIDSIECK MONOPOLE SILVER TOP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RUT SECOND SKIN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Laurent Perri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AURENT PERRIER LA CUVEE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6.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LANC DE BLANCS SECOND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De Blign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HAMPAGNE CH DE BLIGNY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Malard</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ALARD PREMIER CRU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Ayal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YALA BRUT MAJEUR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Bolling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OLLINGER SPECIAL CUVE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Taitting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TAITTINGER PRESTIGE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Nicolas Feuilla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NICOLAS FEUILLATTE RES EX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Canard Duchên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ANARD DUCHENE CUVEE LEONI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RUINART BRUT SECOND SKIN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ROSE (NU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5.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Dom Perign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OM PERIGNON 2013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6.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Deutz</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DEUTZ CLASSIC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RUINART BLC DE BLANC SECOND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680</a:t>
            </a:fld>
            <a:endParaRPr lang="en-US"/>
          </a:p>
        </p:txBody>
      </p:sp>
    </p:spTree>
    <p:extLst>
      <p:ext uri="{BB962C8B-B14F-4D97-AF65-F5344CB8AC3E}">
        <p14:creationId xmlns:p14="http://schemas.microsoft.com/office/powerpoint/2010/main" val="1002766932"/>
      </p:ext>
    </p:extLst>
  </p:cSld>
  <p:clrMapOvr>
    <a:masterClrMapping/>
  </p:clrMapOvr>
</p:sld>
</file>

<file path=ppt/slides/slide6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Effervescents | NICOLAS RHO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RUT (NU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Deutz</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EUTZ CLASSIC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CHAMPAGNE E.NICOLAS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1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377019259"/>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LANC DE BLANCS (NU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Heidsieck &amp; Co Monopol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HEIDSIECK MONOPOLE SILVER TOP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Malard</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ALARD PREMIER CRU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Ayal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YALA BRUT MAJEUR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De Blign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HAMPAGNE CH DE BLIGNY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LANC DE BLANCS SECOND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Taitting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TAITTINGER PRESTIGE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8.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Canard Duchên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ANARD DUCHENE CUVEE LEONI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RUT SECOND SKIN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Laurent Perri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AURENT PERRIER LA CUVEE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Nicolas Feuilla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NICOLAS FEUILLATTE RES EX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6.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Bolling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OLLINGER SPECIAL CUVE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Deutz</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DEUTZ CLASSIC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a:defRPr sz="800">
                          <a:latin typeface="Nexa Book"/>
                        </a:defRPr>
                      </a:pPr>
                      <a:r>
                        <a:t>Besserat De Bellef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ESSERAT BELLEFON BLEU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Savia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HAMPAGNE GOSSET GDE RESERV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CARLO V CUVEE DEL ITA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3.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RUINART BRUT SECOND SKIN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5.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681</a:t>
            </a:fld>
            <a:endParaRPr lang="en-US"/>
          </a:p>
        </p:txBody>
      </p:sp>
    </p:spTree>
    <p:extLst>
      <p:ext uri="{BB962C8B-B14F-4D97-AF65-F5344CB8AC3E}">
        <p14:creationId xmlns:p14="http://schemas.microsoft.com/office/powerpoint/2010/main" val="522097709"/>
      </p:ext>
    </p:extLst>
  </p:cSld>
  <p:clrMapOvr>
    <a:masterClrMapping/>
  </p:clrMapOvr>
</p:sld>
</file>

<file path=ppt/slides/slide6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Effervescents | NICOLAS AQU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RUT (NU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CHAMPAGNE E.NICOLAS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1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906332058"/>
                  </a:ext>
                </a:extLst>
              </a:tr>
              <a:tr h="164170">
                <a:tc>
                  <a:txBody>
                    <a:bodyPr/>
                    <a:lstStyle/>
                    <a:p>
                      <a:pPr algn="ctr">
                        <a:defRPr sz="800">
                          <a:latin typeface="Nexa Book"/>
                        </a:defRPr>
                      </a:pPr>
                      <a:r>
                        <a:t>Deutz</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EUTZ CLASSIC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Heidsieck &amp; Co Monopol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HEIDSIECK MONOPOLE SILVER TOP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LANC DE BLANCS (NU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Ayal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YALA BRUT MAJEUR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3.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De Blign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HAMPAGNE CH DE BLIGNY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Malard</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ALARD PREMIER CRU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Canard Duchên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ANARD DUCHENE CUVEE LEONI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Besserat De Bellef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ESSERAT BELLEFON BLEU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3.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Laurent Perri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AURENT PERRIER LA CUVEE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Campari: 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HAMPAGNE LALLIER SERIE R.021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6.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Bolling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OLLINGER SPECIAL CUVE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Deutz</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DEUTZ CLASSIC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Taitting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TAITTINGER PRESTIGE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LANC DE BLANCS SECOND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RUINART BRUT SECOND SKIN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4.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Nicolas Feuilla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NICOLAS FEUILLATTE RES EX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5.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ROSE (NU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6.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RUT SECOND SKIN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682</a:t>
            </a:fld>
            <a:endParaRPr lang="en-US"/>
          </a:p>
        </p:txBody>
      </p:sp>
    </p:spTree>
    <p:extLst>
      <p:ext uri="{BB962C8B-B14F-4D97-AF65-F5344CB8AC3E}">
        <p14:creationId xmlns:p14="http://schemas.microsoft.com/office/powerpoint/2010/main" val="3817884042"/>
      </p:ext>
    </p:extLst>
  </p:cSld>
  <p:clrMapOvr>
    <a:masterClrMapping/>
  </p:clrMapOvr>
</p:sld>
</file>

<file path=ppt/slides/slide6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Effervescents | NICOLAS EST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RUT (NU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CHAMPAGNE E.NICOLAS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1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906332058"/>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 MESNIL BLANC DE BLANCS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D'ALSACE GISSELBREC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Deutz</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EUTZ CLASSIC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Mur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D'ALSACE PRESTIGE BIO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5.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LANC DE BLANCS (NU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Ayal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YALA BRUT MAJEUR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HAMPAGNE J DEFRANCE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Bolling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OLLINGER SPECIAL CUVE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3.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De Blign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HAMPAGNE CH DE BLIGNY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5.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Malard</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ALARD PREMIER CRU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7.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Laurent Perri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AURENT PERRIER LA CUVEE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Nicolas Feuilla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NICOLAS FEUILLATTE RES EX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Heidsieck &amp; Co Monopol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HEIDSIECK MONOPOLE SILVER TOP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Canard Duchên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ANARD DUCHENE CUVEE LEONI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3.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RUT SECOND SKIN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5.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Taitting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TAITTINGER PRESTIGE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6.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OUTARDIER CARTE D'OR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LANC DE BLANCS SECOND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683</a:t>
            </a:fld>
            <a:endParaRPr lang="en-US"/>
          </a:p>
        </p:txBody>
      </p:sp>
    </p:spTree>
    <p:extLst>
      <p:ext uri="{BB962C8B-B14F-4D97-AF65-F5344CB8AC3E}">
        <p14:creationId xmlns:p14="http://schemas.microsoft.com/office/powerpoint/2010/main" val="754743934"/>
      </p:ext>
    </p:extLst>
  </p:cSld>
  <p:clrMapOvr>
    <a:masterClrMapping/>
  </p:clrMapOvr>
</p:sld>
</file>

<file path=ppt/slides/slide6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Effervescents | CA A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RUT (NU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LANC DE BLANCS (NU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CHAMPAGNE E.NICOLAS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1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377019259"/>
                  </a:ext>
                </a:extLst>
              </a:tr>
              <a:tr h="164170">
                <a:tc>
                  <a:txBody>
                    <a:bodyPr/>
                    <a:lstStyle/>
                    <a:p>
                      <a:pPr algn="ctr">
                        <a:defRPr sz="800">
                          <a:latin typeface="Nexa Book"/>
                        </a:defRPr>
                      </a:pPr>
                      <a:r>
                        <a:t>Deutz</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EUTZ CLASSIC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4.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Laurent Perri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AURENT PERRIER LA CUVEE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7.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Heidsieck &amp; Co Monopol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HEIDSIECK MONOPOLE SILVER TOP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Malard</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ALARD PREMIER CRU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Ayal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YALA BRUT MAJEUR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4.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LANC DE BLANCS SECOND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7.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Nicolas Feuilla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NICOLAS FEUILLATTE RES EX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Taitting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TAITTINGER PRESTIGE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Bolling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OLLINGER SPECIAL CUVE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RUT SECOND SKIN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De Blign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HAMPAGNE CH DE BLIGNY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Canard Duchên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ANARD DUCHENE CUVEE LEONI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Perrier Joue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ERRIER JOUET GRAND BRUT SHAP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RUINART BRUT SECOND SKIN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Besserat De Bellef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ESSERAT BELLEFON BLEU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Deutz</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DEUTZ CLASSIC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Dom Perign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OM PERIGNON 2013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684</a:t>
            </a:fld>
            <a:endParaRPr lang="en-US"/>
          </a:p>
        </p:txBody>
      </p:sp>
    </p:spTree>
    <p:extLst>
      <p:ext uri="{BB962C8B-B14F-4D97-AF65-F5344CB8AC3E}">
        <p14:creationId xmlns:p14="http://schemas.microsoft.com/office/powerpoint/2010/main" val="1949351912"/>
      </p:ext>
    </p:extLst>
  </p:cSld>
  <p:clrMapOvr>
    <a:masterClrMapping/>
  </p:clrMapOvr>
</p:sld>
</file>

<file path=ppt/slides/slide6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Effervescents | CA B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RUT (NU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CHAMPAGNE E.NICOLAS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16.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906332058"/>
                  </a:ext>
                </a:extLst>
              </a:tr>
              <a:tr h="164170">
                <a:tc>
                  <a:txBody>
                    <a:bodyPr/>
                    <a:lstStyle/>
                    <a:p>
                      <a:pPr algn="ctr">
                        <a:defRPr sz="800">
                          <a:latin typeface="Nexa Book"/>
                        </a:defRPr>
                      </a:pPr>
                      <a:r>
                        <a:t>Deutz</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EUTZ CLASSIC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LANC DE BLANCS (NU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5.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Laurent Perri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AURENT PERRIER LA CUVEE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Heidsieck &amp; Co Monopol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HEIDSIECK MONOPOLE SILVER TOP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Malard</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ALARD PREMIER CRU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4.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Ayal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YALA BRUT MAJEUR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Nicolas Feuilla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NICOLAS FEUILLATTE RES EX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De Blign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HAMPAGNE CH DE BLIGNY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RUT SECOND SKIN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Canard Duchên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ANARD DUCHENE CUVEE LEONI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5.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LANC DE BLANCS SECOND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Taitting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TAITTINGER PRESTIGE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Bolling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OLLINGER SPECIAL CUVE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Besserat De Bellef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ESSERAT BELLEFON BLEU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a:defRPr sz="800">
                          <a:latin typeface="Nexa Book"/>
                        </a:defRPr>
                      </a:pPr>
                      <a:r>
                        <a:t>Demoisell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EMOISELLE TETE CUVEE BRUT PS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3.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Campari: 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HAMPAGNE LALLIER SERIE R.021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4.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Deutz</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DEUTZ CLASSIC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Perrier Joue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ERRIER JOUET GRAND BRUT SHAP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7.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685</a:t>
            </a:fld>
            <a:endParaRPr lang="en-US"/>
          </a:p>
        </p:txBody>
      </p:sp>
    </p:spTree>
    <p:extLst>
      <p:ext uri="{BB962C8B-B14F-4D97-AF65-F5344CB8AC3E}">
        <p14:creationId xmlns:p14="http://schemas.microsoft.com/office/powerpoint/2010/main" val="2422296777"/>
      </p:ext>
    </p:extLst>
  </p:cSld>
  <p:clrMapOvr>
    <a:masterClrMapping/>
  </p:clrMapOvr>
</p:sld>
</file>

<file path=ppt/slides/slide6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Effervescents | CA C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RUT (NU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CHAMPAGNE E.NICOLAS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16.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906332058"/>
                  </a:ext>
                </a:extLst>
              </a:tr>
              <a:tr h="164170">
                <a:tc>
                  <a:txBody>
                    <a:bodyPr/>
                    <a:lstStyle/>
                    <a:p>
                      <a:pPr algn="ctr">
                        <a:defRPr sz="800">
                          <a:latin typeface="Nexa Book"/>
                        </a:defRPr>
                      </a:pPr>
                      <a:r>
                        <a:t>Deutz</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EUTZ CLASSIC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LANC DE BLANCS (NU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5.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Heidsieck &amp; Co Monopol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HEIDSIECK MONOPOLE SILVER TOP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Malard</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ALARD PREMIER CRU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Ayal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YALA BRUT MAJEUR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4.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Laurent Perri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AURENT PERRIER LA CUVEE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De Blign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HAMPAGNE CH DE BLIGNY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Nicolas Feuilla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NICOLAS FEUILLATTE RES EX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Canard Duchên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ANARD DUCHENE CUVEE LEONI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LANC DE BLANCS SECOND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RUT SECOND SKIN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Taitting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TAITTINGER PRESTIGE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Bolling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OLLINGER SPECIAL CUVE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Besserat De Bellef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ESSERAT BELLEFON BLEU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a:defRPr sz="800">
                          <a:latin typeface="Nexa Book"/>
                        </a:defRPr>
                      </a:pPr>
                      <a:r>
                        <a:t>Demoisell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EMOISELLE TETE CUVEE BRUT PS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RUINART BRUT SECOND SKIN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Deutz</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DEUTZ CLASSIC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6.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CARLO V CUVEE DEL ITA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686</a:t>
            </a:fld>
            <a:endParaRPr lang="en-US"/>
          </a:p>
        </p:txBody>
      </p:sp>
    </p:spTree>
    <p:extLst>
      <p:ext uri="{BB962C8B-B14F-4D97-AF65-F5344CB8AC3E}">
        <p14:creationId xmlns:p14="http://schemas.microsoft.com/office/powerpoint/2010/main" val="836175105"/>
      </p:ext>
    </p:extLst>
  </p:cSld>
  <p:clrMapOvr>
    <a:masterClrMapping/>
  </p:clrMapOvr>
</p:sld>
</file>

<file path=ppt/slides/slide6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Effervescents | CA D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RUT (NU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CHAMPAGNE E.NICOLAS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15.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906332058"/>
                  </a:ext>
                </a:extLst>
              </a:tr>
              <a:tr h="164170">
                <a:tc>
                  <a:txBody>
                    <a:bodyPr/>
                    <a:lstStyle/>
                    <a:p>
                      <a:pPr algn="ctr">
                        <a:defRPr sz="800">
                          <a:latin typeface="Nexa Book"/>
                        </a:defRPr>
                      </a:pPr>
                      <a:r>
                        <a:t>Deutz</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EUTZ CLASSIC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LANC DE BLANCS (NU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5.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Heidsieck &amp; Co Monopol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HEIDSIECK MONOPOLE SILVER TOP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Malard</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ALARD PREMIER CRU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De Blign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HAMPAGNE CH DE BLIGNY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4.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Ayal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YALA BRUT MAJEUR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Laurent Perri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AURENT PERRIER LA CUVEE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Nicolas Feuilla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NICOLAS FEUILLATTE RES EX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LANC DE BLANCS SECOND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Besserat De Bellef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ESSERAT BELLEFON BLEU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6.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Canard Duchên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ANARD DUCHENE CUVEE LEONI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8.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Taitting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TAITTINGER PRESTIGE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RUT SECOND SKIN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Bolling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OLLINGER SPECIAL CUVE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3.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a:defRPr sz="800">
                          <a:latin typeface="Nexa Book"/>
                        </a:defRPr>
                      </a:pPr>
                      <a:r>
                        <a:t>Demoisell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EMOISELLE TETE CUVEE BRUT PS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Deutz</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DEUTZ CLASSIC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ROSE (NU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6.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HAMPAGNE POL ROGER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7.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687</a:t>
            </a:fld>
            <a:endParaRPr lang="en-US"/>
          </a:p>
        </p:txBody>
      </p:sp>
    </p:spTree>
    <p:extLst>
      <p:ext uri="{BB962C8B-B14F-4D97-AF65-F5344CB8AC3E}">
        <p14:creationId xmlns:p14="http://schemas.microsoft.com/office/powerpoint/2010/main" val="1058845708"/>
      </p:ext>
    </p:extLst>
  </p:cSld>
  <p:clrMapOvr>
    <a:masterClrMapping/>
  </p:clrMapOvr>
</p:sld>
</file>

<file path=ppt/slides/slide6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Effervescents | CA E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RUT (NU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CHAMPAGNE E.NICOLAS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16.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906332058"/>
                  </a:ext>
                </a:extLst>
              </a:tr>
              <a:tr h="164170">
                <a:tc>
                  <a:txBody>
                    <a:bodyPr/>
                    <a:lstStyle/>
                    <a:p>
                      <a:pPr algn="ctr">
                        <a:defRPr sz="800">
                          <a:latin typeface="Nexa Book"/>
                        </a:defRPr>
                      </a:pPr>
                      <a:r>
                        <a:t>Deutz</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EUTZ CLASSIC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LANC DE BLANCS (NU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5.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Heidsieck &amp; Co Monopol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HEIDSIECK MONOPOLE SILVER TOP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Malard</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ALARD PREMIER CRU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Ayal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YALA BRUT MAJEUR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De Blign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HAMPAGNE CH DE BLIGNY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8.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Laurent Perri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AURENT PERRIER LA CUVEE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Nicolas Feuilla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NICOLAS FEUILLATTE RES EX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Canard Duchên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ANARD DUCHENE CUVEE LEONI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4.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Taitting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TAITTINGER PRESTIGE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6.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Bolling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OLLINGER SPECIAL CUVE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LANC DE BLANCS SECOND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RUT SECOND SKIN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Besserat De Bellef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ESSERAT BELLEFON BLEU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a:defRPr sz="800">
                          <a:latin typeface="Nexa Book"/>
                        </a:defRPr>
                      </a:pPr>
                      <a:r>
                        <a:t>Demoisell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EMOISELLE TETE CUVEE BRUT PS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Deutz</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DEUTZ CLASSIC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ROSE (NU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Perrier Joue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ERRIER JOUET GRAND BRUT SHAP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688</a:t>
            </a:fld>
            <a:endParaRPr lang="en-US"/>
          </a:p>
        </p:txBody>
      </p:sp>
    </p:spTree>
    <p:extLst>
      <p:ext uri="{BB962C8B-B14F-4D97-AF65-F5344CB8AC3E}">
        <p14:creationId xmlns:p14="http://schemas.microsoft.com/office/powerpoint/2010/main" val="468382284"/>
      </p:ext>
    </p:extLst>
  </p:cSld>
  <p:clrMapOvr>
    <a:masterClrMapping/>
  </p:clrMapOvr>
</p:sld>
</file>

<file path=ppt/slides/slide6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Champagnes | NICOLAS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RUT (NU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CHAMPAGNE E.NICOLAS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17.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906332058"/>
                  </a:ext>
                </a:extLst>
              </a:tr>
              <a:tr h="164170">
                <a:tc>
                  <a:txBody>
                    <a:bodyPr/>
                    <a:lstStyle/>
                    <a:p>
                      <a:pPr algn="ctr">
                        <a:defRPr sz="800">
                          <a:latin typeface="Nexa Book"/>
                        </a:defRPr>
                      </a:pPr>
                      <a:r>
                        <a:t>Deutz</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EUTZ CLASSIC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LANC DE BLANCS (NU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7.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Heidsieck &amp; Co Monopol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HEIDSIECK MONOPOLE SILVER TOP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Malard</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ALARD PREMIER CRU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3.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Laurent Perri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AURENT PERRIER LA CUVEE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6.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Ayal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YALA BRUT MAJEUR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De Blign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HAMPAGNE CH DE BLIGNY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Nicolas Feuilla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NICOLAS FEUILLATTE RES EX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LANC DE BLANCS SECOND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Canard Duchên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ANARD DUCHENE CUVEE LEONI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Taitting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TAITTINGER PRESTIGE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RUT SECOND SKIN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Bolling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OLLINGER SPECIAL CUVE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4.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Besserat De Bellef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ESSERAT BELLEFON BLEU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5.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a:defRPr sz="800">
                          <a:latin typeface="Nexa Book"/>
                        </a:defRPr>
                      </a:pPr>
                      <a:r>
                        <a:t>Demoisell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EMOISELLE TETE CUVEE BRUT PS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Perrier Joue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ERRIER JOUET GRAND BRUT SHAP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RUINART BRUT SECOND SKIN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Deutz</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DEUTZ CLASSIC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689</a:t>
            </a:fld>
            <a:endParaRPr lang="en-US"/>
          </a:p>
        </p:txBody>
      </p:sp>
    </p:spTree>
    <p:extLst>
      <p:ext uri="{BB962C8B-B14F-4D97-AF65-F5344CB8AC3E}">
        <p14:creationId xmlns:p14="http://schemas.microsoft.com/office/powerpoint/2010/main" val="1432190570"/>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Blanc De Blancs | NICOLAS QCA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69</a:t>
            </a:fld>
            <a:endParaRPr lang="en-US"/>
          </a:p>
        </p:txBody>
      </p:sp>
    </p:spTree>
    <p:extLst>
      <p:ext uri="{BB962C8B-B14F-4D97-AF65-F5344CB8AC3E}">
        <p14:creationId xmlns:p14="http://schemas.microsoft.com/office/powerpoint/2010/main" val="1904188833"/>
      </p:ext>
    </p:extLst>
  </p:cSld>
  <p:clrMapOvr>
    <a:masterClrMapping/>
  </p:clrMapOvr>
</p:sld>
</file>

<file path=ppt/slides/slide6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Champagnes | NICOLAS QCN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RUT (NU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CHAMPAGNE E.NICOLAS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17.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906332058"/>
                  </a:ext>
                </a:extLst>
              </a:tr>
              <a:tr h="164170">
                <a:tc>
                  <a:txBody>
                    <a:bodyPr/>
                    <a:lstStyle/>
                    <a:p>
                      <a:pPr algn="ctr">
                        <a:defRPr sz="800">
                          <a:latin typeface="Nexa Book"/>
                        </a:defRPr>
                      </a:pPr>
                      <a:r>
                        <a:t>Deutz</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EUTZ CLASSIC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Heidsieck &amp; Co Monopol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HEIDSIECK MONOPOLE SILVER TOP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LANC DE BLANCS (NU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Malard</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ALARD PREMIER CRU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Laurent Perri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AURENT PERRIER LA CUVEE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Ayal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YALA BRUT MAJEUR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De Blign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HAMPAGNE CH DE BLIGNY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3.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Nicolas Feuilla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NICOLAS FEUILLATTE RES EX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5.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Canard Duchên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ANARD DUCHENE CUVEE LEONI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7.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Taitting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TAITTINGER PRESTIGE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Besserat De Bellef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ESSERAT BELLEFON BLEU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Bolling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OLLINGER SPECIAL CUVE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3.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LANC DE BLANCS SECOND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RUT SECOND SKIN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6.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a:defRPr sz="800">
                          <a:latin typeface="Nexa Book"/>
                        </a:defRPr>
                      </a:pPr>
                      <a:r>
                        <a:t>Perrier Joue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ERRIER JOUET GRAND BRUT SHAP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Demoisell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EMOISELLE TETE CUVEE BRUT PS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Deutz</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DEUTZ CLASSIC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RUINART BRUT SECOND SKIN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690</a:t>
            </a:fld>
            <a:endParaRPr lang="en-US"/>
          </a:p>
        </p:txBody>
      </p:sp>
    </p:spTree>
    <p:extLst>
      <p:ext uri="{BB962C8B-B14F-4D97-AF65-F5344CB8AC3E}">
        <p14:creationId xmlns:p14="http://schemas.microsoft.com/office/powerpoint/2010/main" val="1858921188"/>
      </p:ext>
    </p:extLst>
  </p:cSld>
  <p:clrMapOvr>
    <a:masterClrMapping/>
  </p:clrMapOvr>
</p:sld>
</file>

<file path=ppt/slides/slide6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Champagnes | NICOLAS VCN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RUT (NU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CHAMPAGNE E.NICOLAS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1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906332058"/>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LANC DE BLANCS (NU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3.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Deutz</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EUTZ CLASSIC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Malard</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ALARD PREMIER CRU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De Blign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HAMPAGNE CH DE BLIGNY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Heidsieck &amp; Co Monopol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HEIDSIECK MONOPOLE SILVER TOP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Ayal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YALA BRUT MAJEUR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Canard Duchên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ANARD DUCHENE CUVEE LEONI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LANC DE BLANCS SECOND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Laurent Perri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AURENT PERRIER LA CUVEE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Nicolas Feuilla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NICOLAS FEUILLATTE RES EX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RUT SECOND SKIN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Demoisell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EMOISELLE TETE CUVEE BRUT PS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Taitting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TAITTINGER PRESTIGE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Besserat De Bellef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ESSERAT BELLEFON BLEU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5.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a:defRPr sz="800">
                          <a:latin typeface="Nexa Book"/>
                        </a:defRPr>
                      </a:pPr>
                      <a:r>
                        <a:t>Bolling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OLLINGER SPECIAL CUVE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ROSE (NU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Deutz</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DEUTZ CLASSIC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RUINART BRUT SECOND SKIN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691</a:t>
            </a:fld>
            <a:endParaRPr lang="en-US"/>
          </a:p>
        </p:txBody>
      </p:sp>
    </p:spTree>
    <p:extLst>
      <p:ext uri="{BB962C8B-B14F-4D97-AF65-F5344CB8AC3E}">
        <p14:creationId xmlns:p14="http://schemas.microsoft.com/office/powerpoint/2010/main" val="3634233954"/>
      </p:ext>
    </p:extLst>
  </p:cSld>
  <p:clrMapOvr>
    <a:masterClrMapping/>
  </p:clrMapOvr>
</p:sld>
</file>

<file path=ppt/slides/slide6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Champagnes | NICOLAS QCT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RUT (NU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CHAMPAGNE E.NICOLAS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1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906332058"/>
                  </a:ext>
                </a:extLst>
              </a:tr>
              <a:tr h="164170">
                <a:tc>
                  <a:txBody>
                    <a:bodyPr/>
                    <a:lstStyle/>
                    <a:p>
                      <a:pPr algn="ctr">
                        <a:defRPr sz="800">
                          <a:latin typeface="Nexa Book"/>
                        </a:defRPr>
                      </a:pPr>
                      <a:r>
                        <a:t>Deutz</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EUTZ CLASSIC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LANC DE BLANCS (NU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4.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Laurent Perri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AURENT PERRIER LA CUVEE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8.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Malard</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ALARD PREMIER CRU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LANC DE BLANCS SECOND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Ayal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YALA BRUT MAJEUR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7.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Heidsieck &amp; Co Monopol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HEIDSIECK MONOPOLE SILVER TOP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Nicolas Feuilla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NICOLAS FEUILLATTE RES EX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RUT SECOND SKIN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4.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Taitting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TAITTINGER PRESTIGE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6.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Bolling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OLLINGER SPECIAL CUVE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De Blign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HAMPAGNE CH DE BLIGNY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Canard Duchên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ANARD DUCHENE CUVEE LEONI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Besserat De Bellef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ESSERAT BELLEFON BLEU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3.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HAMPAGNE POL ROGER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4.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Perrier Joue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ERRIER JOUET GRAND BRUT SHAP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6.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Dom Perign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OM PERIGNON 2015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7.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Vessell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EORGES VESSELLE GRD CRU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692</a:t>
            </a:fld>
            <a:endParaRPr lang="en-US"/>
          </a:p>
        </p:txBody>
      </p:sp>
    </p:spTree>
    <p:extLst>
      <p:ext uri="{BB962C8B-B14F-4D97-AF65-F5344CB8AC3E}">
        <p14:creationId xmlns:p14="http://schemas.microsoft.com/office/powerpoint/2010/main" val="3205938250"/>
      </p:ext>
    </p:extLst>
  </p:cSld>
  <p:clrMapOvr>
    <a:masterClrMapping/>
  </p:clrMapOvr>
</p:sld>
</file>

<file path=ppt/slides/slide6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Champagnes | NICOLAS QCA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LANC DE BLANCS (NU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RUT (NU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a:defRPr sz="800">
                          <a:latin typeface="Nexa Book"/>
                        </a:defRPr>
                      </a:pPr>
                      <a:r>
                        <a:t>Deutz</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EUTZ CLASSIC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CHAMPAGNE E.NICOLAS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2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2166894017"/>
                  </a:ext>
                </a:extLst>
              </a:tr>
              <a:tr h="164170">
                <a:tc>
                  <a:txBody>
                    <a:bodyPr/>
                    <a:lstStyle/>
                    <a:p>
                      <a:pPr algn="ctr">
                        <a:defRPr sz="800">
                          <a:latin typeface="Nexa Book"/>
                        </a:defRPr>
                      </a:pPr>
                      <a:r>
                        <a:t>Laurent Perri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AURENT PERRIER LA CUVEE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Nicolas Feuilla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NICOLAS FEUILLATTE RES EX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LANC DE BLANCS SECOND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7.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Ayal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YALA BRUT MAJEUR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Heidsieck &amp; Co Monopol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HEIDSIECK MONOPOLE SILVER TOP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Malard</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ALARD PREMIER CRU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Bolling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OLLINGER SPECIAL CUVE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RUT SECOND SKIN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Taitting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TAITTINGER PRESTIGE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Besserat De Bellef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ESSERAT BELLEFON BLEU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RUINART BRUT SECOND SKIN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3.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Veuve Clicquo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VEUVE CLICQUOT RESERVE CUVE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5.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a:defRPr sz="800">
                          <a:latin typeface="Nexa Book"/>
                        </a:defRPr>
                      </a:pPr>
                      <a:r>
                        <a:t>Dom Perign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OM PERIGNON 2015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6.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HAMPAGNE POL ROGER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Perrier Joue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ERRIER JOUET GRAND BRUT SHAP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Deutz</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DEUTZ CLASSIC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693</a:t>
            </a:fld>
            <a:endParaRPr lang="en-US"/>
          </a:p>
        </p:txBody>
      </p:sp>
    </p:spTree>
    <p:extLst>
      <p:ext uri="{BB962C8B-B14F-4D97-AF65-F5344CB8AC3E}">
        <p14:creationId xmlns:p14="http://schemas.microsoft.com/office/powerpoint/2010/main" val="2666471815"/>
      </p:ext>
    </p:extLst>
  </p:cSld>
  <p:clrMapOvr>
    <a:masterClrMapping/>
  </p:clrMapOvr>
</p:sld>
</file>

<file path=ppt/slides/slide6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Champagnes | NICOLAS CCP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RUT (NU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LANC DE BLANCS (NU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8.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CHAMPAGNE E.NICOLAS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23.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377019259"/>
                  </a:ext>
                </a:extLst>
              </a:tr>
              <a:tr h="164170">
                <a:tc>
                  <a:txBody>
                    <a:bodyPr/>
                    <a:lstStyle/>
                    <a:p>
                      <a:pPr algn="ctr">
                        <a:defRPr sz="800">
                          <a:latin typeface="Nexa Book"/>
                        </a:defRPr>
                      </a:pPr>
                      <a:r>
                        <a:t>Deutz</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EUTZ CLASSIC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8.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RUT SECOND SKIN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LANC DE BLANCS SECOND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5.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Heidsieck &amp; Co Monopol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HEIDSIECK MONOPOLE SILVER TOP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8.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De Blign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HAMPAGNE CH DE BLIGNY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Malard</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ALARD PREMIER CRU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Nicolas Feuilla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NICOLAS FEUILLATTE RES EX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4.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Laurent Perri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AURENT PERRIER LA CUVEE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6.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Taitting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TAITTINGER PRESTIGE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8.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Canard Duchên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ANARD DUCHENE CUVEE LEONI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RUINART BRUT SECOND SKIN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1/2 RUINART BLANC DE BLANCS 1CT X 375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3.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Ayal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YALA BRUT MAJEUR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a:defRPr sz="800">
                          <a:latin typeface="Nexa Book"/>
                        </a:defRPr>
                      </a:pPr>
                      <a:r>
                        <a:t>Bolling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OLLINGER SPECIAL CUVE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6.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Dom Perign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OM PERIGNON 2015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Deutz</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DEUTZ CLASSIC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ROSE (NU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694</a:t>
            </a:fld>
            <a:endParaRPr lang="en-US"/>
          </a:p>
        </p:txBody>
      </p:sp>
    </p:spTree>
    <p:extLst>
      <p:ext uri="{BB962C8B-B14F-4D97-AF65-F5344CB8AC3E}">
        <p14:creationId xmlns:p14="http://schemas.microsoft.com/office/powerpoint/2010/main" val="158673959"/>
      </p:ext>
    </p:extLst>
  </p:cSld>
  <p:clrMapOvr>
    <a:masterClrMapping/>
  </p:clrMapOvr>
</p:sld>
</file>

<file path=ppt/slides/slide6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Champagnes | NICOLAS IDF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RUT (NU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CHAMPAGNE E.NICOLAS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16.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906332058"/>
                  </a:ext>
                </a:extLst>
              </a:tr>
              <a:tr h="164170">
                <a:tc>
                  <a:txBody>
                    <a:bodyPr/>
                    <a:lstStyle/>
                    <a:p>
                      <a:pPr algn="ctr">
                        <a:defRPr sz="800">
                          <a:latin typeface="Nexa Book"/>
                        </a:defRPr>
                      </a:pPr>
                      <a:r>
                        <a:t>Deutz</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EUTZ CLASSIC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LANC DE BLANCS (NU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7.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Malard</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ALARD PREMIER CRU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Laurent Perri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AURENT PERRIER LA CUVEE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Heidsieck &amp; Co Monopol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HEIDSIECK MONOPOLE SILVER TOP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Ayal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YALA BRUT MAJEUR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Nicolas Feuilla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NICOLAS FEUILLATTE RES EX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De Blign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HAMPAGNE CH DE BLIGNY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4.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LANC DE BLANCS SECOND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Taitting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TAITTINGER PRESTIGE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Canard Duchên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ANARD DUCHENE CUVEE LEONI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Bolling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OLLINGER SPECIAL CUVE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Besserat De Bellef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ESSERAT BELLEFON BLEU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RUT SECOND SKIN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a:defRPr sz="800">
                          <a:latin typeface="Nexa Book"/>
                        </a:defRPr>
                      </a:pPr>
                      <a:r>
                        <a:t>Demoisell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EMOISELLE TETE CUVEE BRUT PS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Perrier Joue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ERRIER JOUET GRAND BRUT SHAP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8.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RUINART BRUT SECOND SKIN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HAMPAGNE POL ROGER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695</a:t>
            </a:fld>
            <a:endParaRPr lang="en-US"/>
          </a:p>
        </p:txBody>
      </p:sp>
    </p:spTree>
    <p:extLst>
      <p:ext uri="{BB962C8B-B14F-4D97-AF65-F5344CB8AC3E}">
        <p14:creationId xmlns:p14="http://schemas.microsoft.com/office/powerpoint/2010/main" val="2344324200"/>
      </p:ext>
    </p:extLst>
  </p:cSld>
  <p:clrMapOvr>
    <a:masterClrMapping/>
  </p:clrMapOvr>
</p:sld>
</file>

<file path=ppt/slides/slide6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Champagnes | NICOLAS PAC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RUT (NU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CHAMPAGNE E.NICOLAS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1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906332058"/>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LANC DE BLANCS (NU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Deutz</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EUTZ CLASSIC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Heidsieck &amp; Co Monopol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HEIDSIECK MONOPOLE SILVER TOP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3.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RUT SECOND SKIN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Laurent Perri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AURENT PERRIER LA CUVEE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LANC DE BLANCS SECOND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De Blign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HAMPAGNE CH DE BLIGNY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Malard</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ALARD PREMIER CRU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6.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Ayal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YALA BRUT MAJEUR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8.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Bolling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OLLINGER SPECIAL CUVE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Taitting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TAITTINGER PRESTIGE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Nicolas Feuilla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NICOLAS FEUILLATTE RES EX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3.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Canard Duchên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ANARD DUCHENE CUVEE LEONI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5.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RUINART BRUT SECOND SKIN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7.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ROSE (NU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Dom Perign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OM PERIGNON 2013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Deutz</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DEUTZ CLASSIC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RUINART BLC DE BLANC SECOND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696</a:t>
            </a:fld>
            <a:endParaRPr lang="en-US"/>
          </a:p>
        </p:txBody>
      </p:sp>
    </p:spTree>
    <p:extLst>
      <p:ext uri="{BB962C8B-B14F-4D97-AF65-F5344CB8AC3E}">
        <p14:creationId xmlns:p14="http://schemas.microsoft.com/office/powerpoint/2010/main" val="951810552"/>
      </p:ext>
    </p:extLst>
  </p:cSld>
  <p:clrMapOvr>
    <a:masterClrMapping/>
  </p:clrMapOvr>
</p:sld>
</file>

<file path=ppt/slides/slide6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Champagnes | NICOLAS RHO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RUT (NU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Deutz</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EUTZ CLASSIC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CHAMPAGNE E.NICOLAS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2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377019259"/>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LANC DE BLANCS (NU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5.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Heidsieck &amp; Co Monopol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HEIDSIECK MONOPOLE SILVER TOP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Malard</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ALARD PREMIER CRU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Ayal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YALA BRUT MAJEUR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De Blign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HAMPAGNE CH DE BLIGNY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7.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LANC DE BLANCS SECOND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Taitting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TAITTINGER PRESTIGE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Canard Duchên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ANARD DUCHENE CUVEE LEONI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RUT SECOND SKIN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6.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Laurent Perri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AURENT PERRIER LA CUVEE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8.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Nicolas Feuilla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NICOLAS FEUILLATTE RES EX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Bolling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OLLINGER SPECIAL CUVE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3.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Deutz</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DEUTZ CLASSIC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a:defRPr sz="800">
                          <a:latin typeface="Nexa Book"/>
                        </a:defRPr>
                      </a:pPr>
                      <a:r>
                        <a:t>Besserat De Bellef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ESSERAT BELLEFON BLEU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6.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Savia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HAMPAGNE GOSSET GDE RESERV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RUINART BRUT SECOND SKIN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Demoisell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EMOISELLE TETE CUVEE BRUT PS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697</a:t>
            </a:fld>
            <a:endParaRPr lang="en-US"/>
          </a:p>
        </p:txBody>
      </p:sp>
    </p:spTree>
    <p:extLst>
      <p:ext uri="{BB962C8B-B14F-4D97-AF65-F5344CB8AC3E}">
        <p14:creationId xmlns:p14="http://schemas.microsoft.com/office/powerpoint/2010/main" val="3889791362"/>
      </p:ext>
    </p:extLst>
  </p:cSld>
  <p:clrMapOvr>
    <a:masterClrMapping/>
  </p:clrMapOvr>
</p:sld>
</file>

<file path=ppt/slides/slide6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Champagnes | NICOLAS AQU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RUT (NU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CHAMPAGNE E.NICOLAS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1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906332058"/>
                  </a:ext>
                </a:extLst>
              </a:tr>
              <a:tr h="164170">
                <a:tc>
                  <a:txBody>
                    <a:bodyPr/>
                    <a:lstStyle/>
                    <a:p>
                      <a:pPr algn="ctr">
                        <a:defRPr sz="800">
                          <a:latin typeface="Nexa Book"/>
                        </a:defRPr>
                      </a:pPr>
                      <a:r>
                        <a:t>Deutz</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EUTZ CLASSIC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Heidsieck &amp; Co Monopol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HEIDSIECK MONOPOLE SILVER TOP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LANC DE BLANCS (NU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Ayal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YALA BRUT MAJEUR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6.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De Blign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HAMPAGNE CH DE BLIGNY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Malard</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ALARD PREMIER CRU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Canard Duchên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ANARD DUCHENE CUVEE LEONI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Besserat De Bellef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ESSERAT BELLEFON BLEU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7.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Laurent Perri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AURENT PERRIER LA CUVEE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Campari: 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HAMPAGNE LALLIER SERIE R.021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Bolling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OLLINGER SPECIAL CUVE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Deutz</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DEUTZ CLASSIC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Taitting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TAITTINGER PRESTIGE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5.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LANC DE BLANCS SECOND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7.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RUINART BRUT SECOND SKIN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Nicolas Feuilla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NICOLAS FEUILLATTE RES EX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ROSE (NU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RUT SECOND SKIN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698</a:t>
            </a:fld>
            <a:endParaRPr lang="en-US"/>
          </a:p>
        </p:txBody>
      </p:sp>
    </p:spTree>
    <p:extLst>
      <p:ext uri="{BB962C8B-B14F-4D97-AF65-F5344CB8AC3E}">
        <p14:creationId xmlns:p14="http://schemas.microsoft.com/office/powerpoint/2010/main" val="2086345048"/>
      </p:ext>
    </p:extLst>
  </p:cSld>
  <p:clrMapOvr>
    <a:masterClrMapping/>
  </p:clrMapOvr>
</p:sld>
</file>

<file path=ppt/slides/slide6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Champagnes | NICOLAS EST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RUT (NU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CHAMPAGNE E.NICOLAS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1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906332058"/>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 MESNIL BLANC DE BLANCS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Deutz</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EUTZ CLASSIC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LANC DE BLANCS (NU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4.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Ayal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YALA BRUT MAJEUR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HAMPAGNE J DEFRANCE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Bolling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OLLINGER SPECIAL CUVE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De Blign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HAMPAGNE CH DE BLIGNY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3.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Malard</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ALARD PREMIER CRU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5.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Laurent Perri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AURENT PERRIER LA CUVEE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7.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Nicolas Feuilla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NICOLAS FEUILLATTE RES EX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Heidsieck &amp; Co Monopol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HEIDSIECK MONOPOLE SILVER TOP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Canard Duchên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ANARD DUCHENE CUVEE LEONI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RUT SECOND SKIN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4.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Taitting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TAITTINGER PRESTIGE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6.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OUTARDIER CARTE D'OR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LANC DE BLANCS SECOND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Demoisell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EMOISELLE TETE CUVEE BRUT PS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Deutz</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DEUTZ CLASSIC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699</a:t>
            </a:fld>
            <a:endParaRPr lang="en-US"/>
          </a:p>
        </p:txBody>
      </p:sp>
    </p:spTree>
    <p:extLst>
      <p:ext uri="{BB962C8B-B14F-4D97-AF65-F5344CB8AC3E}">
        <p14:creationId xmlns:p14="http://schemas.microsoft.com/office/powerpoint/2010/main" val="35169176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Effervescents | NICOLAS IDF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7</a:t>
            </a:fld>
            <a:endParaRPr lang="en-US"/>
          </a:p>
        </p:txBody>
      </p:sp>
    </p:spTree>
    <p:extLst>
      <p:ext uri="{BB962C8B-B14F-4D97-AF65-F5344CB8AC3E}">
        <p14:creationId xmlns:p14="http://schemas.microsoft.com/office/powerpoint/2010/main" val="1857605845"/>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Blanc De Blancs | NICOLAS CCP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70</a:t>
            </a:fld>
            <a:endParaRPr lang="en-US"/>
          </a:p>
        </p:txBody>
      </p:sp>
    </p:spTree>
    <p:extLst>
      <p:ext uri="{BB962C8B-B14F-4D97-AF65-F5344CB8AC3E}">
        <p14:creationId xmlns:p14="http://schemas.microsoft.com/office/powerpoint/2010/main" val="1254445493"/>
      </p:ext>
    </p:extLst>
  </p:cSld>
  <p:clrMapOvr>
    <a:masterClrMapping/>
  </p:clrMapOvr>
</p:sld>
</file>

<file path=ppt/slides/slide7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Champagnes | CA A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RUT (NU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LANC DE BLANCS (NU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CHAMPAGNE E.NICOLAS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2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377019259"/>
                  </a:ext>
                </a:extLst>
              </a:tr>
              <a:tr h="164170">
                <a:tc>
                  <a:txBody>
                    <a:bodyPr/>
                    <a:lstStyle/>
                    <a:p>
                      <a:pPr algn="ctr">
                        <a:defRPr sz="800">
                          <a:latin typeface="Nexa Book"/>
                        </a:defRPr>
                      </a:pPr>
                      <a:r>
                        <a:t>Deutz</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EUTZ CLASSIC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5.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Laurent Perri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AURENT PERRIER LA CUVEE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Heidsieck &amp; Co Monopol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HEIDSIECK MONOPOLE SILVER TOP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Malard</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ALARD PREMIER CRU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Ayal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YALA BRUT MAJEUR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7.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LANC DE BLANCS SECOND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Nicolas Feuilla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NICOLAS FEUILLATTE RES EX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Taitting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TAITTINGER PRESTIGE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Bolling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OLLINGER SPECIAL CUVE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5.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RUT SECOND SKIN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7.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De Blign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HAMPAGNE CH DE BLIGNY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Canard Duchên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ANARD DUCHENE CUVEE LEONI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Perrier Joue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ERRIER JOUET GRAND BRUT SHAP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RUINART BRUT SECOND SKIN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Besserat De Bellef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ESSERAT BELLEFON BLEU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4.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Deutz</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DEUTZ CLASSIC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Dom Perign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OM PERIGNON 2013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7.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700</a:t>
            </a:fld>
            <a:endParaRPr lang="en-US"/>
          </a:p>
        </p:txBody>
      </p:sp>
    </p:spTree>
    <p:extLst>
      <p:ext uri="{BB962C8B-B14F-4D97-AF65-F5344CB8AC3E}">
        <p14:creationId xmlns:p14="http://schemas.microsoft.com/office/powerpoint/2010/main" val="1207909511"/>
      </p:ext>
    </p:extLst>
  </p:cSld>
  <p:clrMapOvr>
    <a:masterClrMapping/>
  </p:clrMapOvr>
</p:sld>
</file>

<file path=ppt/slides/slide7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Champagnes | CA B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RUT (NU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CHAMPAGNE E.NICOLAS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17.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906332058"/>
                  </a:ext>
                </a:extLst>
              </a:tr>
              <a:tr h="164170">
                <a:tc>
                  <a:txBody>
                    <a:bodyPr/>
                    <a:lstStyle/>
                    <a:p>
                      <a:pPr algn="ctr">
                        <a:defRPr sz="800">
                          <a:latin typeface="Nexa Book"/>
                        </a:defRPr>
                      </a:pPr>
                      <a:r>
                        <a:t>Deutz</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EUTZ CLASSIC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LANC DE BLANCS (NU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Laurent Perri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AURENT PERRIER LA CUVEE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Heidsieck &amp; Co Monopol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HEIDSIECK MONOPOLE SILVER TOP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Malard</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ALARD PREMIER CRU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Ayal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YALA BRUT MAJEUR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Nicolas Feuilla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NICOLAS FEUILLATTE RES EX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3.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De Blign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HAMPAGNE CH DE BLIGNY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5.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RUT SECOND SKIN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Canard Duchên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ANARD DUCHENE CUVEE LEONI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LANC DE BLANCS SECOND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Taitting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TAITTINGER PRESTIGE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Bolling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OLLINGER SPECIAL CUVE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Besserat De Bellef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ESSERAT BELLEFON BLEU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a:defRPr sz="800">
                          <a:latin typeface="Nexa Book"/>
                        </a:defRPr>
                      </a:pPr>
                      <a:r>
                        <a:t>Demoisell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EMOISELLE TETE CUVEE BRUT PS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Campari: 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HAMPAGNE LALLIER SERIE R.021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Deutz</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DEUTZ CLASSIC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Perrier Joue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ERRIER JOUET GRAND BRUT SHAP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701</a:t>
            </a:fld>
            <a:endParaRPr lang="en-US"/>
          </a:p>
        </p:txBody>
      </p:sp>
    </p:spTree>
    <p:extLst>
      <p:ext uri="{BB962C8B-B14F-4D97-AF65-F5344CB8AC3E}">
        <p14:creationId xmlns:p14="http://schemas.microsoft.com/office/powerpoint/2010/main" val="1494656046"/>
      </p:ext>
    </p:extLst>
  </p:cSld>
  <p:clrMapOvr>
    <a:masterClrMapping/>
  </p:clrMapOvr>
</p:sld>
</file>

<file path=ppt/slides/slide7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Champagnes | CA C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RUT (NU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CHAMPAGNE E.NICOLAS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1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906332058"/>
                  </a:ext>
                </a:extLst>
              </a:tr>
              <a:tr h="164170">
                <a:tc>
                  <a:txBody>
                    <a:bodyPr/>
                    <a:lstStyle/>
                    <a:p>
                      <a:pPr algn="ctr">
                        <a:defRPr sz="800">
                          <a:latin typeface="Nexa Book"/>
                        </a:defRPr>
                      </a:pPr>
                      <a:r>
                        <a:t>Deutz</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EUTZ CLASSIC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LANC DE BLANCS (NU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Heidsieck &amp; Co Monopol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HEIDSIECK MONOPOLE SILVER TOP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Malard</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ALARD PREMIER CRU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Ayal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YALA BRUT MAJEUR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Laurent Perri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AURENT PERRIER LA CUVEE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De Blign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HAMPAGNE CH DE BLIGNY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3.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Nicolas Feuilla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NICOLAS FEUILLATTE RES EX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Canard Duchên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ANARD DUCHENE CUVEE LEONI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7.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LANC DE BLANCS SECOND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RUT SECOND SKIN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Taitting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TAITTINGER PRESTIGE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3.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Bolling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OLLINGER SPECIAL CUVE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5.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Besserat De Bellef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ESSERAT BELLEFON BLEU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a:defRPr sz="800">
                          <a:latin typeface="Nexa Book"/>
                        </a:defRPr>
                      </a:pPr>
                      <a:r>
                        <a:t>Demoisell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EMOISELLE TETE CUVEE BRUT PS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RUINART BRUT SECOND SKIN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Deutz</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DEUTZ CLASSIC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Perrier Joue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ERRIER JOUET GRAND BRUT SHAP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702</a:t>
            </a:fld>
            <a:endParaRPr lang="en-US"/>
          </a:p>
        </p:txBody>
      </p:sp>
    </p:spTree>
    <p:extLst>
      <p:ext uri="{BB962C8B-B14F-4D97-AF65-F5344CB8AC3E}">
        <p14:creationId xmlns:p14="http://schemas.microsoft.com/office/powerpoint/2010/main" val="2632834200"/>
      </p:ext>
    </p:extLst>
  </p:cSld>
  <p:clrMapOvr>
    <a:masterClrMapping/>
  </p:clrMapOvr>
</p:sld>
</file>

<file path=ppt/slides/slide7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Champagnes | CA D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RUT (NU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CHAMPAGNE E.NICOLAS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1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906332058"/>
                  </a:ext>
                </a:extLst>
              </a:tr>
              <a:tr h="164170">
                <a:tc>
                  <a:txBody>
                    <a:bodyPr/>
                    <a:lstStyle/>
                    <a:p>
                      <a:pPr algn="ctr">
                        <a:defRPr sz="800">
                          <a:latin typeface="Nexa Book"/>
                        </a:defRPr>
                      </a:pPr>
                      <a:r>
                        <a:t>Deutz</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EUTZ CLASSIC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LANC DE BLANCS (NU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Heidsieck &amp; Co Monopol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HEIDSIECK MONOPOLE SILVER TOP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Malard</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ALARD PREMIER CRU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4.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De Blign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HAMPAGNE CH DE BLIGNY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Ayal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YALA BRUT MAJEUR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Laurent Perri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AURENT PERRIER LA CUVEE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3.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Nicolas Feuilla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NICOLAS FEUILLATTE RES EX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LANC DE BLANCS SECOND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Besserat De Bellef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ESSERAT BELLEFON BLEU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Canard Duchên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ANARD DUCHENE CUVEE LEONI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Taitting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TAITTINGER PRESTIGE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RUT SECOND SKIN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Bolling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OLLINGER SPECIAL CUVE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a:defRPr sz="800">
                          <a:latin typeface="Nexa Book"/>
                        </a:defRPr>
                      </a:pPr>
                      <a:r>
                        <a:t>Demoisell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EMOISELLE TETE CUVEE BRUT PS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Deutz</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DEUTZ CLASSIC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ROSE (NU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HAMPAGNE POL ROGER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703</a:t>
            </a:fld>
            <a:endParaRPr lang="en-US"/>
          </a:p>
        </p:txBody>
      </p:sp>
    </p:spTree>
    <p:extLst>
      <p:ext uri="{BB962C8B-B14F-4D97-AF65-F5344CB8AC3E}">
        <p14:creationId xmlns:p14="http://schemas.microsoft.com/office/powerpoint/2010/main" val="2822135428"/>
      </p:ext>
    </p:extLst>
  </p:cSld>
  <p:clrMapOvr>
    <a:masterClrMapping/>
  </p:clrMapOvr>
</p:sld>
</file>

<file path=ppt/slides/slide7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Champagnes | CA E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RUT (NU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CHAMPAGNE E.NICOLAS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18.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906332058"/>
                  </a:ext>
                </a:extLst>
              </a:tr>
              <a:tr h="164170">
                <a:tc>
                  <a:txBody>
                    <a:bodyPr/>
                    <a:lstStyle/>
                    <a:p>
                      <a:pPr algn="ctr">
                        <a:defRPr sz="800">
                          <a:latin typeface="Nexa Book"/>
                        </a:defRPr>
                      </a:pPr>
                      <a:r>
                        <a:t>Deutz</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EUTZ CLASSIC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LANC DE BLANCS (NU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Heidsieck &amp; Co Monopol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HEIDSIECK MONOPOLE SILVER TOP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Malard</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ALARD PREMIER CRU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5.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Ayal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YALA BRUT MAJEUR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De Blign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HAMPAGNE CH DE BLIGNY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Laurent Perri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AURENT PERRIER LA CUVEE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Nicolas Feuilla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NICOLAS FEUILLATTE RES EX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Canard Duchên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ANARD DUCHENE CUVEE LEONI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8.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Taitting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TAITTINGER PRESTIGE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Bolling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OLLINGER SPECIAL CUVE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LANC DE BLANCS SECOND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RUT SECOND SKIN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Besserat De Bellef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ESSERAT BELLEFON BLEU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a:defRPr sz="800">
                          <a:latin typeface="Nexa Book"/>
                        </a:defRPr>
                      </a:pPr>
                      <a:r>
                        <a:t>Demoisell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EMOISELLE TETE CUVEE BRUT PS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Deutz</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DEUTZ CLASSIC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ROSE (NU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Perrier Joue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ERRIER JOUET GRAND BRUT SHAP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3.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704</a:t>
            </a:fld>
            <a:endParaRPr lang="en-US"/>
          </a:p>
        </p:txBody>
      </p:sp>
    </p:spTree>
    <p:extLst>
      <p:ext uri="{BB962C8B-B14F-4D97-AF65-F5344CB8AC3E}">
        <p14:creationId xmlns:p14="http://schemas.microsoft.com/office/powerpoint/2010/main" val="4129605170"/>
      </p:ext>
    </p:extLst>
  </p:cSld>
  <p:clrMapOvr>
    <a:masterClrMapping/>
  </p:clrMapOvr>
</p:sld>
</file>

<file path=ppt/slides/slide7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Mousseux | NICOLAS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CARLO V CUVEE DEL ITA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Botteg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VINO DEI POETI ITA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a:defRPr sz="800">
                          <a:latin typeface="Nexa Book"/>
                        </a:defRPr>
                      </a:pPr>
                      <a:r>
                        <a:t>Patriarch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BOURG PATRIARCHE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Mur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D'ALSACE PRESTIGE BIO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4.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Savia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SAVIAN EXTRA DRY ITA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French Bloom S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H MONCONTOUR MILLESIME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Bouvet-Laduba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AUMUR BOUVET L CUV SAPHI M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4.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De Chancen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LOIRE NATURE 2015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VOUVRAY DME DU PETIT COTEAU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Patriarch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BOURG PATRIARCH ROS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Krit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GRUMES BULLES VIN MOUSSEUX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Botteg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VINO POETI ROSE ITA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8.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VOUVRAY DME BRUNET BRUT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Contarini</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CONTARINI BRUT ITA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LAIRETTE DIE DEA AUGUSTA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3.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VEUVE DU VERNAY VIN MOUSSEUX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4.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a:defRPr sz="800">
                          <a:latin typeface="Nexa Book"/>
                        </a:defRPr>
                      </a:pPr>
                      <a:r>
                        <a:t>Cru La Maquelin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U LA MAQUELINE CREMANT B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D'ALSACE GISSELBREC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DE LOIRE MONMOUS BL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ERDON BUGEY ROSE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705</a:t>
            </a:fld>
            <a:endParaRPr lang="en-US"/>
          </a:p>
        </p:txBody>
      </p:sp>
    </p:spTree>
    <p:extLst>
      <p:ext uri="{BB962C8B-B14F-4D97-AF65-F5344CB8AC3E}">
        <p14:creationId xmlns:p14="http://schemas.microsoft.com/office/powerpoint/2010/main" val="704599607"/>
      </p:ext>
    </p:extLst>
  </p:cSld>
  <p:clrMapOvr>
    <a:masterClrMapping/>
  </p:clrMapOvr>
</p:sld>
</file>

<file path=ppt/slides/slide7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Mousseux | NICOLAS QCN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CARLO V CUVEE DEL ITA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Botteg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VINO DEI POETI ITA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a:defRPr sz="800">
                          <a:latin typeface="Nexa Book"/>
                        </a:defRPr>
                      </a:pPr>
                      <a:r>
                        <a:t>Patriarch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BOURG PATRIARCHE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6.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Mur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D'ALSACE PRESTIGE BIO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Savia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SAVIAN EXTRA DRY ITA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3.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French Bloom S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H MONCONTOUR MILLESIME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Bouvet-Laduba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AUMUR BOUVET L CUV SAPHI M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De Chancen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LOIRE NATURE 2015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VOUVRAY DME DU PETIT COTEAU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Patriarch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BOURG PATRIARCH ROS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7.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Krit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GRUMES BULLES VIN MOUSSEUX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Botteg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VINO POETI ROSE ITA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VOUVRAY DME BRUNET BRUT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Contarini</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CONTARINI BRUT ITA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5.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Cru La Maquelin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U LA MAQUELINE CREMANT B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LAIRETTE DIE DEA AUGUSTA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DE LOIRE MONMOUS BL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VEUVE DU VERNAY VIN MOUSSEUX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D'ALSACE GISSELBREC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FRENCH CANCAN BRUT NATUR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706</a:t>
            </a:fld>
            <a:endParaRPr lang="en-US"/>
          </a:p>
        </p:txBody>
      </p:sp>
    </p:spTree>
    <p:extLst>
      <p:ext uri="{BB962C8B-B14F-4D97-AF65-F5344CB8AC3E}">
        <p14:creationId xmlns:p14="http://schemas.microsoft.com/office/powerpoint/2010/main" val="2889922537"/>
      </p:ext>
    </p:extLst>
  </p:cSld>
  <p:clrMapOvr>
    <a:masterClrMapping/>
  </p:clrMapOvr>
</p:sld>
</file>

<file path=ppt/slides/slide7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Mousseux | NICOLAS VCN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CARLO V CUVEE DEL ITA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Patriarch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BOURG PATRIARCHE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4.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a:defRPr sz="800">
                          <a:latin typeface="Nexa Book"/>
                        </a:defRPr>
                      </a:pPr>
                      <a:r>
                        <a:t>Botteg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VINO DEI POETI ITA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Mur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D'ALSACE PRESTIGE BIO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4.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Bouvet-Laduba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AUMUR BOUVET L CUV SAPHI M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French Bloom S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H MONCONTOUR MILLESIME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Savia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SAVIAN EXTRA DRY ITA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De Chancen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LOIRE NATURE 2015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Patriarch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BOURG PATRIARCH ROS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Krit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GRUMES BULLES VIN MOUSSEUX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3.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VOUVRAY DME DU PETIT COTEAU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6.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VOUVRAY DME BRUNET BRUT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Botteg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VINO POETI ROSE ITA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LAIRETTE DIE DEA AUGUSTA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3.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VEUVE DU VERNAY VIN MOUSSEUX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4.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Cru La Maquelin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U LA MAQUELINE CREMANT B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a:defRPr sz="800">
                          <a:latin typeface="Nexa Book"/>
                        </a:defRPr>
                      </a:pPr>
                      <a:r>
                        <a:t>Contarini</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CONTARINI BRUT ITA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7.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DE LOIRE MONMOUS BL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LOIRE TERREBRUNE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FRENCH CANCAN BRUT NATURE ROS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707</a:t>
            </a:fld>
            <a:endParaRPr lang="en-US"/>
          </a:p>
        </p:txBody>
      </p:sp>
    </p:spTree>
    <p:extLst>
      <p:ext uri="{BB962C8B-B14F-4D97-AF65-F5344CB8AC3E}">
        <p14:creationId xmlns:p14="http://schemas.microsoft.com/office/powerpoint/2010/main" val="3606668587"/>
      </p:ext>
    </p:extLst>
  </p:cSld>
  <p:clrMapOvr>
    <a:masterClrMapping/>
  </p:clrMapOvr>
</p:sld>
</file>

<file path=ppt/slides/slide7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Mousseux | NICOLAS QCT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CARLO V CUVEE DEL ITA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Botteg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VINO DEI POETI ITA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8.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a:defRPr sz="800">
                          <a:latin typeface="Nexa Book"/>
                        </a:defRPr>
                      </a:pPr>
                      <a:r>
                        <a:t>Mur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D'ALSACE PRESTIGE BIO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Patriarch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BOURG PATRIARCHE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6.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Savia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SAVIAN EXTRA DRY ITA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5.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French Bloom S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H MONCONTOUR MILLESIME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Bouvet-Laduba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AUMUR BOUVET L CUV SAPHI M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De Chancen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LOIRE NATURE 2015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VOUVRAY DME DU PETIT COTEAU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3.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Patriarch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BOURG PATRIARCH ROS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Botteg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VINO POETI ROSE ITA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D'ALSACE GISSELBREC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VEUVE DU VERNAY VIN MOUSSEUX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3.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Cru La Maquelin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U LA MAQUELINE CREMANT B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4.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Contarini</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CONTARINI BRUT ITA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5.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Krit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GRUMES BULLES VIN MOUSSEUX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7.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a:defRPr sz="800">
                          <a:latin typeface="Nexa Book"/>
                        </a:defRPr>
                      </a:pPr>
                      <a:r>
                        <a:t>Mur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D'ALSACE ROSE MURE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D'ALSACE DOSAGE ZERO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LAIRETTE DIE DEA AUGUSTA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AU FRIZZANT DE MUSCAT 9%VOL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708</a:t>
            </a:fld>
            <a:endParaRPr lang="en-US"/>
          </a:p>
        </p:txBody>
      </p:sp>
    </p:spTree>
    <p:extLst>
      <p:ext uri="{BB962C8B-B14F-4D97-AF65-F5344CB8AC3E}">
        <p14:creationId xmlns:p14="http://schemas.microsoft.com/office/powerpoint/2010/main" val="3752976700"/>
      </p:ext>
    </p:extLst>
  </p:cSld>
  <p:clrMapOvr>
    <a:masterClrMapping/>
  </p:clrMapOvr>
</p:sld>
</file>

<file path=ppt/slides/slide7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Mousseux | NICOLAS QCA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CARLO V CUVEE DEL ITA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7.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Botteg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VINO DEI POETI ITA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a:defRPr sz="800">
                          <a:latin typeface="Nexa Book"/>
                        </a:defRPr>
                      </a:pPr>
                      <a:r>
                        <a:t>Patriarch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BOURG PATRIARCHE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Savia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SAVIAN EXTRA DRY ITA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Bouvet-Laduba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AUMUR BOUVET L CUV SAPHI M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Mur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D'ALSACE PRESTIGE BIO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French Bloom S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H MONCONTOUR MILLESIME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VOUVRAY DME DU PETIT COTEAU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De Chancen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LOIRE NATURE 2015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Botteg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VINO POETI ROSE ITA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5.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Patriarch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BOURG PATRIARCH ROS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7.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Contarini</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CONTARINI BRUT ITA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Krit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GRUMES BULLES VIN MOUSSEUX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DE LOIRE MONMOUS BL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Cru La Maquelin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U LA MAQUELINE CREMANT B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FRENCH CANCAN BRUT NATURE ROS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LAIRETTE DIE DEA AUGUSTA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FRENCH CANCAN BRUT NATUR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ERDON BUGEY ROSE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FRENCH CANCAN BRUT NATURE ORAN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709</a:t>
            </a:fld>
            <a:endParaRPr lang="en-US"/>
          </a:p>
        </p:txBody>
      </p:sp>
    </p:spTree>
    <p:extLst>
      <p:ext uri="{BB962C8B-B14F-4D97-AF65-F5344CB8AC3E}">
        <p14:creationId xmlns:p14="http://schemas.microsoft.com/office/powerpoint/2010/main" val="134712108"/>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Blanc De Blancs | NICOLAS IDF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71</a:t>
            </a:fld>
            <a:endParaRPr lang="en-US"/>
          </a:p>
        </p:txBody>
      </p:sp>
    </p:spTree>
    <p:extLst>
      <p:ext uri="{BB962C8B-B14F-4D97-AF65-F5344CB8AC3E}">
        <p14:creationId xmlns:p14="http://schemas.microsoft.com/office/powerpoint/2010/main" val="3933234462"/>
      </p:ext>
    </p:extLst>
  </p:cSld>
  <p:clrMapOvr>
    <a:masterClrMapping/>
  </p:clrMapOvr>
</p:sld>
</file>

<file path=ppt/slides/slide7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Mousseux | NICOLAS CCP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CARLO V CUVEE DEL ITA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Botteg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VINO DEI POETI ITA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6.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a:defRPr sz="800">
                          <a:latin typeface="Nexa Book"/>
                        </a:defRPr>
                      </a:pPr>
                      <a:r>
                        <a:t>Mur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D'ALSACE PRESTIGE BIO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4.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Bouvet-Laduba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AUMUR BOUVET L CUV SAPHI M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Patriarch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BOURG PATRIARCHE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6.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ERDON BUGEY ROSE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Savia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SAVIAN EXTRA DRY ITA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D'ALSACE GISSELBREC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French Bloom S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H MONCONTOUR MILLESIME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Patriarch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BOURG PATRIARCH ROS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8.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Botteg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VINO POETI ROSE ITA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LAIRETTE DIE DEA AUGUSTA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De Chancen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LOIRE NATURE 2015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4.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VEUVE DU VERNAY VIN MOUSSEUX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6.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VOUVRAY DME BRUNET BRUT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8.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Krit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GRUMES BULLES VIN MOUSSEUX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ME MUCELLE LA BULLE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Contarini</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CONTARINI BRUT ITA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3.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VOUVRAY DME DU PETIT COTEAU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4.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D'ALSACE SPARR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710</a:t>
            </a:fld>
            <a:endParaRPr lang="en-US"/>
          </a:p>
        </p:txBody>
      </p:sp>
    </p:spTree>
    <p:extLst>
      <p:ext uri="{BB962C8B-B14F-4D97-AF65-F5344CB8AC3E}">
        <p14:creationId xmlns:p14="http://schemas.microsoft.com/office/powerpoint/2010/main" val="25735022"/>
      </p:ext>
    </p:extLst>
  </p:cSld>
  <p:clrMapOvr>
    <a:masterClrMapping/>
  </p:clrMapOvr>
</p:sld>
</file>

<file path=ppt/slides/slide7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Mousseux | NICOLAS IDF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CARLO V CUVEE DEL ITA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Botteg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VINO DEI POETI ITA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a:defRPr sz="800">
                          <a:latin typeface="Nexa Book"/>
                        </a:defRPr>
                      </a:pPr>
                      <a:r>
                        <a:t>Patriarch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BOURG PATRIARCHE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Mur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D'ALSACE PRESTIGE BIO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Savia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SAVIAN EXTRA DRY ITA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French Bloom S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H MONCONTOUR MILLESIME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5.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Bouvet-Laduba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AUMUR BOUVET L CUV SAPHI M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De Chancen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LOIRE NATURE 2015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VOUVRAY DME DU PETIT COTEAU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Patriarch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BOURG PATRIARCH ROS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Botteg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VINO POETI ROSE ITA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5.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Krit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GRUMES BULLES VIN MOUSSEUX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8.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Cru La Maquelin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U LA MAQUELINE CREMANT B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Contarini</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CONTARINI BRUT ITA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VEUVE DU VERNAY VIN MOUSSEUX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LAIRETTE DIE DEA AUGUSTA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DE LOIRE MONMOUS BL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FRENCH CANCAN BRUT NATUR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FRENCH CANCAN BRUT NATURE ROS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Contarini</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PROSECCO CONTARINI BRUT ITA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711</a:t>
            </a:fld>
            <a:endParaRPr lang="en-US"/>
          </a:p>
        </p:txBody>
      </p:sp>
    </p:spTree>
    <p:extLst>
      <p:ext uri="{BB962C8B-B14F-4D97-AF65-F5344CB8AC3E}">
        <p14:creationId xmlns:p14="http://schemas.microsoft.com/office/powerpoint/2010/main" val="2243330445"/>
      </p:ext>
    </p:extLst>
  </p:cSld>
  <p:clrMapOvr>
    <a:masterClrMapping/>
  </p:clrMapOvr>
</p:sld>
</file>

<file path=ppt/slides/slide7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Mousseux | NICOLAS PAC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CARLO V CUVEE DEL ITA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Botteg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VINO DEI POETI ITA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a:defRPr sz="800">
                          <a:latin typeface="Nexa Book"/>
                        </a:defRPr>
                      </a:pPr>
                      <a:r>
                        <a:t>Savia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SAVIAN EXTRA DRY ITA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Patriarch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BOURG PATRIARCHE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7.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Mur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D'ALSACE PRESTIGE BIO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AU FRIZZANT DE MUSCAT 9%VOL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Bouvet-Laduba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AUMUR BOUVET L CUV SAPHI M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Patriarch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BOURG PATRIARCH ROS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6.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Botteg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VINO POETI ROSE ITA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French Bloom S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H MONCONTOUR MILLESIME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3.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De Chancen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LOIRE NATURE 2015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5.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Contarini</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CONTARINI BRUT ITA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DE LOIRE MONMOUS BL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Krit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GRUMES BULLES VIN MOUSSEUX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VEUVE DU VERNAY VIN MOUSSEUX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Cru La Maquelin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U LA MAQUELINE CREMANT B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VOUVRAY DME DU PETIT COTEAU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LAIRETTE DIE DEA AUGUSTA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Contarini</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PROSECCO CONTARINI BRUT ITA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FRENCH CANCAN BRUT NATURE ROS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712</a:t>
            </a:fld>
            <a:endParaRPr lang="en-US"/>
          </a:p>
        </p:txBody>
      </p:sp>
    </p:spTree>
    <p:extLst>
      <p:ext uri="{BB962C8B-B14F-4D97-AF65-F5344CB8AC3E}">
        <p14:creationId xmlns:p14="http://schemas.microsoft.com/office/powerpoint/2010/main" val="152545437"/>
      </p:ext>
    </p:extLst>
  </p:cSld>
  <p:clrMapOvr>
    <a:masterClrMapping/>
  </p:clrMapOvr>
</p:sld>
</file>

<file path=ppt/slides/slide7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Mousseux | NICOLAS RHO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CARLO V CUVEE DEL ITA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ERDON BUGEY ROSE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a:defRPr sz="800">
                          <a:latin typeface="Nexa Book"/>
                        </a:defRPr>
                      </a:pPr>
                      <a:r>
                        <a:t>Botteg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VINO DEI POETI ITA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Patriarch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BOURG PATRIARCHE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Savia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SAVIAN EXTRA DRY ITA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Mur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D'ALSACE PRESTIGE BIO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French Bloom S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H MONCONTOUR MILLESIME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4.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LAIRETTE DIE DEA AUGUSTA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8.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DE SAVOIE BRUT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JURA TISSOT BRUT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3.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AISON GALLICE SEYSSEL BRUT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Patriarch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BOURG PATRIARCH ROS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8.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Botteg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VINO POETI ROSE ITA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De Chancen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LOIRE NATURE 2015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Bouvet-Laduba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AUMUR BOUVET L CUV SAPHI M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4.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Contarini</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CONTARINI BRUT ITA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a:defRPr sz="800">
                          <a:latin typeface="Nexa Book"/>
                        </a:defRPr>
                      </a:pPr>
                      <a:r>
                        <a:t>Vilaveroni</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VILAVERONI ITA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8.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VEUVE DU VERNAY VIN MOUSSEUX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ME MUCELLE LA BULLE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VOUVRAY DME DU PETIT COTEAU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713</a:t>
            </a:fld>
            <a:endParaRPr lang="en-US"/>
          </a:p>
        </p:txBody>
      </p:sp>
    </p:spTree>
    <p:extLst>
      <p:ext uri="{BB962C8B-B14F-4D97-AF65-F5344CB8AC3E}">
        <p14:creationId xmlns:p14="http://schemas.microsoft.com/office/powerpoint/2010/main" val="204654424"/>
      </p:ext>
    </p:extLst>
  </p:cSld>
  <p:clrMapOvr>
    <a:masterClrMapping/>
  </p:clrMapOvr>
</p:sld>
</file>

<file path=ppt/slides/slide7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Mousseux | NICOLAS AQU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CARLO V CUVEE DEL ITA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Botteg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VINO DEI POETI ITA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4.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a:defRPr sz="800">
                          <a:latin typeface="Nexa Book"/>
                        </a:defRPr>
                      </a:pPr>
                      <a:r>
                        <a:t>Bouvet-Laduba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AUMUR BOUVET L CUV SAPHI M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Mur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D'ALSACE PRESTIGE BIO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Patriarch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BOURG PATRIARCHE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Krit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GRUMES BULLES VIN MOUSSEUX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VOUVRAY DME BRUNET BRUT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French Bloom S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H MONCONTOUR MILLESIME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3.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Patriarch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BOURG PATRIARCH ROS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Savia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SAVIAN EXTRA DRY ITA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VOUVRAY DME DU PETIT COTEAU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ULLE NATURE EXTRA BRUT 2020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7.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ME DU MOULIN ANCESTRALE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Botteg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VINO POETI ROSE ITA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Cru La Maquelin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U LA MAQUELINE CREMANT B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De Chancen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LOIRE NATURE 2015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a:defRPr sz="800">
                          <a:latin typeface="Nexa Book"/>
                        </a:defRPr>
                      </a:pPr>
                      <a:r>
                        <a:t>Contarini</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CONTARINI BRUT ITA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5.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BORDX VALLON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LAIRETTE DIE DEA AUGUSTA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EMIERE BULLE BLANQUETTE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714</a:t>
            </a:fld>
            <a:endParaRPr lang="en-US"/>
          </a:p>
        </p:txBody>
      </p:sp>
    </p:spTree>
    <p:extLst>
      <p:ext uri="{BB962C8B-B14F-4D97-AF65-F5344CB8AC3E}">
        <p14:creationId xmlns:p14="http://schemas.microsoft.com/office/powerpoint/2010/main" val="245023010"/>
      </p:ext>
    </p:extLst>
  </p:cSld>
  <p:clrMapOvr>
    <a:masterClrMapping/>
  </p:clrMapOvr>
</p:sld>
</file>

<file path=ppt/slides/slide7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Mousseux | NICOLAS EST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D'ALSACE GISSELBREC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5.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Mur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D'ALSACE PRESTIGE BIO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D'ALSACE ROSE GISSE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D'ALSACE DOSAGE ZERO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Mur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D'ALSACE ROSE MURE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8.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D'ALSACE BULLES NOEMI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3.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D'ALSACE SPARR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7.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CARLO V CUVEE DEL ITA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Mur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1/2 CREMANT D'ALSACE PREST AC 1CT X 375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3.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CREMANT D'ALSACE GISSELB AC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5.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Savia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SAVIAN EXTRA DRY ITA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Patriarch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BOURG PATRIARCHE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8.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Botteg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VINO DEI POETI ITA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French Bloom S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H MONCONTOUR MILLESIME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Krit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GRUMES BULLES VIN MOUSSEUX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VEUVE DU VERNAY VIN MOUSSEUX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LAIRETTE DIE DEA AUGUSTA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Bouvet-Laduba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AUMUR BOUVET L CUV SAPHI M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De Chancen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LOIRE NATURE 2015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Contarini</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CONTARINI BRUT ITA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715</a:t>
            </a:fld>
            <a:endParaRPr lang="en-US"/>
          </a:p>
        </p:txBody>
      </p:sp>
    </p:spTree>
    <p:extLst>
      <p:ext uri="{BB962C8B-B14F-4D97-AF65-F5344CB8AC3E}">
        <p14:creationId xmlns:p14="http://schemas.microsoft.com/office/powerpoint/2010/main" val="4147932859"/>
      </p:ext>
    </p:extLst>
  </p:cSld>
  <p:clrMapOvr>
    <a:masterClrMapping/>
  </p:clrMapOvr>
</p:sld>
</file>

<file path=ppt/slides/slide7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Mousseux | CA A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CARLO V CUVEE DEL ITA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Botteg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VINO DEI POETI ITA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3.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a:defRPr sz="800">
                          <a:latin typeface="Nexa Book"/>
                        </a:defRPr>
                      </a:pPr>
                      <a:r>
                        <a:t>Savia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SAVIAN EXTRA DRY ITA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Patriarch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BOURG PATRIARCHE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Mur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D'ALSACE PRESTIGE BIO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French Bloom S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H MONCONTOUR MILLESIME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5.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Bouvet-Laduba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AUMUR BOUVET L CUV SAPHI M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De Chancen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LOIRE NATURE 2015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Patriarch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BOURG PATRIARCH ROS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7.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VOUVRAY DME DU PETIT COTEAU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Botteg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VINO POETI ROSE ITA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ERDON BUGEY ROSE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Krit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GRUMES BULLES VIN MOUSSEUX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LAIRETTE DIE DEA AUGUSTA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Contarini</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CONTARINI BRUT ITA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Cru La Maquelin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U LA MAQUELINE CREMANT B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DE LOIRE MONMOUS BL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VEUVE DU VERNAY VIN MOUSSEUX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Contarini</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PROSECCO CONTARINI BRUT ITA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AISON GALLICE SEYSSEL BRUT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716</a:t>
            </a:fld>
            <a:endParaRPr lang="en-US"/>
          </a:p>
        </p:txBody>
      </p:sp>
    </p:spTree>
    <p:extLst>
      <p:ext uri="{BB962C8B-B14F-4D97-AF65-F5344CB8AC3E}">
        <p14:creationId xmlns:p14="http://schemas.microsoft.com/office/powerpoint/2010/main" val="3931515628"/>
      </p:ext>
    </p:extLst>
  </p:cSld>
  <p:clrMapOvr>
    <a:masterClrMapping/>
  </p:clrMapOvr>
</p:sld>
</file>

<file path=ppt/slides/slide7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Mousseux | CA B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CARLO V CUVEE DEL ITA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Botteg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VINO DEI POETI ITA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6.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a:defRPr sz="800">
                          <a:latin typeface="Nexa Book"/>
                        </a:defRPr>
                      </a:pPr>
                      <a:r>
                        <a:t>Mur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D'ALSACE PRESTIGE BIO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6.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Patriarch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BOURG PATRIARCHE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5.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Bouvet-Laduba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AUMUR BOUVET L CUV SAPHI M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French Bloom S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H MONCONTOUR MILLESIME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Savia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SAVIAN EXTRA DRY ITA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De Chancen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LOIRE NATURE 2015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8.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Krit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GRUMES BULLES VIN MOUSSEUX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D'ALSACE GISSELBREC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VOUVRAY DME DU PETIT COTEAU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VOUVRAY DME BRUNET BRUT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Patriarch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BOURG PATRIARCH ROS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Botteg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VINO POETI ROSE ITA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Cru La Maquelin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U LA MAQUELINE CREMANT B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5.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VEUVE DU VERNAY VIN MOUSSEUX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7.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DE LOIRE MONMOUS BL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LAIRETTE DIE DEA AUGUSTA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Contarini</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CONTARINI BRUT ITA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LOIRE TERREBRUNE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717</a:t>
            </a:fld>
            <a:endParaRPr lang="en-US"/>
          </a:p>
        </p:txBody>
      </p:sp>
    </p:spTree>
    <p:extLst>
      <p:ext uri="{BB962C8B-B14F-4D97-AF65-F5344CB8AC3E}">
        <p14:creationId xmlns:p14="http://schemas.microsoft.com/office/powerpoint/2010/main" val="2089842275"/>
      </p:ext>
    </p:extLst>
  </p:cSld>
  <p:clrMapOvr>
    <a:masterClrMapping/>
  </p:clrMapOvr>
</p:sld>
</file>

<file path=ppt/slides/slide7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Mousseux | CA C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CARLO V CUVEE DEL ITA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Botteg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VINO DEI POETI ITA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a:defRPr sz="800">
                          <a:latin typeface="Nexa Book"/>
                        </a:defRPr>
                      </a:pPr>
                      <a:r>
                        <a:t>Savia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SAVIAN EXTRA DRY ITA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Patriarch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BOURG PATRIARCHE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6.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Mur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D'ALSACE PRESTIGE BIO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French Bloom S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H MONCONTOUR MILLESIME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Bouvet-Laduba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AUMUR BOUVET L CUV SAPHI M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De Chancen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LOIRE NATURE 2015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VOUVRAY DME DU PETIT COTEAU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5.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Patriarch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BOURG PATRIARCH ROS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Botteg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VINO POETI ROSE ITA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Krit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GRUMES BULLES VIN MOUSSEUX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3.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VEUVE DU VERNAY VIN MOUSSEUX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Cru La Maquelin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U LA MAQUELINE CREMANT B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LAIRETTE DIE DEA AUGUSTA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VOUVRAY DME BRUNET BRUT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a:defRPr sz="800">
                          <a:latin typeface="Nexa Book"/>
                        </a:defRPr>
                      </a:pPr>
                      <a:r>
                        <a:t>Contarini</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CONTARINI BRUT ITA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DE LOIRE MONMOUS BL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FRENCH CANCAN BRUT NATURE ROS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FRENCH CANCAN BRUT NATUR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718</a:t>
            </a:fld>
            <a:endParaRPr lang="en-US"/>
          </a:p>
        </p:txBody>
      </p:sp>
    </p:spTree>
    <p:extLst>
      <p:ext uri="{BB962C8B-B14F-4D97-AF65-F5344CB8AC3E}">
        <p14:creationId xmlns:p14="http://schemas.microsoft.com/office/powerpoint/2010/main" val="2082917839"/>
      </p:ext>
    </p:extLst>
  </p:cSld>
  <p:clrMapOvr>
    <a:masterClrMapping/>
  </p:clrMapOvr>
</p:sld>
</file>

<file path=ppt/slides/slide7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Mousseux | CA D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CARLO V CUVEE DEL ITA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Botteg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VINO DEI POETI ITA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a:defRPr sz="800">
                          <a:latin typeface="Nexa Book"/>
                        </a:defRPr>
                      </a:pPr>
                      <a:r>
                        <a:t>Patriarch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BOURG PATRIARCHE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3.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Mur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D'ALSACE PRESTIGE BIO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Savia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SAVIAN EXTRA DRY ITA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French Bloom S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H MONCONTOUR MILLESIME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Bouvet-Laduba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AUMUR BOUVET L CUV SAPHI M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De Chancen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LOIRE NATURE 2015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VOUVRAY DME DU PETIT COTEAU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Patriarch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BOURG PATRIARCH ROS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D'ALSACE GISSELBREC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Botteg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VINO POETI ROSE ITA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Krit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GRUMES BULLES VIN MOUSSEUX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6.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VEUVE DU VERNAY VIN MOUSSEUX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8.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VOUVRAY DME BRUNET BRUT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BOURGOGNE BISSEY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LAIRETTE DIE DEA AUGUSTA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Contarini</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CONTARINI BRUT ITA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Cru La Maquelin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U LA MAQUELINE CREMANT B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5.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EAMBULE TURBULENT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6.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719</a:t>
            </a:fld>
            <a:endParaRPr lang="en-US"/>
          </a:p>
        </p:txBody>
      </p:sp>
    </p:spTree>
    <p:extLst>
      <p:ext uri="{BB962C8B-B14F-4D97-AF65-F5344CB8AC3E}">
        <p14:creationId xmlns:p14="http://schemas.microsoft.com/office/powerpoint/2010/main" val="3901231068"/>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Blanc De Blancs | NICOLAS PAC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72</a:t>
            </a:fld>
            <a:endParaRPr lang="en-US"/>
          </a:p>
        </p:txBody>
      </p:sp>
    </p:spTree>
    <p:extLst>
      <p:ext uri="{BB962C8B-B14F-4D97-AF65-F5344CB8AC3E}">
        <p14:creationId xmlns:p14="http://schemas.microsoft.com/office/powerpoint/2010/main" val="3162650927"/>
      </p:ext>
    </p:extLst>
  </p:cSld>
  <p:clrMapOvr>
    <a:masterClrMapping/>
  </p:clrMapOvr>
</p:sld>
</file>

<file path=ppt/slides/slide7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Mousseux | CA E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CARLO V CUVEE DEL ITA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Patriarch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BOURG PATRIARCHE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a:defRPr sz="800">
                          <a:latin typeface="Nexa Book"/>
                        </a:defRPr>
                      </a:pPr>
                      <a:r>
                        <a:t>Mur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D'ALSACE PRESTIGE BIO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Botteg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VINO DEI POETI ITA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Bouvet-Laduba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AUMUR BOUVET L CUV SAPHI M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5.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French Bloom S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H MONCONTOUR MILLESIME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Savia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SAVIAN EXTRA DRY ITA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VOUVRAY DME BRUNET BRUT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Krit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GRUMES BULLES VIN MOUSSEUX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De Chancen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LOIRE NATURE 2015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VOUVRAY DME DU PETIT COTEAU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Patriarch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BOURG PATRIARCH ROS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Contarini</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CONTARINI BRUT ITA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VEUVE DU VERNAY VIN MOUSSEUX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6.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D'ALSACE GISSELBREC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LAIRETTE DIE DEA AUGUSTA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a:defRPr sz="800">
                          <a:latin typeface="Nexa Book"/>
                        </a:defRPr>
                      </a:pPr>
                      <a:r>
                        <a:t>Botteg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VINO POETI ROSE ITA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Cru La Maquelin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U LA MAQUELINE CREMANT B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DE LOIRE MONMOUS BL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3.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EAMBULE TURBULENT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720</a:t>
            </a:fld>
            <a:endParaRPr lang="en-US"/>
          </a:p>
        </p:txBody>
      </p:sp>
    </p:spTree>
    <p:extLst>
      <p:ext uri="{BB962C8B-B14F-4D97-AF65-F5344CB8AC3E}">
        <p14:creationId xmlns:p14="http://schemas.microsoft.com/office/powerpoint/2010/main" val="479304395"/>
      </p:ext>
    </p:extLst>
  </p:cSld>
  <p:clrMapOvr>
    <a:masterClrMapping/>
  </p:clrMapOvr>
</p:sld>
</file>

<file path=ppt/slides/slide7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Effervescents Sans Alcool | NICOLAS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5"/>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469057">
                <a:tc>
                  <a:txBody>
                    <a:bodyPr/>
                    <a:lstStyle/>
                    <a:p>
                      <a:pPr algn="ctr">
                        <a:defRPr sz="800">
                          <a:latin typeface="Nexa Book"/>
                        </a:defRPr>
                      </a:pPr>
                      <a:r>
                        <a:t>De Chancen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FRENCH BLOOM BLAN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469057">
                <a:tc>
                  <a:txBody>
                    <a:bodyPr/>
                    <a:lstStyle/>
                    <a:p>
                      <a:pPr algn="ctr">
                        <a:defRPr sz="800">
                          <a:latin typeface="Nexa Book"/>
                        </a:defRPr>
                      </a:pPr>
                      <a:r>
                        <a:t>Lyre'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YRE'S CLASSICO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469057">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FRENCH BLOOM ROS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469057">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VEUVE DU VERNAY VIN MOUSS 0,5%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469057">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NECTAROSE SPARKLING 0% AL 73CL 1CT X 73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469057">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ERLES LOUIS VALLON BL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469057">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ERLES LOUIS VALLON ROS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721</a:t>
            </a:fld>
            <a:endParaRPr lang="en-US"/>
          </a:p>
        </p:txBody>
      </p:sp>
    </p:spTree>
    <p:extLst>
      <p:ext uri="{BB962C8B-B14F-4D97-AF65-F5344CB8AC3E}">
        <p14:creationId xmlns:p14="http://schemas.microsoft.com/office/powerpoint/2010/main" val="3264977052"/>
      </p:ext>
    </p:extLst>
  </p:cSld>
  <p:clrMapOvr>
    <a:masterClrMapping/>
  </p:clrMapOvr>
</p:sld>
</file>

<file path=ppt/slides/slide7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Effervescents Sans Alcool | NICOLAS QCN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656680">
                <a:tc>
                  <a:txBody>
                    <a:bodyPr/>
                    <a:lstStyle/>
                    <a:p>
                      <a:pPr algn="ctr">
                        <a:defRPr sz="800">
                          <a:latin typeface="Nexa Book"/>
                        </a:defRPr>
                      </a:pPr>
                      <a:r>
                        <a:t>De Chancen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FRENCH BLOOM BLAN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656680">
                <a:tc>
                  <a:txBody>
                    <a:bodyPr/>
                    <a:lstStyle/>
                    <a:p>
                      <a:pPr algn="ctr">
                        <a:defRPr sz="800">
                          <a:latin typeface="Nexa Book"/>
                        </a:defRPr>
                      </a:pPr>
                      <a:r>
                        <a:t>Lyre'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YRE'S CLASSICO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65668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VEUVE DU VERNAY VIN MOUSS 0,5%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65668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FRENCH BLOOM ROS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65668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NECTAROSE SPARKLING 0% AL 73CL 1CT X 73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722</a:t>
            </a:fld>
            <a:endParaRPr lang="en-US"/>
          </a:p>
        </p:txBody>
      </p:sp>
    </p:spTree>
    <p:extLst>
      <p:ext uri="{BB962C8B-B14F-4D97-AF65-F5344CB8AC3E}">
        <p14:creationId xmlns:p14="http://schemas.microsoft.com/office/powerpoint/2010/main" val="3191156198"/>
      </p:ext>
    </p:extLst>
  </p:cSld>
  <p:clrMapOvr>
    <a:masterClrMapping/>
  </p:clrMapOvr>
</p:sld>
</file>

<file path=ppt/slides/slide7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Effervescents Sans Alcool | NICOLAS VCN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656680">
                <a:tc>
                  <a:txBody>
                    <a:bodyPr/>
                    <a:lstStyle/>
                    <a:p>
                      <a:pPr algn="ctr">
                        <a:defRPr sz="800">
                          <a:latin typeface="Nexa Book"/>
                        </a:defRPr>
                      </a:pPr>
                      <a:r>
                        <a:t>De Chancen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FRENCH BLOOM BLAN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656680">
                <a:tc>
                  <a:txBody>
                    <a:bodyPr/>
                    <a:lstStyle/>
                    <a:p>
                      <a:pPr algn="ctr">
                        <a:defRPr sz="800">
                          <a:latin typeface="Nexa Book"/>
                        </a:defRPr>
                      </a:pPr>
                      <a:r>
                        <a:t>Lyre'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YRE'S CLASSICO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65668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VEUVE DU VERNAY VIN MOUSS 0,5%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65668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FRENCH BLOOM ROS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65668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NECTAROSE SPARKLING 0% AL 73CL 1CT X 73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723</a:t>
            </a:fld>
            <a:endParaRPr lang="en-US"/>
          </a:p>
        </p:txBody>
      </p:sp>
    </p:spTree>
    <p:extLst>
      <p:ext uri="{BB962C8B-B14F-4D97-AF65-F5344CB8AC3E}">
        <p14:creationId xmlns:p14="http://schemas.microsoft.com/office/powerpoint/2010/main" val="199294741"/>
      </p:ext>
    </p:extLst>
  </p:cSld>
  <p:clrMapOvr>
    <a:masterClrMapping/>
  </p:clrMapOvr>
</p:sld>
</file>

<file path=ppt/slides/slide7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Effervescents Sans Alcool | NICOLAS QCT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656680">
                <a:tc>
                  <a:txBody>
                    <a:bodyPr/>
                    <a:lstStyle/>
                    <a:p>
                      <a:pPr algn="ctr">
                        <a:defRPr sz="800">
                          <a:latin typeface="Nexa Book"/>
                        </a:defRPr>
                      </a:pPr>
                      <a:r>
                        <a:t>De Chancen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FRENCH BLOOM BLAN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656680">
                <a:tc>
                  <a:txBody>
                    <a:bodyPr/>
                    <a:lstStyle/>
                    <a:p>
                      <a:pPr algn="ctr">
                        <a:defRPr sz="800">
                          <a:latin typeface="Nexa Book"/>
                        </a:defRPr>
                      </a:pPr>
                      <a:r>
                        <a:t>Lyre'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YRE'S CLASSICO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65668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FRENCH BLOOM ROS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8.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65668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VEUVE DU VERNAY VIN MOUSS 0,5%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65668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NECTAROSE SPARKLING 0% AL 73CL 1CT X 73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724</a:t>
            </a:fld>
            <a:endParaRPr lang="en-US"/>
          </a:p>
        </p:txBody>
      </p:sp>
    </p:spTree>
    <p:extLst>
      <p:ext uri="{BB962C8B-B14F-4D97-AF65-F5344CB8AC3E}">
        <p14:creationId xmlns:p14="http://schemas.microsoft.com/office/powerpoint/2010/main" val="468624371"/>
      </p:ext>
    </p:extLst>
  </p:cSld>
  <p:clrMapOvr>
    <a:masterClrMapping/>
  </p:clrMapOvr>
</p:sld>
</file>

<file path=ppt/slides/slide7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Effervescents Sans Alcool | NICOLAS QCA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656680">
                <a:tc>
                  <a:txBody>
                    <a:bodyPr/>
                    <a:lstStyle/>
                    <a:p>
                      <a:pPr algn="ctr">
                        <a:defRPr sz="800">
                          <a:latin typeface="Nexa Book"/>
                        </a:defRPr>
                      </a:pPr>
                      <a:r>
                        <a:t>De Chancen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FRENCH BLOOM BLAN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656680">
                <a:tc>
                  <a:txBody>
                    <a:bodyPr/>
                    <a:lstStyle/>
                    <a:p>
                      <a:pPr algn="ctr">
                        <a:defRPr sz="800">
                          <a:latin typeface="Nexa Book"/>
                        </a:defRPr>
                      </a:pPr>
                      <a:r>
                        <a:t>Lyre'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YRE'S CLASSICO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65668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FRENCH BLOOM ROS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65668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VEUVE DU VERNAY VIN MOUSS 0,5%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65668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NECTAROSE SPARKLING 0% AL 73CL 1CT X 73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725</a:t>
            </a:fld>
            <a:endParaRPr lang="en-US"/>
          </a:p>
        </p:txBody>
      </p:sp>
    </p:spTree>
    <p:extLst>
      <p:ext uri="{BB962C8B-B14F-4D97-AF65-F5344CB8AC3E}">
        <p14:creationId xmlns:p14="http://schemas.microsoft.com/office/powerpoint/2010/main" val="1577423104"/>
      </p:ext>
    </p:extLst>
  </p:cSld>
  <p:clrMapOvr>
    <a:masterClrMapping/>
  </p:clrMapOvr>
</p:sld>
</file>

<file path=ppt/slides/slide7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Effervescents Sans Alcool | NICOLAS CCP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656680">
                <a:tc>
                  <a:txBody>
                    <a:bodyPr/>
                    <a:lstStyle/>
                    <a:p>
                      <a:pPr algn="ctr">
                        <a:defRPr sz="800">
                          <a:latin typeface="Nexa Book"/>
                        </a:defRPr>
                      </a:pPr>
                      <a:r>
                        <a:t>De Chancen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FRENCH BLOOM BLAN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656680">
                <a:tc>
                  <a:txBody>
                    <a:bodyPr/>
                    <a:lstStyle/>
                    <a:p>
                      <a:pPr algn="ctr">
                        <a:defRPr sz="800">
                          <a:latin typeface="Nexa Book"/>
                        </a:defRPr>
                      </a:pPr>
                      <a:r>
                        <a:t>Lyre'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YRE'S CLASSICO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65668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VEUVE DU VERNAY VIN MOUSS 0,5%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65668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FRENCH BLOOM ROS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65668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NECTAROSE SPARKLING 0% AL 73CL 1CT X 73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726</a:t>
            </a:fld>
            <a:endParaRPr lang="en-US"/>
          </a:p>
        </p:txBody>
      </p:sp>
    </p:spTree>
    <p:extLst>
      <p:ext uri="{BB962C8B-B14F-4D97-AF65-F5344CB8AC3E}">
        <p14:creationId xmlns:p14="http://schemas.microsoft.com/office/powerpoint/2010/main" val="85595960"/>
      </p:ext>
    </p:extLst>
  </p:cSld>
  <p:clrMapOvr>
    <a:masterClrMapping/>
  </p:clrMapOvr>
</p:sld>
</file>

<file path=ppt/slides/slide7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Effervescents Sans Alcool | NICOLAS IDF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656680">
                <a:tc>
                  <a:txBody>
                    <a:bodyPr/>
                    <a:lstStyle/>
                    <a:p>
                      <a:pPr algn="ctr">
                        <a:defRPr sz="800">
                          <a:latin typeface="Nexa Book"/>
                        </a:defRPr>
                      </a:pPr>
                      <a:r>
                        <a:t>De Chancen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FRENCH BLOOM BLAN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656680">
                <a:tc>
                  <a:txBody>
                    <a:bodyPr/>
                    <a:lstStyle/>
                    <a:p>
                      <a:pPr algn="ctr">
                        <a:defRPr sz="800">
                          <a:latin typeface="Nexa Book"/>
                        </a:defRPr>
                      </a:pPr>
                      <a:r>
                        <a:t>Lyre'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YRE'S CLASSICO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65668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FRENCH BLOOM ROS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65668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VEUVE DU VERNAY VIN MOUSS 0,5%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65668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NECTAROSE SPARKLING 0% AL 73CL 1CT X 73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727</a:t>
            </a:fld>
            <a:endParaRPr lang="en-US"/>
          </a:p>
        </p:txBody>
      </p:sp>
    </p:spTree>
    <p:extLst>
      <p:ext uri="{BB962C8B-B14F-4D97-AF65-F5344CB8AC3E}">
        <p14:creationId xmlns:p14="http://schemas.microsoft.com/office/powerpoint/2010/main" val="4208745414"/>
      </p:ext>
    </p:extLst>
  </p:cSld>
  <p:clrMapOvr>
    <a:masterClrMapping/>
  </p:clrMapOvr>
</p:sld>
</file>

<file path=ppt/slides/slide7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Effervescents Sans Alcool | NICOLAS PAC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656680">
                <a:tc>
                  <a:txBody>
                    <a:bodyPr/>
                    <a:lstStyle/>
                    <a:p>
                      <a:pPr algn="ctr">
                        <a:defRPr sz="800">
                          <a:latin typeface="Nexa Book"/>
                        </a:defRPr>
                      </a:pPr>
                      <a:r>
                        <a:t>De Chancen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FRENCH BLOOM BLAN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656680">
                <a:tc>
                  <a:txBody>
                    <a:bodyPr/>
                    <a:lstStyle/>
                    <a:p>
                      <a:pPr algn="ctr">
                        <a:defRPr sz="800">
                          <a:latin typeface="Nexa Book"/>
                        </a:defRPr>
                      </a:pPr>
                      <a:r>
                        <a:t>Lyre'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YRE'S CLASSICO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65668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FRENCH BLOOM ROS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65668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VEUVE DU VERNAY VIN MOUSS 0,5%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65668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NECTAROSE SPARKLING 0% AL 73CL 1CT X 73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728</a:t>
            </a:fld>
            <a:endParaRPr lang="en-US"/>
          </a:p>
        </p:txBody>
      </p:sp>
    </p:spTree>
    <p:extLst>
      <p:ext uri="{BB962C8B-B14F-4D97-AF65-F5344CB8AC3E}">
        <p14:creationId xmlns:p14="http://schemas.microsoft.com/office/powerpoint/2010/main" val="2219650480"/>
      </p:ext>
    </p:extLst>
  </p:cSld>
  <p:clrMapOvr>
    <a:masterClrMapping/>
  </p:clrMapOvr>
</p:sld>
</file>

<file path=ppt/slides/slide7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Effervescents Sans Alcool | NICOLAS RHO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656680">
                <a:tc>
                  <a:txBody>
                    <a:bodyPr/>
                    <a:lstStyle/>
                    <a:p>
                      <a:pPr algn="ctr">
                        <a:defRPr sz="800">
                          <a:latin typeface="Nexa Book"/>
                        </a:defRPr>
                      </a:pPr>
                      <a:r>
                        <a:t>De Chancen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FRENCH BLOOM BLAN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656680">
                <a:tc>
                  <a:txBody>
                    <a:bodyPr/>
                    <a:lstStyle/>
                    <a:p>
                      <a:pPr algn="ctr">
                        <a:defRPr sz="800">
                          <a:latin typeface="Nexa Book"/>
                        </a:defRPr>
                      </a:pPr>
                      <a:r>
                        <a:t>Lyre'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YRE'S CLASSICO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65668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VEUVE DU VERNAY VIN MOUSS 0,5%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5.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65668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FRENCH BLOOM ROS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65668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NECTAROSE SPARKLING 0% AL 73CL 1CT X 73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729</a:t>
            </a:fld>
            <a:endParaRPr lang="en-US"/>
          </a:p>
        </p:txBody>
      </p:sp>
    </p:spTree>
    <p:extLst>
      <p:ext uri="{BB962C8B-B14F-4D97-AF65-F5344CB8AC3E}">
        <p14:creationId xmlns:p14="http://schemas.microsoft.com/office/powerpoint/2010/main" val="870153235"/>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Blanc De Blancs | NICOLAS RHO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73</a:t>
            </a:fld>
            <a:endParaRPr lang="en-US"/>
          </a:p>
        </p:txBody>
      </p:sp>
    </p:spTree>
    <p:extLst>
      <p:ext uri="{BB962C8B-B14F-4D97-AF65-F5344CB8AC3E}">
        <p14:creationId xmlns:p14="http://schemas.microsoft.com/office/powerpoint/2010/main" val="4155643807"/>
      </p:ext>
    </p:extLst>
  </p:cSld>
  <p:clrMapOvr>
    <a:masterClrMapping/>
  </p:clrMapOvr>
</p:sld>
</file>

<file path=ppt/slides/slide7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Effervescents Sans Alcool | NICOLAS AQU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5"/>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469057">
                <a:tc>
                  <a:txBody>
                    <a:bodyPr/>
                    <a:lstStyle/>
                    <a:p>
                      <a:pPr algn="ctr">
                        <a:defRPr sz="800">
                          <a:latin typeface="Nexa Book"/>
                        </a:defRPr>
                      </a:pPr>
                      <a:r>
                        <a:t>De Chancen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FRENCH BLOOM BLAN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3.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469057">
                <a:tc>
                  <a:txBody>
                    <a:bodyPr/>
                    <a:lstStyle/>
                    <a:p>
                      <a:pPr algn="ctr">
                        <a:defRPr sz="800">
                          <a:latin typeface="Nexa Book"/>
                        </a:defRPr>
                      </a:pPr>
                      <a:r>
                        <a:t>Lyre'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YRE'S CLASSICO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469057">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VEUVE DU VERNAY VIN MOUSS 0,5%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469057">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FRENCH BLOOM ROS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469057">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NECTAROSE SPARKLING 0% AL 73CL 1CT X 73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469057">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ERLES LOUIS VALLON BL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469057">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ERLES LOUIS VALLON ROS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730</a:t>
            </a:fld>
            <a:endParaRPr lang="en-US"/>
          </a:p>
        </p:txBody>
      </p:sp>
    </p:spTree>
    <p:extLst>
      <p:ext uri="{BB962C8B-B14F-4D97-AF65-F5344CB8AC3E}">
        <p14:creationId xmlns:p14="http://schemas.microsoft.com/office/powerpoint/2010/main" val="1537874325"/>
      </p:ext>
    </p:extLst>
  </p:cSld>
  <p:clrMapOvr>
    <a:masterClrMapping/>
  </p:clrMapOvr>
</p:sld>
</file>

<file path=ppt/slides/slide7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Effervescents Sans Alcool | NICOLAS EST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656680">
                <a:tc>
                  <a:txBody>
                    <a:bodyPr/>
                    <a:lstStyle/>
                    <a:p>
                      <a:pPr algn="ctr">
                        <a:defRPr sz="800">
                          <a:latin typeface="Nexa Book"/>
                        </a:defRPr>
                      </a:pPr>
                      <a:r>
                        <a:t>De Chancen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FRENCH BLOOM BLAN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656680">
                <a:tc>
                  <a:txBody>
                    <a:bodyPr/>
                    <a:lstStyle/>
                    <a:p>
                      <a:pPr algn="ctr">
                        <a:defRPr sz="800">
                          <a:latin typeface="Nexa Book"/>
                        </a:defRPr>
                      </a:pPr>
                      <a:r>
                        <a:t>Lyre'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YRE'S CLASSICO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65668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FRENCH BLOOM ROS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4.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65668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NECTAROSE SPARKLING 0% AL 73CL 1CT X 73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65668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VEUVE DU VERNAY VIN MOUSS 0,5%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731</a:t>
            </a:fld>
            <a:endParaRPr lang="en-US"/>
          </a:p>
        </p:txBody>
      </p:sp>
    </p:spTree>
    <p:extLst>
      <p:ext uri="{BB962C8B-B14F-4D97-AF65-F5344CB8AC3E}">
        <p14:creationId xmlns:p14="http://schemas.microsoft.com/office/powerpoint/2010/main" val="3134052386"/>
      </p:ext>
    </p:extLst>
  </p:cSld>
  <p:clrMapOvr>
    <a:masterClrMapping/>
  </p:clrMapOvr>
</p:sld>
</file>

<file path=ppt/slides/slide7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Effervescents Sans Alcool | CA A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656680">
                <a:tc>
                  <a:txBody>
                    <a:bodyPr/>
                    <a:lstStyle/>
                    <a:p>
                      <a:pPr algn="ctr">
                        <a:defRPr sz="800">
                          <a:latin typeface="Nexa Book"/>
                        </a:defRPr>
                      </a:pPr>
                      <a:r>
                        <a:t>De Chancen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FRENCH BLOOM BLAN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656680">
                <a:tc>
                  <a:txBody>
                    <a:bodyPr/>
                    <a:lstStyle/>
                    <a:p>
                      <a:pPr algn="ctr">
                        <a:defRPr sz="800">
                          <a:latin typeface="Nexa Book"/>
                        </a:defRPr>
                      </a:pPr>
                      <a:r>
                        <a:t>Lyre'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YRE'S CLASSICO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8.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65668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FRENCH BLOOM ROS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8.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65668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VEUVE DU VERNAY VIN MOUSS 0,5%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65668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NECTAROSE SPARKLING 0% AL 73CL 1CT X 73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732</a:t>
            </a:fld>
            <a:endParaRPr lang="en-US"/>
          </a:p>
        </p:txBody>
      </p:sp>
    </p:spTree>
    <p:extLst>
      <p:ext uri="{BB962C8B-B14F-4D97-AF65-F5344CB8AC3E}">
        <p14:creationId xmlns:p14="http://schemas.microsoft.com/office/powerpoint/2010/main" val="553031193"/>
      </p:ext>
    </p:extLst>
  </p:cSld>
  <p:clrMapOvr>
    <a:masterClrMapping/>
  </p:clrMapOvr>
</p:sld>
</file>

<file path=ppt/slides/slide7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Effervescents Sans Alcool | CA B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656680">
                <a:tc>
                  <a:txBody>
                    <a:bodyPr/>
                    <a:lstStyle/>
                    <a:p>
                      <a:pPr algn="ctr">
                        <a:defRPr sz="800">
                          <a:latin typeface="Nexa Book"/>
                        </a:defRPr>
                      </a:pPr>
                      <a:r>
                        <a:t>De Chancen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FRENCH BLOOM BLAN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656680">
                <a:tc>
                  <a:txBody>
                    <a:bodyPr/>
                    <a:lstStyle/>
                    <a:p>
                      <a:pPr algn="ctr">
                        <a:defRPr sz="800">
                          <a:latin typeface="Nexa Book"/>
                        </a:defRPr>
                      </a:pPr>
                      <a:r>
                        <a:t>Lyre'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YRE'S CLASSICO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65668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FRENCH BLOOM ROS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8.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65668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VEUVE DU VERNAY VIN MOUSS 0,5%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65668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NECTAROSE SPARKLING 0% AL 73CL 1CT X 73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733</a:t>
            </a:fld>
            <a:endParaRPr lang="en-US"/>
          </a:p>
        </p:txBody>
      </p:sp>
    </p:spTree>
    <p:extLst>
      <p:ext uri="{BB962C8B-B14F-4D97-AF65-F5344CB8AC3E}">
        <p14:creationId xmlns:p14="http://schemas.microsoft.com/office/powerpoint/2010/main" val="2222734230"/>
      </p:ext>
    </p:extLst>
  </p:cSld>
  <p:clrMapOvr>
    <a:masterClrMapping/>
  </p:clrMapOvr>
</p:sld>
</file>

<file path=ppt/slides/slide7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Effervescents Sans Alcool | CA C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5"/>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469057">
                <a:tc>
                  <a:txBody>
                    <a:bodyPr/>
                    <a:lstStyle/>
                    <a:p>
                      <a:pPr algn="ctr">
                        <a:defRPr sz="800">
                          <a:latin typeface="Nexa Book"/>
                        </a:defRPr>
                      </a:pPr>
                      <a:r>
                        <a:t>De Chancen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FRENCH BLOOM BLAN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469057">
                <a:tc>
                  <a:txBody>
                    <a:bodyPr/>
                    <a:lstStyle/>
                    <a:p>
                      <a:pPr algn="ctr">
                        <a:defRPr sz="800">
                          <a:latin typeface="Nexa Book"/>
                        </a:defRPr>
                      </a:pPr>
                      <a:r>
                        <a:t>Lyre'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YRE'S CLASSICO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469057">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FRENCH BLOOM ROS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6.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469057">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VEUVE DU VERNAY VIN MOUSS 0,5%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469057">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NECTAROSE SPARKLING 0% AL 73CL 1CT X 73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469057">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ERLES LOUIS VALLON BL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469057">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ERLES LOUIS VALLON ROS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734</a:t>
            </a:fld>
            <a:endParaRPr lang="en-US"/>
          </a:p>
        </p:txBody>
      </p:sp>
    </p:spTree>
    <p:extLst>
      <p:ext uri="{BB962C8B-B14F-4D97-AF65-F5344CB8AC3E}">
        <p14:creationId xmlns:p14="http://schemas.microsoft.com/office/powerpoint/2010/main" val="4141129620"/>
      </p:ext>
    </p:extLst>
  </p:cSld>
  <p:clrMapOvr>
    <a:masterClrMapping/>
  </p:clrMapOvr>
</p:sld>
</file>

<file path=ppt/slides/slide7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Effervescents Sans Alcool | CA D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656680">
                <a:tc>
                  <a:txBody>
                    <a:bodyPr/>
                    <a:lstStyle/>
                    <a:p>
                      <a:pPr algn="ctr">
                        <a:defRPr sz="800">
                          <a:latin typeface="Nexa Book"/>
                        </a:defRPr>
                      </a:pPr>
                      <a:r>
                        <a:t>De Chancen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FRENCH BLOOM BLAN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5.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656680">
                <a:tc>
                  <a:txBody>
                    <a:bodyPr/>
                    <a:lstStyle/>
                    <a:p>
                      <a:pPr algn="ctr">
                        <a:defRPr sz="800">
                          <a:latin typeface="Nexa Book"/>
                        </a:defRPr>
                      </a:pPr>
                      <a:r>
                        <a:t>Lyre'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YRE'S CLASSICO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65668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VEUVE DU VERNAY VIN MOUSS 0,5%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65668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FRENCH BLOOM ROS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65668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NECTAROSE SPARKLING 0% AL 73CL 1CT X 73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735</a:t>
            </a:fld>
            <a:endParaRPr lang="en-US"/>
          </a:p>
        </p:txBody>
      </p:sp>
    </p:spTree>
    <p:extLst>
      <p:ext uri="{BB962C8B-B14F-4D97-AF65-F5344CB8AC3E}">
        <p14:creationId xmlns:p14="http://schemas.microsoft.com/office/powerpoint/2010/main" val="3864385375"/>
      </p:ext>
    </p:extLst>
  </p:cSld>
  <p:clrMapOvr>
    <a:masterClrMapping/>
  </p:clrMapOvr>
</p:sld>
</file>

<file path=ppt/slides/slide7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Effervescents Sans Alcool | CA E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4"/>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547233">
                <a:tc>
                  <a:txBody>
                    <a:bodyPr/>
                    <a:lstStyle/>
                    <a:p>
                      <a:pPr algn="ctr">
                        <a:defRPr sz="800">
                          <a:latin typeface="Nexa Book"/>
                        </a:defRPr>
                      </a:pPr>
                      <a:r>
                        <a:t>De Chancen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FRENCH BLOOM BLAN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547233">
                <a:tc>
                  <a:txBody>
                    <a:bodyPr/>
                    <a:lstStyle/>
                    <a:p>
                      <a:pPr algn="ctr">
                        <a:defRPr sz="800">
                          <a:latin typeface="Nexa Book"/>
                        </a:defRPr>
                      </a:pPr>
                      <a:r>
                        <a:t>Lyre'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YRE'S CLASSICO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547233">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VEUVE DU VERNAY VIN MOUSS 0,5%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547233">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FRENCH BLOOM ROS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547233">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NECTAROSE SPARKLING 0% AL 73CL 1CT X 73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547233">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ERLES LOUIS VALLON ROS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736</a:t>
            </a:fld>
            <a:endParaRPr lang="en-US"/>
          </a:p>
        </p:txBody>
      </p:sp>
    </p:spTree>
    <p:extLst>
      <p:ext uri="{BB962C8B-B14F-4D97-AF65-F5344CB8AC3E}">
        <p14:creationId xmlns:p14="http://schemas.microsoft.com/office/powerpoint/2010/main" val="242746203"/>
      </p:ext>
    </p:extLst>
  </p:cSld>
  <p:clrMapOvr>
    <a:masterClrMapping/>
  </p:clrMapOvr>
</p:sld>
</file>

<file path=ppt/slides/slide7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Blanc De Blancs | NICOLAS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LANC DE BLANCS (NU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LANC DE BLANCS SECOND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5.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RUINART BLC DE BLANC SECOND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Malard</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ALARD GRAND CRU BLC DE BLANCS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7.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CHAMPAGNE NICOLAS BLC/BLC BS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5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7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1102895257"/>
                  </a:ext>
                </a:extLst>
              </a:tr>
              <a:tr h="164170">
                <a:tc>
                  <a:txBody>
                    <a:bodyPr/>
                    <a:lstStyle/>
                    <a:p>
                      <a:pPr algn="ctr">
                        <a:defRPr sz="800">
                          <a:latin typeface="Nexa Book"/>
                        </a:defRPr>
                      </a:pPr>
                      <a:r>
                        <a:t>Besserat De Bellef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ESSERAT BELLEFON BLC DE BLCS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5.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1/2 RUINART BLANC DE BLANCS 1CT X 375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De Blign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HAMPAGNE CH DE BLIGNY BLC/BL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Delamo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HAMPAGNE DELAMOTTE BLC/BLCS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Henrio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HENRIOT BLANC DE BLANCS ETUI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Ayal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YALA A/18 BLC BLCS EXTRA 2018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6.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De Venog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E VENOGE PRINCES BLC DE BLCS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Perrier Joue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ERRIER JOUET SHAPE BLC BLCS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Henrio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HENRIOT BLANC DE BLANCS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Deutz</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EUTZ "AMOUR DE DEUTZ" 2013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OM RUINART EXT BRUT SECO 2010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 MESNIL BLANC DE BLANCS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1/2 CHAMP NICOLAS BLC/BLC BS 1CT X 375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3682606022"/>
                  </a:ext>
                </a:extLst>
              </a:tr>
              <a:tr h="164170">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MG CHAMPAGNE NICOLAS BLC/BL BS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2959808831"/>
                  </a:ext>
                </a:extLst>
              </a:tr>
              <a:tr h="164170">
                <a:tc>
                  <a:txBody>
                    <a:bodyPr/>
                    <a:lstStyle/>
                    <a:p>
                      <a:pPr algn="ctr">
                        <a:defRPr sz="800">
                          <a:latin typeface="Nexa Book"/>
                        </a:defRPr>
                      </a:pPr>
                      <a:r>
                        <a:t>Taitting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TAITTINGER COMTES CHAMPAG 2012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737</a:t>
            </a:fld>
            <a:endParaRPr lang="en-US"/>
          </a:p>
        </p:txBody>
      </p:sp>
    </p:spTree>
    <p:extLst>
      <p:ext uri="{BB962C8B-B14F-4D97-AF65-F5344CB8AC3E}">
        <p14:creationId xmlns:p14="http://schemas.microsoft.com/office/powerpoint/2010/main" val="1424187013"/>
      </p:ext>
    </p:extLst>
  </p:cSld>
  <p:clrMapOvr>
    <a:masterClrMapping/>
  </p:clrMapOvr>
</p:sld>
</file>

<file path=ppt/slides/slide7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Blanc De Blancs | NICOLAS QCN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LANC DE BLANCS (NU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LANC DE BLANCS SECOND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a:defRPr sz="800">
                          <a:latin typeface="Nexa Book"/>
                        </a:defRPr>
                      </a:pPr>
                      <a:r>
                        <a:t>Malard</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ALARD GRAND CRU BLC DE BLANCS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CHAMPAGNE NICOLAS BLC/BLC BS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5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65.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2166894017"/>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RUINART BLC DE BLANC SECOND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Besserat De Bellef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ESSERAT BELLEFON BLC DE BLCS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De Blign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HAMPAGNE CH DE BLIGNY BLC/BL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Delamo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HAMPAGNE DELAMOTTE BLC/BLCS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1/2 RUINART BLANC DE BLANCS 1CT X 375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Henrio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HENRIOT BLANC DE BLANCS ETUI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4.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Henrio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HENRIOT BLANC DE BLANCS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6.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Ayal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YALA A/18 BLC BLCS EXTRA 2018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8.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De Venog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E VENOGE PRINCES BLC DE BLCS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Perrier Joue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ERRIER JOUET SHAPE BLC BLCS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OM RUINART EXT BRUT SECO 2010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MG CHAMPAGNE NICOLAS BLC/BL BS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4.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3490141980"/>
                  </a:ext>
                </a:extLst>
              </a:tr>
              <a:tr h="164170">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1/2 CHAMP NICOLAS BLC/BLC BS 1CT X 375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4.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720551800"/>
                  </a:ext>
                </a:extLst>
              </a:tr>
              <a:tr h="164170">
                <a:tc>
                  <a:txBody>
                    <a:bodyPr/>
                    <a:lstStyle/>
                    <a:p>
                      <a:pPr algn="ctr">
                        <a:defRPr sz="800">
                          <a:latin typeface="Nexa Book"/>
                        </a:defRPr>
                      </a:pPr>
                      <a:r>
                        <a:t>Deutz</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EUTZ "AMOUR DE DEUTZ" 2013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Taitting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TAITTINGER COMTES CHAMPAG 2012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Lans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ANSON BLANC DE BLANCS ETUI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738</a:t>
            </a:fld>
            <a:endParaRPr lang="en-US"/>
          </a:p>
        </p:txBody>
      </p:sp>
    </p:spTree>
    <p:extLst>
      <p:ext uri="{BB962C8B-B14F-4D97-AF65-F5344CB8AC3E}">
        <p14:creationId xmlns:p14="http://schemas.microsoft.com/office/powerpoint/2010/main" val="1325817236"/>
      </p:ext>
    </p:extLst>
  </p:cSld>
  <p:clrMapOvr>
    <a:masterClrMapping/>
  </p:clrMapOvr>
</p:sld>
</file>

<file path=ppt/slides/slide7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Blanc De Blancs | NICOLAS VCN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LANC DE BLANCS (NU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LANC DE BLANCS SECOND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3.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RUINART BLC DE BLANC SECOND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CHAMPAGNE NICOLAS BLC/BLC BS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5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6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2166894017"/>
                  </a:ext>
                </a:extLst>
              </a:tr>
              <a:tr h="164170">
                <a:tc>
                  <a:txBody>
                    <a:bodyPr/>
                    <a:lstStyle/>
                    <a:p>
                      <a:pPr algn="ctr">
                        <a:defRPr sz="800">
                          <a:latin typeface="Nexa Book"/>
                        </a:defRPr>
                      </a:pPr>
                      <a:r>
                        <a:t>Malard</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ALARD GRAND CRU BLC DE BLANCS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Besserat De Bellef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ESSERAT BELLEFON BLC DE BLCS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4.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 MESNIL BLANC DE BLANCS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7.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De Blign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HAMPAGNE CH DE BLIGNY BLC/BL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Henrio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HENRIOT BLANC DE BLANCS ETUI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Ayal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YALA A/18 BLC BLCS EXTRA 2018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4.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1/2 RUINART BLANC DE BLANCS 1CT X 375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Delamo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HAMPAGNE DELAMOTTE BLC/BLCS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De Venog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E VENOGE PRINCES BLC DE BLCS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Henrio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HENRIOT BLANC DE BLANCS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Deutz</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EUTZ "AMOUR DE DEUTZ" 2013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Perrier Joue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ERRIER JOUET SHAPE BLC BLCS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OM RUINART EXT BRUT SECO 2010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LE MESNIL BLC DE BLCS BRUT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MG CHAMPAGNE NICOLAS BLC/BL BS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4.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2959808831"/>
                  </a:ext>
                </a:extLst>
              </a:tr>
              <a:tr h="164170">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1/2 CHAMP NICOLAS BLC/BLC BS 1CT X 375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5.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739</a:t>
            </a:fld>
            <a:endParaRPr lang="en-US"/>
          </a:p>
        </p:txBody>
      </p:sp>
    </p:spTree>
    <p:extLst>
      <p:ext uri="{BB962C8B-B14F-4D97-AF65-F5344CB8AC3E}">
        <p14:creationId xmlns:p14="http://schemas.microsoft.com/office/powerpoint/2010/main" val="557544711"/>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Blanc De Blancs | NICOLAS AQU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74</a:t>
            </a:fld>
            <a:endParaRPr lang="en-US"/>
          </a:p>
        </p:txBody>
      </p:sp>
    </p:spTree>
    <p:extLst>
      <p:ext uri="{BB962C8B-B14F-4D97-AF65-F5344CB8AC3E}">
        <p14:creationId xmlns:p14="http://schemas.microsoft.com/office/powerpoint/2010/main" val="2631508381"/>
      </p:ext>
    </p:extLst>
  </p:cSld>
  <p:clrMapOvr>
    <a:masterClrMapping/>
  </p:clrMapOvr>
</p:sld>
</file>

<file path=ppt/slides/slide7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Blanc De Blancs | NICOLAS QCT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LANC DE BLANCS (NU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LANC DE BLANCS SECOND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5.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RUINART BLC DE BLANC SECOND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Malard</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ALARD GRAND CRU BLC DE BLANCS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6.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CHAMPAGNE NICOLAS BLC/BLC BS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5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6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1102895257"/>
                  </a:ext>
                </a:extLst>
              </a:tr>
              <a:tr h="164170">
                <a:tc>
                  <a:txBody>
                    <a:bodyPr/>
                    <a:lstStyle/>
                    <a:p>
                      <a:pPr algn="ctr">
                        <a:defRPr sz="800">
                          <a:latin typeface="Nexa Book"/>
                        </a:defRPr>
                      </a:pPr>
                      <a:r>
                        <a:t>Besserat De Bellef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ESSERAT BELLEFON BLC DE BLCS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1/2 RUINART BLANC DE BLANCS 1CT X 375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5.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Delamo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HAMPAGNE DELAMOTTE BLC/BLCS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Henrio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HENRIOT BLANC DE BLANCS ETUI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De Blign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HAMPAGNE CH DE BLIGNY BLC/BL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Henrio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HENRIOT BLANC DE BLANCS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Laurent Perrier: 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HAMPAGNE SALON S 2013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4.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Deutz</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EUTZ "AMOUR DE DEUTZ" 2013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Perrier Joue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ERRIER JOUET SHAPE BLC BLCS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Laurent Perri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AURENT PERRIER BLC BLCS NATUR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De Venog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E VENOGE PRINCES BLC DE BLCS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a:defRPr sz="800">
                          <a:latin typeface="Nexa Book"/>
                        </a:defRPr>
                      </a:pPr>
                      <a:r>
                        <a:t>Ayal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YALA A/18 BLC BLCS EXTRA 2018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OM RUINART EXT BRUT SECO 2010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Taitting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TAITTINGER COMTES CHAMPAG 2013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Taitting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TAITTINGER COMTES CHAMPAG 2012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740</a:t>
            </a:fld>
            <a:endParaRPr lang="en-US"/>
          </a:p>
        </p:txBody>
      </p:sp>
    </p:spTree>
    <p:extLst>
      <p:ext uri="{BB962C8B-B14F-4D97-AF65-F5344CB8AC3E}">
        <p14:creationId xmlns:p14="http://schemas.microsoft.com/office/powerpoint/2010/main" val="3452610025"/>
      </p:ext>
    </p:extLst>
  </p:cSld>
  <p:clrMapOvr>
    <a:masterClrMapping/>
  </p:clrMapOvr>
</p:sld>
</file>

<file path=ppt/slides/slide7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Blanc De Blancs | NICOLAS QCA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LANC DE BLANCS (NU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3.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LANC DE BLANCS SECOND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RUINART BLC DE BLANC SECOND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1/2 RUINART BLANC DE BLANCS 1CT X 375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6.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Perrier Joue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ERRIER JOUET SHAPE BLC BLCS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Malard</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ALARD GRAND CRU BLC DE BLANCS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CHAMPAGNE NICOLAS BLC/BLC BS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5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8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4267548465"/>
                  </a:ext>
                </a:extLst>
              </a:tr>
              <a:tr h="164170">
                <a:tc>
                  <a:txBody>
                    <a:bodyPr/>
                    <a:lstStyle/>
                    <a:p>
                      <a:pPr algn="ctr">
                        <a:defRPr sz="800">
                          <a:latin typeface="Nexa Book"/>
                        </a:defRPr>
                      </a:pPr>
                      <a:r>
                        <a:t>Besserat De Bellef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ESSERAT BELLEFON BLC DE BLCS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6.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Henrio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HENRIOT BLANC DE BLANCS ETUI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Delamo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HAMPAGNE DELAMOTTE BLC/BLCS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Laurent Perrier: 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HAMPAGNE SALON S 2013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Deutz</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EUTZ "AMOUR DE DEUTZ" 2013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Henrio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HENRIOT BLANC DE BLANCS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De Venog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E VENOGE PRINCES BLC DE BLCS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Ayal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YALA A/18 BLC BLCS EXTRA 2018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Laurent Perri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AURENT PERRIER BLC BLCS NATUR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a:defRPr sz="800">
                          <a:latin typeface="Nexa Book"/>
                        </a:defRPr>
                      </a:pPr>
                      <a:r>
                        <a:t>De Blign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HAMPAGNE CH DE BLIGNY BLC/BL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1/2 CHAMP NICOLAS BLC/BLC BS 1CT X 375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3682606022"/>
                  </a:ext>
                </a:extLst>
              </a:tr>
              <a:tr h="164170">
                <a:tc>
                  <a:txBody>
                    <a:bodyPr/>
                    <a:lstStyle/>
                    <a:p>
                      <a:pPr algn="ctr">
                        <a:defRPr sz="800">
                          <a:latin typeface="Nexa Book"/>
                        </a:defRPr>
                      </a:pPr>
                      <a:r>
                        <a:t>Taitting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TAITTINGER COMTES CHAMPAG 2012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Taitting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TAITTINGER COMTES CHAMPAG 2013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741</a:t>
            </a:fld>
            <a:endParaRPr lang="en-US"/>
          </a:p>
        </p:txBody>
      </p:sp>
    </p:spTree>
    <p:extLst>
      <p:ext uri="{BB962C8B-B14F-4D97-AF65-F5344CB8AC3E}">
        <p14:creationId xmlns:p14="http://schemas.microsoft.com/office/powerpoint/2010/main" val="3395698935"/>
      </p:ext>
    </p:extLst>
  </p:cSld>
  <p:clrMapOvr>
    <a:masterClrMapping/>
  </p:clrMapOvr>
</p:sld>
</file>

<file path=ppt/slides/slide7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Blanc De Blancs | NICOLAS CCP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LANC DE BLANCS (NU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LANC DE BLANCS SECOND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8.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1/2 RUINART BLANC DE BLANCS 1CT X 375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RUINART BLC DE BLANC SECOND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Malard</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ALARD GRAND CRU BLC DE BLANCS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6.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CHAMPAGNE NICOLAS BLC/BLC BS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7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776375343"/>
                  </a:ext>
                </a:extLst>
              </a:tr>
              <a:tr h="164170">
                <a:tc>
                  <a:txBody>
                    <a:bodyPr/>
                    <a:lstStyle/>
                    <a:p>
                      <a:pPr algn="ctr">
                        <a:defRPr sz="800">
                          <a:latin typeface="Nexa Book"/>
                        </a:defRPr>
                      </a:pPr>
                      <a:r>
                        <a:t>Besserat De Bellef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ESSERAT BELLEFON BLC DE BLCS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Ayal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YALA A/18 BLC BLCS EXTRA 2018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De Venog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E VENOGE PRINCES BLC DE BLCS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De Blign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HAMPAGNE CH DE BLIGNY BLC/BL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Perrier Joue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ERRIER JOUET SHAPE BLC BLCS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Deutz</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EUTZ "AMOUR DE DEUTZ" 2013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Henrio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HENRIOT BLANC DE BLANCS ETUI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Vessell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EORGES VESSELLE BLC DE BLANCS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Delamo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OF CHAMP DELAMOTTE BLC/BLC+2V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Delamo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HAMPAGNE DELAMOTTE BLC/BLCS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a:defRPr sz="800">
                          <a:latin typeface="Nexa Book"/>
                        </a:defRPr>
                      </a:pPr>
                      <a:r>
                        <a:t>Henrio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HENRIOT BLANC DE BLANCS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MG CHAMPAGNE NICOLAS BLC/BL BS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4.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3682606022"/>
                  </a:ext>
                </a:extLst>
              </a:tr>
              <a:tr h="164170">
                <a:tc>
                  <a:txBody>
                    <a:bodyPr/>
                    <a:lstStyle/>
                    <a:p>
                      <a:pPr algn="ctr">
                        <a:defRPr sz="800">
                          <a:latin typeface="Nexa Book"/>
                        </a:defRPr>
                      </a:pPr>
                      <a:r>
                        <a:t>Taitting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TAITTINGER COMTES CHAMPAG 2012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OM RUINART EXT BRUT SECO 2010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742</a:t>
            </a:fld>
            <a:endParaRPr lang="en-US"/>
          </a:p>
        </p:txBody>
      </p:sp>
    </p:spTree>
    <p:extLst>
      <p:ext uri="{BB962C8B-B14F-4D97-AF65-F5344CB8AC3E}">
        <p14:creationId xmlns:p14="http://schemas.microsoft.com/office/powerpoint/2010/main" val="1370186988"/>
      </p:ext>
    </p:extLst>
  </p:cSld>
  <p:clrMapOvr>
    <a:masterClrMapping/>
  </p:clrMapOvr>
</p:sld>
</file>

<file path=ppt/slides/slide7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Blanc De Blancs | NICOLAS IDF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LANC DE BLANCS (NU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LANC DE BLANCS SECOND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6.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a:defRPr sz="800">
                          <a:latin typeface="Nexa Book"/>
                        </a:defRPr>
                      </a:pPr>
                      <a:r>
                        <a:t>Malard</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ALARD GRAND CRU BLC DE BLANCS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RUINART BLC DE BLANC SECOND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CHAMPAGNE NICOLAS BLC/BLC BS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5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7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1102895257"/>
                  </a:ext>
                </a:extLst>
              </a:tr>
              <a:tr h="164170">
                <a:tc>
                  <a:txBody>
                    <a:bodyPr/>
                    <a:lstStyle/>
                    <a:p>
                      <a:pPr algn="ctr">
                        <a:defRPr sz="800">
                          <a:latin typeface="Nexa Book"/>
                        </a:defRPr>
                      </a:pPr>
                      <a:r>
                        <a:t>Besserat De Bellef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ESSERAT BELLEFON BLC DE BLCS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1/2 RUINART BLANC DE BLANCS 1CT X 375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Delamo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HAMPAGNE DELAMOTTE BLC/BLCS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De Blign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HAMPAGNE CH DE BLIGNY BLC/BL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Henrio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HENRIOT BLANC DE BLANCS ETUI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5.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Perrier Joue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ERRIER JOUET SHAPE BLC BLCS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Ayal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YALA A/18 BLC BLCS EXTRA 2018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8.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Henrio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HENRIOT BLANC DE BLANCS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De Venog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E VENOGE PRINCES BLC DE BLCS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OM RUINART EXT BRUT SECO 2010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Deutz</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EUTZ "AMOUR DE DEUTZ" 2013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1/2 CHAMP NICOLAS BLC/BLC BS 1CT X 375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720551800"/>
                  </a:ext>
                </a:extLst>
              </a:tr>
              <a:tr h="164170">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MG CHAMPAGNE NICOLAS BLC/BL BS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5.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3682606022"/>
                  </a:ext>
                </a:extLst>
              </a:tr>
              <a:tr h="164170">
                <a:tc>
                  <a:txBody>
                    <a:bodyPr/>
                    <a:lstStyle/>
                    <a:p>
                      <a:pPr algn="ctr">
                        <a:defRPr sz="800">
                          <a:latin typeface="Nexa Book"/>
                        </a:defRPr>
                      </a:pPr>
                      <a:r>
                        <a:t>Taitting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TAITTINGER COMTES CHAMPAG 2012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Laurent Perri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AURENT PERRIER BLC BLCS NATUR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743</a:t>
            </a:fld>
            <a:endParaRPr lang="en-US"/>
          </a:p>
        </p:txBody>
      </p:sp>
    </p:spTree>
    <p:extLst>
      <p:ext uri="{BB962C8B-B14F-4D97-AF65-F5344CB8AC3E}">
        <p14:creationId xmlns:p14="http://schemas.microsoft.com/office/powerpoint/2010/main" val="2380640456"/>
      </p:ext>
    </p:extLst>
  </p:cSld>
  <p:clrMapOvr>
    <a:masterClrMapping/>
  </p:clrMapOvr>
</p:sld>
</file>

<file path=ppt/slides/slide7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Blanc De Blancs | NICOLAS PAC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LANC DE BLANCS (NU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LANC DE BLANCS SECOND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RUINART BLC DE BLANC SECOND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CHAMPAGNE NICOLAS BLC/BLC BS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7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2166894017"/>
                  </a:ext>
                </a:extLst>
              </a:tr>
              <a:tr h="164170">
                <a:tc>
                  <a:txBody>
                    <a:bodyPr/>
                    <a:lstStyle/>
                    <a:p>
                      <a:pPr algn="ctr">
                        <a:defRPr sz="800">
                          <a:latin typeface="Nexa Book"/>
                        </a:defRPr>
                      </a:pPr>
                      <a:r>
                        <a:t>Malard</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ALARD GRAND CRU BLC DE BLANCS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Besserat De Bellef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ESSERAT BELLEFON BLC DE BLCS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1/2 RUINART BLANC DE BLANCS 1CT X 375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3.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De Blign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HAMPAGNE CH DE BLIGNY BLC/BL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5.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Delamo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HAMPAGNE DELAMOTTE BLC/BLCS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Deutz</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EUTZ "AMOUR DE DEUTZ" 2013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Ayal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YALA A/18 BLC BLCS EXTRA 2018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Henrio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HENRIOT BLANC DE BLANCS ETUI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Taitting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TAITTINGER COMTES CHAMPAG 2013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OM RUINART EXT BRUT SECO 2010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Perrier Joue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ERRIER JOUET SHAPE BLC BLCS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1/2 CHAMP NICOLAS BLC/BLC BS 1CT X 375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3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3490141980"/>
                  </a:ext>
                </a:extLst>
              </a:tr>
              <a:tr h="164170">
                <a:tc>
                  <a:txBody>
                    <a:bodyPr/>
                    <a:lstStyle/>
                    <a:p>
                      <a:pPr algn="ctr">
                        <a:defRPr sz="800">
                          <a:latin typeface="Nexa Book"/>
                        </a:defRPr>
                      </a:pPr>
                      <a:r>
                        <a:t>Henrio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HENRIOT BLANC DE BLANCS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Taitting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TAITTINGER COMTES CHAMPAG 2012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MG CHAMPAGNE NICOLAS BLC/BL BS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6.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2959808831"/>
                  </a:ext>
                </a:extLst>
              </a:tr>
              <a:tr h="164170">
                <a:tc>
                  <a:txBody>
                    <a:bodyPr/>
                    <a:lstStyle/>
                    <a:p>
                      <a:pPr algn="ctr">
                        <a:defRPr sz="800">
                          <a:latin typeface="Nexa Book"/>
                        </a:defRPr>
                      </a:pPr>
                      <a:r>
                        <a:t>Laurent Perri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AURENT PERRIER BLC BLCS NATUR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744</a:t>
            </a:fld>
            <a:endParaRPr lang="en-US"/>
          </a:p>
        </p:txBody>
      </p:sp>
    </p:spTree>
    <p:extLst>
      <p:ext uri="{BB962C8B-B14F-4D97-AF65-F5344CB8AC3E}">
        <p14:creationId xmlns:p14="http://schemas.microsoft.com/office/powerpoint/2010/main" val="435689368"/>
      </p:ext>
    </p:extLst>
  </p:cSld>
  <p:clrMapOvr>
    <a:masterClrMapping/>
  </p:clrMapOvr>
</p:sld>
</file>

<file path=ppt/slides/slide7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Blanc De Blancs | NICOLAS RHO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LANC DE BLANCS (NU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3.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LANC DE BLANCS SECOND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RUINART BLC DE BLANC SECOND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Malard</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ALARD GRAND CRU BLC DE BLANCS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8.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CHAMPAGNE NICOLAS BLC/BLC BS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6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7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1102895257"/>
                  </a:ext>
                </a:extLst>
              </a:tr>
              <a:tr h="164170">
                <a:tc>
                  <a:txBody>
                    <a:bodyPr/>
                    <a:lstStyle/>
                    <a:p>
                      <a:pPr algn="ctr">
                        <a:defRPr sz="800">
                          <a:latin typeface="Nexa Book"/>
                        </a:defRPr>
                      </a:pPr>
                      <a:r>
                        <a:t>Besserat De Bellef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ESSERAT BELLEFON BLC DE BLCS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1/2 RUINART BLANC DE BLANCS 1CT X 375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8.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De Blign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HAMPAGNE CH DE BLIGNY BLC/BL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Ayal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YALA A/18 BLC BLCS EXTRA 2018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3.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Delamo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HAMPAGNE DELAMOTTE BLC/BLCS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4.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Henrio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HENRIOT BLANC DE BLANCS ETUI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De Venog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E VENOGE PRINCES BLC DE BLCS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7.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Perrier Joue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ERRIER JOUET SHAPE BLC BLCS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Henrio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HENRIOT BLANC DE BLANCS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MG CHAMPAGNE NICOLAS BLC/BL BS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714509061"/>
                  </a:ext>
                </a:extLst>
              </a:tr>
              <a:tr h="164170">
                <a:tc>
                  <a:txBody>
                    <a:bodyPr/>
                    <a:lstStyle/>
                    <a:p>
                      <a:pPr algn="ctr">
                        <a:defRPr sz="800">
                          <a:latin typeface="Nexa Book"/>
                        </a:defRPr>
                      </a:pPr>
                      <a:r>
                        <a:t>Deutz</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EUTZ "AMOUR DE DEUTZ" 2013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a:defRPr sz="800">
                          <a:latin typeface="Nexa Book"/>
                        </a:defRPr>
                      </a:pPr>
                      <a:r>
                        <a:t>Deutz</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EUTZ "AMOUR DE DEUTZ" 2011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Laurent Perri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AURENT PERRIER BLC BLCS NATUR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Lans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ANSON BLANC DE BLANCS ETUI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OM RUINART EXT BRUT SECO 2010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745</a:t>
            </a:fld>
            <a:endParaRPr lang="en-US"/>
          </a:p>
        </p:txBody>
      </p:sp>
    </p:spTree>
    <p:extLst>
      <p:ext uri="{BB962C8B-B14F-4D97-AF65-F5344CB8AC3E}">
        <p14:creationId xmlns:p14="http://schemas.microsoft.com/office/powerpoint/2010/main" val="2117378102"/>
      </p:ext>
    </p:extLst>
  </p:cSld>
  <p:clrMapOvr>
    <a:masterClrMapping/>
  </p:clrMapOvr>
</p:sld>
</file>

<file path=ppt/slides/slide7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Blanc De Blancs | NICOLAS AQU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LANC DE BLANCS (NU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LANC DE BLANCS SECOND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a:defRPr sz="800">
                          <a:latin typeface="Nexa Book"/>
                        </a:defRPr>
                      </a:pPr>
                      <a:r>
                        <a:t>Malard</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ALARD GRAND CRU BLC DE BLANCS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5.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Besserat De Bellef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ESSERAT BELLEFON BLC DE BLCS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RUINART BLC DE BLANC SECOND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CHAMPAGNE NICOLAS BLC/BLC BS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7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776375343"/>
                  </a:ext>
                </a:extLst>
              </a:tr>
              <a:tr h="164170">
                <a:tc>
                  <a:txBody>
                    <a:bodyPr/>
                    <a:lstStyle/>
                    <a:p>
                      <a:pPr algn="ctr">
                        <a:defRPr sz="800">
                          <a:latin typeface="Nexa Book"/>
                        </a:defRPr>
                      </a:pPr>
                      <a:r>
                        <a:t>Delamo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HAMPAGNE DELAMOTTE BLC/BLCS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6.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De Blign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HAMPAGNE CH DE BLIGNY BLC/BL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Ayal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YALA A/18 BLC BLCS EXTRA 2018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1/2 RUINART BLANC DE BLANCS 1CT X 375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Henrio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HENRIOT BLANC DE BLANCS ETUI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Henrio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HENRIOT BLANC DE BLANCS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De Venog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E VENOGE PRINCES BLC DE BLCS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Perrier Joue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ERRIER JOUET SHAPE BLC BLCS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Deutz</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EUTZ "AMOUR DE DEUTZ" 2013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MG CHAMPAGNE NICOLAS BLC/BL BS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4.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3490141980"/>
                  </a:ext>
                </a:extLst>
              </a:tr>
              <a:tr h="164170">
                <a:tc>
                  <a:txBody>
                    <a:bodyPr/>
                    <a:lstStyle/>
                    <a:p>
                      <a:pPr algn="ctr">
                        <a:defRPr sz="800">
                          <a:latin typeface="Nexa Book"/>
                        </a:defRPr>
                      </a:pPr>
                      <a:r>
                        <a:t>Deutz</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EUTZ "AMOUR DE DEUTZ" 2011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1/2 CHAMP NICOLAS BLC/BLC BS 1CT X 375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5.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3682606022"/>
                  </a:ext>
                </a:extLst>
              </a:tr>
              <a:tr h="164170">
                <a:tc>
                  <a:txBody>
                    <a:bodyPr/>
                    <a:lstStyle/>
                    <a:p>
                      <a:pPr algn="ctr">
                        <a:defRPr sz="800">
                          <a:latin typeface="Nexa Book"/>
                        </a:defRPr>
                      </a:pPr>
                      <a:r>
                        <a:t>Taitting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TAITTINGER COMTES CHAMPAG 2012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Ayal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YALA BLANC DE BLANCS 2016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746</a:t>
            </a:fld>
            <a:endParaRPr lang="en-US"/>
          </a:p>
        </p:txBody>
      </p:sp>
    </p:spTree>
    <p:extLst>
      <p:ext uri="{BB962C8B-B14F-4D97-AF65-F5344CB8AC3E}">
        <p14:creationId xmlns:p14="http://schemas.microsoft.com/office/powerpoint/2010/main" val="3536558491"/>
      </p:ext>
    </p:extLst>
  </p:cSld>
  <p:clrMapOvr>
    <a:masterClrMapping/>
  </p:clrMapOvr>
</p:sld>
</file>

<file path=ppt/slides/slide7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Blanc De Blancs | NICOLAS EST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 MESNIL BLANC DE BLANCS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5.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LANC DE BLANCS (NU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4.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LANC DE BLANCS SECOND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3.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LE MESNIL BLC DE BLCS BRUT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Malard</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ALARD GRAND CRU BLC DE BLANCS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RUINART BLC DE BLANC SECOND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CHAMPAGNE NICOLAS BLC/BLC BS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6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4267548465"/>
                  </a:ext>
                </a:extLst>
              </a:tr>
              <a:tr h="164170">
                <a:tc>
                  <a:txBody>
                    <a:bodyPr/>
                    <a:lstStyle/>
                    <a:p>
                      <a:pPr algn="ctr">
                        <a:defRPr sz="800">
                          <a:latin typeface="Nexa Book"/>
                        </a:defRPr>
                      </a:pPr>
                      <a:r>
                        <a:t>Ayal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YALA A/18 BLC BLCS EXTRA 2018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UBLIME BLC DE BLANC BRUT 2017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4.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De Blign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HAMPAGNE CH DE BLIGNY BLC/BL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6.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1/2 LE MESNIL BLC DE BLCS BRUT 1CT X 375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Delamo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HAMPAGNE DELAMOTTE BLC/BLCS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Deutz</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EUTZ "AMOUR DE DEUTZ" 2013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De Venog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E VENOGE PRINCES BLC DE BLCS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3.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UBLIME BLC DE BLANC BRUT 2015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Delamo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OF CHAMP DELAMOTTE BLC/BLC+2V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a:defRPr sz="800">
                          <a:latin typeface="Nexa Book"/>
                        </a:defRPr>
                      </a:pPr>
                      <a:r>
                        <a:t>Besserat De Bellef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ESSERAT BELLEFON BLC DE BLCS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7.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Henrio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HENRIOT BLANC DE BLANCS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Henrio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HENRIOT BLANC DE BLANCS ETUI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Perrier Joue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ERRIER JOUET SHAPE BLC BLCS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747</a:t>
            </a:fld>
            <a:endParaRPr lang="en-US"/>
          </a:p>
        </p:txBody>
      </p:sp>
    </p:spTree>
    <p:extLst>
      <p:ext uri="{BB962C8B-B14F-4D97-AF65-F5344CB8AC3E}">
        <p14:creationId xmlns:p14="http://schemas.microsoft.com/office/powerpoint/2010/main" val="1432374378"/>
      </p:ext>
    </p:extLst>
  </p:cSld>
  <p:clrMapOvr>
    <a:masterClrMapping/>
  </p:clrMapOvr>
</p:sld>
</file>

<file path=ppt/slides/slide7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Blanc De Blancs | CA A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LANC DE BLANCS (NU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LANC DE BLANCS SECOND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RUINART BLC DE BLANC SECOND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1/2 RUINART BLANC DE BLANCS 1CT X 375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6.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Malard</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ALARD GRAND CRU BLC DE BLANCS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CHAMPAGNE NICOLAS BLC/BLC BS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7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74.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776375343"/>
                  </a:ext>
                </a:extLst>
              </a:tr>
              <a:tr h="164170">
                <a:tc>
                  <a:txBody>
                    <a:bodyPr/>
                    <a:lstStyle/>
                    <a:p>
                      <a:pPr algn="ctr">
                        <a:defRPr sz="800">
                          <a:latin typeface="Nexa Book"/>
                        </a:defRPr>
                      </a:pPr>
                      <a:r>
                        <a:t>Besserat De Bellef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ESSERAT BELLEFON BLC DE BLCS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7.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Perrier Joue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ERRIER JOUET SHAPE BLC BLCS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Delamo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HAMPAGNE DELAMOTTE BLC/BLCS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OM RUINART EXT BRUT SECO 2010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3.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Ayal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YALA A/18 BLC BLCS EXTRA 2018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4.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 MESNIL BLANC DE BLANCS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5.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Henrio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HENRIOT BLANC DE BLANCS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7.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De Blign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HAMPAGNE CH DE BLIGNY BLC/BL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Henrio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HENRIOT BLANC DE BLANCS ETUI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Deutz</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EUTZ "AMOUR DE DEUTZ" 2013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a:defRPr sz="800">
                          <a:latin typeface="Nexa Book"/>
                        </a:defRPr>
                      </a:pPr>
                      <a:r>
                        <a:t>De Venog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E VENOGE PRINCES BLC DE BLCS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Laurent Perri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AURENT PERRIER BLC BLCS NATUR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Laurent Perrier: 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HAMPAGNE SALON S 2013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Taitting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TAITTINGER COMTES CHAMPAG 2012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748</a:t>
            </a:fld>
            <a:endParaRPr lang="en-US"/>
          </a:p>
        </p:txBody>
      </p:sp>
    </p:spTree>
    <p:extLst>
      <p:ext uri="{BB962C8B-B14F-4D97-AF65-F5344CB8AC3E}">
        <p14:creationId xmlns:p14="http://schemas.microsoft.com/office/powerpoint/2010/main" val="3473333989"/>
      </p:ext>
    </p:extLst>
  </p:cSld>
  <p:clrMapOvr>
    <a:masterClrMapping/>
  </p:clrMapOvr>
</p:sld>
</file>

<file path=ppt/slides/slide7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Blanc De Blancs | CA B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LANC DE BLANCS (NU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LANC DE BLANCS SECOND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a:defRPr sz="800">
                          <a:latin typeface="Nexa Book"/>
                        </a:defRPr>
                      </a:pPr>
                      <a:r>
                        <a:t>Malard</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ALARD GRAND CRU BLC DE BLANCS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RUINART BLC DE BLANC SECOND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CHAMPAGNE NICOLAS BLC/BLC BS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7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1102895257"/>
                  </a:ext>
                </a:extLst>
              </a:tr>
              <a:tr h="164170">
                <a:tc>
                  <a:txBody>
                    <a:bodyPr/>
                    <a:lstStyle/>
                    <a:p>
                      <a:pPr algn="ctr">
                        <a:defRPr sz="800">
                          <a:latin typeface="Nexa Book"/>
                        </a:defRPr>
                      </a:pPr>
                      <a:r>
                        <a:t>Besserat De Bellef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ESSERAT BELLEFON BLC DE BLCS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6.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Delamo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HAMPAGNE DELAMOTTE BLC/BLCS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1/2 RUINART BLANC DE BLANCS 1CT X 375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Henrio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HENRIOT BLANC DE BLANCS ETUI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De Blign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HAMPAGNE CH DE BLIGNY BLC/BL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Ayal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YALA A/18 BLC BLCS EXTRA 2018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Henrio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HENRIOT BLANC DE BLANCS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De Venog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E VENOGE PRINCES BLC DE BLCS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Perrier Joue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ERRIER JOUET SHAPE BLC BLCS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Deutz</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EUTZ "AMOUR DE DEUTZ" 2013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MG CHAMPAGNE NICOLAS BLC/BL BS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4.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3490141980"/>
                  </a:ext>
                </a:extLst>
              </a:tr>
              <a:tr h="164170">
                <a:tc>
                  <a:txBody>
                    <a:bodyPr/>
                    <a:lstStyle/>
                    <a:p>
                      <a:pPr algn="ctr">
                        <a:defRPr sz="800">
                          <a:latin typeface="Nexa Book"/>
                        </a:defRPr>
                      </a:pPr>
                      <a:r>
                        <a:t>Taitting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TAITTINGER COMTES CHAMPAG 2012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1/2 CHAMP NICOLAS BLC/BLC BS 1CT X 375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3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3682606022"/>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OM RUINART EXT BRUT SECO 2010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Delamo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OF CHAMP DELAMOTTE BLC/BLC+2V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749</a:t>
            </a:fld>
            <a:endParaRPr lang="en-US"/>
          </a:p>
        </p:txBody>
      </p:sp>
    </p:spTree>
    <p:extLst>
      <p:ext uri="{BB962C8B-B14F-4D97-AF65-F5344CB8AC3E}">
        <p14:creationId xmlns:p14="http://schemas.microsoft.com/office/powerpoint/2010/main" val="1643745742"/>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Blanc De Blancs | NICOLAS EST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75</a:t>
            </a:fld>
            <a:endParaRPr lang="en-US"/>
          </a:p>
        </p:txBody>
      </p:sp>
    </p:spTree>
    <p:extLst>
      <p:ext uri="{BB962C8B-B14F-4D97-AF65-F5344CB8AC3E}">
        <p14:creationId xmlns:p14="http://schemas.microsoft.com/office/powerpoint/2010/main" val="317126002"/>
      </p:ext>
    </p:extLst>
  </p:cSld>
  <p:clrMapOvr>
    <a:masterClrMapping/>
  </p:clrMapOvr>
</p:sld>
</file>

<file path=ppt/slides/slide7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Blanc De Blancs | CA C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LANC DE BLANCS (NU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LANC DE BLANCS SECOND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5.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a:defRPr sz="800">
                          <a:latin typeface="Nexa Book"/>
                        </a:defRPr>
                      </a:pPr>
                      <a:r>
                        <a:t>Malard</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ALARD GRAND CRU BLC DE BLANCS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RUINART BLC DE BLANC SECOND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7.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CHAMPAGNE NICOLAS BLC/BLC BS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5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7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1102895257"/>
                  </a:ext>
                </a:extLst>
              </a:tr>
              <a:tr h="164170">
                <a:tc>
                  <a:txBody>
                    <a:bodyPr/>
                    <a:lstStyle/>
                    <a:p>
                      <a:pPr algn="ctr">
                        <a:defRPr sz="800">
                          <a:latin typeface="Nexa Book"/>
                        </a:defRPr>
                      </a:pPr>
                      <a:r>
                        <a:t>Besserat De Bellef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ESSERAT BELLEFON BLC DE BLCS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6.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De Blign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HAMPAGNE CH DE BLIGNY BLC/BL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Henrio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HENRIOT BLANC DE BLANCS ETUI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1/2 RUINART BLANC DE BLANCS 1CT X 375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3.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Delamo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HAMPAGNE DELAMOTTE BLC/BLCS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5.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Ayal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YALA A/18 BLC BLCS EXTRA 2018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6.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De Venog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E VENOGE PRINCES BLC DE BLCS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8.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Henrio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HENRIOT BLANC DE BLANCS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Deutz</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EUTZ "AMOUR DE DEUTZ" 2013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Perrier Joue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ERRIER JOUET SHAPE BLC BLCS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 MESNIL BLANC DE BLANCS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1/2 CHAMP NICOLAS BLC/BLC BS 1CT X 375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720551800"/>
                  </a:ext>
                </a:extLst>
              </a:tr>
              <a:tr h="164170">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MG CHAMPAGNE NICOLAS BLC/BL BS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5.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3682606022"/>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OM RUINART EXT BRUT SECO 2010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Vessell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EORGES VESSELLE BLC DE BLANCS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750</a:t>
            </a:fld>
            <a:endParaRPr lang="en-US"/>
          </a:p>
        </p:txBody>
      </p:sp>
    </p:spTree>
    <p:extLst>
      <p:ext uri="{BB962C8B-B14F-4D97-AF65-F5344CB8AC3E}">
        <p14:creationId xmlns:p14="http://schemas.microsoft.com/office/powerpoint/2010/main" val="3180039191"/>
      </p:ext>
    </p:extLst>
  </p:cSld>
  <p:clrMapOvr>
    <a:masterClrMapping/>
  </p:clrMapOvr>
</p:sld>
</file>

<file path=ppt/slides/slide7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Blanc De Blancs | CA D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LANC DE BLANCS (NU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LANC DE BLANCS SECOND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RUINART BLC DE BLANC SECOND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3.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Malard</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ALARD GRAND CRU BLC DE BLANCS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CHAMPAGNE NICOLAS BLC/BLC BS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5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7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1102895257"/>
                  </a:ext>
                </a:extLst>
              </a:tr>
              <a:tr h="164170">
                <a:tc>
                  <a:txBody>
                    <a:bodyPr/>
                    <a:lstStyle/>
                    <a:p>
                      <a:pPr algn="ctr">
                        <a:defRPr sz="800">
                          <a:latin typeface="Nexa Book"/>
                        </a:defRPr>
                      </a:pPr>
                      <a:r>
                        <a:t>Besserat De Bellef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ESSERAT BELLEFON BLC DE BLCS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De Blign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HAMPAGNE CH DE BLIGNY BLC/BL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Henrio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HENRIOT BLANC DE BLANCS ETUI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Delamo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HAMPAGNE DELAMOTTE BLC/BLCS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6.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Ayal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YALA A/18 BLC BLCS EXTRA 2018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8.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De Venog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E VENOGE PRINCES BLC DE BLCS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1/2 RUINART BLANC DE BLANCS 1CT X 375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Henrio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HENRIOT BLANC DE BLANCS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1/2 CHAMP NICOLAS BLC/BLC BS 1CT X 375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3.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4273312142"/>
                  </a:ext>
                </a:extLst>
              </a:tr>
              <a:tr h="164170">
                <a:tc>
                  <a:txBody>
                    <a:bodyPr/>
                    <a:lstStyle/>
                    <a:p>
                      <a:pPr algn="ctr">
                        <a:defRPr sz="800">
                          <a:latin typeface="Nexa Book"/>
                        </a:defRPr>
                      </a:pPr>
                      <a:r>
                        <a:t>Perrier Joue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ERRIER JOUET SHAPE BLC BLCS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MG CHAMPAGNE NICOLAS BLC/BL BS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4.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3490141980"/>
                  </a:ext>
                </a:extLst>
              </a:tr>
              <a:tr h="164170">
                <a:tc>
                  <a:txBody>
                    <a:bodyPr/>
                    <a:lstStyle/>
                    <a:p>
                      <a:pPr algn="ctr">
                        <a:defRPr sz="800">
                          <a:latin typeface="Nexa Book"/>
                        </a:defRPr>
                      </a:pPr>
                      <a:r>
                        <a:t>Deutz</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EUTZ "AMOUR DE DEUTZ" 2013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OM RUINART EXT BRUT SECO 2010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Lans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ANSON BLANC DE BLANCS ETUI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Taitting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TAITTINGER COMTES CHAMPAG 2012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751</a:t>
            </a:fld>
            <a:endParaRPr lang="en-US"/>
          </a:p>
        </p:txBody>
      </p:sp>
    </p:spTree>
    <p:extLst>
      <p:ext uri="{BB962C8B-B14F-4D97-AF65-F5344CB8AC3E}">
        <p14:creationId xmlns:p14="http://schemas.microsoft.com/office/powerpoint/2010/main" val="3508421240"/>
      </p:ext>
    </p:extLst>
  </p:cSld>
  <p:clrMapOvr>
    <a:masterClrMapping/>
  </p:clrMapOvr>
</p:sld>
</file>

<file path=ppt/slides/slide7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Blanc De Blancs | CA E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LANC DE BLANCS (NU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8.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LANC DE BLANCS SECOND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a:defRPr sz="800">
                          <a:latin typeface="Nexa Book"/>
                        </a:defRPr>
                      </a:pPr>
                      <a:r>
                        <a:t>Malard</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ALARD GRAND CRU BLC DE BLANCS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CHAMPAGNE NICOLAS BLC/BLC BS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6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2166894017"/>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RUINART BLC DE BLANC SECOND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Besserat De Bellef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ESSERAT BELLEFON BLC DE BLCS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De Blign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HAMPAGNE CH DE BLIGNY BLC/BL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Henrio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HENRIOT BLANC DE BLANCS ETUI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Delamo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HAMPAGNE DELAMOTTE BLC/BLCS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De Venog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E VENOGE PRINCES BLC DE BLCS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6.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Ayal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YALA A/18 BLC BLCS EXTRA 2018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8.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1/2 RUINART BLANC DE BLANCS 1CT X 375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Henrio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HENRIOT BLANC DE BLANCS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MG CHAMPAGNE NICOLAS BLC/BL BS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4273312142"/>
                  </a:ext>
                </a:extLst>
              </a:tr>
              <a:tr h="164170">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1/2 CHAMP NICOLAS BLC/BLC BS 1CT X 375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714509061"/>
                  </a:ext>
                </a:extLst>
              </a:tr>
              <a:tr h="164170">
                <a:tc>
                  <a:txBody>
                    <a:bodyPr/>
                    <a:lstStyle/>
                    <a:p>
                      <a:pPr algn="ctr">
                        <a:defRPr sz="800">
                          <a:latin typeface="Nexa Book"/>
                        </a:defRPr>
                      </a:pPr>
                      <a:r>
                        <a:t>Deutz</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EUTZ "AMOUR DE DEUTZ" 2013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a:defRPr sz="800">
                          <a:latin typeface="Nexa Book"/>
                        </a:defRPr>
                      </a:pPr>
                      <a:r>
                        <a:t>Taitting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TAITTINGER COMTES CHAMPAG 2011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OM RUINART EXT BRUT SECO 2010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Ayal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YALA BLANC DE BLANCS 2016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E SAINT GALL BLC BLCS EXTRA B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752</a:t>
            </a:fld>
            <a:endParaRPr lang="en-US"/>
          </a:p>
        </p:txBody>
      </p:sp>
    </p:spTree>
    <p:extLst>
      <p:ext uri="{BB962C8B-B14F-4D97-AF65-F5344CB8AC3E}">
        <p14:creationId xmlns:p14="http://schemas.microsoft.com/office/powerpoint/2010/main" val="2805490843"/>
      </p:ext>
    </p:extLst>
  </p:cSld>
  <p:clrMapOvr>
    <a:masterClrMapping/>
  </p:clrMapOvr>
</p:sld>
</file>

<file path=ppt/slides/slide7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Bruts | NICOLAS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RUT (NU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CHAMPAGNE E.NICOLAS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25.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906332058"/>
                  </a:ext>
                </a:extLst>
              </a:tr>
              <a:tr h="164170">
                <a:tc>
                  <a:txBody>
                    <a:bodyPr/>
                    <a:lstStyle/>
                    <a:p>
                      <a:pPr algn="ctr">
                        <a:defRPr sz="800">
                          <a:latin typeface="Nexa Book"/>
                        </a:defRPr>
                      </a:pPr>
                      <a:r>
                        <a:t>Deutz</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EUTZ CLASSIC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3.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Heidsieck &amp; Co Monopol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HEIDSIECK MONOPOLE SILVER TOP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Laurent Perri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AURENT PERRIER LA CUVEE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Ayal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YALA BRUT MAJEUR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De Blign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HAMPAGNE CH DE BLIGNY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Canard Duchên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ANARD DUCHENE CUVEE LEONI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3.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Taitting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TAITTINGER PRESTIGE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RUT SECOND SKIN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Bolling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OLLINGER SPECIAL CUVE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Besserat De Bellef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ESSERAT BELLEFON BLEU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4.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Demoisell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EMOISELLE TETE CUVEE BRUT PS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Perrier Joue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ERRIER JOUET GRAND BRUT SHAP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RUINART BRUT SECOND SKIN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Deutz</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DEUTZ CLASSIC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HAMPAGNE POL ROGER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Laurent Perri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LAURENT PERRIER LA CUVEE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4.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Roeder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OEDERER BRUT COLLECTION 245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6.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Pommer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OMMERY SILVER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753</a:t>
            </a:fld>
            <a:endParaRPr lang="en-US"/>
          </a:p>
        </p:txBody>
      </p:sp>
    </p:spTree>
    <p:extLst>
      <p:ext uri="{BB962C8B-B14F-4D97-AF65-F5344CB8AC3E}">
        <p14:creationId xmlns:p14="http://schemas.microsoft.com/office/powerpoint/2010/main" val="4185847301"/>
      </p:ext>
    </p:extLst>
  </p:cSld>
  <p:clrMapOvr>
    <a:masterClrMapping/>
  </p:clrMapOvr>
</p:sld>
</file>

<file path=ppt/slides/slide7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Bruts | NICOLAS QCN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RUT (NU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CHAMPAGNE E.NICOLAS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24.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906332058"/>
                  </a:ext>
                </a:extLst>
              </a:tr>
              <a:tr h="164170">
                <a:tc>
                  <a:txBody>
                    <a:bodyPr/>
                    <a:lstStyle/>
                    <a:p>
                      <a:pPr algn="ctr">
                        <a:defRPr sz="800">
                          <a:latin typeface="Nexa Book"/>
                        </a:defRPr>
                      </a:pPr>
                      <a:r>
                        <a:t>Deutz</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EUTZ CLASSIC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Heidsieck &amp; Co Monopol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HEIDSIECK MONOPOLE SILVER TOP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8.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Laurent Perri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AURENT PERRIER LA CUVEE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3.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Ayal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YALA BRUT MAJEUR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De Blign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HAMPAGNE CH DE BLIGNY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Canard Duchên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ANARD DUCHENE CUVEE LEONI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4.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Taitting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TAITTINGER PRESTIGE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Besserat De Bellef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ESSERAT BELLEFON BLEU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Bolling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OLLINGER SPECIAL CUVE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RUT SECOND SKIN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4.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Perrier Joue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ERRIER JOUET GRAND BRUT SHAP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7.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Demoisell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EMOISELLE TETE CUVEE BRUT PS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Deutz</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DEUTZ CLASSIC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RUINART BRUT SECOND SKIN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HAMPAGNE POL ROGER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4.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Roeder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OEDERER BRUT COLLECTION 245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Laurent Perri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LAURENT PERRIER LA CUVEE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Campari: 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HAMPAGNE LALLIER SERIE R.021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754</a:t>
            </a:fld>
            <a:endParaRPr lang="en-US"/>
          </a:p>
        </p:txBody>
      </p:sp>
    </p:spTree>
    <p:extLst>
      <p:ext uri="{BB962C8B-B14F-4D97-AF65-F5344CB8AC3E}">
        <p14:creationId xmlns:p14="http://schemas.microsoft.com/office/powerpoint/2010/main" val="936665016"/>
      </p:ext>
    </p:extLst>
  </p:cSld>
  <p:clrMapOvr>
    <a:masterClrMapping/>
  </p:clrMapOvr>
</p:sld>
</file>

<file path=ppt/slides/slide7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Bruts | NICOLAS VCN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RUT (NU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CHAMPAGNE E.NICOLAS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2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906332058"/>
                  </a:ext>
                </a:extLst>
              </a:tr>
              <a:tr h="164170">
                <a:tc>
                  <a:txBody>
                    <a:bodyPr/>
                    <a:lstStyle/>
                    <a:p>
                      <a:pPr algn="ctr">
                        <a:defRPr sz="800">
                          <a:latin typeface="Nexa Book"/>
                        </a:defRPr>
                      </a:pPr>
                      <a:r>
                        <a:t>Deutz</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EUTZ CLASSIC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4.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De Blign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HAMPAGNE CH DE BLIGNY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Heidsieck &amp; Co Monopol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HEIDSIECK MONOPOLE SILVER TOP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3.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Ayal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YALA BRUT MAJEUR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Canard Duchên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ANARD DUCHENE CUVEE LEONI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Laurent Perri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AURENT PERRIER LA CUVEE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4.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RUT SECOND SKIN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Demoisell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EMOISELLE TETE CUVEE BRUT PS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Taitting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TAITTINGER PRESTIGE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Besserat De Bellef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ESSERAT BELLEFON BLEU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5.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Bolling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OLLINGER SPECIAL CUVE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7.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Deutz</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DEUTZ CLASSIC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RUINART BRUT SECOND SKIN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Perrier Joue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ERRIER JOUET GRAND BRUT SHAP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a:defRPr sz="800">
                          <a:latin typeface="Nexa Book"/>
                        </a:defRPr>
                      </a:pPr>
                      <a:r>
                        <a:t>Pommer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OMMERY SILVER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3.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HAMPAGNE POL ROGER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5.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Laurent Perri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LAURENT PERRIER LA CUVEE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6.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Savia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HAMPAGNE GOSSET GDE RESERV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755</a:t>
            </a:fld>
            <a:endParaRPr lang="en-US"/>
          </a:p>
        </p:txBody>
      </p:sp>
    </p:spTree>
    <p:extLst>
      <p:ext uri="{BB962C8B-B14F-4D97-AF65-F5344CB8AC3E}">
        <p14:creationId xmlns:p14="http://schemas.microsoft.com/office/powerpoint/2010/main" val="1708702224"/>
      </p:ext>
    </p:extLst>
  </p:cSld>
  <p:clrMapOvr>
    <a:masterClrMapping/>
  </p:clrMapOvr>
</p:sld>
</file>

<file path=ppt/slides/slide7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Bruts | NICOLAS QCT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RUT (NU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CHAMPAGNE E.NICOLAS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23.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906332058"/>
                  </a:ext>
                </a:extLst>
              </a:tr>
              <a:tr h="164170">
                <a:tc>
                  <a:txBody>
                    <a:bodyPr/>
                    <a:lstStyle/>
                    <a:p>
                      <a:pPr algn="ctr">
                        <a:defRPr sz="800">
                          <a:latin typeface="Nexa Book"/>
                        </a:defRPr>
                      </a:pPr>
                      <a:r>
                        <a:t>Deutz</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EUTZ CLASSIC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Laurent Perri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AURENT PERRIER LA CUVEE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6.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Ayal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YALA BRUT MAJEUR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Heidsieck &amp; Co Monopol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HEIDSIECK MONOPOLE SILVER TOP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4.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RUT SECOND SKIN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Taitting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TAITTINGER PRESTIGE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Bolling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OLLINGER SPECIAL CUVE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4.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De Blign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HAMPAGNE CH DE BLIGNY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8.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Canard Duchên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ANARD DUCHENE CUVEE LEONI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Besserat De Bellef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ESSERAT BELLEFON BLEU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HAMPAGNE POL ROGER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Perrier Joue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ERRIER JOUET GRAND BRUT SHAP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Deutz</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DEUTZ CLASSIC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8.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Laurent Perri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LAURENT PERRIER LA CUVEE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RUINART BRUT SECOND SKIN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Demoisell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EMOISELLE TETE CUVEE BRUT PS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Campari: 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HAMPAGNE LALLIER SERIE R.021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4.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Veuve Clicquo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VEUVE CLICQUOT RESERV CUVEE NB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5.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756</a:t>
            </a:fld>
            <a:endParaRPr lang="en-US"/>
          </a:p>
        </p:txBody>
      </p:sp>
    </p:spTree>
    <p:extLst>
      <p:ext uri="{BB962C8B-B14F-4D97-AF65-F5344CB8AC3E}">
        <p14:creationId xmlns:p14="http://schemas.microsoft.com/office/powerpoint/2010/main" val="1946084688"/>
      </p:ext>
    </p:extLst>
  </p:cSld>
  <p:clrMapOvr>
    <a:masterClrMapping/>
  </p:clrMapOvr>
</p:sld>
</file>

<file path=ppt/slides/slide7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Bruts | NICOLAS QCA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RUT (NU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Deutz</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EUTZ CLASSIC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CHAMPAGNE E.NICOLAS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3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377019259"/>
                  </a:ext>
                </a:extLst>
              </a:tr>
              <a:tr h="164170">
                <a:tc>
                  <a:txBody>
                    <a:bodyPr/>
                    <a:lstStyle/>
                    <a:p>
                      <a:pPr algn="ctr">
                        <a:defRPr sz="800">
                          <a:latin typeface="Nexa Book"/>
                        </a:defRPr>
                      </a:pPr>
                      <a:r>
                        <a:t>Laurent Perri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AURENT PERRIER LA CUVEE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8.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Ayal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YALA BRUT MAJEUR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Heidsieck &amp; Co Monopol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HEIDSIECK MONOPOLE SILVER TOP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Bolling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OLLINGER SPECIAL CUVE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RUT SECOND SKIN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3.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Taitting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TAITTINGER PRESTIGE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Besserat De Bellef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ESSERAT BELLEFON BLEU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RUINART BRUT SECOND SKIN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Veuve Clicquo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VEUVE CLICQUOT RESERVE CUVE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HAMPAGNE POL ROGER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4.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Perrier Joue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ERRIER JOUET GRAND BRUT SHAP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6.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Deutz</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DEUTZ CLASSIC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Moët &amp; Chand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OET &amp; CHANDON RES IMPERIAL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a:defRPr sz="800">
                          <a:latin typeface="Nexa Book"/>
                        </a:defRPr>
                      </a:pPr>
                      <a:r>
                        <a:t>De Blign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HAMPAGNE CH DE BLIGNY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Laurent Perri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LAURENT PERRIER LA CUVEE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4.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Roeder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OEDERER BRUT COLLECTION 245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5.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Canard Duchên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ANARD DUCHENE CUVEE LEONI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757</a:t>
            </a:fld>
            <a:endParaRPr lang="en-US"/>
          </a:p>
        </p:txBody>
      </p:sp>
    </p:spTree>
    <p:extLst>
      <p:ext uri="{BB962C8B-B14F-4D97-AF65-F5344CB8AC3E}">
        <p14:creationId xmlns:p14="http://schemas.microsoft.com/office/powerpoint/2010/main" val="496133799"/>
      </p:ext>
    </p:extLst>
  </p:cSld>
  <p:clrMapOvr>
    <a:masterClrMapping/>
  </p:clrMapOvr>
</p:sld>
</file>

<file path=ppt/slides/slide7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Bruts | NICOLAS CCP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RUT (NU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CHAMPAGNE E.NICOLAS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2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906332058"/>
                  </a:ext>
                </a:extLst>
              </a:tr>
              <a:tr h="164170">
                <a:tc>
                  <a:txBody>
                    <a:bodyPr/>
                    <a:lstStyle/>
                    <a:p>
                      <a:pPr algn="ctr">
                        <a:defRPr sz="800">
                          <a:latin typeface="Nexa Book"/>
                        </a:defRPr>
                      </a:pPr>
                      <a:r>
                        <a:t>Deutz</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EUTZ CLASSIC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3.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RUT SECOND SKIN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Heidsieck &amp; Co Monopol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HEIDSIECK MONOPOLE SILVER TOP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De Blign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HAMPAGNE CH DE BLIGNY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8.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Laurent Perri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AURENT PERRIER LA CUVEE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Taitting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TAITTINGER PRESTIGE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Canard Duchên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ANARD DUCHENE CUVEE LEONI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RUINART BRUT SECOND SKIN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Ayal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YALA BRUT MAJEUR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Bolling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OLLINGER SPECIAL CUVE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5.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Deutz</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DEUTZ CLASSIC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Demoisell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EMOISELLE TETE CUVEE BRUT PS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Besserat De Bellef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ESSERAT BELLEFON BLEU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Savia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HAMPAGNE GOSSET GDE RESERV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a:defRPr sz="800">
                          <a:latin typeface="Nexa Book"/>
                        </a:defRPr>
                      </a:pPr>
                      <a:r>
                        <a:t>Taitting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TAITTINGER PRESTIGE BRUT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Laurent Perri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LAURENT PERRIER LA CUVEE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5.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Perrier Joue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ERRIER JOUET GRAND BRUT SHAP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Campari: 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HAMPAGNE LALLIER SERIE R.021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758</a:t>
            </a:fld>
            <a:endParaRPr lang="en-US"/>
          </a:p>
        </p:txBody>
      </p:sp>
    </p:spTree>
    <p:extLst>
      <p:ext uri="{BB962C8B-B14F-4D97-AF65-F5344CB8AC3E}">
        <p14:creationId xmlns:p14="http://schemas.microsoft.com/office/powerpoint/2010/main" val="758354561"/>
      </p:ext>
    </p:extLst>
  </p:cSld>
  <p:clrMapOvr>
    <a:masterClrMapping/>
  </p:clrMapOvr>
</p:sld>
</file>

<file path=ppt/slides/slide7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Bruts | NICOLAS IDF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RUT (NU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CHAMPAGNE E.NICOLAS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2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906332058"/>
                  </a:ext>
                </a:extLst>
              </a:tr>
              <a:tr h="164170">
                <a:tc>
                  <a:txBody>
                    <a:bodyPr/>
                    <a:lstStyle/>
                    <a:p>
                      <a:pPr algn="ctr">
                        <a:defRPr sz="800">
                          <a:latin typeface="Nexa Book"/>
                        </a:defRPr>
                      </a:pPr>
                      <a:r>
                        <a:t>Deutz</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EUTZ CLASSIC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Laurent Perri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AURENT PERRIER LA CUVEE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Heidsieck &amp; Co Monopol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HEIDSIECK MONOPOLE SILVER TOP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3.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Ayal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YALA BRUT MAJEUR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De Blign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HAMPAGNE CH DE BLIGNY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Taitting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TAITTINGER PRESTIGE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Canard Duchên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ANARD DUCHENE CUVEE LEONI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6.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Bolling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OLLINGER SPECIAL CUVE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Besserat De Bellef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ESSERAT BELLEFON BLEU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RUT SECOND SKIN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Demoisell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EMOISELLE TETE CUVEE BRUT PS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6.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Perrier Joue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ERRIER JOUET GRAND BRUT SHAP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RUINART BRUT SECOND SKIN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HAMPAGNE POL ROGER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a:defRPr sz="800">
                          <a:latin typeface="Nexa Book"/>
                        </a:defRPr>
                      </a:pPr>
                      <a:r>
                        <a:t>Deutz</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DEUTZ CLASSIC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3.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Laurent Perri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LAURENT PERRIER LA CUVEE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5.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Campari: 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HAMPAGNE LALLIER SERIE R.021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6.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Roeder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OEDERER BRUT COLLECTION 245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759</a:t>
            </a:fld>
            <a:endParaRPr lang="en-US"/>
          </a:p>
        </p:txBody>
      </p:sp>
    </p:spTree>
    <p:extLst>
      <p:ext uri="{BB962C8B-B14F-4D97-AF65-F5344CB8AC3E}">
        <p14:creationId xmlns:p14="http://schemas.microsoft.com/office/powerpoint/2010/main" val="1693727356"/>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Blanc De Blancs | CA A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76</a:t>
            </a:fld>
            <a:endParaRPr lang="en-US"/>
          </a:p>
        </p:txBody>
      </p:sp>
    </p:spTree>
    <p:extLst>
      <p:ext uri="{BB962C8B-B14F-4D97-AF65-F5344CB8AC3E}">
        <p14:creationId xmlns:p14="http://schemas.microsoft.com/office/powerpoint/2010/main" val="4188547181"/>
      </p:ext>
    </p:extLst>
  </p:cSld>
  <p:clrMapOvr>
    <a:masterClrMapping/>
  </p:clrMapOvr>
</p:sld>
</file>

<file path=ppt/slides/slide7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Bruts | NICOLAS PAC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RUT (NU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CHAMPAGNE E.NICOLAS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2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906332058"/>
                  </a:ext>
                </a:extLst>
              </a:tr>
              <a:tr h="164170">
                <a:tc>
                  <a:txBody>
                    <a:bodyPr/>
                    <a:lstStyle/>
                    <a:p>
                      <a:pPr algn="ctr">
                        <a:defRPr sz="800">
                          <a:latin typeface="Nexa Book"/>
                        </a:defRPr>
                      </a:pPr>
                      <a:r>
                        <a:t>Deutz</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EUTZ CLASSIC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5.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Heidsieck &amp; Co Monopol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HEIDSIECK MONOPOLE SILVER TOP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RUT SECOND SKIN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Laurent Perri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AURENT PERRIER LA CUVEE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De Blign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HAMPAGNE CH DE BLIGNY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3.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Ayal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YALA BRUT MAJEUR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6.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Bolling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OLLINGER SPECIAL CUVE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Taitting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TAITTINGER PRESTIGE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Canard Duchên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ANARD DUCHENE CUVEE LEONI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RUINART BRUT SECOND SKIN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Deutz</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DEUTZ CLASSIC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Demoisell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EMOISELLE TETE CUVEE BRUT PS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Perrier Joue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ERRIER JOUET GRAND BRUT SHAP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Besserat De Bellef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ESSERAT BELLEFON BLEU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4.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a:defRPr sz="800">
                          <a:latin typeface="Nexa Book"/>
                        </a:defRPr>
                      </a:pPr>
                      <a:r>
                        <a:t>Pommer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OMMERY SILVER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5.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Roeder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OEDERER BRUT COLLECTION 245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Laurent Perri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LAURENT PERRIER LA CUVEE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Moët &amp; Chand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OET &amp; CHANDON RES IMPERIAL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760</a:t>
            </a:fld>
            <a:endParaRPr lang="en-US"/>
          </a:p>
        </p:txBody>
      </p:sp>
    </p:spTree>
    <p:extLst>
      <p:ext uri="{BB962C8B-B14F-4D97-AF65-F5344CB8AC3E}">
        <p14:creationId xmlns:p14="http://schemas.microsoft.com/office/powerpoint/2010/main" val="291138509"/>
      </p:ext>
    </p:extLst>
  </p:cSld>
  <p:clrMapOvr>
    <a:masterClrMapping/>
  </p:clrMapOvr>
</p:sld>
</file>

<file path=ppt/slides/slide7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Bruts | NICOLAS RHO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RUT (NU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Deutz</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EUTZ CLASSIC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CHAMPAGNE E.NICOLAS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3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377019259"/>
                  </a:ext>
                </a:extLst>
              </a:tr>
              <a:tr h="164170">
                <a:tc>
                  <a:txBody>
                    <a:bodyPr/>
                    <a:lstStyle/>
                    <a:p>
                      <a:pPr algn="ctr">
                        <a:defRPr sz="800">
                          <a:latin typeface="Nexa Book"/>
                        </a:defRPr>
                      </a:pPr>
                      <a:r>
                        <a:t>Heidsieck &amp; Co Monopol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HEIDSIECK MONOPOLE SILVER TOP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Ayal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YALA BRUT MAJEUR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De Blign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HAMPAGNE CH DE BLIGNY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Taitting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TAITTINGER PRESTIGE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Canard Duchên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ANARD DUCHENE CUVEE LEONI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RUT SECOND SKIN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Laurent Perri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AURENT PERRIER LA CUVEE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Bolling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OLLINGER SPECIAL CUVE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Deutz</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DEUTZ CLASSIC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3.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Besserat De Bellef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ESSERAT BELLEFON BLEU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5.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Savia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HAMPAGNE GOSSET GDE RESERV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RUINART BRUT SECOND SKIN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Demoisell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EMOISELLE TETE CUVEE BRUT PS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a:defRPr sz="800">
                          <a:latin typeface="Nexa Book"/>
                        </a:defRPr>
                      </a:pPr>
                      <a:r>
                        <a:t>Laurent Perri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LAURENT PERRIER LA CUVEE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3.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Taitting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TAITTINGER PRESTIGE BRUT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5.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Perrier Joue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ERRIER JOUET GRAND BRUT SHAP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Roeder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OEDERER BRUT COLLECTION 245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761</a:t>
            </a:fld>
            <a:endParaRPr lang="en-US"/>
          </a:p>
        </p:txBody>
      </p:sp>
    </p:spTree>
    <p:extLst>
      <p:ext uri="{BB962C8B-B14F-4D97-AF65-F5344CB8AC3E}">
        <p14:creationId xmlns:p14="http://schemas.microsoft.com/office/powerpoint/2010/main" val="3193791744"/>
      </p:ext>
    </p:extLst>
  </p:cSld>
  <p:clrMapOvr>
    <a:masterClrMapping/>
  </p:clrMapOvr>
</p:sld>
</file>

<file path=ppt/slides/slide7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Bruts | NICOLAS AQU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RUT (NU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CHAMPAGNE E.NICOLAS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26.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906332058"/>
                  </a:ext>
                </a:extLst>
              </a:tr>
              <a:tr h="164170">
                <a:tc>
                  <a:txBody>
                    <a:bodyPr/>
                    <a:lstStyle/>
                    <a:p>
                      <a:pPr algn="ctr">
                        <a:defRPr sz="800">
                          <a:latin typeface="Nexa Book"/>
                        </a:defRPr>
                      </a:pPr>
                      <a:r>
                        <a:t>Deutz</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EUTZ CLASSIC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Heidsieck &amp; Co Monopol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HEIDSIECK MONOPOLE SILVER TOP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Ayal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YALA BRUT MAJEUR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6.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De Blign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HAMPAGNE CH DE BLIGNY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Canard Duchên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ANARD DUCHENE CUVEE LEONI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Besserat De Bellef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ESSERAT BELLEFON BLEU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Laurent Perri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AURENT PERRIER LA CUVEE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Campari: 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HAMPAGNE LALLIER SERIE R.021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Bolling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OLLINGER SPECIAL CUVE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Deutz</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DEUTZ CLASSIC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Taitting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TAITTINGER PRESTIGE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RUINART BRUT SECOND SKIN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RUT SECOND SKIN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Demoisell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EMOISELLE TETE CUVEE BRUT PS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4.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a:defRPr sz="800">
                          <a:latin typeface="Nexa Book"/>
                        </a:defRPr>
                      </a:pPr>
                      <a:r>
                        <a:t>Savia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HAMPAGNE GOSSET GDE RESERV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HAMPAGNE POL ROGER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Perrier Joue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ERRIER JOUET GRAND BRUT SHAP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Laurent Perri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LAURENT PERRIER LA CUVEE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762</a:t>
            </a:fld>
            <a:endParaRPr lang="en-US"/>
          </a:p>
        </p:txBody>
      </p:sp>
    </p:spTree>
    <p:extLst>
      <p:ext uri="{BB962C8B-B14F-4D97-AF65-F5344CB8AC3E}">
        <p14:creationId xmlns:p14="http://schemas.microsoft.com/office/powerpoint/2010/main" val="3747736914"/>
      </p:ext>
    </p:extLst>
  </p:cSld>
  <p:clrMapOvr>
    <a:masterClrMapping/>
  </p:clrMapOvr>
</p:sld>
</file>

<file path=ppt/slides/slide7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Bruts | NICOLAS EST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RUT (NU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CHAMPAGNE E.NICOLAS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2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906332058"/>
                  </a:ext>
                </a:extLst>
              </a:tr>
              <a:tr h="164170">
                <a:tc>
                  <a:txBody>
                    <a:bodyPr/>
                    <a:lstStyle/>
                    <a:p>
                      <a:pPr algn="ctr">
                        <a:defRPr sz="800">
                          <a:latin typeface="Nexa Book"/>
                        </a:defRPr>
                      </a:pPr>
                      <a:r>
                        <a:t>Deutz</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EUTZ CLASSIC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Ayal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YALA BRUT MAJEUR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HAMPAGNE J DEFRANCE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4.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Bolling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OLLINGER SPECIAL CUVE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De Blign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HAMPAGNE CH DE BLIGNY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Laurent Perri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AURENT PERRIER LA CUVEE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Heidsieck &amp; Co Monopol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HEIDSIECK MONOPOLE SILVER TOP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Canard Duchên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ANARD DUCHENE CUVEE LEONI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RUT SECOND SKIN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Taitting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TAITTINGER PRESTIGE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OUTARDIER CARTE D'OR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Demoisell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EMOISELLE TETE CUVEE BRUT PS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Deutz</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DEUTZ CLASSIC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HAMPAGNE POL ROGER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RUINART BRUT SECOND SKIN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Perrier Joue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ERRIER JOUET GRAND BRUT SHAP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5.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Pommer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OMMERY SILVER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Lanson-Bcc: 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HILIPPONNAT ROYALE RESERVE ND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8.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763</a:t>
            </a:fld>
            <a:endParaRPr lang="en-US"/>
          </a:p>
        </p:txBody>
      </p:sp>
    </p:spTree>
    <p:extLst>
      <p:ext uri="{BB962C8B-B14F-4D97-AF65-F5344CB8AC3E}">
        <p14:creationId xmlns:p14="http://schemas.microsoft.com/office/powerpoint/2010/main" val="2808646887"/>
      </p:ext>
    </p:extLst>
  </p:cSld>
  <p:clrMapOvr>
    <a:masterClrMapping/>
  </p:clrMapOvr>
</p:sld>
</file>

<file path=ppt/slides/slide7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Bruts | CA A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RUT (NU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CHAMPAGNE E.NICOLAS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2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906332058"/>
                  </a:ext>
                </a:extLst>
              </a:tr>
              <a:tr h="164170">
                <a:tc>
                  <a:txBody>
                    <a:bodyPr/>
                    <a:lstStyle/>
                    <a:p>
                      <a:pPr algn="ctr">
                        <a:defRPr sz="800">
                          <a:latin typeface="Nexa Book"/>
                        </a:defRPr>
                      </a:pPr>
                      <a:r>
                        <a:t>Deutz</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EUTZ CLASSIC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Laurent Perri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AURENT PERRIER LA CUVEE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6.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Heidsieck &amp; Co Monopol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HEIDSIECK MONOPOLE SILVER TOP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Ayal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YALA BRUT MAJEUR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Taitting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TAITTINGER PRESTIGE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8.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Bolling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OLLINGER SPECIAL CUVE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RUT SECOND SKIN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De Blign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HAMPAGNE CH DE BLIGNY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7.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Canard Duchên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ANARD DUCHENE CUVEE LEONI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Perrier Joue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ERRIER JOUET GRAND BRUT SHAP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RUINART BRUT SECOND SKIN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Besserat De Bellef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ESSERAT BELLEFON BLEU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Deutz</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DEUTZ CLASSIC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8.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Roeder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OEDERER BRUT COLLECTION 245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a:defRPr sz="800">
                          <a:latin typeface="Nexa Book"/>
                        </a:defRPr>
                      </a:pPr>
                      <a:r>
                        <a:t>Demoisell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EMOISELLE TETE CUVEE BRUT PS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HAMPAGNE POL ROGER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3.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Laurent Perri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LAURENT PERRIER LA CUVEE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4.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Campari: 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HAMPAGNE LALLIER SERIE R.021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764</a:t>
            </a:fld>
            <a:endParaRPr lang="en-US"/>
          </a:p>
        </p:txBody>
      </p:sp>
    </p:spTree>
    <p:extLst>
      <p:ext uri="{BB962C8B-B14F-4D97-AF65-F5344CB8AC3E}">
        <p14:creationId xmlns:p14="http://schemas.microsoft.com/office/powerpoint/2010/main" val="453940496"/>
      </p:ext>
    </p:extLst>
  </p:cSld>
  <p:clrMapOvr>
    <a:masterClrMapping/>
  </p:clrMapOvr>
</p:sld>
</file>

<file path=ppt/slides/slide7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Bruts | CA B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RUT (NU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CHAMPAGNE E.NICOLAS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25.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906332058"/>
                  </a:ext>
                </a:extLst>
              </a:tr>
              <a:tr h="164170">
                <a:tc>
                  <a:txBody>
                    <a:bodyPr/>
                    <a:lstStyle/>
                    <a:p>
                      <a:pPr algn="ctr">
                        <a:defRPr sz="800">
                          <a:latin typeface="Nexa Book"/>
                        </a:defRPr>
                      </a:pPr>
                      <a:r>
                        <a:t>Deutz</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EUTZ CLASSIC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Laurent Perri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AURENT PERRIER LA CUVEE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Heidsieck &amp; Co Monopol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HEIDSIECK MONOPOLE SILVER TOP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4.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Ayal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YALA BRUT MAJEUR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De Blign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HAMPAGNE CH DE BLIGNY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RUT SECOND SKIN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4.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Canard Duchên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ANARD DUCHENE CUVEE LEONI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Taitting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TAITTINGER PRESTIGE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Bolling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OLLINGER SPECIAL CUVE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Besserat De Bellef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ESSERAT BELLEFON BLEU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5.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Demoisell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EMOISELLE TETE CUVEE BRUT PS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7.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Campari: 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HAMPAGNE LALLIER SERIE R.021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Deutz</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DEUTZ CLASSIC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Perrier Joue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ERRIER JOUET GRAND BRUT SHAP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RUINART BRUT SECOND SKIN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4.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HAMPAGNE POL ROGER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Roeder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OEDERER BRUT COLLECTION 245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Laurent Perri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LAURENT PERRIER LA CUVEE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765</a:t>
            </a:fld>
            <a:endParaRPr lang="en-US"/>
          </a:p>
        </p:txBody>
      </p:sp>
    </p:spTree>
    <p:extLst>
      <p:ext uri="{BB962C8B-B14F-4D97-AF65-F5344CB8AC3E}">
        <p14:creationId xmlns:p14="http://schemas.microsoft.com/office/powerpoint/2010/main" val="3175618907"/>
      </p:ext>
    </p:extLst>
  </p:cSld>
  <p:clrMapOvr>
    <a:masterClrMapping/>
  </p:clrMapOvr>
</p:sld>
</file>

<file path=ppt/slides/slide7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Bruts | CA C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RUT (NU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CHAMPAGNE E.NICOLAS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25.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906332058"/>
                  </a:ext>
                </a:extLst>
              </a:tr>
              <a:tr h="164170">
                <a:tc>
                  <a:txBody>
                    <a:bodyPr/>
                    <a:lstStyle/>
                    <a:p>
                      <a:pPr algn="ctr">
                        <a:defRPr sz="800">
                          <a:latin typeface="Nexa Book"/>
                        </a:defRPr>
                      </a:pPr>
                      <a:r>
                        <a:t>Deutz</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EUTZ CLASSIC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3.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Heidsieck &amp; Co Monopol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HEIDSIECK MONOPOLE SILVER TOP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Ayal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YALA BRUT MAJEUR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Laurent Perri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AURENT PERRIER LA CUVEE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De Blign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HAMPAGNE CH DE BLIGNY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Canard Duchên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ANARD DUCHENE CUVEE LEONI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RUT SECOND SKIN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Taitting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TAITTINGER PRESTIGE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Bolling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OLLINGER SPECIAL CUVE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3.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Besserat De Bellef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ESSERAT BELLEFON BLEU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5.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Demoisell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EMOISELLE TETE CUVEE BRUT PS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RUINART BRUT SECOND SKIN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Deutz</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DEUTZ CLASSIC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Perrier Joue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ERRIER JOUET GRAND BRUT SHAP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HAMPAGNE POL ROGER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Campari: 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HAMPAGNE LALLIER SERIE R.021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Laurent Perri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LAURENT PERRIER LA CUVEE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Savia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HAMPAGNE GOSSET GDE RESERV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8.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766</a:t>
            </a:fld>
            <a:endParaRPr lang="en-US"/>
          </a:p>
        </p:txBody>
      </p:sp>
    </p:spTree>
    <p:extLst>
      <p:ext uri="{BB962C8B-B14F-4D97-AF65-F5344CB8AC3E}">
        <p14:creationId xmlns:p14="http://schemas.microsoft.com/office/powerpoint/2010/main" val="2108932539"/>
      </p:ext>
    </p:extLst>
  </p:cSld>
  <p:clrMapOvr>
    <a:masterClrMapping/>
  </p:clrMapOvr>
</p:sld>
</file>

<file path=ppt/slides/slide7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Bruts | CA D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RUT (NU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CHAMPAGNE E.NICOLAS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25.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906332058"/>
                  </a:ext>
                </a:extLst>
              </a:tr>
              <a:tr h="164170">
                <a:tc>
                  <a:txBody>
                    <a:bodyPr/>
                    <a:lstStyle/>
                    <a:p>
                      <a:pPr algn="ctr">
                        <a:defRPr sz="800">
                          <a:latin typeface="Nexa Book"/>
                        </a:defRPr>
                      </a:pPr>
                      <a:r>
                        <a:t>Deutz</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EUTZ CLASSIC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Heidsieck &amp; Co Monopol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HEIDSIECK MONOPOLE SILVER TOP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De Blign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HAMPAGNE CH DE BLIGNY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3.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Ayal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YALA BRUT MAJEUR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Laurent Perri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AURENT PERRIER LA CUVEE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Besserat De Bellef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ESSERAT BELLEFON BLEU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4.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Canard Duchên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ANARD DUCHENE CUVEE LEONI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Taitting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TAITTINGER PRESTIGE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RUT SECOND SKIN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Bolling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OLLINGER SPECIAL CUVE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5.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Demoisell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EMOISELLE TETE CUVEE BRUT PS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Deutz</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DEUTZ CLASSIC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HAMPAGNE POL ROGER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Perrier Joue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ERRIER JOUET GRAND BRUT SHAP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RUINART BRUT SECOND SKIN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Laurent Perri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LAURENT PERRIER LA CUVEE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5.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Savia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HAMPAGNE GOSSET GDE RESERV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6.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Pommer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OMMERY SILVER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8.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767</a:t>
            </a:fld>
            <a:endParaRPr lang="en-US"/>
          </a:p>
        </p:txBody>
      </p:sp>
    </p:spTree>
    <p:extLst>
      <p:ext uri="{BB962C8B-B14F-4D97-AF65-F5344CB8AC3E}">
        <p14:creationId xmlns:p14="http://schemas.microsoft.com/office/powerpoint/2010/main" val="2193224649"/>
      </p:ext>
    </p:extLst>
  </p:cSld>
  <p:clrMapOvr>
    <a:masterClrMapping/>
  </p:clrMapOvr>
</p:sld>
</file>

<file path=ppt/slides/slide7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Bruts | CA E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RUT (NU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CHAMPAGNE E.NICOLAS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26.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906332058"/>
                  </a:ext>
                </a:extLst>
              </a:tr>
              <a:tr h="164170">
                <a:tc>
                  <a:txBody>
                    <a:bodyPr/>
                    <a:lstStyle/>
                    <a:p>
                      <a:pPr algn="ctr">
                        <a:defRPr sz="800">
                          <a:latin typeface="Nexa Book"/>
                        </a:defRPr>
                      </a:pPr>
                      <a:r>
                        <a:t>Deutz</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EUTZ CLASSIC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Heidsieck &amp; Co Monopol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HEIDSIECK MONOPOLE SILVER TOP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Ayal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YALA BRUT MAJEUR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4.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De Blign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HAMPAGNE CH DE BLIGNY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Laurent Perri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AURENT PERRIER LA CUVEE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Canard Duchên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ANARD DUCHENE CUVEE LEONI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5.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Taitting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TAITTINGER PRESTIGE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Bolling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OLLINGER SPECIAL CUVE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RUT SECOND SKIN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3.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Besserat De Bellef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ESSERAT BELLEFON BLEU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Demoisell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EMOISELLE TETE CUVEE BRUT PS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Deutz</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DEUTZ CLASSIC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Perrier Joue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ERRIER JOUET GRAND BRUT SHAP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RUINART BRUT SECOND SKIN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3.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HAMPAGNE POL ROGER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5.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Savia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HAMPAGNE GOSSET GDE RESERV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6.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Pommer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OMMERY SILVER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Laurent Perri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LAURENT PERRIER LA CUVEE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768</a:t>
            </a:fld>
            <a:endParaRPr lang="en-US"/>
          </a:p>
        </p:txBody>
      </p:sp>
    </p:spTree>
    <p:extLst>
      <p:ext uri="{BB962C8B-B14F-4D97-AF65-F5344CB8AC3E}">
        <p14:creationId xmlns:p14="http://schemas.microsoft.com/office/powerpoint/2010/main" val="1707331674"/>
      </p:ext>
    </p:extLst>
  </p:cSld>
  <p:clrMapOvr>
    <a:masterClrMapping/>
  </p:clrMapOvr>
</p:sld>
</file>

<file path=ppt/slides/slide7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Crus | NICOLAS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4"/>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364822">
                <a:tc>
                  <a:txBody>
                    <a:bodyPr/>
                    <a:lstStyle/>
                    <a:p>
                      <a:pPr algn="ctr">
                        <a:defRPr sz="800">
                          <a:latin typeface="Nexa Book"/>
                        </a:defRPr>
                      </a:pPr>
                      <a:r>
                        <a:t>Malard</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ALARD PREMIER CRU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364822">
                <a:tc>
                  <a:txBody>
                    <a:bodyPr/>
                    <a:lstStyle/>
                    <a:p>
                      <a:pPr algn="ctr">
                        <a:defRPr sz="800">
                          <a:latin typeface="Nexa Book"/>
                        </a:defRPr>
                      </a:pPr>
                      <a:r>
                        <a:t>Vessell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EORGES VESSELLE GRD CRU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7.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364822">
                <a:tc>
                  <a:txBody>
                    <a:bodyPr/>
                    <a:lstStyle/>
                    <a:p>
                      <a:pPr algn="ctr">
                        <a:defRPr sz="800">
                          <a:latin typeface="Nexa Book"/>
                        </a:defRPr>
                      </a:pPr>
                      <a:r>
                        <a:t>Louis Marti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OUIS MARTIN BRUT PREMIER CRU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364822">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CHAMPAGNE NICOLAS 1ER CRU BS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714509061"/>
                  </a:ext>
                </a:extLst>
              </a:tr>
              <a:tr h="364822">
                <a:tc>
                  <a:txBody>
                    <a:bodyPr/>
                    <a:lstStyle/>
                    <a:p>
                      <a:pPr algn="ctr">
                        <a:defRPr sz="800">
                          <a:latin typeface="Nexa Book"/>
                        </a:defRPr>
                      </a:pPr>
                      <a:r>
                        <a:t>Louis Marti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OUIS MARTIN BRUT GRAND CRU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364822">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CHAMPAGNE NICOLAS 1ER CRU ETUI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720551800"/>
                  </a:ext>
                </a:extLst>
              </a:tr>
              <a:tr h="364822">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MG CHAMPAGNE NICOLAS 1E CRU BS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3682606022"/>
                  </a:ext>
                </a:extLst>
              </a:tr>
              <a:tr h="364822">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OMTE MONTE CARLO BLC BLC 1CRU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364822">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OMTE MONTE CARLO RIVIERA 1CRU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769</a:t>
            </a:fld>
            <a:endParaRPr lang="en-US"/>
          </a:p>
        </p:txBody>
      </p:sp>
    </p:spTree>
    <p:extLst>
      <p:ext uri="{BB962C8B-B14F-4D97-AF65-F5344CB8AC3E}">
        <p14:creationId xmlns:p14="http://schemas.microsoft.com/office/powerpoint/2010/main" val="3350920347"/>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Blanc De Blancs | CA B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77</a:t>
            </a:fld>
            <a:endParaRPr lang="en-US"/>
          </a:p>
        </p:txBody>
      </p:sp>
    </p:spTree>
    <p:extLst>
      <p:ext uri="{BB962C8B-B14F-4D97-AF65-F5344CB8AC3E}">
        <p14:creationId xmlns:p14="http://schemas.microsoft.com/office/powerpoint/2010/main" val="1516309354"/>
      </p:ext>
    </p:extLst>
  </p:cSld>
  <p:clrMapOvr>
    <a:masterClrMapping/>
  </p:clrMapOvr>
</p:sld>
</file>

<file path=ppt/slides/slide7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Crus | NICOLAS QCN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4"/>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364822">
                <a:tc>
                  <a:txBody>
                    <a:bodyPr/>
                    <a:lstStyle/>
                    <a:p>
                      <a:pPr algn="ctr">
                        <a:defRPr sz="800">
                          <a:latin typeface="Nexa Book"/>
                        </a:defRPr>
                      </a:pPr>
                      <a:r>
                        <a:t>Malard</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ALARD PREMIER CRU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364822">
                <a:tc>
                  <a:txBody>
                    <a:bodyPr/>
                    <a:lstStyle/>
                    <a:p>
                      <a:pPr algn="ctr">
                        <a:defRPr sz="800">
                          <a:latin typeface="Nexa Book"/>
                        </a:defRPr>
                      </a:pPr>
                      <a:r>
                        <a:t>Vessell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EORGES VESSELLE GRD CRU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364822">
                <a:tc>
                  <a:txBody>
                    <a:bodyPr/>
                    <a:lstStyle/>
                    <a:p>
                      <a:pPr algn="ctr">
                        <a:defRPr sz="800">
                          <a:latin typeface="Nexa Book"/>
                        </a:defRPr>
                      </a:pPr>
                      <a:r>
                        <a:t>Louis Marti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OUIS MARTIN BRUT PREMIER CRU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364822">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CHAMPAGNE NICOLAS 1ER CRU BS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714509061"/>
                  </a:ext>
                </a:extLst>
              </a:tr>
              <a:tr h="364822">
                <a:tc>
                  <a:txBody>
                    <a:bodyPr/>
                    <a:lstStyle/>
                    <a:p>
                      <a:pPr algn="ctr">
                        <a:defRPr sz="800">
                          <a:latin typeface="Nexa Book"/>
                        </a:defRPr>
                      </a:pPr>
                      <a:r>
                        <a:t>Louis Marti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OUIS MARTIN BRUT GRAND CRU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364822">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CHAMPAGNE NICOLAS 1ER CRU ETUI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720551800"/>
                  </a:ext>
                </a:extLst>
              </a:tr>
              <a:tr h="364822">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MG CHAMPAGNE NICOLAS 1E CRU BS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3682606022"/>
                  </a:ext>
                </a:extLst>
              </a:tr>
              <a:tr h="364822">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OMTE MONTE CARLO RIVIERA 1CRU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364822">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OMTE MONTE CARLO BLC BLC 1CRU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770</a:t>
            </a:fld>
            <a:endParaRPr lang="en-US"/>
          </a:p>
        </p:txBody>
      </p:sp>
    </p:spTree>
    <p:extLst>
      <p:ext uri="{BB962C8B-B14F-4D97-AF65-F5344CB8AC3E}">
        <p14:creationId xmlns:p14="http://schemas.microsoft.com/office/powerpoint/2010/main" val="2625545368"/>
      </p:ext>
    </p:extLst>
  </p:cSld>
  <p:clrMapOvr>
    <a:masterClrMapping/>
  </p:clrMapOvr>
</p:sld>
</file>

<file path=ppt/slides/slide7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Crus | NICOLAS VCN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410425">
                <a:tc>
                  <a:txBody>
                    <a:bodyPr/>
                    <a:lstStyle/>
                    <a:p>
                      <a:pPr algn="ctr">
                        <a:defRPr sz="800">
                          <a:latin typeface="Nexa Book"/>
                        </a:defRPr>
                      </a:pPr>
                      <a:r>
                        <a:t>Malard</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ALARD PREMIER CRU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410425">
                <a:tc>
                  <a:txBody>
                    <a:bodyPr/>
                    <a:lstStyle/>
                    <a:p>
                      <a:pPr algn="ctr">
                        <a:defRPr sz="800">
                          <a:latin typeface="Nexa Book"/>
                        </a:defRPr>
                      </a:pPr>
                      <a:r>
                        <a:t>Vessell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EORGES VESSELLE GRD CRU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410425">
                <a:tc>
                  <a:txBody>
                    <a:bodyPr/>
                    <a:lstStyle/>
                    <a:p>
                      <a:pPr algn="ctr">
                        <a:defRPr sz="800">
                          <a:latin typeface="Nexa Book"/>
                        </a:defRPr>
                      </a:pPr>
                      <a:r>
                        <a:t>Louis Marti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OUIS MARTIN BRUT PREMIER CRU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410425">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CHAMPAGNE NICOLAS 1ER CRU BS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3490141980"/>
                  </a:ext>
                </a:extLst>
              </a:tr>
              <a:tr h="410425">
                <a:tc>
                  <a:txBody>
                    <a:bodyPr/>
                    <a:lstStyle/>
                    <a:p>
                      <a:pPr algn="ctr">
                        <a:defRPr sz="800">
                          <a:latin typeface="Nexa Book"/>
                        </a:defRPr>
                      </a:pPr>
                      <a:r>
                        <a:t>Louis Marti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OUIS MARTIN BRUT GRAND CRU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410425">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CHAMPAGNE NICOLAS 1ER CRU ETUI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3682606022"/>
                  </a:ext>
                </a:extLst>
              </a:tr>
              <a:tr h="410425">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MG CHAMPAGNE NICOLAS 1E CRU BS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2959808831"/>
                  </a:ext>
                </a:extLst>
              </a:tr>
              <a:tr h="410425">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OMTE MONTE CARLO BLC BLC 1CRU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771</a:t>
            </a:fld>
            <a:endParaRPr lang="en-US"/>
          </a:p>
        </p:txBody>
      </p:sp>
    </p:spTree>
    <p:extLst>
      <p:ext uri="{BB962C8B-B14F-4D97-AF65-F5344CB8AC3E}">
        <p14:creationId xmlns:p14="http://schemas.microsoft.com/office/powerpoint/2010/main" val="1245992716"/>
      </p:ext>
    </p:extLst>
  </p:cSld>
  <p:clrMapOvr>
    <a:masterClrMapping/>
  </p:clrMapOvr>
</p:sld>
</file>

<file path=ppt/slides/slide7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Crus | NICOLAS QCT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4"/>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364822">
                <a:tc>
                  <a:txBody>
                    <a:bodyPr/>
                    <a:lstStyle/>
                    <a:p>
                      <a:pPr algn="ctr">
                        <a:defRPr sz="800">
                          <a:latin typeface="Nexa Book"/>
                        </a:defRPr>
                      </a:pPr>
                      <a:r>
                        <a:t>Malard</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ALARD PREMIER CRU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3.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364822">
                <a:tc>
                  <a:txBody>
                    <a:bodyPr/>
                    <a:lstStyle/>
                    <a:p>
                      <a:pPr algn="ctr">
                        <a:defRPr sz="800">
                          <a:latin typeface="Nexa Book"/>
                        </a:defRPr>
                      </a:pPr>
                      <a:r>
                        <a:t>Vessell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EORGES VESSELLE GRD CRU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5.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364822">
                <a:tc>
                  <a:txBody>
                    <a:bodyPr/>
                    <a:lstStyle/>
                    <a:p>
                      <a:pPr algn="ctr">
                        <a:defRPr sz="800">
                          <a:latin typeface="Nexa Book"/>
                        </a:defRPr>
                      </a:pPr>
                      <a:r>
                        <a:t>Louis Marti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OUIS MARTIN BRUT PREMIER CRU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364822">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CHAMPAGNE NICOLAS 1ER CRU BS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8.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714509061"/>
                  </a:ext>
                </a:extLst>
              </a:tr>
              <a:tr h="364822">
                <a:tc>
                  <a:txBody>
                    <a:bodyPr/>
                    <a:lstStyle/>
                    <a:p>
                      <a:pPr algn="ctr">
                        <a:defRPr sz="800">
                          <a:latin typeface="Nexa Book"/>
                        </a:defRPr>
                      </a:pPr>
                      <a:r>
                        <a:t>Louis Marti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OUIS MARTIN BRUT GRAND CRU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364822">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CHAMPAGNE NICOLAS 1ER CRU ETUI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720551800"/>
                  </a:ext>
                </a:extLst>
              </a:tr>
              <a:tr h="364822">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OMTE MONTE CARLO RIVIERA 1CRU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364822">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OMTE MONTE CARLO BLC BLC 1CRU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364822">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MG CHAMPAGNE NICOLAS 1E CRU BS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772</a:t>
            </a:fld>
            <a:endParaRPr lang="en-US"/>
          </a:p>
        </p:txBody>
      </p:sp>
    </p:spTree>
    <p:extLst>
      <p:ext uri="{BB962C8B-B14F-4D97-AF65-F5344CB8AC3E}">
        <p14:creationId xmlns:p14="http://schemas.microsoft.com/office/powerpoint/2010/main" val="2208524051"/>
      </p:ext>
    </p:extLst>
  </p:cSld>
  <p:clrMapOvr>
    <a:masterClrMapping/>
  </p:clrMapOvr>
</p:sld>
</file>

<file path=ppt/slides/slide7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Crus | NICOLAS QCA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5"/>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469057">
                <a:tc>
                  <a:txBody>
                    <a:bodyPr/>
                    <a:lstStyle/>
                    <a:p>
                      <a:pPr algn="ctr">
                        <a:defRPr sz="800">
                          <a:latin typeface="Nexa Book"/>
                        </a:defRPr>
                      </a:pPr>
                      <a:r>
                        <a:t>Malard</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ALARD PREMIER CRU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469057">
                <a:tc>
                  <a:txBody>
                    <a:bodyPr/>
                    <a:lstStyle/>
                    <a:p>
                      <a:pPr algn="ctr">
                        <a:defRPr sz="800">
                          <a:latin typeface="Nexa Book"/>
                        </a:defRPr>
                      </a:pPr>
                      <a:r>
                        <a:t>Vessell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EORGES VESSELLE GRD CRU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8.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469057">
                <a:tc>
                  <a:txBody>
                    <a:bodyPr/>
                    <a:lstStyle/>
                    <a:p>
                      <a:pPr algn="ctr">
                        <a:defRPr sz="800">
                          <a:latin typeface="Nexa Book"/>
                        </a:defRPr>
                      </a:pPr>
                      <a:r>
                        <a:t>Louis Marti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OUIS MARTIN BRUT PREMIER CRU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469057">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CHAMPAGNE NICOLAS 1ER CRU ETUI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4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720551800"/>
                  </a:ext>
                </a:extLst>
              </a:tr>
              <a:tr h="469057">
                <a:tc>
                  <a:txBody>
                    <a:bodyPr/>
                    <a:lstStyle/>
                    <a:p>
                      <a:pPr algn="ctr">
                        <a:defRPr sz="800">
                          <a:latin typeface="Nexa Book"/>
                        </a:defRPr>
                      </a:pPr>
                      <a:r>
                        <a:t>Louis Marti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OUIS MARTIN BRUT GRAND CRU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469057">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CHAMPAGNE NICOLAS 1ER CRU BS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2959808831"/>
                  </a:ext>
                </a:extLst>
              </a:tr>
              <a:tr h="469057">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MG CHAMPAGNE NICOLAS 1E CRU BS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773</a:t>
            </a:fld>
            <a:endParaRPr lang="en-US"/>
          </a:p>
        </p:txBody>
      </p:sp>
    </p:spTree>
    <p:extLst>
      <p:ext uri="{BB962C8B-B14F-4D97-AF65-F5344CB8AC3E}">
        <p14:creationId xmlns:p14="http://schemas.microsoft.com/office/powerpoint/2010/main" val="3060718407"/>
      </p:ext>
    </p:extLst>
  </p:cSld>
  <p:clrMapOvr>
    <a:masterClrMapping/>
  </p:clrMapOvr>
</p:sld>
</file>

<file path=ppt/slides/slide7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Crus | NICOLAS CCP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5"/>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469057">
                <a:tc>
                  <a:txBody>
                    <a:bodyPr/>
                    <a:lstStyle/>
                    <a:p>
                      <a:pPr algn="ctr">
                        <a:defRPr sz="800">
                          <a:latin typeface="Nexa Book"/>
                        </a:defRPr>
                      </a:pPr>
                      <a:r>
                        <a:t>Malard</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ALARD PREMIER CRU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469057">
                <a:tc>
                  <a:txBody>
                    <a:bodyPr/>
                    <a:lstStyle/>
                    <a:p>
                      <a:pPr algn="ctr">
                        <a:defRPr sz="800">
                          <a:latin typeface="Nexa Book"/>
                        </a:defRPr>
                      </a:pPr>
                      <a:r>
                        <a:t>Vessell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EORGES VESSELLE GRD CRU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469057">
                <a:tc>
                  <a:txBody>
                    <a:bodyPr/>
                    <a:lstStyle/>
                    <a:p>
                      <a:pPr algn="ctr">
                        <a:defRPr sz="800">
                          <a:latin typeface="Nexa Book"/>
                        </a:defRPr>
                      </a:pPr>
                      <a:r>
                        <a:t>Louis Marti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OUIS MARTIN BRUT PREMIER CRU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469057">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CHAMPAGNE NICOLAS 1ER CRU BS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8.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720551800"/>
                  </a:ext>
                </a:extLst>
              </a:tr>
              <a:tr h="469057">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CHAMPAGNE NICOLAS 1ER CRU ETUI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3682606022"/>
                  </a:ext>
                </a:extLst>
              </a:tr>
              <a:tr h="469057">
                <a:tc>
                  <a:txBody>
                    <a:bodyPr/>
                    <a:lstStyle/>
                    <a:p>
                      <a:pPr algn="ctr">
                        <a:defRPr sz="800">
                          <a:latin typeface="Nexa Book"/>
                        </a:defRPr>
                      </a:pPr>
                      <a:r>
                        <a:t>Louis Marti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OUIS MARTIN BRUT GRAND CRU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469057">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MG CHAMPAGNE NICOLAS 1E CRU BS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774</a:t>
            </a:fld>
            <a:endParaRPr lang="en-US"/>
          </a:p>
        </p:txBody>
      </p:sp>
    </p:spTree>
    <p:extLst>
      <p:ext uri="{BB962C8B-B14F-4D97-AF65-F5344CB8AC3E}">
        <p14:creationId xmlns:p14="http://schemas.microsoft.com/office/powerpoint/2010/main" val="4256277375"/>
      </p:ext>
    </p:extLst>
  </p:cSld>
  <p:clrMapOvr>
    <a:masterClrMapping/>
  </p:clrMapOvr>
</p:sld>
</file>

<file path=ppt/slides/slide7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Crus | NICOLAS IDF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5"/>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469057">
                <a:tc>
                  <a:txBody>
                    <a:bodyPr/>
                    <a:lstStyle/>
                    <a:p>
                      <a:pPr algn="ctr">
                        <a:defRPr sz="800">
                          <a:latin typeface="Nexa Book"/>
                        </a:defRPr>
                      </a:pPr>
                      <a:r>
                        <a:t>Malard</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ALARD PREMIER CRU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469057">
                <a:tc>
                  <a:txBody>
                    <a:bodyPr/>
                    <a:lstStyle/>
                    <a:p>
                      <a:pPr algn="ctr">
                        <a:defRPr sz="800">
                          <a:latin typeface="Nexa Book"/>
                        </a:defRPr>
                      </a:pPr>
                      <a:r>
                        <a:t>Vessell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EORGES VESSELLE GRD CRU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469057">
                <a:tc>
                  <a:txBody>
                    <a:bodyPr/>
                    <a:lstStyle/>
                    <a:p>
                      <a:pPr algn="ctr">
                        <a:defRPr sz="800">
                          <a:latin typeface="Nexa Book"/>
                        </a:defRPr>
                      </a:pPr>
                      <a:r>
                        <a:t>Louis Marti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OUIS MARTIN BRUT PREMIER CRU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469057">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CHAMPAGNE NICOLAS 1ER CRU BS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720551800"/>
                  </a:ext>
                </a:extLst>
              </a:tr>
              <a:tr h="469057">
                <a:tc>
                  <a:txBody>
                    <a:bodyPr/>
                    <a:lstStyle/>
                    <a:p>
                      <a:pPr algn="ctr">
                        <a:defRPr sz="800">
                          <a:latin typeface="Nexa Book"/>
                        </a:defRPr>
                      </a:pPr>
                      <a:r>
                        <a:t>Louis Marti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OUIS MARTIN BRUT GRAND CRU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469057">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CHAMPAGNE NICOLAS 1ER CRU ETUI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2959808831"/>
                  </a:ext>
                </a:extLst>
              </a:tr>
              <a:tr h="469057">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MG CHAMPAGNE NICOLAS 1E CRU BS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775</a:t>
            </a:fld>
            <a:endParaRPr lang="en-US"/>
          </a:p>
        </p:txBody>
      </p:sp>
    </p:spTree>
    <p:extLst>
      <p:ext uri="{BB962C8B-B14F-4D97-AF65-F5344CB8AC3E}">
        <p14:creationId xmlns:p14="http://schemas.microsoft.com/office/powerpoint/2010/main" val="1120506502"/>
      </p:ext>
    </p:extLst>
  </p:cSld>
  <p:clrMapOvr>
    <a:masterClrMapping/>
  </p:clrMapOvr>
</p:sld>
</file>

<file path=ppt/slides/slide7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Crus | NICOLAS PAC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4"/>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364822">
                <a:tc>
                  <a:txBody>
                    <a:bodyPr/>
                    <a:lstStyle/>
                    <a:p>
                      <a:pPr algn="ctr">
                        <a:defRPr sz="800">
                          <a:latin typeface="Nexa Book"/>
                        </a:defRPr>
                      </a:pPr>
                      <a:r>
                        <a:t>Malard</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ALARD PREMIER CRU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364822">
                <a:tc>
                  <a:txBody>
                    <a:bodyPr/>
                    <a:lstStyle/>
                    <a:p>
                      <a:pPr algn="ctr">
                        <a:defRPr sz="800">
                          <a:latin typeface="Nexa Book"/>
                        </a:defRPr>
                      </a:pPr>
                      <a:r>
                        <a:t>Vessell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EORGES VESSELLE GRD CRU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7.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364822">
                <a:tc>
                  <a:txBody>
                    <a:bodyPr/>
                    <a:lstStyle/>
                    <a:p>
                      <a:pPr algn="ctr">
                        <a:defRPr sz="800">
                          <a:latin typeface="Nexa Book"/>
                        </a:defRPr>
                      </a:pPr>
                      <a:r>
                        <a:t>Louis Marti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OUIS MARTIN BRUT PREMIER CRU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364822">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CHAMPAGNE NICOLAS 1ER CRU BS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714509061"/>
                  </a:ext>
                </a:extLst>
              </a:tr>
              <a:tr h="364822">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CHAMPAGNE NICOLAS 1ER CRU ETUI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3490141980"/>
                  </a:ext>
                </a:extLst>
              </a:tr>
              <a:tr h="364822">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OMTE MONTE CARLO BLC BLC 1CRU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364822">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OMTE MONTE CARLO RIVIERA 1CRU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364822">
                <a:tc>
                  <a:txBody>
                    <a:bodyPr/>
                    <a:lstStyle/>
                    <a:p>
                      <a:pPr algn="ctr">
                        <a:defRPr sz="800">
                          <a:latin typeface="Nexa Book"/>
                        </a:defRPr>
                      </a:pPr>
                      <a:r>
                        <a:t>Louis Marti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OUIS MARTIN BRUT GRAND CRU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364822">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MG CHAMPAGNE NICOLAS 1E CRU BS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776</a:t>
            </a:fld>
            <a:endParaRPr lang="en-US"/>
          </a:p>
        </p:txBody>
      </p:sp>
    </p:spTree>
    <p:extLst>
      <p:ext uri="{BB962C8B-B14F-4D97-AF65-F5344CB8AC3E}">
        <p14:creationId xmlns:p14="http://schemas.microsoft.com/office/powerpoint/2010/main" val="1767101977"/>
      </p:ext>
    </p:extLst>
  </p:cSld>
  <p:clrMapOvr>
    <a:masterClrMapping/>
  </p:clrMapOvr>
</p:sld>
</file>

<file path=ppt/slides/slide7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Crus | NICOLAS RHO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5"/>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469057">
                <a:tc>
                  <a:txBody>
                    <a:bodyPr/>
                    <a:lstStyle/>
                    <a:p>
                      <a:pPr algn="ctr">
                        <a:defRPr sz="800">
                          <a:latin typeface="Nexa Book"/>
                        </a:defRPr>
                      </a:pPr>
                      <a:r>
                        <a:t>Malard</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ALARD PREMIER CRU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3.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469057">
                <a:tc>
                  <a:txBody>
                    <a:bodyPr/>
                    <a:lstStyle/>
                    <a:p>
                      <a:pPr algn="ctr">
                        <a:defRPr sz="800">
                          <a:latin typeface="Nexa Book"/>
                        </a:defRPr>
                      </a:pPr>
                      <a:r>
                        <a:t>Vessell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EORGES VESSELLE GRD CRU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469057">
                <a:tc>
                  <a:txBody>
                    <a:bodyPr/>
                    <a:lstStyle/>
                    <a:p>
                      <a:pPr algn="ctr">
                        <a:defRPr sz="800">
                          <a:latin typeface="Nexa Book"/>
                        </a:defRPr>
                      </a:pPr>
                      <a:r>
                        <a:t>Louis Marti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OUIS MARTIN BRUT PREMIER CRU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469057">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CHAMPAGNE NICOLAS 1ER CRU BS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720551800"/>
                  </a:ext>
                </a:extLst>
              </a:tr>
              <a:tr h="469057">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CHAMPAGNE NICOLAS 1ER CRU ETUI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3682606022"/>
                  </a:ext>
                </a:extLst>
              </a:tr>
              <a:tr h="469057">
                <a:tc>
                  <a:txBody>
                    <a:bodyPr/>
                    <a:lstStyle/>
                    <a:p>
                      <a:pPr algn="ctr">
                        <a:defRPr sz="800">
                          <a:latin typeface="Nexa Book"/>
                        </a:defRPr>
                      </a:pPr>
                      <a:r>
                        <a:t>Louis Marti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OUIS MARTIN BRUT GRAND CRU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469057">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MG CHAMPAGNE NICOLAS 1E CRU BS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777</a:t>
            </a:fld>
            <a:endParaRPr lang="en-US"/>
          </a:p>
        </p:txBody>
      </p:sp>
    </p:spTree>
    <p:extLst>
      <p:ext uri="{BB962C8B-B14F-4D97-AF65-F5344CB8AC3E}">
        <p14:creationId xmlns:p14="http://schemas.microsoft.com/office/powerpoint/2010/main" val="3642180065"/>
      </p:ext>
    </p:extLst>
  </p:cSld>
  <p:clrMapOvr>
    <a:masterClrMapping/>
  </p:clrMapOvr>
</p:sld>
</file>

<file path=ppt/slides/slide7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Crus | NICOLAS AQU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5"/>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469057">
                <a:tc>
                  <a:txBody>
                    <a:bodyPr/>
                    <a:lstStyle/>
                    <a:p>
                      <a:pPr algn="ctr">
                        <a:defRPr sz="800">
                          <a:latin typeface="Nexa Book"/>
                        </a:defRPr>
                      </a:pPr>
                      <a:r>
                        <a:t>Malard</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ALARD PREMIER CRU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469057">
                <a:tc>
                  <a:txBody>
                    <a:bodyPr/>
                    <a:lstStyle/>
                    <a:p>
                      <a:pPr algn="ctr">
                        <a:defRPr sz="800">
                          <a:latin typeface="Nexa Book"/>
                        </a:defRPr>
                      </a:pPr>
                      <a:r>
                        <a:t>Louis Marti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OUIS MARTIN BRUT PREMIER CRU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469057">
                <a:tc>
                  <a:txBody>
                    <a:bodyPr/>
                    <a:lstStyle/>
                    <a:p>
                      <a:pPr algn="ctr">
                        <a:defRPr sz="800">
                          <a:latin typeface="Nexa Book"/>
                        </a:defRPr>
                      </a:pPr>
                      <a:r>
                        <a:t>Vessell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EORGES VESSELLE GRD CRU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469057">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CHAMPAGNE NICOLAS 1ER CRU BS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3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720551800"/>
                  </a:ext>
                </a:extLst>
              </a:tr>
              <a:tr h="469057">
                <a:tc>
                  <a:txBody>
                    <a:bodyPr/>
                    <a:lstStyle/>
                    <a:p>
                      <a:pPr algn="ctr">
                        <a:defRPr sz="800">
                          <a:latin typeface="Nexa Book"/>
                        </a:defRPr>
                      </a:pPr>
                      <a:r>
                        <a:t>Louis Marti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OUIS MARTIN BRUT GRAND CRU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469057">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MG CHAMPAGNE NICOLAS 1E CRU BS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2959808831"/>
                  </a:ext>
                </a:extLst>
              </a:tr>
              <a:tr h="469057">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CHAMPAGNE NICOLAS 1ER CRU ETUI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778</a:t>
            </a:fld>
            <a:endParaRPr lang="en-US"/>
          </a:p>
        </p:txBody>
      </p:sp>
    </p:spTree>
    <p:extLst>
      <p:ext uri="{BB962C8B-B14F-4D97-AF65-F5344CB8AC3E}">
        <p14:creationId xmlns:p14="http://schemas.microsoft.com/office/powerpoint/2010/main" val="16541255"/>
      </p:ext>
    </p:extLst>
  </p:cSld>
  <p:clrMapOvr>
    <a:masterClrMapping/>
  </p:clrMapOvr>
</p:sld>
</file>

<file path=ppt/slides/slide7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Crus | NICOLAS EST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5"/>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469057">
                <a:tc>
                  <a:txBody>
                    <a:bodyPr/>
                    <a:lstStyle/>
                    <a:p>
                      <a:pPr algn="ctr">
                        <a:defRPr sz="800">
                          <a:latin typeface="Nexa Book"/>
                        </a:defRPr>
                      </a:pPr>
                      <a:r>
                        <a:t>Malard</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ALARD PREMIER CRU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469057">
                <a:tc>
                  <a:txBody>
                    <a:bodyPr/>
                    <a:lstStyle/>
                    <a:p>
                      <a:pPr algn="ctr">
                        <a:defRPr sz="800">
                          <a:latin typeface="Nexa Book"/>
                        </a:defRPr>
                      </a:pPr>
                      <a:r>
                        <a:t>Vessell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EORGES VESSELLE GRD CRU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5.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469057">
                <a:tc>
                  <a:txBody>
                    <a:bodyPr/>
                    <a:lstStyle/>
                    <a:p>
                      <a:pPr algn="ctr">
                        <a:defRPr sz="800">
                          <a:latin typeface="Nexa Book"/>
                        </a:defRPr>
                      </a:pPr>
                      <a:r>
                        <a:t>Louis Marti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OUIS MARTIN BRUT PREMIER CRU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469057">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CHAMPAGNE NICOLAS 1ER CRU BS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4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7.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720551800"/>
                  </a:ext>
                </a:extLst>
              </a:tr>
              <a:tr h="469057">
                <a:tc>
                  <a:txBody>
                    <a:bodyPr/>
                    <a:lstStyle/>
                    <a:p>
                      <a:pPr algn="ctr">
                        <a:defRPr sz="800">
                          <a:latin typeface="Nexa Book"/>
                        </a:defRPr>
                      </a:pPr>
                      <a:r>
                        <a:t>Louis Marti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OUIS MARTIN BRUT GRAND CRU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469057">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MG CHAMPAGNE NICOLAS 1E CRU BS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2959808831"/>
                  </a:ext>
                </a:extLst>
              </a:tr>
              <a:tr h="469057">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CHAMPAGNE NICOLAS 1ER CRU ETUI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779</a:t>
            </a:fld>
            <a:endParaRPr lang="en-US"/>
          </a:p>
        </p:txBody>
      </p:sp>
    </p:spTree>
    <p:extLst>
      <p:ext uri="{BB962C8B-B14F-4D97-AF65-F5344CB8AC3E}">
        <p14:creationId xmlns:p14="http://schemas.microsoft.com/office/powerpoint/2010/main" val="4141373293"/>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Blanc De Blancs | CA C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78</a:t>
            </a:fld>
            <a:endParaRPr lang="en-US"/>
          </a:p>
        </p:txBody>
      </p:sp>
    </p:spTree>
    <p:extLst>
      <p:ext uri="{BB962C8B-B14F-4D97-AF65-F5344CB8AC3E}">
        <p14:creationId xmlns:p14="http://schemas.microsoft.com/office/powerpoint/2010/main" val="2717971310"/>
      </p:ext>
    </p:extLst>
  </p:cSld>
  <p:clrMapOvr>
    <a:masterClrMapping/>
  </p:clrMapOvr>
</p:sld>
</file>

<file path=ppt/slides/slide7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Crus | CA A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4"/>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364822">
                <a:tc>
                  <a:txBody>
                    <a:bodyPr/>
                    <a:lstStyle/>
                    <a:p>
                      <a:pPr algn="ctr">
                        <a:defRPr sz="800">
                          <a:latin typeface="Nexa Book"/>
                        </a:defRPr>
                      </a:pPr>
                      <a:r>
                        <a:t>Malard</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ALARD PREMIER CRU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364822">
                <a:tc>
                  <a:txBody>
                    <a:bodyPr/>
                    <a:lstStyle/>
                    <a:p>
                      <a:pPr algn="ctr">
                        <a:defRPr sz="800">
                          <a:latin typeface="Nexa Book"/>
                        </a:defRPr>
                      </a:pPr>
                      <a:r>
                        <a:t>Vessell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EORGES VESSELLE GRD CRU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5.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364822">
                <a:tc>
                  <a:txBody>
                    <a:bodyPr/>
                    <a:lstStyle/>
                    <a:p>
                      <a:pPr algn="ctr">
                        <a:defRPr sz="800">
                          <a:latin typeface="Nexa Book"/>
                        </a:defRPr>
                      </a:pPr>
                      <a:r>
                        <a:t>Louis Marti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OUIS MARTIN BRUT PREMIER CRU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364822">
                <a:tc>
                  <a:txBody>
                    <a:bodyPr/>
                    <a:lstStyle/>
                    <a:p>
                      <a:pPr algn="ctr">
                        <a:defRPr sz="800">
                          <a:latin typeface="Nexa Book"/>
                        </a:defRPr>
                      </a:pPr>
                      <a:r>
                        <a:t>Louis Marti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OUIS MARTIN BRUT GRAND CRU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364822">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CHAMPAGNE NICOLAS 1ER CRU BS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3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3490141980"/>
                  </a:ext>
                </a:extLst>
              </a:tr>
              <a:tr h="364822">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CHAMPAGNE NICOLAS 1ER CRU ETUI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720551800"/>
                  </a:ext>
                </a:extLst>
              </a:tr>
              <a:tr h="364822">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MG CHAMPAGNE NICOLAS 1E CRU BS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3682606022"/>
                  </a:ext>
                </a:extLst>
              </a:tr>
              <a:tr h="364822">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OMTE MONTE CARLO BLC BLC 1CRU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364822">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OMTE MONTE CARLO RIVIERA 1CRU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780</a:t>
            </a:fld>
            <a:endParaRPr lang="en-US"/>
          </a:p>
        </p:txBody>
      </p:sp>
    </p:spTree>
    <p:extLst>
      <p:ext uri="{BB962C8B-B14F-4D97-AF65-F5344CB8AC3E}">
        <p14:creationId xmlns:p14="http://schemas.microsoft.com/office/powerpoint/2010/main" val="163998959"/>
      </p:ext>
    </p:extLst>
  </p:cSld>
  <p:clrMapOvr>
    <a:masterClrMapping/>
  </p:clrMapOvr>
</p:sld>
</file>

<file path=ppt/slides/slide7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Crus | CA B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5"/>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469057">
                <a:tc>
                  <a:txBody>
                    <a:bodyPr/>
                    <a:lstStyle/>
                    <a:p>
                      <a:pPr algn="ctr">
                        <a:defRPr sz="800">
                          <a:latin typeface="Nexa Book"/>
                        </a:defRPr>
                      </a:pPr>
                      <a:r>
                        <a:t>Malard</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ALARD PREMIER CRU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469057">
                <a:tc>
                  <a:txBody>
                    <a:bodyPr/>
                    <a:lstStyle/>
                    <a:p>
                      <a:pPr algn="ctr">
                        <a:defRPr sz="800">
                          <a:latin typeface="Nexa Book"/>
                        </a:defRPr>
                      </a:pPr>
                      <a:r>
                        <a:t>Vessell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EORGES VESSELLE GRD CRU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469057">
                <a:tc>
                  <a:txBody>
                    <a:bodyPr/>
                    <a:lstStyle/>
                    <a:p>
                      <a:pPr algn="ctr">
                        <a:defRPr sz="800">
                          <a:latin typeface="Nexa Book"/>
                        </a:defRPr>
                      </a:pPr>
                      <a:r>
                        <a:t>Louis Marti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OUIS MARTIN BRUT PREMIER CRU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469057">
                <a:tc>
                  <a:txBody>
                    <a:bodyPr/>
                    <a:lstStyle/>
                    <a:p>
                      <a:pPr algn="ctr">
                        <a:defRPr sz="800">
                          <a:latin typeface="Nexa Book"/>
                        </a:defRPr>
                      </a:pPr>
                      <a:r>
                        <a:t>Louis Marti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OUIS MARTIN BRUT GRAND CRU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469057">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CHAMPAGNE NICOLAS 1ER CRU ETUI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8.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3682606022"/>
                  </a:ext>
                </a:extLst>
              </a:tr>
              <a:tr h="469057">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CHAMPAGNE NICOLAS 1ER CRU BS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2959808831"/>
                  </a:ext>
                </a:extLst>
              </a:tr>
              <a:tr h="469057">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MG CHAMPAGNE NICOLAS 1E CRU BS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781</a:t>
            </a:fld>
            <a:endParaRPr lang="en-US"/>
          </a:p>
        </p:txBody>
      </p:sp>
    </p:spTree>
    <p:extLst>
      <p:ext uri="{BB962C8B-B14F-4D97-AF65-F5344CB8AC3E}">
        <p14:creationId xmlns:p14="http://schemas.microsoft.com/office/powerpoint/2010/main" val="542040191"/>
      </p:ext>
    </p:extLst>
  </p:cSld>
  <p:clrMapOvr>
    <a:masterClrMapping/>
  </p:clrMapOvr>
</p:sld>
</file>

<file path=ppt/slides/slide7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Crus | CA C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4"/>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364822">
                <a:tc>
                  <a:txBody>
                    <a:bodyPr/>
                    <a:lstStyle/>
                    <a:p>
                      <a:pPr algn="ctr">
                        <a:defRPr sz="800">
                          <a:latin typeface="Nexa Book"/>
                        </a:defRPr>
                      </a:pPr>
                      <a:r>
                        <a:t>Malard</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ALARD PREMIER CRU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364822">
                <a:tc>
                  <a:txBody>
                    <a:bodyPr/>
                    <a:lstStyle/>
                    <a:p>
                      <a:pPr algn="ctr">
                        <a:defRPr sz="800">
                          <a:latin typeface="Nexa Book"/>
                        </a:defRPr>
                      </a:pPr>
                      <a:r>
                        <a:t>Vessell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EORGES VESSELLE GRD CRU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364822">
                <a:tc>
                  <a:txBody>
                    <a:bodyPr/>
                    <a:lstStyle/>
                    <a:p>
                      <a:pPr algn="ctr">
                        <a:defRPr sz="800">
                          <a:latin typeface="Nexa Book"/>
                        </a:defRPr>
                      </a:pPr>
                      <a:r>
                        <a:t>Louis Marti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OUIS MARTIN BRUT PREMIER CRU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364822">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CHAMPAGNE NICOLAS 1ER CRU BS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714509061"/>
                  </a:ext>
                </a:extLst>
              </a:tr>
              <a:tr h="364822">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CHAMPAGNE NICOLAS 1ER CRU ETUI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3490141980"/>
                  </a:ext>
                </a:extLst>
              </a:tr>
              <a:tr h="364822">
                <a:tc>
                  <a:txBody>
                    <a:bodyPr/>
                    <a:lstStyle/>
                    <a:p>
                      <a:pPr algn="ctr">
                        <a:defRPr sz="800">
                          <a:latin typeface="Nexa Book"/>
                        </a:defRPr>
                      </a:pPr>
                      <a:r>
                        <a:t>Louis Marti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OUIS MARTIN BRUT GRAND CRU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364822">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MG CHAMPAGNE NICOLAS 1E CRU BS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3682606022"/>
                  </a:ext>
                </a:extLst>
              </a:tr>
              <a:tr h="364822">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OMTE MONTE CARLO BLC BLC 1CRU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364822">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OMTE MONTE CARLO RIVIERA 1CRU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782</a:t>
            </a:fld>
            <a:endParaRPr lang="en-US"/>
          </a:p>
        </p:txBody>
      </p:sp>
    </p:spTree>
    <p:extLst>
      <p:ext uri="{BB962C8B-B14F-4D97-AF65-F5344CB8AC3E}">
        <p14:creationId xmlns:p14="http://schemas.microsoft.com/office/powerpoint/2010/main" val="3347847436"/>
      </p:ext>
    </p:extLst>
  </p:cSld>
  <p:clrMapOvr>
    <a:masterClrMapping/>
  </p:clrMapOvr>
</p:sld>
</file>

<file path=ppt/slides/slide7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Crus | CA D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4"/>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364822">
                <a:tc>
                  <a:txBody>
                    <a:bodyPr/>
                    <a:lstStyle/>
                    <a:p>
                      <a:pPr algn="ctr">
                        <a:defRPr sz="800">
                          <a:latin typeface="Nexa Book"/>
                        </a:defRPr>
                      </a:pPr>
                      <a:r>
                        <a:t>Malard</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ALARD PREMIER CRU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364822">
                <a:tc>
                  <a:txBody>
                    <a:bodyPr/>
                    <a:lstStyle/>
                    <a:p>
                      <a:pPr algn="ctr">
                        <a:defRPr sz="800">
                          <a:latin typeface="Nexa Book"/>
                        </a:defRPr>
                      </a:pPr>
                      <a:r>
                        <a:t>Vessell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EORGES VESSELLE GRD CRU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364822">
                <a:tc>
                  <a:txBody>
                    <a:bodyPr/>
                    <a:lstStyle/>
                    <a:p>
                      <a:pPr algn="ctr">
                        <a:defRPr sz="800">
                          <a:latin typeface="Nexa Book"/>
                        </a:defRPr>
                      </a:pPr>
                      <a:r>
                        <a:t>Louis Marti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OUIS MARTIN BRUT PREMIER CRU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364822">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CHAMPAGNE NICOLAS 1ER CRU BS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7.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714509061"/>
                  </a:ext>
                </a:extLst>
              </a:tr>
              <a:tr h="364822">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CHAMPAGNE NICOLAS 1ER CRU ETUI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3490141980"/>
                  </a:ext>
                </a:extLst>
              </a:tr>
              <a:tr h="364822">
                <a:tc>
                  <a:txBody>
                    <a:bodyPr/>
                    <a:lstStyle/>
                    <a:p>
                      <a:pPr algn="ctr">
                        <a:defRPr sz="800">
                          <a:latin typeface="Nexa Book"/>
                        </a:defRPr>
                      </a:pPr>
                      <a:r>
                        <a:t>Louis Marti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OUIS MARTIN BRUT GRAND CRU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364822">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MG CHAMPAGNE NICOLAS 1E CRU BS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3682606022"/>
                  </a:ext>
                </a:extLst>
              </a:tr>
              <a:tr h="364822">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OMTE MONTE CARLO RIVIERA 1CRU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364822">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OMTE MONTE CARLO BLC BLC 1CRU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783</a:t>
            </a:fld>
            <a:endParaRPr lang="en-US"/>
          </a:p>
        </p:txBody>
      </p:sp>
    </p:spTree>
    <p:extLst>
      <p:ext uri="{BB962C8B-B14F-4D97-AF65-F5344CB8AC3E}">
        <p14:creationId xmlns:p14="http://schemas.microsoft.com/office/powerpoint/2010/main" val="2867327273"/>
      </p:ext>
    </p:extLst>
  </p:cSld>
  <p:clrMapOvr>
    <a:masterClrMapping/>
  </p:clrMapOvr>
</p:sld>
</file>

<file path=ppt/slides/slide7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Crus | CA E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410425">
                <a:tc>
                  <a:txBody>
                    <a:bodyPr/>
                    <a:lstStyle/>
                    <a:p>
                      <a:pPr algn="ctr">
                        <a:defRPr sz="800">
                          <a:latin typeface="Nexa Book"/>
                        </a:defRPr>
                      </a:pPr>
                      <a:r>
                        <a:t>Malard</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ALARD PREMIER CRU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410425">
                <a:tc>
                  <a:txBody>
                    <a:bodyPr/>
                    <a:lstStyle/>
                    <a:p>
                      <a:pPr algn="ctr">
                        <a:defRPr sz="800">
                          <a:latin typeface="Nexa Book"/>
                        </a:defRPr>
                      </a:pPr>
                      <a:r>
                        <a:t>Vessell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EORGES VESSELLE GRD CRU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410425">
                <a:tc>
                  <a:txBody>
                    <a:bodyPr/>
                    <a:lstStyle/>
                    <a:p>
                      <a:pPr algn="ctr">
                        <a:defRPr sz="800">
                          <a:latin typeface="Nexa Book"/>
                        </a:defRPr>
                      </a:pPr>
                      <a:r>
                        <a:t>Louis Marti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OUIS MARTIN BRUT PREMIER CRU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410425">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CHAMPAGNE NICOLAS 1ER CRU BS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3490141980"/>
                  </a:ext>
                </a:extLst>
              </a:tr>
              <a:tr h="410425">
                <a:tc>
                  <a:txBody>
                    <a:bodyPr/>
                    <a:lstStyle/>
                    <a:p>
                      <a:pPr algn="ctr">
                        <a:defRPr sz="800">
                          <a:latin typeface="Nexa Book"/>
                        </a:defRPr>
                      </a:pPr>
                      <a:r>
                        <a:t>Louis Marti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OUIS MARTIN BRUT GRAND CRU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410425">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MG CHAMPAGNE NICOLAS 1E CRU BS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3682606022"/>
                  </a:ext>
                </a:extLst>
              </a:tr>
              <a:tr h="410425">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CHAMPAGNE NICOLAS 1ER CRU ETUI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2959808831"/>
                  </a:ext>
                </a:extLst>
              </a:tr>
              <a:tr h="410425">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OMTE MONTE CARLO RIVIERA 1CRU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784</a:t>
            </a:fld>
            <a:endParaRPr lang="en-US"/>
          </a:p>
        </p:txBody>
      </p:sp>
    </p:spTree>
    <p:extLst>
      <p:ext uri="{BB962C8B-B14F-4D97-AF65-F5344CB8AC3E}">
        <p14:creationId xmlns:p14="http://schemas.microsoft.com/office/powerpoint/2010/main" val="2787911507"/>
      </p:ext>
    </p:extLst>
  </p:cSld>
  <p:clrMapOvr>
    <a:masterClrMapping/>
  </p:clrMapOvr>
</p:sld>
</file>

<file path=ppt/slides/slide7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Extra Brut | NICOLAS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5"/>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469057">
                <a:tc>
                  <a:txBody>
                    <a:bodyPr/>
                    <a:lstStyle/>
                    <a:p>
                      <a:pPr algn="ctr">
                        <a:defRPr sz="800">
                          <a:latin typeface="Nexa Book"/>
                        </a:defRPr>
                      </a:pPr>
                      <a:r>
                        <a:t>Nicolas Feuilla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NICOLAS FEUILLATTE RES EX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469057">
                <a:tc>
                  <a:txBody>
                    <a:bodyPr/>
                    <a:lstStyle/>
                    <a:p>
                      <a:pPr algn="ctr">
                        <a:defRPr sz="800">
                          <a:latin typeface="Nexa Book"/>
                        </a:defRPr>
                      </a:pPr>
                      <a:r>
                        <a:t>Nicolas Feuilla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NICOLAS FEUILLATTE EXTRA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7.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469057">
                <a:tc>
                  <a:txBody>
                    <a:bodyPr/>
                    <a:lstStyle/>
                    <a:p>
                      <a:pPr algn="ctr">
                        <a:defRPr sz="800">
                          <a:latin typeface="Nexa Book"/>
                        </a:defRPr>
                      </a:pPr>
                      <a:r>
                        <a:t>Moët &amp; Chand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OET &amp; CHANDON RES IMP EB ETUI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7.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469057">
                <a:tc>
                  <a:txBody>
                    <a:bodyPr/>
                    <a:lstStyle/>
                    <a:p>
                      <a:pPr algn="ctr">
                        <a:defRPr sz="800">
                          <a:latin typeface="Nexa Book"/>
                        </a:defRPr>
                      </a:pPr>
                      <a:r>
                        <a:t>Moët &amp; Chand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OET &amp; CHANDON RES IMP EX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469057">
                <a:tc>
                  <a:txBody>
                    <a:bodyPr/>
                    <a:lstStyle/>
                    <a:p>
                      <a:pPr algn="ctr">
                        <a:defRPr sz="800">
                          <a:latin typeface="Nexa Book"/>
                        </a:defRPr>
                      </a:pPr>
                      <a:r>
                        <a:t>Canard Duchên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ANARD DUCHENE ZE181 EXTR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469057">
                <a:tc>
                  <a:txBody>
                    <a:bodyPr/>
                    <a:lstStyle/>
                    <a:p>
                      <a:pPr algn="ctr">
                        <a:defRPr sz="800">
                          <a:latin typeface="Nexa Book"/>
                        </a:defRPr>
                      </a:pPr>
                      <a:r>
                        <a:t>Piper Heidsieck</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IPER HEIDSIECK ESSENTIEL EXBR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469057">
                <a:tc>
                  <a:txBody>
                    <a:bodyPr/>
                    <a:lstStyle/>
                    <a:p>
                      <a:pPr algn="ctr">
                        <a:defRPr sz="800">
                          <a:latin typeface="Nexa Book"/>
                        </a:defRPr>
                      </a:pPr>
                      <a:r>
                        <a:t>De Venog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E VENOGE PRINCES EXTRA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785</a:t>
            </a:fld>
            <a:endParaRPr lang="en-US"/>
          </a:p>
        </p:txBody>
      </p:sp>
    </p:spTree>
    <p:extLst>
      <p:ext uri="{BB962C8B-B14F-4D97-AF65-F5344CB8AC3E}">
        <p14:creationId xmlns:p14="http://schemas.microsoft.com/office/powerpoint/2010/main" val="1705921790"/>
      </p:ext>
    </p:extLst>
  </p:cSld>
  <p:clrMapOvr>
    <a:masterClrMapping/>
  </p:clrMapOvr>
</p:sld>
</file>

<file path=ppt/slides/slide7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Extra Brut | NICOLAS QCN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5"/>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469057">
                <a:tc>
                  <a:txBody>
                    <a:bodyPr/>
                    <a:lstStyle/>
                    <a:p>
                      <a:pPr algn="ctr">
                        <a:defRPr sz="800">
                          <a:latin typeface="Nexa Book"/>
                        </a:defRPr>
                      </a:pPr>
                      <a:r>
                        <a:t>Nicolas Feuilla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NICOLAS FEUILLATTE RES EX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7.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469057">
                <a:tc>
                  <a:txBody>
                    <a:bodyPr/>
                    <a:lstStyle/>
                    <a:p>
                      <a:pPr algn="ctr">
                        <a:defRPr sz="800">
                          <a:latin typeface="Nexa Book"/>
                        </a:defRPr>
                      </a:pPr>
                      <a:r>
                        <a:t>Nicolas Feuilla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NICOLAS FEUILLATTE EXTRA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469057">
                <a:tc>
                  <a:txBody>
                    <a:bodyPr/>
                    <a:lstStyle/>
                    <a:p>
                      <a:pPr algn="ctr">
                        <a:defRPr sz="800">
                          <a:latin typeface="Nexa Book"/>
                        </a:defRPr>
                      </a:pPr>
                      <a:r>
                        <a:t>Moët &amp; Chand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OET &amp; CHANDON RES IMP EB ETUI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469057">
                <a:tc>
                  <a:txBody>
                    <a:bodyPr/>
                    <a:lstStyle/>
                    <a:p>
                      <a:pPr algn="ctr">
                        <a:defRPr sz="800">
                          <a:latin typeface="Nexa Book"/>
                        </a:defRPr>
                      </a:pPr>
                      <a:r>
                        <a:t>Moët &amp; Chand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OET &amp; CHANDON RES IMP EX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469057">
                <a:tc>
                  <a:txBody>
                    <a:bodyPr/>
                    <a:lstStyle/>
                    <a:p>
                      <a:pPr algn="ctr">
                        <a:defRPr sz="800">
                          <a:latin typeface="Nexa Book"/>
                        </a:defRPr>
                      </a:pPr>
                      <a:r>
                        <a:t>Canard Duchên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ANARD DUCHENE ZE181 EXTR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469057">
                <a:tc>
                  <a:txBody>
                    <a:bodyPr/>
                    <a:lstStyle/>
                    <a:p>
                      <a:pPr algn="ctr">
                        <a:defRPr sz="800">
                          <a:latin typeface="Nexa Book"/>
                        </a:defRPr>
                      </a:pPr>
                      <a:r>
                        <a:t>Piper Heidsieck</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IPER HEIDSIECK ESSENTIEL EXBR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469057">
                <a:tc>
                  <a:txBody>
                    <a:bodyPr/>
                    <a:lstStyle/>
                    <a:p>
                      <a:pPr algn="ctr">
                        <a:defRPr sz="800">
                          <a:latin typeface="Nexa Book"/>
                        </a:defRPr>
                      </a:pPr>
                      <a:r>
                        <a:t>De Venog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E VENOGE PRINCES EXTRA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786</a:t>
            </a:fld>
            <a:endParaRPr lang="en-US"/>
          </a:p>
        </p:txBody>
      </p:sp>
    </p:spTree>
    <p:extLst>
      <p:ext uri="{BB962C8B-B14F-4D97-AF65-F5344CB8AC3E}">
        <p14:creationId xmlns:p14="http://schemas.microsoft.com/office/powerpoint/2010/main" val="4047734220"/>
      </p:ext>
    </p:extLst>
  </p:cSld>
  <p:clrMapOvr>
    <a:masterClrMapping/>
  </p:clrMapOvr>
</p:sld>
</file>

<file path=ppt/slides/slide7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Extra Brut | NICOLAS VCN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5"/>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469057">
                <a:tc>
                  <a:txBody>
                    <a:bodyPr/>
                    <a:lstStyle/>
                    <a:p>
                      <a:pPr algn="ctr">
                        <a:defRPr sz="800">
                          <a:latin typeface="Nexa Book"/>
                        </a:defRPr>
                      </a:pPr>
                      <a:r>
                        <a:t>Nicolas Feuilla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NICOLAS FEUILLATTE RES EX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469057">
                <a:tc>
                  <a:txBody>
                    <a:bodyPr/>
                    <a:lstStyle/>
                    <a:p>
                      <a:pPr algn="ctr">
                        <a:defRPr sz="800">
                          <a:latin typeface="Nexa Book"/>
                        </a:defRPr>
                      </a:pPr>
                      <a:r>
                        <a:t>Nicolas Feuilla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NICOLAS FEUILLATTE EXTRA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469057">
                <a:tc>
                  <a:txBody>
                    <a:bodyPr/>
                    <a:lstStyle/>
                    <a:p>
                      <a:pPr algn="ctr">
                        <a:defRPr sz="800">
                          <a:latin typeface="Nexa Book"/>
                        </a:defRPr>
                      </a:pPr>
                      <a:r>
                        <a:t>Moët &amp; Chand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OET &amp; CHANDON RES IMP EB ETUI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469057">
                <a:tc>
                  <a:txBody>
                    <a:bodyPr/>
                    <a:lstStyle/>
                    <a:p>
                      <a:pPr algn="ctr">
                        <a:defRPr sz="800">
                          <a:latin typeface="Nexa Book"/>
                        </a:defRPr>
                      </a:pPr>
                      <a:r>
                        <a:t>Moët &amp; Chand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OET &amp; CHANDON RES IMP EX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469057">
                <a:tc>
                  <a:txBody>
                    <a:bodyPr/>
                    <a:lstStyle/>
                    <a:p>
                      <a:pPr algn="ctr">
                        <a:defRPr sz="800">
                          <a:latin typeface="Nexa Book"/>
                        </a:defRPr>
                      </a:pPr>
                      <a:r>
                        <a:t>Canard Duchên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ANARD DUCHENE ZE181 EXTR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469057">
                <a:tc>
                  <a:txBody>
                    <a:bodyPr/>
                    <a:lstStyle/>
                    <a:p>
                      <a:pPr algn="ctr">
                        <a:defRPr sz="800">
                          <a:latin typeface="Nexa Book"/>
                        </a:defRPr>
                      </a:pPr>
                      <a:r>
                        <a:t>Piper Heidsieck</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IPER HEIDSIECK ESSENTIEL EXBR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469057">
                <a:tc>
                  <a:txBody>
                    <a:bodyPr/>
                    <a:lstStyle/>
                    <a:p>
                      <a:pPr algn="ctr">
                        <a:defRPr sz="800">
                          <a:latin typeface="Nexa Book"/>
                        </a:defRPr>
                      </a:pPr>
                      <a:r>
                        <a:t>De Venog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E VENOGE PRINCES EXTRA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787</a:t>
            </a:fld>
            <a:endParaRPr lang="en-US"/>
          </a:p>
        </p:txBody>
      </p:sp>
    </p:spTree>
    <p:extLst>
      <p:ext uri="{BB962C8B-B14F-4D97-AF65-F5344CB8AC3E}">
        <p14:creationId xmlns:p14="http://schemas.microsoft.com/office/powerpoint/2010/main" val="1593791131"/>
      </p:ext>
    </p:extLst>
  </p:cSld>
  <p:clrMapOvr>
    <a:masterClrMapping/>
  </p:clrMapOvr>
</p:sld>
</file>

<file path=ppt/slides/slide7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Extra Brut | NICOLAS QCT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5"/>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469057">
                <a:tc>
                  <a:txBody>
                    <a:bodyPr/>
                    <a:lstStyle/>
                    <a:p>
                      <a:pPr algn="ctr">
                        <a:defRPr sz="800">
                          <a:latin typeface="Nexa Book"/>
                        </a:defRPr>
                      </a:pPr>
                      <a:r>
                        <a:t>Nicolas Feuilla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NICOLAS FEUILLATTE RES EX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469057">
                <a:tc>
                  <a:txBody>
                    <a:bodyPr/>
                    <a:lstStyle/>
                    <a:p>
                      <a:pPr algn="ctr">
                        <a:defRPr sz="800">
                          <a:latin typeface="Nexa Book"/>
                        </a:defRPr>
                      </a:pPr>
                      <a:r>
                        <a:t>Nicolas Feuilla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NICOLAS FEUILLATTE EXTRA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469057">
                <a:tc>
                  <a:txBody>
                    <a:bodyPr/>
                    <a:lstStyle/>
                    <a:p>
                      <a:pPr algn="ctr">
                        <a:defRPr sz="800">
                          <a:latin typeface="Nexa Book"/>
                        </a:defRPr>
                      </a:pPr>
                      <a:r>
                        <a:t>Moët &amp; Chand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OET &amp; CHANDON RES IMP EX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469057">
                <a:tc>
                  <a:txBody>
                    <a:bodyPr/>
                    <a:lstStyle/>
                    <a:p>
                      <a:pPr algn="ctr">
                        <a:defRPr sz="800">
                          <a:latin typeface="Nexa Book"/>
                        </a:defRPr>
                      </a:pPr>
                      <a:r>
                        <a:t>Moët &amp; Chand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OET &amp; CHANDON RES IMP EB ETUI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469057">
                <a:tc>
                  <a:txBody>
                    <a:bodyPr/>
                    <a:lstStyle/>
                    <a:p>
                      <a:pPr algn="ctr">
                        <a:defRPr sz="800">
                          <a:latin typeface="Nexa Book"/>
                        </a:defRPr>
                      </a:pPr>
                      <a:r>
                        <a:t>Canard Duchên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ANARD DUCHENE ZE181 EXTR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469057">
                <a:tc>
                  <a:txBody>
                    <a:bodyPr/>
                    <a:lstStyle/>
                    <a:p>
                      <a:pPr algn="ctr">
                        <a:defRPr sz="800">
                          <a:latin typeface="Nexa Book"/>
                        </a:defRPr>
                      </a:pPr>
                      <a:r>
                        <a:t>Piper Heidsieck</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IPER HEIDSIECK ESSENTIEL EXBR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469057">
                <a:tc>
                  <a:txBody>
                    <a:bodyPr/>
                    <a:lstStyle/>
                    <a:p>
                      <a:pPr algn="ctr">
                        <a:defRPr sz="800">
                          <a:latin typeface="Nexa Book"/>
                        </a:defRPr>
                      </a:pPr>
                      <a:r>
                        <a:t>De Venog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E VENOGE PRINCES EXTRA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788</a:t>
            </a:fld>
            <a:endParaRPr lang="en-US"/>
          </a:p>
        </p:txBody>
      </p:sp>
    </p:spTree>
    <p:extLst>
      <p:ext uri="{BB962C8B-B14F-4D97-AF65-F5344CB8AC3E}">
        <p14:creationId xmlns:p14="http://schemas.microsoft.com/office/powerpoint/2010/main" val="2143735553"/>
      </p:ext>
    </p:extLst>
  </p:cSld>
  <p:clrMapOvr>
    <a:masterClrMapping/>
  </p:clrMapOvr>
</p:sld>
</file>

<file path=ppt/slides/slide7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Extra Brut | NICOLAS QCA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4"/>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547233">
                <a:tc>
                  <a:txBody>
                    <a:bodyPr/>
                    <a:lstStyle/>
                    <a:p>
                      <a:pPr algn="ctr">
                        <a:defRPr sz="800">
                          <a:latin typeface="Nexa Book"/>
                        </a:defRPr>
                      </a:pPr>
                      <a:r>
                        <a:t>Nicolas Feuilla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NICOLAS FEUILLATTE RES EX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547233">
                <a:tc>
                  <a:txBody>
                    <a:bodyPr/>
                    <a:lstStyle/>
                    <a:p>
                      <a:pPr algn="ctr">
                        <a:defRPr sz="800">
                          <a:latin typeface="Nexa Book"/>
                        </a:defRPr>
                      </a:pPr>
                      <a:r>
                        <a:t>Moët &amp; Chand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OET &amp; CHANDON RES IMP EX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547233">
                <a:tc>
                  <a:txBody>
                    <a:bodyPr/>
                    <a:lstStyle/>
                    <a:p>
                      <a:pPr algn="ctr">
                        <a:defRPr sz="800">
                          <a:latin typeface="Nexa Book"/>
                        </a:defRPr>
                      </a:pPr>
                      <a:r>
                        <a:t>Moët &amp; Chand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OET &amp; CHANDON RES IMP EB ETUI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8.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547233">
                <a:tc>
                  <a:txBody>
                    <a:bodyPr/>
                    <a:lstStyle/>
                    <a:p>
                      <a:pPr algn="ctr">
                        <a:defRPr sz="800">
                          <a:latin typeface="Nexa Book"/>
                        </a:defRPr>
                      </a:pPr>
                      <a:r>
                        <a:t>Nicolas Feuilla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NICOLAS FEUILLATTE EXTRA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547233">
                <a:tc>
                  <a:txBody>
                    <a:bodyPr/>
                    <a:lstStyle/>
                    <a:p>
                      <a:pPr algn="ctr">
                        <a:defRPr sz="800">
                          <a:latin typeface="Nexa Book"/>
                        </a:defRPr>
                      </a:pPr>
                      <a:r>
                        <a:t>Canard Duchên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ANARD DUCHENE ZE181 EXTR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547233">
                <a:tc>
                  <a:txBody>
                    <a:bodyPr/>
                    <a:lstStyle/>
                    <a:p>
                      <a:pPr algn="ctr">
                        <a:defRPr sz="800">
                          <a:latin typeface="Nexa Book"/>
                        </a:defRPr>
                      </a:pPr>
                      <a:r>
                        <a:t>Piper Heidsieck</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IPER HEIDSIECK ESSENTIEL EXBR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789</a:t>
            </a:fld>
            <a:endParaRPr lang="en-US"/>
          </a:p>
        </p:txBody>
      </p:sp>
    </p:spTree>
    <p:extLst>
      <p:ext uri="{BB962C8B-B14F-4D97-AF65-F5344CB8AC3E}">
        <p14:creationId xmlns:p14="http://schemas.microsoft.com/office/powerpoint/2010/main" val="2768416759"/>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Blanc De Blancs | CA D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79</a:t>
            </a:fld>
            <a:endParaRPr lang="en-US"/>
          </a:p>
        </p:txBody>
      </p:sp>
    </p:spTree>
    <p:extLst>
      <p:ext uri="{BB962C8B-B14F-4D97-AF65-F5344CB8AC3E}">
        <p14:creationId xmlns:p14="http://schemas.microsoft.com/office/powerpoint/2010/main" val="1062505018"/>
      </p:ext>
    </p:extLst>
  </p:cSld>
  <p:clrMapOvr>
    <a:masterClrMapping/>
  </p:clrMapOvr>
</p:sld>
</file>

<file path=ppt/slides/slide7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Extra Brut | NICOLAS CCP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4"/>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547233">
                <a:tc>
                  <a:txBody>
                    <a:bodyPr/>
                    <a:lstStyle/>
                    <a:p>
                      <a:pPr algn="ctr">
                        <a:defRPr sz="800">
                          <a:latin typeface="Nexa Book"/>
                        </a:defRPr>
                      </a:pPr>
                      <a:r>
                        <a:t>Nicolas Feuilla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NICOLAS FEUILLATTE RES EX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547233">
                <a:tc>
                  <a:txBody>
                    <a:bodyPr/>
                    <a:lstStyle/>
                    <a:p>
                      <a:pPr algn="ctr">
                        <a:defRPr sz="800">
                          <a:latin typeface="Nexa Book"/>
                        </a:defRPr>
                      </a:pPr>
                      <a:r>
                        <a:t>Moët &amp; Chand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OET &amp; CHANDON RES IMP EB ETUI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4.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547233">
                <a:tc>
                  <a:txBody>
                    <a:bodyPr/>
                    <a:lstStyle/>
                    <a:p>
                      <a:pPr algn="ctr">
                        <a:defRPr sz="800">
                          <a:latin typeface="Nexa Book"/>
                        </a:defRPr>
                      </a:pPr>
                      <a:r>
                        <a:t>Moët &amp; Chand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OET &amp; CHANDON RES IMP EX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547233">
                <a:tc>
                  <a:txBody>
                    <a:bodyPr/>
                    <a:lstStyle/>
                    <a:p>
                      <a:pPr algn="ctr">
                        <a:defRPr sz="800">
                          <a:latin typeface="Nexa Book"/>
                        </a:defRPr>
                      </a:pPr>
                      <a:r>
                        <a:t>Nicolas Feuilla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NICOLAS FEUILLATTE EXTRA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547233">
                <a:tc>
                  <a:txBody>
                    <a:bodyPr/>
                    <a:lstStyle/>
                    <a:p>
                      <a:pPr algn="ctr">
                        <a:defRPr sz="800">
                          <a:latin typeface="Nexa Book"/>
                        </a:defRPr>
                      </a:pPr>
                      <a:r>
                        <a:t>Canard Duchên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ANARD DUCHENE ZE181 EXTR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547233">
                <a:tc>
                  <a:txBody>
                    <a:bodyPr/>
                    <a:lstStyle/>
                    <a:p>
                      <a:pPr algn="ctr">
                        <a:defRPr sz="800">
                          <a:latin typeface="Nexa Book"/>
                        </a:defRPr>
                      </a:pPr>
                      <a:r>
                        <a:t>Piper Heidsieck</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IPER HEIDSIECK ESSENTIEL EXBR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790</a:t>
            </a:fld>
            <a:endParaRPr lang="en-US"/>
          </a:p>
        </p:txBody>
      </p:sp>
    </p:spTree>
    <p:extLst>
      <p:ext uri="{BB962C8B-B14F-4D97-AF65-F5344CB8AC3E}">
        <p14:creationId xmlns:p14="http://schemas.microsoft.com/office/powerpoint/2010/main" val="749997122"/>
      </p:ext>
    </p:extLst>
  </p:cSld>
  <p:clrMapOvr>
    <a:masterClrMapping/>
  </p:clrMapOvr>
</p:sld>
</file>

<file path=ppt/slides/slide7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Extra Brut | NICOLAS IDF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5"/>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469057">
                <a:tc>
                  <a:txBody>
                    <a:bodyPr/>
                    <a:lstStyle/>
                    <a:p>
                      <a:pPr algn="ctr">
                        <a:defRPr sz="800">
                          <a:latin typeface="Nexa Book"/>
                        </a:defRPr>
                      </a:pPr>
                      <a:r>
                        <a:t>Nicolas Feuilla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NICOLAS FEUILLATTE RES EX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5.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469057">
                <a:tc>
                  <a:txBody>
                    <a:bodyPr/>
                    <a:lstStyle/>
                    <a:p>
                      <a:pPr algn="ctr">
                        <a:defRPr sz="800">
                          <a:latin typeface="Nexa Book"/>
                        </a:defRPr>
                      </a:pPr>
                      <a:r>
                        <a:t>Nicolas Feuilla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NICOLAS FEUILLATTE EXTRA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6.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469057">
                <a:tc>
                  <a:txBody>
                    <a:bodyPr/>
                    <a:lstStyle/>
                    <a:p>
                      <a:pPr algn="ctr">
                        <a:defRPr sz="800">
                          <a:latin typeface="Nexa Book"/>
                        </a:defRPr>
                      </a:pPr>
                      <a:r>
                        <a:t>Moët &amp; Chand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OET &amp; CHANDON RES IMP EX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469057">
                <a:tc>
                  <a:txBody>
                    <a:bodyPr/>
                    <a:lstStyle/>
                    <a:p>
                      <a:pPr algn="ctr">
                        <a:defRPr sz="800">
                          <a:latin typeface="Nexa Book"/>
                        </a:defRPr>
                      </a:pPr>
                      <a:r>
                        <a:t>Moët &amp; Chand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OET &amp; CHANDON RES IMP EB ETUI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469057">
                <a:tc>
                  <a:txBody>
                    <a:bodyPr/>
                    <a:lstStyle/>
                    <a:p>
                      <a:pPr algn="ctr">
                        <a:defRPr sz="800">
                          <a:latin typeface="Nexa Book"/>
                        </a:defRPr>
                      </a:pPr>
                      <a:r>
                        <a:t>Canard Duchên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ANARD DUCHENE ZE181 EXTR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469057">
                <a:tc>
                  <a:txBody>
                    <a:bodyPr/>
                    <a:lstStyle/>
                    <a:p>
                      <a:pPr algn="ctr">
                        <a:defRPr sz="800">
                          <a:latin typeface="Nexa Book"/>
                        </a:defRPr>
                      </a:pPr>
                      <a:r>
                        <a:t>Piper Heidsieck</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IPER HEIDSIECK ESSENTIEL EXBR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469057">
                <a:tc>
                  <a:txBody>
                    <a:bodyPr/>
                    <a:lstStyle/>
                    <a:p>
                      <a:pPr algn="ctr">
                        <a:defRPr sz="800">
                          <a:latin typeface="Nexa Book"/>
                        </a:defRPr>
                      </a:pPr>
                      <a:r>
                        <a:t>De Venog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E VENOGE PRINCES EXTRA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791</a:t>
            </a:fld>
            <a:endParaRPr lang="en-US"/>
          </a:p>
        </p:txBody>
      </p:sp>
    </p:spTree>
    <p:extLst>
      <p:ext uri="{BB962C8B-B14F-4D97-AF65-F5344CB8AC3E}">
        <p14:creationId xmlns:p14="http://schemas.microsoft.com/office/powerpoint/2010/main" val="3143901071"/>
      </p:ext>
    </p:extLst>
  </p:cSld>
  <p:clrMapOvr>
    <a:masterClrMapping/>
  </p:clrMapOvr>
</p:sld>
</file>

<file path=ppt/slides/slide7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Extra Brut | NICOLAS PAC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4"/>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547233">
                <a:tc>
                  <a:txBody>
                    <a:bodyPr/>
                    <a:lstStyle/>
                    <a:p>
                      <a:pPr algn="ctr">
                        <a:defRPr sz="800">
                          <a:latin typeface="Nexa Book"/>
                        </a:defRPr>
                      </a:pPr>
                      <a:r>
                        <a:t>Nicolas Feuilla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NICOLAS FEUILLATTE RES EX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4.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547233">
                <a:tc>
                  <a:txBody>
                    <a:bodyPr/>
                    <a:lstStyle/>
                    <a:p>
                      <a:pPr algn="ctr">
                        <a:defRPr sz="800">
                          <a:latin typeface="Nexa Book"/>
                        </a:defRPr>
                      </a:pPr>
                      <a:r>
                        <a:t>Moët &amp; Chand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OET &amp; CHANDON RES IMP EX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6.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547233">
                <a:tc>
                  <a:txBody>
                    <a:bodyPr/>
                    <a:lstStyle/>
                    <a:p>
                      <a:pPr algn="ctr">
                        <a:defRPr sz="800">
                          <a:latin typeface="Nexa Book"/>
                        </a:defRPr>
                      </a:pPr>
                      <a:r>
                        <a:t>Nicolas Feuilla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NICOLAS FEUILLATTE EXTRA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547233">
                <a:tc>
                  <a:txBody>
                    <a:bodyPr/>
                    <a:lstStyle/>
                    <a:p>
                      <a:pPr algn="ctr">
                        <a:defRPr sz="800">
                          <a:latin typeface="Nexa Book"/>
                        </a:defRPr>
                      </a:pPr>
                      <a:r>
                        <a:t>Moët &amp; Chand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OET &amp; CHANDON RES IMP EB ETUI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547233">
                <a:tc>
                  <a:txBody>
                    <a:bodyPr/>
                    <a:lstStyle/>
                    <a:p>
                      <a:pPr algn="ctr">
                        <a:defRPr sz="800">
                          <a:latin typeface="Nexa Book"/>
                        </a:defRPr>
                      </a:pPr>
                      <a:r>
                        <a:t>Canard Duchên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ANARD DUCHENE ZE181 EXTR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547233">
                <a:tc>
                  <a:txBody>
                    <a:bodyPr/>
                    <a:lstStyle/>
                    <a:p>
                      <a:pPr algn="ctr">
                        <a:defRPr sz="800">
                          <a:latin typeface="Nexa Book"/>
                        </a:defRPr>
                      </a:pPr>
                      <a:r>
                        <a:t>Piper Heidsieck</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IPER HEIDSIECK ESSENTIEL EXBR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792</a:t>
            </a:fld>
            <a:endParaRPr lang="en-US"/>
          </a:p>
        </p:txBody>
      </p:sp>
    </p:spTree>
    <p:extLst>
      <p:ext uri="{BB962C8B-B14F-4D97-AF65-F5344CB8AC3E}">
        <p14:creationId xmlns:p14="http://schemas.microsoft.com/office/powerpoint/2010/main" val="3091033801"/>
      </p:ext>
    </p:extLst>
  </p:cSld>
  <p:clrMapOvr>
    <a:masterClrMapping/>
  </p:clrMapOvr>
</p:sld>
</file>

<file path=ppt/slides/slide7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Extra Brut | NICOLAS RHO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5"/>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469057">
                <a:tc>
                  <a:txBody>
                    <a:bodyPr/>
                    <a:lstStyle/>
                    <a:p>
                      <a:pPr algn="ctr">
                        <a:defRPr sz="800">
                          <a:latin typeface="Nexa Book"/>
                        </a:defRPr>
                      </a:pPr>
                      <a:r>
                        <a:t>Nicolas Feuilla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NICOLAS FEUILLATTE RES EX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469057">
                <a:tc>
                  <a:txBody>
                    <a:bodyPr/>
                    <a:lstStyle/>
                    <a:p>
                      <a:pPr algn="ctr">
                        <a:defRPr sz="800">
                          <a:latin typeface="Nexa Book"/>
                        </a:defRPr>
                      </a:pPr>
                      <a:r>
                        <a:t>Moët &amp; Chand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OET &amp; CHANDON RES IMP EB ETUI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4.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469057">
                <a:tc>
                  <a:txBody>
                    <a:bodyPr/>
                    <a:lstStyle/>
                    <a:p>
                      <a:pPr algn="ctr">
                        <a:defRPr sz="800">
                          <a:latin typeface="Nexa Book"/>
                        </a:defRPr>
                      </a:pPr>
                      <a:r>
                        <a:t>Nicolas Feuilla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NICOLAS FEUILLATTE EXTRA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469057">
                <a:tc>
                  <a:txBody>
                    <a:bodyPr/>
                    <a:lstStyle/>
                    <a:p>
                      <a:pPr algn="ctr">
                        <a:defRPr sz="800">
                          <a:latin typeface="Nexa Book"/>
                        </a:defRPr>
                      </a:pPr>
                      <a:r>
                        <a:t>Moët &amp; Chand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OET &amp; CHANDON RES IMP EX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469057">
                <a:tc>
                  <a:txBody>
                    <a:bodyPr/>
                    <a:lstStyle/>
                    <a:p>
                      <a:pPr algn="ctr">
                        <a:defRPr sz="800">
                          <a:latin typeface="Nexa Book"/>
                        </a:defRPr>
                      </a:pPr>
                      <a:r>
                        <a:t>Canard Duchên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ANARD DUCHENE ZE181 EXTR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469057">
                <a:tc>
                  <a:txBody>
                    <a:bodyPr/>
                    <a:lstStyle/>
                    <a:p>
                      <a:pPr algn="ctr">
                        <a:defRPr sz="800">
                          <a:latin typeface="Nexa Book"/>
                        </a:defRPr>
                      </a:pPr>
                      <a:r>
                        <a:t>Piper Heidsieck</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IPER HEIDSIECK ESSENTIEL EXBR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469057">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RUNO PAILLARD 1CUVEE EXT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793</a:t>
            </a:fld>
            <a:endParaRPr lang="en-US"/>
          </a:p>
        </p:txBody>
      </p:sp>
    </p:spTree>
    <p:extLst>
      <p:ext uri="{BB962C8B-B14F-4D97-AF65-F5344CB8AC3E}">
        <p14:creationId xmlns:p14="http://schemas.microsoft.com/office/powerpoint/2010/main" val="2342747833"/>
      </p:ext>
    </p:extLst>
  </p:cSld>
  <p:clrMapOvr>
    <a:masterClrMapping/>
  </p:clrMapOvr>
</p:sld>
</file>

<file path=ppt/slides/slide7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Extra Brut | NICOLAS AQU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4"/>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547233">
                <a:tc>
                  <a:txBody>
                    <a:bodyPr/>
                    <a:lstStyle/>
                    <a:p>
                      <a:pPr algn="ctr">
                        <a:defRPr sz="800">
                          <a:latin typeface="Nexa Book"/>
                        </a:defRPr>
                      </a:pPr>
                      <a:r>
                        <a:t>Nicolas Feuilla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NICOLAS FEUILLATTE RES EX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547233">
                <a:tc>
                  <a:txBody>
                    <a:bodyPr/>
                    <a:lstStyle/>
                    <a:p>
                      <a:pPr algn="ctr">
                        <a:defRPr sz="800">
                          <a:latin typeface="Nexa Book"/>
                        </a:defRPr>
                      </a:pPr>
                      <a:r>
                        <a:t>Nicolas Feuilla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NICOLAS FEUILLATTE EXTRA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4.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547233">
                <a:tc>
                  <a:txBody>
                    <a:bodyPr/>
                    <a:lstStyle/>
                    <a:p>
                      <a:pPr algn="ctr">
                        <a:defRPr sz="800">
                          <a:latin typeface="Nexa Book"/>
                        </a:defRPr>
                      </a:pPr>
                      <a:r>
                        <a:t>Moët &amp; Chand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OET &amp; CHANDON RES IMP EX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547233">
                <a:tc>
                  <a:txBody>
                    <a:bodyPr/>
                    <a:lstStyle/>
                    <a:p>
                      <a:pPr algn="ctr">
                        <a:defRPr sz="800">
                          <a:latin typeface="Nexa Book"/>
                        </a:defRPr>
                      </a:pPr>
                      <a:r>
                        <a:t>Moët &amp; Chand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OET &amp; CHANDON RES IMP EB ETUI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547233">
                <a:tc>
                  <a:txBody>
                    <a:bodyPr/>
                    <a:lstStyle/>
                    <a:p>
                      <a:pPr algn="ctr">
                        <a:defRPr sz="800">
                          <a:latin typeface="Nexa Book"/>
                        </a:defRPr>
                      </a:pPr>
                      <a:r>
                        <a:t>Canard Duchên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ANARD DUCHENE ZE181 EXTR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547233">
                <a:tc>
                  <a:txBody>
                    <a:bodyPr/>
                    <a:lstStyle/>
                    <a:p>
                      <a:pPr algn="ctr">
                        <a:defRPr sz="800">
                          <a:latin typeface="Nexa Book"/>
                        </a:defRPr>
                      </a:pPr>
                      <a:r>
                        <a:t>Piper Heidsieck</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IPER HEIDSIECK ESSENTIEL EXBR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794</a:t>
            </a:fld>
            <a:endParaRPr lang="en-US"/>
          </a:p>
        </p:txBody>
      </p:sp>
    </p:spTree>
    <p:extLst>
      <p:ext uri="{BB962C8B-B14F-4D97-AF65-F5344CB8AC3E}">
        <p14:creationId xmlns:p14="http://schemas.microsoft.com/office/powerpoint/2010/main" val="212410949"/>
      </p:ext>
    </p:extLst>
  </p:cSld>
  <p:clrMapOvr>
    <a:masterClrMapping/>
  </p:clrMapOvr>
</p:sld>
</file>

<file path=ppt/slides/slide7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Extra Brut | NICOLAS EST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4"/>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547233">
                <a:tc>
                  <a:txBody>
                    <a:bodyPr/>
                    <a:lstStyle/>
                    <a:p>
                      <a:pPr algn="ctr">
                        <a:defRPr sz="800">
                          <a:latin typeface="Nexa Book"/>
                        </a:defRPr>
                      </a:pPr>
                      <a:r>
                        <a:t>Nicolas Feuilla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NICOLAS FEUILLATTE RES EX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547233">
                <a:tc>
                  <a:txBody>
                    <a:bodyPr/>
                    <a:lstStyle/>
                    <a:p>
                      <a:pPr algn="ctr">
                        <a:defRPr sz="800">
                          <a:latin typeface="Nexa Book"/>
                        </a:defRPr>
                      </a:pPr>
                      <a:r>
                        <a:t>Moët &amp; Chand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OET &amp; CHANDON RES IMP EB ETUI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547233">
                <a:tc>
                  <a:txBody>
                    <a:bodyPr/>
                    <a:lstStyle/>
                    <a:p>
                      <a:pPr algn="ctr">
                        <a:defRPr sz="800">
                          <a:latin typeface="Nexa Book"/>
                        </a:defRPr>
                      </a:pPr>
                      <a:r>
                        <a:t>Nicolas Feuilla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NICOLAS FEUILLATTE EXTRA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547233">
                <a:tc>
                  <a:txBody>
                    <a:bodyPr/>
                    <a:lstStyle/>
                    <a:p>
                      <a:pPr algn="ctr">
                        <a:defRPr sz="800">
                          <a:latin typeface="Nexa Book"/>
                        </a:defRPr>
                      </a:pPr>
                      <a:r>
                        <a:t>Moët &amp; Chand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OET &amp; CHANDON RES IMP EX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547233">
                <a:tc>
                  <a:txBody>
                    <a:bodyPr/>
                    <a:lstStyle/>
                    <a:p>
                      <a:pPr algn="ctr">
                        <a:defRPr sz="800">
                          <a:latin typeface="Nexa Book"/>
                        </a:defRPr>
                      </a:pPr>
                      <a:r>
                        <a:t>Canard Duchên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ANARD DUCHENE ZE181 EXTR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547233">
                <a:tc>
                  <a:txBody>
                    <a:bodyPr/>
                    <a:lstStyle/>
                    <a:p>
                      <a:pPr algn="ctr">
                        <a:defRPr sz="800">
                          <a:latin typeface="Nexa Book"/>
                        </a:defRPr>
                      </a:pPr>
                      <a:r>
                        <a:t>Piper Heidsieck</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IPER HEIDSIECK ESSENTIEL EXBR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795</a:t>
            </a:fld>
            <a:endParaRPr lang="en-US"/>
          </a:p>
        </p:txBody>
      </p:sp>
    </p:spTree>
    <p:extLst>
      <p:ext uri="{BB962C8B-B14F-4D97-AF65-F5344CB8AC3E}">
        <p14:creationId xmlns:p14="http://schemas.microsoft.com/office/powerpoint/2010/main" val="38873925"/>
      </p:ext>
    </p:extLst>
  </p:cSld>
  <p:clrMapOvr>
    <a:masterClrMapping/>
  </p:clrMapOvr>
</p:sld>
</file>

<file path=ppt/slides/slide7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Extra Brut | CA A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5"/>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469057">
                <a:tc>
                  <a:txBody>
                    <a:bodyPr/>
                    <a:lstStyle/>
                    <a:p>
                      <a:pPr algn="ctr">
                        <a:defRPr sz="800">
                          <a:latin typeface="Nexa Book"/>
                        </a:defRPr>
                      </a:pPr>
                      <a:r>
                        <a:t>Nicolas Feuilla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NICOLAS FEUILLATTE RES EX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469057">
                <a:tc>
                  <a:txBody>
                    <a:bodyPr/>
                    <a:lstStyle/>
                    <a:p>
                      <a:pPr algn="ctr">
                        <a:defRPr sz="800">
                          <a:latin typeface="Nexa Book"/>
                        </a:defRPr>
                      </a:pPr>
                      <a:r>
                        <a:t>Moët &amp; Chand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OET &amp; CHANDON RES IMP EX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5.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469057">
                <a:tc>
                  <a:txBody>
                    <a:bodyPr/>
                    <a:lstStyle/>
                    <a:p>
                      <a:pPr algn="ctr">
                        <a:defRPr sz="800">
                          <a:latin typeface="Nexa Book"/>
                        </a:defRPr>
                      </a:pPr>
                      <a:r>
                        <a:t>Nicolas Feuilla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NICOLAS FEUILLATTE EXTRA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8.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469057">
                <a:tc>
                  <a:txBody>
                    <a:bodyPr/>
                    <a:lstStyle/>
                    <a:p>
                      <a:pPr algn="ctr">
                        <a:defRPr sz="800">
                          <a:latin typeface="Nexa Book"/>
                        </a:defRPr>
                      </a:pPr>
                      <a:r>
                        <a:t>Moët &amp; Chand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OET &amp; CHANDON RES IMP EB ETUI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469057">
                <a:tc>
                  <a:txBody>
                    <a:bodyPr/>
                    <a:lstStyle/>
                    <a:p>
                      <a:pPr algn="ctr">
                        <a:defRPr sz="800">
                          <a:latin typeface="Nexa Book"/>
                        </a:defRPr>
                      </a:pPr>
                      <a:r>
                        <a:t>Canard Duchên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ANARD DUCHENE ZE181 EXTR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469057">
                <a:tc>
                  <a:txBody>
                    <a:bodyPr/>
                    <a:lstStyle/>
                    <a:p>
                      <a:pPr algn="ctr">
                        <a:defRPr sz="800">
                          <a:latin typeface="Nexa Book"/>
                        </a:defRPr>
                      </a:pPr>
                      <a:r>
                        <a:t>Piper Heidsieck</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IPER HEIDSIECK ESSENTIEL EXBR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469057">
                <a:tc>
                  <a:txBody>
                    <a:bodyPr/>
                    <a:lstStyle/>
                    <a:p>
                      <a:pPr algn="ctr">
                        <a:defRPr sz="800">
                          <a:latin typeface="Nexa Book"/>
                        </a:defRPr>
                      </a:pPr>
                      <a:r>
                        <a:t>De Venog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E VENOGE PRINCES EXTRA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796</a:t>
            </a:fld>
            <a:endParaRPr lang="en-US"/>
          </a:p>
        </p:txBody>
      </p:sp>
    </p:spTree>
    <p:extLst>
      <p:ext uri="{BB962C8B-B14F-4D97-AF65-F5344CB8AC3E}">
        <p14:creationId xmlns:p14="http://schemas.microsoft.com/office/powerpoint/2010/main" val="136756906"/>
      </p:ext>
    </p:extLst>
  </p:cSld>
  <p:clrMapOvr>
    <a:masterClrMapping/>
  </p:clrMapOvr>
</p:sld>
</file>

<file path=ppt/slides/slide7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Extra Brut | CA B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4"/>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547233">
                <a:tc>
                  <a:txBody>
                    <a:bodyPr/>
                    <a:lstStyle/>
                    <a:p>
                      <a:pPr algn="ctr">
                        <a:defRPr sz="800">
                          <a:latin typeface="Nexa Book"/>
                        </a:defRPr>
                      </a:pPr>
                      <a:r>
                        <a:t>Nicolas Feuilla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NICOLAS FEUILLATTE RES EX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4.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547233">
                <a:tc>
                  <a:txBody>
                    <a:bodyPr/>
                    <a:lstStyle/>
                    <a:p>
                      <a:pPr algn="ctr">
                        <a:defRPr sz="800">
                          <a:latin typeface="Nexa Book"/>
                        </a:defRPr>
                      </a:pPr>
                      <a:r>
                        <a:t>Moët &amp; Chand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OET &amp; CHANDON RES IMP EB ETUI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547233">
                <a:tc>
                  <a:txBody>
                    <a:bodyPr/>
                    <a:lstStyle/>
                    <a:p>
                      <a:pPr algn="ctr">
                        <a:defRPr sz="800">
                          <a:latin typeface="Nexa Book"/>
                        </a:defRPr>
                      </a:pPr>
                      <a:r>
                        <a:t>Nicolas Feuilla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NICOLAS FEUILLATTE EXTRA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547233">
                <a:tc>
                  <a:txBody>
                    <a:bodyPr/>
                    <a:lstStyle/>
                    <a:p>
                      <a:pPr algn="ctr">
                        <a:defRPr sz="800">
                          <a:latin typeface="Nexa Book"/>
                        </a:defRPr>
                      </a:pPr>
                      <a:r>
                        <a:t>Moët &amp; Chand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OET &amp; CHANDON RES IMP EX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547233">
                <a:tc>
                  <a:txBody>
                    <a:bodyPr/>
                    <a:lstStyle/>
                    <a:p>
                      <a:pPr algn="ctr">
                        <a:defRPr sz="800">
                          <a:latin typeface="Nexa Book"/>
                        </a:defRPr>
                      </a:pPr>
                      <a:r>
                        <a:t>Canard Duchên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ANARD DUCHENE ZE181 EXTR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547233">
                <a:tc>
                  <a:txBody>
                    <a:bodyPr/>
                    <a:lstStyle/>
                    <a:p>
                      <a:pPr algn="ctr">
                        <a:defRPr sz="800">
                          <a:latin typeface="Nexa Book"/>
                        </a:defRPr>
                      </a:pPr>
                      <a:r>
                        <a:t>Piper Heidsieck</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IPER HEIDSIECK ESSENTIEL EXBR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797</a:t>
            </a:fld>
            <a:endParaRPr lang="en-US"/>
          </a:p>
        </p:txBody>
      </p:sp>
    </p:spTree>
    <p:extLst>
      <p:ext uri="{BB962C8B-B14F-4D97-AF65-F5344CB8AC3E}">
        <p14:creationId xmlns:p14="http://schemas.microsoft.com/office/powerpoint/2010/main" val="1096865155"/>
      </p:ext>
    </p:extLst>
  </p:cSld>
  <p:clrMapOvr>
    <a:masterClrMapping/>
  </p:clrMapOvr>
</p:sld>
</file>

<file path=ppt/slides/slide7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Extra Brut | CA C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4"/>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547233">
                <a:tc>
                  <a:txBody>
                    <a:bodyPr/>
                    <a:lstStyle/>
                    <a:p>
                      <a:pPr algn="ctr">
                        <a:defRPr sz="800">
                          <a:latin typeface="Nexa Book"/>
                        </a:defRPr>
                      </a:pPr>
                      <a:r>
                        <a:t>Nicolas Feuilla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NICOLAS FEUILLATTE RES EX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547233">
                <a:tc>
                  <a:txBody>
                    <a:bodyPr/>
                    <a:lstStyle/>
                    <a:p>
                      <a:pPr algn="ctr">
                        <a:defRPr sz="800">
                          <a:latin typeface="Nexa Book"/>
                        </a:defRPr>
                      </a:pPr>
                      <a:r>
                        <a:t>Nicolas Feuilla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NICOLAS FEUILLATTE EXTRA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547233">
                <a:tc>
                  <a:txBody>
                    <a:bodyPr/>
                    <a:lstStyle/>
                    <a:p>
                      <a:pPr algn="ctr">
                        <a:defRPr sz="800">
                          <a:latin typeface="Nexa Book"/>
                        </a:defRPr>
                      </a:pPr>
                      <a:r>
                        <a:t>Moët &amp; Chand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OET &amp; CHANDON RES IMP EX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547233">
                <a:tc>
                  <a:txBody>
                    <a:bodyPr/>
                    <a:lstStyle/>
                    <a:p>
                      <a:pPr algn="ctr">
                        <a:defRPr sz="800">
                          <a:latin typeface="Nexa Book"/>
                        </a:defRPr>
                      </a:pPr>
                      <a:r>
                        <a:t>Moët &amp; Chand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OET &amp; CHANDON RES IMP EB ETUI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547233">
                <a:tc>
                  <a:txBody>
                    <a:bodyPr/>
                    <a:lstStyle/>
                    <a:p>
                      <a:pPr algn="ctr">
                        <a:defRPr sz="800">
                          <a:latin typeface="Nexa Book"/>
                        </a:defRPr>
                      </a:pPr>
                      <a:r>
                        <a:t>Canard Duchên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ANARD DUCHENE ZE181 EXTR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547233">
                <a:tc>
                  <a:txBody>
                    <a:bodyPr/>
                    <a:lstStyle/>
                    <a:p>
                      <a:pPr algn="ctr">
                        <a:defRPr sz="800">
                          <a:latin typeface="Nexa Book"/>
                        </a:defRPr>
                      </a:pPr>
                      <a:r>
                        <a:t>Piper Heidsieck</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IPER HEIDSIECK ESSENTIEL EXBR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798</a:t>
            </a:fld>
            <a:endParaRPr lang="en-US"/>
          </a:p>
        </p:txBody>
      </p:sp>
    </p:spTree>
    <p:extLst>
      <p:ext uri="{BB962C8B-B14F-4D97-AF65-F5344CB8AC3E}">
        <p14:creationId xmlns:p14="http://schemas.microsoft.com/office/powerpoint/2010/main" val="2132481028"/>
      </p:ext>
    </p:extLst>
  </p:cSld>
  <p:clrMapOvr>
    <a:masterClrMapping/>
  </p:clrMapOvr>
</p:sld>
</file>

<file path=ppt/slides/slide7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Extra Brut | CA D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410425">
                <a:tc>
                  <a:txBody>
                    <a:bodyPr/>
                    <a:lstStyle/>
                    <a:p>
                      <a:pPr algn="ctr">
                        <a:defRPr sz="800">
                          <a:latin typeface="Nexa Book"/>
                        </a:defRPr>
                      </a:pPr>
                      <a:r>
                        <a:t>Nicolas Feuilla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NICOLAS FEUILLATTE RES EX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410425">
                <a:tc>
                  <a:txBody>
                    <a:bodyPr/>
                    <a:lstStyle/>
                    <a:p>
                      <a:pPr algn="ctr">
                        <a:defRPr sz="800">
                          <a:latin typeface="Nexa Book"/>
                        </a:defRPr>
                      </a:pPr>
                      <a:r>
                        <a:t>Moët &amp; Chand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OET &amp; CHANDON RES IMP EB ETUI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410425">
                <a:tc>
                  <a:txBody>
                    <a:bodyPr/>
                    <a:lstStyle/>
                    <a:p>
                      <a:pPr algn="ctr">
                        <a:defRPr sz="800">
                          <a:latin typeface="Nexa Book"/>
                        </a:defRPr>
                      </a:pPr>
                      <a:r>
                        <a:t>Nicolas Feuilla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NICOLAS FEUILLATTE EXTRA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410425">
                <a:tc>
                  <a:txBody>
                    <a:bodyPr/>
                    <a:lstStyle/>
                    <a:p>
                      <a:pPr algn="ctr">
                        <a:defRPr sz="800">
                          <a:latin typeface="Nexa Book"/>
                        </a:defRPr>
                      </a:pPr>
                      <a:r>
                        <a:t>Moët &amp; Chand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OET &amp; CHANDON RES IMP EX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410425">
                <a:tc>
                  <a:txBody>
                    <a:bodyPr/>
                    <a:lstStyle/>
                    <a:p>
                      <a:pPr algn="ctr">
                        <a:defRPr sz="800">
                          <a:latin typeface="Nexa Book"/>
                        </a:defRPr>
                      </a:pPr>
                      <a:r>
                        <a:t>Canard Duchên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ANARD DUCHENE ZE181 EXTR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410425">
                <a:tc>
                  <a:txBody>
                    <a:bodyPr/>
                    <a:lstStyle/>
                    <a:p>
                      <a:pPr algn="ctr">
                        <a:defRPr sz="800">
                          <a:latin typeface="Nexa Book"/>
                        </a:defRPr>
                      </a:pPr>
                      <a:r>
                        <a:t>Piper Heidsieck</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IPER HEIDSIECK ESSENTIEL EXBR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410425">
                <a:tc>
                  <a:txBody>
                    <a:bodyPr/>
                    <a:lstStyle/>
                    <a:p>
                      <a:pPr algn="ctr">
                        <a:defRPr sz="800">
                          <a:latin typeface="Nexa Book"/>
                        </a:defRPr>
                      </a:pPr>
                      <a:r>
                        <a:t>De Venog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E VENOGE PRINCES EXTRA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410425">
                <a:tc>
                  <a:txBody>
                    <a:bodyPr/>
                    <a:lstStyle/>
                    <a:p>
                      <a:pPr algn="ctr">
                        <a:defRPr sz="800">
                          <a:latin typeface="Nexa Book"/>
                        </a:defRPr>
                      </a:pPr>
                      <a:r>
                        <a:t>Malard</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OF CHAMP LADY STYLE EXTRA BRU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799</a:t>
            </a:fld>
            <a:endParaRPr lang="en-US"/>
          </a:p>
        </p:txBody>
      </p:sp>
    </p:spTree>
    <p:extLst>
      <p:ext uri="{BB962C8B-B14F-4D97-AF65-F5344CB8AC3E}">
        <p14:creationId xmlns:p14="http://schemas.microsoft.com/office/powerpoint/2010/main" val="302635800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Effervescents | NICOLAS PAC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8</a:t>
            </a:fld>
            <a:endParaRPr lang="en-US"/>
          </a:p>
        </p:txBody>
      </p:sp>
    </p:spTree>
    <p:extLst>
      <p:ext uri="{BB962C8B-B14F-4D97-AF65-F5344CB8AC3E}">
        <p14:creationId xmlns:p14="http://schemas.microsoft.com/office/powerpoint/2010/main" val="1147741492"/>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Blanc De Blancs | CA E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80</a:t>
            </a:fld>
            <a:endParaRPr lang="en-US"/>
          </a:p>
        </p:txBody>
      </p:sp>
    </p:spTree>
    <p:extLst>
      <p:ext uri="{BB962C8B-B14F-4D97-AF65-F5344CB8AC3E}">
        <p14:creationId xmlns:p14="http://schemas.microsoft.com/office/powerpoint/2010/main" val="1799598191"/>
      </p:ext>
    </p:extLst>
  </p:cSld>
  <p:clrMapOvr>
    <a:masterClrMapping/>
  </p:clrMapOvr>
</p:sld>
</file>

<file path=ppt/slides/slide8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Extra Brut | CA E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5"/>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469057">
                <a:tc>
                  <a:txBody>
                    <a:bodyPr/>
                    <a:lstStyle/>
                    <a:p>
                      <a:pPr algn="ctr">
                        <a:defRPr sz="800">
                          <a:latin typeface="Nexa Book"/>
                        </a:defRPr>
                      </a:pPr>
                      <a:r>
                        <a:t>Nicolas Feuilla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NICOLAS FEUILLATTE RES EX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469057">
                <a:tc>
                  <a:txBody>
                    <a:bodyPr/>
                    <a:lstStyle/>
                    <a:p>
                      <a:pPr algn="ctr">
                        <a:defRPr sz="800">
                          <a:latin typeface="Nexa Book"/>
                        </a:defRPr>
                      </a:pPr>
                      <a:r>
                        <a:t>Nicolas Feuilla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NICOLAS FEUILLATTE EXTRA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469057">
                <a:tc>
                  <a:txBody>
                    <a:bodyPr/>
                    <a:lstStyle/>
                    <a:p>
                      <a:pPr algn="ctr">
                        <a:defRPr sz="800">
                          <a:latin typeface="Nexa Book"/>
                        </a:defRPr>
                      </a:pPr>
                      <a:r>
                        <a:t>Moët &amp; Chand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OET &amp; CHANDON RES IMP EB ETUI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469057">
                <a:tc>
                  <a:txBody>
                    <a:bodyPr/>
                    <a:lstStyle/>
                    <a:p>
                      <a:pPr algn="ctr">
                        <a:defRPr sz="800">
                          <a:latin typeface="Nexa Book"/>
                        </a:defRPr>
                      </a:pPr>
                      <a:r>
                        <a:t>Moët &amp; Chand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OET &amp; CHANDON RES IMP EX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469057">
                <a:tc>
                  <a:txBody>
                    <a:bodyPr/>
                    <a:lstStyle/>
                    <a:p>
                      <a:pPr algn="ctr">
                        <a:defRPr sz="800">
                          <a:latin typeface="Nexa Book"/>
                        </a:defRPr>
                      </a:pPr>
                      <a:r>
                        <a:t>Canard Duchên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ANARD DUCHENE ZE181 EXTR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469057">
                <a:tc>
                  <a:txBody>
                    <a:bodyPr/>
                    <a:lstStyle/>
                    <a:p>
                      <a:pPr algn="ctr">
                        <a:defRPr sz="800">
                          <a:latin typeface="Nexa Book"/>
                        </a:defRPr>
                      </a:pPr>
                      <a:r>
                        <a:t>Piper Heidsieck</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IPER HEIDSIECK ESSENTIEL EXBR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469057">
                <a:tc>
                  <a:txBody>
                    <a:bodyPr/>
                    <a:lstStyle/>
                    <a:p>
                      <a:pPr algn="ctr">
                        <a:defRPr sz="800">
                          <a:latin typeface="Nexa Book"/>
                        </a:defRPr>
                      </a:pPr>
                      <a:r>
                        <a:t>De Venog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E VENOGE PRINCES EXTRA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800</a:t>
            </a:fld>
            <a:endParaRPr lang="en-US"/>
          </a:p>
        </p:txBody>
      </p:sp>
    </p:spTree>
    <p:extLst>
      <p:ext uri="{BB962C8B-B14F-4D97-AF65-F5344CB8AC3E}">
        <p14:creationId xmlns:p14="http://schemas.microsoft.com/office/powerpoint/2010/main" val="2200123367"/>
      </p:ext>
    </p:extLst>
  </p:cSld>
  <p:clrMapOvr>
    <a:masterClrMapping/>
  </p:clrMapOvr>
</p:sld>
</file>

<file path=ppt/slides/slide8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Millesimes | NICOLAS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Dom Perign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OM PERIGNON 2015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Dom Perign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OM PERIGNON 2013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7.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a:defRPr sz="800">
                          <a:latin typeface="Nexa Book"/>
                        </a:defRPr>
                      </a:pPr>
                      <a:r>
                        <a:t>Roeder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OEDERER CRISTAL BRUT 2015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Malard</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ALARD BRUT MILLESIME 2015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Dom Perign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OM PERIGNON 2015 BASQUIA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7.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Roeder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OEDERER BRUT 2015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Roeder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OEDERER CRISTAL BRUT 2016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5.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RUT (NUE) 2015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RUT SECOND SKIN 2015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3.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Roeder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OEDERER ROSE 2016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Laurent Perri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AURENT PERRIER 2012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Bolling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OLLINGER GRANDE ANNEE 2014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Roeder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OEDERER CRISTAL BRUT 2014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RUT (NUE) 2016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5.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Dom Perign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OM PERIGNON 2012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7.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Perrier Joue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ERRIER JOUET BELLE EPOQU 2014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8.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a:defRPr sz="800">
                          <a:latin typeface="Nexa Book"/>
                        </a:defRPr>
                      </a:pPr>
                      <a:r>
                        <a:t>Pommer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UVEE LOUISE POMMERY 2005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Roeder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ROEDERER CRISTAL 2012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Piper Heidsieck</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IPER HEIDSIECK CUVE RARE 2006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Roeder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OEDERER BRUT 2014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801</a:t>
            </a:fld>
            <a:endParaRPr lang="en-US"/>
          </a:p>
        </p:txBody>
      </p:sp>
    </p:spTree>
    <p:extLst>
      <p:ext uri="{BB962C8B-B14F-4D97-AF65-F5344CB8AC3E}">
        <p14:creationId xmlns:p14="http://schemas.microsoft.com/office/powerpoint/2010/main" val="967719664"/>
      </p:ext>
    </p:extLst>
  </p:cSld>
  <p:clrMapOvr>
    <a:masterClrMapping/>
  </p:clrMapOvr>
</p:sld>
</file>

<file path=ppt/slides/slide8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Millesimes | NICOLAS QCN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Dom Perign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OM PERIGNON 2015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Dom Perign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OM PERIGNON 2013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4.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a:defRPr sz="800">
                          <a:latin typeface="Nexa Book"/>
                        </a:defRPr>
                      </a:pPr>
                      <a:r>
                        <a:t>Malard</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ALARD BRUT MILLESIME 2015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4.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Roeder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OEDERER CRISTAL BRUT 2015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4.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Roeder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OEDERER BRUT 2015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Roeder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OEDERER ROSE 2016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5.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RUT SECOND SKIN 2015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Roeder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OEDERER CRISTAL BRUT 2016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RUT (NUE) 2015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6.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Laurent Perri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AURENT PERRIER 2012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Dom Perign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OM PERIGNON 2015 BASQUIA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Bolling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OLLINGER GRANDE ANNEE 2014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4.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Roeder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OEDERER CRISTAL BRUT 2014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6.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Dom Perign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OM PERIGNON 2012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Piper Heidsieck</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IPER HEIDSIECK CUVE RARE 2006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Pommer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UVEE LOUISE POMMERY 2005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RUT (NUE) 2016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Roeder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OEDERER BRUT 2014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Veuve Clicquo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OF VEUVE CLICQUOT GDE DA 2015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Perrier Joue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ERRIER JOUET BELLE EPOQU 2014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802</a:t>
            </a:fld>
            <a:endParaRPr lang="en-US"/>
          </a:p>
        </p:txBody>
      </p:sp>
    </p:spTree>
    <p:extLst>
      <p:ext uri="{BB962C8B-B14F-4D97-AF65-F5344CB8AC3E}">
        <p14:creationId xmlns:p14="http://schemas.microsoft.com/office/powerpoint/2010/main" val="1516471178"/>
      </p:ext>
    </p:extLst>
  </p:cSld>
  <p:clrMapOvr>
    <a:masterClrMapping/>
  </p:clrMapOvr>
</p:sld>
</file>

<file path=ppt/slides/slide8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Millesimes | NICOLAS VCN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Dom Perign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OM PERIGNON 2015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Dom Perign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OM PERIGNON 2013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4.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a:defRPr sz="800">
                          <a:latin typeface="Nexa Book"/>
                        </a:defRPr>
                      </a:pPr>
                      <a:r>
                        <a:t>Malard</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ALARD BRUT MILLESIME 2015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RUT (NUE) 2015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Roeder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OEDERER CRISTAL BRUT 2015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5.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RUT SECOND SKIN 2015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Roeder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OEDERER CRISTAL BRUT 2016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Roeder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OEDERER BRUT 2015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Dom Perign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OM PERIGNON 2015 BASQUIA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3.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Roeder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OEDERER ROSE 2016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6.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Laurent Perri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AURENT PERRIER 2012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8.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Bolling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OLLINGER GRANDE ANNEE 2014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Bolling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OLLINGER GRANDE ANNEE 2015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3.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RUT (NUE) 2016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5.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Roeder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OEDERER CRISTAL BRUT 2014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Dom Perign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OM PERIGNON 2012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a:defRPr sz="800">
                          <a:latin typeface="Nexa Book"/>
                        </a:defRPr>
                      </a:pPr>
                      <a:r>
                        <a:t>Piper Heidsieck</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IPER HEIDSIECK CUVE RARE 2008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HAMPAGNE GOSSET CELEBRIS 2008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Perrier Joue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ERRIER JOUET BELLE EPOQU 2014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Pommer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UVEE LOUISE POMMERY 2005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803</a:t>
            </a:fld>
            <a:endParaRPr lang="en-US"/>
          </a:p>
        </p:txBody>
      </p:sp>
    </p:spTree>
    <p:extLst>
      <p:ext uri="{BB962C8B-B14F-4D97-AF65-F5344CB8AC3E}">
        <p14:creationId xmlns:p14="http://schemas.microsoft.com/office/powerpoint/2010/main" val="865458461"/>
      </p:ext>
    </p:extLst>
  </p:cSld>
  <p:clrMapOvr>
    <a:masterClrMapping/>
  </p:clrMapOvr>
</p:sld>
</file>

<file path=ppt/slides/slide8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Millesimes | NICOLAS QCT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Dom Perign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OM PERIGNON 2015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Dom Perign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OM PERIGNON 2013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8.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a:defRPr sz="800">
                          <a:latin typeface="Nexa Book"/>
                        </a:defRPr>
                      </a:pPr>
                      <a:r>
                        <a:t>Roeder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OEDERER CRISTAL BRUT 2015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5.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Roeder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OEDERER CRISTAL BRUT 2016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Malard</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ALARD BRUT MILLESIME 2015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Roeder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OEDERER BRUT 2015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Roeder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ROEDERER CRISTAL 2012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Roeder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OEDERER ROSE 2016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8.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Roeder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OEDERER CRISTAL BRUT 2014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RUT SECOND SKIN 2015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4.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Bolling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OLLINGER GRANDE ANNEE 2014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7.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Dom Perign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OM PERIGNON 2015 BASQUIA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Perrier Joue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ERRIER JOUET BELLE EPOQU 2014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RUT (NUE) 2015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Dom Perign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DOM PERIGNON 2012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Laurent Perri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AURENT PERRIER 2012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RUT (NUE) 2016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Pommer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ALMANAZAR POMMERY LOUISE 1995 1CT X 90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Piper Heidsieck</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IPER HEIDSIECK CUVE RARE 2008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Pommer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UVEE LOUISE POMMERY 2005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804</a:t>
            </a:fld>
            <a:endParaRPr lang="en-US"/>
          </a:p>
        </p:txBody>
      </p:sp>
    </p:spTree>
    <p:extLst>
      <p:ext uri="{BB962C8B-B14F-4D97-AF65-F5344CB8AC3E}">
        <p14:creationId xmlns:p14="http://schemas.microsoft.com/office/powerpoint/2010/main" val="435415824"/>
      </p:ext>
    </p:extLst>
  </p:cSld>
  <p:clrMapOvr>
    <a:masterClrMapping/>
  </p:clrMapOvr>
</p:sld>
</file>

<file path=ppt/slides/slide8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Millesimes | NICOLAS QCA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Dom Perign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OM PERIGNON 2015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Dom Perign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OM PERIGNON 2013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a:defRPr sz="800">
                          <a:latin typeface="Nexa Book"/>
                        </a:defRPr>
                      </a:pPr>
                      <a:r>
                        <a:t>Dom Perign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OM PERIGNON 2015 BASQUIA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Roeder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OEDERER CRISTAL BRUT 2016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7.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Roeder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OEDERER CRISTAL BRUT 2015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Malard</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ALARD BRUT MILLESIME 2015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5.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RUT (NUE) 2015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Veuve Clicquo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VEUVE CLICQUOT GDE DAME E 2015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Roeder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OEDERER ROSE 2016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Roeder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OEDERER BRUT 2015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Laurent Perri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AURENT PERRIER 2012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Roeder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OEDERER CRISTAL BRUT 2014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Bolling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OLLINGER GRANDE ANNEE 2014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4.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RUT SECOND SKIN 2015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7.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Veuve Clicquo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OF VEUVE CLICQUOT GDE DA 2015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Roeder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ROEDERER CRISTAL 2012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RUT (NUE) 2016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Perrier Joue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ERRIER JOUET BELLE EPOQU 2014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Pommer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UVEE LOUISE POMMERY 2005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Roeder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OEDERER BRUT 2014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805</a:t>
            </a:fld>
            <a:endParaRPr lang="en-US"/>
          </a:p>
        </p:txBody>
      </p:sp>
    </p:spTree>
    <p:extLst>
      <p:ext uri="{BB962C8B-B14F-4D97-AF65-F5344CB8AC3E}">
        <p14:creationId xmlns:p14="http://schemas.microsoft.com/office/powerpoint/2010/main" val="3345526988"/>
      </p:ext>
    </p:extLst>
  </p:cSld>
  <p:clrMapOvr>
    <a:masterClrMapping/>
  </p:clrMapOvr>
</p:sld>
</file>

<file path=ppt/slides/slide8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Millesimes | NICOLAS CCP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Dom Perign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OM PERIGNON 2015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6.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Dom Perign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OM PERIGNON 2013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RUT SECOND SKIN 2015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Roeder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OEDERER CRISTAL BRUT 2015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5.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Malard</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ALARD BRUT MILLESIME 2015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Dom Perign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OM PERIGNON 2015 BASQUIA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Roeder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OEDERER BRUT 2015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RUT (NUE) 2015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Roeder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OEDERER ROSE 2016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4.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Bolling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OLLINGER GRANDE ANNEE 2014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Laurent Perri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AURENT PERRIER 2012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RUT (NUE) 2016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Roeder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OEDERER CRISTAL BRUT 2016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Roeder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OEDERER CRISTAL BRUT 2014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4.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Pommer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UVEE LOUISE POMMERY 2005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6.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Piper Heidsieck</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IPER HEIDSIECK CUVE RARE 2008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a:defRPr sz="800">
                          <a:latin typeface="Nexa Book"/>
                        </a:defRPr>
                      </a:pPr>
                      <a:r>
                        <a:t>Perrier Joue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ERRIER JOUET BELLE EPOQU 2014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Piper Heidsieck</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IPER HEIDSIECK CUVE RARE 2006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Dom Perign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OM PERIGNON 2012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Roeder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OEDERER BRUT 2014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806</a:t>
            </a:fld>
            <a:endParaRPr lang="en-US"/>
          </a:p>
        </p:txBody>
      </p:sp>
    </p:spTree>
    <p:extLst>
      <p:ext uri="{BB962C8B-B14F-4D97-AF65-F5344CB8AC3E}">
        <p14:creationId xmlns:p14="http://schemas.microsoft.com/office/powerpoint/2010/main" val="2774718265"/>
      </p:ext>
    </p:extLst>
  </p:cSld>
  <p:clrMapOvr>
    <a:masterClrMapping/>
  </p:clrMapOvr>
</p:sld>
</file>

<file path=ppt/slides/slide8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Millesimes | NICOLAS IDF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Dom Perign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OM PERIGNON 2015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Dom Perign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OM PERIGNON 2013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a:defRPr sz="800">
                          <a:latin typeface="Nexa Book"/>
                        </a:defRPr>
                      </a:pPr>
                      <a:r>
                        <a:t>Roeder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OEDERER CRISTAL BRUT 2015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Malard</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ALARD BRUT MILLESIME 2015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Roeder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OEDERER CRISTAL BRUT 2016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Roeder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OEDERER BRUT 2015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RUT (NUE) 2015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Roeder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OEDERER ROSE 2016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RUT SECOND SKIN 2015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Dom Perign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OM PERIGNON 2015 BASQUIA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7.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Laurent Perri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AURENT PERRIER 2012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Bolling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OLLINGER GRANDE ANNEE 2014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Roeder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OEDERER CRISTAL BRUT 2014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4.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RUT (NUE) 2016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5.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Roeder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ROEDERER CRISTAL 2012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Dom Perign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OM PERIGNON 2012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a:defRPr sz="800">
                          <a:latin typeface="Nexa Book"/>
                        </a:defRPr>
                      </a:pPr>
                      <a:r>
                        <a:t>Perrier Joue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ERRIER JOUET BELLE EPOQU 2014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Pommer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UVEE LOUISE POMMERY 2005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Veuve Clicquo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OF VEUVE CLICQUOT GDE DA 2015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Veuve Clicquo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VEUVE CLICQUOT GDE DAME E 2015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807</a:t>
            </a:fld>
            <a:endParaRPr lang="en-US"/>
          </a:p>
        </p:txBody>
      </p:sp>
    </p:spTree>
    <p:extLst>
      <p:ext uri="{BB962C8B-B14F-4D97-AF65-F5344CB8AC3E}">
        <p14:creationId xmlns:p14="http://schemas.microsoft.com/office/powerpoint/2010/main" val="2520571639"/>
      </p:ext>
    </p:extLst>
  </p:cSld>
  <p:clrMapOvr>
    <a:masterClrMapping/>
  </p:clrMapOvr>
</p:sld>
</file>

<file path=ppt/slides/slide8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Millesimes | NICOLAS PAC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Dom Perign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OM PERIGNON 2013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Dom Perign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OM PERIGNON 2015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a:defRPr sz="800">
                          <a:latin typeface="Nexa Book"/>
                        </a:defRPr>
                      </a:pPr>
                      <a:r>
                        <a:t>Roeder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OEDERER CRISTAL BRUT 2015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Roeder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OEDERER CRISTAL BRUT 2016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Malard</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ALARD BRUT MILLESIME 2015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6.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RUT SECOND SKIN 2015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Roeder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OEDERER ROSE 2016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Dom Perign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OM PERIGNON 2015 BASQUIA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5.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Roeder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OEDERER BRUT 2015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8.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Perrier Joue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ERRIER JOUET BELLE EPOQU 2014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RUT (NUE) 2015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3.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Roeder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OEDERER CRISTAL BRUT 2014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Bolling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OLLINGER GRANDE ANNEE 2014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RUT (NUE) 2016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Laurent Perri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AURENT PERRIER 2012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Piper Heidsieck</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IPER HEIDSIECK CUVE RARE 2006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a:defRPr sz="800">
                          <a:latin typeface="Nexa Book"/>
                        </a:defRPr>
                      </a:pPr>
                      <a:r>
                        <a:t>Dom Perign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OM PERIGNON 2012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Roeder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JR ROEDERER CRISTAL CB MILL 1CT X 30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Piper Heidsieck</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IPER HEIDSIECK CUVE RARE 2008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Pommer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UVEE LOUISE POMMERY 2005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808</a:t>
            </a:fld>
            <a:endParaRPr lang="en-US"/>
          </a:p>
        </p:txBody>
      </p:sp>
    </p:spTree>
    <p:extLst>
      <p:ext uri="{BB962C8B-B14F-4D97-AF65-F5344CB8AC3E}">
        <p14:creationId xmlns:p14="http://schemas.microsoft.com/office/powerpoint/2010/main" val="4055637987"/>
      </p:ext>
    </p:extLst>
  </p:cSld>
  <p:clrMapOvr>
    <a:masterClrMapping/>
  </p:clrMapOvr>
</p:sld>
</file>

<file path=ppt/slides/slide8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Millesimes | NICOLAS RHO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Dom Perign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OM PERIGNON 2015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Dom Perign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OM PERIGNON 2013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a:defRPr sz="800">
                          <a:latin typeface="Nexa Book"/>
                        </a:defRPr>
                      </a:pPr>
                      <a:r>
                        <a:t>Dom Perign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OM PERIGNON 2015 BASQUIA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Malard</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ALARD BRUT MILLESIME 2015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6.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RUT (NUE) 2015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RUT SECOND SKIN 2015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Roeder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OEDERER CRISTAL BRUT 2014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Roeder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OEDERER ROSE 2016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3.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Laurent Perri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AURENT PERRIER 2012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Roeder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OEDERER CRISTAL BRUT 2015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Roeder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OEDERER BRUT 2015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Dom Perign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OM PERIGNON 2012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Pommer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UVEE LOUISE POMMERY 2005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Bolling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OLLINGER GRANDE ANNEE 2014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8.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RUT (NUE) 2016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Roeder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OEDERER CRISTAL BRUT 2013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a:defRPr sz="800">
                          <a:latin typeface="Nexa Book"/>
                        </a:defRPr>
                      </a:pPr>
                      <a:r>
                        <a:t>Perrier Joue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ERRIER JOUET BELLE EPOQU 2014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Piper Heidsieck</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IPER HEIDSIECK CUVE RARE 2008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Roeder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OEDERER CRISTAL BRUT 2016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RUT SECOND SKIN 2011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809</a:t>
            </a:fld>
            <a:endParaRPr lang="en-US"/>
          </a:p>
        </p:txBody>
      </p:sp>
    </p:spTree>
    <p:extLst>
      <p:ext uri="{BB962C8B-B14F-4D97-AF65-F5344CB8AC3E}">
        <p14:creationId xmlns:p14="http://schemas.microsoft.com/office/powerpoint/2010/main" val="3850981717"/>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Bruts | NICOLAS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81</a:t>
            </a:fld>
            <a:endParaRPr lang="en-US"/>
          </a:p>
        </p:txBody>
      </p:sp>
    </p:spTree>
    <p:extLst>
      <p:ext uri="{BB962C8B-B14F-4D97-AF65-F5344CB8AC3E}">
        <p14:creationId xmlns:p14="http://schemas.microsoft.com/office/powerpoint/2010/main" val="1808672323"/>
      </p:ext>
    </p:extLst>
  </p:cSld>
  <p:clrMapOvr>
    <a:masterClrMapping/>
  </p:clrMapOvr>
</p:sld>
</file>

<file path=ppt/slides/slide8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Millesimes | NICOLAS AQU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Dom Perign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OM PERIGNON 2015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Dom Perign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OM PERIGNON 2013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5.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a:defRPr sz="800">
                          <a:latin typeface="Nexa Book"/>
                        </a:defRPr>
                      </a:pPr>
                      <a:r>
                        <a:t>Roeder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OEDERER CRISTAL BRUT 2015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3.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Malard</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ALARD BRUT MILLESIME 2015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RUT SECOND SKIN 2015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Roeder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OEDERER CRISTAL BRUT 2016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Roeder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OEDERER BRUT 2015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Dom Perign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OM PERIGNON 2012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5.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Laurent Perri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AURENT PERRIER 2012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Roeder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OEDERER ROSE 2016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Pommer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UVEE LOUISE POMMERY 2005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Bolling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OLLINGER GRANDE ANNEE 2014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RUT (NUE) 2016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6.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Dom Perign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OM PERIGNON 2015 BASQUIA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RUT (NUE) 2015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Roeder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OEDERER CRISTAL BRUT 2014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a:defRPr sz="800">
                          <a:latin typeface="Nexa Book"/>
                        </a:defRPr>
                      </a:pPr>
                      <a:r>
                        <a:t>Perrier Joue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ERRIER JOUET BELLE EPOQU 2014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Piper Heidsieck</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IPER HEIDSIECK CUVE RARE 2006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Roeder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OEDERER BRUT 2014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RUT SECOND SKIN 2011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810</a:t>
            </a:fld>
            <a:endParaRPr lang="en-US"/>
          </a:p>
        </p:txBody>
      </p:sp>
    </p:spTree>
    <p:extLst>
      <p:ext uri="{BB962C8B-B14F-4D97-AF65-F5344CB8AC3E}">
        <p14:creationId xmlns:p14="http://schemas.microsoft.com/office/powerpoint/2010/main" val="1989552978"/>
      </p:ext>
    </p:extLst>
  </p:cSld>
  <p:clrMapOvr>
    <a:masterClrMapping/>
  </p:clrMapOvr>
</p:sld>
</file>

<file path=ppt/slides/slide8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Millesimes | NICOLAS EST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Dom Perign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OM PERIGNON 2013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Dom Perign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OM PERIGNON 2015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5.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a:defRPr sz="800">
                          <a:latin typeface="Nexa Book"/>
                        </a:defRPr>
                      </a:pPr>
                      <a:r>
                        <a:t>Malard</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ALARD BRUT MILLESIME 2015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3.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Roeder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OEDERER CRISTAL BRUT 2015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Roeder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OEDERER BRUT 2015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6.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Bolling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OLLINGER GRANDE ANNEE 2014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Dom Perign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OM PERIGNON 2015 BASQUIA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RUT SECOND SKIN 2015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RUT (NUE) 2015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Laurent Perri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AURENT PERRIER 2012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Roeder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OEDERER ROSE 2016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Piper Heidsieck</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IPER HEIDSIECK CUVE RARE 2008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Perrier Joue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ERRIER JOUET BELLE EPOQU 2014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8.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HAMPAGNE GOSSET CELEBRIS 2008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De Venog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E VENOGE LA FLAMME 2018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Roeder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OEDERER CRISTAL BRUT 2016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TX CHAMPENOIS BLC MESNIL G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6.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Dom Perign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OM PERIGNON 2012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Pommer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UVEE LOUISE POMMERY 2005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Roeder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OEDERER BRUT 2014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811</a:t>
            </a:fld>
            <a:endParaRPr lang="en-US"/>
          </a:p>
        </p:txBody>
      </p:sp>
    </p:spTree>
    <p:extLst>
      <p:ext uri="{BB962C8B-B14F-4D97-AF65-F5344CB8AC3E}">
        <p14:creationId xmlns:p14="http://schemas.microsoft.com/office/powerpoint/2010/main" val="1407894538"/>
      </p:ext>
    </p:extLst>
  </p:cSld>
  <p:clrMapOvr>
    <a:masterClrMapping/>
  </p:clrMapOvr>
</p:sld>
</file>

<file path=ppt/slides/slide8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Millesimes | CA A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Dom Perign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OM PERIGNON 2013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Dom Perign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OM PERIGNON 2015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8.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a:defRPr sz="800">
                          <a:latin typeface="Nexa Book"/>
                        </a:defRPr>
                      </a:pPr>
                      <a:r>
                        <a:t>Roeder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OEDERER CRISTAL BRUT 2015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Dom Perign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OM PERIGNON 2015 BASQUIA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Malard</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ALARD BRUT MILLESIME 2015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Roeder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OEDERER CRISTAL BRUT 2016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Roeder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OEDERER BRUT 2015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Roeder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OEDERER ROSE 2016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RUT SECOND SKIN 2015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RUT (NUE) 2015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6.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Laurent Perri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AURENT PERRIER 2012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Bolling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OLLINGER GRANDE ANNEE 2014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Roeder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OEDERER CRISTAL BRUT 2014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Roeder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ROEDERER CRISTAL 2012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4.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Perrier Joue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ERRIER JOUET BELLE EPOQU 2014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6.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RUT (NUE) 2016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a:defRPr sz="800">
                          <a:latin typeface="Nexa Book"/>
                        </a:defRPr>
                      </a:pPr>
                      <a:r>
                        <a:t>Veuve Clicquo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OF VEUVE CLICQUOT GDE DA 2015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Dom Perign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DOM PERIGNON 2012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Veuve Clicquo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VEUVE CLICQUOT GDE DAME E 2015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Piper Heidsieck</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IPER HEIDSIECK CUVE RARE 2008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812</a:t>
            </a:fld>
            <a:endParaRPr lang="en-US"/>
          </a:p>
        </p:txBody>
      </p:sp>
    </p:spTree>
    <p:extLst>
      <p:ext uri="{BB962C8B-B14F-4D97-AF65-F5344CB8AC3E}">
        <p14:creationId xmlns:p14="http://schemas.microsoft.com/office/powerpoint/2010/main" val="3061832962"/>
      </p:ext>
    </p:extLst>
  </p:cSld>
  <p:clrMapOvr>
    <a:masterClrMapping/>
  </p:clrMapOvr>
</p:sld>
</file>

<file path=ppt/slides/slide8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Millesimes | CA B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Dom Perign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OM PERIGNON 2015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Dom Perign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OM PERIGNON 2013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a:defRPr sz="800">
                          <a:latin typeface="Nexa Book"/>
                        </a:defRPr>
                      </a:pPr>
                      <a:r>
                        <a:t>Malard</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ALARD BRUT MILLESIME 2015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8.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Roeder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OEDERER CRISTAL BRUT 2015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Roeder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OEDERER BRUT 2015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Laurent Perri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AURENT PERRIER 2012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4.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Roeder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OEDERER CRISTAL BRUT 2016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Roeder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OEDERER ROSE 2016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3.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RUT (NUE) 2015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RUT SECOND SKIN 2015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Dom Perign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OM PERIGNON 2015 BASQUIA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Bolling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OLLINGER GRANDE ANNEE 2014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RUT (NUE) 2016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Perrier Joue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ERRIER JOUET BELLE EPOQU 2014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Piper Heidsieck</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IPER HEIDSIECK CUVE RARE 2008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Roeder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OEDERER CRISTAL BRUT 2014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a:defRPr sz="800">
                          <a:latin typeface="Nexa Book"/>
                        </a:defRPr>
                      </a:pPr>
                      <a:r>
                        <a:t>Piper Heidsieck</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IPER HEIDSIECK CUVE RARE 2006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Roeder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OEDERER CRISTAL BRUT 2013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Pommer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UVEE LOUISE POMMERY 2005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Bolling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OLLINGER VIEILLES VIGNES 2014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813</a:t>
            </a:fld>
            <a:endParaRPr lang="en-US"/>
          </a:p>
        </p:txBody>
      </p:sp>
    </p:spTree>
    <p:extLst>
      <p:ext uri="{BB962C8B-B14F-4D97-AF65-F5344CB8AC3E}">
        <p14:creationId xmlns:p14="http://schemas.microsoft.com/office/powerpoint/2010/main" val="3712534076"/>
      </p:ext>
    </p:extLst>
  </p:cSld>
  <p:clrMapOvr>
    <a:masterClrMapping/>
  </p:clrMapOvr>
</p:sld>
</file>

<file path=ppt/slides/slide8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Millesimes | CA C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Dom Perign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OM PERIGNON 2015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Dom Perign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OM PERIGNON 2013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a:defRPr sz="800">
                          <a:latin typeface="Nexa Book"/>
                        </a:defRPr>
                      </a:pPr>
                      <a:r>
                        <a:t>Roeder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OEDERER CRISTAL BRUT 2015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Malard</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ALARD BRUT MILLESIME 2015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4.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RUT SECOND SKIN 2015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Roeder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OEDERER CRISTAL BRUT 2016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6.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Roeder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OEDERER BRUT 2015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RUT (NUE) 2015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Roeder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OEDERER ROSE 2016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Dom Perign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OM PERIGNON 2015 BASQUIA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Roeder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OEDERER CRISTAL BRUT 2014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4.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Bolling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OLLINGER GRANDE ANNEE 2014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RUT (NUE) 2016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8.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Laurent Perri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AURENT PERRIER 2012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Piper Heidsieck</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IPER HEIDSIECK CUVE RARE 2006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Pommer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UVEE LOUISE POMMERY 2005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a:defRPr sz="800">
                          <a:latin typeface="Nexa Book"/>
                        </a:defRPr>
                      </a:pPr>
                      <a:r>
                        <a:t>Perrier Joue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ERRIER JOUET BELLE EPOQU 2014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Piper Heidsieck</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IPER HEIDSIECK CUVE RARE 2008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Dom Perign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OM PERIGNON 2012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Roeder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OEDERER BRUT 2014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814</a:t>
            </a:fld>
            <a:endParaRPr lang="en-US"/>
          </a:p>
        </p:txBody>
      </p:sp>
    </p:spTree>
    <p:extLst>
      <p:ext uri="{BB962C8B-B14F-4D97-AF65-F5344CB8AC3E}">
        <p14:creationId xmlns:p14="http://schemas.microsoft.com/office/powerpoint/2010/main" val="417393049"/>
      </p:ext>
    </p:extLst>
  </p:cSld>
  <p:clrMapOvr>
    <a:masterClrMapping/>
  </p:clrMapOvr>
</p:sld>
</file>

<file path=ppt/slides/slide8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Millesimes | CA D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Dom Perign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OM PERIGNON 2015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8.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Dom Perign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OM PERIGNON 2013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6.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a:defRPr sz="800">
                          <a:latin typeface="Nexa Book"/>
                        </a:defRPr>
                      </a:pPr>
                      <a:r>
                        <a:t>Malard</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ALARD BRUT MILLESIME 2015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5.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Roeder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OEDERER CRISTAL BRUT 2015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RUT (NUE) 2015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5.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RUT SECOND SKIN 2015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Roeder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OEDERER BRUT 2015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4.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Roeder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OEDERER CRISTAL BRUT 2014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Roeder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OEDERER CRISTAL BRUT 2016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Roeder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OEDERER ROSE 2016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Bolling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OLLINGER GRANDE ANNEE 2014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Dom Perign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OM PERIGNON 2012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Bolling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OLLINGER GRANDE ANNEE 2015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Laurent Perri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AURENT PERRIER 2012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Dom Perign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OM PERIGNON 2015 BASQUIA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8.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Pommer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UVEE LOUISE POMMERY 2005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RUT (NUE) 2016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Roeder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OEDERER BRUT 2014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Piper Heidsieck</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IPER HEIDSIECK CUVE RARE 2006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Perrier Joue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ERRIER JOUET BELLE EPOQU 2014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815</a:t>
            </a:fld>
            <a:endParaRPr lang="en-US"/>
          </a:p>
        </p:txBody>
      </p:sp>
    </p:spTree>
    <p:extLst>
      <p:ext uri="{BB962C8B-B14F-4D97-AF65-F5344CB8AC3E}">
        <p14:creationId xmlns:p14="http://schemas.microsoft.com/office/powerpoint/2010/main" val="1606697245"/>
      </p:ext>
    </p:extLst>
  </p:cSld>
  <p:clrMapOvr>
    <a:masterClrMapping/>
  </p:clrMapOvr>
</p:sld>
</file>

<file path=ppt/slides/slide8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Millesimes | CA E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Dom Perign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OM PERIGNON 2015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Malard</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ALARD BRUT MILLESIME 2015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4.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a:defRPr sz="800">
                          <a:latin typeface="Nexa Book"/>
                        </a:defRPr>
                      </a:pPr>
                      <a:r>
                        <a:t>Dom Perign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OM PERIGNON 2013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RUT (NUE) 2015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4.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Roeder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OEDERER CRISTAL BRUT 2015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Dom Perign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OM PERIGNON 2012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3.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Roeder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OEDERER ROSE 2016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RUT SECOND SKIN 2015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Roeder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OEDERER BRUT 2015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4.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Laurent Perri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AURENT PERRIER 2012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Roeder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OEDERER CRISTAL BRUT 2014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Dom Perign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OM PERIGNON 2015 BASQUIA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Roeder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OEDERER CRISTAL BRUT 2016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3.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Bolling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OLLINGER GRANDE ANNEE 2014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RUT (NUE) 2016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Roeder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OEDERER BRUT 2014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7.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HAMPAGNE GOSSET CELEBRIS 2008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Dom Perign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OM PERIGNON PLENITUDE P2 2006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Piper Heidsieck</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IPER HEIDSIECK CUVE RARE 2006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Roeder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OEDERER CRISTAL BRUT 2013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816</a:t>
            </a:fld>
            <a:endParaRPr lang="en-US"/>
          </a:p>
        </p:txBody>
      </p:sp>
    </p:spTree>
    <p:extLst>
      <p:ext uri="{BB962C8B-B14F-4D97-AF65-F5344CB8AC3E}">
        <p14:creationId xmlns:p14="http://schemas.microsoft.com/office/powerpoint/2010/main" val="1163618635"/>
      </p:ext>
    </p:extLst>
  </p:cSld>
  <p:clrMapOvr>
    <a:masterClrMapping/>
  </p:clrMapOvr>
</p:sld>
</file>

<file path=ppt/slides/slide8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Rosés | NICOLAS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ROSE (NU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Deutz</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EUTZ ROS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7.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a:defRPr sz="800">
                          <a:latin typeface="Nexa Book"/>
                        </a:defRPr>
                      </a:pPr>
                      <a:r>
                        <a:t>Demoisell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EMOISELLE ROSE PRES SPECIAL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Laurent Perri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AURENT PERRIER ROS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ROSE SECOND SKIN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4.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CHAMPAGNE E.NICOLAS ROS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6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6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776375343"/>
                  </a:ext>
                </a:extLst>
              </a:tr>
              <a:tr h="164170">
                <a:tc>
                  <a:txBody>
                    <a:bodyPr/>
                    <a:lstStyle/>
                    <a:p>
                      <a:pPr algn="ctr">
                        <a:defRPr sz="800">
                          <a:latin typeface="Nexa Book"/>
                        </a:defRPr>
                      </a:pPr>
                      <a:r>
                        <a:t>Nicolas Feuilla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NICOLAS FEUILLATTE RES EX ROS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Malard</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ALARD ROSE 1ER CRU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Besserat De Bellef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ESSERAT BELLEFON ROS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4.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Pommer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OMMERY SILVER ROSE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RUINART ROSE SECOND SKIN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Dom Perign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OM PERIGNON ROSE 2009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3.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1/2 RUINART ROSE (NUE) 1CT X 375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5.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Bolling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OLLINGER ROS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Deutz</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1/2 DEUTZ ROSE 1CT X 375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Roeder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OEDERER CRISTAL ROSE 2014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CHAMPAGNE NICOLAS ROSE 1ERE CU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3.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720551800"/>
                  </a:ext>
                </a:extLst>
              </a:tr>
              <a:tr h="164170">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1/2 CHAMP NICOLAS ROSE 1E C BS 1CT X 375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3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4.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3682606022"/>
                  </a:ext>
                </a:extLst>
              </a:tr>
              <a:tr h="164170">
                <a:tc>
                  <a:txBody>
                    <a:bodyPr/>
                    <a:lstStyle/>
                    <a:p>
                      <a:pPr algn="ctr">
                        <a:defRPr sz="800">
                          <a:latin typeface="Nexa Book"/>
                        </a:defRPr>
                      </a:pPr>
                      <a:r>
                        <a:t>Besserat De Bellef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1/2 BESSERAT BELLEFON ROSE 1CT X 375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Perrier Joue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ERRIER JOUET BLASON ROSE SHAP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817</a:t>
            </a:fld>
            <a:endParaRPr lang="en-US"/>
          </a:p>
        </p:txBody>
      </p:sp>
    </p:spTree>
    <p:extLst>
      <p:ext uri="{BB962C8B-B14F-4D97-AF65-F5344CB8AC3E}">
        <p14:creationId xmlns:p14="http://schemas.microsoft.com/office/powerpoint/2010/main" val="2838240198"/>
      </p:ext>
    </p:extLst>
  </p:cSld>
  <p:clrMapOvr>
    <a:masterClrMapping/>
  </p:clrMapOvr>
</p:sld>
</file>

<file path=ppt/slides/slide8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Rosés | NICOLAS QCN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ROSE (NU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Deutz</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EUTZ ROS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a:defRPr sz="800">
                          <a:latin typeface="Nexa Book"/>
                        </a:defRPr>
                      </a:pPr>
                      <a:r>
                        <a:t>Demoisell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EMOISELLE ROSE PRES SPECIAL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6.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Laurent Perri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AURENT PERRIER ROS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4.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ROSE SECOND SKIN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CHAMPAGNE E.NICOLAS ROS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58.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776375343"/>
                  </a:ext>
                </a:extLst>
              </a:tr>
              <a:tr h="164170">
                <a:tc>
                  <a:txBody>
                    <a:bodyPr/>
                    <a:lstStyle/>
                    <a:p>
                      <a:pPr algn="ctr">
                        <a:defRPr sz="800">
                          <a:latin typeface="Nexa Book"/>
                        </a:defRPr>
                      </a:pPr>
                      <a:r>
                        <a:t>Nicolas Feuilla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NICOLAS FEUILLATTE RES EX ROS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3.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Malard</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ALARD ROSE 1ER CRU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8.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Besserat De Bellef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ESSERAT BELLEFON ROS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Pommer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OMMERY SILVER ROSE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6.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Dom Perign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OM PERIGNON ROSE 2009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Deutz</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1/2 DEUTZ ROSE 1CT X 375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Bolling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OLLINGER ROS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1/2 RUINART ROSE (NUE) 1CT X 375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6.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Roeder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OEDERER CRISTAL ROSE 2014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RUINART ROSE SECOND SKIN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CHAMPAGNE NICOLAS ROSE 1ERE CU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720551800"/>
                  </a:ext>
                </a:extLst>
              </a:tr>
              <a:tr h="164170">
                <a:tc>
                  <a:txBody>
                    <a:bodyPr/>
                    <a:lstStyle/>
                    <a:p>
                      <a:pPr algn="ctr">
                        <a:defRPr sz="800">
                          <a:latin typeface="Nexa Book"/>
                        </a:defRPr>
                      </a:pPr>
                      <a:r>
                        <a:t>Perrier Joue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ERRIER JOUET BLASON ROSE SHAP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Veuve Clicquo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VEUVE CLICQUOT DAME ROS E 2015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1/2 CHAMP NICOLAS ROSE 1E C BS 1CT X 375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818</a:t>
            </a:fld>
            <a:endParaRPr lang="en-US"/>
          </a:p>
        </p:txBody>
      </p:sp>
    </p:spTree>
    <p:extLst>
      <p:ext uri="{BB962C8B-B14F-4D97-AF65-F5344CB8AC3E}">
        <p14:creationId xmlns:p14="http://schemas.microsoft.com/office/powerpoint/2010/main" val="1624657497"/>
      </p:ext>
    </p:extLst>
  </p:cSld>
  <p:clrMapOvr>
    <a:masterClrMapping/>
  </p:clrMapOvr>
</p:sld>
</file>

<file path=ppt/slides/slide8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Rosés | NICOLAS VCN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ROSE (NU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Deutz</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EUTZ ROS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a:defRPr sz="800">
                          <a:latin typeface="Nexa Book"/>
                        </a:defRPr>
                      </a:pPr>
                      <a:r>
                        <a:t>Demoisell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EMOISELLE ROSE PRES SPECIAL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3.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ROSE SECOND SKIN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CHAMPAGNE E.NICOLAS ROS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5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1102895257"/>
                  </a:ext>
                </a:extLst>
              </a:tr>
              <a:tr h="164170">
                <a:tc>
                  <a:txBody>
                    <a:bodyPr/>
                    <a:lstStyle/>
                    <a:p>
                      <a:pPr algn="ctr">
                        <a:defRPr sz="800">
                          <a:latin typeface="Nexa Book"/>
                        </a:defRPr>
                      </a:pPr>
                      <a:r>
                        <a:t>Laurent Perri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AURENT PERRIER ROS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Nicolas Feuilla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NICOLAS FEUILLATTE RES EX ROS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Malard</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ALARD ROSE 1ER CRU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6.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Pommer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OMMERY SILVER ROSE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Besserat De Bellef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ESSERAT BELLEFON ROS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4.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RUINART ROSE SECOND SKIN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Deutz</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1/2 DEUTZ ROSE 1CT X 375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1/2 RUINART ROSE (NUE) 1CT X 375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Bolling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OLLINGER ROS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CHAMPAGNE NICOLAS ROSE 1ERE CU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714509061"/>
                  </a:ext>
                </a:extLst>
              </a:tr>
              <a:tr h="164170">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1/2 CHAMP NICOLAS ROSE 1E C BS 1CT X 375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5.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3490141980"/>
                  </a:ext>
                </a:extLst>
              </a:tr>
              <a:tr h="164170">
                <a:tc>
                  <a:txBody>
                    <a:bodyPr/>
                    <a:lstStyle/>
                    <a:p>
                      <a:pPr algn="ctr">
                        <a:defRPr sz="800">
                          <a:latin typeface="Nexa Book"/>
                        </a:defRPr>
                      </a:pPr>
                      <a:r>
                        <a:t>Besserat De Bellef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1/2 BESSERAT BELLEFON ROSE 1CT X 375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Demoisell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EMOISELLE ROSE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Dom Perign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OM PERIGNON ROSE 2009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CHAMPAGNE NICOLAS ROSE 1ERE E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819</a:t>
            </a:fld>
            <a:endParaRPr lang="en-US"/>
          </a:p>
        </p:txBody>
      </p:sp>
    </p:spTree>
    <p:extLst>
      <p:ext uri="{BB962C8B-B14F-4D97-AF65-F5344CB8AC3E}">
        <p14:creationId xmlns:p14="http://schemas.microsoft.com/office/powerpoint/2010/main" val="4231842000"/>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Bruts | NICOLAS QCN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82</a:t>
            </a:fld>
            <a:endParaRPr lang="en-US"/>
          </a:p>
        </p:txBody>
      </p:sp>
    </p:spTree>
    <p:extLst>
      <p:ext uri="{BB962C8B-B14F-4D97-AF65-F5344CB8AC3E}">
        <p14:creationId xmlns:p14="http://schemas.microsoft.com/office/powerpoint/2010/main" val="2108951374"/>
      </p:ext>
    </p:extLst>
  </p:cSld>
  <p:clrMapOvr>
    <a:masterClrMapping/>
  </p:clrMapOvr>
</p:sld>
</file>

<file path=ppt/slides/slide8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Rosés | NICOLAS QCT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ROSE (NU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Laurent Perri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AURENT PERRIER ROS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8.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a:defRPr sz="800">
                          <a:latin typeface="Nexa Book"/>
                        </a:defRPr>
                      </a:pPr>
                      <a:r>
                        <a:t>Deutz</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EUTZ ROS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ROSE SECOND SKIN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Nicolas Feuilla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NICOLAS FEUILLATTE RES EX ROS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6.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Demoisell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EMOISELLE ROSE PRES SPECIAL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3.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CHAMPAGNE E.NICOLAS ROS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6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4267548465"/>
                  </a:ext>
                </a:extLst>
              </a:tr>
              <a:tr h="164170">
                <a:tc>
                  <a:txBody>
                    <a:bodyPr/>
                    <a:lstStyle/>
                    <a:p>
                      <a:pPr algn="ctr">
                        <a:defRPr sz="800">
                          <a:latin typeface="Nexa Book"/>
                        </a:defRPr>
                      </a:pPr>
                      <a:r>
                        <a:t>Pommer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OMMERY SILVER ROSE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Malard</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ALARD ROSE 1ER CRU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6.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Besserat De Bellef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ESSERAT BELLEFON ROS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RUINART ROSE SECOND SKIN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1/2 RUINART ROSE (NUE) 1CT X 375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5.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Bolling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OLLINGER ROS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Deutz</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1/2 DEUTZ ROSE 1CT X 375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Dom Perign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OM PERIGNON ROSE 2009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CHAMPAGNE NICOLAS ROSE 1ERE CU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3490141980"/>
                  </a:ext>
                </a:extLst>
              </a:tr>
              <a:tr h="164170">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1/2 CHAMP NICOLAS ROSE 1E C BS 1CT X 375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5.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720551800"/>
                  </a:ext>
                </a:extLst>
              </a:tr>
              <a:tr h="164170">
                <a:tc>
                  <a:txBody>
                    <a:bodyPr/>
                    <a:lstStyle/>
                    <a:p>
                      <a:pPr algn="ctr">
                        <a:defRPr sz="800">
                          <a:latin typeface="Nexa Book"/>
                        </a:defRPr>
                      </a:pPr>
                      <a:r>
                        <a:t>Besserat De Bellef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1/2 BESSERAT BELLEFON ROSE 1CT X 375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RMAND DE BRIGNAC 'AS' ROS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Perrier Joue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ERRIER JOUET EPOQUE ROSE 2013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820</a:t>
            </a:fld>
            <a:endParaRPr lang="en-US"/>
          </a:p>
        </p:txBody>
      </p:sp>
    </p:spTree>
    <p:extLst>
      <p:ext uri="{BB962C8B-B14F-4D97-AF65-F5344CB8AC3E}">
        <p14:creationId xmlns:p14="http://schemas.microsoft.com/office/powerpoint/2010/main" val="152467658"/>
      </p:ext>
    </p:extLst>
  </p:cSld>
  <p:clrMapOvr>
    <a:masterClrMapping/>
  </p:clrMapOvr>
</p:sld>
</file>

<file path=ppt/slides/slide8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Rosés | NICOLAS QCA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ROSE (NU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Roeder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OEDERER CRISTAL ROSE 2014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a:defRPr sz="800">
                          <a:latin typeface="Nexa Book"/>
                        </a:defRPr>
                      </a:pPr>
                      <a:r>
                        <a:t>Laurent Perri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AURENT PERRIER ROS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Deutz</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EUTZ ROS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ROSE SECOND SKIN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Demoisell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EMOISELLE ROSE PRES SPECIAL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8.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Nicolas Feuilla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NICOLAS FEUILLATTE RES EX ROS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3.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CHAMPAGNE E.NICOLAS ROS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6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67.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2585022217"/>
                  </a:ext>
                </a:extLst>
              </a:tr>
              <a:tr h="164170">
                <a:tc>
                  <a:txBody>
                    <a:bodyPr/>
                    <a:lstStyle/>
                    <a:p>
                      <a:pPr algn="ctr">
                        <a:defRPr sz="800">
                          <a:latin typeface="Nexa Book"/>
                        </a:defRPr>
                      </a:pPr>
                      <a:r>
                        <a:t>Dom Perign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OM PERIGNON ROSE 2009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Bolling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OLLINGER ROS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5.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Besserat De Bellef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ESSERAT BELLEFON ROS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1/2 RUINART ROSE (NUE) 1CT X 375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Malard</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ALARD ROSE 1ER CRU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Pommer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OMMERY SILVER ROSE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RUINART ROSE SECOND SKIN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Deutz</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1/2 DEUTZ ROSE 1CT X 375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CHAMPAGNE NICOLAS ROSE 1ERE CU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3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720551800"/>
                  </a:ext>
                </a:extLst>
              </a:tr>
              <a:tr h="164170">
                <a:tc>
                  <a:txBody>
                    <a:bodyPr/>
                    <a:lstStyle/>
                    <a:p>
                      <a:pPr algn="ctr">
                        <a:defRPr sz="800">
                          <a:latin typeface="Nexa Book"/>
                        </a:defRPr>
                      </a:pPr>
                      <a:r>
                        <a:t>Veuve Clicquo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VEUVE CLICQUOT DAME ROS E 2015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Moët &amp; Chand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OET &amp; CHANDON ROSE NECTAR IMP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1/2 CHAMP NICOLAS ROSE 1E C BS 1CT X 375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821</a:t>
            </a:fld>
            <a:endParaRPr lang="en-US"/>
          </a:p>
        </p:txBody>
      </p:sp>
    </p:spTree>
    <p:extLst>
      <p:ext uri="{BB962C8B-B14F-4D97-AF65-F5344CB8AC3E}">
        <p14:creationId xmlns:p14="http://schemas.microsoft.com/office/powerpoint/2010/main" val="268234005"/>
      </p:ext>
    </p:extLst>
  </p:cSld>
  <p:clrMapOvr>
    <a:masterClrMapping/>
  </p:clrMapOvr>
</p:sld>
</file>

<file path=ppt/slides/slide8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Rosés | NICOLAS CCP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ROSE (NU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Deutz</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EUTZ ROS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ROSE SECOND SKIN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Demoisell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EMOISELLE ROSE PRES SPECIAL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3.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Laurent Perri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AURENT PERRIER ROS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Nicolas Feuilla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NICOLAS FEUILLATTE RES EX ROS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CHAMPAGNE E.NICOLAS ROS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8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7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4267548465"/>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RUINART ROSE SECOND SKIN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Malard</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ALARD ROSE 1ER CRU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Pommer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OMMERY SILVER ROSE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1/2 RUINART ROSE (NUE) 1CT X 375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5.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Besserat De Bellef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ESSERAT BELLEFON ROS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Bolling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OLLINGER ROS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Deutz</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1/2 DEUTZ ROSE 1CT X 375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Dom Perign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OM PERIGNON ROSE 2009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Deutz</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EUTZ "AMOUR DEUTZ" ROSE 2009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CHAMPAGNE NICOLAS ROSE 1ERE CU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5.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720551800"/>
                  </a:ext>
                </a:extLst>
              </a:tr>
              <a:tr h="164170">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1/2 CHAMP NICOLAS ROSE 1E C BS 1CT X 375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5.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3682606022"/>
                  </a:ext>
                </a:extLst>
              </a:tr>
              <a:tr h="164170">
                <a:tc>
                  <a:txBody>
                    <a:bodyPr/>
                    <a:lstStyle/>
                    <a:p>
                      <a:pPr algn="ctr">
                        <a:defRPr sz="800">
                          <a:latin typeface="Nexa Book"/>
                        </a:defRPr>
                      </a:pPr>
                      <a:r>
                        <a:t>Besserat De Bellef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1/2 BESSERAT BELLEFON ROSE 1CT X 375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RMAND DE BRIGNAC 'AS' ROS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822</a:t>
            </a:fld>
            <a:endParaRPr lang="en-US"/>
          </a:p>
        </p:txBody>
      </p:sp>
    </p:spTree>
    <p:extLst>
      <p:ext uri="{BB962C8B-B14F-4D97-AF65-F5344CB8AC3E}">
        <p14:creationId xmlns:p14="http://schemas.microsoft.com/office/powerpoint/2010/main" val="3238797880"/>
      </p:ext>
    </p:extLst>
  </p:cSld>
  <p:clrMapOvr>
    <a:masterClrMapping/>
  </p:clrMapOvr>
</p:sld>
</file>

<file path=ppt/slides/slide8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Rosés | NICOLAS IDF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ROSE (NU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Deutz</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EUTZ ROS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a:defRPr sz="800">
                          <a:latin typeface="Nexa Book"/>
                        </a:defRPr>
                      </a:pPr>
                      <a:r>
                        <a:t>Demoisell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EMOISELLE ROSE PRES SPECIAL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Laurent Perri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AURENT PERRIER ROS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5.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ROSE SECOND SKIN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3.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CHAMPAGNE E.NICOLAS ROS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5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5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776375343"/>
                  </a:ext>
                </a:extLst>
              </a:tr>
              <a:tr h="164170">
                <a:tc>
                  <a:txBody>
                    <a:bodyPr/>
                    <a:lstStyle/>
                    <a:p>
                      <a:pPr algn="ctr">
                        <a:defRPr sz="800">
                          <a:latin typeface="Nexa Book"/>
                        </a:defRPr>
                      </a:pPr>
                      <a:r>
                        <a:t>Nicolas Feuilla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NICOLAS FEUILLATTE RES EX ROS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4.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Malard</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ALARD ROSE 1ER CRU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Besserat De Bellef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ESSERAT BELLEFON ROS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Pommer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OMMERY SILVER ROSE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6.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Dom Perign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OM PERIGNON ROSE 2009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Roeder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OEDERER CRISTAL ROSE 2014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RUINART ROSE SECOND SKIN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4.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Bolling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OLLINGER ROS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7.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1/2 RUINART ROSE (NUE) 1CT X 375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Deutz</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1/2 DEUTZ ROSE 1CT X 375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CHAMPAGNE NICOLAS ROSE 1ERE CU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720551800"/>
                  </a:ext>
                </a:extLst>
              </a:tr>
              <a:tr h="164170">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1/2 CHAMP NICOLAS ROSE 1E C BS 1CT X 375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3682606022"/>
                  </a:ext>
                </a:extLst>
              </a:tr>
              <a:tr h="164170">
                <a:tc>
                  <a:txBody>
                    <a:bodyPr/>
                    <a:lstStyle/>
                    <a:p>
                      <a:pPr algn="ctr">
                        <a:defRPr sz="800">
                          <a:latin typeface="Nexa Book"/>
                        </a:defRPr>
                      </a:pPr>
                      <a:r>
                        <a:t>Veuve Clicquo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VEUVE CLICQUOT DAME ROS E 2015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Perrier Joue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ERRIER JOUET BLASON ROSE SHAP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823</a:t>
            </a:fld>
            <a:endParaRPr lang="en-US"/>
          </a:p>
        </p:txBody>
      </p:sp>
    </p:spTree>
    <p:extLst>
      <p:ext uri="{BB962C8B-B14F-4D97-AF65-F5344CB8AC3E}">
        <p14:creationId xmlns:p14="http://schemas.microsoft.com/office/powerpoint/2010/main" val="50200794"/>
      </p:ext>
    </p:extLst>
  </p:cSld>
  <p:clrMapOvr>
    <a:masterClrMapping/>
  </p:clrMapOvr>
</p:sld>
</file>

<file path=ppt/slides/slide8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Rosés | NICOLAS PAC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ROSE (NU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Laurent Perri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AURENT PERRIER ROS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a:defRPr sz="800">
                          <a:latin typeface="Nexa Book"/>
                        </a:defRPr>
                      </a:pPr>
                      <a:r>
                        <a:t>Deutz</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EUTZ ROS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3.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ROSE SECOND SKIN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3.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Demoisell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EMOISELLE ROSE PRES SPECIAL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CHAMPAGNE E.NICOLAS ROS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6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776375343"/>
                  </a:ext>
                </a:extLst>
              </a:tr>
              <a:tr h="164170">
                <a:tc>
                  <a:txBody>
                    <a:bodyPr/>
                    <a:lstStyle/>
                    <a:p>
                      <a:pPr algn="ctr">
                        <a:defRPr sz="800">
                          <a:latin typeface="Nexa Book"/>
                        </a:defRPr>
                      </a:pPr>
                      <a:r>
                        <a:t>Nicolas Feuilla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NICOLAS FEUILLATTE RES EX ROS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Pommer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OMMERY SILVER ROSE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RUINART ROSE SECOND SKIN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Besserat De Bellef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ESSERAT BELLEFON ROS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3.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Malard</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ALARD ROSE 1ER CRU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6.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Bolling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OLLINGER ROS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8.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1/2 RUINART ROSE (NUE) 1CT X 375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Dom Perign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OM PERIGNON ROSE 2009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Deutz</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1/2 DEUTZ ROSE 1CT X 375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CHAMPAGNE NICOLAS ROSE 1ERE CU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5.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3490141980"/>
                  </a:ext>
                </a:extLst>
              </a:tr>
              <a:tr h="164170">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1/2 CHAMP NICOLAS ROSE 1E C BS 1CT X 375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4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720551800"/>
                  </a:ext>
                </a:extLst>
              </a:tr>
              <a:tr h="164170">
                <a:tc>
                  <a:txBody>
                    <a:bodyPr/>
                    <a:lstStyle/>
                    <a:p>
                      <a:pPr algn="ctr">
                        <a:defRPr sz="800">
                          <a:latin typeface="Nexa Book"/>
                        </a:defRPr>
                      </a:pPr>
                      <a:r>
                        <a:t>Besserat De Bellef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1/2 BESSERAT BELLEFON ROSE 1CT X 375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RMAND DE BRIGNAC 'AS' ROS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Krug</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KRUG ROS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824</a:t>
            </a:fld>
            <a:endParaRPr lang="en-US"/>
          </a:p>
        </p:txBody>
      </p:sp>
    </p:spTree>
    <p:extLst>
      <p:ext uri="{BB962C8B-B14F-4D97-AF65-F5344CB8AC3E}">
        <p14:creationId xmlns:p14="http://schemas.microsoft.com/office/powerpoint/2010/main" val="3794626288"/>
      </p:ext>
    </p:extLst>
  </p:cSld>
  <p:clrMapOvr>
    <a:masterClrMapping/>
  </p:clrMapOvr>
</p:sld>
</file>

<file path=ppt/slides/slide8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Rosés | NICOLAS RHO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ROSE (NU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Deutz</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EUTZ ROS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8.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ROSE SECOND SKIN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Laurent Perri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AURENT PERRIER ROS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8.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Demoisell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EMOISELLE ROSE PRES SPECIAL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CHAMPAGNE E.NICOLAS ROS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7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63.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776375343"/>
                  </a:ext>
                </a:extLst>
              </a:tr>
              <a:tr h="164170">
                <a:tc>
                  <a:txBody>
                    <a:bodyPr/>
                    <a:lstStyle/>
                    <a:p>
                      <a:pPr algn="ctr">
                        <a:defRPr sz="800">
                          <a:latin typeface="Nexa Book"/>
                        </a:defRPr>
                      </a:pPr>
                      <a:r>
                        <a:t>Nicolas Feuilla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NICOLAS FEUILLATTE RES EX ROS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Besserat De Bellef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ESSERAT BELLEFON ROS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4.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RUINART ROSE SECOND SKIN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8.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Pommer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OMMERY SILVER ROSE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Malard</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ALARD ROSE 1ER CRU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4.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1/2 RUINART ROSE (NUE) 1CT X 375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Deutz</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1/2 DEUTZ ROSE 1CT X 375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CHAMPAGNE NICOLAS ROSE 1ERE CU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5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4273312142"/>
                  </a:ext>
                </a:extLst>
              </a:tr>
              <a:tr h="164170">
                <a:tc>
                  <a:txBody>
                    <a:bodyPr/>
                    <a:lstStyle/>
                    <a:p>
                      <a:pPr algn="ctr">
                        <a:defRPr sz="800">
                          <a:latin typeface="Nexa Book"/>
                        </a:defRPr>
                      </a:pPr>
                      <a:r>
                        <a:t>Bolling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OLLINGER ROS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1/2 CHAMP NICOLAS ROSE 1E C BS 1CT X 375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4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4.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3490141980"/>
                  </a:ext>
                </a:extLst>
              </a:tr>
              <a:tr h="164170">
                <a:tc>
                  <a:txBody>
                    <a:bodyPr/>
                    <a:lstStyle/>
                    <a:p>
                      <a:pPr algn="ctr">
                        <a:defRPr sz="800">
                          <a:latin typeface="Nexa Book"/>
                        </a:defRPr>
                      </a:pPr>
                      <a:r>
                        <a:t>Deutz</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EUTZ "AMOUR DEUTZ" ROSE 2009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Besserat De Bellef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1/2 BESSERAT BELLEFON ROSE 1CT X 375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Dom Perign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OM PERIGNON ROSE 2009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CHAMPAGNE NICOLAS ROSE 1ERE E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7.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825</a:t>
            </a:fld>
            <a:endParaRPr lang="en-US"/>
          </a:p>
        </p:txBody>
      </p:sp>
    </p:spTree>
    <p:extLst>
      <p:ext uri="{BB962C8B-B14F-4D97-AF65-F5344CB8AC3E}">
        <p14:creationId xmlns:p14="http://schemas.microsoft.com/office/powerpoint/2010/main" val="1563817170"/>
      </p:ext>
    </p:extLst>
  </p:cSld>
  <p:clrMapOvr>
    <a:masterClrMapping/>
  </p:clrMapOvr>
</p:sld>
</file>

<file path=ppt/slides/slide8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Rosés | NICOLAS AQU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ROSE (NU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Deutz</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EUTZ ROS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5.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a:defRPr sz="800">
                          <a:latin typeface="Nexa Book"/>
                        </a:defRPr>
                      </a:pPr>
                      <a:r>
                        <a:t>Demoisell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EMOISELLE ROSE PRES SPECIAL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Laurent Perri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AURENT PERRIER ROS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CHAMPAGNE E.NICOLAS ROS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6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6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1102895257"/>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ROSE SECOND SKIN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8.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Besserat De Bellef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ESSERAT BELLEFON ROS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3.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Malard</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ALARD ROSE 1ER CRU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Pommer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OMMERY SILVER ROSE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3.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Nicolas Feuilla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NICOLAS FEUILLATTE RES EX ROS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8.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1/2 RUINART ROSE (NUE) 1CT X 375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Deutz</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1/2 DEUTZ ROSE 1CT X 375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Bolling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OLLINGER ROS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CHAMPAGNE NICOLAS ROSE 1ERE CU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4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5.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4273312142"/>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RUINART ROSE SECOND SKIN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1/2 CHAMP NICOLAS ROSE 1E C BS 1CT X 375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7.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3490141980"/>
                  </a:ext>
                </a:extLst>
              </a:tr>
              <a:tr h="164170">
                <a:tc>
                  <a:txBody>
                    <a:bodyPr/>
                    <a:lstStyle/>
                    <a:p>
                      <a:pPr algn="ctr">
                        <a:defRPr sz="800">
                          <a:latin typeface="Nexa Book"/>
                        </a:defRPr>
                      </a:pPr>
                      <a:r>
                        <a:t>Besserat De Bellef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1/2 BESSERAT BELLEFON ROSE 1CT X 375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RUINART ROSE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CHAMPAGNE NICOLAS ROSE 1E C BS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2959808831"/>
                  </a:ext>
                </a:extLst>
              </a:tr>
              <a:tr h="164170">
                <a:tc>
                  <a:txBody>
                    <a:bodyPr/>
                    <a:lstStyle/>
                    <a:p>
                      <a:pPr algn="ctr">
                        <a:defRPr sz="800">
                          <a:latin typeface="Nexa Book"/>
                        </a:defRPr>
                      </a:pPr>
                      <a:r>
                        <a:t>Demoisell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EMOISELLE ROSE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826</a:t>
            </a:fld>
            <a:endParaRPr lang="en-US"/>
          </a:p>
        </p:txBody>
      </p:sp>
    </p:spTree>
    <p:extLst>
      <p:ext uri="{BB962C8B-B14F-4D97-AF65-F5344CB8AC3E}">
        <p14:creationId xmlns:p14="http://schemas.microsoft.com/office/powerpoint/2010/main" val="2386477138"/>
      </p:ext>
    </p:extLst>
  </p:cSld>
  <p:clrMapOvr>
    <a:masterClrMapping/>
  </p:clrMapOvr>
</p:sld>
</file>

<file path=ppt/slides/slide8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Rosés | NICOLAS EST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CHAMPAGNE E.NICOLAS ROS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1172644296"/>
                  </a:ext>
                </a:extLst>
              </a:tr>
              <a:tr h="164170">
                <a:tc>
                  <a:txBody>
                    <a:bodyPr/>
                    <a:lstStyle/>
                    <a:p>
                      <a:pPr algn="ctr">
                        <a:defRPr sz="800">
                          <a:latin typeface="Nexa Book"/>
                        </a:defRPr>
                      </a:pPr>
                      <a:r>
                        <a:t>Deutz</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EUTZ ROS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ROSE (NU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Demoisell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EMOISELLE ROSE PRES SPECIAL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8.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Laurent Perri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AURENT PERRIER ROS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5.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Malard</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ALARD ROSE 1ER CRU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ROSE SECOND SKIN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8.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Nicolas Feuilla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NICOLAS FEUILLATTE RES EX ROS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Pommer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OMMERY SILVER ROSE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Besserat De Bellef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ESSERAT BELLEFON ROS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Bolling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OLLINGER ROS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3.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1/2 RUINART ROSE (NUE) 1CT X 375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RUINART ROSE SECOND SKIN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Deutz</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1/2 DEUTZ ROSE 1CT X 375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Deutz</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EUTZ "AMOUR DEUTZ" ROSE 2009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1/2 CHAMP NICOLAS ROSE 1E C BS 1CT X 375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3490141980"/>
                  </a:ext>
                </a:extLst>
              </a:tr>
              <a:tr h="164170">
                <a:tc>
                  <a:txBody>
                    <a:bodyPr/>
                    <a:lstStyle/>
                    <a:p>
                      <a:pPr algn="ctr">
                        <a:defRPr sz="800">
                          <a:latin typeface="Nexa Book"/>
                        </a:defRPr>
                      </a:pPr>
                      <a:r>
                        <a:t>Besserat De Bellef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1/2 BESSERAT BELLEFON ROSE 1CT X 375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CHAMPAGNE NICOLAS ROSE 1ERE CU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7.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3682606022"/>
                  </a:ext>
                </a:extLst>
              </a:tr>
              <a:tr h="164170">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CHAMPAGNE NICOLAS ROSE 1ERE E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2959808831"/>
                  </a:ext>
                </a:extLst>
              </a:tr>
              <a:tr h="164170">
                <a:tc>
                  <a:txBody>
                    <a:bodyPr/>
                    <a:lstStyle/>
                    <a:p>
                      <a:pPr algn="ctr">
                        <a:defRPr sz="800">
                          <a:latin typeface="Nexa Book"/>
                        </a:defRPr>
                      </a:pPr>
                      <a:r>
                        <a:t>De Blign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HAMPAGNE CH DE BLIGNY GD ROS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827</a:t>
            </a:fld>
            <a:endParaRPr lang="en-US"/>
          </a:p>
        </p:txBody>
      </p:sp>
    </p:spTree>
    <p:extLst>
      <p:ext uri="{BB962C8B-B14F-4D97-AF65-F5344CB8AC3E}">
        <p14:creationId xmlns:p14="http://schemas.microsoft.com/office/powerpoint/2010/main" val="338227953"/>
      </p:ext>
    </p:extLst>
  </p:cSld>
  <p:clrMapOvr>
    <a:masterClrMapping/>
  </p:clrMapOvr>
</p:sld>
</file>

<file path=ppt/slides/slide8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Rosés | CA A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ROSE (NU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Deutz</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EUTZ ROS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3.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a:defRPr sz="800">
                          <a:latin typeface="Nexa Book"/>
                        </a:defRPr>
                      </a:pPr>
                      <a:r>
                        <a:t>Laurent Perri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AURENT PERRIER ROS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3.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Demoisell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EMOISELLE ROSE PRES SPECIAL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ROSE SECOND SKIN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Dom Perign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OM PERIGNON ROSE 2009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5.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Roeder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OEDERER CRISTAL ROSE 2014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Nicolas Feuilla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NICOLAS FEUILLATTE RES EX ROS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5.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CHAMPAGNE E.NICOLAS ROS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7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2304999854"/>
                  </a:ext>
                </a:extLst>
              </a:tr>
              <a:tr h="164170">
                <a:tc>
                  <a:txBody>
                    <a:bodyPr/>
                    <a:lstStyle/>
                    <a:p>
                      <a:pPr algn="ctr">
                        <a:defRPr sz="800">
                          <a:latin typeface="Nexa Book"/>
                        </a:defRPr>
                      </a:pPr>
                      <a:r>
                        <a:t>Besserat De Bellef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ESSERAT BELLEFON ROS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Pommer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OMMERY SILVER ROSE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Malard</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ALARD ROSE 1ER CRU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Bolling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OLLINGER ROS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RUINART ROSE SECOND SKIN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5.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1/2 RUINART ROSE (NUE) 1CT X 375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Perrier Joue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ERRIER JOUET BLASON ROSE SHAP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a:defRPr sz="800">
                          <a:latin typeface="Nexa Book"/>
                        </a:defRPr>
                      </a:pPr>
                      <a:r>
                        <a:t>Veuve Clicquo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VEUVE CLICQUOT DAME ROS E 2015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Deutz</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1/2 DEUTZ ROSE 1CT X 375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CHAMPAGNE NICOLAS ROSE 1ERE CU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2959808831"/>
                  </a:ext>
                </a:extLst>
              </a:tr>
              <a:tr h="164170">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1/2 CHAMP NICOLAS ROSE 1E C BS 1CT X 375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828</a:t>
            </a:fld>
            <a:endParaRPr lang="en-US"/>
          </a:p>
        </p:txBody>
      </p:sp>
    </p:spTree>
    <p:extLst>
      <p:ext uri="{BB962C8B-B14F-4D97-AF65-F5344CB8AC3E}">
        <p14:creationId xmlns:p14="http://schemas.microsoft.com/office/powerpoint/2010/main" val="1753588580"/>
      </p:ext>
    </p:extLst>
  </p:cSld>
  <p:clrMapOvr>
    <a:masterClrMapping/>
  </p:clrMapOvr>
</p:sld>
</file>

<file path=ppt/slides/slide8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Rosés | CA B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ROSE (NU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Deutz</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EUTZ ROS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a:defRPr sz="800">
                          <a:latin typeface="Nexa Book"/>
                        </a:defRPr>
                      </a:pPr>
                      <a:r>
                        <a:t>Demoisell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EMOISELLE ROSE PRES SPECIAL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Laurent Perri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AURENT PERRIER ROS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ROSE SECOND SKIN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CHAMPAGNE E.NICOLAS ROS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6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776375343"/>
                  </a:ext>
                </a:extLst>
              </a:tr>
              <a:tr h="164170">
                <a:tc>
                  <a:txBody>
                    <a:bodyPr/>
                    <a:lstStyle/>
                    <a:p>
                      <a:pPr algn="ctr">
                        <a:defRPr sz="800">
                          <a:latin typeface="Nexa Book"/>
                        </a:defRPr>
                      </a:pPr>
                      <a:r>
                        <a:t>Nicolas Feuilla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NICOLAS FEUILLATTE RES EX ROS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Malard</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ALARD ROSE 1ER CRU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Besserat De Bellef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ESSERAT BELLEFON ROS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Pommer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OMMERY SILVER ROSE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RUINART ROSE SECOND SKIN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6.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Deutz</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1/2 DEUTZ ROSE 1CT X 375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1/2 RUINART ROSE (NUE) 1CT X 375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Bolling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OLLINGER ROS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CHAMPAGNE NICOLAS ROSE 1ERE CU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5.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714509061"/>
                  </a:ext>
                </a:extLst>
              </a:tr>
              <a:tr h="164170">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1/2 CHAMP NICOLAS ROSE 1E C BS 1CT X 375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3490141980"/>
                  </a:ext>
                </a:extLst>
              </a:tr>
              <a:tr h="164170">
                <a:tc>
                  <a:txBody>
                    <a:bodyPr/>
                    <a:lstStyle/>
                    <a:p>
                      <a:pPr algn="ctr">
                        <a:defRPr sz="800">
                          <a:latin typeface="Nexa Book"/>
                        </a:defRPr>
                      </a:pPr>
                      <a:r>
                        <a:t>Besserat De Bellef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1/2 BESSERAT BELLEFON ROSE 1CT X 375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CHAMPAGNE NICOLAS ROSE 1ERE E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8.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3682606022"/>
                  </a:ext>
                </a:extLst>
              </a:tr>
              <a:tr h="164170">
                <a:tc>
                  <a:txBody>
                    <a:bodyPr/>
                    <a:lstStyle/>
                    <a:p>
                      <a:pPr algn="ctr">
                        <a:defRPr sz="800">
                          <a:latin typeface="Nexa Book"/>
                        </a:defRPr>
                      </a:pPr>
                      <a:r>
                        <a:t>Demoisell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EMOISELLE ROSE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Deutz</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EUTZ "AMOUR DEUTZ" ROSE 2009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829</a:t>
            </a:fld>
            <a:endParaRPr lang="en-US"/>
          </a:p>
        </p:txBody>
      </p:sp>
    </p:spTree>
    <p:extLst>
      <p:ext uri="{BB962C8B-B14F-4D97-AF65-F5344CB8AC3E}">
        <p14:creationId xmlns:p14="http://schemas.microsoft.com/office/powerpoint/2010/main" val="502179656"/>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Bruts | NICOLAS VCN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83</a:t>
            </a:fld>
            <a:endParaRPr lang="en-US"/>
          </a:p>
        </p:txBody>
      </p:sp>
    </p:spTree>
    <p:extLst>
      <p:ext uri="{BB962C8B-B14F-4D97-AF65-F5344CB8AC3E}">
        <p14:creationId xmlns:p14="http://schemas.microsoft.com/office/powerpoint/2010/main" val="557839185"/>
      </p:ext>
    </p:extLst>
  </p:cSld>
  <p:clrMapOvr>
    <a:masterClrMapping/>
  </p:clrMapOvr>
</p:sld>
</file>

<file path=ppt/slides/slide8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Rosés | CA C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ROSE (NU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Deutz</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EUTZ ROS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a:defRPr sz="800">
                          <a:latin typeface="Nexa Book"/>
                        </a:defRPr>
                      </a:pPr>
                      <a:r>
                        <a:t>Demoisell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EMOISELLE ROSE PRES SPECIAL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Laurent Perri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AURENT PERRIER ROS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ROSE SECOND SKIN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CHAMPAGNE E.NICOLAS ROS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65.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776375343"/>
                  </a:ext>
                </a:extLst>
              </a:tr>
              <a:tr h="164170">
                <a:tc>
                  <a:txBody>
                    <a:bodyPr/>
                    <a:lstStyle/>
                    <a:p>
                      <a:pPr algn="ctr">
                        <a:defRPr sz="800">
                          <a:latin typeface="Nexa Book"/>
                        </a:defRPr>
                      </a:pPr>
                      <a:r>
                        <a:t>Nicolas Feuilla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NICOLAS FEUILLATTE RES EX ROS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Malard</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ALARD ROSE 1ER CRU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5.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Besserat De Bellef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ESSERAT BELLEFON ROS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Pommer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OMMERY SILVER ROSE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3.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RUINART ROSE SECOND SKIN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1/2 RUINART ROSE (NUE) 1CT X 375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8.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Bolling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OLLINGER ROS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Deutz</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1/2 DEUTZ ROSE 1CT X 375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CHAMPAGNE NICOLAS ROSE 1ERE CU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714509061"/>
                  </a:ext>
                </a:extLst>
              </a:tr>
              <a:tr h="164170">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1/2 CHAMP NICOLAS ROSE 1E C BS 1CT X 375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5.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3490141980"/>
                  </a:ext>
                </a:extLst>
              </a:tr>
              <a:tr h="164170">
                <a:tc>
                  <a:txBody>
                    <a:bodyPr/>
                    <a:lstStyle/>
                    <a:p>
                      <a:pPr algn="ctr">
                        <a:defRPr sz="800">
                          <a:latin typeface="Nexa Book"/>
                        </a:defRPr>
                      </a:pPr>
                      <a:r>
                        <a:t>Besserat De Bellef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1/2 BESSERAT BELLEFON ROSE 1CT X 375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Dom Perign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OM PERIGNON ROSE 2009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Demoisell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EMOISELLE ROSE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CHAMPAGNE NICOLAS ROSE 1ERE E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830</a:t>
            </a:fld>
            <a:endParaRPr lang="en-US"/>
          </a:p>
        </p:txBody>
      </p:sp>
    </p:spTree>
    <p:extLst>
      <p:ext uri="{BB962C8B-B14F-4D97-AF65-F5344CB8AC3E}">
        <p14:creationId xmlns:p14="http://schemas.microsoft.com/office/powerpoint/2010/main" val="3711027948"/>
      </p:ext>
    </p:extLst>
  </p:cSld>
  <p:clrMapOvr>
    <a:masterClrMapping/>
  </p:clrMapOvr>
</p:sld>
</file>

<file path=ppt/slides/slide8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Rosés | CA D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ROSE (NU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Deutz</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EUTZ ROS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a:defRPr sz="800">
                          <a:latin typeface="Nexa Book"/>
                        </a:defRPr>
                      </a:pPr>
                      <a:r>
                        <a:t>Demoisell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EMOISELLE ROSE PRES SPECIAL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ROSE SECOND SKIN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Laurent Perri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AURENT PERRIER ROS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6.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CHAMPAGNE E.NICOLAS ROS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6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776375343"/>
                  </a:ext>
                </a:extLst>
              </a:tr>
              <a:tr h="164170">
                <a:tc>
                  <a:txBody>
                    <a:bodyPr/>
                    <a:lstStyle/>
                    <a:p>
                      <a:pPr algn="ctr">
                        <a:defRPr sz="800">
                          <a:latin typeface="Nexa Book"/>
                        </a:defRPr>
                      </a:pPr>
                      <a:r>
                        <a:t>Nicolas Feuilla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NICOLAS FEUILLATTE RES EX ROS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Malard</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ALARD ROSE 1ER CRU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Pommer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OMMERY SILVER ROSE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Besserat De Bellef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ESSERAT BELLEFON ROS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RUINART ROSE SECOND SKIN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6.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1/2 RUINART ROSE (NUE) 1CT X 375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8.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CHAMPAGNE NICOLAS ROSE 1ERE CU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2630007318"/>
                  </a:ext>
                </a:extLst>
              </a:tr>
              <a:tr h="164170">
                <a:tc>
                  <a:txBody>
                    <a:bodyPr/>
                    <a:lstStyle/>
                    <a:p>
                      <a:pPr algn="ctr">
                        <a:defRPr sz="800">
                          <a:latin typeface="Nexa Book"/>
                        </a:defRPr>
                      </a:pPr>
                      <a:r>
                        <a:t>Deutz</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1/2 DEUTZ ROSE 1CT X 375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Bolling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OLLINGER ROS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1/2 CHAMP NICOLAS ROSE 1E C BS 1CT X 375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5.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3490141980"/>
                  </a:ext>
                </a:extLst>
              </a:tr>
              <a:tr h="164170">
                <a:tc>
                  <a:txBody>
                    <a:bodyPr/>
                    <a:lstStyle/>
                    <a:p>
                      <a:pPr algn="ctr">
                        <a:defRPr sz="800">
                          <a:latin typeface="Nexa Book"/>
                        </a:defRPr>
                      </a:pPr>
                      <a:r>
                        <a:t>Besserat De Bellef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1/2 BESSERAT BELLEFON ROSE 1CT X 375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Demoisell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EMOISELLE ROSE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CHAMPAGNE NICOLAS ROSE 1ERE E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8.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2959808831"/>
                  </a:ext>
                </a:extLst>
              </a:tr>
              <a:tr h="164170">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CHAMPAGNE NICOLAS ROSE 1E C BS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8.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831</a:t>
            </a:fld>
            <a:endParaRPr lang="en-US"/>
          </a:p>
        </p:txBody>
      </p:sp>
    </p:spTree>
    <p:extLst>
      <p:ext uri="{BB962C8B-B14F-4D97-AF65-F5344CB8AC3E}">
        <p14:creationId xmlns:p14="http://schemas.microsoft.com/office/powerpoint/2010/main" val="3065138042"/>
      </p:ext>
    </p:extLst>
  </p:cSld>
  <p:clrMapOvr>
    <a:masterClrMapping/>
  </p:clrMapOvr>
</p:sld>
</file>

<file path=ppt/slides/slide8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Rosés | CA E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ROSE (NU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Deutz</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EUTZ ROS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a:defRPr sz="800">
                          <a:latin typeface="Nexa Book"/>
                        </a:defRPr>
                      </a:pPr>
                      <a:r>
                        <a:t>Demoisell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EMOISELLE ROSE PRES SPECIAL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ROSE SECOND SKIN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CHAMPAGNE E.NICOLAS ROS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4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57.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1102895257"/>
                  </a:ext>
                </a:extLst>
              </a:tr>
              <a:tr h="164170">
                <a:tc>
                  <a:txBody>
                    <a:bodyPr/>
                    <a:lstStyle/>
                    <a:p>
                      <a:pPr algn="ctr">
                        <a:defRPr sz="800">
                          <a:latin typeface="Nexa Book"/>
                        </a:defRPr>
                      </a:pPr>
                      <a:r>
                        <a:t>Laurent Perri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AURENT PERRIER ROS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Nicolas Feuilla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NICOLAS FEUILLATTE RES EX ROS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Malard</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ALARD ROSE 1ER CRU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6.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Pommer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OMMERY SILVER ROSE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Besserat De Bellef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ESSERAT BELLEFON ROS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4.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RUINART ROSE SECOND SKIN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1/2 RUINART ROSE (NUE) 1CT X 375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Deutz</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1/2 DEUTZ ROSE 1CT X 375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Bolling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OLLINGER ROS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1/2 CHAMP NICOLAS ROSE 1E C BS 1CT X 375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4.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714509061"/>
                  </a:ext>
                </a:extLst>
              </a:tr>
              <a:tr h="164170">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CHAMPAGNE NICOLAS ROSE 1ERE CU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5.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3490141980"/>
                  </a:ext>
                </a:extLst>
              </a:tr>
              <a:tr h="164170">
                <a:tc>
                  <a:txBody>
                    <a:bodyPr/>
                    <a:lstStyle/>
                    <a:p>
                      <a:pPr algn="ctr">
                        <a:defRPr sz="800">
                          <a:latin typeface="Nexa Book"/>
                        </a:defRPr>
                      </a:pPr>
                      <a:r>
                        <a:t>Besserat De Bellef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1/2 BESSERAT BELLEFON ROSE 1CT X 375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Demoisell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EMOISELLE ROSE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CHAMPAGNE NICOLAS ROSE 1E C BS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8.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2959808831"/>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RUINART ROSE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832</a:t>
            </a:fld>
            <a:endParaRPr lang="en-US"/>
          </a:p>
        </p:txBody>
      </p:sp>
    </p:spTree>
    <p:extLst>
      <p:ext uri="{BB962C8B-B14F-4D97-AF65-F5344CB8AC3E}">
        <p14:creationId xmlns:p14="http://schemas.microsoft.com/office/powerpoint/2010/main" val="1353525029"/>
      </p:ext>
    </p:extLst>
  </p:cSld>
  <p:clrMapOvr>
    <a:masterClrMapping/>
  </p:clrMapOvr>
</p:sld>
</file>

<file path=ppt/slides/slide8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Mousseux Bourgogne | NICOLAS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4"/>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364822">
                <a:tc>
                  <a:txBody>
                    <a:bodyPr/>
                    <a:lstStyle/>
                    <a:p>
                      <a:pPr algn="ctr">
                        <a:defRPr sz="800">
                          <a:latin typeface="Nexa Book"/>
                        </a:defRPr>
                      </a:pPr>
                      <a:r>
                        <a:t>Patriarch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BOURG PATRIARCHE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364822">
                <a:tc>
                  <a:txBody>
                    <a:bodyPr/>
                    <a:lstStyle/>
                    <a:p>
                      <a:pPr algn="ctr">
                        <a:defRPr sz="800">
                          <a:latin typeface="Nexa Book"/>
                        </a:defRPr>
                      </a:pPr>
                      <a:r>
                        <a:t>Patriarch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BOURG PATRIARCH ROS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364822">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BOURGOGNE BISSEY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364822">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BOURG EN CHAZOT 2019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364822">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BOURGOGNE J THOMAS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364822">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BOURGOG PICAMELOT ROS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364822">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BOURGOGNE BAILLY LA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364822">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BOURGOGNE JBAPT 2016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364822">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BOURGOGNE JBAPT 2015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833</a:t>
            </a:fld>
            <a:endParaRPr lang="en-US"/>
          </a:p>
        </p:txBody>
      </p:sp>
    </p:spTree>
    <p:extLst>
      <p:ext uri="{BB962C8B-B14F-4D97-AF65-F5344CB8AC3E}">
        <p14:creationId xmlns:p14="http://schemas.microsoft.com/office/powerpoint/2010/main" val="3262576523"/>
      </p:ext>
    </p:extLst>
  </p:cSld>
  <p:clrMapOvr>
    <a:masterClrMapping/>
  </p:clrMapOvr>
</p:sld>
</file>

<file path=ppt/slides/slide8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Mousseux Bourgogne | NICOLAS QCN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0">
                <a:tc>
                  <a:txBody>
                    <a:bodyPr/>
                    <a:lstStyle/>
                    <a:p>
                      <a:pPr algn="ctr">
                        <a:defRPr sz="800">
                          <a:latin typeface="Nexa Book"/>
                        </a:defRPr>
                      </a:pPr>
                      <a:r>
                        <a:t>Patriarch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BOURG PATRIARCHE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0">
                <a:tc>
                  <a:txBody>
                    <a:bodyPr/>
                    <a:lstStyle/>
                    <a:p>
                      <a:pPr algn="ctr">
                        <a:defRPr sz="800">
                          <a:latin typeface="Nexa Book"/>
                        </a:defRPr>
                      </a:pPr>
                      <a:r>
                        <a:t>Patriarch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BOURG PATRIARCH ROS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834</a:t>
            </a:fld>
            <a:endParaRPr lang="en-US"/>
          </a:p>
        </p:txBody>
      </p:sp>
    </p:spTree>
    <p:extLst>
      <p:ext uri="{BB962C8B-B14F-4D97-AF65-F5344CB8AC3E}">
        <p14:creationId xmlns:p14="http://schemas.microsoft.com/office/powerpoint/2010/main" val="2515403039"/>
      </p:ext>
    </p:extLst>
  </p:cSld>
  <p:clrMapOvr>
    <a:masterClrMapping/>
  </p:clrMapOvr>
</p:sld>
</file>

<file path=ppt/slides/slide8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Mousseux Bourgogne | NICOLAS VCN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410425">
                <a:tc>
                  <a:txBody>
                    <a:bodyPr/>
                    <a:lstStyle/>
                    <a:p>
                      <a:pPr algn="ctr">
                        <a:defRPr sz="800">
                          <a:latin typeface="Nexa Book"/>
                        </a:defRPr>
                      </a:pPr>
                      <a:r>
                        <a:t>Patriarch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BOURG PATRIARCHE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410425">
                <a:tc>
                  <a:txBody>
                    <a:bodyPr/>
                    <a:lstStyle/>
                    <a:p>
                      <a:pPr algn="ctr">
                        <a:defRPr sz="800">
                          <a:latin typeface="Nexa Book"/>
                        </a:defRPr>
                      </a:pPr>
                      <a:r>
                        <a:t>Patriarch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BOURG PATRIARCH ROS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410425">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BOURGOGNE BISSEY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410425">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BOURGOGNE BAILLY LA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410425">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BOURGOGNE J THOMAS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410425">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BOURG EN CHAZOT 2019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410425">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BOURGOG PICAMELOT ROS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410425">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BOURGOGNE JBAPT 2016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835</a:t>
            </a:fld>
            <a:endParaRPr lang="en-US"/>
          </a:p>
        </p:txBody>
      </p:sp>
    </p:spTree>
    <p:extLst>
      <p:ext uri="{BB962C8B-B14F-4D97-AF65-F5344CB8AC3E}">
        <p14:creationId xmlns:p14="http://schemas.microsoft.com/office/powerpoint/2010/main" val="284557118"/>
      </p:ext>
    </p:extLst>
  </p:cSld>
  <p:clrMapOvr>
    <a:masterClrMapping/>
  </p:clrMapOvr>
</p:sld>
</file>

<file path=ppt/slides/slide8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Mousseux Bourgogne | NICOLAS QCT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0">
                <a:tc>
                  <a:txBody>
                    <a:bodyPr/>
                    <a:lstStyle/>
                    <a:p>
                      <a:pPr algn="ctr">
                        <a:defRPr sz="800">
                          <a:latin typeface="Nexa Book"/>
                        </a:defRPr>
                      </a:pPr>
                      <a:r>
                        <a:t>Patriarch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BOURG PATRIARCHE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0">
                <a:tc>
                  <a:txBody>
                    <a:bodyPr/>
                    <a:lstStyle/>
                    <a:p>
                      <a:pPr algn="ctr">
                        <a:defRPr sz="800">
                          <a:latin typeface="Nexa Book"/>
                        </a:defRPr>
                      </a:pPr>
                      <a:r>
                        <a:t>Patriarch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BOURG PATRIARCH ROS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836</a:t>
            </a:fld>
            <a:endParaRPr lang="en-US"/>
          </a:p>
        </p:txBody>
      </p:sp>
    </p:spTree>
    <p:extLst>
      <p:ext uri="{BB962C8B-B14F-4D97-AF65-F5344CB8AC3E}">
        <p14:creationId xmlns:p14="http://schemas.microsoft.com/office/powerpoint/2010/main" val="3522127935"/>
      </p:ext>
    </p:extLst>
  </p:cSld>
  <p:clrMapOvr>
    <a:masterClrMapping/>
  </p:clrMapOvr>
</p:sld>
</file>

<file path=ppt/slides/slide8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Mousseux Bourgogne | NICOLAS QCA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0">
                <a:tc>
                  <a:txBody>
                    <a:bodyPr/>
                    <a:lstStyle/>
                    <a:p>
                      <a:pPr algn="ctr">
                        <a:defRPr sz="800">
                          <a:latin typeface="Nexa Book"/>
                        </a:defRPr>
                      </a:pPr>
                      <a:r>
                        <a:t>Patriarch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BOURG PATRIARCHE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3.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0">
                <a:tc>
                  <a:txBody>
                    <a:bodyPr/>
                    <a:lstStyle/>
                    <a:p>
                      <a:pPr algn="ctr">
                        <a:defRPr sz="800">
                          <a:latin typeface="Nexa Book"/>
                        </a:defRPr>
                      </a:pPr>
                      <a:r>
                        <a:t>Patriarch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BOURG PATRIARCH ROS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837</a:t>
            </a:fld>
            <a:endParaRPr lang="en-US"/>
          </a:p>
        </p:txBody>
      </p:sp>
    </p:spTree>
    <p:extLst>
      <p:ext uri="{BB962C8B-B14F-4D97-AF65-F5344CB8AC3E}">
        <p14:creationId xmlns:p14="http://schemas.microsoft.com/office/powerpoint/2010/main" val="1297527488"/>
      </p:ext>
    </p:extLst>
  </p:cSld>
  <p:clrMapOvr>
    <a:masterClrMapping/>
  </p:clrMapOvr>
</p:sld>
</file>

<file path=ppt/slides/slide8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Mousseux Bourgogne | NICOLAS CCP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0">
                <a:tc>
                  <a:txBody>
                    <a:bodyPr/>
                    <a:lstStyle/>
                    <a:p>
                      <a:pPr algn="ctr">
                        <a:defRPr sz="800">
                          <a:latin typeface="Nexa Book"/>
                        </a:defRPr>
                      </a:pPr>
                      <a:r>
                        <a:t>Patriarch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BOURG PATRIARCHE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7.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0">
                <a:tc>
                  <a:txBody>
                    <a:bodyPr/>
                    <a:lstStyle/>
                    <a:p>
                      <a:pPr algn="ctr">
                        <a:defRPr sz="800">
                          <a:latin typeface="Nexa Book"/>
                        </a:defRPr>
                      </a:pPr>
                      <a:r>
                        <a:t>Patriarch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BOURG PATRIARCH ROS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838</a:t>
            </a:fld>
            <a:endParaRPr lang="en-US"/>
          </a:p>
        </p:txBody>
      </p:sp>
    </p:spTree>
    <p:extLst>
      <p:ext uri="{BB962C8B-B14F-4D97-AF65-F5344CB8AC3E}">
        <p14:creationId xmlns:p14="http://schemas.microsoft.com/office/powerpoint/2010/main" val="1478778614"/>
      </p:ext>
    </p:extLst>
  </p:cSld>
  <p:clrMapOvr>
    <a:masterClrMapping/>
  </p:clrMapOvr>
</p:sld>
</file>

<file path=ppt/slides/slide8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Mousseux Bourgogne | NICOLAS IDF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0">
                <a:tc>
                  <a:txBody>
                    <a:bodyPr/>
                    <a:lstStyle/>
                    <a:p>
                      <a:pPr algn="ctr">
                        <a:defRPr sz="800">
                          <a:latin typeface="Nexa Book"/>
                        </a:defRPr>
                      </a:pPr>
                      <a:r>
                        <a:t>Patriarch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BOURG PATRIARCHE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6.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0">
                <a:tc>
                  <a:txBody>
                    <a:bodyPr/>
                    <a:lstStyle/>
                    <a:p>
                      <a:pPr algn="ctr">
                        <a:defRPr sz="800">
                          <a:latin typeface="Nexa Book"/>
                        </a:defRPr>
                      </a:pPr>
                      <a:r>
                        <a:t>Patriarch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BOURG PATRIARCH ROS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839</a:t>
            </a:fld>
            <a:endParaRPr lang="en-US"/>
          </a:p>
        </p:txBody>
      </p:sp>
    </p:spTree>
    <p:extLst>
      <p:ext uri="{BB962C8B-B14F-4D97-AF65-F5344CB8AC3E}">
        <p14:creationId xmlns:p14="http://schemas.microsoft.com/office/powerpoint/2010/main" val="2056467938"/>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Bruts | NICOLAS QCT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84</a:t>
            </a:fld>
            <a:endParaRPr lang="en-US"/>
          </a:p>
        </p:txBody>
      </p:sp>
    </p:spTree>
    <p:extLst>
      <p:ext uri="{BB962C8B-B14F-4D97-AF65-F5344CB8AC3E}">
        <p14:creationId xmlns:p14="http://schemas.microsoft.com/office/powerpoint/2010/main" val="4136582625"/>
      </p:ext>
    </p:extLst>
  </p:cSld>
  <p:clrMapOvr>
    <a:masterClrMapping/>
  </p:clrMapOvr>
</p:sld>
</file>

<file path=ppt/slides/slide8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Mousseux Bourgogne | NICOLAS PAC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0">
                <a:tc>
                  <a:txBody>
                    <a:bodyPr/>
                    <a:lstStyle/>
                    <a:p>
                      <a:pPr algn="ctr">
                        <a:defRPr sz="800">
                          <a:latin typeface="Nexa Book"/>
                        </a:defRPr>
                      </a:pPr>
                      <a:r>
                        <a:t>Patriarch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BOURG PATRIARCHE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0">
                <a:tc>
                  <a:txBody>
                    <a:bodyPr/>
                    <a:lstStyle/>
                    <a:p>
                      <a:pPr algn="ctr">
                        <a:defRPr sz="800">
                          <a:latin typeface="Nexa Book"/>
                        </a:defRPr>
                      </a:pPr>
                      <a:r>
                        <a:t>Patriarch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BOURG PATRIARCH ROS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840</a:t>
            </a:fld>
            <a:endParaRPr lang="en-US"/>
          </a:p>
        </p:txBody>
      </p:sp>
    </p:spTree>
    <p:extLst>
      <p:ext uri="{BB962C8B-B14F-4D97-AF65-F5344CB8AC3E}">
        <p14:creationId xmlns:p14="http://schemas.microsoft.com/office/powerpoint/2010/main" val="3626514626"/>
      </p:ext>
    </p:extLst>
  </p:cSld>
  <p:clrMapOvr>
    <a:masterClrMapping/>
  </p:clrMapOvr>
</p:sld>
</file>

<file path=ppt/slides/slide8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Mousseux Bourgogne | NICOLAS RHO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0">
                <a:tc>
                  <a:txBody>
                    <a:bodyPr/>
                    <a:lstStyle/>
                    <a:p>
                      <a:pPr algn="ctr">
                        <a:defRPr sz="800">
                          <a:latin typeface="Nexa Book"/>
                        </a:defRPr>
                      </a:pPr>
                      <a:r>
                        <a:t>Patriarch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BOURG PATRIARCHE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0">
                <a:tc>
                  <a:txBody>
                    <a:bodyPr/>
                    <a:lstStyle/>
                    <a:p>
                      <a:pPr algn="ctr">
                        <a:defRPr sz="800">
                          <a:latin typeface="Nexa Book"/>
                        </a:defRPr>
                      </a:pPr>
                      <a:r>
                        <a:t>Patriarch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BOURG PATRIARCH ROS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841</a:t>
            </a:fld>
            <a:endParaRPr lang="en-US"/>
          </a:p>
        </p:txBody>
      </p:sp>
    </p:spTree>
    <p:extLst>
      <p:ext uri="{BB962C8B-B14F-4D97-AF65-F5344CB8AC3E}">
        <p14:creationId xmlns:p14="http://schemas.microsoft.com/office/powerpoint/2010/main" val="929058162"/>
      </p:ext>
    </p:extLst>
  </p:cSld>
  <p:clrMapOvr>
    <a:masterClrMapping/>
  </p:clrMapOvr>
</p:sld>
</file>

<file path=ppt/slides/slide8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Mousseux Bourgogne | NICOLAS AQU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0">
                <a:tc>
                  <a:txBody>
                    <a:bodyPr/>
                    <a:lstStyle/>
                    <a:p>
                      <a:pPr algn="ctr">
                        <a:defRPr sz="800">
                          <a:latin typeface="Nexa Book"/>
                        </a:defRPr>
                      </a:pPr>
                      <a:r>
                        <a:t>Patriarch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BOURG PATRIARCHE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0">
                <a:tc>
                  <a:txBody>
                    <a:bodyPr/>
                    <a:lstStyle/>
                    <a:p>
                      <a:pPr algn="ctr">
                        <a:defRPr sz="800">
                          <a:latin typeface="Nexa Book"/>
                        </a:defRPr>
                      </a:pPr>
                      <a:r>
                        <a:t>Patriarch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BOURG PATRIARCH ROS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842</a:t>
            </a:fld>
            <a:endParaRPr lang="en-US"/>
          </a:p>
        </p:txBody>
      </p:sp>
    </p:spTree>
    <p:extLst>
      <p:ext uri="{BB962C8B-B14F-4D97-AF65-F5344CB8AC3E}">
        <p14:creationId xmlns:p14="http://schemas.microsoft.com/office/powerpoint/2010/main" val="2944412804"/>
      </p:ext>
    </p:extLst>
  </p:cSld>
  <p:clrMapOvr>
    <a:masterClrMapping/>
  </p:clrMapOvr>
</p:sld>
</file>

<file path=ppt/slides/slide8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Mousseux Bourgogne | NICOLAS EST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0">
                <a:tc>
                  <a:txBody>
                    <a:bodyPr/>
                    <a:lstStyle/>
                    <a:p>
                      <a:pPr algn="ctr">
                        <a:defRPr sz="800">
                          <a:latin typeface="Nexa Book"/>
                        </a:defRPr>
                      </a:pPr>
                      <a:r>
                        <a:t>Patriarch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BOURG PATRIARCHE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0">
                <a:tc>
                  <a:txBody>
                    <a:bodyPr/>
                    <a:lstStyle/>
                    <a:p>
                      <a:pPr algn="ctr">
                        <a:defRPr sz="800">
                          <a:latin typeface="Nexa Book"/>
                        </a:defRPr>
                      </a:pPr>
                      <a:r>
                        <a:t>Patriarch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BOURG PATRIARCH ROS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843</a:t>
            </a:fld>
            <a:endParaRPr lang="en-US"/>
          </a:p>
        </p:txBody>
      </p:sp>
    </p:spTree>
    <p:extLst>
      <p:ext uri="{BB962C8B-B14F-4D97-AF65-F5344CB8AC3E}">
        <p14:creationId xmlns:p14="http://schemas.microsoft.com/office/powerpoint/2010/main" val="2980376181"/>
      </p:ext>
    </p:extLst>
  </p:cSld>
  <p:clrMapOvr>
    <a:masterClrMapping/>
  </p:clrMapOvr>
</p:sld>
</file>

<file path=ppt/slides/slide8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Mousseux Bourgogne | CA A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0">
                <a:tc>
                  <a:txBody>
                    <a:bodyPr/>
                    <a:lstStyle/>
                    <a:p>
                      <a:pPr algn="ctr">
                        <a:defRPr sz="800">
                          <a:latin typeface="Nexa Book"/>
                        </a:defRPr>
                      </a:pPr>
                      <a:r>
                        <a:t>Patriarch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BOURG PATRIARCHE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0">
                <a:tc>
                  <a:txBody>
                    <a:bodyPr/>
                    <a:lstStyle/>
                    <a:p>
                      <a:pPr algn="ctr">
                        <a:defRPr sz="800">
                          <a:latin typeface="Nexa Book"/>
                        </a:defRPr>
                      </a:pPr>
                      <a:r>
                        <a:t>Patriarch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BOURG PATRIARCH ROS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844</a:t>
            </a:fld>
            <a:endParaRPr lang="en-US"/>
          </a:p>
        </p:txBody>
      </p:sp>
    </p:spTree>
    <p:extLst>
      <p:ext uri="{BB962C8B-B14F-4D97-AF65-F5344CB8AC3E}">
        <p14:creationId xmlns:p14="http://schemas.microsoft.com/office/powerpoint/2010/main" val="1693607761"/>
      </p:ext>
    </p:extLst>
  </p:cSld>
  <p:clrMapOvr>
    <a:masterClrMapping/>
  </p:clrMapOvr>
</p:sld>
</file>

<file path=ppt/slides/slide8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Mousseux Bourgogne | CA B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0">
                <a:tc>
                  <a:txBody>
                    <a:bodyPr/>
                    <a:lstStyle/>
                    <a:p>
                      <a:pPr algn="ctr">
                        <a:defRPr sz="800">
                          <a:latin typeface="Nexa Book"/>
                        </a:defRPr>
                      </a:pPr>
                      <a:r>
                        <a:t>Patriarch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BOURG PATRIARCHE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6.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0">
                <a:tc>
                  <a:txBody>
                    <a:bodyPr/>
                    <a:lstStyle/>
                    <a:p>
                      <a:pPr algn="ctr">
                        <a:defRPr sz="800">
                          <a:latin typeface="Nexa Book"/>
                        </a:defRPr>
                      </a:pPr>
                      <a:r>
                        <a:t>Patriarch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BOURG PATRIARCH ROS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845</a:t>
            </a:fld>
            <a:endParaRPr lang="en-US"/>
          </a:p>
        </p:txBody>
      </p:sp>
    </p:spTree>
    <p:extLst>
      <p:ext uri="{BB962C8B-B14F-4D97-AF65-F5344CB8AC3E}">
        <p14:creationId xmlns:p14="http://schemas.microsoft.com/office/powerpoint/2010/main" val="1915206231"/>
      </p:ext>
    </p:extLst>
  </p:cSld>
  <p:clrMapOvr>
    <a:masterClrMapping/>
  </p:clrMapOvr>
</p:sld>
</file>

<file path=ppt/slides/slide8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Mousseux Bourgogne | CA C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0">
                <a:tc>
                  <a:txBody>
                    <a:bodyPr/>
                    <a:lstStyle/>
                    <a:p>
                      <a:pPr algn="ctr">
                        <a:defRPr sz="800">
                          <a:latin typeface="Nexa Book"/>
                        </a:defRPr>
                      </a:pPr>
                      <a:r>
                        <a:t>Patriarch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BOURG PATRIARCHE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5.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0">
                <a:tc>
                  <a:txBody>
                    <a:bodyPr/>
                    <a:lstStyle/>
                    <a:p>
                      <a:pPr algn="ctr">
                        <a:defRPr sz="800">
                          <a:latin typeface="Nexa Book"/>
                        </a:defRPr>
                      </a:pPr>
                      <a:r>
                        <a:t>Patriarch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BOURG PATRIARCH ROS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846</a:t>
            </a:fld>
            <a:endParaRPr lang="en-US"/>
          </a:p>
        </p:txBody>
      </p:sp>
    </p:spTree>
    <p:extLst>
      <p:ext uri="{BB962C8B-B14F-4D97-AF65-F5344CB8AC3E}">
        <p14:creationId xmlns:p14="http://schemas.microsoft.com/office/powerpoint/2010/main" val="1374671271"/>
      </p:ext>
    </p:extLst>
  </p:cSld>
  <p:clrMapOvr>
    <a:masterClrMapping/>
  </p:clrMapOvr>
</p:sld>
</file>

<file path=ppt/slides/slide8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Mousseux Bourgogne | CA D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4"/>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364822">
                <a:tc>
                  <a:txBody>
                    <a:bodyPr/>
                    <a:lstStyle/>
                    <a:p>
                      <a:pPr algn="ctr">
                        <a:defRPr sz="800">
                          <a:latin typeface="Nexa Book"/>
                        </a:defRPr>
                      </a:pPr>
                      <a:r>
                        <a:t>Patriarch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BOURG PATRIARCHE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364822">
                <a:tc>
                  <a:txBody>
                    <a:bodyPr/>
                    <a:lstStyle/>
                    <a:p>
                      <a:pPr algn="ctr">
                        <a:defRPr sz="800">
                          <a:latin typeface="Nexa Book"/>
                        </a:defRPr>
                      </a:pPr>
                      <a:r>
                        <a:t>Patriarch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BOURG PATRIARCH ROS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364822">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BOURGOGNE BISSEY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364822">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BOURG EN CHAZOT 2019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364822">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BOURGOG PICAMELOT ROS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364822">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BOURGOGNE BAILLY LA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364822">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BOURGOGNE J THOMAS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364822">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BOURGOGNE JBAPT 2016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364822">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BOURGOGNE JBAPT 2015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847</a:t>
            </a:fld>
            <a:endParaRPr lang="en-US"/>
          </a:p>
        </p:txBody>
      </p:sp>
    </p:spTree>
    <p:extLst>
      <p:ext uri="{BB962C8B-B14F-4D97-AF65-F5344CB8AC3E}">
        <p14:creationId xmlns:p14="http://schemas.microsoft.com/office/powerpoint/2010/main" val="2365498314"/>
      </p:ext>
    </p:extLst>
  </p:cSld>
  <p:clrMapOvr>
    <a:masterClrMapping/>
  </p:clrMapOvr>
</p:sld>
</file>

<file path=ppt/slides/slide8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Mousseux Bourgogne | CA E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5"/>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469057">
                <a:tc>
                  <a:txBody>
                    <a:bodyPr/>
                    <a:lstStyle/>
                    <a:p>
                      <a:pPr algn="ctr">
                        <a:defRPr sz="800">
                          <a:latin typeface="Nexa Book"/>
                        </a:defRPr>
                      </a:pPr>
                      <a:r>
                        <a:t>Patriarch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BOURG PATRIARCHE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6.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469057">
                <a:tc>
                  <a:txBody>
                    <a:bodyPr/>
                    <a:lstStyle/>
                    <a:p>
                      <a:pPr algn="ctr">
                        <a:defRPr sz="800">
                          <a:latin typeface="Nexa Book"/>
                        </a:defRPr>
                      </a:pPr>
                      <a:r>
                        <a:t>Patriarch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BOURG PATRIARCH ROS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469057">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BOURGOGNE BISSEY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469057">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BOURGOGNE J THOMAS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469057">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BOURGOG PICAMELOT ROS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469057">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BOURGOGNE PICAM 2020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469057">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BOURG EN CHAZOT 2019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848</a:t>
            </a:fld>
            <a:endParaRPr lang="en-US"/>
          </a:p>
        </p:txBody>
      </p:sp>
    </p:spTree>
    <p:extLst>
      <p:ext uri="{BB962C8B-B14F-4D97-AF65-F5344CB8AC3E}">
        <p14:creationId xmlns:p14="http://schemas.microsoft.com/office/powerpoint/2010/main" val="2005976769"/>
      </p:ext>
    </p:extLst>
  </p:cSld>
  <p:clrMapOvr>
    <a:masterClrMapping/>
  </p:clrMapOvr>
</p:sld>
</file>

<file path=ppt/slides/slide8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Mousseux Italiens | NICOLAS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68"/>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234528">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CARLO V CUVEE DEL ITA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234528">
                <a:tc>
                  <a:txBody>
                    <a:bodyPr/>
                    <a:lstStyle/>
                    <a:p>
                      <a:pPr algn="ctr">
                        <a:defRPr sz="800">
                          <a:latin typeface="Nexa Book"/>
                        </a:defRPr>
                      </a:pPr>
                      <a:r>
                        <a:t>Botteg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VINO DEI POETI ITA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234528">
                <a:tc>
                  <a:txBody>
                    <a:bodyPr/>
                    <a:lstStyle/>
                    <a:p>
                      <a:pPr algn="ctr">
                        <a:defRPr sz="800">
                          <a:latin typeface="Nexa Book"/>
                        </a:defRPr>
                      </a:pPr>
                      <a:r>
                        <a:t>Savia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SAVIAN EXTRA DRY ITA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234528">
                <a:tc>
                  <a:txBody>
                    <a:bodyPr/>
                    <a:lstStyle/>
                    <a:p>
                      <a:pPr algn="ctr">
                        <a:defRPr sz="800">
                          <a:latin typeface="Nexa Book"/>
                        </a:defRPr>
                      </a:pPr>
                      <a:r>
                        <a:t>Botteg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VINO POETI ROSE ITA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234528">
                <a:tc>
                  <a:txBody>
                    <a:bodyPr/>
                    <a:lstStyle/>
                    <a:p>
                      <a:pPr algn="ctr">
                        <a:defRPr sz="800">
                          <a:latin typeface="Nexa Book"/>
                        </a:defRPr>
                      </a:pPr>
                      <a:r>
                        <a:t>Contarini</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CONTARINI BRUT ITA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234528">
                <a:tc>
                  <a:txBody>
                    <a:bodyPr/>
                    <a:lstStyle/>
                    <a:p>
                      <a:pPr algn="ctr">
                        <a:defRPr sz="800">
                          <a:latin typeface="Nexa Book"/>
                        </a:defRPr>
                      </a:pPr>
                      <a:r>
                        <a:t>Contarini</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PROSECCO CONTARINI BRUT ITA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234528">
                <a:tc>
                  <a:txBody>
                    <a:bodyPr/>
                    <a:lstStyle/>
                    <a:p>
                      <a:pPr algn="ctr">
                        <a:defRPr sz="800">
                          <a:latin typeface="Nexa Book"/>
                        </a:defRPr>
                      </a:pPr>
                      <a:r>
                        <a:t>Vilaveroni</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VILAVERONI ITA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234528">
                <a:tc>
                  <a:txBody>
                    <a:bodyPr/>
                    <a:lstStyle/>
                    <a:p>
                      <a:pPr algn="ctr">
                        <a:defRPr sz="800">
                          <a:latin typeface="Nexa Book"/>
                        </a:defRPr>
                      </a:pPr>
                      <a:r>
                        <a:t>Botteg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WHITE EX DRY BOT 2022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234528">
                <a:tc>
                  <a:txBody>
                    <a:bodyPr/>
                    <a:lstStyle/>
                    <a:p>
                      <a:pPr algn="ctr">
                        <a:defRPr sz="800">
                          <a:latin typeface="Nexa Book"/>
                        </a:defRPr>
                      </a:pPr>
                      <a:r>
                        <a:t>Vilaveroni</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STI VILAVERONI ITALI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234528">
                <a:tc>
                  <a:txBody>
                    <a:bodyPr/>
                    <a:lstStyle/>
                    <a:p>
                      <a:pPr algn="ctr">
                        <a:defRPr sz="800">
                          <a:latin typeface="Nexa Book"/>
                        </a:defRPr>
                      </a:pPr>
                      <a:r>
                        <a:t>Vilaveroni</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AMBRUSCO VILAVE RGE DOLCE ITA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234528">
                <a:tc>
                  <a:txBody>
                    <a:bodyPr/>
                    <a:lstStyle/>
                    <a:p>
                      <a:pPr algn="ctr">
                        <a:defRPr sz="800">
                          <a:latin typeface="Nexa Book"/>
                        </a:defRPr>
                      </a:pPr>
                      <a:r>
                        <a:t>Vilaveroni</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AMBRUSCO VILAVE ROS DOLCE ITA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234528">
                <a:tc>
                  <a:txBody>
                    <a:bodyPr/>
                    <a:lstStyle/>
                    <a:p>
                      <a:pPr algn="ctr">
                        <a:defRPr sz="800">
                          <a:latin typeface="Nexa Book"/>
                        </a:defRPr>
                      </a:pPr>
                      <a:r>
                        <a:t>Botteg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BOTTEGA FRIZZANT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234528">
                <a:tc>
                  <a:txBody>
                    <a:bodyPr/>
                    <a:lstStyle/>
                    <a:p>
                      <a:pPr algn="ctr">
                        <a:defRPr sz="800">
                          <a:latin typeface="Nexa Book"/>
                        </a:defRPr>
                      </a:pPr>
                      <a:r>
                        <a:t>Botteg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BOTTEGA GOLD SPUMANT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234528">
                <a:tc>
                  <a:txBody>
                    <a:bodyPr/>
                    <a:lstStyle/>
                    <a:p>
                      <a:pPr algn="ctr">
                        <a:defRPr sz="800">
                          <a:latin typeface="Nexa Book"/>
                        </a:defRPr>
                      </a:pPr>
                      <a:r>
                        <a:t>Botteg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PUMANTE DEI POETI ROSE ITA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849</a:t>
            </a:fld>
            <a:endParaRPr lang="en-US"/>
          </a:p>
        </p:txBody>
      </p:sp>
    </p:spTree>
    <p:extLst>
      <p:ext uri="{BB962C8B-B14F-4D97-AF65-F5344CB8AC3E}">
        <p14:creationId xmlns:p14="http://schemas.microsoft.com/office/powerpoint/2010/main" val="403401642"/>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Bruts | NICOLAS QCA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85</a:t>
            </a:fld>
            <a:endParaRPr lang="en-US"/>
          </a:p>
        </p:txBody>
      </p:sp>
    </p:spTree>
    <p:extLst>
      <p:ext uri="{BB962C8B-B14F-4D97-AF65-F5344CB8AC3E}">
        <p14:creationId xmlns:p14="http://schemas.microsoft.com/office/powerpoint/2010/main" val="778951777"/>
      </p:ext>
    </p:extLst>
  </p:cSld>
  <p:clrMapOvr>
    <a:masterClrMapping/>
  </p:clrMapOvr>
</p:sld>
</file>

<file path=ppt/slides/slide8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Mousseux Italiens | NICOLAS QCN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4"/>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364822">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CARLO V CUVEE DEL ITA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364822">
                <a:tc>
                  <a:txBody>
                    <a:bodyPr/>
                    <a:lstStyle/>
                    <a:p>
                      <a:pPr algn="ctr">
                        <a:defRPr sz="800">
                          <a:latin typeface="Nexa Book"/>
                        </a:defRPr>
                      </a:pPr>
                      <a:r>
                        <a:t>Botteg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VINO DEI POETI ITA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364822">
                <a:tc>
                  <a:txBody>
                    <a:bodyPr/>
                    <a:lstStyle/>
                    <a:p>
                      <a:pPr algn="ctr">
                        <a:defRPr sz="800">
                          <a:latin typeface="Nexa Book"/>
                        </a:defRPr>
                      </a:pPr>
                      <a:r>
                        <a:t>Savia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SAVIAN EXTRA DRY ITA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364822">
                <a:tc>
                  <a:txBody>
                    <a:bodyPr/>
                    <a:lstStyle/>
                    <a:p>
                      <a:pPr algn="ctr">
                        <a:defRPr sz="800">
                          <a:latin typeface="Nexa Book"/>
                        </a:defRPr>
                      </a:pPr>
                      <a:r>
                        <a:t>Botteg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VINO POETI ROSE ITA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364822">
                <a:tc>
                  <a:txBody>
                    <a:bodyPr/>
                    <a:lstStyle/>
                    <a:p>
                      <a:pPr algn="ctr">
                        <a:defRPr sz="800">
                          <a:latin typeface="Nexa Book"/>
                        </a:defRPr>
                      </a:pPr>
                      <a:r>
                        <a:t>Contarini</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CONTARINI BRUT ITA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364822">
                <a:tc>
                  <a:txBody>
                    <a:bodyPr/>
                    <a:lstStyle/>
                    <a:p>
                      <a:pPr algn="ctr">
                        <a:defRPr sz="800">
                          <a:latin typeface="Nexa Book"/>
                        </a:defRPr>
                      </a:pPr>
                      <a:r>
                        <a:t>Contarini</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PROSECCO CONTARINI BRUT ITA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364822">
                <a:tc>
                  <a:txBody>
                    <a:bodyPr/>
                    <a:lstStyle/>
                    <a:p>
                      <a:pPr algn="ctr">
                        <a:defRPr sz="800">
                          <a:latin typeface="Nexa Book"/>
                        </a:defRPr>
                      </a:pPr>
                      <a:r>
                        <a:t>Botteg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WHITE EX DRY BOT 2022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364822">
                <a:tc>
                  <a:txBody>
                    <a:bodyPr/>
                    <a:lstStyle/>
                    <a:p>
                      <a:pPr algn="ctr">
                        <a:defRPr sz="800">
                          <a:latin typeface="Nexa Book"/>
                        </a:defRPr>
                      </a:pPr>
                      <a:r>
                        <a:t>Botteg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BOTTEGA FRIZZANT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364822">
                <a:tc>
                  <a:txBody>
                    <a:bodyPr/>
                    <a:lstStyle/>
                    <a:p>
                      <a:pPr algn="ctr">
                        <a:defRPr sz="800">
                          <a:latin typeface="Nexa Book"/>
                        </a:defRPr>
                      </a:pPr>
                      <a:r>
                        <a:t>Botteg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PUMANTE DEI POETI ROSE ITA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850</a:t>
            </a:fld>
            <a:endParaRPr lang="en-US"/>
          </a:p>
        </p:txBody>
      </p:sp>
    </p:spTree>
    <p:extLst>
      <p:ext uri="{BB962C8B-B14F-4D97-AF65-F5344CB8AC3E}">
        <p14:creationId xmlns:p14="http://schemas.microsoft.com/office/powerpoint/2010/main" val="3851681883"/>
      </p:ext>
    </p:extLst>
  </p:cSld>
  <p:clrMapOvr>
    <a:masterClrMapping/>
  </p:clrMapOvr>
</p:sld>
</file>

<file path=ppt/slides/slide8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Mousseux Italiens | NICOLAS VCN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410425">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CARLO V CUVEE DEL ITA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410425">
                <a:tc>
                  <a:txBody>
                    <a:bodyPr/>
                    <a:lstStyle/>
                    <a:p>
                      <a:pPr algn="ctr">
                        <a:defRPr sz="800">
                          <a:latin typeface="Nexa Book"/>
                        </a:defRPr>
                      </a:pPr>
                      <a:r>
                        <a:t>Botteg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VINO DEI POETI ITA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410425">
                <a:tc>
                  <a:txBody>
                    <a:bodyPr/>
                    <a:lstStyle/>
                    <a:p>
                      <a:pPr algn="ctr">
                        <a:defRPr sz="800">
                          <a:latin typeface="Nexa Book"/>
                        </a:defRPr>
                      </a:pPr>
                      <a:r>
                        <a:t>Savia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SAVIAN EXTRA DRY ITA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410425">
                <a:tc>
                  <a:txBody>
                    <a:bodyPr/>
                    <a:lstStyle/>
                    <a:p>
                      <a:pPr algn="ctr">
                        <a:defRPr sz="800">
                          <a:latin typeface="Nexa Book"/>
                        </a:defRPr>
                      </a:pPr>
                      <a:r>
                        <a:t>Botteg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VINO POETI ROSE ITA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410425">
                <a:tc>
                  <a:txBody>
                    <a:bodyPr/>
                    <a:lstStyle/>
                    <a:p>
                      <a:pPr algn="ctr">
                        <a:defRPr sz="800">
                          <a:latin typeface="Nexa Book"/>
                        </a:defRPr>
                      </a:pPr>
                      <a:r>
                        <a:t>Contarini</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CONTARINI BRUT ITA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410425">
                <a:tc>
                  <a:txBody>
                    <a:bodyPr/>
                    <a:lstStyle/>
                    <a:p>
                      <a:pPr algn="ctr">
                        <a:defRPr sz="800">
                          <a:latin typeface="Nexa Book"/>
                        </a:defRPr>
                      </a:pPr>
                      <a:r>
                        <a:t>Contarini</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PROSECCO CONTARINI BRUT ITA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410425">
                <a:tc>
                  <a:txBody>
                    <a:bodyPr/>
                    <a:lstStyle/>
                    <a:p>
                      <a:pPr algn="ctr">
                        <a:defRPr sz="800">
                          <a:latin typeface="Nexa Book"/>
                        </a:defRPr>
                      </a:pPr>
                      <a:r>
                        <a:t>Botteg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WHITE EX DRY BOT 2022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410425">
                <a:tc>
                  <a:txBody>
                    <a:bodyPr/>
                    <a:lstStyle/>
                    <a:p>
                      <a:pPr algn="ctr">
                        <a:defRPr sz="800">
                          <a:latin typeface="Nexa Book"/>
                        </a:defRPr>
                      </a:pPr>
                      <a:r>
                        <a:t>Botteg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BOTTEGA FRIZZANT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851</a:t>
            </a:fld>
            <a:endParaRPr lang="en-US"/>
          </a:p>
        </p:txBody>
      </p:sp>
    </p:spTree>
    <p:extLst>
      <p:ext uri="{BB962C8B-B14F-4D97-AF65-F5344CB8AC3E}">
        <p14:creationId xmlns:p14="http://schemas.microsoft.com/office/powerpoint/2010/main" val="3163012082"/>
      </p:ext>
    </p:extLst>
  </p:cSld>
  <p:clrMapOvr>
    <a:masterClrMapping/>
  </p:clrMapOvr>
</p:sld>
</file>

<file path=ppt/slides/slide8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Mousseux Italiens | NICOLAS QCT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5"/>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469057">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CARLO V CUVEE DEL ITA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5.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469057">
                <a:tc>
                  <a:txBody>
                    <a:bodyPr/>
                    <a:lstStyle/>
                    <a:p>
                      <a:pPr algn="ctr">
                        <a:defRPr sz="800">
                          <a:latin typeface="Nexa Book"/>
                        </a:defRPr>
                      </a:pPr>
                      <a:r>
                        <a:t>Botteg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VINO DEI POETI ITA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469057">
                <a:tc>
                  <a:txBody>
                    <a:bodyPr/>
                    <a:lstStyle/>
                    <a:p>
                      <a:pPr algn="ctr">
                        <a:defRPr sz="800">
                          <a:latin typeface="Nexa Book"/>
                        </a:defRPr>
                      </a:pPr>
                      <a:r>
                        <a:t>Savia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SAVIAN EXTRA DRY ITA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469057">
                <a:tc>
                  <a:txBody>
                    <a:bodyPr/>
                    <a:lstStyle/>
                    <a:p>
                      <a:pPr algn="ctr">
                        <a:defRPr sz="800">
                          <a:latin typeface="Nexa Book"/>
                        </a:defRPr>
                      </a:pPr>
                      <a:r>
                        <a:t>Botteg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VINO POETI ROSE ITA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469057">
                <a:tc>
                  <a:txBody>
                    <a:bodyPr/>
                    <a:lstStyle/>
                    <a:p>
                      <a:pPr algn="ctr">
                        <a:defRPr sz="800">
                          <a:latin typeface="Nexa Book"/>
                        </a:defRPr>
                      </a:pPr>
                      <a:r>
                        <a:t>Contarini</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CONTARINI BRUT ITA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469057">
                <a:tc>
                  <a:txBody>
                    <a:bodyPr/>
                    <a:lstStyle/>
                    <a:p>
                      <a:pPr algn="ctr">
                        <a:defRPr sz="800">
                          <a:latin typeface="Nexa Book"/>
                        </a:defRPr>
                      </a:pPr>
                      <a:r>
                        <a:t>Contarini</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PROSECCO CONTARINI BRUT ITA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469057">
                <a:tc>
                  <a:txBody>
                    <a:bodyPr/>
                    <a:lstStyle/>
                    <a:p>
                      <a:pPr algn="ctr">
                        <a:defRPr sz="800">
                          <a:latin typeface="Nexa Book"/>
                        </a:defRPr>
                      </a:pPr>
                      <a:r>
                        <a:t>Botteg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WHITE EX DRY BOT 2022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852</a:t>
            </a:fld>
            <a:endParaRPr lang="en-US"/>
          </a:p>
        </p:txBody>
      </p:sp>
    </p:spTree>
    <p:extLst>
      <p:ext uri="{BB962C8B-B14F-4D97-AF65-F5344CB8AC3E}">
        <p14:creationId xmlns:p14="http://schemas.microsoft.com/office/powerpoint/2010/main" val="1295620786"/>
      </p:ext>
    </p:extLst>
  </p:cSld>
  <p:clrMapOvr>
    <a:masterClrMapping/>
  </p:clrMapOvr>
</p:sld>
</file>

<file path=ppt/slides/slide8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Mousseux Italiens | NICOLAS QCA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410425">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CARLO V CUVEE DEL ITA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410425">
                <a:tc>
                  <a:txBody>
                    <a:bodyPr/>
                    <a:lstStyle/>
                    <a:p>
                      <a:pPr algn="ctr">
                        <a:defRPr sz="800">
                          <a:latin typeface="Nexa Book"/>
                        </a:defRPr>
                      </a:pPr>
                      <a:r>
                        <a:t>Botteg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VINO DEI POETI ITA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410425">
                <a:tc>
                  <a:txBody>
                    <a:bodyPr/>
                    <a:lstStyle/>
                    <a:p>
                      <a:pPr algn="ctr">
                        <a:defRPr sz="800">
                          <a:latin typeface="Nexa Book"/>
                        </a:defRPr>
                      </a:pPr>
                      <a:r>
                        <a:t>Savia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SAVIAN EXTRA DRY ITA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410425">
                <a:tc>
                  <a:txBody>
                    <a:bodyPr/>
                    <a:lstStyle/>
                    <a:p>
                      <a:pPr algn="ctr">
                        <a:defRPr sz="800">
                          <a:latin typeface="Nexa Book"/>
                        </a:defRPr>
                      </a:pPr>
                      <a:r>
                        <a:t>Botteg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VINO POETI ROSE ITA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410425">
                <a:tc>
                  <a:txBody>
                    <a:bodyPr/>
                    <a:lstStyle/>
                    <a:p>
                      <a:pPr algn="ctr">
                        <a:defRPr sz="800">
                          <a:latin typeface="Nexa Book"/>
                        </a:defRPr>
                      </a:pPr>
                      <a:r>
                        <a:t>Contarini</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CONTARINI BRUT ITA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410425">
                <a:tc>
                  <a:txBody>
                    <a:bodyPr/>
                    <a:lstStyle/>
                    <a:p>
                      <a:pPr algn="ctr">
                        <a:defRPr sz="800">
                          <a:latin typeface="Nexa Book"/>
                        </a:defRPr>
                      </a:pPr>
                      <a:r>
                        <a:t>Contarini</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PROSECCO CONTARINI BRUT ITA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410425">
                <a:tc>
                  <a:txBody>
                    <a:bodyPr/>
                    <a:lstStyle/>
                    <a:p>
                      <a:pPr algn="ctr">
                        <a:defRPr sz="800">
                          <a:latin typeface="Nexa Book"/>
                        </a:defRPr>
                      </a:pPr>
                      <a:r>
                        <a:t>Botteg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WHITE EX DRY BOT 2022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410425">
                <a:tc>
                  <a:txBody>
                    <a:bodyPr/>
                    <a:lstStyle/>
                    <a:p>
                      <a:pPr algn="ctr">
                        <a:defRPr sz="800">
                          <a:latin typeface="Nexa Book"/>
                        </a:defRPr>
                      </a:pPr>
                      <a:r>
                        <a:t>Botteg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BOTTEGA FRIZZANT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853</a:t>
            </a:fld>
            <a:endParaRPr lang="en-US"/>
          </a:p>
        </p:txBody>
      </p:sp>
    </p:spTree>
    <p:extLst>
      <p:ext uri="{BB962C8B-B14F-4D97-AF65-F5344CB8AC3E}">
        <p14:creationId xmlns:p14="http://schemas.microsoft.com/office/powerpoint/2010/main" val="3075691970"/>
      </p:ext>
    </p:extLst>
  </p:cSld>
  <p:clrMapOvr>
    <a:masterClrMapping/>
  </p:clrMapOvr>
</p:sld>
</file>

<file path=ppt/slides/slide8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Mousseux Italiens | NICOLAS CCP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3"/>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252569">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CARLO V CUVEE DEL ITA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252569">
                <a:tc>
                  <a:txBody>
                    <a:bodyPr/>
                    <a:lstStyle/>
                    <a:p>
                      <a:pPr algn="ctr">
                        <a:defRPr sz="800">
                          <a:latin typeface="Nexa Book"/>
                        </a:defRPr>
                      </a:pPr>
                      <a:r>
                        <a:t>Botteg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VINO DEI POETI ITA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252569">
                <a:tc>
                  <a:txBody>
                    <a:bodyPr/>
                    <a:lstStyle/>
                    <a:p>
                      <a:pPr algn="ctr">
                        <a:defRPr sz="800">
                          <a:latin typeface="Nexa Book"/>
                        </a:defRPr>
                      </a:pPr>
                      <a:r>
                        <a:t>Savia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SAVIAN EXTRA DRY ITA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3.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252569">
                <a:tc>
                  <a:txBody>
                    <a:bodyPr/>
                    <a:lstStyle/>
                    <a:p>
                      <a:pPr algn="ctr">
                        <a:defRPr sz="800">
                          <a:latin typeface="Nexa Book"/>
                        </a:defRPr>
                      </a:pPr>
                      <a:r>
                        <a:t>Botteg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VINO POETI ROSE ITA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252569">
                <a:tc>
                  <a:txBody>
                    <a:bodyPr/>
                    <a:lstStyle/>
                    <a:p>
                      <a:pPr algn="ctr">
                        <a:defRPr sz="800">
                          <a:latin typeface="Nexa Book"/>
                        </a:defRPr>
                      </a:pPr>
                      <a:r>
                        <a:t>Contarini</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CONTARINI BRUT ITA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252569">
                <a:tc>
                  <a:txBody>
                    <a:bodyPr/>
                    <a:lstStyle/>
                    <a:p>
                      <a:pPr algn="ctr">
                        <a:defRPr sz="800">
                          <a:latin typeface="Nexa Book"/>
                        </a:defRPr>
                      </a:pPr>
                      <a:r>
                        <a:t>Contarini</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PROSECCO CONTARINI BRUT ITA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252569">
                <a:tc>
                  <a:txBody>
                    <a:bodyPr/>
                    <a:lstStyle/>
                    <a:p>
                      <a:pPr algn="ctr">
                        <a:defRPr sz="800">
                          <a:latin typeface="Nexa Book"/>
                        </a:defRPr>
                      </a:pPr>
                      <a:r>
                        <a:t>Vilaveroni</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VILAVERONI ITA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252569">
                <a:tc>
                  <a:txBody>
                    <a:bodyPr/>
                    <a:lstStyle/>
                    <a:p>
                      <a:pPr algn="ctr">
                        <a:defRPr sz="800">
                          <a:latin typeface="Nexa Book"/>
                        </a:defRPr>
                      </a:pPr>
                      <a:r>
                        <a:t>Botteg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WHITE EX DRY BOT 2022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252569">
                <a:tc>
                  <a:txBody>
                    <a:bodyPr/>
                    <a:lstStyle/>
                    <a:p>
                      <a:pPr algn="ctr">
                        <a:defRPr sz="800">
                          <a:latin typeface="Nexa Book"/>
                        </a:defRPr>
                      </a:pPr>
                      <a:r>
                        <a:t>Vilaveroni</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AMBRUSCO VILAVE RGE DOLCE ITA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252569">
                <a:tc>
                  <a:txBody>
                    <a:bodyPr/>
                    <a:lstStyle/>
                    <a:p>
                      <a:pPr algn="ctr">
                        <a:defRPr sz="800">
                          <a:latin typeface="Nexa Book"/>
                        </a:defRPr>
                      </a:pPr>
                      <a:r>
                        <a:t>Vilaveroni</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STI VILAVERONI ITALI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252569">
                <a:tc>
                  <a:txBody>
                    <a:bodyPr/>
                    <a:lstStyle/>
                    <a:p>
                      <a:pPr algn="ctr">
                        <a:defRPr sz="800">
                          <a:latin typeface="Nexa Book"/>
                        </a:defRPr>
                      </a:pPr>
                      <a:r>
                        <a:t>Vilaveroni</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AMBRUSCO VILAVE ROS DOLCE ITA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252569">
                <a:tc>
                  <a:txBody>
                    <a:bodyPr/>
                    <a:lstStyle/>
                    <a:p>
                      <a:pPr algn="ctr">
                        <a:defRPr sz="800">
                          <a:latin typeface="Nexa Book"/>
                        </a:defRPr>
                      </a:pPr>
                      <a:r>
                        <a:t>Botteg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BOTTEGA FRIZZANT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252569">
                <a:tc>
                  <a:txBody>
                    <a:bodyPr/>
                    <a:lstStyle/>
                    <a:p>
                      <a:pPr algn="ctr">
                        <a:defRPr sz="800">
                          <a:latin typeface="Nexa Book"/>
                        </a:defRPr>
                      </a:pPr>
                      <a:r>
                        <a:t>Botteg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PUMANTE DEI POETI ROSE ITA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854</a:t>
            </a:fld>
            <a:endParaRPr lang="en-US"/>
          </a:p>
        </p:txBody>
      </p:sp>
    </p:spTree>
    <p:extLst>
      <p:ext uri="{BB962C8B-B14F-4D97-AF65-F5344CB8AC3E}">
        <p14:creationId xmlns:p14="http://schemas.microsoft.com/office/powerpoint/2010/main" val="696592663"/>
      </p:ext>
    </p:extLst>
  </p:cSld>
  <p:clrMapOvr>
    <a:masterClrMapping/>
  </p:clrMapOvr>
</p:sld>
</file>

<file path=ppt/slides/slide8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Mousseux Italiens | NICOLAS IDF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410425">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CARLO V CUVEE DEL ITA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410425">
                <a:tc>
                  <a:txBody>
                    <a:bodyPr/>
                    <a:lstStyle/>
                    <a:p>
                      <a:pPr algn="ctr">
                        <a:defRPr sz="800">
                          <a:latin typeface="Nexa Book"/>
                        </a:defRPr>
                      </a:pPr>
                      <a:r>
                        <a:t>Botteg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VINO DEI POETI ITA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410425">
                <a:tc>
                  <a:txBody>
                    <a:bodyPr/>
                    <a:lstStyle/>
                    <a:p>
                      <a:pPr algn="ctr">
                        <a:defRPr sz="800">
                          <a:latin typeface="Nexa Book"/>
                        </a:defRPr>
                      </a:pPr>
                      <a:r>
                        <a:t>Savia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SAVIAN EXTRA DRY ITA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410425">
                <a:tc>
                  <a:txBody>
                    <a:bodyPr/>
                    <a:lstStyle/>
                    <a:p>
                      <a:pPr algn="ctr">
                        <a:defRPr sz="800">
                          <a:latin typeface="Nexa Book"/>
                        </a:defRPr>
                      </a:pPr>
                      <a:r>
                        <a:t>Botteg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VINO POETI ROSE ITA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410425">
                <a:tc>
                  <a:txBody>
                    <a:bodyPr/>
                    <a:lstStyle/>
                    <a:p>
                      <a:pPr algn="ctr">
                        <a:defRPr sz="800">
                          <a:latin typeface="Nexa Book"/>
                        </a:defRPr>
                      </a:pPr>
                      <a:r>
                        <a:t>Contarini</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CONTARINI BRUT ITA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410425">
                <a:tc>
                  <a:txBody>
                    <a:bodyPr/>
                    <a:lstStyle/>
                    <a:p>
                      <a:pPr algn="ctr">
                        <a:defRPr sz="800">
                          <a:latin typeface="Nexa Book"/>
                        </a:defRPr>
                      </a:pPr>
                      <a:r>
                        <a:t>Contarini</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PROSECCO CONTARINI BRUT ITA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410425">
                <a:tc>
                  <a:txBody>
                    <a:bodyPr/>
                    <a:lstStyle/>
                    <a:p>
                      <a:pPr algn="ctr">
                        <a:defRPr sz="800">
                          <a:latin typeface="Nexa Book"/>
                        </a:defRPr>
                      </a:pPr>
                      <a:r>
                        <a:t>Botteg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WHITE EX DRY BOT 2022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410425">
                <a:tc>
                  <a:txBody>
                    <a:bodyPr/>
                    <a:lstStyle/>
                    <a:p>
                      <a:pPr algn="ctr">
                        <a:defRPr sz="800">
                          <a:latin typeface="Nexa Book"/>
                        </a:defRPr>
                      </a:pPr>
                      <a:r>
                        <a:t>Botteg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PUMANTE DEI POETI ROSE ITA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855</a:t>
            </a:fld>
            <a:endParaRPr lang="en-US"/>
          </a:p>
        </p:txBody>
      </p:sp>
    </p:spTree>
    <p:extLst>
      <p:ext uri="{BB962C8B-B14F-4D97-AF65-F5344CB8AC3E}">
        <p14:creationId xmlns:p14="http://schemas.microsoft.com/office/powerpoint/2010/main" val="477827325"/>
      </p:ext>
    </p:extLst>
  </p:cSld>
  <p:clrMapOvr>
    <a:masterClrMapping/>
  </p:clrMapOvr>
</p:sld>
</file>

<file path=ppt/slides/slide8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Mousseux Italiens | NICOLAS PAC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5"/>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469057">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CARLO V CUVEE DEL ITA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469057">
                <a:tc>
                  <a:txBody>
                    <a:bodyPr/>
                    <a:lstStyle/>
                    <a:p>
                      <a:pPr algn="ctr">
                        <a:defRPr sz="800">
                          <a:latin typeface="Nexa Book"/>
                        </a:defRPr>
                      </a:pPr>
                      <a:r>
                        <a:t>Botteg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VINO DEI POETI ITA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469057">
                <a:tc>
                  <a:txBody>
                    <a:bodyPr/>
                    <a:lstStyle/>
                    <a:p>
                      <a:pPr algn="ctr">
                        <a:defRPr sz="800">
                          <a:latin typeface="Nexa Book"/>
                        </a:defRPr>
                      </a:pPr>
                      <a:r>
                        <a:t>Savia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SAVIAN EXTRA DRY ITA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469057">
                <a:tc>
                  <a:txBody>
                    <a:bodyPr/>
                    <a:lstStyle/>
                    <a:p>
                      <a:pPr algn="ctr">
                        <a:defRPr sz="800">
                          <a:latin typeface="Nexa Book"/>
                        </a:defRPr>
                      </a:pPr>
                      <a:r>
                        <a:t>Botteg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VINO POETI ROSE ITA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469057">
                <a:tc>
                  <a:txBody>
                    <a:bodyPr/>
                    <a:lstStyle/>
                    <a:p>
                      <a:pPr algn="ctr">
                        <a:defRPr sz="800">
                          <a:latin typeface="Nexa Book"/>
                        </a:defRPr>
                      </a:pPr>
                      <a:r>
                        <a:t>Contarini</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CONTARINI BRUT ITA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469057">
                <a:tc>
                  <a:txBody>
                    <a:bodyPr/>
                    <a:lstStyle/>
                    <a:p>
                      <a:pPr algn="ctr">
                        <a:defRPr sz="800">
                          <a:latin typeface="Nexa Book"/>
                        </a:defRPr>
                      </a:pPr>
                      <a:r>
                        <a:t>Contarini</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PROSECCO CONTARINI BRUT ITA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469057">
                <a:tc>
                  <a:txBody>
                    <a:bodyPr/>
                    <a:lstStyle/>
                    <a:p>
                      <a:pPr algn="ctr">
                        <a:defRPr sz="800">
                          <a:latin typeface="Nexa Book"/>
                        </a:defRPr>
                      </a:pPr>
                      <a:r>
                        <a:t>Botteg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WHITE EX DRY BOT 2022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856</a:t>
            </a:fld>
            <a:endParaRPr lang="en-US"/>
          </a:p>
        </p:txBody>
      </p:sp>
    </p:spTree>
    <p:extLst>
      <p:ext uri="{BB962C8B-B14F-4D97-AF65-F5344CB8AC3E}">
        <p14:creationId xmlns:p14="http://schemas.microsoft.com/office/powerpoint/2010/main" val="3610017763"/>
      </p:ext>
    </p:extLst>
  </p:cSld>
  <p:clrMapOvr>
    <a:masterClrMapping/>
  </p:clrMapOvr>
</p:sld>
</file>

<file path=ppt/slides/slide8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Mousseux Italiens | NICOLAS RHO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3"/>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252569">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CARLO V CUVEE DEL ITA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8.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252569">
                <a:tc>
                  <a:txBody>
                    <a:bodyPr/>
                    <a:lstStyle/>
                    <a:p>
                      <a:pPr algn="ctr">
                        <a:defRPr sz="800">
                          <a:latin typeface="Nexa Book"/>
                        </a:defRPr>
                      </a:pPr>
                      <a:r>
                        <a:t>Botteg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VINO DEI POETI ITA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4.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252569">
                <a:tc>
                  <a:txBody>
                    <a:bodyPr/>
                    <a:lstStyle/>
                    <a:p>
                      <a:pPr algn="ctr">
                        <a:defRPr sz="800">
                          <a:latin typeface="Nexa Book"/>
                        </a:defRPr>
                      </a:pPr>
                      <a:r>
                        <a:t>Savia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SAVIAN EXTRA DRY ITA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252569">
                <a:tc>
                  <a:txBody>
                    <a:bodyPr/>
                    <a:lstStyle/>
                    <a:p>
                      <a:pPr algn="ctr">
                        <a:defRPr sz="800">
                          <a:latin typeface="Nexa Book"/>
                        </a:defRPr>
                      </a:pPr>
                      <a:r>
                        <a:t>Botteg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VINO POETI ROSE ITA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252569">
                <a:tc>
                  <a:txBody>
                    <a:bodyPr/>
                    <a:lstStyle/>
                    <a:p>
                      <a:pPr algn="ctr">
                        <a:defRPr sz="800">
                          <a:latin typeface="Nexa Book"/>
                        </a:defRPr>
                      </a:pPr>
                      <a:r>
                        <a:t>Contarini</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CONTARINI BRUT ITA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252569">
                <a:tc>
                  <a:txBody>
                    <a:bodyPr/>
                    <a:lstStyle/>
                    <a:p>
                      <a:pPr algn="ctr">
                        <a:defRPr sz="800">
                          <a:latin typeface="Nexa Book"/>
                        </a:defRPr>
                      </a:pPr>
                      <a:r>
                        <a:t>Vilaveroni</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VILAVERONI ITA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252569">
                <a:tc>
                  <a:txBody>
                    <a:bodyPr/>
                    <a:lstStyle/>
                    <a:p>
                      <a:pPr algn="ctr">
                        <a:defRPr sz="800">
                          <a:latin typeface="Nexa Book"/>
                        </a:defRPr>
                      </a:pPr>
                      <a:r>
                        <a:t>Contarini</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PROSECCO CONTARINI BRUT ITA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252569">
                <a:tc>
                  <a:txBody>
                    <a:bodyPr/>
                    <a:lstStyle/>
                    <a:p>
                      <a:pPr algn="ctr">
                        <a:defRPr sz="800">
                          <a:latin typeface="Nexa Book"/>
                        </a:defRPr>
                      </a:pPr>
                      <a:r>
                        <a:t>Vilaveroni</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STI VILAVERONI ITALI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252569">
                <a:tc>
                  <a:txBody>
                    <a:bodyPr/>
                    <a:lstStyle/>
                    <a:p>
                      <a:pPr algn="ctr">
                        <a:defRPr sz="800">
                          <a:latin typeface="Nexa Book"/>
                        </a:defRPr>
                      </a:pPr>
                      <a:r>
                        <a:t>Vilaveroni</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AMBRUSCO VILAVE RGE DOLCE ITA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252569">
                <a:tc>
                  <a:txBody>
                    <a:bodyPr/>
                    <a:lstStyle/>
                    <a:p>
                      <a:pPr algn="ctr">
                        <a:defRPr sz="800">
                          <a:latin typeface="Nexa Book"/>
                        </a:defRPr>
                      </a:pPr>
                      <a:r>
                        <a:t>Vilaveroni</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AMBRUSCO VILAVE ROS DOLCE ITA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252569">
                <a:tc>
                  <a:txBody>
                    <a:bodyPr/>
                    <a:lstStyle/>
                    <a:p>
                      <a:pPr algn="ctr">
                        <a:defRPr sz="800">
                          <a:latin typeface="Nexa Book"/>
                        </a:defRPr>
                      </a:pPr>
                      <a:r>
                        <a:t>Botteg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WHITE EX DRY BOT 2022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252569">
                <a:tc>
                  <a:txBody>
                    <a:bodyPr/>
                    <a:lstStyle/>
                    <a:p>
                      <a:pPr algn="ctr">
                        <a:defRPr sz="800">
                          <a:latin typeface="Nexa Book"/>
                        </a:defRPr>
                      </a:pPr>
                      <a:r>
                        <a:t>Botteg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PUMANTE DEI POETI ROSE ITA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252569">
                <a:tc>
                  <a:txBody>
                    <a:bodyPr/>
                    <a:lstStyle/>
                    <a:p>
                      <a:pPr algn="ctr">
                        <a:defRPr sz="800">
                          <a:latin typeface="Nexa Book"/>
                        </a:defRPr>
                      </a:pPr>
                      <a:r>
                        <a:t>Botteg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BOTTEGA FRIZZANT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857</a:t>
            </a:fld>
            <a:endParaRPr lang="en-US"/>
          </a:p>
        </p:txBody>
      </p:sp>
    </p:spTree>
    <p:extLst>
      <p:ext uri="{BB962C8B-B14F-4D97-AF65-F5344CB8AC3E}">
        <p14:creationId xmlns:p14="http://schemas.microsoft.com/office/powerpoint/2010/main" val="13437748"/>
      </p:ext>
    </p:extLst>
  </p:cSld>
  <p:clrMapOvr>
    <a:masterClrMapping/>
  </p:clrMapOvr>
</p:sld>
</file>

<file path=ppt/slides/slide8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Mousseux Italiens | NICOLAS AQU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4"/>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364822">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CARLO V CUVEE DEL ITA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364822">
                <a:tc>
                  <a:txBody>
                    <a:bodyPr/>
                    <a:lstStyle/>
                    <a:p>
                      <a:pPr algn="ctr">
                        <a:defRPr sz="800">
                          <a:latin typeface="Nexa Book"/>
                        </a:defRPr>
                      </a:pPr>
                      <a:r>
                        <a:t>Botteg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VINO DEI POETI ITA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5.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364822">
                <a:tc>
                  <a:txBody>
                    <a:bodyPr/>
                    <a:lstStyle/>
                    <a:p>
                      <a:pPr algn="ctr">
                        <a:defRPr sz="800">
                          <a:latin typeface="Nexa Book"/>
                        </a:defRPr>
                      </a:pPr>
                      <a:r>
                        <a:t>Savia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SAVIAN EXTRA DRY ITA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8.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364822">
                <a:tc>
                  <a:txBody>
                    <a:bodyPr/>
                    <a:lstStyle/>
                    <a:p>
                      <a:pPr algn="ctr">
                        <a:defRPr sz="800">
                          <a:latin typeface="Nexa Book"/>
                        </a:defRPr>
                      </a:pPr>
                      <a:r>
                        <a:t>Botteg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VINO POETI ROSE ITA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364822">
                <a:tc>
                  <a:txBody>
                    <a:bodyPr/>
                    <a:lstStyle/>
                    <a:p>
                      <a:pPr algn="ctr">
                        <a:defRPr sz="800">
                          <a:latin typeface="Nexa Book"/>
                        </a:defRPr>
                      </a:pPr>
                      <a:r>
                        <a:t>Contarini</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CONTARINI BRUT ITA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364822">
                <a:tc>
                  <a:txBody>
                    <a:bodyPr/>
                    <a:lstStyle/>
                    <a:p>
                      <a:pPr algn="ctr">
                        <a:defRPr sz="800">
                          <a:latin typeface="Nexa Book"/>
                        </a:defRPr>
                      </a:pPr>
                      <a:r>
                        <a:t>Contarini</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PROSECCO CONTARINI BRUT ITA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364822">
                <a:tc>
                  <a:txBody>
                    <a:bodyPr/>
                    <a:lstStyle/>
                    <a:p>
                      <a:pPr algn="ctr">
                        <a:defRPr sz="800">
                          <a:latin typeface="Nexa Book"/>
                        </a:defRPr>
                      </a:pPr>
                      <a:r>
                        <a:t>Botteg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WHITE EX DRY BOT 2022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364822">
                <a:tc>
                  <a:txBody>
                    <a:bodyPr/>
                    <a:lstStyle/>
                    <a:p>
                      <a:pPr algn="ctr">
                        <a:defRPr sz="800">
                          <a:latin typeface="Nexa Book"/>
                        </a:defRPr>
                      </a:pPr>
                      <a:r>
                        <a:t>Botteg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BOTTEGA FRIZZANT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364822">
                <a:tc>
                  <a:txBody>
                    <a:bodyPr/>
                    <a:lstStyle/>
                    <a:p>
                      <a:pPr algn="ctr">
                        <a:defRPr sz="800">
                          <a:latin typeface="Nexa Book"/>
                        </a:defRPr>
                      </a:pPr>
                      <a:r>
                        <a:t>Contarini</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PROSECCO CONTARINI EXT DRY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858</a:t>
            </a:fld>
            <a:endParaRPr lang="en-US"/>
          </a:p>
        </p:txBody>
      </p:sp>
    </p:spTree>
    <p:extLst>
      <p:ext uri="{BB962C8B-B14F-4D97-AF65-F5344CB8AC3E}">
        <p14:creationId xmlns:p14="http://schemas.microsoft.com/office/powerpoint/2010/main" val="3118028269"/>
      </p:ext>
    </p:extLst>
  </p:cSld>
  <p:clrMapOvr>
    <a:masterClrMapping/>
  </p:clrMapOvr>
</p:sld>
</file>

<file path=ppt/slides/slide8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Mousseux Italiens | NICOLAS EST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4"/>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547233">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CARLO V CUVEE DEL ITA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547233">
                <a:tc>
                  <a:txBody>
                    <a:bodyPr/>
                    <a:lstStyle/>
                    <a:p>
                      <a:pPr algn="ctr">
                        <a:defRPr sz="800">
                          <a:latin typeface="Nexa Book"/>
                        </a:defRPr>
                      </a:pPr>
                      <a:r>
                        <a:t>Savia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SAVIAN EXTRA DRY ITA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547233">
                <a:tc>
                  <a:txBody>
                    <a:bodyPr/>
                    <a:lstStyle/>
                    <a:p>
                      <a:pPr algn="ctr">
                        <a:defRPr sz="800">
                          <a:latin typeface="Nexa Book"/>
                        </a:defRPr>
                      </a:pPr>
                      <a:r>
                        <a:t>Botteg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VINO DEI POETI ITA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4.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547233">
                <a:tc>
                  <a:txBody>
                    <a:bodyPr/>
                    <a:lstStyle/>
                    <a:p>
                      <a:pPr algn="ctr">
                        <a:defRPr sz="800">
                          <a:latin typeface="Nexa Book"/>
                        </a:defRPr>
                      </a:pPr>
                      <a:r>
                        <a:t>Contarini</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CONTARINI BRUT ITA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547233">
                <a:tc>
                  <a:txBody>
                    <a:bodyPr/>
                    <a:lstStyle/>
                    <a:p>
                      <a:pPr algn="ctr">
                        <a:defRPr sz="800">
                          <a:latin typeface="Nexa Book"/>
                        </a:defRPr>
                      </a:pPr>
                      <a:r>
                        <a:t>Botteg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VINO POETI ROSE ITA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547233">
                <a:tc>
                  <a:txBody>
                    <a:bodyPr/>
                    <a:lstStyle/>
                    <a:p>
                      <a:pPr algn="ctr">
                        <a:defRPr sz="800">
                          <a:latin typeface="Nexa Book"/>
                        </a:defRPr>
                      </a:pPr>
                      <a:r>
                        <a:t>Contarini</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PROSECCO CONTARINI BRUT ITA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859</a:t>
            </a:fld>
            <a:endParaRPr lang="en-US"/>
          </a:p>
        </p:txBody>
      </p:sp>
    </p:spTree>
    <p:extLst>
      <p:ext uri="{BB962C8B-B14F-4D97-AF65-F5344CB8AC3E}">
        <p14:creationId xmlns:p14="http://schemas.microsoft.com/office/powerpoint/2010/main" val="2594924441"/>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Bruts | NICOLAS CCP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86</a:t>
            </a:fld>
            <a:endParaRPr lang="en-US"/>
          </a:p>
        </p:txBody>
      </p:sp>
    </p:spTree>
    <p:extLst>
      <p:ext uri="{BB962C8B-B14F-4D97-AF65-F5344CB8AC3E}">
        <p14:creationId xmlns:p14="http://schemas.microsoft.com/office/powerpoint/2010/main" val="4003732447"/>
      </p:ext>
    </p:extLst>
  </p:cSld>
  <p:clrMapOvr>
    <a:masterClrMapping/>
  </p:clrMapOvr>
</p:sld>
</file>

<file path=ppt/slides/slide8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Mousseux Italiens | CA A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68"/>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273616">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CARLO V CUVEE DEL ITA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6.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273616">
                <a:tc>
                  <a:txBody>
                    <a:bodyPr/>
                    <a:lstStyle/>
                    <a:p>
                      <a:pPr algn="ctr">
                        <a:defRPr sz="800">
                          <a:latin typeface="Nexa Book"/>
                        </a:defRPr>
                      </a:pPr>
                      <a:r>
                        <a:t>Botteg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VINO DEI POETI ITA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273616">
                <a:tc>
                  <a:txBody>
                    <a:bodyPr/>
                    <a:lstStyle/>
                    <a:p>
                      <a:pPr algn="ctr">
                        <a:defRPr sz="800">
                          <a:latin typeface="Nexa Book"/>
                        </a:defRPr>
                      </a:pPr>
                      <a:r>
                        <a:t>Savia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SAVIAN EXTRA DRY ITA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273616">
                <a:tc>
                  <a:txBody>
                    <a:bodyPr/>
                    <a:lstStyle/>
                    <a:p>
                      <a:pPr algn="ctr">
                        <a:defRPr sz="800">
                          <a:latin typeface="Nexa Book"/>
                        </a:defRPr>
                      </a:pPr>
                      <a:r>
                        <a:t>Botteg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VINO POETI ROSE ITA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273616">
                <a:tc>
                  <a:txBody>
                    <a:bodyPr/>
                    <a:lstStyle/>
                    <a:p>
                      <a:pPr algn="ctr">
                        <a:defRPr sz="800">
                          <a:latin typeface="Nexa Book"/>
                        </a:defRPr>
                      </a:pPr>
                      <a:r>
                        <a:t>Contarini</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CONTARINI BRUT ITA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273616">
                <a:tc>
                  <a:txBody>
                    <a:bodyPr/>
                    <a:lstStyle/>
                    <a:p>
                      <a:pPr algn="ctr">
                        <a:defRPr sz="800">
                          <a:latin typeface="Nexa Book"/>
                        </a:defRPr>
                      </a:pPr>
                      <a:r>
                        <a:t>Contarini</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PROSECCO CONTARINI BRUT ITA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273616">
                <a:tc>
                  <a:txBody>
                    <a:bodyPr/>
                    <a:lstStyle/>
                    <a:p>
                      <a:pPr algn="ctr">
                        <a:defRPr sz="800">
                          <a:latin typeface="Nexa Book"/>
                        </a:defRPr>
                      </a:pPr>
                      <a:r>
                        <a:t>Vilaveroni</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VILAVERONI ITA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273616">
                <a:tc>
                  <a:txBody>
                    <a:bodyPr/>
                    <a:lstStyle/>
                    <a:p>
                      <a:pPr algn="ctr">
                        <a:defRPr sz="800">
                          <a:latin typeface="Nexa Book"/>
                        </a:defRPr>
                      </a:pPr>
                      <a:r>
                        <a:t>Vilaveroni</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STI VILAVERONI ITALI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273616">
                <a:tc>
                  <a:txBody>
                    <a:bodyPr/>
                    <a:lstStyle/>
                    <a:p>
                      <a:pPr algn="ctr">
                        <a:defRPr sz="800">
                          <a:latin typeface="Nexa Book"/>
                        </a:defRPr>
                      </a:pPr>
                      <a:r>
                        <a:t>Botteg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WHITE EX DRY BOT 2022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273616">
                <a:tc>
                  <a:txBody>
                    <a:bodyPr/>
                    <a:lstStyle/>
                    <a:p>
                      <a:pPr algn="ctr">
                        <a:defRPr sz="800">
                          <a:latin typeface="Nexa Book"/>
                        </a:defRPr>
                      </a:pPr>
                      <a:r>
                        <a:t>Vilaveroni</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AMBRUSCO VILAVE RGE DOLCE ITA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273616">
                <a:tc>
                  <a:txBody>
                    <a:bodyPr/>
                    <a:lstStyle/>
                    <a:p>
                      <a:pPr algn="ctr">
                        <a:defRPr sz="800">
                          <a:latin typeface="Nexa Book"/>
                        </a:defRPr>
                      </a:pPr>
                      <a:r>
                        <a:t>Vilaveroni</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AMBRUSCO VILAVE ROS DOLCE ITA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273616">
                <a:tc>
                  <a:txBody>
                    <a:bodyPr/>
                    <a:lstStyle/>
                    <a:p>
                      <a:pPr algn="ctr">
                        <a:defRPr sz="800">
                          <a:latin typeface="Nexa Book"/>
                        </a:defRPr>
                      </a:pPr>
                      <a:r>
                        <a:t>Botteg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PUMANTE DEI POETI ROSE ITA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860</a:t>
            </a:fld>
            <a:endParaRPr lang="en-US"/>
          </a:p>
        </p:txBody>
      </p:sp>
    </p:spTree>
    <p:extLst>
      <p:ext uri="{BB962C8B-B14F-4D97-AF65-F5344CB8AC3E}">
        <p14:creationId xmlns:p14="http://schemas.microsoft.com/office/powerpoint/2010/main" val="2185038649"/>
      </p:ext>
    </p:extLst>
  </p:cSld>
  <p:clrMapOvr>
    <a:masterClrMapping/>
  </p:clrMapOvr>
</p:sld>
</file>

<file path=ppt/slides/slide8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Mousseux Italiens | CA B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5"/>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469057">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CARLO V CUVEE DEL ITA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3.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469057">
                <a:tc>
                  <a:txBody>
                    <a:bodyPr/>
                    <a:lstStyle/>
                    <a:p>
                      <a:pPr algn="ctr">
                        <a:defRPr sz="800">
                          <a:latin typeface="Nexa Book"/>
                        </a:defRPr>
                      </a:pPr>
                      <a:r>
                        <a:t>Botteg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VINO DEI POETI ITA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3.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469057">
                <a:tc>
                  <a:txBody>
                    <a:bodyPr/>
                    <a:lstStyle/>
                    <a:p>
                      <a:pPr algn="ctr">
                        <a:defRPr sz="800">
                          <a:latin typeface="Nexa Book"/>
                        </a:defRPr>
                      </a:pPr>
                      <a:r>
                        <a:t>Savia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SAVIAN EXTRA DRY ITA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469057">
                <a:tc>
                  <a:txBody>
                    <a:bodyPr/>
                    <a:lstStyle/>
                    <a:p>
                      <a:pPr algn="ctr">
                        <a:defRPr sz="800">
                          <a:latin typeface="Nexa Book"/>
                        </a:defRPr>
                      </a:pPr>
                      <a:r>
                        <a:t>Botteg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VINO POETI ROSE ITA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469057">
                <a:tc>
                  <a:txBody>
                    <a:bodyPr/>
                    <a:lstStyle/>
                    <a:p>
                      <a:pPr algn="ctr">
                        <a:defRPr sz="800">
                          <a:latin typeface="Nexa Book"/>
                        </a:defRPr>
                      </a:pPr>
                      <a:r>
                        <a:t>Contarini</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CONTARINI BRUT ITA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469057">
                <a:tc>
                  <a:txBody>
                    <a:bodyPr/>
                    <a:lstStyle/>
                    <a:p>
                      <a:pPr algn="ctr">
                        <a:defRPr sz="800">
                          <a:latin typeface="Nexa Book"/>
                        </a:defRPr>
                      </a:pPr>
                      <a:r>
                        <a:t>Contarini</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PROSECCO CONTARINI BRUT ITA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469057">
                <a:tc>
                  <a:txBody>
                    <a:bodyPr/>
                    <a:lstStyle/>
                    <a:p>
                      <a:pPr algn="ctr">
                        <a:defRPr sz="800">
                          <a:latin typeface="Nexa Book"/>
                        </a:defRPr>
                      </a:pPr>
                      <a:r>
                        <a:t>Botteg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WHITE EX DRY BOT 2022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861</a:t>
            </a:fld>
            <a:endParaRPr lang="en-US"/>
          </a:p>
        </p:txBody>
      </p:sp>
    </p:spTree>
    <p:extLst>
      <p:ext uri="{BB962C8B-B14F-4D97-AF65-F5344CB8AC3E}">
        <p14:creationId xmlns:p14="http://schemas.microsoft.com/office/powerpoint/2010/main" val="3758958027"/>
      </p:ext>
    </p:extLst>
  </p:cSld>
  <p:clrMapOvr>
    <a:masterClrMapping/>
  </p:clrMapOvr>
</p:sld>
</file>

<file path=ppt/slides/slide8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Mousseux Italiens | CA C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4"/>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364822">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CARLO V CUVEE DEL ITA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364822">
                <a:tc>
                  <a:txBody>
                    <a:bodyPr/>
                    <a:lstStyle/>
                    <a:p>
                      <a:pPr algn="ctr">
                        <a:defRPr sz="800">
                          <a:latin typeface="Nexa Book"/>
                        </a:defRPr>
                      </a:pPr>
                      <a:r>
                        <a:t>Botteg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VINO DEI POETI ITA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8.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364822">
                <a:tc>
                  <a:txBody>
                    <a:bodyPr/>
                    <a:lstStyle/>
                    <a:p>
                      <a:pPr algn="ctr">
                        <a:defRPr sz="800">
                          <a:latin typeface="Nexa Book"/>
                        </a:defRPr>
                      </a:pPr>
                      <a:r>
                        <a:t>Savia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SAVIAN EXTRA DRY ITA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364822">
                <a:tc>
                  <a:txBody>
                    <a:bodyPr/>
                    <a:lstStyle/>
                    <a:p>
                      <a:pPr algn="ctr">
                        <a:defRPr sz="800">
                          <a:latin typeface="Nexa Book"/>
                        </a:defRPr>
                      </a:pPr>
                      <a:r>
                        <a:t>Botteg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VINO POETI ROSE ITA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364822">
                <a:tc>
                  <a:txBody>
                    <a:bodyPr/>
                    <a:lstStyle/>
                    <a:p>
                      <a:pPr algn="ctr">
                        <a:defRPr sz="800">
                          <a:latin typeface="Nexa Book"/>
                        </a:defRPr>
                      </a:pPr>
                      <a:r>
                        <a:t>Contarini</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CONTARINI BRUT ITA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364822">
                <a:tc>
                  <a:txBody>
                    <a:bodyPr/>
                    <a:lstStyle/>
                    <a:p>
                      <a:pPr algn="ctr">
                        <a:defRPr sz="800">
                          <a:latin typeface="Nexa Book"/>
                        </a:defRPr>
                      </a:pPr>
                      <a:r>
                        <a:t>Contarini</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PROSECCO CONTARINI BRUT ITA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364822">
                <a:tc>
                  <a:txBody>
                    <a:bodyPr/>
                    <a:lstStyle/>
                    <a:p>
                      <a:pPr algn="ctr">
                        <a:defRPr sz="800">
                          <a:latin typeface="Nexa Book"/>
                        </a:defRPr>
                      </a:pPr>
                      <a:r>
                        <a:t>Botteg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WHITE EX DRY BOT 2022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364822">
                <a:tc>
                  <a:txBody>
                    <a:bodyPr/>
                    <a:lstStyle/>
                    <a:p>
                      <a:pPr algn="ctr">
                        <a:defRPr sz="800">
                          <a:latin typeface="Nexa Book"/>
                        </a:defRPr>
                      </a:pPr>
                      <a:r>
                        <a:t>Botteg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BOTTEGA FRIZZANT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364822">
                <a:tc>
                  <a:txBody>
                    <a:bodyPr/>
                    <a:lstStyle/>
                    <a:p>
                      <a:pPr algn="ctr">
                        <a:defRPr sz="800">
                          <a:latin typeface="Nexa Book"/>
                        </a:defRPr>
                      </a:pPr>
                      <a:r>
                        <a:t>Botteg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PUMANTE DEI POETI ROSE ITA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862</a:t>
            </a:fld>
            <a:endParaRPr lang="en-US"/>
          </a:p>
        </p:txBody>
      </p:sp>
    </p:spTree>
    <p:extLst>
      <p:ext uri="{BB962C8B-B14F-4D97-AF65-F5344CB8AC3E}">
        <p14:creationId xmlns:p14="http://schemas.microsoft.com/office/powerpoint/2010/main" val="1791661793"/>
      </p:ext>
    </p:extLst>
  </p:cSld>
  <p:clrMapOvr>
    <a:masterClrMapping/>
  </p:clrMapOvr>
</p:sld>
</file>

<file path=ppt/slides/slide8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Mousseux Italiens | CA D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410425">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CARLO V CUVEE DEL ITA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410425">
                <a:tc>
                  <a:txBody>
                    <a:bodyPr/>
                    <a:lstStyle/>
                    <a:p>
                      <a:pPr algn="ctr">
                        <a:defRPr sz="800">
                          <a:latin typeface="Nexa Book"/>
                        </a:defRPr>
                      </a:pPr>
                      <a:r>
                        <a:t>Botteg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VINO DEI POETI ITA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410425">
                <a:tc>
                  <a:txBody>
                    <a:bodyPr/>
                    <a:lstStyle/>
                    <a:p>
                      <a:pPr algn="ctr">
                        <a:defRPr sz="800">
                          <a:latin typeface="Nexa Book"/>
                        </a:defRPr>
                      </a:pPr>
                      <a:r>
                        <a:t>Savia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SAVIAN EXTRA DRY ITA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410425">
                <a:tc>
                  <a:txBody>
                    <a:bodyPr/>
                    <a:lstStyle/>
                    <a:p>
                      <a:pPr algn="ctr">
                        <a:defRPr sz="800">
                          <a:latin typeface="Nexa Book"/>
                        </a:defRPr>
                      </a:pPr>
                      <a:r>
                        <a:t>Botteg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VINO POETI ROSE ITA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410425">
                <a:tc>
                  <a:txBody>
                    <a:bodyPr/>
                    <a:lstStyle/>
                    <a:p>
                      <a:pPr algn="ctr">
                        <a:defRPr sz="800">
                          <a:latin typeface="Nexa Book"/>
                        </a:defRPr>
                      </a:pPr>
                      <a:r>
                        <a:t>Contarini</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CONTARINI BRUT ITA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410425">
                <a:tc>
                  <a:txBody>
                    <a:bodyPr/>
                    <a:lstStyle/>
                    <a:p>
                      <a:pPr algn="ctr">
                        <a:defRPr sz="800">
                          <a:latin typeface="Nexa Book"/>
                        </a:defRPr>
                      </a:pPr>
                      <a:r>
                        <a:t>Contarini</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PROSECCO CONTARINI BRUT ITA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410425">
                <a:tc>
                  <a:txBody>
                    <a:bodyPr/>
                    <a:lstStyle/>
                    <a:p>
                      <a:pPr algn="ctr">
                        <a:defRPr sz="800">
                          <a:latin typeface="Nexa Book"/>
                        </a:defRPr>
                      </a:pPr>
                      <a:r>
                        <a:t>Botteg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WHITE EX DRY BOT 2022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410425">
                <a:tc>
                  <a:txBody>
                    <a:bodyPr/>
                    <a:lstStyle/>
                    <a:p>
                      <a:pPr algn="ctr">
                        <a:defRPr sz="800">
                          <a:latin typeface="Nexa Book"/>
                        </a:defRPr>
                      </a:pPr>
                      <a:r>
                        <a:t>Botteg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BOTTEGA FRIZZANT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863</a:t>
            </a:fld>
            <a:endParaRPr lang="en-US"/>
          </a:p>
        </p:txBody>
      </p:sp>
    </p:spTree>
    <p:extLst>
      <p:ext uri="{BB962C8B-B14F-4D97-AF65-F5344CB8AC3E}">
        <p14:creationId xmlns:p14="http://schemas.microsoft.com/office/powerpoint/2010/main" val="2348549474"/>
      </p:ext>
    </p:extLst>
  </p:cSld>
  <p:clrMapOvr>
    <a:masterClrMapping/>
  </p:clrMapOvr>
</p:sld>
</file>

<file path=ppt/slides/slide8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Mousseux Italiens | CA E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6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29849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CARLO V CUVEE DEL ITA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3.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298490">
                <a:tc>
                  <a:txBody>
                    <a:bodyPr/>
                    <a:lstStyle/>
                    <a:p>
                      <a:pPr algn="ctr">
                        <a:defRPr sz="800">
                          <a:latin typeface="Nexa Book"/>
                        </a:defRPr>
                      </a:pPr>
                      <a:r>
                        <a:t>Botteg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VINO DEI POETI ITA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8.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298490">
                <a:tc>
                  <a:txBody>
                    <a:bodyPr/>
                    <a:lstStyle/>
                    <a:p>
                      <a:pPr algn="ctr">
                        <a:defRPr sz="800">
                          <a:latin typeface="Nexa Book"/>
                        </a:defRPr>
                      </a:pPr>
                      <a:r>
                        <a:t>Savia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SAVIAN EXTRA DRY ITA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6.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298490">
                <a:tc>
                  <a:txBody>
                    <a:bodyPr/>
                    <a:lstStyle/>
                    <a:p>
                      <a:pPr algn="ctr">
                        <a:defRPr sz="800">
                          <a:latin typeface="Nexa Book"/>
                        </a:defRPr>
                      </a:pPr>
                      <a:r>
                        <a:t>Contarini</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CONTARINI BRUT ITA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298490">
                <a:tc>
                  <a:txBody>
                    <a:bodyPr/>
                    <a:lstStyle/>
                    <a:p>
                      <a:pPr algn="ctr">
                        <a:defRPr sz="800">
                          <a:latin typeface="Nexa Book"/>
                        </a:defRPr>
                      </a:pPr>
                      <a:r>
                        <a:t>Botteg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VINO POETI ROSE ITA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298490">
                <a:tc>
                  <a:txBody>
                    <a:bodyPr/>
                    <a:lstStyle/>
                    <a:p>
                      <a:pPr algn="ctr">
                        <a:defRPr sz="800">
                          <a:latin typeface="Nexa Book"/>
                        </a:defRPr>
                      </a:pPr>
                      <a:r>
                        <a:t>Contarini</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PROSECCO CONTARINI BRUT ITA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298490">
                <a:tc>
                  <a:txBody>
                    <a:bodyPr/>
                    <a:lstStyle/>
                    <a:p>
                      <a:pPr algn="ctr">
                        <a:defRPr sz="800">
                          <a:latin typeface="Nexa Book"/>
                        </a:defRPr>
                      </a:pPr>
                      <a:r>
                        <a:t>Botteg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WHITE EX DRY BOT 2022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298490">
                <a:tc>
                  <a:txBody>
                    <a:bodyPr/>
                    <a:lstStyle/>
                    <a:p>
                      <a:pPr algn="ctr">
                        <a:defRPr sz="800">
                          <a:latin typeface="Nexa Book"/>
                        </a:defRPr>
                      </a:pPr>
                      <a:r>
                        <a:t>Botteg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BOTTEGA FRIZZANT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298490">
                <a:tc>
                  <a:txBody>
                    <a:bodyPr/>
                    <a:lstStyle/>
                    <a:p>
                      <a:pPr algn="ctr">
                        <a:defRPr sz="800">
                          <a:latin typeface="Nexa Book"/>
                        </a:defRPr>
                      </a:pPr>
                      <a:r>
                        <a:t>Botteg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BOTTEGA GOLD SPUMANT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298490">
                <a:tc>
                  <a:txBody>
                    <a:bodyPr/>
                    <a:lstStyle/>
                    <a:p>
                      <a:pPr algn="ctr">
                        <a:defRPr sz="800">
                          <a:latin typeface="Nexa Book"/>
                        </a:defRPr>
                      </a:pPr>
                      <a:r>
                        <a:t>Contarini</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PROSECCO CONTARINI EXT DRY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298490">
                <a:tc>
                  <a:txBody>
                    <a:bodyPr/>
                    <a:lstStyle/>
                    <a:p>
                      <a:pPr algn="ctr">
                        <a:defRPr sz="800">
                          <a:latin typeface="Nexa Book"/>
                        </a:defRPr>
                      </a:pPr>
                      <a:r>
                        <a:t>Botteg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PUMANTE DEI POETI ROSE ITA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864</a:t>
            </a:fld>
            <a:endParaRPr lang="en-US"/>
          </a:p>
        </p:txBody>
      </p:sp>
    </p:spTree>
    <p:extLst>
      <p:ext uri="{BB962C8B-B14F-4D97-AF65-F5344CB8AC3E}">
        <p14:creationId xmlns:p14="http://schemas.microsoft.com/office/powerpoint/2010/main" val="3286785672"/>
      </p:ext>
    </p:extLst>
  </p:cSld>
  <p:clrMapOvr>
    <a:masterClrMapping/>
  </p:clrMapOvr>
</p:sld>
</file>

<file path=ppt/slides/slide8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Mousseux Val De Loire | NICOLAS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French Bloom S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H MONCONTOUR MILLESIME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5.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Bouvet-Laduba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AUMUR BOUVET L CUV SAPHI M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a:defRPr sz="800">
                          <a:latin typeface="Nexa Book"/>
                        </a:defRPr>
                      </a:pPr>
                      <a:r>
                        <a:t>De Chancen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LOIRE NATURE 2015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5.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VOUVRAY DME DU PETIT COTEAU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7.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VOUVRAY DME BRUNET BRUT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4.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DE LOIRE MONMOUS BL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EAMBULE TURBULENT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LOIRE TERREBRUNE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ULLE NATURE EXTRA BRUT 2020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Bouvet-Laduba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SAUMUR BOUVET SAPHIR 2020AC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ULLE NATURE EXTRA BRUT 2019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Bouvet-Laduba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SAUMUR BOUVET SAPHIR 2021AC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DE LOIRE MONM ROSE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Bouvet-Laduba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SAUMUR BOUVET SAPHIR 2019AC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VOUVRAY DME BRUNET 1/2 SEC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VOUVRAY MOELLX BRUNET 2018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VOUVRAY DME BRUNET 2013AC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ONTLOUIS NATURE BRUT BIO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EAMBULE TURBULENT ROSE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Bouvet-Laduba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SAUMUR BOUVET SAPHIR 2018AC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865</a:t>
            </a:fld>
            <a:endParaRPr lang="en-US"/>
          </a:p>
        </p:txBody>
      </p:sp>
    </p:spTree>
    <p:extLst>
      <p:ext uri="{BB962C8B-B14F-4D97-AF65-F5344CB8AC3E}">
        <p14:creationId xmlns:p14="http://schemas.microsoft.com/office/powerpoint/2010/main" val="958900639"/>
      </p:ext>
    </p:extLst>
  </p:cSld>
  <p:clrMapOvr>
    <a:masterClrMapping/>
  </p:clrMapOvr>
</p:sld>
</file>

<file path=ppt/slides/slide8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Mousseux Val De Loire | NICOLAS QCN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French Bloom S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H MONCONTOUR MILLESIME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Bouvet-Laduba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AUMUR BOUVET L CUV SAPHI M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a:defRPr sz="800">
                          <a:latin typeface="Nexa Book"/>
                        </a:defRPr>
                      </a:pPr>
                      <a:r>
                        <a:t>De Chancen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LOIRE NATURE 2015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VOUVRAY DME DU PETIT COTEAU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VOUVRAY DME BRUNET BRUT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5.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DE LOIRE MONMOUS BL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ULLE NATURE EXTRA BRUT 2020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ULLE NATURE EXTRA BRUT 2019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EAMBULE TURBULENT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Bouvet-Laduba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SAUMUR BOUVET SAPHIR 2020AC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Bouvet-Laduba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SAUMUR BOUVET SAPHIR 2021AC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DE LOIRE MONM ROSE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VOUVRAY DME BRUNET 1/2 SEC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Bouvet-Laduba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SAUMUR BOUVET SAPHIR 2019AC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VOUVRAY MOELLX BRUNET 2018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LOIRE TERREBRUNE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VOUVRAY DME BRUNET 2013AC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ONTLOUIS NATURE BRUT BIO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EAMBULE TURBULENT ROSE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Bouvet-Laduba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SAUMUR BOUVET SAPHIR 2018AC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866</a:t>
            </a:fld>
            <a:endParaRPr lang="en-US"/>
          </a:p>
        </p:txBody>
      </p:sp>
    </p:spTree>
    <p:extLst>
      <p:ext uri="{BB962C8B-B14F-4D97-AF65-F5344CB8AC3E}">
        <p14:creationId xmlns:p14="http://schemas.microsoft.com/office/powerpoint/2010/main" val="902324003"/>
      </p:ext>
    </p:extLst>
  </p:cSld>
  <p:clrMapOvr>
    <a:masterClrMapping/>
  </p:clrMapOvr>
</p:sld>
</file>

<file path=ppt/slides/slide8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Mousseux Val De Loire | NICOLAS VCN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Bouvet-Laduba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AUMUR BOUVET L CUV SAPHI M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French Bloom S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H MONCONTOUR MILLESIME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a:defRPr sz="800">
                          <a:latin typeface="Nexa Book"/>
                        </a:defRPr>
                      </a:pPr>
                      <a:r>
                        <a:t>De Chancen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LOIRE NATURE 2015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3.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VOUVRAY DME DU PETIT COTEAU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VOUVRAY DME BRUNET BRUT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DE LOIRE MONMOUS BL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LOIRE TERREBRUNE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EAMBULE TURBULENT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DE LOIRE MONM ROSE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Bouvet-Laduba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SAUMUR BOUVET SAPHIR 2021AC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Bouvet-Laduba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SAUMUR BOUVET SAPHIR 2020AC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ULLE NATURE EXTRA BRUT 2020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Bouvet-Laduba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SAUMUR BOUVET SAPHIR 2019AC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VOUVRAY DME BRUNET 1/2 SEC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VOUVRAY MOELLX BRUNET 2018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ULLE NATURE EXTRA BRUT 2018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EAMBULE TURBULENT ROSE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ONTLOUIS NATURE BRUT BIO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ULLE NATURE EXTRA BRUT 2019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LOIRE LANGL LC ROSE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867</a:t>
            </a:fld>
            <a:endParaRPr lang="en-US"/>
          </a:p>
        </p:txBody>
      </p:sp>
    </p:spTree>
    <p:extLst>
      <p:ext uri="{BB962C8B-B14F-4D97-AF65-F5344CB8AC3E}">
        <p14:creationId xmlns:p14="http://schemas.microsoft.com/office/powerpoint/2010/main" val="1097965919"/>
      </p:ext>
    </p:extLst>
  </p:cSld>
  <p:clrMapOvr>
    <a:masterClrMapping/>
  </p:clrMapOvr>
</p:sld>
</file>

<file path=ppt/slides/slide8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Mousseux Val De Loire | NICOLAS QCT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68"/>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234528">
                <a:tc>
                  <a:txBody>
                    <a:bodyPr/>
                    <a:lstStyle/>
                    <a:p>
                      <a:pPr algn="ctr">
                        <a:defRPr sz="800">
                          <a:latin typeface="Nexa Book"/>
                        </a:defRPr>
                      </a:pPr>
                      <a:r>
                        <a:t>French Bloom S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H MONCONTOUR MILLESIME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234528">
                <a:tc>
                  <a:txBody>
                    <a:bodyPr/>
                    <a:lstStyle/>
                    <a:p>
                      <a:pPr algn="ctr">
                        <a:defRPr sz="800">
                          <a:latin typeface="Nexa Book"/>
                        </a:defRPr>
                      </a:pPr>
                      <a:r>
                        <a:t>Bouvet-Laduba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AUMUR BOUVET L CUV SAPHI M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234528">
                <a:tc>
                  <a:txBody>
                    <a:bodyPr/>
                    <a:lstStyle/>
                    <a:p>
                      <a:pPr algn="ctr">
                        <a:defRPr sz="800">
                          <a:latin typeface="Nexa Book"/>
                        </a:defRPr>
                      </a:pPr>
                      <a:r>
                        <a:t>De Chancen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LOIRE NATURE 2015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234528">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VOUVRAY DME DU PETIT COTEAU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234528">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DE LOIRE MONMOUS BL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234528">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DE LOIRE MONM ROSE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234528">
                <a:tc>
                  <a:txBody>
                    <a:bodyPr/>
                    <a:lstStyle/>
                    <a:p>
                      <a:pPr algn="ctr">
                        <a:defRPr sz="800">
                          <a:latin typeface="Nexa Book"/>
                        </a:defRPr>
                      </a:pPr>
                      <a:r>
                        <a:t>Bouvet-Laduba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SAUMUR BOUVET SAPHIR 2020AC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234528">
                <a:tc>
                  <a:txBody>
                    <a:bodyPr/>
                    <a:lstStyle/>
                    <a:p>
                      <a:pPr algn="ctr">
                        <a:defRPr sz="800">
                          <a:latin typeface="Nexa Book"/>
                        </a:defRPr>
                      </a:pPr>
                      <a:r>
                        <a:t>Bouvet-Laduba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SAUMUR BOUVET SAPHIR 2019AC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234528">
                <a:tc>
                  <a:txBody>
                    <a:bodyPr/>
                    <a:lstStyle/>
                    <a:p>
                      <a:pPr algn="ctr">
                        <a:defRPr sz="800">
                          <a:latin typeface="Nexa Book"/>
                        </a:defRPr>
                      </a:pPr>
                      <a:r>
                        <a:t>Bouvet-Laduba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SAUMUR BOUVET SAPHIR 2021AC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234528">
                <a:tc>
                  <a:txBody>
                    <a:bodyPr/>
                    <a:lstStyle/>
                    <a:p>
                      <a:pPr algn="ctr">
                        <a:defRPr sz="800">
                          <a:latin typeface="Nexa Book"/>
                        </a:defRPr>
                      </a:pPr>
                      <a:r>
                        <a:t>Bouvet-Laduba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SAUMUR BOUVET SAPHIR 2018AC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234528">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LOIRE LANGLOIS LC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234528">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LOIRE LANGL LC ROSE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234528">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ONMOUSSEAU CUVEE "JM" TOUR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234528">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AUMUR MARQUISSAC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868</a:t>
            </a:fld>
            <a:endParaRPr lang="en-US"/>
          </a:p>
        </p:txBody>
      </p:sp>
    </p:spTree>
    <p:extLst>
      <p:ext uri="{BB962C8B-B14F-4D97-AF65-F5344CB8AC3E}">
        <p14:creationId xmlns:p14="http://schemas.microsoft.com/office/powerpoint/2010/main" val="3595744693"/>
      </p:ext>
    </p:extLst>
  </p:cSld>
  <p:clrMapOvr>
    <a:masterClrMapping/>
  </p:clrMapOvr>
</p:sld>
</file>

<file path=ppt/slides/slide8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Mousseux Val De Loire | NICOLAS QCA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68"/>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273616">
                <a:tc>
                  <a:txBody>
                    <a:bodyPr/>
                    <a:lstStyle/>
                    <a:p>
                      <a:pPr algn="ctr">
                        <a:defRPr sz="800">
                          <a:latin typeface="Nexa Book"/>
                        </a:defRPr>
                      </a:pPr>
                      <a:r>
                        <a:t>Bouvet-Laduba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AUMUR BOUVET L CUV SAPHI M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6.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273616">
                <a:tc>
                  <a:txBody>
                    <a:bodyPr/>
                    <a:lstStyle/>
                    <a:p>
                      <a:pPr algn="ctr">
                        <a:defRPr sz="800">
                          <a:latin typeface="Nexa Book"/>
                        </a:defRPr>
                      </a:pPr>
                      <a:r>
                        <a:t>French Bloom S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H MONCONTOUR MILLESIME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273616">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VOUVRAY DME DU PETIT COTEAU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273616">
                <a:tc>
                  <a:txBody>
                    <a:bodyPr/>
                    <a:lstStyle/>
                    <a:p>
                      <a:pPr algn="ctr">
                        <a:defRPr sz="800">
                          <a:latin typeface="Nexa Book"/>
                        </a:defRPr>
                      </a:pPr>
                      <a:r>
                        <a:t>De Chancen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LOIRE NATURE 2015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273616">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DE LOIRE MONMOUS BL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273616">
                <a:tc>
                  <a:txBody>
                    <a:bodyPr/>
                    <a:lstStyle/>
                    <a:p>
                      <a:pPr algn="ctr">
                        <a:defRPr sz="800">
                          <a:latin typeface="Nexa Book"/>
                        </a:defRPr>
                      </a:pPr>
                      <a:r>
                        <a:t>Bouvet-Laduba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SAUMUR BOUVET SAPHIR 2021AC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273616">
                <a:tc>
                  <a:txBody>
                    <a:bodyPr/>
                    <a:lstStyle/>
                    <a:p>
                      <a:pPr algn="ctr">
                        <a:defRPr sz="800">
                          <a:latin typeface="Nexa Book"/>
                        </a:defRPr>
                      </a:pPr>
                      <a:r>
                        <a:t>Bouvet-Laduba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SAUMUR BOUVET SAPHIR 2020AC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273616">
                <a:tc>
                  <a:txBody>
                    <a:bodyPr/>
                    <a:lstStyle/>
                    <a:p>
                      <a:pPr algn="ctr">
                        <a:defRPr sz="800">
                          <a:latin typeface="Nexa Book"/>
                        </a:defRPr>
                      </a:pPr>
                      <a:r>
                        <a:t>Bouvet-Laduba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SAUMUR BOUVET SAPHIR 2019AC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273616">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DE LOIRE MONM ROSE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273616">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LOIRE MONMOUSS SS S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273616">
                <a:tc>
                  <a:txBody>
                    <a:bodyPr/>
                    <a:lstStyle/>
                    <a:p>
                      <a:pPr algn="ctr">
                        <a:defRPr sz="800">
                          <a:latin typeface="Nexa Book"/>
                        </a:defRPr>
                      </a:pPr>
                      <a:r>
                        <a:t>Bouvet-Laduba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SAUMUR BOUVET SAPHIR 2017AC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273616">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LOIRE LANGL LC ROSE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869</a:t>
            </a:fld>
            <a:endParaRPr lang="en-US"/>
          </a:p>
        </p:txBody>
      </p:sp>
    </p:spTree>
    <p:extLst>
      <p:ext uri="{BB962C8B-B14F-4D97-AF65-F5344CB8AC3E}">
        <p14:creationId xmlns:p14="http://schemas.microsoft.com/office/powerpoint/2010/main" val="4158562340"/>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Bruts | NICOLAS IDF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87</a:t>
            </a:fld>
            <a:endParaRPr lang="en-US"/>
          </a:p>
        </p:txBody>
      </p:sp>
    </p:spTree>
    <p:extLst>
      <p:ext uri="{BB962C8B-B14F-4D97-AF65-F5344CB8AC3E}">
        <p14:creationId xmlns:p14="http://schemas.microsoft.com/office/powerpoint/2010/main" val="3852326435"/>
      </p:ext>
    </p:extLst>
  </p:cSld>
  <p:clrMapOvr>
    <a:masterClrMapping/>
  </p:clrMapOvr>
</p:sld>
</file>

<file path=ppt/slides/slide8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Mousseux Val De Loire | NICOLAS CCP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Bouvet-Laduba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AUMUR BOUVET L CUV SAPHI M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French Bloom S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H MONCONTOUR MILLESIME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a:defRPr sz="800">
                          <a:latin typeface="Nexa Book"/>
                        </a:defRPr>
                      </a:pPr>
                      <a:r>
                        <a:t>De Chancen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LOIRE NATURE 2015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VOUVRAY DME BRUNET BRUT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VOUVRAY DME DU PETIT COTEAU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DE LOIRE MONMOUS BL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LOIRE TERREBRUNE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7.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ULLE NATURE EXTRA BRUT 2019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VOUVRAY DME BRUNET 1/2 SEC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VOUVRAY DME BRUNET 2013AC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Bouvet-Laduba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SAUMUR BOUVET SAPHIR 2020AC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DE LOIRE MONM ROSE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Bouvet-Laduba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SAUMUR BOUVET SAPHIR 2019AC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LOIRE BAUMARD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ULLE NATURE EXTRA BRUT 2020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Bouvet-Laduba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SAUMUR BOUVET SAPHIR 2021AC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VOUVRAY MOELLX BRUNET 2018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LOIRE LANGL LC ROSE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Bouvet-Laduba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SAUMUR BOUVET SAPHIR 2017AC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LOIRE LANGLOIS LC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870</a:t>
            </a:fld>
            <a:endParaRPr lang="en-US"/>
          </a:p>
        </p:txBody>
      </p:sp>
    </p:spTree>
    <p:extLst>
      <p:ext uri="{BB962C8B-B14F-4D97-AF65-F5344CB8AC3E}">
        <p14:creationId xmlns:p14="http://schemas.microsoft.com/office/powerpoint/2010/main" val="3435840594"/>
      </p:ext>
    </p:extLst>
  </p:cSld>
  <p:clrMapOvr>
    <a:masterClrMapping/>
  </p:clrMapOvr>
</p:sld>
</file>

<file path=ppt/slides/slide8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Mousseux Val De Loire | NICOLAS IDF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1"/>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218893">
                <a:tc>
                  <a:txBody>
                    <a:bodyPr/>
                    <a:lstStyle/>
                    <a:p>
                      <a:pPr algn="ctr">
                        <a:defRPr sz="800">
                          <a:latin typeface="Nexa Book"/>
                        </a:defRPr>
                      </a:pPr>
                      <a:r>
                        <a:t>French Bloom S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H MONCONTOUR MILLESIME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218893">
                <a:tc>
                  <a:txBody>
                    <a:bodyPr/>
                    <a:lstStyle/>
                    <a:p>
                      <a:pPr algn="ctr">
                        <a:defRPr sz="800">
                          <a:latin typeface="Nexa Book"/>
                        </a:defRPr>
                      </a:pPr>
                      <a:r>
                        <a:t>Bouvet-Laduba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AUMUR BOUVET L CUV SAPHI M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218893">
                <a:tc>
                  <a:txBody>
                    <a:bodyPr/>
                    <a:lstStyle/>
                    <a:p>
                      <a:pPr algn="ctr">
                        <a:defRPr sz="800">
                          <a:latin typeface="Nexa Book"/>
                        </a:defRPr>
                      </a:pPr>
                      <a:r>
                        <a:t>De Chancen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LOIRE NATURE 2015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6.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218893">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VOUVRAY DME DU PETIT COTEAU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218893">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DE LOIRE MONMOUS BL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218893">
                <a:tc>
                  <a:txBody>
                    <a:bodyPr/>
                    <a:lstStyle/>
                    <a:p>
                      <a:pPr algn="ctr">
                        <a:defRPr sz="800">
                          <a:latin typeface="Nexa Book"/>
                        </a:defRPr>
                      </a:pPr>
                      <a:r>
                        <a:t>Bouvet-Laduba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SAUMUR BOUVET SAPHIR 2020AC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218893">
                <a:tc>
                  <a:txBody>
                    <a:bodyPr/>
                    <a:lstStyle/>
                    <a:p>
                      <a:pPr algn="ctr">
                        <a:defRPr sz="800">
                          <a:latin typeface="Nexa Book"/>
                        </a:defRPr>
                      </a:pPr>
                      <a:r>
                        <a:t>Bouvet-Laduba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SAUMUR BOUVET SAPHIR 2021AC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218893">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DE LOIRE MONM ROSE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218893">
                <a:tc>
                  <a:txBody>
                    <a:bodyPr/>
                    <a:lstStyle/>
                    <a:p>
                      <a:pPr algn="ctr">
                        <a:defRPr sz="800">
                          <a:latin typeface="Nexa Book"/>
                        </a:defRPr>
                      </a:pPr>
                      <a:r>
                        <a:t>Bouvet-Laduba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SAUMUR BOUVET SAPHIR 2019AC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218893">
                <a:tc>
                  <a:txBody>
                    <a:bodyPr/>
                    <a:lstStyle/>
                    <a:p>
                      <a:pPr algn="ctr">
                        <a:defRPr sz="800">
                          <a:latin typeface="Nexa Book"/>
                        </a:defRPr>
                      </a:pPr>
                      <a:r>
                        <a:t>Bouvet-Laduba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SAUMUR BOUVET SAPHIR 2018AC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218893">
                <a:tc>
                  <a:txBody>
                    <a:bodyPr/>
                    <a:lstStyle/>
                    <a:p>
                      <a:pPr algn="ctr">
                        <a:defRPr sz="800">
                          <a:latin typeface="Nexa Book"/>
                        </a:defRPr>
                      </a:pPr>
                      <a:r>
                        <a:t>Bouvet-Laduba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SAUMUR BOUVET SAPHIR 2017AC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218893">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LOIRE LANGL LC ROSE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218893">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LOIRE MONMOUSS SS S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218893">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ONMOUSSEAU CUVEE "JM" TOUR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218893">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ONMOUSSEAU TOURAINE ROSE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871</a:t>
            </a:fld>
            <a:endParaRPr lang="en-US"/>
          </a:p>
        </p:txBody>
      </p:sp>
    </p:spTree>
    <p:extLst>
      <p:ext uri="{BB962C8B-B14F-4D97-AF65-F5344CB8AC3E}">
        <p14:creationId xmlns:p14="http://schemas.microsoft.com/office/powerpoint/2010/main" val="250094920"/>
      </p:ext>
    </p:extLst>
  </p:cSld>
  <p:clrMapOvr>
    <a:masterClrMapping/>
  </p:clrMapOvr>
</p:sld>
</file>

<file path=ppt/slides/slide8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Mousseux Val De Loire | NICOLAS PAC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1"/>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218893">
                <a:tc>
                  <a:txBody>
                    <a:bodyPr/>
                    <a:lstStyle/>
                    <a:p>
                      <a:pPr algn="ctr">
                        <a:defRPr sz="800">
                          <a:latin typeface="Nexa Book"/>
                        </a:defRPr>
                      </a:pPr>
                      <a:r>
                        <a:t>Bouvet-Laduba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AUMUR BOUVET L CUV SAPHI M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218893">
                <a:tc>
                  <a:txBody>
                    <a:bodyPr/>
                    <a:lstStyle/>
                    <a:p>
                      <a:pPr algn="ctr">
                        <a:defRPr sz="800">
                          <a:latin typeface="Nexa Book"/>
                        </a:defRPr>
                      </a:pPr>
                      <a:r>
                        <a:t>French Bloom S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H MONCONTOUR MILLESIME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218893">
                <a:tc>
                  <a:txBody>
                    <a:bodyPr/>
                    <a:lstStyle/>
                    <a:p>
                      <a:pPr algn="ctr">
                        <a:defRPr sz="800">
                          <a:latin typeface="Nexa Book"/>
                        </a:defRPr>
                      </a:pPr>
                      <a:r>
                        <a:t>De Chancen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LOIRE NATURE 2015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4.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218893">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DE LOIRE MONMOUS BL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6.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218893">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VOUVRAY DME DU PETIT COTEAU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218893">
                <a:tc>
                  <a:txBody>
                    <a:bodyPr/>
                    <a:lstStyle/>
                    <a:p>
                      <a:pPr algn="ctr">
                        <a:defRPr sz="800">
                          <a:latin typeface="Nexa Book"/>
                        </a:defRPr>
                      </a:pPr>
                      <a:r>
                        <a:t>Bouvet-Laduba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SAUMUR BOUVET SAPHIR 2019AC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218893">
                <a:tc>
                  <a:txBody>
                    <a:bodyPr/>
                    <a:lstStyle/>
                    <a:p>
                      <a:pPr algn="ctr">
                        <a:defRPr sz="800">
                          <a:latin typeface="Nexa Book"/>
                        </a:defRPr>
                      </a:pPr>
                      <a:r>
                        <a:t>Bouvet-Laduba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SAUMUR BOUVET SAPHIR 2020AC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218893">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DE LOIRE MONM ROSE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218893">
                <a:tc>
                  <a:txBody>
                    <a:bodyPr/>
                    <a:lstStyle/>
                    <a:p>
                      <a:pPr algn="ctr">
                        <a:defRPr sz="800">
                          <a:latin typeface="Nexa Book"/>
                        </a:defRPr>
                      </a:pPr>
                      <a:r>
                        <a:t>Bouvet-Laduba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SAUMUR BOUVET SAPHIR 2021AC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218893">
                <a:tc>
                  <a:txBody>
                    <a:bodyPr/>
                    <a:lstStyle/>
                    <a:p>
                      <a:pPr algn="ctr">
                        <a:defRPr sz="800">
                          <a:latin typeface="Nexa Book"/>
                        </a:defRPr>
                      </a:pPr>
                      <a:r>
                        <a:t>Bouvet-Laduba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SAUMUR BOUVET SAPHIR 2018AC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218893">
                <a:tc>
                  <a:txBody>
                    <a:bodyPr/>
                    <a:lstStyle/>
                    <a:p>
                      <a:pPr algn="ctr">
                        <a:defRPr sz="800">
                          <a:latin typeface="Nexa Book"/>
                        </a:defRPr>
                      </a:pPr>
                      <a:r>
                        <a:t>Bouvet-Laduba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SAUMUR BOUVET SAPHIR 2017AC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218893">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LOIRE LANGLOIS LC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218893">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LOIRE LANGL LC ROSE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218893">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ONMOUSSEAU CUVEE "JM" TOUR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218893">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AUMUR MARQUISSAC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872</a:t>
            </a:fld>
            <a:endParaRPr lang="en-US"/>
          </a:p>
        </p:txBody>
      </p:sp>
    </p:spTree>
    <p:extLst>
      <p:ext uri="{BB962C8B-B14F-4D97-AF65-F5344CB8AC3E}">
        <p14:creationId xmlns:p14="http://schemas.microsoft.com/office/powerpoint/2010/main" val="3650228435"/>
      </p:ext>
    </p:extLst>
  </p:cSld>
  <p:clrMapOvr>
    <a:masterClrMapping/>
  </p:clrMapOvr>
</p:sld>
</file>

<file path=ppt/slides/slide8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Mousseux Val De Loire | NICOLAS RHO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68"/>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234528">
                <a:tc>
                  <a:txBody>
                    <a:bodyPr/>
                    <a:lstStyle/>
                    <a:p>
                      <a:pPr algn="ctr">
                        <a:defRPr sz="800">
                          <a:latin typeface="Nexa Book"/>
                        </a:defRPr>
                      </a:pPr>
                      <a:r>
                        <a:t>French Bloom S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H MONCONTOUR MILLESIME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7.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234528">
                <a:tc>
                  <a:txBody>
                    <a:bodyPr/>
                    <a:lstStyle/>
                    <a:p>
                      <a:pPr algn="ctr">
                        <a:defRPr sz="800">
                          <a:latin typeface="Nexa Book"/>
                        </a:defRPr>
                      </a:pPr>
                      <a:r>
                        <a:t>De Chancen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LOIRE NATURE 2015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234528">
                <a:tc>
                  <a:txBody>
                    <a:bodyPr/>
                    <a:lstStyle/>
                    <a:p>
                      <a:pPr algn="ctr">
                        <a:defRPr sz="800">
                          <a:latin typeface="Nexa Book"/>
                        </a:defRPr>
                      </a:pPr>
                      <a:r>
                        <a:t>Bouvet-Laduba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AUMUR BOUVET L CUV SAPHI M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234528">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VOUVRAY DME DU PETIT COTEAU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234528">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DE LOIRE MONMOUS BL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234528">
                <a:tc>
                  <a:txBody>
                    <a:bodyPr/>
                    <a:lstStyle/>
                    <a:p>
                      <a:pPr algn="ctr">
                        <a:defRPr sz="800">
                          <a:latin typeface="Nexa Book"/>
                        </a:defRPr>
                      </a:pPr>
                      <a:r>
                        <a:t>Bouvet-Laduba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SAUMUR BOUVET SAPHIR 2020AC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234528">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DE LOIRE MONM ROSE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234528">
                <a:tc>
                  <a:txBody>
                    <a:bodyPr/>
                    <a:lstStyle/>
                    <a:p>
                      <a:pPr algn="ctr">
                        <a:defRPr sz="800">
                          <a:latin typeface="Nexa Book"/>
                        </a:defRPr>
                      </a:pPr>
                      <a:r>
                        <a:t>Bouvet-Laduba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SAUMUR BOUVET SAPHIR 2021AC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234528">
                <a:tc>
                  <a:txBody>
                    <a:bodyPr/>
                    <a:lstStyle/>
                    <a:p>
                      <a:pPr algn="ctr">
                        <a:defRPr sz="800">
                          <a:latin typeface="Nexa Book"/>
                        </a:defRPr>
                      </a:pPr>
                      <a:r>
                        <a:t>Bouvet-Laduba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SAUMUR BOUVET SAPHIR 2019AC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234528">
                <a:tc>
                  <a:txBody>
                    <a:bodyPr/>
                    <a:lstStyle/>
                    <a:p>
                      <a:pPr algn="ctr">
                        <a:defRPr sz="800">
                          <a:latin typeface="Nexa Book"/>
                        </a:defRPr>
                      </a:pPr>
                      <a:r>
                        <a:t>Bouvet-Laduba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SAUMUR BOUVET SAPHIR 2018AC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234528">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LOIRE MONMOUSS SS S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234528">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LOIRE LANGL LC ROSE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234528">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ONMOUSSEAU CUVEE "JM" TOUR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234528">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LOIRE LANGLOIS LC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873</a:t>
            </a:fld>
            <a:endParaRPr lang="en-US"/>
          </a:p>
        </p:txBody>
      </p:sp>
    </p:spTree>
    <p:extLst>
      <p:ext uri="{BB962C8B-B14F-4D97-AF65-F5344CB8AC3E}">
        <p14:creationId xmlns:p14="http://schemas.microsoft.com/office/powerpoint/2010/main" val="226424184"/>
      </p:ext>
    </p:extLst>
  </p:cSld>
  <p:clrMapOvr>
    <a:masterClrMapping/>
  </p:clrMapOvr>
</p:sld>
</file>

<file path=ppt/slides/slide8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Mousseux Val De Loire | NICOLAS AQU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Bouvet-Laduba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AUMUR BOUVET L CUV SAPHI M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8.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VOUVRAY DME BRUNET BRUT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a:defRPr sz="800">
                          <a:latin typeface="Nexa Book"/>
                        </a:defRPr>
                      </a:pPr>
                      <a:r>
                        <a:t>French Bloom S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H MONCONTOUR MILLESIME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VOUVRAY DME DU PETIT COTEAU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ULLE NATURE EXTRA BRUT 2020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De Chancen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LOIRE NATURE 2015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DE LOIRE MONMOUS BL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VOUVRAY MOELLX BRUNET 2018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DE LOIRE MONM ROSE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VOUVRAY DME BRUNET 1/2 SEC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Bouvet-Laduba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SAUMUR BOUVET SAPHIR 2020AC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ONTLOUIS NATURE BRUT BIO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Bouvet-Laduba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SAUMUR BOUVET SAPHIR 2021AC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ULLE NATURE EXTRA BRUT 2019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VOUVRAY DME BRUNET 2013AC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Bouvet-Laduba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SAUMUR BOUVET SAPHIR 2019AC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a:defRPr sz="800">
                          <a:latin typeface="Nexa Book"/>
                        </a:defRPr>
                      </a:pPr>
                      <a:r>
                        <a:t>Bouvet-Laduba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SAUMUR BOUVET SAPHIR 2018AC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AUMUR MARQUISSAC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LOIRE MONMOUSS SS S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LOIRE LANGL LC ROSE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874</a:t>
            </a:fld>
            <a:endParaRPr lang="en-US"/>
          </a:p>
        </p:txBody>
      </p:sp>
    </p:spTree>
    <p:extLst>
      <p:ext uri="{BB962C8B-B14F-4D97-AF65-F5344CB8AC3E}">
        <p14:creationId xmlns:p14="http://schemas.microsoft.com/office/powerpoint/2010/main" val="1854559828"/>
      </p:ext>
    </p:extLst>
  </p:cSld>
  <p:clrMapOvr>
    <a:masterClrMapping/>
  </p:clrMapOvr>
</p:sld>
</file>

<file path=ppt/slides/slide8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Mousseux Val De Loire | NICOLAS EST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1"/>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218893">
                <a:tc>
                  <a:txBody>
                    <a:bodyPr/>
                    <a:lstStyle/>
                    <a:p>
                      <a:pPr algn="ctr">
                        <a:defRPr sz="800">
                          <a:latin typeface="Nexa Book"/>
                        </a:defRPr>
                      </a:pPr>
                      <a:r>
                        <a:t>French Bloom S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H MONCONTOUR MILLESIME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218893">
                <a:tc>
                  <a:txBody>
                    <a:bodyPr/>
                    <a:lstStyle/>
                    <a:p>
                      <a:pPr algn="ctr">
                        <a:defRPr sz="800">
                          <a:latin typeface="Nexa Book"/>
                        </a:defRPr>
                      </a:pPr>
                      <a:r>
                        <a:t>Bouvet-Laduba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AUMUR BOUVET L CUV SAPHI M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218893">
                <a:tc>
                  <a:txBody>
                    <a:bodyPr/>
                    <a:lstStyle/>
                    <a:p>
                      <a:pPr algn="ctr">
                        <a:defRPr sz="800">
                          <a:latin typeface="Nexa Book"/>
                        </a:defRPr>
                      </a:pPr>
                      <a:r>
                        <a:t>De Chancen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LOIRE NATURE 2015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218893">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VOUVRAY DME DU PETIT COTEAU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8.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218893">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DE LOIRE MONMOUS BL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218893">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DE LOIRE MONM ROSE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218893">
                <a:tc>
                  <a:txBody>
                    <a:bodyPr/>
                    <a:lstStyle/>
                    <a:p>
                      <a:pPr algn="ctr">
                        <a:defRPr sz="800">
                          <a:latin typeface="Nexa Book"/>
                        </a:defRPr>
                      </a:pPr>
                      <a:r>
                        <a:t>Bouvet-Laduba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SAUMUR BOUVET SAPHIR 2019AC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218893">
                <a:tc>
                  <a:txBody>
                    <a:bodyPr/>
                    <a:lstStyle/>
                    <a:p>
                      <a:pPr algn="ctr">
                        <a:defRPr sz="800">
                          <a:latin typeface="Nexa Book"/>
                        </a:defRPr>
                      </a:pPr>
                      <a:r>
                        <a:t>Bouvet-Laduba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SAUMUR BOUVET SAPHIR 2020AC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218893">
                <a:tc>
                  <a:txBody>
                    <a:bodyPr/>
                    <a:lstStyle/>
                    <a:p>
                      <a:pPr algn="ctr">
                        <a:defRPr sz="800">
                          <a:latin typeface="Nexa Book"/>
                        </a:defRPr>
                      </a:pPr>
                      <a:r>
                        <a:t>Bouvet-Laduba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SAUMUR BOUVET SAPHIR 2021AC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218893">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LOIRE LANGLOIS LC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218893">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LOIRE LANGL LC ROSE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218893">
                <a:tc>
                  <a:txBody>
                    <a:bodyPr/>
                    <a:lstStyle/>
                    <a:p>
                      <a:pPr algn="ctr">
                        <a:defRPr sz="800">
                          <a:latin typeface="Nexa Book"/>
                        </a:defRPr>
                      </a:pPr>
                      <a:r>
                        <a:t>Bouvet-Laduba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SAUMUR BOUVET SAPHIR 2017AC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218893">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ONMOUSSEAU CUVEE "JM" TOUR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218893">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LOIRE MONMOUSS SS S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218893">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AUMUR MARQUISSAC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875</a:t>
            </a:fld>
            <a:endParaRPr lang="en-US"/>
          </a:p>
        </p:txBody>
      </p:sp>
    </p:spTree>
    <p:extLst>
      <p:ext uri="{BB962C8B-B14F-4D97-AF65-F5344CB8AC3E}">
        <p14:creationId xmlns:p14="http://schemas.microsoft.com/office/powerpoint/2010/main" val="2202815852"/>
      </p:ext>
    </p:extLst>
  </p:cSld>
  <p:clrMapOvr>
    <a:masterClrMapping/>
  </p:clrMapOvr>
</p:sld>
</file>

<file path=ppt/slides/slide8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Mousseux Val De Loire | CA A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68"/>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273616">
                <a:tc>
                  <a:txBody>
                    <a:bodyPr/>
                    <a:lstStyle/>
                    <a:p>
                      <a:pPr algn="ctr">
                        <a:defRPr sz="800">
                          <a:latin typeface="Nexa Book"/>
                        </a:defRPr>
                      </a:pPr>
                      <a:r>
                        <a:t>French Bloom S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H MONCONTOUR MILLESIME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273616">
                <a:tc>
                  <a:txBody>
                    <a:bodyPr/>
                    <a:lstStyle/>
                    <a:p>
                      <a:pPr algn="ctr">
                        <a:defRPr sz="800">
                          <a:latin typeface="Nexa Book"/>
                        </a:defRPr>
                      </a:pPr>
                      <a:r>
                        <a:t>Bouvet-Laduba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AUMUR BOUVET L CUV SAPHI M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273616">
                <a:tc>
                  <a:txBody>
                    <a:bodyPr/>
                    <a:lstStyle/>
                    <a:p>
                      <a:pPr algn="ctr">
                        <a:defRPr sz="800">
                          <a:latin typeface="Nexa Book"/>
                        </a:defRPr>
                      </a:pPr>
                      <a:r>
                        <a:t>De Chancen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LOIRE NATURE 2015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6.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273616">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VOUVRAY DME DU PETIT COTEAU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273616">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DE LOIRE MONMOUS BL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273616">
                <a:tc>
                  <a:txBody>
                    <a:bodyPr/>
                    <a:lstStyle/>
                    <a:p>
                      <a:pPr algn="ctr">
                        <a:defRPr sz="800">
                          <a:latin typeface="Nexa Book"/>
                        </a:defRPr>
                      </a:pPr>
                      <a:r>
                        <a:t>Bouvet-Laduba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SAUMUR BOUVET SAPHIR 2020AC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273616">
                <a:tc>
                  <a:txBody>
                    <a:bodyPr/>
                    <a:lstStyle/>
                    <a:p>
                      <a:pPr algn="ctr">
                        <a:defRPr sz="800">
                          <a:latin typeface="Nexa Book"/>
                        </a:defRPr>
                      </a:pPr>
                      <a:r>
                        <a:t>Bouvet-Laduba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SAUMUR BOUVET SAPHIR 2021AC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273616">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DE LOIRE MONM ROSE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273616">
                <a:tc>
                  <a:txBody>
                    <a:bodyPr/>
                    <a:lstStyle/>
                    <a:p>
                      <a:pPr algn="ctr">
                        <a:defRPr sz="800">
                          <a:latin typeface="Nexa Book"/>
                        </a:defRPr>
                      </a:pPr>
                      <a:r>
                        <a:t>Bouvet-Laduba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SAUMUR BOUVET SAPHIR 2019AC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273616">
                <a:tc>
                  <a:txBody>
                    <a:bodyPr/>
                    <a:lstStyle/>
                    <a:p>
                      <a:pPr algn="ctr">
                        <a:defRPr sz="800">
                          <a:latin typeface="Nexa Book"/>
                        </a:defRPr>
                      </a:pPr>
                      <a:r>
                        <a:t>Bouvet-Laduba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SAUMUR BOUVET SAPHIR 2018AC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273616">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LOIRE MONMOUSS SS S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273616">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LOIRE LANGL LC ROSE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876</a:t>
            </a:fld>
            <a:endParaRPr lang="en-US"/>
          </a:p>
        </p:txBody>
      </p:sp>
    </p:spTree>
    <p:extLst>
      <p:ext uri="{BB962C8B-B14F-4D97-AF65-F5344CB8AC3E}">
        <p14:creationId xmlns:p14="http://schemas.microsoft.com/office/powerpoint/2010/main" val="685942508"/>
      </p:ext>
    </p:extLst>
  </p:cSld>
  <p:clrMapOvr>
    <a:masterClrMapping/>
  </p:clrMapOvr>
</p:sld>
</file>

<file path=ppt/slides/slide8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Mousseux Val De Loire | CA B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Bouvet-Laduba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AUMUR BOUVET L CUV SAPHI M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5.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French Bloom S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H MONCONTOUR MILLESIME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a:defRPr sz="800">
                          <a:latin typeface="Nexa Book"/>
                        </a:defRPr>
                      </a:pPr>
                      <a:r>
                        <a:t>De Chancen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LOIRE NATURE 2015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VOUVRAY DME DU PETIT COTEAU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3.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VOUVRAY DME BRUNET BRUT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3.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DE LOIRE MONMOUS BL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8.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LOIRE TERREBRUNE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ULLE NATURE EXTRA BRUT 2020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EAMBULE TURBULENT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Bouvet-Laduba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SAUMUR BOUVET SAPHIR 2020AC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Bouvet-Laduba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SAUMUR BOUVET SAPHIR 2021AC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DE LOIRE MONM ROSE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VOUVRAY MOELLX BRUNET 2018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Bouvet-Laduba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SAUMUR BOUVET SAPHIR 2019AC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ONTLOUIS NATURE BRUT BIO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VOUVRAY DME BRUNET 1/2 SEC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a:defRPr sz="800">
                          <a:latin typeface="Nexa Book"/>
                        </a:defRPr>
                      </a:pPr>
                      <a:r>
                        <a:t>Bouvet-Laduba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OUVET RUBIS EXCELLENCE 1/2SE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VOUVRAY DME BRUNET 2013AC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ULLE NATURE EXTRA BRUT 2019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ONMOUSSEAU CUVEE "JM" TOUR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877</a:t>
            </a:fld>
            <a:endParaRPr lang="en-US"/>
          </a:p>
        </p:txBody>
      </p:sp>
    </p:spTree>
    <p:extLst>
      <p:ext uri="{BB962C8B-B14F-4D97-AF65-F5344CB8AC3E}">
        <p14:creationId xmlns:p14="http://schemas.microsoft.com/office/powerpoint/2010/main" val="1468353265"/>
      </p:ext>
    </p:extLst>
  </p:cSld>
  <p:clrMapOvr>
    <a:masterClrMapping/>
  </p:clrMapOvr>
</p:sld>
</file>

<file path=ppt/slides/slide8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Mousseux Val De Loire | CA C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French Bloom S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H MONCONTOUR MILLESIME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Bouvet-Laduba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AUMUR BOUVET L CUV SAPHI M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a:defRPr sz="800">
                          <a:latin typeface="Nexa Book"/>
                        </a:defRPr>
                      </a:pPr>
                      <a:r>
                        <a:t>De Chancen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LOIRE NATURE 2015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VOUVRAY DME DU PETIT COTEAU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VOUVRAY DME BRUNET BRUT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DE LOIRE MONMOUS BL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ULLE NATURE EXTRA BRUT 2020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Bouvet-Laduba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SAUMUR BOUVET SAPHIR 2020AC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ULLE NATURE EXTRA BRUT 2019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VOUVRAY MOELLX BRUNET 2018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DE LOIRE MONM ROSE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Bouvet-Laduba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SAUMUR BOUVET SAPHIR 2019AC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VOUVRAY DME BRUNET 1/2 SEC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Bouvet-Laduba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SAUMUR BOUVET SAPHIR 2021AC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LOIRE TERREBRUNE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VOUVRAY DME BRUNET 2013AC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ONTLOUIS NATURE BRUT BIO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Bouvet-Laduba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OUVET RUBIS EXCELLENCE 1/2SE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LOIRE LANGL LC ROSE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Bouvet-Laduba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SAUMUR BOUVET SAPHIR 2015AC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878</a:t>
            </a:fld>
            <a:endParaRPr lang="en-US"/>
          </a:p>
        </p:txBody>
      </p:sp>
    </p:spTree>
    <p:extLst>
      <p:ext uri="{BB962C8B-B14F-4D97-AF65-F5344CB8AC3E}">
        <p14:creationId xmlns:p14="http://schemas.microsoft.com/office/powerpoint/2010/main" val="4134906430"/>
      </p:ext>
    </p:extLst>
  </p:cSld>
  <p:clrMapOvr>
    <a:masterClrMapping/>
  </p:clrMapOvr>
</p:sld>
</file>

<file path=ppt/slides/slide8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Mousseux Val De Loire | CA D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French Bloom S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H MONCONTOUR MILLESIME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6.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Bouvet-Laduba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AUMUR BOUVET L CUV SAPHI M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a:defRPr sz="800">
                          <a:latin typeface="Nexa Book"/>
                        </a:defRPr>
                      </a:pPr>
                      <a:r>
                        <a:t>De Chancen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LOIRE NATURE 2015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VOUVRAY DME DU PETIT COTEAU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6.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VOUVRAY DME BRUNET BRUT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EAMBULE TURBULENT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8.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DE LOIRE MONMOUS BL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LOIRE TERREBRUNE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Bouvet-Laduba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SAUMUR BOUVET SAPHIR 2020AC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Bouvet-Laduba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SAUMUR BOUVET SAPHIR 2021AC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DE LOIRE MONM ROSE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Bouvet-Laduba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SAUMUR BOUVET SAPHIR 2019AC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ULLE NATURE EXTRA BRUT 2020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EAMBULE TURBULENT ROSE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VOUVRAY DME BRUNET 1/2 SEC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VOUVRAY MOELLX BRUNET 2018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ONTLOUIS NATURE BRUT BIO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VOUVRAY DME BRUNET 2013AC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ULLE NATURE EXTRA BRUT 2018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LOIRE LANGL LC ROSE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879</a:t>
            </a:fld>
            <a:endParaRPr lang="en-US"/>
          </a:p>
        </p:txBody>
      </p:sp>
    </p:spTree>
    <p:extLst>
      <p:ext uri="{BB962C8B-B14F-4D97-AF65-F5344CB8AC3E}">
        <p14:creationId xmlns:p14="http://schemas.microsoft.com/office/powerpoint/2010/main" val="3540042372"/>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Bruts | NICOLAS PAC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88</a:t>
            </a:fld>
            <a:endParaRPr lang="en-US"/>
          </a:p>
        </p:txBody>
      </p:sp>
    </p:spTree>
    <p:extLst>
      <p:ext uri="{BB962C8B-B14F-4D97-AF65-F5344CB8AC3E}">
        <p14:creationId xmlns:p14="http://schemas.microsoft.com/office/powerpoint/2010/main" val="795213001"/>
      </p:ext>
    </p:extLst>
  </p:cSld>
  <p:clrMapOvr>
    <a:masterClrMapping/>
  </p:clrMapOvr>
</p:sld>
</file>

<file path=ppt/slides/slide8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Mousseux Val De Loire | CA E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Bouvet-Laduba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AUMUR BOUVET L CUV SAPHI M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French Bloom S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H MONCONTOUR MILLESIME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VOUVRAY DME BRUNET BRUT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De Chancen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LOIRE NATURE 2015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5.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VOUVRAY DME DU PETIT COTEAU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5.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DE LOIRE MONMOUS BL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EAMBULE TURBULENT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3.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LOIRE TERREBRUNE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ULLE NATURE EXTRA BRUT 2019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ULLE NATURE EXTRA BRUT 2020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VOUVRAY DME BRUNET 1/2 SEC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DE LOIRE MONM ROSE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Bouvet-Laduba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SAUMUR BOUVET SAPHIR 2020AC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Bouvet-Laduba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SAUMUR BOUVET SAPHIR 2019AC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VOUVRAY MOELLX BRUNET 2018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VOUVRAY DME BRUNET 2013AC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a:defRPr sz="800">
                          <a:latin typeface="Nexa Book"/>
                        </a:defRPr>
                      </a:pPr>
                      <a:r>
                        <a:t>Bouvet-Laduba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SAUMUR BOUVET SAPHIR 2021AC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EAMBULE TURBULENT ROSE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ONTLOUIS NATURE BRUT BIO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Bouvet-Laduba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SAUMUR BOUVET SAPHIR 2018AC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880</a:t>
            </a:fld>
            <a:endParaRPr lang="en-US"/>
          </a:p>
        </p:txBody>
      </p:sp>
    </p:spTree>
    <p:extLst>
      <p:ext uri="{BB962C8B-B14F-4D97-AF65-F5344CB8AC3E}">
        <p14:creationId xmlns:p14="http://schemas.microsoft.com/office/powerpoint/2010/main" val="941242188"/>
      </p:ext>
    </p:extLst>
  </p:cSld>
  <p:clrMapOvr>
    <a:masterClrMapping/>
  </p:clrMapOvr>
</p:sld>
</file>

<file path=ppt/slides/slide8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Mousseux Alsace | NICOLAS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328340">
                <a:tc>
                  <a:txBody>
                    <a:bodyPr/>
                    <a:lstStyle/>
                    <a:p>
                      <a:pPr algn="ctr">
                        <a:defRPr sz="800">
                          <a:latin typeface="Nexa Book"/>
                        </a:defRPr>
                      </a:pPr>
                      <a:r>
                        <a:t>Mur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D'ALSACE PRESTIGE BIO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5.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32834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D'ALSACE GISSELBREC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6.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32834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D'ALSACE ROSE GISSE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32834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D'ALSACE DOSAGE ZERO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328340">
                <a:tc>
                  <a:txBody>
                    <a:bodyPr/>
                    <a:lstStyle/>
                    <a:p>
                      <a:pPr algn="ctr">
                        <a:defRPr sz="800">
                          <a:latin typeface="Nexa Book"/>
                        </a:defRPr>
                      </a:pPr>
                      <a:r>
                        <a:t>Mur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D'ALSACE ROSE MURE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32834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D'ALSACE BULLES NOEMI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32834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D'ALSACE SPARR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328340">
                <a:tc>
                  <a:txBody>
                    <a:bodyPr/>
                    <a:lstStyle/>
                    <a:p>
                      <a:pPr algn="ctr">
                        <a:defRPr sz="800">
                          <a:latin typeface="Nexa Book"/>
                        </a:defRPr>
                      </a:pPr>
                      <a:r>
                        <a:t>Mur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1/2 CREMANT D'ALSACE PREST AC 1CT X 375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32834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CREMANT D'ALSACE GISSELB AC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328340">
                <a:tc>
                  <a:txBody>
                    <a:bodyPr/>
                    <a:lstStyle/>
                    <a:p>
                      <a:pPr algn="ctr">
                        <a:defRPr sz="800">
                          <a:latin typeface="Nexa Book"/>
                        </a:defRPr>
                      </a:pPr>
                      <a:r>
                        <a:t>Mur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D'ALSACE PRESTIGE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881</a:t>
            </a:fld>
            <a:endParaRPr lang="en-US"/>
          </a:p>
        </p:txBody>
      </p:sp>
    </p:spTree>
    <p:extLst>
      <p:ext uri="{BB962C8B-B14F-4D97-AF65-F5344CB8AC3E}">
        <p14:creationId xmlns:p14="http://schemas.microsoft.com/office/powerpoint/2010/main" val="3180896175"/>
      </p:ext>
    </p:extLst>
  </p:cSld>
  <p:clrMapOvr>
    <a:masterClrMapping/>
  </p:clrMapOvr>
</p:sld>
</file>

<file path=ppt/slides/slide8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Mousseux Alsace | NICOLAS QCN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410425">
                <a:tc>
                  <a:txBody>
                    <a:bodyPr/>
                    <a:lstStyle/>
                    <a:p>
                      <a:pPr algn="ctr">
                        <a:defRPr sz="800">
                          <a:latin typeface="Nexa Book"/>
                        </a:defRPr>
                      </a:pPr>
                      <a:r>
                        <a:t>Mur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D'ALSACE PRESTIGE BIO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410425">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D'ALSACE GISSELBREC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410425">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D'ALSACE BULLES NOEMI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410425">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D'ALSACE ROSE GISSE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410425">
                <a:tc>
                  <a:txBody>
                    <a:bodyPr/>
                    <a:lstStyle/>
                    <a:p>
                      <a:pPr algn="ctr">
                        <a:defRPr sz="800">
                          <a:latin typeface="Nexa Book"/>
                        </a:defRPr>
                      </a:pPr>
                      <a:r>
                        <a:t>Mur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D'ALSACE ROSE MURE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410425">
                <a:tc>
                  <a:txBody>
                    <a:bodyPr/>
                    <a:lstStyle/>
                    <a:p>
                      <a:pPr algn="ctr">
                        <a:defRPr sz="800">
                          <a:latin typeface="Nexa Book"/>
                        </a:defRPr>
                      </a:pPr>
                      <a:r>
                        <a:t>Mur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1/2 CREMANT D'ALSACE PREST AC 1CT X 375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410425">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CREMANT D'ALSACE GISSELB AC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410425">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D'ALSACE DOSAGE ZERO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882</a:t>
            </a:fld>
            <a:endParaRPr lang="en-US"/>
          </a:p>
        </p:txBody>
      </p:sp>
    </p:spTree>
    <p:extLst>
      <p:ext uri="{BB962C8B-B14F-4D97-AF65-F5344CB8AC3E}">
        <p14:creationId xmlns:p14="http://schemas.microsoft.com/office/powerpoint/2010/main" val="623722603"/>
      </p:ext>
    </p:extLst>
  </p:cSld>
  <p:clrMapOvr>
    <a:masterClrMapping/>
  </p:clrMapOvr>
</p:sld>
</file>

<file path=ppt/slides/slide8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Mousseux Alsace | NICOLAS VCN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4"/>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547233">
                <a:tc>
                  <a:txBody>
                    <a:bodyPr/>
                    <a:lstStyle/>
                    <a:p>
                      <a:pPr algn="ctr">
                        <a:defRPr sz="800">
                          <a:latin typeface="Nexa Book"/>
                        </a:defRPr>
                      </a:pPr>
                      <a:r>
                        <a:t>Mur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D'ALSACE PRESTIGE BIO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547233">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D'ALSACE GISSELBREC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547233">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D'ALSACE DOSAGE ZERO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547233">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D'ALSACE BULLES NOEMI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547233">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D'ALSACE ROSE GISSE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547233">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CREMANT D'ALSACE GISSELB AC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883</a:t>
            </a:fld>
            <a:endParaRPr lang="en-US"/>
          </a:p>
        </p:txBody>
      </p:sp>
    </p:spTree>
    <p:extLst>
      <p:ext uri="{BB962C8B-B14F-4D97-AF65-F5344CB8AC3E}">
        <p14:creationId xmlns:p14="http://schemas.microsoft.com/office/powerpoint/2010/main" val="4169710335"/>
      </p:ext>
    </p:extLst>
  </p:cSld>
  <p:clrMapOvr>
    <a:masterClrMapping/>
  </p:clrMapOvr>
</p:sld>
</file>

<file path=ppt/slides/slide8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Mousseux Alsace | NICOLAS QCT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4"/>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364822">
                <a:tc>
                  <a:txBody>
                    <a:bodyPr/>
                    <a:lstStyle/>
                    <a:p>
                      <a:pPr algn="ctr">
                        <a:defRPr sz="800">
                          <a:latin typeface="Nexa Book"/>
                        </a:defRPr>
                      </a:pPr>
                      <a:r>
                        <a:t>Mur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D'ALSACE PRESTIGE BIO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4.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364822">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D'ALSACE GISSELBREC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364822">
                <a:tc>
                  <a:txBody>
                    <a:bodyPr/>
                    <a:lstStyle/>
                    <a:p>
                      <a:pPr algn="ctr">
                        <a:defRPr sz="800">
                          <a:latin typeface="Nexa Book"/>
                        </a:defRPr>
                      </a:pPr>
                      <a:r>
                        <a:t>Mur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D'ALSACE ROSE MURE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6.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364822">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D'ALSACE DOSAGE ZERO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3.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364822">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D'ALSACE BULLES NOEMI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364822">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D'ALSACE ROSE GISSE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364822">
                <a:tc>
                  <a:txBody>
                    <a:bodyPr/>
                    <a:lstStyle/>
                    <a:p>
                      <a:pPr algn="ctr">
                        <a:defRPr sz="800">
                          <a:latin typeface="Nexa Book"/>
                        </a:defRPr>
                      </a:pPr>
                      <a:r>
                        <a:t>Mur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1/2 CREMANT D'ALSACE PREST AC 1CT X 375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364822">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CREMANT D'ALSACE GISSELB AC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364822">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D'ALSACE SPARR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884</a:t>
            </a:fld>
            <a:endParaRPr lang="en-US"/>
          </a:p>
        </p:txBody>
      </p:sp>
    </p:spTree>
    <p:extLst>
      <p:ext uri="{BB962C8B-B14F-4D97-AF65-F5344CB8AC3E}">
        <p14:creationId xmlns:p14="http://schemas.microsoft.com/office/powerpoint/2010/main" val="3997458372"/>
      </p:ext>
    </p:extLst>
  </p:cSld>
  <p:clrMapOvr>
    <a:masterClrMapping/>
  </p:clrMapOvr>
</p:sld>
</file>

<file path=ppt/slides/slide8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Mousseux Alsace | NICOLAS QCA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0">
                <a:tc>
                  <a:txBody>
                    <a:bodyPr/>
                    <a:lstStyle/>
                    <a:p>
                      <a:pPr algn="ctr">
                        <a:defRPr sz="800">
                          <a:latin typeface="Nexa Book"/>
                        </a:defRPr>
                      </a:pPr>
                      <a:r>
                        <a:t>Mur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D'ALSACE PRESTIGE BIO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0">
                <a:tc>
                  <a:txBody>
                    <a:bodyPr/>
                    <a:lstStyle/>
                    <a:p>
                      <a:pPr algn="ctr">
                        <a:defRPr sz="800">
                          <a:latin typeface="Nexa Book"/>
                        </a:defRPr>
                      </a:pPr>
                      <a:r>
                        <a:t>Mur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D'ALSACE PRESTIGE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885</a:t>
            </a:fld>
            <a:endParaRPr lang="en-US"/>
          </a:p>
        </p:txBody>
      </p:sp>
    </p:spTree>
    <p:extLst>
      <p:ext uri="{BB962C8B-B14F-4D97-AF65-F5344CB8AC3E}">
        <p14:creationId xmlns:p14="http://schemas.microsoft.com/office/powerpoint/2010/main" val="2403807983"/>
      </p:ext>
    </p:extLst>
  </p:cSld>
  <p:clrMapOvr>
    <a:masterClrMapping/>
  </p:clrMapOvr>
</p:sld>
</file>

<file path=ppt/slides/slide8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Mousseux Alsace | NICOLAS CCP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410425">
                <a:tc>
                  <a:txBody>
                    <a:bodyPr/>
                    <a:lstStyle/>
                    <a:p>
                      <a:pPr algn="ctr">
                        <a:defRPr sz="800">
                          <a:latin typeface="Nexa Book"/>
                        </a:defRPr>
                      </a:pPr>
                      <a:r>
                        <a:t>Mur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D'ALSACE PRESTIGE BIO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410425">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D'ALSACE GISSELBREC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410425">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D'ALSACE SPARR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4.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410425">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D'ALSACE DOSAGE ZERO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410425">
                <a:tc>
                  <a:txBody>
                    <a:bodyPr/>
                    <a:lstStyle/>
                    <a:p>
                      <a:pPr algn="ctr">
                        <a:defRPr sz="800">
                          <a:latin typeface="Nexa Book"/>
                        </a:defRPr>
                      </a:pPr>
                      <a:r>
                        <a:t>Mur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D'ALSACE ROSE MURE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410425">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D'ALSACE ROSE GISSE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410425">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CREMANT D'ALSACE GISSELB AC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410425">
                <a:tc>
                  <a:txBody>
                    <a:bodyPr/>
                    <a:lstStyle/>
                    <a:p>
                      <a:pPr algn="ctr">
                        <a:defRPr sz="800">
                          <a:latin typeface="Nexa Book"/>
                        </a:defRPr>
                      </a:pPr>
                      <a:r>
                        <a:t>Mur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1/2 CREMANT D'ALSACE PREST AC 1CT X 375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886</a:t>
            </a:fld>
            <a:endParaRPr lang="en-US"/>
          </a:p>
        </p:txBody>
      </p:sp>
    </p:spTree>
    <p:extLst>
      <p:ext uri="{BB962C8B-B14F-4D97-AF65-F5344CB8AC3E}">
        <p14:creationId xmlns:p14="http://schemas.microsoft.com/office/powerpoint/2010/main" val="3413101192"/>
      </p:ext>
    </p:extLst>
  </p:cSld>
  <p:clrMapOvr>
    <a:masterClrMapping/>
  </p:clrMapOvr>
</p:sld>
</file>

<file path=ppt/slides/slide8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Mousseux Alsace | NICOLAS IDF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3283400">
                <a:tc>
                  <a:txBody>
                    <a:bodyPr/>
                    <a:lstStyle/>
                    <a:p>
                      <a:pPr algn="ctr">
                        <a:defRPr sz="800">
                          <a:latin typeface="Nexa Book"/>
                        </a:defRPr>
                      </a:pPr>
                      <a:r>
                        <a:t>Mur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D'ALSACE PRESTIGE BIO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887</a:t>
            </a:fld>
            <a:endParaRPr lang="en-US"/>
          </a:p>
        </p:txBody>
      </p:sp>
    </p:spTree>
    <p:extLst>
      <p:ext uri="{BB962C8B-B14F-4D97-AF65-F5344CB8AC3E}">
        <p14:creationId xmlns:p14="http://schemas.microsoft.com/office/powerpoint/2010/main" val="784564296"/>
      </p:ext>
    </p:extLst>
  </p:cSld>
  <p:clrMapOvr>
    <a:masterClrMapping/>
  </p:clrMapOvr>
</p:sld>
</file>

<file path=ppt/slides/slide8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Mousseux Alsace | NICOLAS PAC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3283400">
                <a:tc>
                  <a:txBody>
                    <a:bodyPr/>
                    <a:lstStyle/>
                    <a:p>
                      <a:pPr algn="ctr">
                        <a:defRPr sz="800">
                          <a:latin typeface="Nexa Book"/>
                        </a:defRPr>
                      </a:pPr>
                      <a:r>
                        <a:t>Mur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D'ALSACE PRESTIGE BIO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888</a:t>
            </a:fld>
            <a:endParaRPr lang="en-US"/>
          </a:p>
        </p:txBody>
      </p:sp>
    </p:spTree>
    <p:extLst>
      <p:ext uri="{BB962C8B-B14F-4D97-AF65-F5344CB8AC3E}">
        <p14:creationId xmlns:p14="http://schemas.microsoft.com/office/powerpoint/2010/main" val="2059798527"/>
      </p:ext>
    </p:extLst>
  </p:cSld>
  <p:clrMapOvr>
    <a:masterClrMapping/>
  </p:clrMapOvr>
</p:sld>
</file>

<file path=ppt/slides/slide8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Mousseux Alsace | NICOLAS RHO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3283400">
                <a:tc>
                  <a:txBody>
                    <a:bodyPr/>
                    <a:lstStyle/>
                    <a:p>
                      <a:pPr algn="ctr">
                        <a:defRPr sz="800">
                          <a:latin typeface="Nexa Book"/>
                        </a:defRPr>
                      </a:pPr>
                      <a:r>
                        <a:t>Mur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D'ALSACE PRESTIGE BIO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889</a:t>
            </a:fld>
            <a:endParaRPr lang="en-US"/>
          </a:p>
        </p:txBody>
      </p:sp>
    </p:spTree>
    <p:extLst>
      <p:ext uri="{BB962C8B-B14F-4D97-AF65-F5344CB8AC3E}">
        <p14:creationId xmlns:p14="http://schemas.microsoft.com/office/powerpoint/2010/main" val="185772307"/>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Bruts | NICOLAS RHO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89</a:t>
            </a:fld>
            <a:endParaRPr lang="en-US"/>
          </a:p>
        </p:txBody>
      </p:sp>
    </p:spTree>
    <p:extLst>
      <p:ext uri="{BB962C8B-B14F-4D97-AF65-F5344CB8AC3E}">
        <p14:creationId xmlns:p14="http://schemas.microsoft.com/office/powerpoint/2010/main" val="1547800619"/>
      </p:ext>
    </p:extLst>
  </p:cSld>
  <p:clrMapOvr>
    <a:masterClrMapping/>
  </p:clrMapOvr>
</p:sld>
</file>

<file path=ppt/slides/slide8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Mousseux Alsace | NICOLAS AQU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0">
                <a:tc>
                  <a:txBody>
                    <a:bodyPr/>
                    <a:lstStyle/>
                    <a:p>
                      <a:pPr algn="ctr">
                        <a:defRPr sz="800">
                          <a:latin typeface="Nexa Book"/>
                        </a:defRPr>
                      </a:pPr>
                      <a:r>
                        <a:t>Mur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D'ALSACE PRESTIGE BIO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0">
                <a:tc>
                  <a:txBody>
                    <a:bodyPr/>
                    <a:lstStyle/>
                    <a:p>
                      <a:pPr algn="ctr">
                        <a:defRPr sz="800">
                          <a:latin typeface="Nexa Book"/>
                        </a:defRPr>
                      </a:pPr>
                      <a:r>
                        <a:t>Mur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D'ALSACE PRESTIGE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890</a:t>
            </a:fld>
            <a:endParaRPr lang="en-US"/>
          </a:p>
        </p:txBody>
      </p:sp>
    </p:spTree>
    <p:extLst>
      <p:ext uri="{BB962C8B-B14F-4D97-AF65-F5344CB8AC3E}">
        <p14:creationId xmlns:p14="http://schemas.microsoft.com/office/powerpoint/2010/main" val="516487353"/>
      </p:ext>
    </p:extLst>
  </p:cSld>
  <p:clrMapOvr>
    <a:masterClrMapping/>
  </p:clrMapOvr>
</p:sld>
</file>

<file path=ppt/slides/slide8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Mousseux Alsace | NICOLAS EST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4"/>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364822">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D'ALSACE GISSELBREC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364822">
                <a:tc>
                  <a:txBody>
                    <a:bodyPr/>
                    <a:lstStyle/>
                    <a:p>
                      <a:pPr algn="ctr">
                        <a:defRPr sz="800">
                          <a:latin typeface="Nexa Book"/>
                        </a:defRPr>
                      </a:pPr>
                      <a:r>
                        <a:t>Mur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D'ALSACE PRESTIGE BIO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364822">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D'ALSACE ROSE GISSE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364822">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D'ALSACE DOSAGE ZERO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364822">
                <a:tc>
                  <a:txBody>
                    <a:bodyPr/>
                    <a:lstStyle/>
                    <a:p>
                      <a:pPr algn="ctr">
                        <a:defRPr sz="800">
                          <a:latin typeface="Nexa Book"/>
                        </a:defRPr>
                      </a:pPr>
                      <a:r>
                        <a:t>Mur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D'ALSACE ROSE MURE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3.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364822">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D'ALSACE BULLES NOEMI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364822">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D'ALSACE SPARR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364822">
                <a:tc>
                  <a:txBody>
                    <a:bodyPr/>
                    <a:lstStyle/>
                    <a:p>
                      <a:pPr algn="ctr">
                        <a:defRPr sz="800">
                          <a:latin typeface="Nexa Book"/>
                        </a:defRPr>
                      </a:pPr>
                      <a:r>
                        <a:t>Mur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1/2 CREMANT D'ALSACE PREST AC 1CT X 375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364822">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CREMANT D'ALSACE GISSELB AC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891</a:t>
            </a:fld>
            <a:endParaRPr lang="en-US"/>
          </a:p>
        </p:txBody>
      </p:sp>
    </p:spTree>
    <p:extLst>
      <p:ext uri="{BB962C8B-B14F-4D97-AF65-F5344CB8AC3E}">
        <p14:creationId xmlns:p14="http://schemas.microsoft.com/office/powerpoint/2010/main" val="3871432744"/>
      </p:ext>
    </p:extLst>
  </p:cSld>
  <p:clrMapOvr>
    <a:masterClrMapping/>
  </p:clrMapOvr>
</p:sld>
</file>

<file path=ppt/slides/slide8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Mousseux Alsace | CA A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3283400">
                <a:tc>
                  <a:txBody>
                    <a:bodyPr/>
                    <a:lstStyle/>
                    <a:p>
                      <a:pPr algn="ctr">
                        <a:defRPr sz="800">
                          <a:latin typeface="Nexa Book"/>
                        </a:defRPr>
                      </a:pPr>
                      <a:r>
                        <a:t>Mur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D'ALSACE PRESTIGE BIO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892</a:t>
            </a:fld>
            <a:endParaRPr lang="en-US"/>
          </a:p>
        </p:txBody>
      </p:sp>
    </p:spTree>
    <p:extLst>
      <p:ext uri="{BB962C8B-B14F-4D97-AF65-F5344CB8AC3E}">
        <p14:creationId xmlns:p14="http://schemas.microsoft.com/office/powerpoint/2010/main" val="2946855591"/>
      </p:ext>
    </p:extLst>
  </p:cSld>
  <p:clrMapOvr>
    <a:masterClrMapping/>
  </p:clrMapOvr>
</p:sld>
</file>

<file path=ppt/slides/slide8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Mousseux Alsace | CA B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410425">
                <a:tc>
                  <a:txBody>
                    <a:bodyPr/>
                    <a:lstStyle/>
                    <a:p>
                      <a:pPr algn="ctr">
                        <a:defRPr sz="800">
                          <a:latin typeface="Nexa Book"/>
                        </a:defRPr>
                      </a:pPr>
                      <a:r>
                        <a:t>Mur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D'ALSACE PRESTIGE BIO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410425">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D'ALSACE GISSELBREC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410425">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D'ALSACE ROSE GISSE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410425">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D'ALSACE BULLES NOEMI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410425">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D'ALSACE DOSAGE ZERO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410425">
                <a:tc>
                  <a:txBody>
                    <a:bodyPr/>
                    <a:lstStyle/>
                    <a:p>
                      <a:pPr algn="ctr">
                        <a:defRPr sz="800">
                          <a:latin typeface="Nexa Book"/>
                        </a:defRPr>
                      </a:pPr>
                      <a:r>
                        <a:t>Mur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D'ALSACE ROSE MURE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410425">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CREMANT D'ALSACE GISSELB AC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410425">
                <a:tc>
                  <a:txBody>
                    <a:bodyPr/>
                    <a:lstStyle/>
                    <a:p>
                      <a:pPr algn="ctr">
                        <a:defRPr sz="800">
                          <a:latin typeface="Nexa Book"/>
                        </a:defRPr>
                      </a:pPr>
                      <a:r>
                        <a:t>Mur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1/2 CREMANT D'ALSACE PREST AC 1CT X 375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893</a:t>
            </a:fld>
            <a:endParaRPr lang="en-US"/>
          </a:p>
        </p:txBody>
      </p:sp>
    </p:spTree>
    <p:extLst>
      <p:ext uri="{BB962C8B-B14F-4D97-AF65-F5344CB8AC3E}">
        <p14:creationId xmlns:p14="http://schemas.microsoft.com/office/powerpoint/2010/main" val="2449188561"/>
      </p:ext>
    </p:extLst>
  </p:cSld>
  <p:clrMapOvr>
    <a:masterClrMapping/>
  </p:clrMapOvr>
</p:sld>
</file>

<file path=ppt/slides/slide8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Mousseux Alsace | CA C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656680">
                <a:tc>
                  <a:txBody>
                    <a:bodyPr/>
                    <a:lstStyle/>
                    <a:p>
                      <a:pPr algn="ctr">
                        <a:defRPr sz="800">
                          <a:latin typeface="Nexa Book"/>
                        </a:defRPr>
                      </a:pPr>
                      <a:r>
                        <a:t>Mur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D'ALSACE PRESTIGE BIO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65668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D'ALSACE GISSELBREC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65668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D'ALSACE BULLES NOEMI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65668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D'ALSACE ROSE GISSE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656680">
                <a:tc>
                  <a:txBody>
                    <a:bodyPr/>
                    <a:lstStyle/>
                    <a:p>
                      <a:pPr algn="ctr">
                        <a:defRPr sz="800">
                          <a:latin typeface="Nexa Book"/>
                        </a:defRPr>
                      </a:pPr>
                      <a:r>
                        <a:t>Mur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1/2 CREMANT D'ALSACE PREST AC 1CT X 375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894</a:t>
            </a:fld>
            <a:endParaRPr lang="en-US"/>
          </a:p>
        </p:txBody>
      </p:sp>
    </p:spTree>
    <p:extLst>
      <p:ext uri="{BB962C8B-B14F-4D97-AF65-F5344CB8AC3E}">
        <p14:creationId xmlns:p14="http://schemas.microsoft.com/office/powerpoint/2010/main" val="1958085720"/>
      </p:ext>
    </p:extLst>
  </p:cSld>
  <p:clrMapOvr>
    <a:masterClrMapping/>
  </p:clrMapOvr>
</p:sld>
</file>

<file path=ppt/slides/slide8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Mousseux Alsace | CA D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4"/>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364822">
                <a:tc>
                  <a:txBody>
                    <a:bodyPr/>
                    <a:lstStyle/>
                    <a:p>
                      <a:pPr algn="ctr">
                        <a:defRPr sz="800">
                          <a:latin typeface="Nexa Book"/>
                        </a:defRPr>
                      </a:pPr>
                      <a:r>
                        <a:t>Mur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D'ALSACE PRESTIGE BIO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364822">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D'ALSACE GISSELBREC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364822">
                <a:tc>
                  <a:txBody>
                    <a:bodyPr/>
                    <a:lstStyle/>
                    <a:p>
                      <a:pPr algn="ctr">
                        <a:defRPr sz="800">
                          <a:latin typeface="Nexa Book"/>
                        </a:defRPr>
                      </a:pPr>
                      <a:r>
                        <a:t>Mur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D'ALSACE ROSE MURE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364822">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D'ALSACE ROSE GISSE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364822">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D'ALSACE BULLES NOEMI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364822">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D'ALSACE DOSAGE ZERO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364822">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D'ALSACE SPARR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364822">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CREMANT D'ALSACE GISSELB AC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364822">
                <a:tc>
                  <a:txBody>
                    <a:bodyPr/>
                    <a:lstStyle/>
                    <a:p>
                      <a:pPr algn="ctr">
                        <a:defRPr sz="800">
                          <a:latin typeface="Nexa Book"/>
                        </a:defRPr>
                      </a:pPr>
                      <a:r>
                        <a:t>Mur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1/2 CREMANT D'ALSACE PREST AC 1CT X 375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895</a:t>
            </a:fld>
            <a:endParaRPr lang="en-US"/>
          </a:p>
        </p:txBody>
      </p:sp>
    </p:spTree>
    <p:extLst>
      <p:ext uri="{BB962C8B-B14F-4D97-AF65-F5344CB8AC3E}">
        <p14:creationId xmlns:p14="http://schemas.microsoft.com/office/powerpoint/2010/main" val="3117225167"/>
      </p:ext>
    </p:extLst>
  </p:cSld>
  <p:clrMapOvr>
    <a:masterClrMapping/>
  </p:clrMapOvr>
</p:sld>
</file>

<file path=ppt/slides/slide8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Mousseux Alsace | CA E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328340">
                <a:tc>
                  <a:txBody>
                    <a:bodyPr/>
                    <a:lstStyle/>
                    <a:p>
                      <a:pPr algn="ctr">
                        <a:defRPr sz="800">
                          <a:latin typeface="Nexa Book"/>
                        </a:defRPr>
                      </a:pPr>
                      <a:r>
                        <a:t>Mur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D'ALSACE PRESTIGE BIO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4.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32834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D'ALSACE GISSELBREC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32834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D'ALSACE DOSAGE ZERO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32834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D'ALSACE SPARR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7.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32834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D'ALSACE ROSE GISSE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328340">
                <a:tc>
                  <a:txBody>
                    <a:bodyPr/>
                    <a:lstStyle/>
                    <a:p>
                      <a:pPr algn="ctr">
                        <a:defRPr sz="800">
                          <a:latin typeface="Nexa Book"/>
                        </a:defRPr>
                      </a:pPr>
                      <a:r>
                        <a:t>Mur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D'ALSACE ROSE MURE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32834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D'ALSACE BULLES NOEMI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328340">
                <a:tc>
                  <a:txBody>
                    <a:bodyPr/>
                    <a:lstStyle/>
                    <a:p>
                      <a:pPr algn="ctr">
                        <a:defRPr sz="800">
                          <a:latin typeface="Nexa Book"/>
                        </a:defRPr>
                      </a:pPr>
                      <a:r>
                        <a:t>Mur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1/2 CREMANT D'ALSACE PREST AC 1CT X 375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32834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CREMANT D'ALSACE GISSELB AC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328340">
                <a:tc>
                  <a:txBody>
                    <a:bodyPr/>
                    <a:lstStyle/>
                    <a:p>
                      <a:pPr algn="ctr">
                        <a:defRPr sz="800">
                          <a:latin typeface="Nexa Book"/>
                        </a:defRPr>
                      </a:pPr>
                      <a:r>
                        <a:t>Mur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D'ALSACE PRESTIGE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896</a:t>
            </a:fld>
            <a:endParaRPr lang="en-US"/>
          </a:p>
        </p:txBody>
      </p:sp>
    </p:spTree>
    <p:extLst>
      <p:ext uri="{BB962C8B-B14F-4D97-AF65-F5344CB8AC3E}">
        <p14:creationId xmlns:p14="http://schemas.microsoft.com/office/powerpoint/2010/main" val="2558384418"/>
      </p:ext>
    </p:extLst>
  </p:cSld>
  <p:clrMapOvr>
    <a:masterClrMapping/>
  </p:clrMapOvr>
</p:sld>
</file>

<file path=ppt/slides/slide8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Mousseux Bordelais | NICOLAS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656680">
                <a:tc>
                  <a:txBody>
                    <a:bodyPr/>
                    <a:lstStyle/>
                    <a:p>
                      <a:pPr algn="ctr">
                        <a:defRPr sz="800">
                          <a:latin typeface="Nexa Book"/>
                        </a:defRPr>
                      </a:pPr>
                      <a:r>
                        <a:t>Cru La Maquelin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U LA MAQUELINE CREMANT B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656680">
                <a:tc>
                  <a:txBody>
                    <a:bodyPr/>
                    <a:lstStyle/>
                    <a:p>
                      <a:pPr algn="ctr">
                        <a:defRPr sz="800">
                          <a:latin typeface="Nexa Book"/>
                        </a:defRPr>
                      </a:pPr>
                      <a:r>
                        <a:t>Celen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BORDX CELENE SAPH ROS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8.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656680">
                <a:tc>
                  <a:txBody>
                    <a:bodyPr/>
                    <a:lstStyle/>
                    <a:p>
                      <a:pPr algn="ctr">
                        <a:defRPr sz="800">
                          <a:latin typeface="Nexa Book"/>
                        </a:defRPr>
                      </a:pPr>
                      <a:r>
                        <a:t>Celen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BORDX CELENE OPALE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65668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BORDX VALLON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65668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BDX VALLON BLC NOIR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897</a:t>
            </a:fld>
            <a:endParaRPr lang="en-US"/>
          </a:p>
        </p:txBody>
      </p:sp>
    </p:spTree>
    <p:extLst>
      <p:ext uri="{BB962C8B-B14F-4D97-AF65-F5344CB8AC3E}">
        <p14:creationId xmlns:p14="http://schemas.microsoft.com/office/powerpoint/2010/main" val="3285974618"/>
      </p:ext>
    </p:extLst>
  </p:cSld>
  <p:clrMapOvr>
    <a:masterClrMapping/>
  </p:clrMapOvr>
</p:sld>
</file>

<file path=ppt/slides/slide8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Mousseux Bordelais | NICOLAS QCN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820850">
                <a:tc>
                  <a:txBody>
                    <a:bodyPr/>
                    <a:lstStyle/>
                    <a:p>
                      <a:pPr algn="ctr">
                        <a:defRPr sz="800">
                          <a:latin typeface="Nexa Book"/>
                        </a:defRPr>
                      </a:pPr>
                      <a:r>
                        <a:t>Cru La Maquelin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U LA MAQUELINE CREMANT B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820850">
                <a:tc>
                  <a:txBody>
                    <a:bodyPr/>
                    <a:lstStyle/>
                    <a:p>
                      <a:pPr algn="ctr">
                        <a:defRPr sz="800">
                          <a:latin typeface="Nexa Book"/>
                        </a:defRPr>
                      </a:pPr>
                      <a:r>
                        <a:t>Celen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BORDX CELENE SAPH ROS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820850">
                <a:tc>
                  <a:txBody>
                    <a:bodyPr/>
                    <a:lstStyle/>
                    <a:p>
                      <a:pPr algn="ctr">
                        <a:defRPr sz="800">
                          <a:latin typeface="Nexa Book"/>
                        </a:defRPr>
                      </a:pPr>
                      <a:r>
                        <a:t>Celen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BORDX CELENE OPALE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82085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BORDX VALLON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898</a:t>
            </a:fld>
            <a:endParaRPr lang="en-US"/>
          </a:p>
        </p:txBody>
      </p:sp>
    </p:spTree>
    <p:extLst>
      <p:ext uri="{BB962C8B-B14F-4D97-AF65-F5344CB8AC3E}">
        <p14:creationId xmlns:p14="http://schemas.microsoft.com/office/powerpoint/2010/main" val="1634886044"/>
      </p:ext>
    </p:extLst>
  </p:cSld>
  <p:clrMapOvr>
    <a:masterClrMapping/>
  </p:clrMapOvr>
</p:sld>
</file>

<file path=ppt/slides/slide8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Mousseux Bordelais | NICOLAS VCN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820850">
                <a:tc>
                  <a:txBody>
                    <a:bodyPr/>
                    <a:lstStyle/>
                    <a:p>
                      <a:pPr algn="ctr">
                        <a:defRPr sz="800">
                          <a:latin typeface="Nexa Book"/>
                        </a:defRPr>
                      </a:pPr>
                      <a:r>
                        <a:t>Cru La Maquelin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U LA MAQUELINE CREMANT B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820850">
                <a:tc>
                  <a:txBody>
                    <a:bodyPr/>
                    <a:lstStyle/>
                    <a:p>
                      <a:pPr algn="ctr">
                        <a:defRPr sz="800">
                          <a:latin typeface="Nexa Book"/>
                        </a:defRPr>
                      </a:pPr>
                      <a:r>
                        <a:t>Celen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BORDX CELENE OPALE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820850">
                <a:tc>
                  <a:txBody>
                    <a:bodyPr/>
                    <a:lstStyle/>
                    <a:p>
                      <a:pPr algn="ctr">
                        <a:defRPr sz="800">
                          <a:latin typeface="Nexa Book"/>
                        </a:defRPr>
                      </a:pPr>
                      <a:r>
                        <a:t>Celen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BORDX CELENE SAPH ROS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82085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BORDX VALLON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899</a:t>
            </a:fld>
            <a:endParaRPr lang="en-US"/>
          </a:p>
        </p:txBody>
      </p:sp>
    </p:spTree>
    <p:extLst>
      <p:ext uri="{BB962C8B-B14F-4D97-AF65-F5344CB8AC3E}">
        <p14:creationId xmlns:p14="http://schemas.microsoft.com/office/powerpoint/2010/main" val="4408997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Effervescents | NICOLAS RHO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9</a:t>
            </a:fld>
            <a:endParaRPr lang="en-US"/>
          </a:p>
        </p:txBody>
      </p:sp>
    </p:spTree>
    <p:extLst>
      <p:ext uri="{BB962C8B-B14F-4D97-AF65-F5344CB8AC3E}">
        <p14:creationId xmlns:p14="http://schemas.microsoft.com/office/powerpoint/2010/main" val="4051191552"/>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Bruts | NICOLAS AQU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90</a:t>
            </a:fld>
            <a:endParaRPr lang="en-US"/>
          </a:p>
        </p:txBody>
      </p:sp>
    </p:spTree>
    <p:extLst>
      <p:ext uri="{BB962C8B-B14F-4D97-AF65-F5344CB8AC3E}">
        <p14:creationId xmlns:p14="http://schemas.microsoft.com/office/powerpoint/2010/main" val="2716739884"/>
      </p:ext>
    </p:extLst>
  </p:cSld>
  <p:clrMapOvr>
    <a:masterClrMapping/>
  </p:clrMapOvr>
</p:sld>
</file>

<file path=ppt/slides/slide9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Mousseux Bordelais | NICOLAS QCT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4"/>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094466">
                <a:tc>
                  <a:txBody>
                    <a:bodyPr/>
                    <a:lstStyle/>
                    <a:p>
                      <a:pPr algn="ctr">
                        <a:defRPr sz="800">
                          <a:latin typeface="Nexa Book"/>
                        </a:defRPr>
                      </a:pPr>
                      <a:r>
                        <a:t>Cru La Maquelin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U LA MAQUELINE CREMANT B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6.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094466">
                <a:tc>
                  <a:txBody>
                    <a:bodyPr/>
                    <a:lstStyle/>
                    <a:p>
                      <a:pPr algn="ctr">
                        <a:defRPr sz="800">
                          <a:latin typeface="Nexa Book"/>
                        </a:defRPr>
                      </a:pPr>
                      <a:r>
                        <a:t>Celen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BORDX CELENE SAPH ROS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094466">
                <a:tc>
                  <a:txBody>
                    <a:bodyPr/>
                    <a:lstStyle/>
                    <a:p>
                      <a:pPr algn="ctr">
                        <a:defRPr sz="800">
                          <a:latin typeface="Nexa Book"/>
                        </a:defRPr>
                      </a:pPr>
                      <a:r>
                        <a:t>Celen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BORDX CELENE OPALE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900</a:t>
            </a:fld>
            <a:endParaRPr lang="en-US"/>
          </a:p>
        </p:txBody>
      </p:sp>
    </p:spTree>
    <p:extLst>
      <p:ext uri="{BB962C8B-B14F-4D97-AF65-F5344CB8AC3E}">
        <p14:creationId xmlns:p14="http://schemas.microsoft.com/office/powerpoint/2010/main" val="693921305"/>
      </p:ext>
    </p:extLst>
  </p:cSld>
  <p:clrMapOvr>
    <a:masterClrMapping/>
  </p:clrMapOvr>
</p:sld>
</file>

<file path=ppt/slides/slide9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Mousseux Bordelais | NICOLAS QCA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4"/>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094466">
                <a:tc>
                  <a:txBody>
                    <a:bodyPr/>
                    <a:lstStyle/>
                    <a:p>
                      <a:pPr algn="ctr">
                        <a:defRPr sz="800">
                          <a:latin typeface="Nexa Book"/>
                        </a:defRPr>
                      </a:pPr>
                      <a:r>
                        <a:t>Cru La Maquelin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U LA MAQUELINE CREMANT B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5.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094466">
                <a:tc>
                  <a:txBody>
                    <a:bodyPr/>
                    <a:lstStyle/>
                    <a:p>
                      <a:pPr algn="ctr">
                        <a:defRPr sz="800">
                          <a:latin typeface="Nexa Book"/>
                        </a:defRPr>
                      </a:pPr>
                      <a:r>
                        <a:t>Celen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BORDX CELENE SAPH ROS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094466">
                <a:tc>
                  <a:txBody>
                    <a:bodyPr/>
                    <a:lstStyle/>
                    <a:p>
                      <a:pPr algn="ctr">
                        <a:defRPr sz="800">
                          <a:latin typeface="Nexa Book"/>
                        </a:defRPr>
                      </a:pPr>
                      <a:r>
                        <a:t>Celen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BORDX CELENE OPALE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901</a:t>
            </a:fld>
            <a:endParaRPr lang="en-US"/>
          </a:p>
        </p:txBody>
      </p:sp>
    </p:spTree>
    <p:extLst>
      <p:ext uri="{BB962C8B-B14F-4D97-AF65-F5344CB8AC3E}">
        <p14:creationId xmlns:p14="http://schemas.microsoft.com/office/powerpoint/2010/main" val="3882723146"/>
      </p:ext>
    </p:extLst>
  </p:cSld>
  <p:clrMapOvr>
    <a:masterClrMapping/>
  </p:clrMapOvr>
</p:sld>
</file>

<file path=ppt/slides/slide9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Mousseux Bordelais | NICOLAS CCP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4"/>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094466">
                <a:tc>
                  <a:txBody>
                    <a:bodyPr/>
                    <a:lstStyle/>
                    <a:p>
                      <a:pPr algn="ctr">
                        <a:defRPr sz="800">
                          <a:latin typeface="Nexa Book"/>
                        </a:defRPr>
                      </a:pPr>
                      <a:r>
                        <a:t>Cru La Maquelin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U LA MAQUELINE CREMANT B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094466">
                <a:tc>
                  <a:txBody>
                    <a:bodyPr/>
                    <a:lstStyle/>
                    <a:p>
                      <a:pPr algn="ctr">
                        <a:defRPr sz="800">
                          <a:latin typeface="Nexa Book"/>
                        </a:defRPr>
                      </a:pPr>
                      <a:r>
                        <a:t>Celen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BORDX CELENE SAPH ROS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094466">
                <a:tc>
                  <a:txBody>
                    <a:bodyPr/>
                    <a:lstStyle/>
                    <a:p>
                      <a:pPr algn="ctr">
                        <a:defRPr sz="800">
                          <a:latin typeface="Nexa Book"/>
                        </a:defRPr>
                      </a:pPr>
                      <a:r>
                        <a:t>Celen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BORDX CELENE OPALE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902</a:t>
            </a:fld>
            <a:endParaRPr lang="en-US"/>
          </a:p>
        </p:txBody>
      </p:sp>
    </p:spTree>
    <p:extLst>
      <p:ext uri="{BB962C8B-B14F-4D97-AF65-F5344CB8AC3E}">
        <p14:creationId xmlns:p14="http://schemas.microsoft.com/office/powerpoint/2010/main" val="2999778908"/>
      </p:ext>
    </p:extLst>
  </p:cSld>
  <p:clrMapOvr>
    <a:masterClrMapping/>
  </p:clrMapOvr>
</p:sld>
</file>

<file path=ppt/slides/slide9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Mousseux Bordelais | NICOLAS IDF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4"/>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094466">
                <a:tc>
                  <a:txBody>
                    <a:bodyPr/>
                    <a:lstStyle/>
                    <a:p>
                      <a:pPr algn="ctr">
                        <a:defRPr sz="800">
                          <a:latin typeface="Nexa Book"/>
                        </a:defRPr>
                      </a:pPr>
                      <a:r>
                        <a:t>Cru La Maquelin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U LA MAQUELINE CREMANT B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094466">
                <a:tc>
                  <a:txBody>
                    <a:bodyPr/>
                    <a:lstStyle/>
                    <a:p>
                      <a:pPr algn="ctr">
                        <a:defRPr sz="800">
                          <a:latin typeface="Nexa Book"/>
                        </a:defRPr>
                      </a:pPr>
                      <a:r>
                        <a:t>Celen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BORDX CELENE SAPH ROS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094466">
                <a:tc>
                  <a:txBody>
                    <a:bodyPr/>
                    <a:lstStyle/>
                    <a:p>
                      <a:pPr algn="ctr">
                        <a:defRPr sz="800">
                          <a:latin typeface="Nexa Book"/>
                        </a:defRPr>
                      </a:pPr>
                      <a:r>
                        <a:t>Celen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BORDX CELENE OPALE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903</a:t>
            </a:fld>
            <a:endParaRPr lang="en-US"/>
          </a:p>
        </p:txBody>
      </p:sp>
    </p:spTree>
    <p:extLst>
      <p:ext uri="{BB962C8B-B14F-4D97-AF65-F5344CB8AC3E}">
        <p14:creationId xmlns:p14="http://schemas.microsoft.com/office/powerpoint/2010/main" val="1499038015"/>
      </p:ext>
    </p:extLst>
  </p:cSld>
  <p:clrMapOvr>
    <a:masterClrMapping/>
  </p:clrMapOvr>
</p:sld>
</file>

<file path=ppt/slides/slide9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Mousseux Bordelais | NICOLAS PAC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4"/>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094466">
                <a:tc>
                  <a:txBody>
                    <a:bodyPr/>
                    <a:lstStyle/>
                    <a:p>
                      <a:pPr algn="ctr">
                        <a:defRPr sz="800">
                          <a:latin typeface="Nexa Book"/>
                        </a:defRPr>
                      </a:pPr>
                      <a:r>
                        <a:t>Cru La Maquelin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U LA MAQUELINE CREMANT B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094466">
                <a:tc>
                  <a:txBody>
                    <a:bodyPr/>
                    <a:lstStyle/>
                    <a:p>
                      <a:pPr algn="ctr">
                        <a:defRPr sz="800">
                          <a:latin typeface="Nexa Book"/>
                        </a:defRPr>
                      </a:pPr>
                      <a:r>
                        <a:t>Celen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BORDX CELENE OPALE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094466">
                <a:tc>
                  <a:txBody>
                    <a:bodyPr/>
                    <a:lstStyle/>
                    <a:p>
                      <a:pPr algn="ctr">
                        <a:defRPr sz="800">
                          <a:latin typeface="Nexa Book"/>
                        </a:defRPr>
                      </a:pPr>
                      <a:r>
                        <a:t>Celen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BORDX CELENE SAPH ROS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904</a:t>
            </a:fld>
            <a:endParaRPr lang="en-US"/>
          </a:p>
        </p:txBody>
      </p:sp>
    </p:spTree>
    <p:extLst>
      <p:ext uri="{BB962C8B-B14F-4D97-AF65-F5344CB8AC3E}">
        <p14:creationId xmlns:p14="http://schemas.microsoft.com/office/powerpoint/2010/main" val="1069300593"/>
      </p:ext>
    </p:extLst>
  </p:cSld>
  <p:clrMapOvr>
    <a:masterClrMapping/>
  </p:clrMapOvr>
</p:sld>
</file>

<file path=ppt/slides/slide9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Mousseux Bordelais | NICOLAS RHO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4"/>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094466">
                <a:tc>
                  <a:txBody>
                    <a:bodyPr/>
                    <a:lstStyle/>
                    <a:p>
                      <a:pPr algn="ctr">
                        <a:defRPr sz="800">
                          <a:latin typeface="Nexa Book"/>
                        </a:defRPr>
                      </a:pPr>
                      <a:r>
                        <a:t>Cru La Maquelin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U LA MAQUELINE CREMANT B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094466">
                <a:tc>
                  <a:txBody>
                    <a:bodyPr/>
                    <a:lstStyle/>
                    <a:p>
                      <a:pPr algn="ctr">
                        <a:defRPr sz="800">
                          <a:latin typeface="Nexa Book"/>
                        </a:defRPr>
                      </a:pPr>
                      <a:r>
                        <a:t>Celen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BORDX CELENE OPALE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094466">
                <a:tc>
                  <a:txBody>
                    <a:bodyPr/>
                    <a:lstStyle/>
                    <a:p>
                      <a:pPr algn="ctr">
                        <a:defRPr sz="800">
                          <a:latin typeface="Nexa Book"/>
                        </a:defRPr>
                      </a:pPr>
                      <a:r>
                        <a:t>Celen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BORDX CELENE SAPH ROS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905</a:t>
            </a:fld>
            <a:endParaRPr lang="en-US"/>
          </a:p>
        </p:txBody>
      </p:sp>
    </p:spTree>
    <p:extLst>
      <p:ext uri="{BB962C8B-B14F-4D97-AF65-F5344CB8AC3E}">
        <p14:creationId xmlns:p14="http://schemas.microsoft.com/office/powerpoint/2010/main" val="2221887877"/>
      </p:ext>
    </p:extLst>
  </p:cSld>
  <p:clrMapOvr>
    <a:masterClrMapping/>
  </p:clrMapOvr>
</p:sld>
</file>

<file path=ppt/slides/slide9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Mousseux Bordelais | NICOLAS AQU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656680">
                <a:tc>
                  <a:txBody>
                    <a:bodyPr/>
                    <a:lstStyle/>
                    <a:p>
                      <a:pPr algn="ctr">
                        <a:defRPr sz="800">
                          <a:latin typeface="Nexa Book"/>
                        </a:defRPr>
                      </a:pPr>
                      <a:r>
                        <a:t>Cru La Maquelin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U LA MAQUELINE CREMANT B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5.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65668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BORDX VALLON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65668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BDX VALLON BLC NOIR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656680">
                <a:tc>
                  <a:txBody>
                    <a:bodyPr/>
                    <a:lstStyle/>
                    <a:p>
                      <a:pPr algn="ctr">
                        <a:defRPr sz="800">
                          <a:latin typeface="Nexa Book"/>
                        </a:defRPr>
                      </a:pPr>
                      <a:r>
                        <a:t>Celen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BORDX CELENE OPALE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656680">
                <a:tc>
                  <a:txBody>
                    <a:bodyPr/>
                    <a:lstStyle/>
                    <a:p>
                      <a:pPr algn="ctr">
                        <a:defRPr sz="800">
                          <a:latin typeface="Nexa Book"/>
                        </a:defRPr>
                      </a:pPr>
                      <a:r>
                        <a:t>Celen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BORDX CELENE SAPH ROS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906</a:t>
            </a:fld>
            <a:endParaRPr lang="en-US"/>
          </a:p>
        </p:txBody>
      </p:sp>
    </p:spTree>
    <p:extLst>
      <p:ext uri="{BB962C8B-B14F-4D97-AF65-F5344CB8AC3E}">
        <p14:creationId xmlns:p14="http://schemas.microsoft.com/office/powerpoint/2010/main" val="3015432948"/>
      </p:ext>
    </p:extLst>
  </p:cSld>
  <p:clrMapOvr>
    <a:masterClrMapping/>
  </p:clrMapOvr>
</p:sld>
</file>

<file path=ppt/slides/slide9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Mousseux Bordelais | NICOLAS EST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4"/>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094466">
                <a:tc>
                  <a:txBody>
                    <a:bodyPr/>
                    <a:lstStyle/>
                    <a:p>
                      <a:pPr algn="ctr">
                        <a:defRPr sz="800">
                          <a:latin typeface="Nexa Book"/>
                        </a:defRPr>
                      </a:pPr>
                      <a:r>
                        <a:t>Cru La Maquelin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U LA MAQUELINE CREMANT B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7.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094466">
                <a:tc>
                  <a:txBody>
                    <a:bodyPr/>
                    <a:lstStyle/>
                    <a:p>
                      <a:pPr algn="ctr">
                        <a:defRPr sz="800">
                          <a:latin typeface="Nexa Book"/>
                        </a:defRPr>
                      </a:pPr>
                      <a:r>
                        <a:t>Celen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BORDX CELENE SAPH ROS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094466">
                <a:tc>
                  <a:txBody>
                    <a:bodyPr/>
                    <a:lstStyle/>
                    <a:p>
                      <a:pPr algn="ctr">
                        <a:defRPr sz="800">
                          <a:latin typeface="Nexa Book"/>
                        </a:defRPr>
                      </a:pPr>
                      <a:r>
                        <a:t>Celen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BORDX CELENE OPALE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907</a:t>
            </a:fld>
            <a:endParaRPr lang="en-US"/>
          </a:p>
        </p:txBody>
      </p:sp>
    </p:spTree>
    <p:extLst>
      <p:ext uri="{BB962C8B-B14F-4D97-AF65-F5344CB8AC3E}">
        <p14:creationId xmlns:p14="http://schemas.microsoft.com/office/powerpoint/2010/main" val="551611019"/>
      </p:ext>
    </p:extLst>
  </p:cSld>
  <p:clrMapOvr>
    <a:masterClrMapping/>
  </p:clrMapOvr>
</p:sld>
</file>

<file path=ppt/slides/slide9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Mousseux Bordelais | CA A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4"/>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094466">
                <a:tc>
                  <a:txBody>
                    <a:bodyPr/>
                    <a:lstStyle/>
                    <a:p>
                      <a:pPr algn="ctr">
                        <a:defRPr sz="800">
                          <a:latin typeface="Nexa Book"/>
                        </a:defRPr>
                      </a:pPr>
                      <a:r>
                        <a:t>Cru La Maquelin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U LA MAQUELINE CREMANT B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094466">
                <a:tc>
                  <a:txBody>
                    <a:bodyPr/>
                    <a:lstStyle/>
                    <a:p>
                      <a:pPr algn="ctr">
                        <a:defRPr sz="800">
                          <a:latin typeface="Nexa Book"/>
                        </a:defRPr>
                      </a:pPr>
                      <a:r>
                        <a:t>Celen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BORDX CELENE SAPH ROS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094466">
                <a:tc>
                  <a:txBody>
                    <a:bodyPr/>
                    <a:lstStyle/>
                    <a:p>
                      <a:pPr algn="ctr">
                        <a:defRPr sz="800">
                          <a:latin typeface="Nexa Book"/>
                        </a:defRPr>
                      </a:pPr>
                      <a:r>
                        <a:t>Celen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BORDX CELENE OPALE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908</a:t>
            </a:fld>
            <a:endParaRPr lang="en-US"/>
          </a:p>
        </p:txBody>
      </p:sp>
    </p:spTree>
    <p:extLst>
      <p:ext uri="{BB962C8B-B14F-4D97-AF65-F5344CB8AC3E}">
        <p14:creationId xmlns:p14="http://schemas.microsoft.com/office/powerpoint/2010/main" val="4118575977"/>
      </p:ext>
    </p:extLst>
  </p:cSld>
  <p:clrMapOvr>
    <a:masterClrMapping/>
  </p:clrMapOvr>
</p:sld>
</file>

<file path=ppt/slides/slide9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Mousseux Bordelais | CA B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4"/>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094466">
                <a:tc>
                  <a:txBody>
                    <a:bodyPr/>
                    <a:lstStyle/>
                    <a:p>
                      <a:pPr algn="ctr">
                        <a:defRPr sz="800">
                          <a:latin typeface="Nexa Book"/>
                        </a:defRPr>
                      </a:pPr>
                      <a:r>
                        <a:t>Cru La Maquelin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U LA MAQUELINE CREMANT B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094466">
                <a:tc>
                  <a:txBody>
                    <a:bodyPr/>
                    <a:lstStyle/>
                    <a:p>
                      <a:pPr algn="ctr">
                        <a:defRPr sz="800">
                          <a:latin typeface="Nexa Book"/>
                        </a:defRPr>
                      </a:pPr>
                      <a:r>
                        <a:t>Celen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BORDX CELENE SAPH ROS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094466">
                <a:tc>
                  <a:txBody>
                    <a:bodyPr/>
                    <a:lstStyle/>
                    <a:p>
                      <a:pPr algn="ctr">
                        <a:defRPr sz="800">
                          <a:latin typeface="Nexa Book"/>
                        </a:defRPr>
                      </a:pPr>
                      <a:r>
                        <a:t>Celen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BORDX CELENE OPALE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909</a:t>
            </a:fld>
            <a:endParaRPr lang="en-US"/>
          </a:p>
        </p:txBody>
      </p:sp>
    </p:spTree>
    <p:extLst>
      <p:ext uri="{BB962C8B-B14F-4D97-AF65-F5344CB8AC3E}">
        <p14:creationId xmlns:p14="http://schemas.microsoft.com/office/powerpoint/2010/main" val="1417293650"/>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Bruts | NICOLAS EST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91</a:t>
            </a:fld>
            <a:endParaRPr lang="en-US"/>
          </a:p>
        </p:txBody>
      </p:sp>
    </p:spTree>
    <p:extLst>
      <p:ext uri="{BB962C8B-B14F-4D97-AF65-F5344CB8AC3E}">
        <p14:creationId xmlns:p14="http://schemas.microsoft.com/office/powerpoint/2010/main" val="2660151634"/>
      </p:ext>
    </p:extLst>
  </p:cSld>
  <p:clrMapOvr>
    <a:masterClrMapping/>
  </p:clrMapOvr>
</p:sld>
</file>

<file path=ppt/slides/slide9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Mousseux Bordelais | CA C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656680">
                <a:tc>
                  <a:txBody>
                    <a:bodyPr/>
                    <a:lstStyle/>
                    <a:p>
                      <a:pPr algn="ctr">
                        <a:defRPr sz="800">
                          <a:latin typeface="Nexa Book"/>
                        </a:defRPr>
                      </a:pPr>
                      <a:r>
                        <a:t>Cru La Maquelin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U LA MAQUELINE CREMANT B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3.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65668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BORDX VALLON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65668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BDX VALLON BLC NOIR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656680">
                <a:tc>
                  <a:txBody>
                    <a:bodyPr/>
                    <a:lstStyle/>
                    <a:p>
                      <a:pPr algn="ctr">
                        <a:defRPr sz="800">
                          <a:latin typeface="Nexa Book"/>
                        </a:defRPr>
                      </a:pPr>
                      <a:r>
                        <a:t>Celen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BORDX CELENE SAPH ROS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656680">
                <a:tc>
                  <a:txBody>
                    <a:bodyPr/>
                    <a:lstStyle/>
                    <a:p>
                      <a:pPr algn="ctr">
                        <a:defRPr sz="800">
                          <a:latin typeface="Nexa Book"/>
                        </a:defRPr>
                      </a:pPr>
                      <a:r>
                        <a:t>Celen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BORDX CELENE OPALE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910</a:t>
            </a:fld>
            <a:endParaRPr lang="en-US"/>
          </a:p>
        </p:txBody>
      </p:sp>
    </p:spTree>
    <p:extLst>
      <p:ext uri="{BB962C8B-B14F-4D97-AF65-F5344CB8AC3E}">
        <p14:creationId xmlns:p14="http://schemas.microsoft.com/office/powerpoint/2010/main" val="847615064"/>
      </p:ext>
    </p:extLst>
  </p:cSld>
  <p:clrMapOvr>
    <a:masterClrMapping/>
  </p:clrMapOvr>
</p:sld>
</file>

<file path=ppt/slides/slide9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Mousseux Bordelais | CA D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4"/>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094466">
                <a:tc>
                  <a:txBody>
                    <a:bodyPr/>
                    <a:lstStyle/>
                    <a:p>
                      <a:pPr algn="ctr">
                        <a:defRPr sz="800">
                          <a:latin typeface="Nexa Book"/>
                        </a:defRPr>
                      </a:pPr>
                      <a:r>
                        <a:t>Cru La Maquelin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U LA MAQUELINE CREMANT B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094466">
                <a:tc>
                  <a:txBody>
                    <a:bodyPr/>
                    <a:lstStyle/>
                    <a:p>
                      <a:pPr algn="ctr">
                        <a:defRPr sz="800">
                          <a:latin typeface="Nexa Book"/>
                        </a:defRPr>
                      </a:pPr>
                      <a:r>
                        <a:t>Celen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BORDX CELENE SAPH ROS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094466">
                <a:tc>
                  <a:txBody>
                    <a:bodyPr/>
                    <a:lstStyle/>
                    <a:p>
                      <a:pPr algn="ctr">
                        <a:defRPr sz="800">
                          <a:latin typeface="Nexa Book"/>
                        </a:defRPr>
                      </a:pPr>
                      <a:r>
                        <a:t>Celen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BORDX CELENE OPALE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911</a:t>
            </a:fld>
            <a:endParaRPr lang="en-US"/>
          </a:p>
        </p:txBody>
      </p:sp>
    </p:spTree>
    <p:extLst>
      <p:ext uri="{BB962C8B-B14F-4D97-AF65-F5344CB8AC3E}">
        <p14:creationId xmlns:p14="http://schemas.microsoft.com/office/powerpoint/2010/main" val="3818047779"/>
      </p:ext>
    </p:extLst>
  </p:cSld>
  <p:clrMapOvr>
    <a:masterClrMapping/>
  </p:clrMapOvr>
</p:sld>
</file>

<file path=ppt/slides/slide9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Mousseux Bordelais | CA E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656680">
                <a:tc>
                  <a:txBody>
                    <a:bodyPr/>
                    <a:lstStyle/>
                    <a:p>
                      <a:pPr algn="ctr">
                        <a:defRPr sz="800">
                          <a:latin typeface="Nexa Book"/>
                        </a:defRPr>
                      </a:pPr>
                      <a:r>
                        <a:t>Cru La Maquelin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U LA MAQUELINE CREMANT B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656680">
                <a:tc>
                  <a:txBody>
                    <a:bodyPr/>
                    <a:lstStyle/>
                    <a:p>
                      <a:pPr algn="ctr">
                        <a:defRPr sz="800">
                          <a:latin typeface="Nexa Book"/>
                        </a:defRPr>
                      </a:pPr>
                      <a:r>
                        <a:t>Celen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BORDX CELENE OPALE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656680">
                <a:tc>
                  <a:txBody>
                    <a:bodyPr/>
                    <a:lstStyle/>
                    <a:p>
                      <a:pPr algn="ctr">
                        <a:defRPr sz="800">
                          <a:latin typeface="Nexa Book"/>
                        </a:defRPr>
                      </a:pPr>
                      <a:r>
                        <a:t>Celen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BORDX CELENE SAPH ROS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65668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BORDX VALLON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65668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BDX VALLON BLC NOIR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912</a:t>
            </a:fld>
            <a:endParaRPr lang="en-US"/>
          </a:p>
        </p:txBody>
      </p:sp>
    </p:spTree>
    <p:extLst>
      <p:ext uri="{BB962C8B-B14F-4D97-AF65-F5344CB8AC3E}">
        <p14:creationId xmlns:p14="http://schemas.microsoft.com/office/powerpoint/2010/main" val="752767641"/>
      </p:ext>
    </p:extLst>
  </p:cSld>
  <p:clrMapOvr>
    <a:masterClrMapping/>
  </p:clrMapOvr>
</p:sld>
</file>

<file path=ppt/slides/slide9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8/27/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lnSpcReduction="10000"/>
          </a:bodyPr>
          <a:lstStyle/>
          <a:p>
            <a:pPr>
              <a:defRPr sz="1100">
                <a:latin typeface="Nexa (Headings)"/>
              </a:defRPr>
            </a:pPr>
            <a:r>
              <a:t>Product Sales Rate, Trade Margin % and Net Sales | Effervescents | Nicolas | NICOLAS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2702273344"/>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913</a:t>
            </a:fld>
            <a:endParaRPr lang="en-US"/>
          </a:p>
        </p:txBody>
      </p:sp>
    </p:spTree>
    <p:extLst>
      <p:ext uri="{BB962C8B-B14F-4D97-AF65-F5344CB8AC3E}">
        <p14:creationId xmlns:p14="http://schemas.microsoft.com/office/powerpoint/2010/main" val="2242280019"/>
      </p:ext>
    </p:extLst>
  </p:cSld>
  <p:clrMapOvr>
    <a:masterClrMapping/>
  </p:clrMapOvr>
</p:sld>
</file>

<file path=ppt/slides/slide9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8/27/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lnSpcReduction="10000"/>
          </a:bodyPr>
          <a:lstStyle/>
          <a:p>
            <a:pPr>
              <a:defRPr sz="1100">
                <a:latin typeface="Nexa (Headings)"/>
              </a:defRPr>
            </a:pPr>
            <a:r>
              <a:t>Product Sales Rate, Trade Margin % and Net Sales | Effervescents | Nicolas | NICOLAS QCN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349761613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914</a:t>
            </a:fld>
            <a:endParaRPr lang="en-US"/>
          </a:p>
        </p:txBody>
      </p:sp>
    </p:spTree>
    <p:extLst>
      <p:ext uri="{BB962C8B-B14F-4D97-AF65-F5344CB8AC3E}">
        <p14:creationId xmlns:p14="http://schemas.microsoft.com/office/powerpoint/2010/main" val="651017438"/>
      </p:ext>
    </p:extLst>
  </p:cSld>
  <p:clrMapOvr>
    <a:masterClrMapping/>
  </p:clrMapOvr>
</p:sld>
</file>

<file path=ppt/slides/slide9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8/27/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lnSpcReduction="10000"/>
          </a:bodyPr>
          <a:lstStyle/>
          <a:p>
            <a:pPr>
              <a:defRPr sz="1100">
                <a:latin typeface="Nexa (Headings)"/>
              </a:defRPr>
            </a:pPr>
            <a:r>
              <a:t>Product Sales Rate, Trade Margin % and Net Sales | Effervescents | Nicolas | NICOLAS VCN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2152937688"/>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915</a:t>
            </a:fld>
            <a:endParaRPr lang="en-US"/>
          </a:p>
        </p:txBody>
      </p:sp>
    </p:spTree>
    <p:extLst>
      <p:ext uri="{BB962C8B-B14F-4D97-AF65-F5344CB8AC3E}">
        <p14:creationId xmlns:p14="http://schemas.microsoft.com/office/powerpoint/2010/main" val="802660790"/>
      </p:ext>
    </p:extLst>
  </p:cSld>
  <p:clrMapOvr>
    <a:masterClrMapping/>
  </p:clrMapOvr>
</p:sld>
</file>

<file path=ppt/slides/slide9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8/27/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lnSpcReduction="10000"/>
          </a:bodyPr>
          <a:lstStyle/>
          <a:p>
            <a:pPr>
              <a:defRPr sz="1100">
                <a:latin typeface="Nexa (Headings)"/>
              </a:defRPr>
            </a:pPr>
            <a:r>
              <a:t>Product Sales Rate, Trade Margin % and Net Sales | Effervescents | Nicolas | NICOLAS QCT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37913659"/>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916</a:t>
            </a:fld>
            <a:endParaRPr lang="en-US"/>
          </a:p>
        </p:txBody>
      </p:sp>
    </p:spTree>
    <p:extLst>
      <p:ext uri="{BB962C8B-B14F-4D97-AF65-F5344CB8AC3E}">
        <p14:creationId xmlns:p14="http://schemas.microsoft.com/office/powerpoint/2010/main" val="3490432992"/>
      </p:ext>
    </p:extLst>
  </p:cSld>
  <p:clrMapOvr>
    <a:masterClrMapping/>
  </p:clrMapOvr>
</p:sld>
</file>

<file path=ppt/slides/slide9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8/27/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lnSpcReduction="10000"/>
          </a:bodyPr>
          <a:lstStyle/>
          <a:p>
            <a:pPr>
              <a:defRPr sz="1100">
                <a:latin typeface="Nexa (Headings)"/>
              </a:defRPr>
            </a:pPr>
            <a:r>
              <a:t>Product Sales Rate, Trade Margin % and Net Sales | Effervescents | Nicolas | NICOLAS QCA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263800771"/>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917</a:t>
            </a:fld>
            <a:endParaRPr lang="en-US"/>
          </a:p>
        </p:txBody>
      </p:sp>
    </p:spTree>
    <p:extLst>
      <p:ext uri="{BB962C8B-B14F-4D97-AF65-F5344CB8AC3E}">
        <p14:creationId xmlns:p14="http://schemas.microsoft.com/office/powerpoint/2010/main" val="3075755742"/>
      </p:ext>
    </p:extLst>
  </p:cSld>
  <p:clrMapOvr>
    <a:masterClrMapping/>
  </p:clrMapOvr>
</p:sld>
</file>

<file path=ppt/slides/slide9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8/27/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lnSpcReduction="10000"/>
          </a:bodyPr>
          <a:lstStyle/>
          <a:p>
            <a:pPr>
              <a:defRPr sz="1100">
                <a:latin typeface="Nexa (Headings)"/>
              </a:defRPr>
            </a:pPr>
            <a:r>
              <a:t>Product Sales Rate, Trade Margin % and Net Sales | Effervescents | Nicolas | NICOLAS CCP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345308457"/>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918</a:t>
            </a:fld>
            <a:endParaRPr lang="en-US"/>
          </a:p>
        </p:txBody>
      </p:sp>
    </p:spTree>
    <p:extLst>
      <p:ext uri="{BB962C8B-B14F-4D97-AF65-F5344CB8AC3E}">
        <p14:creationId xmlns:p14="http://schemas.microsoft.com/office/powerpoint/2010/main" val="3816038550"/>
      </p:ext>
    </p:extLst>
  </p:cSld>
  <p:clrMapOvr>
    <a:masterClrMapping/>
  </p:clrMapOvr>
</p:sld>
</file>

<file path=ppt/slides/slide9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8/27/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lnSpcReduction="10000"/>
          </a:bodyPr>
          <a:lstStyle/>
          <a:p>
            <a:pPr>
              <a:defRPr sz="1100">
                <a:latin typeface="Nexa (Headings)"/>
              </a:defRPr>
            </a:pPr>
            <a:r>
              <a:t>Product Sales Rate, Trade Margin % and Net Sales | Effervescents | Nicolas | NICOLAS IDF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55737449"/>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919</a:t>
            </a:fld>
            <a:endParaRPr lang="en-US"/>
          </a:p>
        </p:txBody>
      </p:sp>
    </p:spTree>
    <p:extLst>
      <p:ext uri="{BB962C8B-B14F-4D97-AF65-F5344CB8AC3E}">
        <p14:creationId xmlns:p14="http://schemas.microsoft.com/office/powerpoint/2010/main" val="1839570078"/>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Bruts | CA A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92</a:t>
            </a:fld>
            <a:endParaRPr lang="en-US"/>
          </a:p>
        </p:txBody>
      </p:sp>
    </p:spTree>
    <p:extLst>
      <p:ext uri="{BB962C8B-B14F-4D97-AF65-F5344CB8AC3E}">
        <p14:creationId xmlns:p14="http://schemas.microsoft.com/office/powerpoint/2010/main" val="52738107"/>
      </p:ext>
    </p:extLst>
  </p:cSld>
  <p:clrMapOvr>
    <a:masterClrMapping/>
  </p:clrMapOvr>
</p:sld>
</file>

<file path=ppt/slides/slide9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8/27/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lnSpcReduction="10000"/>
          </a:bodyPr>
          <a:lstStyle/>
          <a:p>
            <a:pPr>
              <a:defRPr sz="1100">
                <a:latin typeface="Nexa (Headings)"/>
              </a:defRPr>
            </a:pPr>
            <a:r>
              <a:t>Product Sales Rate, Trade Margin % and Net Sales | Effervescents | Nicolas | NICOLAS PAC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2753345440"/>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920</a:t>
            </a:fld>
            <a:endParaRPr lang="en-US"/>
          </a:p>
        </p:txBody>
      </p:sp>
    </p:spTree>
    <p:extLst>
      <p:ext uri="{BB962C8B-B14F-4D97-AF65-F5344CB8AC3E}">
        <p14:creationId xmlns:p14="http://schemas.microsoft.com/office/powerpoint/2010/main" val="56870173"/>
      </p:ext>
    </p:extLst>
  </p:cSld>
  <p:clrMapOvr>
    <a:masterClrMapping/>
  </p:clrMapOvr>
</p:sld>
</file>

<file path=ppt/slides/slide9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8/27/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lnSpcReduction="10000"/>
          </a:bodyPr>
          <a:lstStyle/>
          <a:p>
            <a:pPr>
              <a:defRPr sz="1100">
                <a:latin typeface="Nexa (Headings)"/>
              </a:defRPr>
            </a:pPr>
            <a:r>
              <a:t>Product Sales Rate, Trade Margin % and Net Sales | Effervescents | Nicolas | NICOLAS RHO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2200129475"/>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921</a:t>
            </a:fld>
            <a:endParaRPr lang="en-US"/>
          </a:p>
        </p:txBody>
      </p:sp>
    </p:spTree>
    <p:extLst>
      <p:ext uri="{BB962C8B-B14F-4D97-AF65-F5344CB8AC3E}">
        <p14:creationId xmlns:p14="http://schemas.microsoft.com/office/powerpoint/2010/main" val="1924164694"/>
      </p:ext>
    </p:extLst>
  </p:cSld>
  <p:clrMapOvr>
    <a:masterClrMapping/>
  </p:clrMapOvr>
</p:sld>
</file>

<file path=ppt/slides/slide9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8/27/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lnSpcReduction="10000"/>
          </a:bodyPr>
          <a:lstStyle/>
          <a:p>
            <a:pPr>
              <a:defRPr sz="1100">
                <a:latin typeface="Nexa (Headings)"/>
              </a:defRPr>
            </a:pPr>
            <a:r>
              <a:t>Product Sales Rate, Trade Margin % and Net Sales | Effervescents | Nicolas | NICOLAS AQU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2811383191"/>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922</a:t>
            </a:fld>
            <a:endParaRPr lang="en-US"/>
          </a:p>
        </p:txBody>
      </p:sp>
    </p:spTree>
    <p:extLst>
      <p:ext uri="{BB962C8B-B14F-4D97-AF65-F5344CB8AC3E}">
        <p14:creationId xmlns:p14="http://schemas.microsoft.com/office/powerpoint/2010/main" val="4079634523"/>
      </p:ext>
    </p:extLst>
  </p:cSld>
  <p:clrMapOvr>
    <a:masterClrMapping/>
  </p:clrMapOvr>
</p:sld>
</file>

<file path=ppt/slides/slide9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8/27/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lnSpcReduction="10000"/>
          </a:bodyPr>
          <a:lstStyle/>
          <a:p>
            <a:pPr>
              <a:defRPr sz="1100">
                <a:latin typeface="Nexa (Headings)"/>
              </a:defRPr>
            </a:pPr>
            <a:r>
              <a:t>Product Sales Rate, Trade Margin % and Net Sales | Effervescents | Nicolas | NICOLAS EST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183272272"/>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923</a:t>
            </a:fld>
            <a:endParaRPr lang="en-US"/>
          </a:p>
        </p:txBody>
      </p:sp>
    </p:spTree>
    <p:extLst>
      <p:ext uri="{BB962C8B-B14F-4D97-AF65-F5344CB8AC3E}">
        <p14:creationId xmlns:p14="http://schemas.microsoft.com/office/powerpoint/2010/main" val="1440797920"/>
      </p:ext>
    </p:extLst>
  </p:cSld>
  <p:clrMapOvr>
    <a:masterClrMapping/>
  </p:clrMapOvr>
</p:sld>
</file>

<file path=ppt/slides/slide9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8/27/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lnSpcReduction="10000"/>
          </a:bodyPr>
          <a:lstStyle/>
          <a:p>
            <a:pPr>
              <a:defRPr sz="1100">
                <a:latin typeface="Nexa (Headings)"/>
              </a:defRPr>
            </a:pPr>
            <a:r>
              <a:t>Product Sales Rate, Trade Margin % and Net Sales | Effervescents | Nicolas | CA A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2128769000"/>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924</a:t>
            </a:fld>
            <a:endParaRPr lang="en-US"/>
          </a:p>
        </p:txBody>
      </p:sp>
    </p:spTree>
    <p:extLst>
      <p:ext uri="{BB962C8B-B14F-4D97-AF65-F5344CB8AC3E}">
        <p14:creationId xmlns:p14="http://schemas.microsoft.com/office/powerpoint/2010/main" val="862090535"/>
      </p:ext>
    </p:extLst>
  </p:cSld>
  <p:clrMapOvr>
    <a:masterClrMapping/>
  </p:clrMapOvr>
</p:sld>
</file>

<file path=ppt/slides/slide9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8/27/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lnSpcReduction="10000"/>
          </a:bodyPr>
          <a:lstStyle/>
          <a:p>
            <a:pPr>
              <a:defRPr sz="1100">
                <a:latin typeface="Nexa (Headings)"/>
              </a:defRPr>
            </a:pPr>
            <a:r>
              <a:t>Product Sales Rate, Trade Margin % and Net Sales | Effervescents | Nicolas | CA B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005296466"/>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925</a:t>
            </a:fld>
            <a:endParaRPr lang="en-US"/>
          </a:p>
        </p:txBody>
      </p:sp>
    </p:spTree>
    <p:extLst>
      <p:ext uri="{BB962C8B-B14F-4D97-AF65-F5344CB8AC3E}">
        <p14:creationId xmlns:p14="http://schemas.microsoft.com/office/powerpoint/2010/main" val="3830359767"/>
      </p:ext>
    </p:extLst>
  </p:cSld>
  <p:clrMapOvr>
    <a:masterClrMapping/>
  </p:clrMapOvr>
</p:sld>
</file>

<file path=ppt/slides/slide9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8/27/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lnSpcReduction="10000"/>
          </a:bodyPr>
          <a:lstStyle/>
          <a:p>
            <a:pPr>
              <a:defRPr sz="1100">
                <a:latin typeface="Nexa (Headings)"/>
              </a:defRPr>
            </a:pPr>
            <a:r>
              <a:t>Product Sales Rate, Trade Margin % and Net Sales | Effervescents | Nicolas | CA C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062823532"/>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926</a:t>
            </a:fld>
            <a:endParaRPr lang="en-US"/>
          </a:p>
        </p:txBody>
      </p:sp>
    </p:spTree>
    <p:extLst>
      <p:ext uri="{BB962C8B-B14F-4D97-AF65-F5344CB8AC3E}">
        <p14:creationId xmlns:p14="http://schemas.microsoft.com/office/powerpoint/2010/main" val="1710408837"/>
      </p:ext>
    </p:extLst>
  </p:cSld>
  <p:clrMapOvr>
    <a:masterClrMapping/>
  </p:clrMapOvr>
</p:sld>
</file>

<file path=ppt/slides/slide9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8/27/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lnSpcReduction="10000"/>
          </a:bodyPr>
          <a:lstStyle/>
          <a:p>
            <a:pPr>
              <a:defRPr sz="1100">
                <a:latin typeface="Nexa (Headings)"/>
              </a:defRPr>
            </a:pPr>
            <a:r>
              <a:t>Product Sales Rate, Trade Margin % and Net Sales | Effervescents | Nicolas | CA D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518178625"/>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927</a:t>
            </a:fld>
            <a:endParaRPr lang="en-US"/>
          </a:p>
        </p:txBody>
      </p:sp>
    </p:spTree>
    <p:extLst>
      <p:ext uri="{BB962C8B-B14F-4D97-AF65-F5344CB8AC3E}">
        <p14:creationId xmlns:p14="http://schemas.microsoft.com/office/powerpoint/2010/main" val="3827369792"/>
      </p:ext>
    </p:extLst>
  </p:cSld>
  <p:clrMapOvr>
    <a:masterClrMapping/>
  </p:clrMapOvr>
</p:sld>
</file>

<file path=ppt/slides/slide9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8/27/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lnSpcReduction="10000"/>
          </a:bodyPr>
          <a:lstStyle/>
          <a:p>
            <a:pPr>
              <a:defRPr sz="1100">
                <a:latin typeface="Nexa (Headings)"/>
              </a:defRPr>
            </a:pPr>
            <a:r>
              <a:t>Product Sales Rate, Trade Margin % and Net Sales | Effervescents | Nicolas | CA E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999158984"/>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928</a:t>
            </a:fld>
            <a:endParaRPr lang="en-US"/>
          </a:p>
        </p:txBody>
      </p:sp>
    </p:spTree>
    <p:extLst>
      <p:ext uri="{BB962C8B-B14F-4D97-AF65-F5344CB8AC3E}">
        <p14:creationId xmlns:p14="http://schemas.microsoft.com/office/powerpoint/2010/main" val="2374008979"/>
      </p:ext>
    </p:extLst>
  </p:cSld>
  <p:clrMapOvr>
    <a:masterClrMapping/>
  </p:clrMapOvr>
</p:sld>
</file>

<file path=ppt/slides/slide9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8/27/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lnSpcReduction="10000"/>
          </a:bodyPr>
          <a:lstStyle/>
          <a:p>
            <a:pPr>
              <a:defRPr sz="1100">
                <a:latin typeface="Nexa (Headings)"/>
              </a:defRPr>
            </a:pPr>
            <a:r>
              <a:t>Product Sales Rate, Trade Margin % and Net Sales | Champagnes | Nicolas | NICOLAS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204868078"/>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929</a:t>
            </a:fld>
            <a:endParaRPr lang="en-US"/>
          </a:p>
        </p:txBody>
      </p:sp>
    </p:spTree>
    <p:extLst>
      <p:ext uri="{BB962C8B-B14F-4D97-AF65-F5344CB8AC3E}">
        <p14:creationId xmlns:p14="http://schemas.microsoft.com/office/powerpoint/2010/main" val="3495546369"/>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Bruts | CA B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93</a:t>
            </a:fld>
            <a:endParaRPr lang="en-US"/>
          </a:p>
        </p:txBody>
      </p:sp>
    </p:spTree>
    <p:extLst>
      <p:ext uri="{BB962C8B-B14F-4D97-AF65-F5344CB8AC3E}">
        <p14:creationId xmlns:p14="http://schemas.microsoft.com/office/powerpoint/2010/main" val="2914878048"/>
      </p:ext>
    </p:extLst>
  </p:cSld>
  <p:clrMapOvr>
    <a:masterClrMapping/>
  </p:clrMapOvr>
</p:sld>
</file>

<file path=ppt/slides/slide9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8/27/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lnSpcReduction="10000"/>
          </a:bodyPr>
          <a:lstStyle/>
          <a:p>
            <a:pPr>
              <a:defRPr sz="1100">
                <a:latin typeface="Nexa (Headings)"/>
              </a:defRPr>
            </a:pPr>
            <a:r>
              <a:t>Product Sales Rate, Trade Margin % and Net Sales | Champagnes | Nicolas | NICOLAS QCN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3141217108"/>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930</a:t>
            </a:fld>
            <a:endParaRPr lang="en-US"/>
          </a:p>
        </p:txBody>
      </p:sp>
    </p:spTree>
    <p:extLst>
      <p:ext uri="{BB962C8B-B14F-4D97-AF65-F5344CB8AC3E}">
        <p14:creationId xmlns:p14="http://schemas.microsoft.com/office/powerpoint/2010/main" val="3490045549"/>
      </p:ext>
    </p:extLst>
  </p:cSld>
  <p:clrMapOvr>
    <a:masterClrMapping/>
  </p:clrMapOvr>
</p:sld>
</file>

<file path=ppt/slides/slide9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8/27/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lnSpcReduction="10000"/>
          </a:bodyPr>
          <a:lstStyle/>
          <a:p>
            <a:pPr>
              <a:defRPr sz="1100">
                <a:latin typeface="Nexa (Headings)"/>
              </a:defRPr>
            </a:pPr>
            <a:r>
              <a:t>Product Sales Rate, Trade Margin % and Net Sales | Champagnes | Nicolas | NICOLAS VCN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376811555"/>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931</a:t>
            </a:fld>
            <a:endParaRPr lang="en-US"/>
          </a:p>
        </p:txBody>
      </p:sp>
    </p:spTree>
    <p:extLst>
      <p:ext uri="{BB962C8B-B14F-4D97-AF65-F5344CB8AC3E}">
        <p14:creationId xmlns:p14="http://schemas.microsoft.com/office/powerpoint/2010/main" val="2180327311"/>
      </p:ext>
    </p:extLst>
  </p:cSld>
  <p:clrMapOvr>
    <a:masterClrMapping/>
  </p:clrMapOvr>
</p:sld>
</file>

<file path=ppt/slides/slide9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8/27/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lnSpcReduction="10000"/>
          </a:bodyPr>
          <a:lstStyle/>
          <a:p>
            <a:pPr>
              <a:defRPr sz="1100">
                <a:latin typeface="Nexa (Headings)"/>
              </a:defRPr>
            </a:pPr>
            <a:r>
              <a:t>Product Sales Rate, Trade Margin % and Net Sales | Champagnes | Nicolas | NICOLAS QCT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53072188"/>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932</a:t>
            </a:fld>
            <a:endParaRPr lang="en-US"/>
          </a:p>
        </p:txBody>
      </p:sp>
    </p:spTree>
    <p:extLst>
      <p:ext uri="{BB962C8B-B14F-4D97-AF65-F5344CB8AC3E}">
        <p14:creationId xmlns:p14="http://schemas.microsoft.com/office/powerpoint/2010/main" val="2485372878"/>
      </p:ext>
    </p:extLst>
  </p:cSld>
  <p:clrMapOvr>
    <a:masterClrMapping/>
  </p:clrMapOvr>
</p:sld>
</file>

<file path=ppt/slides/slide9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8/27/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lnSpcReduction="10000"/>
          </a:bodyPr>
          <a:lstStyle/>
          <a:p>
            <a:pPr>
              <a:defRPr sz="1100">
                <a:latin typeface="Nexa (Headings)"/>
              </a:defRPr>
            </a:pPr>
            <a:r>
              <a:t>Product Sales Rate, Trade Margin % and Net Sales | Champagnes | Nicolas | NICOLAS QCA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861996178"/>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933</a:t>
            </a:fld>
            <a:endParaRPr lang="en-US"/>
          </a:p>
        </p:txBody>
      </p:sp>
    </p:spTree>
    <p:extLst>
      <p:ext uri="{BB962C8B-B14F-4D97-AF65-F5344CB8AC3E}">
        <p14:creationId xmlns:p14="http://schemas.microsoft.com/office/powerpoint/2010/main" val="2833415904"/>
      </p:ext>
    </p:extLst>
  </p:cSld>
  <p:clrMapOvr>
    <a:masterClrMapping/>
  </p:clrMapOvr>
</p:sld>
</file>

<file path=ppt/slides/slide9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8/27/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lnSpcReduction="10000"/>
          </a:bodyPr>
          <a:lstStyle/>
          <a:p>
            <a:pPr>
              <a:defRPr sz="1100">
                <a:latin typeface="Nexa (Headings)"/>
              </a:defRPr>
            </a:pPr>
            <a:r>
              <a:t>Product Sales Rate, Trade Margin % and Net Sales | Champagnes | Nicolas | NICOLAS CCP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362262576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934</a:t>
            </a:fld>
            <a:endParaRPr lang="en-US"/>
          </a:p>
        </p:txBody>
      </p:sp>
    </p:spTree>
    <p:extLst>
      <p:ext uri="{BB962C8B-B14F-4D97-AF65-F5344CB8AC3E}">
        <p14:creationId xmlns:p14="http://schemas.microsoft.com/office/powerpoint/2010/main" val="2249747981"/>
      </p:ext>
    </p:extLst>
  </p:cSld>
  <p:clrMapOvr>
    <a:masterClrMapping/>
  </p:clrMapOvr>
</p:sld>
</file>

<file path=ppt/slides/slide9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8/27/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lnSpcReduction="10000"/>
          </a:bodyPr>
          <a:lstStyle/>
          <a:p>
            <a:pPr>
              <a:defRPr sz="1100">
                <a:latin typeface="Nexa (Headings)"/>
              </a:defRPr>
            </a:pPr>
            <a:r>
              <a:t>Product Sales Rate, Trade Margin % and Net Sales | Champagnes | Nicolas | NICOLAS IDF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387734496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935</a:t>
            </a:fld>
            <a:endParaRPr lang="en-US"/>
          </a:p>
        </p:txBody>
      </p:sp>
    </p:spTree>
    <p:extLst>
      <p:ext uri="{BB962C8B-B14F-4D97-AF65-F5344CB8AC3E}">
        <p14:creationId xmlns:p14="http://schemas.microsoft.com/office/powerpoint/2010/main" val="4091312520"/>
      </p:ext>
    </p:extLst>
  </p:cSld>
  <p:clrMapOvr>
    <a:masterClrMapping/>
  </p:clrMapOvr>
</p:sld>
</file>

<file path=ppt/slides/slide9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8/27/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lnSpcReduction="10000"/>
          </a:bodyPr>
          <a:lstStyle/>
          <a:p>
            <a:pPr>
              <a:defRPr sz="1100">
                <a:latin typeface="Nexa (Headings)"/>
              </a:defRPr>
            </a:pPr>
            <a:r>
              <a:t>Product Sales Rate, Trade Margin % and Net Sales | Champagnes | Nicolas | NICOLAS PAC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556534040"/>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936</a:t>
            </a:fld>
            <a:endParaRPr lang="en-US"/>
          </a:p>
        </p:txBody>
      </p:sp>
    </p:spTree>
    <p:extLst>
      <p:ext uri="{BB962C8B-B14F-4D97-AF65-F5344CB8AC3E}">
        <p14:creationId xmlns:p14="http://schemas.microsoft.com/office/powerpoint/2010/main" val="1654566175"/>
      </p:ext>
    </p:extLst>
  </p:cSld>
  <p:clrMapOvr>
    <a:masterClrMapping/>
  </p:clrMapOvr>
</p:sld>
</file>

<file path=ppt/slides/slide9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8/27/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lnSpcReduction="10000"/>
          </a:bodyPr>
          <a:lstStyle/>
          <a:p>
            <a:pPr>
              <a:defRPr sz="1100">
                <a:latin typeface="Nexa (Headings)"/>
              </a:defRPr>
            </a:pPr>
            <a:r>
              <a:t>Product Sales Rate, Trade Margin % and Net Sales | Champagnes | Nicolas | NICOLAS RHO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10301380"/>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937</a:t>
            </a:fld>
            <a:endParaRPr lang="en-US"/>
          </a:p>
        </p:txBody>
      </p:sp>
    </p:spTree>
    <p:extLst>
      <p:ext uri="{BB962C8B-B14F-4D97-AF65-F5344CB8AC3E}">
        <p14:creationId xmlns:p14="http://schemas.microsoft.com/office/powerpoint/2010/main" val="577886761"/>
      </p:ext>
    </p:extLst>
  </p:cSld>
  <p:clrMapOvr>
    <a:masterClrMapping/>
  </p:clrMapOvr>
</p:sld>
</file>

<file path=ppt/slides/slide9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8/27/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lnSpcReduction="10000"/>
          </a:bodyPr>
          <a:lstStyle/>
          <a:p>
            <a:pPr>
              <a:defRPr sz="1100">
                <a:latin typeface="Nexa (Headings)"/>
              </a:defRPr>
            </a:pPr>
            <a:r>
              <a:t>Product Sales Rate, Trade Margin % and Net Sales | Champagnes | Nicolas | NICOLAS AQU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889335521"/>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938</a:t>
            </a:fld>
            <a:endParaRPr lang="en-US"/>
          </a:p>
        </p:txBody>
      </p:sp>
    </p:spTree>
    <p:extLst>
      <p:ext uri="{BB962C8B-B14F-4D97-AF65-F5344CB8AC3E}">
        <p14:creationId xmlns:p14="http://schemas.microsoft.com/office/powerpoint/2010/main" val="3153105399"/>
      </p:ext>
    </p:extLst>
  </p:cSld>
  <p:clrMapOvr>
    <a:masterClrMapping/>
  </p:clrMapOvr>
</p:sld>
</file>

<file path=ppt/slides/slide9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8/27/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lnSpcReduction="10000"/>
          </a:bodyPr>
          <a:lstStyle/>
          <a:p>
            <a:pPr>
              <a:defRPr sz="1100">
                <a:latin typeface="Nexa (Headings)"/>
              </a:defRPr>
            </a:pPr>
            <a:r>
              <a:t>Product Sales Rate, Trade Margin % and Net Sales | Champagnes | Nicolas | NICOLAS EST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780815429"/>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939</a:t>
            </a:fld>
            <a:endParaRPr lang="en-US"/>
          </a:p>
        </p:txBody>
      </p:sp>
    </p:spTree>
    <p:extLst>
      <p:ext uri="{BB962C8B-B14F-4D97-AF65-F5344CB8AC3E}">
        <p14:creationId xmlns:p14="http://schemas.microsoft.com/office/powerpoint/2010/main" val="2755977127"/>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Bruts | CA C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94</a:t>
            </a:fld>
            <a:endParaRPr lang="en-US"/>
          </a:p>
        </p:txBody>
      </p:sp>
    </p:spTree>
    <p:extLst>
      <p:ext uri="{BB962C8B-B14F-4D97-AF65-F5344CB8AC3E}">
        <p14:creationId xmlns:p14="http://schemas.microsoft.com/office/powerpoint/2010/main" val="240870457"/>
      </p:ext>
    </p:extLst>
  </p:cSld>
  <p:clrMapOvr>
    <a:masterClrMapping/>
  </p:clrMapOvr>
</p:sld>
</file>

<file path=ppt/slides/slide9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8/27/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lnSpcReduction="10000"/>
          </a:bodyPr>
          <a:lstStyle/>
          <a:p>
            <a:pPr>
              <a:defRPr sz="1100">
                <a:latin typeface="Nexa (Headings)"/>
              </a:defRPr>
            </a:pPr>
            <a:r>
              <a:t>Product Sales Rate, Trade Margin % and Net Sales | Champagnes | Nicolas | CA A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545528147"/>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940</a:t>
            </a:fld>
            <a:endParaRPr lang="en-US"/>
          </a:p>
        </p:txBody>
      </p:sp>
    </p:spTree>
    <p:extLst>
      <p:ext uri="{BB962C8B-B14F-4D97-AF65-F5344CB8AC3E}">
        <p14:creationId xmlns:p14="http://schemas.microsoft.com/office/powerpoint/2010/main" val="645349534"/>
      </p:ext>
    </p:extLst>
  </p:cSld>
  <p:clrMapOvr>
    <a:masterClrMapping/>
  </p:clrMapOvr>
</p:sld>
</file>

<file path=ppt/slides/slide9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8/27/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lnSpcReduction="10000"/>
          </a:bodyPr>
          <a:lstStyle/>
          <a:p>
            <a:pPr>
              <a:defRPr sz="1100">
                <a:latin typeface="Nexa (Headings)"/>
              </a:defRPr>
            </a:pPr>
            <a:r>
              <a:t>Product Sales Rate, Trade Margin % and Net Sales | Champagnes | Nicolas | CA B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379221042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941</a:t>
            </a:fld>
            <a:endParaRPr lang="en-US"/>
          </a:p>
        </p:txBody>
      </p:sp>
    </p:spTree>
    <p:extLst>
      <p:ext uri="{BB962C8B-B14F-4D97-AF65-F5344CB8AC3E}">
        <p14:creationId xmlns:p14="http://schemas.microsoft.com/office/powerpoint/2010/main" val="1078139141"/>
      </p:ext>
    </p:extLst>
  </p:cSld>
  <p:clrMapOvr>
    <a:masterClrMapping/>
  </p:clrMapOvr>
</p:sld>
</file>

<file path=ppt/slides/slide9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8/27/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lnSpcReduction="10000"/>
          </a:bodyPr>
          <a:lstStyle/>
          <a:p>
            <a:pPr>
              <a:defRPr sz="1100">
                <a:latin typeface="Nexa (Headings)"/>
              </a:defRPr>
            </a:pPr>
            <a:r>
              <a:t>Product Sales Rate, Trade Margin % and Net Sales | Champagnes | Nicolas | CA C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667718224"/>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942</a:t>
            </a:fld>
            <a:endParaRPr lang="en-US"/>
          </a:p>
        </p:txBody>
      </p:sp>
    </p:spTree>
    <p:extLst>
      <p:ext uri="{BB962C8B-B14F-4D97-AF65-F5344CB8AC3E}">
        <p14:creationId xmlns:p14="http://schemas.microsoft.com/office/powerpoint/2010/main" val="3020499152"/>
      </p:ext>
    </p:extLst>
  </p:cSld>
  <p:clrMapOvr>
    <a:masterClrMapping/>
  </p:clrMapOvr>
</p:sld>
</file>

<file path=ppt/slides/slide9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8/27/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lnSpcReduction="10000"/>
          </a:bodyPr>
          <a:lstStyle/>
          <a:p>
            <a:pPr>
              <a:defRPr sz="1100">
                <a:latin typeface="Nexa (Headings)"/>
              </a:defRPr>
            </a:pPr>
            <a:r>
              <a:t>Product Sales Rate, Trade Margin % and Net Sales | Champagnes | Nicolas | CA D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641578727"/>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943</a:t>
            </a:fld>
            <a:endParaRPr lang="en-US"/>
          </a:p>
        </p:txBody>
      </p:sp>
    </p:spTree>
    <p:extLst>
      <p:ext uri="{BB962C8B-B14F-4D97-AF65-F5344CB8AC3E}">
        <p14:creationId xmlns:p14="http://schemas.microsoft.com/office/powerpoint/2010/main" val="434472064"/>
      </p:ext>
    </p:extLst>
  </p:cSld>
  <p:clrMapOvr>
    <a:masterClrMapping/>
  </p:clrMapOvr>
</p:sld>
</file>

<file path=ppt/slides/slide9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8/27/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lnSpcReduction="10000"/>
          </a:bodyPr>
          <a:lstStyle/>
          <a:p>
            <a:pPr>
              <a:defRPr sz="1100">
                <a:latin typeface="Nexa (Headings)"/>
              </a:defRPr>
            </a:pPr>
            <a:r>
              <a:t>Product Sales Rate, Trade Margin % and Net Sales | Champagnes | Nicolas | CA E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818145589"/>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944</a:t>
            </a:fld>
            <a:endParaRPr lang="en-US"/>
          </a:p>
        </p:txBody>
      </p:sp>
    </p:spTree>
    <p:extLst>
      <p:ext uri="{BB962C8B-B14F-4D97-AF65-F5344CB8AC3E}">
        <p14:creationId xmlns:p14="http://schemas.microsoft.com/office/powerpoint/2010/main" val="3165296332"/>
      </p:ext>
    </p:extLst>
  </p:cSld>
  <p:clrMapOvr>
    <a:masterClrMapping/>
  </p:clrMapOvr>
</p:sld>
</file>

<file path=ppt/slides/slide9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8/27/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lnSpcReduction="10000"/>
          </a:bodyPr>
          <a:lstStyle/>
          <a:p>
            <a:pPr>
              <a:defRPr sz="1100">
                <a:latin typeface="Nexa (Headings)"/>
              </a:defRPr>
            </a:pPr>
            <a:r>
              <a:t>Product Sales Rate, Trade Margin % and Net Sales | Blanc De Blancs | Nicolas | NICOLAS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339081917"/>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945</a:t>
            </a:fld>
            <a:endParaRPr lang="en-US"/>
          </a:p>
        </p:txBody>
      </p:sp>
    </p:spTree>
    <p:extLst>
      <p:ext uri="{BB962C8B-B14F-4D97-AF65-F5344CB8AC3E}">
        <p14:creationId xmlns:p14="http://schemas.microsoft.com/office/powerpoint/2010/main" val="182080126"/>
      </p:ext>
    </p:extLst>
  </p:cSld>
  <p:clrMapOvr>
    <a:masterClrMapping/>
  </p:clrMapOvr>
</p:sld>
</file>

<file path=ppt/slides/slide9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8/27/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lnSpcReduction="10000"/>
          </a:bodyPr>
          <a:lstStyle/>
          <a:p>
            <a:pPr>
              <a:defRPr sz="1100">
                <a:latin typeface="Nexa (Headings)"/>
              </a:defRPr>
            </a:pPr>
            <a:r>
              <a:t>Product Sales Rate, Trade Margin % and Net Sales | Blanc De Blancs | Nicolas | NICOLAS QCN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3917527641"/>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946</a:t>
            </a:fld>
            <a:endParaRPr lang="en-US"/>
          </a:p>
        </p:txBody>
      </p:sp>
    </p:spTree>
    <p:extLst>
      <p:ext uri="{BB962C8B-B14F-4D97-AF65-F5344CB8AC3E}">
        <p14:creationId xmlns:p14="http://schemas.microsoft.com/office/powerpoint/2010/main" val="2547537566"/>
      </p:ext>
    </p:extLst>
  </p:cSld>
  <p:clrMapOvr>
    <a:masterClrMapping/>
  </p:clrMapOvr>
</p:sld>
</file>

<file path=ppt/slides/slide9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8/27/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lnSpcReduction="10000"/>
          </a:bodyPr>
          <a:lstStyle/>
          <a:p>
            <a:pPr>
              <a:defRPr sz="1100">
                <a:latin typeface="Nexa (Headings)"/>
              </a:defRPr>
            </a:pPr>
            <a:r>
              <a:t>Product Sales Rate, Trade Margin % and Net Sales | Blanc De Blancs | Nicolas | NICOLAS VCN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847359732"/>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947</a:t>
            </a:fld>
            <a:endParaRPr lang="en-US"/>
          </a:p>
        </p:txBody>
      </p:sp>
    </p:spTree>
    <p:extLst>
      <p:ext uri="{BB962C8B-B14F-4D97-AF65-F5344CB8AC3E}">
        <p14:creationId xmlns:p14="http://schemas.microsoft.com/office/powerpoint/2010/main" val="3698690067"/>
      </p:ext>
    </p:extLst>
  </p:cSld>
  <p:clrMapOvr>
    <a:masterClrMapping/>
  </p:clrMapOvr>
</p:sld>
</file>

<file path=ppt/slides/slide9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8/27/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lnSpcReduction="10000"/>
          </a:bodyPr>
          <a:lstStyle/>
          <a:p>
            <a:pPr>
              <a:defRPr sz="1100">
                <a:latin typeface="Nexa (Headings)"/>
              </a:defRPr>
            </a:pPr>
            <a:r>
              <a:t>Product Sales Rate, Trade Margin % and Net Sales | Blanc De Blancs | Nicolas | NICOLAS QCT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363780540"/>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948</a:t>
            </a:fld>
            <a:endParaRPr lang="en-US"/>
          </a:p>
        </p:txBody>
      </p:sp>
    </p:spTree>
    <p:extLst>
      <p:ext uri="{BB962C8B-B14F-4D97-AF65-F5344CB8AC3E}">
        <p14:creationId xmlns:p14="http://schemas.microsoft.com/office/powerpoint/2010/main" val="3851035773"/>
      </p:ext>
    </p:extLst>
  </p:cSld>
  <p:clrMapOvr>
    <a:masterClrMapping/>
  </p:clrMapOvr>
</p:sld>
</file>

<file path=ppt/slides/slide9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8/27/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lnSpcReduction="10000"/>
          </a:bodyPr>
          <a:lstStyle/>
          <a:p>
            <a:pPr>
              <a:defRPr sz="1100">
                <a:latin typeface="Nexa (Headings)"/>
              </a:defRPr>
            </a:pPr>
            <a:r>
              <a:t>Product Sales Rate, Trade Margin % and Net Sales | Blanc De Blancs | Nicolas | NICOLAS QCA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2884134202"/>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949</a:t>
            </a:fld>
            <a:endParaRPr lang="en-US"/>
          </a:p>
        </p:txBody>
      </p:sp>
    </p:spTree>
    <p:extLst>
      <p:ext uri="{BB962C8B-B14F-4D97-AF65-F5344CB8AC3E}">
        <p14:creationId xmlns:p14="http://schemas.microsoft.com/office/powerpoint/2010/main" val="506815673"/>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Bruts | CA D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95</a:t>
            </a:fld>
            <a:endParaRPr lang="en-US"/>
          </a:p>
        </p:txBody>
      </p:sp>
    </p:spTree>
    <p:extLst>
      <p:ext uri="{BB962C8B-B14F-4D97-AF65-F5344CB8AC3E}">
        <p14:creationId xmlns:p14="http://schemas.microsoft.com/office/powerpoint/2010/main" val="3253559976"/>
      </p:ext>
    </p:extLst>
  </p:cSld>
  <p:clrMapOvr>
    <a:masterClrMapping/>
  </p:clrMapOvr>
</p:sld>
</file>

<file path=ppt/slides/slide9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8/27/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lnSpcReduction="10000"/>
          </a:bodyPr>
          <a:lstStyle/>
          <a:p>
            <a:pPr>
              <a:defRPr sz="1100">
                <a:latin typeface="Nexa (Headings)"/>
              </a:defRPr>
            </a:pPr>
            <a:r>
              <a:t>Product Sales Rate, Trade Margin % and Net Sales | Blanc De Blancs | Nicolas | NICOLAS CCP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090917445"/>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950</a:t>
            </a:fld>
            <a:endParaRPr lang="en-US"/>
          </a:p>
        </p:txBody>
      </p:sp>
    </p:spTree>
    <p:extLst>
      <p:ext uri="{BB962C8B-B14F-4D97-AF65-F5344CB8AC3E}">
        <p14:creationId xmlns:p14="http://schemas.microsoft.com/office/powerpoint/2010/main" val="3203176475"/>
      </p:ext>
    </p:extLst>
  </p:cSld>
  <p:clrMapOvr>
    <a:masterClrMapping/>
  </p:clrMapOvr>
</p:sld>
</file>

<file path=ppt/slides/slide9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8/27/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lnSpcReduction="10000"/>
          </a:bodyPr>
          <a:lstStyle/>
          <a:p>
            <a:pPr>
              <a:defRPr sz="1100">
                <a:latin typeface="Nexa (Headings)"/>
              </a:defRPr>
            </a:pPr>
            <a:r>
              <a:t>Product Sales Rate, Trade Margin % and Net Sales | Blanc De Blancs | Nicolas | NICOLAS IDF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904956931"/>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951</a:t>
            </a:fld>
            <a:endParaRPr lang="en-US"/>
          </a:p>
        </p:txBody>
      </p:sp>
    </p:spTree>
    <p:extLst>
      <p:ext uri="{BB962C8B-B14F-4D97-AF65-F5344CB8AC3E}">
        <p14:creationId xmlns:p14="http://schemas.microsoft.com/office/powerpoint/2010/main" val="2485167161"/>
      </p:ext>
    </p:extLst>
  </p:cSld>
  <p:clrMapOvr>
    <a:masterClrMapping/>
  </p:clrMapOvr>
</p:sld>
</file>

<file path=ppt/slides/slide9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8/27/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lnSpcReduction="10000"/>
          </a:bodyPr>
          <a:lstStyle/>
          <a:p>
            <a:pPr>
              <a:defRPr sz="1100">
                <a:latin typeface="Nexa (Headings)"/>
              </a:defRPr>
            </a:pPr>
            <a:r>
              <a:t>Product Sales Rate, Trade Margin % and Net Sales | Blanc De Blancs | Nicolas | NICOLAS PAC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3942809192"/>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952</a:t>
            </a:fld>
            <a:endParaRPr lang="en-US"/>
          </a:p>
        </p:txBody>
      </p:sp>
    </p:spTree>
    <p:extLst>
      <p:ext uri="{BB962C8B-B14F-4D97-AF65-F5344CB8AC3E}">
        <p14:creationId xmlns:p14="http://schemas.microsoft.com/office/powerpoint/2010/main" val="1235804066"/>
      </p:ext>
    </p:extLst>
  </p:cSld>
  <p:clrMapOvr>
    <a:masterClrMapping/>
  </p:clrMapOvr>
</p:sld>
</file>

<file path=ppt/slides/slide9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8/27/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lnSpcReduction="10000"/>
          </a:bodyPr>
          <a:lstStyle/>
          <a:p>
            <a:pPr>
              <a:defRPr sz="1100">
                <a:latin typeface="Nexa (Headings)"/>
              </a:defRPr>
            </a:pPr>
            <a:r>
              <a:t>Product Sales Rate, Trade Margin % and Net Sales | Blanc De Blancs | Nicolas | NICOLAS RHO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2832584491"/>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953</a:t>
            </a:fld>
            <a:endParaRPr lang="en-US"/>
          </a:p>
        </p:txBody>
      </p:sp>
    </p:spTree>
    <p:extLst>
      <p:ext uri="{BB962C8B-B14F-4D97-AF65-F5344CB8AC3E}">
        <p14:creationId xmlns:p14="http://schemas.microsoft.com/office/powerpoint/2010/main" val="3353555321"/>
      </p:ext>
    </p:extLst>
  </p:cSld>
  <p:clrMapOvr>
    <a:masterClrMapping/>
  </p:clrMapOvr>
</p:sld>
</file>

<file path=ppt/slides/slide9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8/27/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lnSpcReduction="10000"/>
          </a:bodyPr>
          <a:lstStyle/>
          <a:p>
            <a:pPr>
              <a:defRPr sz="1100">
                <a:latin typeface="Nexa (Headings)"/>
              </a:defRPr>
            </a:pPr>
            <a:r>
              <a:t>Product Sales Rate, Trade Margin % and Net Sales | Blanc De Blancs | Nicolas | NICOLAS AQU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054102055"/>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954</a:t>
            </a:fld>
            <a:endParaRPr lang="en-US"/>
          </a:p>
        </p:txBody>
      </p:sp>
    </p:spTree>
    <p:extLst>
      <p:ext uri="{BB962C8B-B14F-4D97-AF65-F5344CB8AC3E}">
        <p14:creationId xmlns:p14="http://schemas.microsoft.com/office/powerpoint/2010/main" val="3637356882"/>
      </p:ext>
    </p:extLst>
  </p:cSld>
  <p:clrMapOvr>
    <a:masterClrMapping/>
  </p:clrMapOvr>
</p:sld>
</file>

<file path=ppt/slides/slide9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8/27/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lnSpcReduction="10000"/>
          </a:bodyPr>
          <a:lstStyle/>
          <a:p>
            <a:pPr>
              <a:defRPr sz="1100">
                <a:latin typeface="Nexa (Headings)"/>
              </a:defRPr>
            </a:pPr>
            <a:r>
              <a:t>Product Sales Rate, Trade Margin % and Net Sales | Blanc De Blancs | Nicolas | NICOLAS EST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391419827"/>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955</a:t>
            </a:fld>
            <a:endParaRPr lang="en-US"/>
          </a:p>
        </p:txBody>
      </p:sp>
    </p:spTree>
    <p:extLst>
      <p:ext uri="{BB962C8B-B14F-4D97-AF65-F5344CB8AC3E}">
        <p14:creationId xmlns:p14="http://schemas.microsoft.com/office/powerpoint/2010/main" val="3961186540"/>
      </p:ext>
    </p:extLst>
  </p:cSld>
  <p:clrMapOvr>
    <a:masterClrMapping/>
  </p:clrMapOvr>
</p:sld>
</file>

<file path=ppt/slides/slide9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8/27/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lnSpcReduction="10000"/>
          </a:bodyPr>
          <a:lstStyle/>
          <a:p>
            <a:pPr>
              <a:defRPr sz="1100">
                <a:latin typeface="Nexa (Headings)"/>
              </a:defRPr>
            </a:pPr>
            <a:r>
              <a:t>Product Sales Rate, Trade Margin % and Net Sales | Blanc De Blancs | Nicolas | CA A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3983082665"/>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956</a:t>
            </a:fld>
            <a:endParaRPr lang="en-US"/>
          </a:p>
        </p:txBody>
      </p:sp>
    </p:spTree>
    <p:extLst>
      <p:ext uri="{BB962C8B-B14F-4D97-AF65-F5344CB8AC3E}">
        <p14:creationId xmlns:p14="http://schemas.microsoft.com/office/powerpoint/2010/main" val="3860839190"/>
      </p:ext>
    </p:extLst>
  </p:cSld>
  <p:clrMapOvr>
    <a:masterClrMapping/>
  </p:clrMapOvr>
</p:sld>
</file>

<file path=ppt/slides/slide9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8/27/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lnSpcReduction="10000"/>
          </a:bodyPr>
          <a:lstStyle/>
          <a:p>
            <a:pPr>
              <a:defRPr sz="1100">
                <a:latin typeface="Nexa (Headings)"/>
              </a:defRPr>
            </a:pPr>
            <a:r>
              <a:t>Product Sales Rate, Trade Margin % and Net Sales | Blanc De Blancs | Nicolas | CA B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272431511"/>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957</a:t>
            </a:fld>
            <a:endParaRPr lang="en-US"/>
          </a:p>
        </p:txBody>
      </p:sp>
    </p:spTree>
    <p:extLst>
      <p:ext uri="{BB962C8B-B14F-4D97-AF65-F5344CB8AC3E}">
        <p14:creationId xmlns:p14="http://schemas.microsoft.com/office/powerpoint/2010/main" val="1075251783"/>
      </p:ext>
    </p:extLst>
  </p:cSld>
  <p:clrMapOvr>
    <a:masterClrMapping/>
  </p:clrMapOvr>
</p:sld>
</file>

<file path=ppt/slides/slide9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8/27/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lnSpcReduction="10000"/>
          </a:bodyPr>
          <a:lstStyle/>
          <a:p>
            <a:pPr>
              <a:defRPr sz="1100">
                <a:latin typeface="Nexa (Headings)"/>
              </a:defRPr>
            </a:pPr>
            <a:r>
              <a:t>Product Sales Rate, Trade Margin % and Net Sales | Blanc De Blancs | Nicolas | CA C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950926111"/>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958</a:t>
            </a:fld>
            <a:endParaRPr lang="en-US"/>
          </a:p>
        </p:txBody>
      </p:sp>
    </p:spTree>
    <p:extLst>
      <p:ext uri="{BB962C8B-B14F-4D97-AF65-F5344CB8AC3E}">
        <p14:creationId xmlns:p14="http://schemas.microsoft.com/office/powerpoint/2010/main" val="1693796618"/>
      </p:ext>
    </p:extLst>
  </p:cSld>
  <p:clrMapOvr>
    <a:masterClrMapping/>
  </p:clrMapOvr>
</p:sld>
</file>

<file path=ppt/slides/slide9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8/27/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lnSpcReduction="10000"/>
          </a:bodyPr>
          <a:lstStyle/>
          <a:p>
            <a:pPr>
              <a:defRPr sz="1100">
                <a:latin typeface="Nexa (Headings)"/>
              </a:defRPr>
            </a:pPr>
            <a:r>
              <a:t>Product Sales Rate, Trade Margin % and Net Sales | Blanc De Blancs | Nicolas | CA D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176881425"/>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959</a:t>
            </a:fld>
            <a:endParaRPr lang="en-US"/>
          </a:p>
        </p:txBody>
      </p:sp>
    </p:spTree>
    <p:extLst>
      <p:ext uri="{BB962C8B-B14F-4D97-AF65-F5344CB8AC3E}">
        <p14:creationId xmlns:p14="http://schemas.microsoft.com/office/powerpoint/2010/main" val="619633190"/>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Bruts | CA E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96</a:t>
            </a:fld>
            <a:endParaRPr lang="en-US"/>
          </a:p>
        </p:txBody>
      </p:sp>
    </p:spTree>
    <p:extLst>
      <p:ext uri="{BB962C8B-B14F-4D97-AF65-F5344CB8AC3E}">
        <p14:creationId xmlns:p14="http://schemas.microsoft.com/office/powerpoint/2010/main" val="1853498255"/>
      </p:ext>
    </p:extLst>
  </p:cSld>
  <p:clrMapOvr>
    <a:masterClrMapping/>
  </p:clrMapOvr>
</p:sld>
</file>

<file path=ppt/slides/slide9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8/27/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lnSpcReduction="10000"/>
          </a:bodyPr>
          <a:lstStyle/>
          <a:p>
            <a:pPr>
              <a:defRPr sz="1100">
                <a:latin typeface="Nexa (Headings)"/>
              </a:defRPr>
            </a:pPr>
            <a:r>
              <a:t>Product Sales Rate, Trade Margin % and Net Sales | Blanc De Blancs | Nicolas | CA E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320794275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960</a:t>
            </a:fld>
            <a:endParaRPr lang="en-US"/>
          </a:p>
        </p:txBody>
      </p:sp>
    </p:spTree>
    <p:extLst>
      <p:ext uri="{BB962C8B-B14F-4D97-AF65-F5344CB8AC3E}">
        <p14:creationId xmlns:p14="http://schemas.microsoft.com/office/powerpoint/2010/main" val="3751796132"/>
      </p:ext>
    </p:extLst>
  </p:cSld>
  <p:clrMapOvr>
    <a:masterClrMapping/>
  </p:clrMapOvr>
</p:sld>
</file>

<file path=ppt/slides/slide9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8/27/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lnSpcReduction="10000"/>
          </a:bodyPr>
          <a:lstStyle/>
          <a:p>
            <a:pPr>
              <a:defRPr sz="1100">
                <a:latin typeface="Nexa (Headings)"/>
              </a:defRPr>
            </a:pPr>
            <a:r>
              <a:t>Product Sales Rate, Trade Margin % and Net Sales | Bruts | Nicolas | NICOLAS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637575995"/>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961</a:t>
            </a:fld>
            <a:endParaRPr lang="en-US"/>
          </a:p>
        </p:txBody>
      </p:sp>
    </p:spTree>
    <p:extLst>
      <p:ext uri="{BB962C8B-B14F-4D97-AF65-F5344CB8AC3E}">
        <p14:creationId xmlns:p14="http://schemas.microsoft.com/office/powerpoint/2010/main" val="1747918833"/>
      </p:ext>
    </p:extLst>
  </p:cSld>
  <p:clrMapOvr>
    <a:masterClrMapping/>
  </p:clrMapOvr>
</p:sld>
</file>

<file path=ppt/slides/slide9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8/27/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lnSpcReduction="10000"/>
          </a:bodyPr>
          <a:lstStyle/>
          <a:p>
            <a:pPr>
              <a:defRPr sz="1100">
                <a:latin typeface="Nexa (Headings)"/>
              </a:defRPr>
            </a:pPr>
            <a:r>
              <a:t>Product Sales Rate, Trade Margin % and Net Sales | Bruts | Nicolas | NICOLAS QCN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666963810"/>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962</a:t>
            </a:fld>
            <a:endParaRPr lang="en-US"/>
          </a:p>
        </p:txBody>
      </p:sp>
    </p:spTree>
    <p:extLst>
      <p:ext uri="{BB962C8B-B14F-4D97-AF65-F5344CB8AC3E}">
        <p14:creationId xmlns:p14="http://schemas.microsoft.com/office/powerpoint/2010/main" val="2304741736"/>
      </p:ext>
    </p:extLst>
  </p:cSld>
  <p:clrMapOvr>
    <a:masterClrMapping/>
  </p:clrMapOvr>
</p:sld>
</file>

<file path=ppt/slides/slide9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8/27/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lnSpcReduction="10000"/>
          </a:bodyPr>
          <a:lstStyle/>
          <a:p>
            <a:pPr>
              <a:defRPr sz="1100">
                <a:latin typeface="Nexa (Headings)"/>
              </a:defRPr>
            </a:pPr>
            <a:r>
              <a:t>Product Sales Rate, Trade Margin % and Net Sales | Bruts | Nicolas | NICOLAS VCN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3427872697"/>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963</a:t>
            </a:fld>
            <a:endParaRPr lang="en-US"/>
          </a:p>
        </p:txBody>
      </p:sp>
    </p:spTree>
    <p:extLst>
      <p:ext uri="{BB962C8B-B14F-4D97-AF65-F5344CB8AC3E}">
        <p14:creationId xmlns:p14="http://schemas.microsoft.com/office/powerpoint/2010/main" val="3193698931"/>
      </p:ext>
    </p:extLst>
  </p:cSld>
  <p:clrMapOvr>
    <a:masterClrMapping/>
  </p:clrMapOvr>
</p:sld>
</file>

<file path=ppt/slides/slide9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8/27/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lnSpcReduction="10000"/>
          </a:bodyPr>
          <a:lstStyle/>
          <a:p>
            <a:pPr>
              <a:defRPr sz="1100">
                <a:latin typeface="Nexa (Headings)"/>
              </a:defRPr>
            </a:pPr>
            <a:r>
              <a:t>Product Sales Rate, Trade Margin % and Net Sales | Bruts | Nicolas | NICOLAS QCT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294582769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964</a:t>
            </a:fld>
            <a:endParaRPr lang="en-US"/>
          </a:p>
        </p:txBody>
      </p:sp>
    </p:spTree>
    <p:extLst>
      <p:ext uri="{BB962C8B-B14F-4D97-AF65-F5344CB8AC3E}">
        <p14:creationId xmlns:p14="http://schemas.microsoft.com/office/powerpoint/2010/main" val="3400002986"/>
      </p:ext>
    </p:extLst>
  </p:cSld>
  <p:clrMapOvr>
    <a:masterClrMapping/>
  </p:clrMapOvr>
</p:sld>
</file>

<file path=ppt/slides/slide9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8/27/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lnSpcReduction="10000"/>
          </a:bodyPr>
          <a:lstStyle/>
          <a:p>
            <a:pPr>
              <a:defRPr sz="1100">
                <a:latin typeface="Nexa (Headings)"/>
              </a:defRPr>
            </a:pPr>
            <a:r>
              <a:t>Product Sales Rate, Trade Margin % and Net Sales | Bruts | Nicolas | NICOLAS QCA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320628740"/>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965</a:t>
            </a:fld>
            <a:endParaRPr lang="en-US"/>
          </a:p>
        </p:txBody>
      </p:sp>
    </p:spTree>
    <p:extLst>
      <p:ext uri="{BB962C8B-B14F-4D97-AF65-F5344CB8AC3E}">
        <p14:creationId xmlns:p14="http://schemas.microsoft.com/office/powerpoint/2010/main" val="415807352"/>
      </p:ext>
    </p:extLst>
  </p:cSld>
  <p:clrMapOvr>
    <a:masterClrMapping/>
  </p:clrMapOvr>
</p:sld>
</file>

<file path=ppt/slides/slide9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8/27/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lnSpcReduction="10000"/>
          </a:bodyPr>
          <a:lstStyle/>
          <a:p>
            <a:pPr>
              <a:defRPr sz="1100">
                <a:latin typeface="Nexa (Headings)"/>
              </a:defRPr>
            </a:pPr>
            <a:r>
              <a:t>Product Sales Rate, Trade Margin % and Net Sales | Bruts | Nicolas | NICOLAS CCP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906579620"/>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966</a:t>
            </a:fld>
            <a:endParaRPr lang="en-US"/>
          </a:p>
        </p:txBody>
      </p:sp>
    </p:spTree>
    <p:extLst>
      <p:ext uri="{BB962C8B-B14F-4D97-AF65-F5344CB8AC3E}">
        <p14:creationId xmlns:p14="http://schemas.microsoft.com/office/powerpoint/2010/main" val="3084602382"/>
      </p:ext>
    </p:extLst>
  </p:cSld>
  <p:clrMapOvr>
    <a:masterClrMapping/>
  </p:clrMapOvr>
</p:sld>
</file>

<file path=ppt/slides/slide9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8/27/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lnSpcReduction="10000"/>
          </a:bodyPr>
          <a:lstStyle/>
          <a:p>
            <a:pPr>
              <a:defRPr sz="1100">
                <a:latin typeface="Nexa (Headings)"/>
              </a:defRPr>
            </a:pPr>
            <a:r>
              <a:t>Product Sales Rate, Trade Margin % and Net Sales | Bruts | Nicolas | NICOLAS IDF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71617228"/>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967</a:t>
            </a:fld>
            <a:endParaRPr lang="en-US"/>
          </a:p>
        </p:txBody>
      </p:sp>
    </p:spTree>
    <p:extLst>
      <p:ext uri="{BB962C8B-B14F-4D97-AF65-F5344CB8AC3E}">
        <p14:creationId xmlns:p14="http://schemas.microsoft.com/office/powerpoint/2010/main" val="906596083"/>
      </p:ext>
    </p:extLst>
  </p:cSld>
  <p:clrMapOvr>
    <a:masterClrMapping/>
  </p:clrMapOvr>
</p:sld>
</file>

<file path=ppt/slides/slide9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8/27/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lnSpcReduction="10000"/>
          </a:bodyPr>
          <a:lstStyle/>
          <a:p>
            <a:pPr>
              <a:defRPr sz="1100">
                <a:latin typeface="Nexa (Headings)"/>
              </a:defRPr>
            </a:pPr>
            <a:r>
              <a:t>Product Sales Rate, Trade Margin % and Net Sales | Bruts | Nicolas | NICOLAS PAC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99551103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968</a:t>
            </a:fld>
            <a:endParaRPr lang="en-US"/>
          </a:p>
        </p:txBody>
      </p:sp>
    </p:spTree>
    <p:extLst>
      <p:ext uri="{BB962C8B-B14F-4D97-AF65-F5344CB8AC3E}">
        <p14:creationId xmlns:p14="http://schemas.microsoft.com/office/powerpoint/2010/main" val="3417017491"/>
      </p:ext>
    </p:extLst>
  </p:cSld>
  <p:clrMapOvr>
    <a:masterClrMapping/>
  </p:clrMapOvr>
</p:sld>
</file>

<file path=ppt/slides/slide9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8/27/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lnSpcReduction="10000"/>
          </a:bodyPr>
          <a:lstStyle/>
          <a:p>
            <a:pPr>
              <a:defRPr sz="1100">
                <a:latin typeface="Nexa (Headings)"/>
              </a:defRPr>
            </a:pPr>
            <a:r>
              <a:t>Product Sales Rate, Trade Margin % and Net Sales | Bruts | Nicolas | NICOLAS RHO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681027109"/>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969</a:t>
            </a:fld>
            <a:endParaRPr lang="en-US"/>
          </a:p>
        </p:txBody>
      </p:sp>
    </p:spTree>
    <p:extLst>
      <p:ext uri="{BB962C8B-B14F-4D97-AF65-F5344CB8AC3E}">
        <p14:creationId xmlns:p14="http://schemas.microsoft.com/office/powerpoint/2010/main" val="4097486681"/>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Crus | NICOLAS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97</a:t>
            </a:fld>
            <a:endParaRPr lang="en-US"/>
          </a:p>
        </p:txBody>
      </p:sp>
    </p:spTree>
    <p:extLst>
      <p:ext uri="{BB962C8B-B14F-4D97-AF65-F5344CB8AC3E}">
        <p14:creationId xmlns:p14="http://schemas.microsoft.com/office/powerpoint/2010/main" val="1812197441"/>
      </p:ext>
    </p:extLst>
  </p:cSld>
  <p:clrMapOvr>
    <a:masterClrMapping/>
  </p:clrMapOvr>
</p:sld>
</file>

<file path=ppt/slides/slide9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8/27/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lnSpcReduction="10000"/>
          </a:bodyPr>
          <a:lstStyle/>
          <a:p>
            <a:pPr>
              <a:defRPr sz="1100">
                <a:latin typeface="Nexa (Headings)"/>
              </a:defRPr>
            </a:pPr>
            <a:r>
              <a:t>Product Sales Rate, Trade Margin % and Net Sales | Bruts | Nicolas | NICOLAS AQU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3552316481"/>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970</a:t>
            </a:fld>
            <a:endParaRPr lang="en-US"/>
          </a:p>
        </p:txBody>
      </p:sp>
    </p:spTree>
    <p:extLst>
      <p:ext uri="{BB962C8B-B14F-4D97-AF65-F5344CB8AC3E}">
        <p14:creationId xmlns:p14="http://schemas.microsoft.com/office/powerpoint/2010/main" val="702551748"/>
      </p:ext>
    </p:extLst>
  </p:cSld>
  <p:clrMapOvr>
    <a:masterClrMapping/>
  </p:clrMapOvr>
</p:sld>
</file>

<file path=ppt/slides/slide9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8/27/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lnSpcReduction="10000"/>
          </a:bodyPr>
          <a:lstStyle/>
          <a:p>
            <a:pPr>
              <a:defRPr sz="1100">
                <a:latin typeface="Nexa (Headings)"/>
              </a:defRPr>
            </a:pPr>
            <a:r>
              <a:t>Product Sales Rate, Trade Margin % and Net Sales | Bruts | Nicolas | NICOLAS EST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802936552"/>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971</a:t>
            </a:fld>
            <a:endParaRPr lang="en-US"/>
          </a:p>
        </p:txBody>
      </p:sp>
    </p:spTree>
    <p:extLst>
      <p:ext uri="{BB962C8B-B14F-4D97-AF65-F5344CB8AC3E}">
        <p14:creationId xmlns:p14="http://schemas.microsoft.com/office/powerpoint/2010/main" val="3458895752"/>
      </p:ext>
    </p:extLst>
  </p:cSld>
  <p:clrMapOvr>
    <a:masterClrMapping/>
  </p:clrMapOvr>
</p:sld>
</file>

<file path=ppt/slides/slide9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8/27/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lnSpcReduction="10000"/>
          </a:bodyPr>
          <a:lstStyle/>
          <a:p>
            <a:pPr>
              <a:defRPr sz="1100">
                <a:latin typeface="Nexa (Headings)"/>
              </a:defRPr>
            </a:pPr>
            <a:r>
              <a:t>Product Sales Rate, Trade Margin % and Net Sales | Bruts | Nicolas | CA A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617501287"/>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972</a:t>
            </a:fld>
            <a:endParaRPr lang="en-US"/>
          </a:p>
        </p:txBody>
      </p:sp>
    </p:spTree>
    <p:extLst>
      <p:ext uri="{BB962C8B-B14F-4D97-AF65-F5344CB8AC3E}">
        <p14:creationId xmlns:p14="http://schemas.microsoft.com/office/powerpoint/2010/main" val="4125488969"/>
      </p:ext>
    </p:extLst>
  </p:cSld>
  <p:clrMapOvr>
    <a:masterClrMapping/>
  </p:clrMapOvr>
</p:sld>
</file>

<file path=ppt/slides/slide9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8/27/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lnSpcReduction="10000"/>
          </a:bodyPr>
          <a:lstStyle/>
          <a:p>
            <a:pPr>
              <a:defRPr sz="1100">
                <a:latin typeface="Nexa (Headings)"/>
              </a:defRPr>
            </a:pPr>
            <a:r>
              <a:t>Product Sales Rate, Trade Margin % and Net Sales | Bruts | Nicolas | CA B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979079508"/>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973</a:t>
            </a:fld>
            <a:endParaRPr lang="en-US"/>
          </a:p>
        </p:txBody>
      </p:sp>
    </p:spTree>
    <p:extLst>
      <p:ext uri="{BB962C8B-B14F-4D97-AF65-F5344CB8AC3E}">
        <p14:creationId xmlns:p14="http://schemas.microsoft.com/office/powerpoint/2010/main" val="4208923870"/>
      </p:ext>
    </p:extLst>
  </p:cSld>
  <p:clrMapOvr>
    <a:masterClrMapping/>
  </p:clrMapOvr>
</p:sld>
</file>

<file path=ppt/slides/slide9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8/27/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lnSpcReduction="10000"/>
          </a:bodyPr>
          <a:lstStyle/>
          <a:p>
            <a:pPr>
              <a:defRPr sz="1100">
                <a:latin typeface="Nexa (Headings)"/>
              </a:defRPr>
            </a:pPr>
            <a:r>
              <a:t>Product Sales Rate, Trade Margin % and Net Sales | Bruts | Nicolas | CA C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10412094"/>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974</a:t>
            </a:fld>
            <a:endParaRPr lang="en-US"/>
          </a:p>
        </p:txBody>
      </p:sp>
    </p:spTree>
    <p:extLst>
      <p:ext uri="{BB962C8B-B14F-4D97-AF65-F5344CB8AC3E}">
        <p14:creationId xmlns:p14="http://schemas.microsoft.com/office/powerpoint/2010/main" val="3381880846"/>
      </p:ext>
    </p:extLst>
  </p:cSld>
  <p:clrMapOvr>
    <a:masterClrMapping/>
  </p:clrMapOvr>
</p:sld>
</file>

<file path=ppt/slides/slide9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8/27/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lnSpcReduction="10000"/>
          </a:bodyPr>
          <a:lstStyle/>
          <a:p>
            <a:pPr>
              <a:defRPr sz="1100">
                <a:latin typeface="Nexa (Headings)"/>
              </a:defRPr>
            </a:pPr>
            <a:r>
              <a:t>Product Sales Rate, Trade Margin % and Net Sales | Bruts | Nicolas | CA D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755264480"/>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975</a:t>
            </a:fld>
            <a:endParaRPr lang="en-US"/>
          </a:p>
        </p:txBody>
      </p:sp>
    </p:spTree>
    <p:extLst>
      <p:ext uri="{BB962C8B-B14F-4D97-AF65-F5344CB8AC3E}">
        <p14:creationId xmlns:p14="http://schemas.microsoft.com/office/powerpoint/2010/main" val="1362788007"/>
      </p:ext>
    </p:extLst>
  </p:cSld>
  <p:clrMapOvr>
    <a:masterClrMapping/>
  </p:clrMapOvr>
</p:sld>
</file>

<file path=ppt/slides/slide9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8/27/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lnSpcReduction="10000"/>
          </a:bodyPr>
          <a:lstStyle/>
          <a:p>
            <a:pPr>
              <a:defRPr sz="1100">
                <a:latin typeface="Nexa (Headings)"/>
              </a:defRPr>
            </a:pPr>
            <a:r>
              <a:t>Product Sales Rate, Trade Margin % and Net Sales | Bruts | Nicolas | CA E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3542241849"/>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976</a:t>
            </a:fld>
            <a:endParaRPr lang="en-US"/>
          </a:p>
        </p:txBody>
      </p:sp>
    </p:spTree>
    <p:extLst>
      <p:ext uri="{BB962C8B-B14F-4D97-AF65-F5344CB8AC3E}">
        <p14:creationId xmlns:p14="http://schemas.microsoft.com/office/powerpoint/2010/main" val="804436143"/>
      </p:ext>
    </p:extLst>
  </p:cSld>
  <p:clrMapOvr>
    <a:masterClrMapping/>
  </p:clrMapOvr>
</p:sld>
</file>

<file path=ppt/slides/slide9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8/27/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lnSpcReduction="10000"/>
          </a:bodyPr>
          <a:lstStyle/>
          <a:p>
            <a:pPr>
              <a:defRPr sz="1100">
                <a:latin typeface="Nexa (Headings)"/>
              </a:defRPr>
            </a:pPr>
            <a:r>
              <a:t>Product Sales Rate, Trade Margin % and Net Sales | Crus | Nicolas | NICOLAS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291978525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977</a:t>
            </a:fld>
            <a:endParaRPr lang="en-US"/>
          </a:p>
        </p:txBody>
      </p:sp>
    </p:spTree>
    <p:extLst>
      <p:ext uri="{BB962C8B-B14F-4D97-AF65-F5344CB8AC3E}">
        <p14:creationId xmlns:p14="http://schemas.microsoft.com/office/powerpoint/2010/main" val="246992322"/>
      </p:ext>
    </p:extLst>
  </p:cSld>
  <p:clrMapOvr>
    <a:masterClrMapping/>
  </p:clrMapOvr>
</p:sld>
</file>

<file path=ppt/slides/slide9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8/27/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lnSpcReduction="10000"/>
          </a:bodyPr>
          <a:lstStyle/>
          <a:p>
            <a:pPr>
              <a:defRPr sz="1100">
                <a:latin typeface="Nexa (Headings)"/>
              </a:defRPr>
            </a:pPr>
            <a:r>
              <a:t>Product Sales Rate, Trade Margin % and Net Sales | Crus | Nicolas | NICOLAS QCN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226449640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978</a:t>
            </a:fld>
            <a:endParaRPr lang="en-US"/>
          </a:p>
        </p:txBody>
      </p:sp>
    </p:spTree>
    <p:extLst>
      <p:ext uri="{BB962C8B-B14F-4D97-AF65-F5344CB8AC3E}">
        <p14:creationId xmlns:p14="http://schemas.microsoft.com/office/powerpoint/2010/main" val="3084644043"/>
      </p:ext>
    </p:extLst>
  </p:cSld>
  <p:clrMapOvr>
    <a:masterClrMapping/>
  </p:clrMapOvr>
</p:sld>
</file>

<file path=ppt/slides/slide9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8/27/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lnSpcReduction="10000"/>
          </a:bodyPr>
          <a:lstStyle/>
          <a:p>
            <a:pPr>
              <a:defRPr sz="1100">
                <a:latin typeface="Nexa (Headings)"/>
              </a:defRPr>
            </a:pPr>
            <a:r>
              <a:t>Product Sales Rate, Trade Margin % and Net Sales | Crus | Nicolas | NICOLAS VCN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2922370241"/>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979</a:t>
            </a:fld>
            <a:endParaRPr lang="en-US"/>
          </a:p>
        </p:txBody>
      </p:sp>
    </p:spTree>
    <p:extLst>
      <p:ext uri="{BB962C8B-B14F-4D97-AF65-F5344CB8AC3E}">
        <p14:creationId xmlns:p14="http://schemas.microsoft.com/office/powerpoint/2010/main" val="3372059912"/>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Crus | NICOLAS QCN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98</a:t>
            </a:fld>
            <a:endParaRPr lang="en-US"/>
          </a:p>
        </p:txBody>
      </p:sp>
    </p:spTree>
    <p:extLst>
      <p:ext uri="{BB962C8B-B14F-4D97-AF65-F5344CB8AC3E}">
        <p14:creationId xmlns:p14="http://schemas.microsoft.com/office/powerpoint/2010/main" val="3255727226"/>
      </p:ext>
    </p:extLst>
  </p:cSld>
  <p:clrMapOvr>
    <a:masterClrMapping/>
  </p:clrMapOvr>
</p:sld>
</file>

<file path=ppt/slides/slide9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8/27/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lnSpcReduction="10000"/>
          </a:bodyPr>
          <a:lstStyle/>
          <a:p>
            <a:pPr>
              <a:defRPr sz="1100">
                <a:latin typeface="Nexa (Headings)"/>
              </a:defRPr>
            </a:pPr>
            <a:r>
              <a:t>Product Sales Rate, Trade Margin % and Net Sales | Crus | Nicolas | NICOLAS QCT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647082316"/>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980</a:t>
            </a:fld>
            <a:endParaRPr lang="en-US"/>
          </a:p>
        </p:txBody>
      </p:sp>
    </p:spTree>
    <p:extLst>
      <p:ext uri="{BB962C8B-B14F-4D97-AF65-F5344CB8AC3E}">
        <p14:creationId xmlns:p14="http://schemas.microsoft.com/office/powerpoint/2010/main" val="3926892465"/>
      </p:ext>
    </p:extLst>
  </p:cSld>
  <p:clrMapOvr>
    <a:masterClrMapping/>
  </p:clrMapOvr>
</p:sld>
</file>

<file path=ppt/slides/slide9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8/27/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lnSpcReduction="10000"/>
          </a:bodyPr>
          <a:lstStyle/>
          <a:p>
            <a:pPr>
              <a:defRPr sz="1100">
                <a:latin typeface="Nexa (Headings)"/>
              </a:defRPr>
            </a:pPr>
            <a:r>
              <a:t>Product Sales Rate, Trade Margin % and Net Sales | Crus | Nicolas | NICOLAS QCA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3758408955"/>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981</a:t>
            </a:fld>
            <a:endParaRPr lang="en-US"/>
          </a:p>
        </p:txBody>
      </p:sp>
    </p:spTree>
    <p:extLst>
      <p:ext uri="{BB962C8B-B14F-4D97-AF65-F5344CB8AC3E}">
        <p14:creationId xmlns:p14="http://schemas.microsoft.com/office/powerpoint/2010/main" val="4148120657"/>
      </p:ext>
    </p:extLst>
  </p:cSld>
  <p:clrMapOvr>
    <a:masterClrMapping/>
  </p:clrMapOvr>
</p:sld>
</file>

<file path=ppt/slides/slide9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8/27/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lnSpcReduction="10000"/>
          </a:bodyPr>
          <a:lstStyle/>
          <a:p>
            <a:pPr>
              <a:defRPr sz="1100">
                <a:latin typeface="Nexa (Headings)"/>
              </a:defRPr>
            </a:pPr>
            <a:r>
              <a:t>Product Sales Rate, Trade Margin % and Net Sales | Crus | Nicolas | NICOLAS IDF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17396140"/>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982</a:t>
            </a:fld>
            <a:endParaRPr lang="en-US"/>
          </a:p>
        </p:txBody>
      </p:sp>
    </p:spTree>
    <p:extLst>
      <p:ext uri="{BB962C8B-B14F-4D97-AF65-F5344CB8AC3E}">
        <p14:creationId xmlns:p14="http://schemas.microsoft.com/office/powerpoint/2010/main" val="1270635934"/>
      </p:ext>
    </p:extLst>
  </p:cSld>
  <p:clrMapOvr>
    <a:masterClrMapping/>
  </p:clrMapOvr>
</p:sld>
</file>

<file path=ppt/slides/slide9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8/27/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lnSpcReduction="10000"/>
          </a:bodyPr>
          <a:lstStyle/>
          <a:p>
            <a:pPr>
              <a:defRPr sz="1100">
                <a:latin typeface="Nexa (Headings)"/>
              </a:defRPr>
            </a:pPr>
            <a:r>
              <a:t>Product Sales Rate, Trade Margin % and Net Sales | Crus | Nicolas | NICOLAS PAC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3211778000"/>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983</a:t>
            </a:fld>
            <a:endParaRPr lang="en-US"/>
          </a:p>
        </p:txBody>
      </p:sp>
    </p:spTree>
    <p:extLst>
      <p:ext uri="{BB962C8B-B14F-4D97-AF65-F5344CB8AC3E}">
        <p14:creationId xmlns:p14="http://schemas.microsoft.com/office/powerpoint/2010/main" val="2529627752"/>
      </p:ext>
    </p:extLst>
  </p:cSld>
  <p:clrMapOvr>
    <a:masterClrMapping/>
  </p:clrMapOvr>
</p:sld>
</file>

<file path=ppt/slides/slide9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8/27/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lnSpcReduction="10000"/>
          </a:bodyPr>
          <a:lstStyle/>
          <a:p>
            <a:pPr>
              <a:defRPr sz="1100">
                <a:latin typeface="Nexa (Headings)"/>
              </a:defRPr>
            </a:pPr>
            <a:r>
              <a:t>Product Sales Rate, Trade Margin % and Net Sales | Crus | Nicolas | NICOLAS RHO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534485132"/>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984</a:t>
            </a:fld>
            <a:endParaRPr lang="en-US"/>
          </a:p>
        </p:txBody>
      </p:sp>
    </p:spTree>
    <p:extLst>
      <p:ext uri="{BB962C8B-B14F-4D97-AF65-F5344CB8AC3E}">
        <p14:creationId xmlns:p14="http://schemas.microsoft.com/office/powerpoint/2010/main" val="1537635893"/>
      </p:ext>
    </p:extLst>
  </p:cSld>
  <p:clrMapOvr>
    <a:masterClrMapping/>
  </p:clrMapOvr>
</p:sld>
</file>

<file path=ppt/slides/slide9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8/27/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lnSpcReduction="10000"/>
          </a:bodyPr>
          <a:lstStyle/>
          <a:p>
            <a:pPr>
              <a:defRPr sz="1100">
                <a:latin typeface="Nexa (Headings)"/>
              </a:defRPr>
            </a:pPr>
            <a:r>
              <a:t>Product Sales Rate, Trade Margin % and Net Sales | Crus | Nicolas | NICOLAS AQU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3498103261"/>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985</a:t>
            </a:fld>
            <a:endParaRPr lang="en-US"/>
          </a:p>
        </p:txBody>
      </p:sp>
    </p:spTree>
    <p:extLst>
      <p:ext uri="{BB962C8B-B14F-4D97-AF65-F5344CB8AC3E}">
        <p14:creationId xmlns:p14="http://schemas.microsoft.com/office/powerpoint/2010/main" val="4137486997"/>
      </p:ext>
    </p:extLst>
  </p:cSld>
  <p:clrMapOvr>
    <a:masterClrMapping/>
  </p:clrMapOvr>
</p:sld>
</file>

<file path=ppt/slides/slide9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8/27/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lnSpcReduction="10000"/>
          </a:bodyPr>
          <a:lstStyle/>
          <a:p>
            <a:pPr>
              <a:defRPr sz="1100">
                <a:latin typeface="Nexa (Headings)"/>
              </a:defRPr>
            </a:pPr>
            <a:r>
              <a:t>Product Sales Rate, Trade Margin % and Net Sales | Crus | Nicolas | CA A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654499785"/>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986</a:t>
            </a:fld>
            <a:endParaRPr lang="en-US"/>
          </a:p>
        </p:txBody>
      </p:sp>
    </p:spTree>
    <p:extLst>
      <p:ext uri="{BB962C8B-B14F-4D97-AF65-F5344CB8AC3E}">
        <p14:creationId xmlns:p14="http://schemas.microsoft.com/office/powerpoint/2010/main" val="369530741"/>
      </p:ext>
    </p:extLst>
  </p:cSld>
  <p:clrMapOvr>
    <a:masterClrMapping/>
  </p:clrMapOvr>
</p:sld>
</file>

<file path=ppt/slides/slide9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8/27/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lnSpcReduction="10000"/>
          </a:bodyPr>
          <a:lstStyle/>
          <a:p>
            <a:pPr>
              <a:defRPr sz="1100">
                <a:latin typeface="Nexa (Headings)"/>
              </a:defRPr>
            </a:pPr>
            <a:r>
              <a:t>Product Sales Rate, Trade Margin % and Net Sales | Crus | Nicolas | CA B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265729306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987</a:t>
            </a:fld>
            <a:endParaRPr lang="en-US"/>
          </a:p>
        </p:txBody>
      </p:sp>
    </p:spTree>
    <p:extLst>
      <p:ext uri="{BB962C8B-B14F-4D97-AF65-F5344CB8AC3E}">
        <p14:creationId xmlns:p14="http://schemas.microsoft.com/office/powerpoint/2010/main" val="1985569244"/>
      </p:ext>
    </p:extLst>
  </p:cSld>
  <p:clrMapOvr>
    <a:masterClrMapping/>
  </p:clrMapOvr>
</p:sld>
</file>

<file path=ppt/slides/slide9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8/27/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lnSpcReduction="10000"/>
          </a:bodyPr>
          <a:lstStyle/>
          <a:p>
            <a:pPr>
              <a:defRPr sz="1100">
                <a:latin typeface="Nexa (Headings)"/>
              </a:defRPr>
            </a:pPr>
            <a:r>
              <a:t>Product Sales Rate, Trade Margin % and Net Sales | Crus | Nicolas | CA C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62752669"/>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988</a:t>
            </a:fld>
            <a:endParaRPr lang="en-US"/>
          </a:p>
        </p:txBody>
      </p:sp>
    </p:spTree>
    <p:extLst>
      <p:ext uri="{BB962C8B-B14F-4D97-AF65-F5344CB8AC3E}">
        <p14:creationId xmlns:p14="http://schemas.microsoft.com/office/powerpoint/2010/main" val="3102890433"/>
      </p:ext>
    </p:extLst>
  </p:cSld>
  <p:clrMapOvr>
    <a:masterClrMapping/>
  </p:clrMapOvr>
</p:sld>
</file>

<file path=ppt/slides/slide9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8/27/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lnSpcReduction="10000"/>
          </a:bodyPr>
          <a:lstStyle/>
          <a:p>
            <a:pPr>
              <a:defRPr sz="1100">
                <a:latin typeface="Nexa (Headings)"/>
              </a:defRPr>
            </a:pPr>
            <a:r>
              <a:t>Product Sales Rate, Trade Margin % and Net Sales | Crus | Nicolas | CA D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148750354"/>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989</a:t>
            </a:fld>
            <a:endParaRPr lang="en-US"/>
          </a:p>
        </p:txBody>
      </p:sp>
    </p:spTree>
    <p:extLst>
      <p:ext uri="{BB962C8B-B14F-4D97-AF65-F5344CB8AC3E}">
        <p14:creationId xmlns:p14="http://schemas.microsoft.com/office/powerpoint/2010/main" val="1149216197"/>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Crus | NICOLAS VCN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99</a:t>
            </a:fld>
            <a:endParaRPr lang="en-US"/>
          </a:p>
        </p:txBody>
      </p:sp>
    </p:spTree>
    <p:extLst>
      <p:ext uri="{BB962C8B-B14F-4D97-AF65-F5344CB8AC3E}">
        <p14:creationId xmlns:p14="http://schemas.microsoft.com/office/powerpoint/2010/main" val="2434888146"/>
      </p:ext>
    </p:extLst>
  </p:cSld>
  <p:clrMapOvr>
    <a:masterClrMapping/>
  </p:clrMapOvr>
</p:sld>
</file>

<file path=ppt/slides/slide9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8/27/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lnSpcReduction="10000"/>
          </a:bodyPr>
          <a:lstStyle/>
          <a:p>
            <a:pPr>
              <a:defRPr sz="1100">
                <a:latin typeface="Nexa (Headings)"/>
              </a:defRPr>
            </a:pPr>
            <a:r>
              <a:t>Product Sales Rate, Trade Margin % and Net Sales | Crus | Nicolas | CA E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2736048898"/>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990</a:t>
            </a:fld>
            <a:endParaRPr lang="en-US"/>
          </a:p>
        </p:txBody>
      </p:sp>
    </p:spTree>
    <p:extLst>
      <p:ext uri="{BB962C8B-B14F-4D97-AF65-F5344CB8AC3E}">
        <p14:creationId xmlns:p14="http://schemas.microsoft.com/office/powerpoint/2010/main" val="2301406413"/>
      </p:ext>
    </p:extLst>
  </p:cSld>
  <p:clrMapOvr>
    <a:masterClrMapping/>
  </p:clrMapOvr>
</p:sld>
</file>

<file path=ppt/slides/slide9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8/27/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lnSpcReduction="10000"/>
          </a:bodyPr>
          <a:lstStyle/>
          <a:p>
            <a:pPr>
              <a:defRPr sz="1100">
                <a:latin typeface="Nexa (Headings)"/>
              </a:defRPr>
            </a:pPr>
            <a:r>
              <a:t>Product Sales Rate, Trade Margin % and Net Sales | Rosés | Nicolas | NICOLAS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027579044"/>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991</a:t>
            </a:fld>
            <a:endParaRPr lang="en-US"/>
          </a:p>
        </p:txBody>
      </p:sp>
    </p:spTree>
    <p:extLst>
      <p:ext uri="{BB962C8B-B14F-4D97-AF65-F5344CB8AC3E}">
        <p14:creationId xmlns:p14="http://schemas.microsoft.com/office/powerpoint/2010/main" val="446609577"/>
      </p:ext>
    </p:extLst>
  </p:cSld>
  <p:clrMapOvr>
    <a:masterClrMapping/>
  </p:clrMapOvr>
</p:sld>
</file>

<file path=ppt/slides/slide9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8/27/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lnSpcReduction="10000"/>
          </a:bodyPr>
          <a:lstStyle/>
          <a:p>
            <a:pPr>
              <a:defRPr sz="1100">
                <a:latin typeface="Nexa (Headings)"/>
              </a:defRPr>
            </a:pPr>
            <a:r>
              <a:t>Product Sales Rate, Trade Margin % and Net Sales | Rosés | Nicolas | NICOLAS QCN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252031667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992</a:t>
            </a:fld>
            <a:endParaRPr lang="en-US"/>
          </a:p>
        </p:txBody>
      </p:sp>
    </p:spTree>
    <p:extLst>
      <p:ext uri="{BB962C8B-B14F-4D97-AF65-F5344CB8AC3E}">
        <p14:creationId xmlns:p14="http://schemas.microsoft.com/office/powerpoint/2010/main" val="3200916650"/>
      </p:ext>
    </p:extLst>
  </p:cSld>
  <p:clrMapOvr>
    <a:masterClrMapping/>
  </p:clrMapOvr>
</p:sld>
</file>

<file path=ppt/slides/slide9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8/27/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lnSpcReduction="10000"/>
          </a:bodyPr>
          <a:lstStyle/>
          <a:p>
            <a:pPr>
              <a:defRPr sz="1100">
                <a:latin typeface="Nexa (Headings)"/>
              </a:defRPr>
            </a:pPr>
            <a:r>
              <a:t>Product Sales Rate, Trade Margin % and Net Sales | Rosés | Nicolas | NICOLAS VCN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3615078026"/>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993</a:t>
            </a:fld>
            <a:endParaRPr lang="en-US"/>
          </a:p>
        </p:txBody>
      </p:sp>
    </p:spTree>
    <p:extLst>
      <p:ext uri="{BB962C8B-B14F-4D97-AF65-F5344CB8AC3E}">
        <p14:creationId xmlns:p14="http://schemas.microsoft.com/office/powerpoint/2010/main" val="2625059307"/>
      </p:ext>
    </p:extLst>
  </p:cSld>
  <p:clrMapOvr>
    <a:masterClrMapping/>
  </p:clrMapOvr>
</p:sld>
</file>

<file path=ppt/slides/slide9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8/27/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lnSpcReduction="10000"/>
          </a:bodyPr>
          <a:lstStyle/>
          <a:p>
            <a:pPr>
              <a:defRPr sz="1100">
                <a:latin typeface="Nexa (Headings)"/>
              </a:defRPr>
            </a:pPr>
            <a:r>
              <a:t>Product Sales Rate, Trade Margin % and Net Sales | Rosés | Nicolas | NICOLAS QCT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225367650"/>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994</a:t>
            </a:fld>
            <a:endParaRPr lang="en-US"/>
          </a:p>
        </p:txBody>
      </p:sp>
    </p:spTree>
    <p:extLst>
      <p:ext uri="{BB962C8B-B14F-4D97-AF65-F5344CB8AC3E}">
        <p14:creationId xmlns:p14="http://schemas.microsoft.com/office/powerpoint/2010/main" val="3391127246"/>
      </p:ext>
    </p:extLst>
  </p:cSld>
  <p:clrMapOvr>
    <a:masterClrMapping/>
  </p:clrMapOvr>
</p:sld>
</file>

<file path=ppt/slides/slide9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8/27/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lnSpcReduction="10000"/>
          </a:bodyPr>
          <a:lstStyle/>
          <a:p>
            <a:pPr>
              <a:defRPr sz="1100">
                <a:latin typeface="Nexa (Headings)"/>
              </a:defRPr>
            </a:pPr>
            <a:r>
              <a:t>Product Sales Rate, Trade Margin % and Net Sales | Rosés | Nicolas | NICOLAS QCA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2882051708"/>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995</a:t>
            </a:fld>
            <a:endParaRPr lang="en-US"/>
          </a:p>
        </p:txBody>
      </p:sp>
    </p:spTree>
    <p:extLst>
      <p:ext uri="{BB962C8B-B14F-4D97-AF65-F5344CB8AC3E}">
        <p14:creationId xmlns:p14="http://schemas.microsoft.com/office/powerpoint/2010/main" val="1564944208"/>
      </p:ext>
    </p:extLst>
  </p:cSld>
  <p:clrMapOvr>
    <a:masterClrMapping/>
  </p:clrMapOvr>
</p:sld>
</file>

<file path=ppt/slides/slide9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8/27/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lnSpcReduction="10000"/>
          </a:bodyPr>
          <a:lstStyle/>
          <a:p>
            <a:pPr>
              <a:defRPr sz="1100">
                <a:latin typeface="Nexa (Headings)"/>
              </a:defRPr>
            </a:pPr>
            <a:r>
              <a:t>Product Sales Rate, Trade Margin % and Net Sales | Rosés | Nicolas | NICOLAS CCP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385798605"/>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996</a:t>
            </a:fld>
            <a:endParaRPr lang="en-US"/>
          </a:p>
        </p:txBody>
      </p:sp>
    </p:spTree>
    <p:extLst>
      <p:ext uri="{BB962C8B-B14F-4D97-AF65-F5344CB8AC3E}">
        <p14:creationId xmlns:p14="http://schemas.microsoft.com/office/powerpoint/2010/main" val="3811970458"/>
      </p:ext>
    </p:extLst>
  </p:cSld>
  <p:clrMapOvr>
    <a:masterClrMapping/>
  </p:clrMapOvr>
</p:sld>
</file>

<file path=ppt/slides/slide9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8/27/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lnSpcReduction="10000"/>
          </a:bodyPr>
          <a:lstStyle/>
          <a:p>
            <a:pPr>
              <a:defRPr sz="1100">
                <a:latin typeface="Nexa (Headings)"/>
              </a:defRPr>
            </a:pPr>
            <a:r>
              <a:t>Product Sales Rate, Trade Margin % and Net Sales | Rosés | Nicolas | NICOLAS IDF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280320078"/>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997</a:t>
            </a:fld>
            <a:endParaRPr lang="en-US"/>
          </a:p>
        </p:txBody>
      </p:sp>
    </p:spTree>
    <p:extLst>
      <p:ext uri="{BB962C8B-B14F-4D97-AF65-F5344CB8AC3E}">
        <p14:creationId xmlns:p14="http://schemas.microsoft.com/office/powerpoint/2010/main" val="1300399000"/>
      </p:ext>
    </p:extLst>
  </p:cSld>
  <p:clrMapOvr>
    <a:masterClrMapping/>
  </p:clrMapOvr>
</p:sld>
</file>

<file path=ppt/slides/slide9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8/27/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lnSpcReduction="10000"/>
          </a:bodyPr>
          <a:lstStyle/>
          <a:p>
            <a:pPr>
              <a:defRPr sz="1100">
                <a:latin typeface="Nexa (Headings)"/>
              </a:defRPr>
            </a:pPr>
            <a:r>
              <a:t>Product Sales Rate, Trade Margin % and Net Sales | Rosés | Nicolas | NICOLAS PAC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211420975"/>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998</a:t>
            </a:fld>
            <a:endParaRPr lang="en-US"/>
          </a:p>
        </p:txBody>
      </p:sp>
    </p:spTree>
    <p:extLst>
      <p:ext uri="{BB962C8B-B14F-4D97-AF65-F5344CB8AC3E}">
        <p14:creationId xmlns:p14="http://schemas.microsoft.com/office/powerpoint/2010/main" val="2483556348"/>
      </p:ext>
    </p:extLst>
  </p:cSld>
  <p:clrMapOvr>
    <a:masterClrMapping/>
  </p:clrMapOvr>
</p:sld>
</file>

<file path=ppt/slides/slide9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8/27/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lnSpcReduction="10000"/>
          </a:bodyPr>
          <a:lstStyle/>
          <a:p>
            <a:pPr>
              <a:defRPr sz="1100">
                <a:latin typeface="Nexa (Headings)"/>
              </a:defRPr>
            </a:pPr>
            <a:r>
              <a:t>Product Sales Rate, Trade Margin % and Net Sales | Rosés | Nicolas | NICOLAS RHO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30158699"/>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999</a:t>
            </a:fld>
            <a:endParaRPr lang="en-US"/>
          </a:p>
        </p:txBody>
      </p:sp>
    </p:spTree>
    <p:extLst>
      <p:ext uri="{BB962C8B-B14F-4D97-AF65-F5344CB8AC3E}">
        <p14:creationId xmlns:p14="http://schemas.microsoft.com/office/powerpoint/2010/main" val="14381015"/>
      </p:ext>
    </p:extLst>
  </p:cSld>
  <p:clrMapOvr>
    <a:masterClrMapping/>
  </p:clrMapOvr>
</p:sld>
</file>

<file path=ppt/theme/theme1.xml><?xml version="1.0" encoding="utf-8"?>
<a:theme xmlns:a="http://schemas.openxmlformats.org/drawingml/2006/main" name="PricingOne Light Template Oct 2024">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Dubai"/>
      </a:majorFont>
      <a:minorFont>
        <a:latin typeface="Nexa Book"/>
        <a:ea typeface=""/>
        <a:cs typeface="Dubai Ligh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6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schemeClr>
        </a:solidFill>
        <a:ln>
          <a:noFill/>
        </a:ln>
      </a:spPr>
      <a:bodyPr wrap="none" lIns="108000" tIns="108000" rIns="108000" bIns="108000" rtlCol="0" anchor="ctr">
        <a:spAutoFit/>
      </a:bodyPr>
      <a:lstStyle>
        <a:defPPr algn="l">
          <a:defRPr sz="9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icingOne Light Template Oct 2024" id="{B4217D13-A981-4E55-97A0-EFF30A4E7E27}" vid="{7FEF76C7-3C4C-4B4C-BC3E-02F0CA92B703}"/>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